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 ContentType="image/tif"/>
  <Default Extension="vml" ContentType="application/vnd.openxmlformats-officedocument.vmlDrawing"/>
  <Default Extension="wav" ContentType="audio/x-wav"/>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7.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8.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10.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1.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2.xml" ContentType="application/vnd.openxmlformats-officedocument.theme+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13.xml" ContentType="application/vnd.openxmlformats-officedocument.theme+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08" r:id="rId5"/>
    <p:sldMasterId id="2147484153" r:id="rId6"/>
    <p:sldMasterId id="2147484158" r:id="rId7"/>
    <p:sldMasterId id="2147484190" r:id="rId8"/>
    <p:sldMasterId id="2147484213" r:id="rId9"/>
    <p:sldMasterId id="2147484229" r:id="rId10"/>
    <p:sldMasterId id="2147484260" r:id="rId11"/>
    <p:sldMasterId id="2147484298" r:id="rId12"/>
    <p:sldMasterId id="2147484345" r:id="rId13"/>
    <p:sldMasterId id="2147484426" r:id="rId14"/>
    <p:sldMasterId id="2147484460" r:id="rId15"/>
    <p:sldMasterId id="2147484478" r:id="rId16"/>
    <p:sldMasterId id="2147484506" r:id="rId17"/>
  </p:sldMasterIdLst>
  <p:notesMasterIdLst>
    <p:notesMasterId r:id="rId51"/>
  </p:notesMasterIdLst>
  <p:handoutMasterIdLst>
    <p:handoutMasterId r:id="rId52"/>
  </p:handoutMasterIdLst>
  <p:sldIdLst>
    <p:sldId id="285" r:id="rId18"/>
    <p:sldId id="2749" r:id="rId19"/>
    <p:sldId id="349" r:id="rId20"/>
    <p:sldId id="606" r:id="rId21"/>
    <p:sldId id="4945" r:id="rId22"/>
    <p:sldId id="4946" r:id="rId23"/>
    <p:sldId id="3009" r:id="rId24"/>
    <p:sldId id="4855" r:id="rId25"/>
    <p:sldId id="4739" r:id="rId26"/>
    <p:sldId id="4543" r:id="rId27"/>
    <p:sldId id="3045" r:id="rId28"/>
    <p:sldId id="605" r:id="rId29"/>
    <p:sldId id="4550" r:id="rId30"/>
    <p:sldId id="4955" r:id="rId31"/>
    <p:sldId id="3093" r:id="rId32"/>
    <p:sldId id="4956" r:id="rId33"/>
    <p:sldId id="4957" r:id="rId34"/>
    <p:sldId id="4856" r:id="rId35"/>
    <p:sldId id="4854" r:id="rId36"/>
    <p:sldId id="4558" r:id="rId37"/>
    <p:sldId id="4572" r:id="rId38"/>
    <p:sldId id="4631" r:id="rId39"/>
    <p:sldId id="4632" r:id="rId40"/>
    <p:sldId id="4633" r:id="rId41"/>
    <p:sldId id="4634" r:id="rId42"/>
    <p:sldId id="4636" r:id="rId43"/>
    <p:sldId id="2952" r:id="rId44"/>
    <p:sldId id="273" r:id="rId45"/>
    <p:sldId id="3015" r:id="rId46"/>
    <p:sldId id="1793" r:id="rId47"/>
    <p:sldId id="3017" r:id="rId48"/>
    <p:sldId id="3018" r:id="rId49"/>
    <p:sldId id="517" r:id="rId5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1686C51-CFD9-42B1-8417-F13F84243C21}">
          <p14:sldIdLst>
            <p14:sldId id="285"/>
            <p14:sldId id="2749"/>
            <p14:sldId id="349"/>
            <p14:sldId id="606"/>
            <p14:sldId id="4945"/>
            <p14:sldId id="4946"/>
            <p14:sldId id="3009"/>
            <p14:sldId id="4855"/>
            <p14:sldId id="4739"/>
            <p14:sldId id="4543"/>
            <p14:sldId id="3045"/>
            <p14:sldId id="605"/>
            <p14:sldId id="4550"/>
            <p14:sldId id="4955"/>
            <p14:sldId id="3093"/>
            <p14:sldId id="4956"/>
            <p14:sldId id="4957"/>
            <p14:sldId id="4856"/>
            <p14:sldId id="4854"/>
            <p14:sldId id="4558"/>
            <p14:sldId id="4572"/>
            <p14:sldId id="4631"/>
            <p14:sldId id="4632"/>
            <p14:sldId id="4633"/>
            <p14:sldId id="4634"/>
            <p14:sldId id="4636"/>
            <p14:sldId id="2952"/>
            <p14:sldId id="273"/>
            <p14:sldId id="3015"/>
            <p14:sldId id="1793"/>
            <p14:sldId id="3017"/>
            <p14:sldId id="3018"/>
          </p14:sldIdLst>
        </p14:section>
        <p14:section name="ACT II" id="{A96CDE9B-111A-4004-B377-32FB4A9BF7C7}">
          <p14:sldIdLst>
            <p14:sldId id="51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6A"/>
    <a:srgbClr val="27A68C"/>
    <a:srgbClr val="005A4D"/>
    <a:srgbClr val="000000"/>
    <a:srgbClr val="002050"/>
    <a:srgbClr val="0078D7"/>
    <a:srgbClr val="00188F"/>
    <a:srgbClr val="694182"/>
    <a:srgbClr val="FFFFFF"/>
    <a:srgbClr val="0200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1318" autoAdjust="0"/>
  </p:normalViewPr>
  <p:slideViewPr>
    <p:cSldViewPr snapToGrid="0">
      <p:cViewPr varScale="1">
        <p:scale>
          <a:sx n="86" d="100"/>
          <a:sy n="86" d="100"/>
        </p:scale>
        <p:origin x="1362" y="18"/>
      </p:cViewPr>
      <p:guideLst/>
    </p:cSldViewPr>
  </p:slideViewPr>
  <p:notesTextViewPr>
    <p:cViewPr>
      <p:scale>
        <a:sx n="3" d="2"/>
        <a:sy n="3" d="2"/>
      </p:scale>
      <p:origin x="0" y="0"/>
    </p:cViewPr>
  </p:notesTextViewPr>
  <p:sorterViewPr>
    <p:cViewPr>
      <p:scale>
        <a:sx n="100" d="100"/>
        <a:sy n="100" d="100"/>
      </p:scale>
      <p:origin x="0" y="-7080"/>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2.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commentAuthors" Target="commentAuthors.xml"/><Relationship Id="rId5" Type="http://schemas.openxmlformats.org/officeDocument/2006/relationships/slideMaster" Target="slideMasters/slideMaster2.xml"/><Relationship Id="rId19" Type="http://schemas.openxmlformats.org/officeDocument/2006/relationships/slide" Target="slides/slide2.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tableStyles" Target="tableStyles.xml"/><Relationship Id="rId10" Type="http://schemas.openxmlformats.org/officeDocument/2006/relationships/slideMaster" Target="slideMasters/slideMaster7.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6/3/2019 9:54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6/3/2019 9:53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D08965-B119-474D-88E0-C7C409B58F3F}" type="slidenum">
              <a:rPr kumimoji="0"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26924256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FA8805A0-45E3-4CC0-A515-BB2E864CD0A9}"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47501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endParaRPr lang="en-US" dirty="0"/>
          </a:p>
        </p:txBody>
      </p:sp>
      <p:sp>
        <p:nvSpPr>
          <p:cNvPr id="4" name="Header Placeholder 3"/>
          <p:cNvSpPr>
            <a:spLocks noGrp="1"/>
          </p:cNvSpPr>
          <p:nvPr>
            <p:ph type="hdr" sz="quarter" idx="10"/>
          </p:nvPr>
        </p:nvSpPr>
        <p:spPr/>
        <p:txBody>
          <a:bodyPr/>
          <a:lstStyle/>
          <a:p>
            <a:pPr marL="0" marR="0" lvl="0" indent="0" algn="l" defTabSz="96852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93424"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852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8523" rtl="0" eaLnBrk="1" fontAlgn="auto" latinLnBrk="0" hangingPunct="1">
                <a:lnSpc>
                  <a:spcPct val="100000"/>
                </a:lnSpc>
                <a:spcBef>
                  <a:spcPts val="0"/>
                </a:spcBef>
                <a:spcAft>
                  <a:spcPts val="0"/>
                </a:spcAft>
                <a:buClrTx/>
                <a:buSzTx/>
                <a:buFontTx/>
                <a:buNone/>
                <a:tabLst/>
                <a:defRPr/>
              </a:pPr>
              <a:t>6/3/2019 9: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852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852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741980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6/3/2019 9: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67461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920B32-6D80-4A6C-84E7-947AB5769938}" type="slidenum">
              <a:rPr kumimoji="0" lang="en-US" sz="1200" b="0" i="0" u="none" strike="noStrike" kern="1200" cap="none" spc="0" normalizeH="0" baseline="0" noProof="0" smtClean="0">
                <a:ln>
                  <a:noFill/>
                </a:ln>
                <a:solidFill>
                  <a:prstClr val="black"/>
                </a:solidFill>
                <a:effectLst/>
                <a:uLnTx/>
                <a:uFillTx/>
                <a:latin typeface="等线"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等线" panose="020F0502020204030204"/>
              <a:ea typeface="+mn-ea"/>
              <a:cs typeface="+mn-cs"/>
            </a:endParaRPr>
          </a:p>
        </p:txBody>
      </p:sp>
    </p:spTree>
    <p:extLst>
      <p:ext uri="{BB962C8B-B14F-4D97-AF65-F5344CB8AC3E}">
        <p14:creationId xmlns:p14="http://schemas.microsoft.com/office/powerpoint/2010/main" val="28305303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4947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6/3/2019 9:53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80237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4947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6/3/2019 9:53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80079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4947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6/3/2019 9:53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9171168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4947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6/3/2019 9:53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66890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4947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6/3/2019 9:53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772646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4947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6/3/2019 9:53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9782407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241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9:53 P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021915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4947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6/3/2019 9:53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5431617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4947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6/3/2019 9:53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3973628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这两页改成</a:t>
            </a:r>
            <a:r>
              <a:rPr lang="en-US" altLang="zh-CN" dirty="0"/>
              <a:t>IoT</a:t>
            </a:r>
            <a:r>
              <a:rPr lang="zh-CN" altLang="en-US" dirty="0"/>
              <a:t>架构图</a:t>
            </a:r>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C90081-B6B8-444D-8DE0-58ED8E2D2544}" type="slidenum">
              <a:rPr kumimoji="0"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10738972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C90081-B6B8-444D-8DE0-58ED8E2D2544}" type="slidenum">
              <a:rPr kumimoji="0"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18146901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edge, you are getting similar insights but with different means. The cloud analytics here are deployed down to the IoT devices to run them locally so that your business still operates reliably even when connectivity is not consistent.</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DBB4822-08FA-4ACE-A0FE-23159A244C4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95568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7787" marR="0" lvl="0" indent="0" algn="l" defTabSz="9241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2019 9:5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75060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7787" marR="0" lvl="0" indent="0" algn="l" defTabSz="9241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2019 9:5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68735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6/3/2019 9:5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9563153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zh-TW"/>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6C56EB-3425-441F-89F3-D89D61474F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6268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7787" marR="0" lvl="0" indent="0" algn="l" defTabSz="9241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2019 9:5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5368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7787" marR="0" lvl="0" indent="0" algn="l" defTabSz="9241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2019 9:5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15118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9617CCEA-49A8-43AF-A64B-0D7A6CEDCDD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18157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9617CCEA-49A8-43AF-A64B-0D7A6CEDCDD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81320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6/3/2019 9: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2182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眉占位符 3"/>
          <p:cNvSpPr>
            <a:spLocks noGrp="1"/>
          </p:cNvSpPr>
          <p:nvPr>
            <p:ph type="hdr" sz="quarter" idx="10"/>
          </p:nvPr>
        </p:nvSpPr>
        <p:spPr/>
        <p:txBody>
          <a:bodyPr/>
          <a:lstStyle/>
          <a:p>
            <a:endParaRPr lang="en-US"/>
          </a:p>
        </p:txBody>
      </p:sp>
      <p:sp>
        <p:nvSpPr>
          <p:cNvPr id="5" name="页脚占位符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日期占位符 5"/>
          <p:cNvSpPr>
            <a:spLocks noGrp="1"/>
          </p:cNvSpPr>
          <p:nvPr>
            <p:ph type="dt" idx="12"/>
          </p:nvPr>
        </p:nvSpPr>
        <p:spPr/>
        <p:txBody>
          <a:bodyPr/>
          <a:lstStyle/>
          <a:p>
            <a:fld id="{38EEC551-8CDA-4EB6-89BB-2A86C9F091C8}" type="datetime8">
              <a:rPr lang="en-US" smtClean="0"/>
              <a:t>6/3/2019 9:53 PM</a:t>
            </a:fld>
            <a:endParaRPr lang="en-US"/>
          </a:p>
        </p:txBody>
      </p:sp>
      <p:sp>
        <p:nvSpPr>
          <p:cNvPr id="7" name="灯片编号占位符 6"/>
          <p:cNvSpPr>
            <a:spLocks noGrp="1"/>
          </p:cNvSpPr>
          <p:nvPr>
            <p:ph type="sldNum" sz="quarter" idx="13"/>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41361443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2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0.emf"/><Relationship Id="rId5" Type="http://schemas.openxmlformats.org/officeDocument/2006/relationships/oleObject" Target="../embeddings/oleObject3.bin"/><Relationship Id="rId4" Type="http://schemas.openxmlformats.org/officeDocument/2006/relationships/image" Target="../media/image21.png"/></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22.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0.emf"/><Relationship Id="rId5" Type="http://schemas.openxmlformats.org/officeDocument/2006/relationships/oleObject" Target="../embeddings/oleObject4.bin"/><Relationship Id="rId4" Type="http://schemas.openxmlformats.org/officeDocument/2006/relationships/image" Target="../media/image23.png"/></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22.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0.emf"/><Relationship Id="rId5" Type="http://schemas.openxmlformats.org/officeDocument/2006/relationships/oleObject" Target="../embeddings/oleObject5.bin"/><Relationship Id="rId4" Type="http://schemas.openxmlformats.org/officeDocument/2006/relationships/image" Target="../media/image24.png"/></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22.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0.emf"/><Relationship Id="rId5" Type="http://schemas.openxmlformats.org/officeDocument/2006/relationships/oleObject" Target="../embeddings/oleObject6.bin"/><Relationship Id="rId4" Type="http://schemas.openxmlformats.org/officeDocument/2006/relationships/image" Target="../media/image21.png"/></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22.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0.emf"/><Relationship Id="rId5" Type="http://schemas.openxmlformats.org/officeDocument/2006/relationships/oleObject" Target="../embeddings/oleObject7.bin"/><Relationship Id="rId4" Type="http://schemas.openxmlformats.org/officeDocument/2006/relationships/image" Target="../media/image25.png"/></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22.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0.emf"/><Relationship Id="rId5" Type="http://schemas.openxmlformats.org/officeDocument/2006/relationships/oleObject" Target="../embeddings/oleObject8.bin"/><Relationship Id="rId4" Type="http://schemas.openxmlformats.org/officeDocument/2006/relationships/image" Target="../media/image26.png"/></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22.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20.emf"/><Relationship Id="rId5" Type="http://schemas.openxmlformats.org/officeDocument/2006/relationships/oleObject" Target="../embeddings/oleObject9.bin"/><Relationship Id="rId4" Type="http://schemas.openxmlformats.org/officeDocument/2006/relationships/image" Target="../media/image27.png"/></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22.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20.emf"/><Relationship Id="rId5" Type="http://schemas.openxmlformats.org/officeDocument/2006/relationships/oleObject" Target="../embeddings/oleObject10.bin"/><Relationship Id="rId4" Type="http://schemas.openxmlformats.org/officeDocument/2006/relationships/image" Target="../media/image28.png"/></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oleObject" Target="../embeddings/oleObject12.bin"/><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20.emf"/><Relationship Id="rId5" Type="http://schemas.openxmlformats.org/officeDocument/2006/relationships/oleObject" Target="../embeddings/oleObject11.bin"/><Relationship Id="rId4"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Master" Target="../slideMasters/slideMaster13.xml"/><Relationship Id="rId4" Type="http://schemas.openxmlformats.org/officeDocument/2006/relationships/image" Target="../media/image43.jpeg"/></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solidFill>
                  <a:srgbClr val="005A4D"/>
                </a:soli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597158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8E1E0E3F-0B64-467D-BE75-5905CE590D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902" y="0"/>
            <a:ext cx="12428673" cy="6994525"/>
          </a:xfrm>
          <a:prstGeom prst="rect">
            <a:avLst/>
          </a:prstGeom>
        </p:spPr>
      </p:pic>
    </p:spTree>
    <p:extLst>
      <p:ext uri="{BB962C8B-B14F-4D97-AF65-F5344CB8AC3E}">
        <p14:creationId xmlns:p14="http://schemas.microsoft.com/office/powerpoint/2010/main" val="186906490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31439C85-0497-4011-9C29-D83093222E19}"/>
              </a:ext>
            </a:extLst>
          </p:cNvPr>
          <p:cNvSpPr>
            <a:spLocks noGrp="1"/>
          </p:cNvSpPr>
          <p:nvPr>
            <p:ph type="dt" sz="half" idx="10"/>
          </p:nvPr>
        </p:nvSpPr>
        <p:spPr/>
        <p:txBody>
          <a:bodyPr/>
          <a:lstStyle/>
          <a:p>
            <a:fld id="{87BDA7B7-D228-46CE-8D87-DDBAD6029826}" type="datetimeFigureOut">
              <a:rPr lang="zh-CN" altLang="en-US" smtClean="0"/>
              <a:t>2019/06/03</a:t>
            </a:fld>
            <a:endParaRPr lang="zh-CN" altLang="en-US"/>
          </a:p>
        </p:txBody>
      </p:sp>
      <p:sp>
        <p:nvSpPr>
          <p:cNvPr id="3" name="页脚占位符 2">
            <a:extLst>
              <a:ext uri="{FF2B5EF4-FFF2-40B4-BE49-F238E27FC236}">
                <a16:creationId xmlns:a16="http://schemas.microsoft.com/office/drawing/2014/main" id="{BCC1BA2E-988B-4863-AD8D-CFB45ED72330}"/>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B0276AB3-1DF2-4FC4-8549-E142CEC2628D}"/>
              </a:ext>
            </a:extLst>
          </p:cNvPr>
          <p:cNvSpPr>
            <a:spLocks noGrp="1"/>
          </p:cNvSpPr>
          <p:nvPr>
            <p:ph type="sldNum" sz="quarter" idx="12"/>
          </p:nvPr>
        </p:nvSpPr>
        <p:spPr/>
        <p:txBody>
          <a:bodyPr/>
          <a:lstStyle/>
          <a:p>
            <a:fld id="{0F7C11B4-F71C-4EEB-9949-CDD1A0A58308}" type="slidenum">
              <a:rPr lang="zh-CN" altLang="en-US" smtClean="0"/>
              <a:t>‹#›</a:t>
            </a:fld>
            <a:endParaRPr lang="zh-CN" altLang="en-US"/>
          </a:p>
        </p:txBody>
      </p:sp>
    </p:spTree>
    <p:extLst>
      <p:ext uri="{BB962C8B-B14F-4D97-AF65-F5344CB8AC3E}">
        <p14:creationId xmlns:p14="http://schemas.microsoft.com/office/powerpoint/2010/main" val="303282472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AE2A791-140B-4D5E-8201-26AB4E834236}"/>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70D5D999-3B00-47A3-8F98-766B98E561F0}"/>
              </a:ext>
            </a:extLst>
          </p:cNvPr>
          <p:cNvSpPr>
            <a:spLocks noGrp="1"/>
          </p:cNvSpPr>
          <p:nvPr>
            <p:ph type="dt" sz="half" idx="10"/>
          </p:nvPr>
        </p:nvSpPr>
        <p:spPr/>
        <p:txBody>
          <a:bodyPr/>
          <a:lstStyle/>
          <a:p>
            <a:fld id="{87BDA7B7-D228-46CE-8D87-DDBAD6029826}" type="datetimeFigureOut">
              <a:rPr lang="zh-CN" altLang="en-US" smtClean="0"/>
              <a:t>2019/06/03</a:t>
            </a:fld>
            <a:endParaRPr lang="zh-CN" altLang="en-US"/>
          </a:p>
        </p:txBody>
      </p:sp>
      <p:sp>
        <p:nvSpPr>
          <p:cNvPr id="4" name="页脚占位符 3">
            <a:extLst>
              <a:ext uri="{FF2B5EF4-FFF2-40B4-BE49-F238E27FC236}">
                <a16:creationId xmlns:a16="http://schemas.microsoft.com/office/drawing/2014/main" id="{97627A1C-755B-4392-B55E-8A76EDA2E45D}"/>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EFC7791E-1051-4957-BFE5-B2C00EDC1BD9}"/>
              </a:ext>
            </a:extLst>
          </p:cNvPr>
          <p:cNvSpPr>
            <a:spLocks noGrp="1"/>
          </p:cNvSpPr>
          <p:nvPr>
            <p:ph type="sldNum" sz="quarter" idx="12"/>
          </p:nvPr>
        </p:nvSpPr>
        <p:spPr/>
        <p:txBody>
          <a:bodyPr/>
          <a:lstStyle/>
          <a:p>
            <a:fld id="{0F7C11B4-F71C-4EEB-9949-CDD1A0A58308}" type="slidenum">
              <a:rPr lang="zh-CN" altLang="en-US" smtClean="0"/>
              <a:t>‹#›</a:t>
            </a:fld>
            <a:endParaRPr lang="zh-CN" altLang="en-US"/>
          </a:p>
        </p:txBody>
      </p:sp>
    </p:spTree>
    <p:extLst>
      <p:ext uri="{BB962C8B-B14F-4D97-AF65-F5344CB8AC3E}">
        <p14:creationId xmlns:p14="http://schemas.microsoft.com/office/powerpoint/2010/main" val="45791892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ltGray">
          <a:xfrm>
            <a:off x="-10283" y="0"/>
            <a:ext cx="12446758" cy="7001301"/>
          </a:xfrm>
          <a:prstGeom prst="rect">
            <a:avLst/>
          </a:prstGeom>
        </p:spPr>
      </p:pic>
      <p:sp>
        <p:nvSpPr>
          <p:cNvPr id="18" name="Rectangle 17"/>
          <p:cNvSpPr/>
          <p:nvPr userDrawn="1"/>
        </p:nvSpPr>
        <p:spPr bwMode="gray">
          <a:xfrm>
            <a:off x="274638" y="2125663"/>
            <a:ext cx="6400800" cy="36576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402388"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8" y="4228783"/>
            <a:ext cx="6400800"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458332" y="6269752"/>
            <a:ext cx="1552931" cy="332660"/>
          </a:xfrm>
          <a:prstGeom prst="rect">
            <a:avLst/>
          </a:prstGeom>
        </p:spPr>
      </p:pic>
      <p:sp>
        <p:nvSpPr>
          <p:cNvPr id="11" name="TextBox 10"/>
          <p:cNvSpPr txBox="1"/>
          <p:nvPr userDrawn="1"/>
        </p:nvSpPr>
        <p:spPr bwMode="white">
          <a:xfrm>
            <a:off x="274638" y="296863"/>
            <a:ext cx="1828800" cy="1828800"/>
          </a:xfrm>
          <a:prstGeom prst="rect">
            <a:avLst/>
          </a:prstGeom>
          <a:solidFill>
            <a:schemeClr val="accent4"/>
          </a:solidFill>
        </p:spPr>
        <p:txBody>
          <a:bodyPr wrap="square" lIns="182880" tIns="146304" rIns="182880" bIns="146304" rtlCol="0">
            <a:no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6250">
                      <a:srgbClr val="000000"/>
                    </a:gs>
                    <a:gs pos="18000">
                      <a:srgbClr val="000000"/>
                    </a:gs>
                  </a:gsLst>
                  <a:lin ang="5400000" scaled="0"/>
                </a:gradFill>
                <a:effectLst/>
                <a:uLnTx/>
                <a:uFillTx/>
                <a:latin typeface="Segoe UI"/>
                <a:ea typeface="+mn-ea"/>
                <a:cs typeface="+mn-cs"/>
              </a:rPr>
              <a:t>Services</a:t>
            </a:r>
          </a:p>
        </p:txBody>
      </p:sp>
    </p:spTree>
    <p:extLst>
      <p:ext uri="{BB962C8B-B14F-4D97-AF65-F5344CB8AC3E}">
        <p14:creationId xmlns:p14="http://schemas.microsoft.com/office/powerpoint/2010/main" val="42835222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2" y="0"/>
            <a:ext cx="12434709" cy="6994524"/>
          </a:xfrm>
          <a:prstGeom prst="rect">
            <a:avLst/>
          </a:prstGeom>
        </p:spPr>
      </p:pic>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457580" y="6182089"/>
            <a:ext cx="1552931" cy="332660"/>
          </a:xfrm>
          <a:prstGeom prst="rect">
            <a:avLst/>
          </a:prstGeom>
        </p:spPr>
      </p:pic>
    </p:spTree>
    <p:extLst>
      <p:ext uri="{BB962C8B-B14F-4D97-AF65-F5344CB8AC3E}">
        <p14:creationId xmlns:p14="http://schemas.microsoft.com/office/powerpoint/2010/main" val="26336119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Title Slide Photo">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1" y="-1"/>
            <a:ext cx="12435594" cy="6995022"/>
          </a:xfrm>
          <a:prstGeom prst="rect">
            <a:avLst/>
          </a:prstGeom>
        </p:spPr>
      </p:pic>
      <p:sp>
        <p:nvSpPr>
          <p:cNvPr id="10" name="Rectangle 9"/>
          <p:cNvSpPr/>
          <p:nvPr userDrawn="1"/>
        </p:nvSpPr>
        <p:spPr bwMode="gray">
          <a:xfrm>
            <a:off x="274638" y="2125678"/>
            <a:ext cx="6400800" cy="3657600"/>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p:cNvSpPr>
            <a:spLocks noGrp="1"/>
          </p:cNvSpPr>
          <p:nvPr>
            <p:ph type="title" hasCustomPrompt="1"/>
          </p:nvPr>
        </p:nvSpPr>
        <p:spPr bwMode="ltGray">
          <a:xfrm>
            <a:off x="273050" y="2125677"/>
            <a:ext cx="6402388" cy="1828801"/>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15" name="Text Placeholder 2"/>
          <p:cNvSpPr>
            <a:spLocks noGrp="1"/>
          </p:cNvSpPr>
          <p:nvPr>
            <p:ph type="body" sz="quarter" idx="14" hasCustomPrompt="1"/>
          </p:nvPr>
        </p:nvSpPr>
        <p:spPr bwMode="ltGray">
          <a:xfrm>
            <a:off x="274638" y="3954477"/>
            <a:ext cx="6400800" cy="1828800"/>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8" name="Picture 1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457580" y="6182440"/>
            <a:ext cx="1552931" cy="332660"/>
          </a:xfrm>
          <a:prstGeom prst="rect">
            <a:avLst/>
          </a:prstGeom>
        </p:spPr>
      </p:pic>
      <p:sp>
        <p:nvSpPr>
          <p:cNvPr id="8" name="TextBox 7"/>
          <p:cNvSpPr txBox="1"/>
          <p:nvPr userDrawn="1"/>
        </p:nvSpPr>
        <p:spPr bwMode="white">
          <a:xfrm>
            <a:off x="274638" y="296863"/>
            <a:ext cx="1828800" cy="1828800"/>
          </a:xfrm>
          <a:prstGeom prst="rect">
            <a:avLst/>
          </a:prstGeom>
          <a:solidFill>
            <a:schemeClr val="accent4"/>
          </a:solidFill>
        </p:spPr>
        <p:txBody>
          <a:bodyPr wrap="square" lIns="182880" tIns="146304" rIns="182880" bIns="146304" rtlCol="0">
            <a:no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6250">
                      <a:srgbClr val="000000"/>
                    </a:gs>
                    <a:gs pos="18000">
                      <a:srgbClr val="000000"/>
                    </a:gs>
                  </a:gsLst>
                  <a:lin ang="5400000" scaled="0"/>
                </a:gradFill>
                <a:effectLst/>
                <a:uLnTx/>
                <a:uFillTx/>
                <a:latin typeface="Segoe UI"/>
                <a:ea typeface="+mn-ea"/>
                <a:cs typeface="+mn-cs"/>
              </a:rPr>
              <a:t>Services</a:t>
            </a:r>
          </a:p>
        </p:txBody>
      </p:sp>
    </p:spTree>
    <p:extLst>
      <p:ext uri="{BB962C8B-B14F-4D97-AF65-F5344CB8AC3E}">
        <p14:creationId xmlns:p14="http://schemas.microsoft.com/office/powerpoint/2010/main" val="34468359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Title Slide Photo">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0" y="-1"/>
            <a:ext cx="12434712" cy="6994526"/>
          </a:xfrm>
          <a:prstGeom prst="rect">
            <a:avLst/>
          </a:prstGeom>
        </p:spPr>
      </p:pic>
      <p:sp>
        <p:nvSpPr>
          <p:cNvPr id="12" name="Rectangle 11"/>
          <p:cNvSpPr/>
          <p:nvPr userDrawn="1"/>
        </p:nvSpPr>
        <p:spPr bwMode="gray">
          <a:xfrm>
            <a:off x="274702" y="2125677"/>
            <a:ext cx="7315200" cy="3657586"/>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ltGray">
          <a:xfrm>
            <a:off x="274638" y="2125663"/>
            <a:ext cx="7315200" cy="1828800"/>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bwMode="ltGray">
          <a:xfrm>
            <a:off x="274639" y="3952875"/>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10425963" y="6173387"/>
            <a:ext cx="1552931" cy="332660"/>
          </a:xfrm>
          <a:prstGeom prst="rect">
            <a:avLst/>
          </a:prstGeom>
        </p:spPr>
      </p:pic>
      <p:sp>
        <p:nvSpPr>
          <p:cNvPr id="9" name="TextBox 8"/>
          <p:cNvSpPr txBox="1"/>
          <p:nvPr userDrawn="1"/>
        </p:nvSpPr>
        <p:spPr bwMode="white">
          <a:xfrm>
            <a:off x="274638" y="296863"/>
            <a:ext cx="1828800" cy="1828800"/>
          </a:xfrm>
          <a:prstGeom prst="rect">
            <a:avLst/>
          </a:prstGeom>
          <a:solidFill>
            <a:schemeClr val="accent4"/>
          </a:solidFill>
        </p:spPr>
        <p:txBody>
          <a:bodyPr wrap="square" lIns="182880" tIns="146304" rIns="182880" bIns="146304" rtlCol="0">
            <a:no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6250">
                      <a:srgbClr val="000000"/>
                    </a:gs>
                    <a:gs pos="18000">
                      <a:srgbClr val="000000"/>
                    </a:gs>
                  </a:gsLst>
                  <a:lin ang="5400000" scaled="0"/>
                </a:gradFill>
                <a:effectLst/>
                <a:uLnTx/>
                <a:uFillTx/>
                <a:latin typeface="Segoe UI"/>
                <a:ea typeface="+mn-ea"/>
                <a:cs typeface="+mn-cs"/>
              </a:rPr>
              <a:t>Services</a:t>
            </a:r>
          </a:p>
        </p:txBody>
      </p:sp>
    </p:spTree>
    <p:extLst>
      <p:ext uri="{BB962C8B-B14F-4D97-AF65-F5344CB8AC3E}">
        <p14:creationId xmlns:p14="http://schemas.microsoft.com/office/powerpoint/2010/main" val="1940845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rgbClr val="00723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3333">
                      <a:schemeClr val="tx1"/>
                    </a:gs>
                    <a:gs pos="39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
        <p:nvSpPr>
          <p:cNvPr id="8" name="TextBox 7"/>
          <p:cNvSpPr txBox="1"/>
          <p:nvPr userDrawn="1"/>
        </p:nvSpPr>
        <p:spPr bwMode="white">
          <a:xfrm>
            <a:off x="274638" y="296863"/>
            <a:ext cx="1828800" cy="1828800"/>
          </a:xfrm>
          <a:prstGeom prst="rect">
            <a:avLst/>
          </a:prstGeom>
          <a:solidFill>
            <a:schemeClr val="accent4"/>
          </a:solidFill>
        </p:spPr>
        <p:txBody>
          <a:bodyPr wrap="square" lIns="182880" tIns="146304" rIns="182880" bIns="146304" rtlCol="0">
            <a:no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6250">
                      <a:srgbClr val="000000"/>
                    </a:gs>
                    <a:gs pos="18000">
                      <a:srgbClr val="000000"/>
                    </a:gs>
                  </a:gsLst>
                  <a:lin ang="5400000" scaled="0"/>
                </a:gradFill>
                <a:effectLst/>
                <a:uLnTx/>
                <a:uFillTx/>
                <a:latin typeface="Segoe UI"/>
                <a:ea typeface="+mn-ea"/>
                <a:cs typeface="+mn-cs"/>
              </a:rPr>
              <a:t>Services</a:t>
            </a:r>
          </a:p>
        </p:txBody>
      </p:sp>
    </p:spTree>
    <p:extLst>
      <p:ext uri="{BB962C8B-B14F-4D97-AF65-F5344CB8AC3E}">
        <p14:creationId xmlns:p14="http://schemas.microsoft.com/office/powerpoint/2010/main" val="17563239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74638" y="2125663"/>
            <a:ext cx="9144000" cy="36576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6079" y="6240462"/>
            <a:ext cx="1617196" cy="346426"/>
          </a:xfrm>
          <a:prstGeom prst="rect">
            <a:avLst/>
          </a:prstGeom>
        </p:spPr>
      </p:pic>
      <p:sp>
        <p:nvSpPr>
          <p:cNvPr id="7" name="TextBox 6"/>
          <p:cNvSpPr txBox="1"/>
          <p:nvPr userDrawn="1"/>
        </p:nvSpPr>
        <p:spPr bwMode="white">
          <a:xfrm>
            <a:off x="274638" y="296863"/>
            <a:ext cx="1828800" cy="1828800"/>
          </a:xfrm>
          <a:prstGeom prst="rect">
            <a:avLst/>
          </a:prstGeom>
          <a:solidFill>
            <a:schemeClr val="accent4"/>
          </a:solidFill>
        </p:spPr>
        <p:txBody>
          <a:bodyPr wrap="square" lIns="182880" tIns="146304" rIns="182880" bIns="146304" rtlCol="0">
            <a:no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6250">
                      <a:srgbClr val="000000"/>
                    </a:gs>
                    <a:gs pos="18000">
                      <a:srgbClr val="000000"/>
                    </a:gs>
                  </a:gsLst>
                  <a:lin ang="5400000" scaled="0"/>
                </a:gradFill>
                <a:effectLst/>
                <a:uLnTx/>
                <a:uFillTx/>
                <a:latin typeface="Segoe UI"/>
                <a:ea typeface="+mn-ea"/>
                <a:cs typeface="+mn-cs"/>
              </a:rPr>
              <a:t>Services</a:t>
            </a:r>
          </a:p>
        </p:txBody>
      </p:sp>
    </p:spTree>
    <p:extLst>
      <p:ext uri="{BB962C8B-B14F-4D97-AF65-F5344CB8AC3E}">
        <p14:creationId xmlns:p14="http://schemas.microsoft.com/office/powerpoint/2010/main" val="41612499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781128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C07D01-F856-4595-89DA-1B2873A01DE4}"/>
              </a:ext>
            </a:extLst>
          </p:cNvPr>
          <p:cNvSpPr>
            <a:spLocks noGrp="1"/>
          </p:cNvSpPr>
          <p:nvPr>
            <p:ph type="title"/>
          </p:nvPr>
        </p:nvSpPr>
        <p:spPr>
          <a:xfrm>
            <a:off x="274638" y="2125677"/>
            <a:ext cx="10056812" cy="1181862"/>
          </a:xfrm>
        </p:spPr>
        <p:txBody>
          <a:bodyPr/>
          <a:lstStyle>
            <a:lvl1pPr>
              <a:defRPr sz="7200"/>
            </a:lvl1pPr>
          </a:lstStyle>
          <a:p>
            <a:endParaRPr lang="en-US"/>
          </a:p>
        </p:txBody>
      </p:sp>
      <p:sp>
        <p:nvSpPr>
          <p:cNvPr id="3" name="Text Placeholder 5">
            <a:extLst>
              <a:ext uri="{FF2B5EF4-FFF2-40B4-BE49-F238E27FC236}">
                <a16:creationId xmlns:a16="http://schemas.microsoft.com/office/drawing/2014/main" id="{A2807039-8F8F-4DB1-B4FF-F39A7E053472}"/>
              </a:ext>
            </a:extLst>
          </p:cNvPr>
          <p:cNvSpPr>
            <a:spLocks noGrp="1"/>
          </p:cNvSpPr>
          <p:nvPr>
            <p:ph type="body" sz="quarter" idx="12"/>
          </p:nvPr>
        </p:nvSpPr>
        <p:spPr>
          <a:xfrm>
            <a:off x="274638" y="4373267"/>
            <a:ext cx="10058401" cy="738664"/>
          </a:xfrm>
        </p:spPr>
        <p:txBody>
          <a:bodyPr/>
          <a:lstStyle>
            <a:lvl1pPr marL="0" indent="0">
              <a:buNone/>
              <a:defRPr/>
            </a:lvl1pPr>
          </a:lstStyle>
          <a:p>
            <a:r>
              <a:rPr lang="en-US"/>
              <a:t>Onstage </a:t>
            </a:r>
            <a:r>
              <a:rPr lang="en-US" err="1"/>
              <a:t>Demoer</a:t>
            </a:r>
            <a:r>
              <a:rPr lang="en-US"/>
              <a:t>: XX</a:t>
            </a:r>
          </a:p>
        </p:txBody>
      </p:sp>
    </p:spTree>
    <p:extLst>
      <p:ext uri="{BB962C8B-B14F-4D97-AF65-F5344CB8AC3E}">
        <p14:creationId xmlns:p14="http://schemas.microsoft.com/office/powerpoint/2010/main" val="2529270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841771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141793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719169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01062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91241">
                      <a:srgbClr val="000000"/>
                    </a:gs>
                    <a:gs pos="60000">
                      <a:srgbClr val="000000"/>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097438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459700"/>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314223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2567211"/>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820099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84204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7774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680836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134230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3889909"/>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307422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428326966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184999055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1447852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46842811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gradFill>
                  <a:gsLst>
                    <a:gs pos="1250">
                      <a:srgbClr val="000000"/>
                    </a:gs>
                    <a:gs pos="100000">
                      <a:srgbClr val="000000"/>
                    </a:gs>
                  </a:gsLst>
                  <a:lin ang="5400000" scaled="0"/>
                </a:gradFill>
              </a:defRPr>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gradFill>
                  <a:gsLst>
                    <a:gs pos="1250">
                      <a:srgbClr val="000000"/>
                    </a:gs>
                    <a:gs pos="100000">
                      <a:srgbClr val="000000"/>
                    </a:gs>
                  </a:gsLst>
                  <a:lin ang="5400000" scaled="0"/>
                </a:gradFill>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1313270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2101851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Empty Template color 4">
    <p:bg>
      <p:bgPr>
        <a:solidFill>
          <a:srgbClr val="005A4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445107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439520041"/>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47531479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1662747"/>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0836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2753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5517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054994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Background_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矩形 1"/>
          <p:cNvSpPr/>
          <p:nvPr userDrawn="1"/>
        </p:nvSpPr>
        <p:spPr bwMode="auto">
          <a:xfrm>
            <a:off x="198437" y="220662"/>
            <a:ext cx="6349426" cy="6477000"/>
          </a:xfrm>
          <a:prstGeom prst="rect">
            <a:avLst/>
          </a:prstGeom>
          <a:solidFill>
            <a:srgbClr val="00BCF2">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zh-CN" altLang="en-US" sz="24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18" name="Title 1"/>
          <p:cNvSpPr>
            <a:spLocks noGrp="1"/>
          </p:cNvSpPr>
          <p:nvPr>
            <p:ph type="ctrTitle" hasCustomPrompt="1"/>
          </p:nvPr>
        </p:nvSpPr>
        <p:spPr>
          <a:xfrm>
            <a:off x="326011" y="1456840"/>
            <a:ext cx="5884450" cy="897427"/>
          </a:xfrm>
          <a:prstGeom prst="rect">
            <a:avLst/>
          </a:prstGeom>
        </p:spPr>
        <p:txBody>
          <a:bodyPr>
            <a:noAutofit/>
          </a:bodyPr>
          <a:lstStyle>
            <a:lvl1pPr>
              <a:defRPr sz="5100" baseline="0">
                <a:solidFill>
                  <a:schemeClr val="bg1"/>
                </a:solidFill>
              </a:defRPr>
            </a:lvl1pPr>
          </a:lstStyle>
          <a:p>
            <a:r>
              <a:rPr lang="en-US" dirty="0"/>
              <a:t>Headline here, second line here</a:t>
            </a:r>
          </a:p>
        </p:txBody>
      </p:sp>
      <p:sp>
        <p:nvSpPr>
          <p:cNvPr id="19" name="Subtitle 2"/>
          <p:cNvSpPr>
            <a:spLocks noGrp="1"/>
          </p:cNvSpPr>
          <p:nvPr>
            <p:ph type="subTitle" idx="1" hasCustomPrompt="1"/>
          </p:nvPr>
        </p:nvSpPr>
        <p:spPr>
          <a:xfrm>
            <a:off x="326071" y="4440119"/>
            <a:ext cx="5884382" cy="1055382"/>
          </a:xfrm>
          <a:prstGeom prst="rect">
            <a:avLst/>
          </a:prstGeom>
        </p:spPr>
        <p:txBody>
          <a:bodyPr>
            <a:normAutofit/>
          </a:bodyPr>
          <a:lstStyle>
            <a:lvl1pPr marL="0" indent="0" algn="l">
              <a:lnSpc>
                <a:spcPts val="2244"/>
              </a:lnSpc>
              <a:buNone/>
              <a:defRPr sz="1836">
                <a:solidFill>
                  <a:schemeClr val="bg1"/>
                </a:solidFill>
                <a:latin typeface="+mj-lt"/>
              </a:defRPr>
            </a:lvl1pPr>
            <a:lvl2pPr marL="456849" indent="0" algn="ctr">
              <a:buNone/>
              <a:defRPr>
                <a:solidFill>
                  <a:schemeClr val="tx1">
                    <a:tint val="75000"/>
                  </a:schemeClr>
                </a:solidFill>
              </a:defRPr>
            </a:lvl2pPr>
            <a:lvl3pPr marL="913698" indent="0" algn="ctr">
              <a:buNone/>
              <a:defRPr>
                <a:solidFill>
                  <a:schemeClr val="tx1">
                    <a:tint val="75000"/>
                  </a:schemeClr>
                </a:solidFill>
              </a:defRPr>
            </a:lvl3pPr>
            <a:lvl4pPr marL="1370547" indent="0" algn="ctr">
              <a:buNone/>
              <a:defRPr>
                <a:solidFill>
                  <a:schemeClr val="tx1">
                    <a:tint val="75000"/>
                  </a:schemeClr>
                </a:solidFill>
              </a:defRPr>
            </a:lvl4pPr>
            <a:lvl5pPr marL="1827395" indent="0" algn="ctr">
              <a:buNone/>
              <a:defRPr>
                <a:solidFill>
                  <a:schemeClr val="tx1">
                    <a:tint val="75000"/>
                  </a:schemeClr>
                </a:solidFill>
              </a:defRPr>
            </a:lvl5pPr>
            <a:lvl6pPr marL="2284245" indent="0" algn="ctr">
              <a:buNone/>
              <a:defRPr>
                <a:solidFill>
                  <a:schemeClr val="tx1">
                    <a:tint val="75000"/>
                  </a:schemeClr>
                </a:solidFill>
              </a:defRPr>
            </a:lvl6pPr>
            <a:lvl7pPr marL="2741093" indent="0" algn="ctr">
              <a:buNone/>
              <a:defRPr>
                <a:solidFill>
                  <a:schemeClr val="tx1">
                    <a:tint val="75000"/>
                  </a:schemeClr>
                </a:solidFill>
              </a:defRPr>
            </a:lvl7pPr>
            <a:lvl8pPr marL="3197940" indent="0" algn="ctr">
              <a:buNone/>
              <a:defRPr>
                <a:solidFill>
                  <a:schemeClr val="tx1">
                    <a:tint val="75000"/>
                  </a:schemeClr>
                </a:solidFill>
              </a:defRPr>
            </a:lvl8pPr>
            <a:lvl9pPr marL="3654791" indent="0" algn="ctr">
              <a:buNone/>
              <a:defRPr>
                <a:solidFill>
                  <a:schemeClr val="tx1">
                    <a:tint val="75000"/>
                  </a:schemeClr>
                </a:solidFill>
              </a:defRPr>
            </a:lvl9pPr>
          </a:lstStyle>
          <a:p>
            <a:r>
              <a:rPr lang="en-US" dirty="0"/>
              <a:t>Speaker Name</a:t>
            </a:r>
            <a:br>
              <a:rPr lang="en-US" dirty="0"/>
            </a:br>
            <a:r>
              <a:rPr lang="en-US" dirty="0"/>
              <a:t>Date</a:t>
            </a:r>
          </a:p>
        </p:txBody>
      </p:sp>
      <p:sp>
        <p:nvSpPr>
          <p:cNvPr id="21" name="Text Placeholder 7"/>
          <p:cNvSpPr>
            <a:spLocks noGrp="1"/>
          </p:cNvSpPr>
          <p:nvPr>
            <p:ph type="body" sz="quarter" idx="10" hasCustomPrompt="1"/>
          </p:nvPr>
        </p:nvSpPr>
        <p:spPr>
          <a:xfrm>
            <a:off x="329187" y="3056731"/>
            <a:ext cx="5899774" cy="881063"/>
          </a:xfrm>
          <a:prstGeom prst="rect">
            <a:avLst/>
          </a:prstGeom>
        </p:spPr>
        <p:txBody>
          <a:bodyPr>
            <a:normAutofit/>
          </a:bodyPr>
          <a:lstStyle>
            <a:lvl1pPr marL="0" indent="0">
              <a:buNone/>
              <a:defRPr sz="2856" baseline="0">
                <a:solidFill>
                  <a:schemeClr val="bg1"/>
                </a:solidFill>
                <a:latin typeface="+mj-lt"/>
              </a:defRPr>
            </a:lvl1pPr>
            <a:lvl2pPr marL="342636" indent="0">
              <a:buNone/>
              <a:defRPr sz="1598">
                <a:solidFill>
                  <a:schemeClr val="bg1"/>
                </a:solidFill>
                <a:latin typeface="+mj-lt"/>
              </a:defRPr>
            </a:lvl2pPr>
            <a:lvl3pPr marL="571062" indent="0">
              <a:buNone/>
              <a:defRPr sz="1396">
                <a:solidFill>
                  <a:schemeClr val="bg1"/>
                </a:solidFill>
                <a:latin typeface="+mj-lt"/>
              </a:defRPr>
            </a:lvl3pPr>
            <a:lvl4pPr marL="799484" indent="0">
              <a:buNone/>
              <a:defRPr sz="1196">
                <a:solidFill>
                  <a:schemeClr val="bg1"/>
                </a:solidFill>
                <a:latin typeface="+mj-lt"/>
              </a:defRPr>
            </a:lvl4pPr>
            <a:lvl5pPr marL="1027909" indent="0">
              <a:buNone/>
              <a:defRPr sz="1196">
                <a:solidFill>
                  <a:schemeClr val="bg1"/>
                </a:solidFill>
                <a:latin typeface="+mj-lt"/>
              </a:defRPr>
            </a:lvl5pPr>
          </a:lstStyle>
          <a:p>
            <a:pPr lvl="0"/>
            <a:r>
              <a:rPr lang="en-US" dirty="0"/>
              <a:t>Sub header her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73328" y="479775"/>
            <a:ext cx="1304123" cy="285764"/>
          </a:xfrm>
          <a:prstGeom prst="rect">
            <a:avLst/>
          </a:prstGeom>
        </p:spPr>
      </p:pic>
    </p:spTree>
    <p:extLst>
      <p:ext uri="{BB962C8B-B14F-4D97-AF65-F5344CB8AC3E}">
        <p14:creationId xmlns:p14="http://schemas.microsoft.com/office/powerpoint/2010/main" val="122131386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55008" y="6482889"/>
            <a:ext cx="2798207"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5B025A00-4C9A-4B58-AB0C-93BA984570C2}" type="datetimeFigureOut">
              <a:rPr kumimoji="0" lang="zh-CN" alt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2019/06/03</a:t>
            </a:fld>
            <a:endParaRPr kumimoji="0" lang="zh-CN" alt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 name="页脚占位符 2"/>
          <p:cNvSpPr>
            <a:spLocks noGrp="1"/>
          </p:cNvSpPr>
          <p:nvPr>
            <p:ph type="ftr" sz="quarter" idx="11"/>
          </p:nvPr>
        </p:nvSpPr>
        <p:spPr>
          <a:xfrm>
            <a:off x="4119583" y="6482889"/>
            <a:ext cx="4197310"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 name="灯片编号占位符 3"/>
          <p:cNvSpPr>
            <a:spLocks noGrp="1"/>
          </p:cNvSpPr>
          <p:nvPr>
            <p:ph type="sldNum" sz="quarter" idx="12"/>
          </p:nvPr>
        </p:nvSpPr>
        <p:spPr>
          <a:xfrm>
            <a:off x="8783260" y="6482889"/>
            <a:ext cx="2798207"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B979F0E4-7418-4CC8-9BB8-62C08CA8D137}" type="slidenum">
              <a:rPr kumimoji="0" lang="zh-CN" alt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zh-CN" altLang="en-US"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421152557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584219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mpty Templa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44712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1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4" cstate="print">
            <a:extLst>
              <a:ext uri="{28A0092B-C50C-407E-A947-70E740481C1C}">
                <a14:useLocalDpi xmlns:a14="http://schemas.microsoft.com/office/drawing/2010/main"/>
              </a:ext>
            </a:extLst>
          </a:blip>
          <a:srcRect t="15225"/>
          <a:stretch/>
        </p:blipFill>
        <p:spPr>
          <a:xfrm flipH="1">
            <a:off x="6" y="0"/>
            <a:ext cx="12436475" cy="7022290"/>
          </a:xfrm>
          <a:prstGeom prst="rect">
            <a:avLst/>
          </a:prstGeom>
        </p:spPr>
      </p:pic>
      <p:graphicFrame>
        <p:nvGraphicFramePr>
          <p:cNvPr id="2" name="Object 1" hidden="1"/>
          <p:cNvGraphicFramePr>
            <a:graphicFrameLocks noChangeAspect="1"/>
          </p:cNvGraphicFramePr>
          <p:nvPr>
            <p:custDataLst>
              <p:tags r:id="rId2"/>
            </p:custDataLst>
          </p:nvPr>
        </p:nvGraphicFramePr>
        <p:xfrm>
          <a:off x="1595" y="1590"/>
          <a:ext cx="1587" cy="1587"/>
        </p:xfrm>
        <a:graphic>
          <a:graphicData uri="http://schemas.openxmlformats.org/presentationml/2006/ole">
            <mc:AlternateContent xmlns:mc="http://schemas.openxmlformats.org/markup-compatibility/2006">
              <mc:Choice xmlns:v="urn:schemas-microsoft-com:vml" Requires="v">
                <p:oleObj spid="_x0000_s210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5" y="1590"/>
                        <a:ext cx="1587" cy="1587"/>
                      </a:xfrm>
                      <a:prstGeom prst="rect">
                        <a:avLst/>
                      </a:prstGeom>
                    </p:spPr>
                  </p:pic>
                </p:oleObj>
              </mc:Fallback>
            </mc:AlternateContent>
          </a:graphicData>
        </a:graphic>
      </p:graphicFrame>
      <p:sp>
        <p:nvSpPr>
          <p:cNvPr id="9" name="Rectangle 8"/>
          <p:cNvSpPr/>
          <p:nvPr/>
        </p:nvSpPr>
        <p:spPr bwMode="auto">
          <a:xfrm>
            <a:off x="5" y="957482"/>
            <a:ext cx="7038789" cy="3894027"/>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3" tIns="146185" rIns="182733" bIns="146185" numCol="1" spcCol="0" rtlCol="0" fromWordArt="0" anchor="t" anchorCtr="0" forceAA="0" compatLnSpc="1">
            <a:prstTxWarp prst="textNoShape">
              <a:avLst/>
            </a:prstTxWarp>
            <a:noAutofit/>
          </a:bodyPr>
          <a:lstStyle/>
          <a:p>
            <a:pPr algn="ctr" defTabSz="9316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466374" y="1111214"/>
            <a:ext cx="6439875" cy="1356064"/>
          </a:xfrm>
          <a:prstGeom prst="rect">
            <a:avLst/>
          </a:prstGeom>
        </p:spPr>
        <p:txBody>
          <a:bodyPr wrap="square" lIns="149143" tIns="0" rIns="149143" bIns="0" anchor="t">
            <a:spAutoFit/>
          </a:bodyPr>
          <a:lstStyle>
            <a:lvl1pPr>
              <a:lnSpc>
                <a:spcPct val="90000"/>
              </a:lnSpc>
              <a:spcBef>
                <a:spcPts val="0"/>
              </a:spcBef>
              <a:defRPr sz="4900" baseline="0">
                <a:solidFill>
                  <a:schemeClr val="bg1"/>
                </a:solidFill>
              </a:defRPr>
            </a:lvl1pPr>
          </a:lstStyle>
          <a:p>
            <a:r>
              <a:rPr lang="en-US" dirty="0"/>
              <a:t>Headline here, second line here</a:t>
            </a:r>
          </a:p>
        </p:txBody>
      </p:sp>
      <p:sp>
        <p:nvSpPr>
          <p:cNvPr id="17" name="Subtitle 2"/>
          <p:cNvSpPr>
            <a:spLocks noGrp="1"/>
          </p:cNvSpPr>
          <p:nvPr>
            <p:ph type="subTitle" idx="1" hasCustomPrompt="1"/>
          </p:nvPr>
        </p:nvSpPr>
        <p:spPr>
          <a:xfrm>
            <a:off x="466373" y="3616402"/>
            <a:ext cx="6275659" cy="1055383"/>
          </a:xfrm>
          <a:prstGeom prst="rect">
            <a:avLst/>
          </a:prstGeom>
        </p:spPr>
        <p:txBody>
          <a:bodyPr lIns="149143" tIns="0" rIns="149143" bIns="0">
            <a:normAutofit/>
          </a:bodyPr>
          <a:lstStyle>
            <a:lvl1pPr marL="0" indent="0" algn="l">
              <a:lnSpc>
                <a:spcPct val="90000"/>
              </a:lnSpc>
              <a:spcBef>
                <a:spcPts val="0"/>
              </a:spcBef>
              <a:buNone/>
              <a:defRPr sz="2000">
                <a:solidFill>
                  <a:schemeClr val="bg1"/>
                </a:solidFill>
                <a:latin typeface="+mn-lt"/>
              </a:defRPr>
            </a:lvl1pPr>
            <a:lvl2pPr marL="456788" indent="0" algn="ctr">
              <a:buNone/>
              <a:defRPr>
                <a:solidFill>
                  <a:schemeClr val="tx1">
                    <a:tint val="75000"/>
                  </a:schemeClr>
                </a:solidFill>
              </a:defRPr>
            </a:lvl2pPr>
            <a:lvl3pPr marL="913579" indent="0" algn="ctr">
              <a:buNone/>
              <a:defRPr>
                <a:solidFill>
                  <a:schemeClr val="tx1">
                    <a:tint val="75000"/>
                  </a:schemeClr>
                </a:solidFill>
              </a:defRPr>
            </a:lvl3pPr>
            <a:lvl4pPr marL="1370368" indent="0" algn="ctr">
              <a:buNone/>
              <a:defRPr>
                <a:solidFill>
                  <a:schemeClr val="tx1">
                    <a:tint val="75000"/>
                  </a:schemeClr>
                </a:solidFill>
              </a:defRPr>
            </a:lvl4pPr>
            <a:lvl5pPr marL="1827159" indent="0" algn="ctr">
              <a:buNone/>
              <a:defRPr>
                <a:solidFill>
                  <a:schemeClr val="tx1">
                    <a:tint val="75000"/>
                  </a:schemeClr>
                </a:solidFill>
              </a:defRPr>
            </a:lvl5pPr>
            <a:lvl6pPr marL="2283946" indent="0" algn="ctr">
              <a:buNone/>
              <a:defRPr>
                <a:solidFill>
                  <a:schemeClr val="tx1">
                    <a:tint val="75000"/>
                  </a:schemeClr>
                </a:solidFill>
              </a:defRPr>
            </a:lvl6pPr>
            <a:lvl7pPr marL="2740735" indent="0" algn="ctr">
              <a:buNone/>
              <a:defRPr>
                <a:solidFill>
                  <a:schemeClr val="tx1">
                    <a:tint val="75000"/>
                  </a:schemeClr>
                </a:solidFill>
              </a:defRPr>
            </a:lvl7pPr>
            <a:lvl8pPr marL="3197524" indent="0" algn="ctr">
              <a:buNone/>
              <a:defRPr>
                <a:solidFill>
                  <a:schemeClr val="tx1">
                    <a:tint val="75000"/>
                  </a:schemeClr>
                </a:solidFill>
              </a:defRPr>
            </a:lvl8pPr>
            <a:lvl9pPr marL="3654312" indent="0" algn="ctr">
              <a:buNone/>
              <a:defRPr>
                <a:solidFill>
                  <a:schemeClr val="tx1">
                    <a:tint val="75000"/>
                  </a:schemeClr>
                </a:solidFill>
              </a:defRPr>
            </a:lvl9pPr>
          </a:lstStyle>
          <a:p>
            <a:r>
              <a:rPr lang="en-US" dirty="0"/>
              <a:t>Speaker Name</a:t>
            </a:r>
            <a:br>
              <a:rPr lang="en-US" dirty="0"/>
            </a:br>
            <a:r>
              <a:rPr lang="en-US" dirty="0"/>
              <a:t>Date</a:t>
            </a:r>
          </a:p>
        </p:txBody>
      </p:sp>
      <p:sp>
        <p:nvSpPr>
          <p:cNvPr id="19" name="Text Placeholder 7"/>
          <p:cNvSpPr>
            <a:spLocks noGrp="1"/>
          </p:cNvSpPr>
          <p:nvPr>
            <p:ph type="body" sz="quarter" idx="10" hasCustomPrompt="1"/>
          </p:nvPr>
        </p:nvSpPr>
        <p:spPr>
          <a:xfrm>
            <a:off x="466754" y="2542620"/>
            <a:ext cx="6456644" cy="881064"/>
          </a:xfrm>
          <a:prstGeom prst="rect">
            <a:avLst/>
          </a:prstGeom>
        </p:spPr>
        <p:txBody>
          <a:bodyPr lIns="149143" tIns="0" rIns="149143" bIns="0">
            <a:normAutofit/>
          </a:bodyPr>
          <a:lstStyle>
            <a:lvl1pPr marL="0" indent="0">
              <a:lnSpc>
                <a:spcPct val="90000"/>
              </a:lnSpc>
              <a:spcBef>
                <a:spcPts val="0"/>
              </a:spcBef>
              <a:buNone/>
              <a:defRPr sz="2000" baseline="0">
                <a:solidFill>
                  <a:schemeClr val="bg1"/>
                </a:solidFill>
                <a:latin typeface="+mn-lt"/>
              </a:defRPr>
            </a:lvl1pPr>
            <a:lvl2pPr marL="342591" indent="0">
              <a:buNone/>
              <a:defRPr sz="1600">
                <a:solidFill>
                  <a:schemeClr val="bg1"/>
                </a:solidFill>
                <a:latin typeface="+mj-lt"/>
              </a:defRPr>
            </a:lvl2pPr>
            <a:lvl3pPr marL="570987" indent="0">
              <a:buNone/>
              <a:defRPr sz="1300">
                <a:solidFill>
                  <a:schemeClr val="bg1"/>
                </a:solidFill>
                <a:latin typeface="+mj-lt"/>
              </a:defRPr>
            </a:lvl3pPr>
            <a:lvl4pPr marL="799382" indent="0">
              <a:buNone/>
              <a:defRPr sz="1200">
                <a:solidFill>
                  <a:schemeClr val="bg1"/>
                </a:solidFill>
                <a:latin typeface="+mj-lt"/>
              </a:defRPr>
            </a:lvl4pPr>
            <a:lvl5pPr marL="1027774" indent="0">
              <a:buNone/>
              <a:defRPr sz="1200">
                <a:solidFill>
                  <a:schemeClr val="bg1"/>
                </a:solidFill>
                <a:latin typeface="+mj-lt"/>
              </a:defRPr>
            </a:lvl5pPr>
          </a:lstStyle>
          <a:p>
            <a:pPr lvl="0"/>
            <a:r>
              <a:rPr lang="en-US" dirty="0"/>
              <a:t>Sub header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80062" y="6530044"/>
            <a:ext cx="1304123" cy="285765"/>
          </a:xfrm>
          <a:prstGeom prst="rect">
            <a:avLst/>
          </a:prstGeom>
        </p:spPr>
      </p:pic>
    </p:spTree>
    <p:extLst>
      <p:ext uri="{BB962C8B-B14F-4D97-AF65-F5344CB8AC3E}">
        <p14:creationId xmlns:p14="http://schemas.microsoft.com/office/powerpoint/2010/main" val="8421370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2_PresentationTitle_Manufacturing1">
    <p:bg>
      <p:bgPr>
        <a:solidFill>
          <a:schemeClr val="bg1"/>
        </a:solidFill>
        <a:effectLst/>
      </p:bgPr>
    </p:bg>
    <p:spTree>
      <p:nvGrpSpPr>
        <p:cNvPr id="1" name=""/>
        <p:cNvGrpSpPr/>
        <p:nvPr/>
      </p:nvGrpSpPr>
      <p:grpSpPr>
        <a:xfrm>
          <a:off x="0" y="0"/>
          <a:ext cx="0" cy="0"/>
          <a:chOff x="0" y="0"/>
          <a:chExt cx="0" cy="0"/>
        </a:xfrm>
      </p:grpSpPr>
      <p:pic>
        <p:nvPicPr>
          <p:cNvPr id="11" name="Picture 10" descr="IOYT Image 1.pn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 y="6"/>
            <a:ext cx="12436475" cy="7062433"/>
          </a:xfrm>
          <a:prstGeom prst="rect">
            <a:avLst/>
          </a:prstGeom>
        </p:spPr>
      </p:pic>
      <p:graphicFrame>
        <p:nvGraphicFramePr>
          <p:cNvPr id="2" name="Object 1" hidden="1"/>
          <p:cNvGraphicFramePr>
            <a:graphicFrameLocks noChangeAspect="1"/>
          </p:cNvGraphicFramePr>
          <p:nvPr>
            <p:custDataLst>
              <p:tags r:id="rId2"/>
            </p:custDataLst>
          </p:nvPr>
        </p:nvGraphicFramePr>
        <p:xfrm>
          <a:off x="1595" y="1590"/>
          <a:ext cx="1587" cy="1587"/>
        </p:xfrm>
        <a:graphic>
          <a:graphicData uri="http://schemas.openxmlformats.org/presentationml/2006/ole">
            <mc:AlternateContent xmlns:mc="http://schemas.openxmlformats.org/markup-compatibility/2006">
              <mc:Choice xmlns:v="urn:schemas-microsoft-com:vml" Requires="v">
                <p:oleObj spid="_x0000_s312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5" y="1590"/>
                        <a:ext cx="1587" cy="1587"/>
                      </a:xfrm>
                      <a:prstGeom prst="rect">
                        <a:avLst/>
                      </a:prstGeom>
                    </p:spPr>
                  </p:pic>
                </p:oleObj>
              </mc:Fallback>
            </mc:AlternateContent>
          </a:graphicData>
        </a:graphic>
      </p:graphicFrame>
      <p:sp>
        <p:nvSpPr>
          <p:cNvPr id="9" name="Rectangle 8"/>
          <p:cNvSpPr/>
          <p:nvPr/>
        </p:nvSpPr>
        <p:spPr bwMode="auto">
          <a:xfrm>
            <a:off x="-1" y="2636017"/>
            <a:ext cx="8115762" cy="3894027"/>
          </a:xfrm>
          <a:prstGeom prst="rect">
            <a:avLst/>
          </a:prstGeom>
          <a:solidFill>
            <a:srgbClr val="00188F">
              <a:alpha val="8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3" tIns="146185" rIns="182733" bIns="146185" numCol="1" spcCol="0" rtlCol="0" fromWordArt="0" anchor="t" anchorCtr="0" forceAA="0" compatLnSpc="1">
            <a:prstTxWarp prst="textNoShape">
              <a:avLst/>
            </a:prstTxWarp>
            <a:noAutofit/>
          </a:bodyPr>
          <a:lstStyle/>
          <a:p>
            <a:pPr algn="ctr" defTabSz="9316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466373" y="2789747"/>
            <a:ext cx="7418143" cy="1356064"/>
          </a:xfrm>
          <a:prstGeom prst="rect">
            <a:avLst/>
          </a:prstGeom>
        </p:spPr>
        <p:txBody>
          <a:bodyPr wrap="square" lIns="149143" tIns="0" rIns="149143" bIns="0" anchor="t">
            <a:spAutoFit/>
          </a:bodyPr>
          <a:lstStyle>
            <a:lvl1pPr>
              <a:lnSpc>
                <a:spcPct val="90000"/>
              </a:lnSpc>
              <a:spcBef>
                <a:spcPts val="0"/>
              </a:spcBef>
              <a:defRPr sz="4900" baseline="0">
                <a:solidFill>
                  <a:schemeClr val="bg1"/>
                </a:solidFill>
              </a:defRPr>
            </a:lvl1pPr>
          </a:lstStyle>
          <a:p>
            <a:r>
              <a:rPr lang="en-US" dirty="0"/>
              <a:t>Headline here, second line here</a:t>
            </a:r>
          </a:p>
        </p:txBody>
      </p:sp>
      <p:sp>
        <p:nvSpPr>
          <p:cNvPr id="17" name="Subtitle 2"/>
          <p:cNvSpPr>
            <a:spLocks noGrp="1"/>
          </p:cNvSpPr>
          <p:nvPr>
            <p:ph type="subTitle" idx="1" hasCustomPrompt="1"/>
          </p:nvPr>
        </p:nvSpPr>
        <p:spPr>
          <a:xfrm>
            <a:off x="466373" y="5294937"/>
            <a:ext cx="6275659" cy="1055383"/>
          </a:xfrm>
          <a:prstGeom prst="rect">
            <a:avLst/>
          </a:prstGeom>
        </p:spPr>
        <p:txBody>
          <a:bodyPr lIns="149143" tIns="0" rIns="149143" bIns="0">
            <a:normAutofit/>
          </a:bodyPr>
          <a:lstStyle>
            <a:lvl1pPr marL="0" indent="0" algn="l">
              <a:lnSpc>
                <a:spcPct val="90000"/>
              </a:lnSpc>
              <a:spcBef>
                <a:spcPts val="0"/>
              </a:spcBef>
              <a:buNone/>
              <a:defRPr sz="2000">
                <a:solidFill>
                  <a:schemeClr val="bg1"/>
                </a:solidFill>
                <a:latin typeface="+mn-lt"/>
              </a:defRPr>
            </a:lvl1pPr>
            <a:lvl2pPr marL="456788" indent="0" algn="ctr">
              <a:buNone/>
              <a:defRPr>
                <a:solidFill>
                  <a:schemeClr val="tx1">
                    <a:tint val="75000"/>
                  </a:schemeClr>
                </a:solidFill>
              </a:defRPr>
            </a:lvl2pPr>
            <a:lvl3pPr marL="913579" indent="0" algn="ctr">
              <a:buNone/>
              <a:defRPr>
                <a:solidFill>
                  <a:schemeClr val="tx1">
                    <a:tint val="75000"/>
                  </a:schemeClr>
                </a:solidFill>
              </a:defRPr>
            </a:lvl3pPr>
            <a:lvl4pPr marL="1370368" indent="0" algn="ctr">
              <a:buNone/>
              <a:defRPr>
                <a:solidFill>
                  <a:schemeClr val="tx1">
                    <a:tint val="75000"/>
                  </a:schemeClr>
                </a:solidFill>
              </a:defRPr>
            </a:lvl4pPr>
            <a:lvl5pPr marL="1827159" indent="0" algn="ctr">
              <a:buNone/>
              <a:defRPr>
                <a:solidFill>
                  <a:schemeClr val="tx1">
                    <a:tint val="75000"/>
                  </a:schemeClr>
                </a:solidFill>
              </a:defRPr>
            </a:lvl5pPr>
            <a:lvl6pPr marL="2283946" indent="0" algn="ctr">
              <a:buNone/>
              <a:defRPr>
                <a:solidFill>
                  <a:schemeClr val="tx1">
                    <a:tint val="75000"/>
                  </a:schemeClr>
                </a:solidFill>
              </a:defRPr>
            </a:lvl6pPr>
            <a:lvl7pPr marL="2740735" indent="0" algn="ctr">
              <a:buNone/>
              <a:defRPr>
                <a:solidFill>
                  <a:schemeClr val="tx1">
                    <a:tint val="75000"/>
                  </a:schemeClr>
                </a:solidFill>
              </a:defRPr>
            </a:lvl7pPr>
            <a:lvl8pPr marL="3197524" indent="0" algn="ctr">
              <a:buNone/>
              <a:defRPr>
                <a:solidFill>
                  <a:schemeClr val="tx1">
                    <a:tint val="75000"/>
                  </a:schemeClr>
                </a:solidFill>
              </a:defRPr>
            </a:lvl8pPr>
            <a:lvl9pPr marL="3654312" indent="0" algn="ctr">
              <a:buNone/>
              <a:defRPr>
                <a:solidFill>
                  <a:schemeClr val="tx1">
                    <a:tint val="75000"/>
                  </a:schemeClr>
                </a:solidFill>
              </a:defRPr>
            </a:lvl9pPr>
          </a:lstStyle>
          <a:p>
            <a:r>
              <a:rPr lang="en-US" dirty="0"/>
              <a:t>Speaker Name</a:t>
            </a:r>
            <a:br>
              <a:rPr lang="en-US" dirty="0"/>
            </a:br>
            <a:r>
              <a:rPr lang="en-US" dirty="0"/>
              <a:t>Date</a:t>
            </a:r>
          </a:p>
        </p:txBody>
      </p:sp>
      <p:sp>
        <p:nvSpPr>
          <p:cNvPr id="19" name="Text Placeholder 7"/>
          <p:cNvSpPr>
            <a:spLocks noGrp="1"/>
          </p:cNvSpPr>
          <p:nvPr>
            <p:ph type="body" sz="quarter" idx="10" hasCustomPrompt="1"/>
          </p:nvPr>
        </p:nvSpPr>
        <p:spPr>
          <a:xfrm>
            <a:off x="466760" y="4221155"/>
            <a:ext cx="7437459" cy="881064"/>
          </a:xfrm>
          <a:prstGeom prst="rect">
            <a:avLst/>
          </a:prstGeom>
        </p:spPr>
        <p:txBody>
          <a:bodyPr lIns="149143" tIns="0" rIns="149143" bIns="0">
            <a:normAutofit/>
          </a:bodyPr>
          <a:lstStyle>
            <a:lvl1pPr marL="0" indent="0">
              <a:lnSpc>
                <a:spcPct val="90000"/>
              </a:lnSpc>
              <a:spcBef>
                <a:spcPts val="0"/>
              </a:spcBef>
              <a:buNone/>
              <a:defRPr sz="2000" baseline="0">
                <a:solidFill>
                  <a:schemeClr val="bg1"/>
                </a:solidFill>
                <a:latin typeface="+mn-lt"/>
              </a:defRPr>
            </a:lvl1pPr>
            <a:lvl2pPr marL="342591" indent="0">
              <a:buNone/>
              <a:defRPr sz="1600">
                <a:solidFill>
                  <a:schemeClr val="bg1"/>
                </a:solidFill>
                <a:latin typeface="+mj-lt"/>
              </a:defRPr>
            </a:lvl2pPr>
            <a:lvl3pPr marL="570987" indent="0">
              <a:buNone/>
              <a:defRPr sz="1300">
                <a:solidFill>
                  <a:schemeClr val="bg1"/>
                </a:solidFill>
                <a:latin typeface="+mj-lt"/>
              </a:defRPr>
            </a:lvl3pPr>
            <a:lvl4pPr marL="799382" indent="0">
              <a:buNone/>
              <a:defRPr sz="1200">
                <a:solidFill>
                  <a:schemeClr val="bg1"/>
                </a:solidFill>
                <a:latin typeface="+mj-lt"/>
              </a:defRPr>
            </a:lvl4pPr>
            <a:lvl5pPr marL="1027774" indent="0">
              <a:buNone/>
              <a:defRPr sz="1200">
                <a:solidFill>
                  <a:schemeClr val="bg1"/>
                </a:solidFill>
                <a:latin typeface="+mj-lt"/>
              </a:defRPr>
            </a:lvl5pPr>
          </a:lstStyle>
          <a:p>
            <a:pPr lvl="0"/>
            <a:r>
              <a:rPr lang="en-US" dirty="0"/>
              <a:t>Sub header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80062" y="6530044"/>
            <a:ext cx="1304123" cy="285765"/>
          </a:xfrm>
          <a:prstGeom prst="rect">
            <a:avLst/>
          </a:prstGeom>
        </p:spPr>
      </p:pic>
    </p:spTree>
    <p:extLst>
      <p:ext uri="{BB962C8B-B14F-4D97-AF65-F5344CB8AC3E}">
        <p14:creationId xmlns:p14="http://schemas.microsoft.com/office/powerpoint/2010/main" val="15853597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5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descr="STB13_SolarFarm_02.pn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 y="-1"/>
            <a:ext cx="12434856" cy="6994526"/>
          </a:xfrm>
          <a:prstGeom prst="rect">
            <a:avLst/>
          </a:prstGeom>
        </p:spPr>
      </p:pic>
      <p:graphicFrame>
        <p:nvGraphicFramePr>
          <p:cNvPr id="2" name="Object 1" hidden="1"/>
          <p:cNvGraphicFramePr>
            <a:graphicFrameLocks noChangeAspect="1"/>
          </p:cNvGraphicFramePr>
          <p:nvPr>
            <p:custDataLst>
              <p:tags r:id="rId2"/>
            </p:custDataLst>
          </p:nvPr>
        </p:nvGraphicFramePr>
        <p:xfrm>
          <a:off x="1595" y="1590"/>
          <a:ext cx="1587" cy="1587"/>
        </p:xfrm>
        <a:graphic>
          <a:graphicData uri="http://schemas.openxmlformats.org/presentationml/2006/ole">
            <mc:AlternateContent xmlns:mc="http://schemas.openxmlformats.org/markup-compatibility/2006">
              <mc:Choice xmlns:v="urn:schemas-microsoft-com:vml" Requires="v">
                <p:oleObj spid="_x0000_s415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5" y="1590"/>
                        <a:ext cx="1587" cy="1587"/>
                      </a:xfrm>
                      <a:prstGeom prst="rect">
                        <a:avLst/>
                      </a:prstGeom>
                    </p:spPr>
                  </p:pic>
                </p:oleObj>
              </mc:Fallback>
            </mc:AlternateContent>
          </a:graphicData>
        </a:graphic>
      </p:graphicFrame>
      <p:sp>
        <p:nvSpPr>
          <p:cNvPr id="9" name="Rectangle 8"/>
          <p:cNvSpPr/>
          <p:nvPr/>
        </p:nvSpPr>
        <p:spPr bwMode="auto">
          <a:xfrm>
            <a:off x="0" y="559292"/>
            <a:ext cx="8115762" cy="3894027"/>
          </a:xfrm>
          <a:prstGeom prst="rect">
            <a:avLst/>
          </a:prstGeom>
          <a:solidFill>
            <a:schemeClr val="accent2">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3" tIns="146185" rIns="182733" bIns="146185" numCol="1" spcCol="0" rtlCol="0" fromWordArt="0" anchor="t" anchorCtr="0" forceAA="0" compatLnSpc="1">
            <a:prstTxWarp prst="textNoShape">
              <a:avLst/>
            </a:prstTxWarp>
            <a:noAutofit/>
          </a:bodyPr>
          <a:lstStyle/>
          <a:p>
            <a:pPr algn="ctr" defTabSz="9316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466374" y="1574006"/>
            <a:ext cx="7418143" cy="1864588"/>
          </a:xfrm>
          <a:prstGeom prst="rect">
            <a:avLst/>
          </a:prstGeom>
        </p:spPr>
        <p:txBody>
          <a:bodyPr wrap="square" lIns="149143" tIns="0" rIns="149143" bIns="0" anchor="ctr" anchorCtr="0">
            <a:spAutoFit/>
          </a:bodyPr>
          <a:lstStyle>
            <a:lvl1pPr>
              <a:lnSpc>
                <a:spcPct val="90000"/>
              </a:lnSpc>
              <a:spcBef>
                <a:spcPts val="0"/>
              </a:spcBef>
              <a:defRPr sz="6700"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80062" y="6530044"/>
            <a:ext cx="1304123" cy="285765"/>
          </a:xfrm>
          <a:prstGeom prst="rect">
            <a:avLst/>
          </a:prstGeom>
        </p:spPr>
      </p:pic>
    </p:spTree>
    <p:extLst>
      <p:ext uri="{BB962C8B-B14F-4D97-AF65-F5344CB8AC3E}">
        <p14:creationId xmlns:p14="http://schemas.microsoft.com/office/powerpoint/2010/main" val="31529686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3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4" cstate="print">
            <a:extLst>
              <a:ext uri="{28A0092B-C50C-407E-A947-70E740481C1C}">
                <a14:useLocalDpi xmlns:a14="http://schemas.microsoft.com/office/drawing/2010/main"/>
              </a:ext>
            </a:extLst>
          </a:blip>
          <a:srcRect t="15225"/>
          <a:stretch/>
        </p:blipFill>
        <p:spPr>
          <a:xfrm flipH="1">
            <a:off x="6" y="0"/>
            <a:ext cx="12436475" cy="7022290"/>
          </a:xfrm>
          <a:prstGeom prst="rect">
            <a:avLst/>
          </a:prstGeom>
        </p:spPr>
      </p:pic>
      <p:graphicFrame>
        <p:nvGraphicFramePr>
          <p:cNvPr id="2" name="Object 1" hidden="1"/>
          <p:cNvGraphicFramePr>
            <a:graphicFrameLocks noChangeAspect="1"/>
          </p:cNvGraphicFramePr>
          <p:nvPr>
            <p:custDataLst>
              <p:tags r:id="rId2"/>
            </p:custDataLst>
          </p:nvPr>
        </p:nvGraphicFramePr>
        <p:xfrm>
          <a:off x="1595" y="1590"/>
          <a:ext cx="1587" cy="1587"/>
        </p:xfrm>
        <a:graphic>
          <a:graphicData uri="http://schemas.openxmlformats.org/presentationml/2006/ole">
            <mc:AlternateContent xmlns:mc="http://schemas.openxmlformats.org/markup-compatibility/2006">
              <mc:Choice xmlns:v="urn:schemas-microsoft-com:vml" Requires="v">
                <p:oleObj spid="_x0000_s517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5" y="1590"/>
                        <a:ext cx="1587" cy="1587"/>
                      </a:xfrm>
                      <a:prstGeom prst="rect">
                        <a:avLst/>
                      </a:prstGeom>
                    </p:spPr>
                  </p:pic>
                </p:oleObj>
              </mc:Fallback>
            </mc:AlternateContent>
          </a:graphicData>
        </a:graphic>
      </p:graphicFrame>
      <p:sp>
        <p:nvSpPr>
          <p:cNvPr id="9" name="Rectangle 8"/>
          <p:cNvSpPr/>
          <p:nvPr/>
        </p:nvSpPr>
        <p:spPr bwMode="auto">
          <a:xfrm>
            <a:off x="5" y="907219"/>
            <a:ext cx="7038789" cy="3894027"/>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3" tIns="146185" rIns="182733" bIns="146185" numCol="1" spcCol="0" rtlCol="0" fromWordArt="0" anchor="t" anchorCtr="0" forceAA="0" compatLnSpc="1">
            <a:prstTxWarp prst="textNoShape">
              <a:avLst/>
            </a:prstTxWarp>
            <a:noAutofit/>
          </a:bodyPr>
          <a:lstStyle/>
          <a:p>
            <a:pPr algn="ctr" defTabSz="9316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466374" y="1921933"/>
            <a:ext cx="6439875" cy="1864588"/>
          </a:xfrm>
          <a:prstGeom prst="rect">
            <a:avLst/>
          </a:prstGeom>
        </p:spPr>
        <p:txBody>
          <a:bodyPr wrap="square" lIns="149143" tIns="0" rIns="149143" bIns="0" anchor="ctr" anchorCtr="0">
            <a:spAutoFit/>
          </a:bodyPr>
          <a:lstStyle>
            <a:lvl1pPr>
              <a:lnSpc>
                <a:spcPct val="90000"/>
              </a:lnSpc>
              <a:spcBef>
                <a:spcPts val="0"/>
              </a:spcBef>
              <a:defRPr sz="6700"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80062" y="6530044"/>
            <a:ext cx="1304123" cy="285765"/>
          </a:xfrm>
          <a:prstGeom prst="rect">
            <a:avLst/>
          </a:prstGeom>
        </p:spPr>
      </p:pic>
    </p:spTree>
    <p:extLst>
      <p:ext uri="{BB962C8B-B14F-4D97-AF65-F5344CB8AC3E}">
        <p14:creationId xmlns:p14="http://schemas.microsoft.com/office/powerpoint/2010/main" val="1600765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6_PresentationTitle_Manufacturing1">
    <p:bg>
      <p:bgPr>
        <a:solidFill>
          <a:schemeClr val="bg1"/>
        </a:solidFill>
        <a:effectLst/>
      </p:bgPr>
    </p:bg>
    <p:spTree>
      <p:nvGrpSpPr>
        <p:cNvPr id="1" name=""/>
        <p:cNvGrpSpPr/>
        <p:nvPr/>
      </p:nvGrpSpPr>
      <p:grpSpPr>
        <a:xfrm>
          <a:off x="0" y="0"/>
          <a:ext cx="0" cy="0"/>
          <a:chOff x="0" y="0"/>
          <a:chExt cx="0" cy="0"/>
        </a:xfrm>
      </p:grpSpPr>
      <p:pic>
        <p:nvPicPr>
          <p:cNvPr id="11" name="Picture 10" descr="STB13_WindFarm_05.png"/>
          <p:cNvPicPr>
            <a:picLocks noChangeAspect="1"/>
          </p:cNvPicPr>
          <p:nvPr/>
        </p:nvPicPr>
        <p:blipFill rotWithShape="1">
          <a:blip r:embed="rId4" cstate="email">
            <a:extLst>
              <a:ext uri="{28A0092B-C50C-407E-A947-70E740481C1C}">
                <a14:useLocalDpi xmlns:a14="http://schemas.microsoft.com/office/drawing/2010/main"/>
              </a:ext>
            </a:extLst>
          </a:blip>
          <a:srcRect t="15560"/>
          <a:stretch/>
        </p:blipFill>
        <p:spPr>
          <a:xfrm flipH="1">
            <a:off x="6" y="0"/>
            <a:ext cx="12436475" cy="6994525"/>
          </a:xfrm>
          <a:prstGeom prst="rect">
            <a:avLst/>
          </a:prstGeom>
        </p:spPr>
      </p:pic>
      <p:graphicFrame>
        <p:nvGraphicFramePr>
          <p:cNvPr id="2" name="Object 1" hidden="1"/>
          <p:cNvGraphicFramePr>
            <a:graphicFrameLocks noChangeAspect="1"/>
          </p:cNvGraphicFramePr>
          <p:nvPr>
            <p:custDataLst>
              <p:tags r:id="rId2"/>
            </p:custDataLst>
          </p:nvPr>
        </p:nvGraphicFramePr>
        <p:xfrm>
          <a:off x="1595" y="1590"/>
          <a:ext cx="1587" cy="1587"/>
        </p:xfrm>
        <a:graphic>
          <a:graphicData uri="http://schemas.openxmlformats.org/presentationml/2006/ole">
            <mc:AlternateContent xmlns:mc="http://schemas.openxmlformats.org/markup-compatibility/2006">
              <mc:Choice xmlns:v="urn:schemas-microsoft-com:vml" Requires="v">
                <p:oleObj spid="_x0000_s620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5" y="1590"/>
                        <a:ext cx="1587" cy="1587"/>
                      </a:xfrm>
                      <a:prstGeom prst="rect">
                        <a:avLst/>
                      </a:prstGeom>
                    </p:spPr>
                  </p:pic>
                </p:oleObj>
              </mc:Fallback>
            </mc:AlternateContent>
          </a:graphicData>
        </a:graphic>
      </p:graphicFrame>
      <p:sp>
        <p:nvSpPr>
          <p:cNvPr id="9" name="Rectangle 8"/>
          <p:cNvSpPr/>
          <p:nvPr/>
        </p:nvSpPr>
        <p:spPr bwMode="auto">
          <a:xfrm>
            <a:off x="0" y="509022"/>
            <a:ext cx="8115762" cy="3894027"/>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3" tIns="146185" rIns="182733" bIns="146185" numCol="1" spcCol="0" rtlCol="0" fromWordArt="0" anchor="t" anchorCtr="0" forceAA="0" compatLnSpc="1">
            <a:prstTxWarp prst="textNoShape">
              <a:avLst/>
            </a:prstTxWarp>
            <a:noAutofit/>
          </a:bodyPr>
          <a:lstStyle/>
          <a:p>
            <a:pPr algn="ctr" defTabSz="9316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466374" y="1523744"/>
            <a:ext cx="7418143" cy="1864588"/>
          </a:xfrm>
          <a:prstGeom prst="rect">
            <a:avLst/>
          </a:prstGeom>
        </p:spPr>
        <p:txBody>
          <a:bodyPr wrap="square" lIns="149143" tIns="0" rIns="149143" bIns="0" anchor="ctr" anchorCtr="0">
            <a:spAutoFit/>
          </a:bodyPr>
          <a:lstStyle>
            <a:lvl1pPr>
              <a:lnSpc>
                <a:spcPct val="90000"/>
              </a:lnSpc>
              <a:spcBef>
                <a:spcPts val="0"/>
              </a:spcBef>
              <a:defRPr sz="6700"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80062" y="6530044"/>
            <a:ext cx="1304123" cy="285765"/>
          </a:xfrm>
          <a:prstGeom prst="rect">
            <a:avLst/>
          </a:prstGeom>
        </p:spPr>
      </p:pic>
    </p:spTree>
    <p:extLst>
      <p:ext uri="{BB962C8B-B14F-4D97-AF65-F5344CB8AC3E}">
        <p14:creationId xmlns:p14="http://schemas.microsoft.com/office/powerpoint/2010/main" val="1520717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4_PresentationTitle_">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4" cstate="print">
            <a:extLst>
              <a:ext uri="{28A0092B-C50C-407E-A947-70E740481C1C}">
                <a14:useLocalDpi xmlns:a14="http://schemas.microsoft.com/office/drawing/2010/main"/>
              </a:ext>
            </a:extLst>
          </a:blip>
          <a:srcRect t="15560"/>
          <a:stretch/>
        </p:blipFill>
        <p:spPr>
          <a:xfrm>
            <a:off x="6" y="0"/>
            <a:ext cx="12436475" cy="6994525"/>
          </a:xfrm>
          <a:prstGeom prst="rect">
            <a:avLst/>
          </a:prstGeom>
        </p:spPr>
      </p:pic>
      <p:graphicFrame>
        <p:nvGraphicFramePr>
          <p:cNvPr id="2" name="Object 1" hidden="1"/>
          <p:cNvGraphicFramePr>
            <a:graphicFrameLocks noChangeAspect="1"/>
          </p:cNvGraphicFramePr>
          <p:nvPr>
            <p:custDataLst>
              <p:tags r:id="rId2"/>
            </p:custDataLst>
          </p:nvPr>
        </p:nvGraphicFramePr>
        <p:xfrm>
          <a:off x="1595" y="1590"/>
          <a:ext cx="1587" cy="1587"/>
        </p:xfrm>
        <a:graphic>
          <a:graphicData uri="http://schemas.openxmlformats.org/presentationml/2006/ole">
            <mc:AlternateContent xmlns:mc="http://schemas.openxmlformats.org/markup-compatibility/2006">
              <mc:Choice xmlns:v="urn:schemas-microsoft-com:vml" Requires="v">
                <p:oleObj spid="_x0000_s722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5" y="1590"/>
                        <a:ext cx="1587" cy="1587"/>
                      </a:xfrm>
                      <a:prstGeom prst="rect">
                        <a:avLst/>
                      </a:prstGeom>
                    </p:spPr>
                  </p:pic>
                </p:oleObj>
              </mc:Fallback>
            </mc:AlternateContent>
          </a:graphicData>
        </a:graphic>
      </p:graphicFrame>
      <p:sp>
        <p:nvSpPr>
          <p:cNvPr id="9" name="Rectangle 8"/>
          <p:cNvSpPr/>
          <p:nvPr/>
        </p:nvSpPr>
        <p:spPr bwMode="auto">
          <a:xfrm>
            <a:off x="0" y="535389"/>
            <a:ext cx="8115762" cy="3894027"/>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3" tIns="146185" rIns="182733" bIns="146185" numCol="1" spcCol="0" rtlCol="0" fromWordArt="0" anchor="t" anchorCtr="0" forceAA="0" compatLnSpc="1">
            <a:prstTxWarp prst="textNoShape">
              <a:avLst/>
            </a:prstTxWarp>
            <a:noAutofit/>
          </a:bodyPr>
          <a:lstStyle/>
          <a:p>
            <a:pPr algn="ctr" defTabSz="9316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466374" y="1550116"/>
            <a:ext cx="7418143" cy="1864588"/>
          </a:xfrm>
          <a:prstGeom prst="rect">
            <a:avLst/>
          </a:prstGeom>
        </p:spPr>
        <p:txBody>
          <a:bodyPr wrap="square" lIns="149143" tIns="0" rIns="149143" bIns="0" anchor="ctr" anchorCtr="0">
            <a:spAutoFit/>
          </a:bodyPr>
          <a:lstStyle>
            <a:lvl1pPr>
              <a:lnSpc>
                <a:spcPct val="90000"/>
              </a:lnSpc>
              <a:spcBef>
                <a:spcPts val="0"/>
              </a:spcBef>
              <a:defRPr sz="6700"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80062" y="6530044"/>
            <a:ext cx="1304123" cy="285765"/>
          </a:xfrm>
          <a:prstGeom prst="rect">
            <a:avLst/>
          </a:prstGeom>
        </p:spPr>
      </p:pic>
    </p:spTree>
    <p:extLst>
      <p:ext uri="{BB962C8B-B14F-4D97-AF65-F5344CB8AC3E}">
        <p14:creationId xmlns:p14="http://schemas.microsoft.com/office/powerpoint/2010/main" val="16543337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PresentationTitle_HEALTHCAR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 y="0"/>
            <a:ext cx="12436474" cy="7016624"/>
          </a:xfrm>
          <a:prstGeom prst="rect">
            <a:avLst/>
          </a:prstGeom>
        </p:spPr>
      </p:pic>
      <p:graphicFrame>
        <p:nvGraphicFramePr>
          <p:cNvPr id="2" name="Object 1" hidden="1"/>
          <p:cNvGraphicFramePr>
            <a:graphicFrameLocks noChangeAspect="1"/>
          </p:cNvGraphicFramePr>
          <p:nvPr>
            <p:custDataLst>
              <p:tags r:id="rId2"/>
            </p:custDataLst>
          </p:nvPr>
        </p:nvGraphicFramePr>
        <p:xfrm>
          <a:off x="1595" y="1590"/>
          <a:ext cx="1587" cy="1587"/>
        </p:xfrm>
        <a:graphic>
          <a:graphicData uri="http://schemas.openxmlformats.org/presentationml/2006/ole">
            <mc:AlternateContent xmlns:mc="http://schemas.openxmlformats.org/markup-compatibility/2006">
              <mc:Choice xmlns:v="urn:schemas-microsoft-com:vml" Requires="v">
                <p:oleObj spid="_x0000_s824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5" y="1590"/>
                        <a:ext cx="1587" cy="1587"/>
                      </a:xfrm>
                      <a:prstGeom prst="rect">
                        <a:avLst/>
                      </a:prstGeom>
                    </p:spPr>
                  </p:pic>
                </p:oleObj>
              </mc:Fallback>
            </mc:AlternateContent>
          </a:graphicData>
        </a:graphic>
      </p:graphicFrame>
      <p:sp>
        <p:nvSpPr>
          <p:cNvPr id="9" name="Rectangle 8"/>
          <p:cNvSpPr/>
          <p:nvPr/>
        </p:nvSpPr>
        <p:spPr bwMode="auto">
          <a:xfrm>
            <a:off x="7" y="2335687"/>
            <a:ext cx="7115715" cy="3894027"/>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3" tIns="146185" rIns="182733" bIns="146185" numCol="1" spcCol="0" rtlCol="0" fromWordArt="0" anchor="t" anchorCtr="0" forceAA="0" compatLnSpc="1">
            <a:prstTxWarp prst="textNoShape">
              <a:avLst/>
            </a:prstTxWarp>
            <a:noAutofit/>
          </a:bodyPr>
          <a:lstStyle/>
          <a:p>
            <a:pPr algn="ctr" defTabSz="9316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466374" y="3435162"/>
            <a:ext cx="6275733" cy="1695079"/>
          </a:xfrm>
          <a:prstGeom prst="rect">
            <a:avLst/>
          </a:prstGeom>
        </p:spPr>
        <p:txBody>
          <a:bodyPr wrap="square" lIns="149143" tIns="0" rIns="149143" bIns="0" anchor="ctr" anchorCtr="0">
            <a:spAutoFit/>
          </a:bodyPr>
          <a:lstStyle>
            <a:lvl1pPr>
              <a:lnSpc>
                <a:spcPct val="90000"/>
              </a:lnSpc>
              <a:spcBef>
                <a:spcPts val="0"/>
              </a:spcBef>
              <a:defRPr sz="6100"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80062" y="6530044"/>
            <a:ext cx="1304123" cy="285765"/>
          </a:xfrm>
          <a:prstGeom prst="rect">
            <a:avLst/>
          </a:prstGeom>
        </p:spPr>
      </p:pic>
    </p:spTree>
    <p:extLst>
      <p:ext uri="{BB962C8B-B14F-4D97-AF65-F5344CB8AC3E}">
        <p14:creationId xmlns:p14="http://schemas.microsoft.com/office/powerpoint/2010/main" val="1657080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11_PresentationTitle_Manufacturing1">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 y="5415"/>
            <a:ext cx="12436475" cy="6998129"/>
          </a:xfrm>
          <a:prstGeom prst="rect">
            <a:avLst/>
          </a:prstGeom>
        </p:spPr>
      </p:pic>
      <p:graphicFrame>
        <p:nvGraphicFramePr>
          <p:cNvPr id="2" name="Object 1" hidden="1"/>
          <p:cNvGraphicFramePr>
            <a:graphicFrameLocks noChangeAspect="1"/>
          </p:cNvGraphicFramePr>
          <p:nvPr>
            <p:custDataLst>
              <p:tags r:id="rId2"/>
            </p:custDataLst>
          </p:nvPr>
        </p:nvGraphicFramePr>
        <p:xfrm>
          <a:off x="1595" y="1590"/>
          <a:ext cx="1587" cy="1587"/>
        </p:xfrm>
        <a:graphic>
          <a:graphicData uri="http://schemas.openxmlformats.org/presentationml/2006/ole">
            <mc:AlternateContent xmlns:mc="http://schemas.openxmlformats.org/markup-compatibility/2006">
              <mc:Choice xmlns:v="urn:schemas-microsoft-com:vml" Requires="v">
                <p:oleObj spid="_x0000_s927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5" y="1590"/>
                        <a:ext cx="1587" cy="1587"/>
                      </a:xfrm>
                      <a:prstGeom prst="rect">
                        <a:avLst/>
                      </a:prstGeom>
                    </p:spPr>
                  </p:pic>
                </p:oleObj>
              </mc:Fallback>
            </mc:AlternateContent>
          </a:graphicData>
        </a:graphic>
      </p:graphicFrame>
      <p:sp>
        <p:nvSpPr>
          <p:cNvPr id="9" name="Rectangle 8"/>
          <p:cNvSpPr/>
          <p:nvPr/>
        </p:nvSpPr>
        <p:spPr bwMode="auto">
          <a:xfrm>
            <a:off x="-19231" y="2751874"/>
            <a:ext cx="8115762" cy="3894027"/>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3" tIns="146185" rIns="182733" bIns="146185" numCol="1" spcCol="0" rtlCol="0" fromWordArt="0" anchor="t" anchorCtr="0" forceAA="0" compatLnSpc="1">
            <a:prstTxWarp prst="textNoShape">
              <a:avLst/>
            </a:prstTxWarp>
            <a:noAutofit/>
          </a:bodyPr>
          <a:lstStyle/>
          <a:p>
            <a:pPr algn="ctr" defTabSz="9316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466374" y="3766601"/>
            <a:ext cx="7437846" cy="1864588"/>
          </a:xfrm>
          <a:prstGeom prst="rect">
            <a:avLst/>
          </a:prstGeom>
        </p:spPr>
        <p:txBody>
          <a:bodyPr wrap="square" lIns="149143" tIns="0" rIns="149143" bIns="0" anchor="ctr" anchorCtr="0">
            <a:spAutoFit/>
          </a:bodyPr>
          <a:lstStyle>
            <a:lvl1pPr>
              <a:lnSpc>
                <a:spcPct val="90000"/>
              </a:lnSpc>
              <a:spcBef>
                <a:spcPts val="0"/>
              </a:spcBef>
              <a:defRPr sz="6700"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80062" y="6530044"/>
            <a:ext cx="1304123" cy="285765"/>
          </a:xfrm>
          <a:prstGeom prst="rect">
            <a:avLst/>
          </a:prstGeom>
        </p:spPr>
      </p:pic>
    </p:spTree>
    <p:extLst>
      <p:ext uri="{BB962C8B-B14F-4D97-AF65-F5344CB8AC3E}">
        <p14:creationId xmlns:p14="http://schemas.microsoft.com/office/powerpoint/2010/main" val="29446478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95" y="1590"/>
          <a:ext cx="1587" cy="1587"/>
        </p:xfrm>
        <a:graphic>
          <a:graphicData uri="http://schemas.openxmlformats.org/presentationml/2006/ole">
            <mc:AlternateContent xmlns:mc="http://schemas.openxmlformats.org/markup-compatibility/2006">
              <mc:Choice xmlns:v="urn:schemas-microsoft-com:vml" Requires="v">
                <p:oleObj spid="_x0000_s103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5" y="1590"/>
                        <a:ext cx="1587" cy="1587"/>
                      </a:xfrm>
                      <a:prstGeom prst="rect">
                        <a:avLst/>
                      </a:prstGeom>
                    </p:spPr>
                  </p:pic>
                </p:oleObj>
              </mc:Fallback>
            </mc:AlternateContent>
          </a:graphicData>
        </a:graphic>
      </p:graphicFrame>
      <p:graphicFrame>
        <p:nvGraphicFramePr>
          <p:cNvPr id="3" name="Object 2" hidden="1"/>
          <p:cNvGraphicFramePr>
            <a:graphicFrameLocks noChangeAspect="1"/>
          </p:cNvGraphicFramePr>
          <p:nvPr>
            <p:custDataLst>
              <p:tags r:id="rId3"/>
            </p:custDataLst>
          </p:nvPr>
        </p:nvGraphicFramePr>
        <p:xfrm>
          <a:off x="1594" y="1589"/>
          <a:ext cx="1587" cy="1587"/>
        </p:xfrm>
        <a:graphic>
          <a:graphicData uri="http://schemas.openxmlformats.org/presentationml/2006/ole">
            <mc:AlternateContent xmlns:mc="http://schemas.openxmlformats.org/markup-compatibility/2006">
              <mc:Choice xmlns:v="urn:schemas-microsoft-com:vml" Requires="v">
                <p:oleObj spid="_x0000_s10351"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6"/>
                      <a:stretch>
                        <a:fillRect/>
                      </a:stretch>
                    </p:blipFill>
                    <p:spPr>
                      <a:xfrm>
                        <a:off x="1594"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7311931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1_DK BLUE | SIDE TEXT">
    <p:bg>
      <p:bgPr>
        <a:solidFill>
          <a:schemeClr val="accent2"/>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352284" y="1398913"/>
            <a:ext cx="7541576" cy="1619742"/>
          </a:xfrm>
        </p:spPr>
        <p:txBody>
          <a:bodyPr rIns="93214"/>
          <a:lstStyle>
            <a:lvl1pPr marL="0" indent="0">
              <a:spcBef>
                <a:spcPts val="1836"/>
              </a:spcBef>
              <a:buFont typeface="Arial" pitchFamily="34" charset="0"/>
              <a:buNone/>
              <a:defRPr lang="en-US" sz="3300" kern="4000" spc="-102"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620" indent="0">
              <a:spcBef>
                <a:spcPts val="510"/>
              </a:spcBef>
              <a:buFont typeface="Arial" pitchFamily="34" charset="0"/>
              <a:buNone/>
              <a:tabLst/>
              <a:defRPr lang="en-US" sz="1800" kern="4000" spc="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n-lt"/>
                <a:ea typeface="+mn-ea"/>
                <a:cs typeface="+mn-cs"/>
              </a:defRPr>
            </a:lvl2pPr>
            <a:lvl3pPr marL="0" indent="0">
              <a:spcBef>
                <a:spcPts val="510"/>
              </a:spcBef>
              <a:buFont typeface="Arial" pitchFamily="34" charset="0"/>
              <a:buNone/>
              <a:defRPr sz="1400">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1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1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99357" rtl="0" eaLnBrk="1" latinLnBrk="0" hangingPunct="1">
              <a:lnSpc>
                <a:spcPct val="90000"/>
              </a:lnSpc>
              <a:spcBef>
                <a:spcPct val="20000"/>
              </a:spcBef>
              <a:buSzPct val="90000"/>
              <a:buFont typeface="Arial" pitchFamily="34" charset="0"/>
              <a:buNone/>
            </a:pPr>
            <a:r>
              <a:rPr lang="en-US"/>
              <a:t>Click to edit Master text styles</a:t>
            </a:r>
          </a:p>
          <a:p>
            <a:pPr marL="0" lvl="1" indent="0" algn="l" defTabSz="699357" rtl="0" eaLnBrk="1" latinLnBrk="0" hangingPunct="1">
              <a:lnSpc>
                <a:spcPct val="90000"/>
              </a:lnSpc>
              <a:spcBef>
                <a:spcPct val="20000"/>
              </a:spcBef>
              <a:buSzPct val="90000"/>
              <a:buFont typeface="Arial" pitchFamily="34" charset="0"/>
              <a:buNone/>
            </a:pPr>
            <a:r>
              <a:rPr lang="en-US"/>
              <a:t>Second level</a:t>
            </a:r>
          </a:p>
          <a:p>
            <a:pPr marL="0" lvl="2" indent="0" algn="l" defTabSz="699357" rtl="0" eaLnBrk="1" latinLnBrk="0" hangingPunct="1">
              <a:lnSpc>
                <a:spcPct val="90000"/>
              </a:lnSpc>
              <a:spcBef>
                <a:spcPct val="20000"/>
              </a:spcBef>
              <a:buSzPct val="90000"/>
              <a:buFont typeface="Arial" pitchFamily="34" charset="0"/>
              <a:buNone/>
            </a:pPr>
            <a:r>
              <a:rPr lang="en-US"/>
              <a:t>Third level</a:t>
            </a:r>
          </a:p>
          <a:p>
            <a:pPr marL="0" lvl="3" indent="0" algn="l" defTabSz="699357" rtl="0" eaLnBrk="1" latinLnBrk="0" hangingPunct="1">
              <a:lnSpc>
                <a:spcPct val="90000"/>
              </a:lnSpc>
              <a:spcBef>
                <a:spcPct val="20000"/>
              </a:spcBef>
              <a:buSzPct val="90000"/>
              <a:buFont typeface="Arial" pitchFamily="34" charset="0"/>
              <a:buNone/>
            </a:pPr>
            <a:r>
              <a:rPr lang="en-US"/>
              <a:t>Fourth level</a:t>
            </a:r>
          </a:p>
          <a:p>
            <a:pPr marL="0" lvl="4" indent="0" algn="l" defTabSz="699357" rtl="0" eaLnBrk="1" latinLnBrk="0" hangingPunct="1">
              <a:lnSpc>
                <a:spcPct val="90000"/>
              </a:lnSpc>
              <a:spcBef>
                <a:spcPct val="20000"/>
              </a:spcBef>
              <a:buSzPct val="90000"/>
              <a:buFont typeface="Arial" pitchFamily="34" charset="0"/>
              <a:buNone/>
            </a:pPr>
            <a:r>
              <a:rPr lang="en-US"/>
              <a:t>Fifth level</a:t>
            </a:r>
            <a:endParaRPr lang="en-US" dirty="0"/>
          </a:p>
        </p:txBody>
      </p:sp>
      <p:sp>
        <p:nvSpPr>
          <p:cNvPr id="2" name="Title 1"/>
          <p:cNvSpPr>
            <a:spLocks noGrp="1"/>
          </p:cNvSpPr>
          <p:nvPr>
            <p:ph type="title"/>
          </p:nvPr>
        </p:nvSpPr>
        <p:spPr>
          <a:xfrm>
            <a:off x="4352289" y="197669"/>
            <a:ext cx="7552915" cy="692497"/>
          </a:xfrm>
        </p:spPr>
        <p:txBody>
          <a:bodyPr/>
          <a:lstStyle>
            <a:lvl1pPr>
              <a:defRPr lang="en-US" sz="4500" b="0" kern="1200" cap="none" spc="-102"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a:t>Click to edit Master title style</a:t>
            </a:r>
            <a:endParaRPr lang="en-US" dirty="0"/>
          </a:p>
        </p:txBody>
      </p:sp>
    </p:spTree>
    <p:extLst>
      <p:ext uri="{BB962C8B-B14F-4D97-AF65-F5344CB8AC3E}">
        <p14:creationId xmlns:p14="http://schemas.microsoft.com/office/powerpoint/2010/main" val="346749159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mpty Template color 1">
    <p:bg>
      <p:bgPr>
        <a:solidFill>
          <a:srgbClr val="00856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987886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29667" y="233156"/>
            <a:ext cx="11375536" cy="674893"/>
          </a:xfrm>
          <a:prstGeom prst="rect">
            <a:avLst/>
          </a:prstGeom>
        </p:spPr>
        <p:txBody>
          <a:bodyPr vert="horz" wrap="square" lIns="0" tIns="0" rIns="0" bIns="0" rtlCol="0" anchor="t">
            <a:spAutoFit/>
          </a:bodyPr>
          <a:lstStyle/>
          <a:p>
            <a:r>
              <a:rPr lang="en-US"/>
              <a:t>Click to edit Master title style</a:t>
            </a:r>
            <a:endParaRPr lang="en-US" dirty="0"/>
          </a:p>
        </p:txBody>
      </p:sp>
    </p:spTree>
    <p:extLst>
      <p:ext uri="{BB962C8B-B14F-4D97-AF65-F5344CB8AC3E}">
        <p14:creationId xmlns:p14="http://schemas.microsoft.com/office/powerpoint/2010/main" val="795576978"/>
      </p:ext>
    </p:extLst>
  </p:cSld>
  <p:clrMapOvr>
    <a:masterClrMapping/>
  </p:clrMapOvr>
  <p:transition spd="med">
    <p:push dir="r"/>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cSld name="7_PresentationTitle_Manufacturing1">
    <p:bg>
      <p:bgPr>
        <a:solidFill>
          <a:schemeClr val="bg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a:xfrm>
            <a:off x="466369" y="713024"/>
            <a:ext cx="7418143" cy="1356064"/>
          </a:xfrm>
          <a:prstGeom prst="rect">
            <a:avLst/>
          </a:prstGeom>
        </p:spPr>
        <p:txBody>
          <a:bodyPr wrap="square" lIns="143407" tIns="0" rIns="143407" bIns="0">
            <a:spAutoFit/>
          </a:bodyPr>
          <a:lstStyle>
            <a:lvl1pPr>
              <a:lnSpc>
                <a:spcPct val="90000"/>
              </a:lnSpc>
              <a:spcBef>
                <a:spcPts val="0"/>
              </a:spcBef>
              <a:defRPr sz="4896" baseline="0">
                <a:solidFill>
                  <a:schemeClr val="bg1"/>
                </a:solidFill>
              </a:defRPr>
            </a:lvl1pPr>
          </a:lstStyle>
          <a:p>
            <a:r>
              <a:rPr lang="en-US" dirty="0"/>
              <a:t>Headline here, second line here</a:t>
            </a:r>
          </a:p>
        </p:txBody>
      </p:sp>
      <p:sp>
        <p:nvSpPr>
          <p:cNvPr id="17" name="Subtitle 2"/>
          <p:cNvSpPr>
            <a:spLocks noGrp="1"/>
          </p:cNvSpPr>
          <p:nvPr>
            <p:ph type="subTitle" idx="1" hasCustomPrompt="1"/>
          </p:nvPr>
        </p:nvSpPr>
        <p:spPr>
          <a:xfrm>
            <a:off x="466369" y="3218208"/>
            <a:ext cx="6275659" cy="593278"/>
          </a:xfrm>
          <a:prstGeom prst="rect">
            <a:avLst/>
          </a:prstGeom>
        </p:spPr>
        <p:txBody>
          <a:bodyPr lIns="143407" tIns="0" rIns="143407" bIns="0"/>
          <a:lstStyle>
            <a:lvl1pPr marL="0" indent="0" algn="l">
              <a:lnSpc>
                <a:spcPct val="90000"/>
              </a:lnSpc>
              <a:spcBef>
                <a:spcPts val="0"/>
              </a:spcBef>
              <a:buNone/>
              <a:defRPr sz="2142">
                <a:solidFill>
                  <a:schemeClr val="bg1"/>
                </a:solidFill>
                <a:latin typeface="+mn-lt"/>
              </a:defRPr>
            </a:lvl1pPr>
            <a:lvl2pPr marL="456877" indent="0" algn="ctr">
              <a:buNone/>
              <a:defRPr>
                <a:solidFill>
                  <a:schemeClr val="tx1">
                    <a:tint val="75000"/>
                  </a:schemeClr>
                </a:solidFill>
              </a:defRPr>
            </a:lvl2pPr>
            <a:lvl3pPr marL="913757" indent="0" algn="ctr">
              <a:buNone/>
              <a:defRPr>
                <a:solidFill>
                  <a:schemeClr val="tx1">
                    <a:tint val="75000"/>
                  </a:schemeClr>
                </a:solidFill>
              </a:defRPr>
            </a:lvl3pPr>
            <a:lvl4pPr marL="1370635" indent="0" algn="ctr">
              <a:buNone/>
              <a:defRPr>
                <a:solidFill>
                  <a:schemeClr val="tx1">
                    <a:tint val="75000"/>
                  </a:schemeClr>
                </a:solidFill>
              </a:defRPr>
            </a:lvl4pPr>
            <a:lvl5pPr marL="1827516" indent="0" algn="ctr">
              <a:buNone/>
              <a:defRPr>
                <a:solidFill>
                  <a:schemeClr val="tx1">
                    <a:tint val="75000"/>
                  </a:schemeClr>
                </a:solidFill>
              </a:defRPr>
            </a:lvl5pPr>
            <a:lvl6pPr marL="2284393" indent="0" algn="ctr">
              <a:buNone/>
              <a:defRPr>
                <a:solidFill>
                  <a:schemeClr val="tx1">
                    <a:tint val="75000"/>
                  </a:schemeClr>
                </a:solidFill>
              </a:defRPr>
            </a:lvl6pPr>
            <a:lvl7pPr marL="2741272" indent="0" algn="ctr">
              <a:buNone/>
              <a:defRPr>
                <a:solidFill>
                  <a:schemeClr val="tx1">
                    <a:tint val="75000"/>
                  </a:schemeClr>
                </a:solidFill>
              </a:defRPr>
            </a:lvl7pPr>
            <a:lvl8pPr marL="3198150" indent="0" algn="ctr">
              <a:buNone/>
              <a:defRPr>
                <a:solidFill>
                  <a:schemeClr val="tx1">
                    <a:tint val="75000"/>
                  </a:schemeClr>
                </a:solidFill>
              </a:defRPr>
            </a:lvl8pPr>
            <a:lvl9pPr marL="3655028" indent="0" algn="ctr">
              <a:buNone/>
              <a:defRPr>
                <a:solidFill>
                  <a:schemeClr val="tx1">
                    <a:tint val="75000"/>
                  </a:schemeClr>
                </a:solidFill>
              </a:defRPr>
            </a:lvl9pPr>
          </a:lstStyle>
          <a:p>
            <a:r>
              <a:rPr lang="en-US" dirty="0"/>
              <a:t>Speaker Name</a:t>
            </a:r>
            <a:br>
              <a:rPr lang="en-US" dirty="0"/>
            </a:br>
            <a:r>
              <a:rPr lang="en-US" dirty="0"/>
              <a:t>Date</a:t>
            </a:r>
          </a:p>
        </p:txBody>
      </p:sp>
      <p:sp>
        <p:nvSpPr>
          <p:cNvPr id="19" name="Text Placeholder 7"/>
          <p:cNvSpPr>
            <a:spLocks noGrp="1"/>
          </p:cNvSpPr>
          <p:nvPr>
            <p:ph type="body" sz="quarter" idx="10" hasCustomPrompt="1"/>
          </p:nvPr>
        </p:nvSpPr>
        <p:spPr>
          <a:xfrm>
            <a:off x="466756" y="2144424"/>
            <a:ext cx="7437459" cy="881064"/>
          </a:xfrm>
          <a:prstGeom prst="rect">
            <a:avLst/>
          </a:prstGeom>
        </p:spPr>
        <p:txBody>
          <a:bodyPr lIns="143407" tIns="0" rIns="143407" bIns="0">
            <a:normAutofit/>
          </a:bodyPr>
          <a:lstStyle>
            <a:lvl1pPr marL="0" indent="0">
              <a:lnSpc>
                <a:spcPct val="90000"/>
              </a:lnSpc>
              <a:spcBef>
                <a:spcPts val="0"/>
              </a:spcBef>
              <a:buNone/>
              <a:defRPr sz="2040" baseline="0">
                <a:solidFill>
                  <a:schemeClr val="bg1"/>
                </a:solidFill>
                <a:latin typeface="+mn-lt"/>
              </a:defRPr>
            </a:lvl1pPr>
            <a:lvl2pPr marL="342659" indent="0">
              <a:buNone/>
              <a:defRPr sz="1632">
                <a:solidFill>
                  <a:schemeClr val="bg1"/>
                </a:solidFill>
                <a:latin typeface="+mj-lt"/>
              </a:defRPr>
            </a:lvl2pPr>
            <a:lvl3pPr marL="571099" indent="0">
              <a:buNone/>
              <a:defRPr sz="1326">
                <a:solidFill>
                  <a:schemeClr val="bg1"/>
                </a:solidFill>
                <a:latin typeface="+mj-lt"/>
              </a:defRPr>
            </a:lvl3pPr>
            <a:lvl4pPr marL="799537" indent="0">
              <a:buNone/>
              <a:defRPr sz="1224">
                <a:solidFill>
                  <a:schemeClr val="bg1"/>
                </a:solidFill>
                <a:latin typeface="+mj-lt"/>
              </a:defRPr>
            </a:lvl4pPr>
            <a:lvl5pPr marL="1027977" indent="0">
              <a:buNone/>
              <a:defRPr sz="1224">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34029477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Custom Layout">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586362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Internet of Things Title 2">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6449"/>
            <a:ext cx="12443540" cy="7005033"/>
          </a:xfrm>
          <a:prstGeom prst="rect">
            <a:avLst/>
          </a:prstGeom>
        </p:spPr>
      </p:pic>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6"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3181788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494555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5"/>
                </a:solidFill>
                <a:latin typeface="+mj-lt"/>
              </a:defRPr>
            </a:lvl1pPr>
          </a:lstStyle>
          <a:p>
            <a:pPr lvl="0"/>
            <a:r>
              <a:rPr lang="en-US" dirty="0"/>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a:t>Second level</a:t>
            </a:r>
          </a:p>
        </p:txBody>
      </p:sp>
    </p:spTree>
    <p:extLst>
      <p:ext uri="{BB962C8B-B14F-4D97-AF65-F5344CB8AC3E}">
        <p14:creationId xmlns:p14="http://schemas.microsoft.com/office/powerpoint/2010/main" val="241261981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32774797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9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134888752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dirty="0"/>
              <a:t>Title</a:t>
            </a:r>
          </a:p>
        </p:txBody>
      </p:sp>
    </p:spTree>
    <p:extLst>
      <p:ext uri="{BB962C8B-B14F-4D97-AF65-F5344CB8AC3E}">
        <p14:creationId xmlns:p14="http://schemas.microsoft.com/office/powerpoint/2010/main" val="311951976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5_Title/sub-title_light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7180643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mpty Template color 2">
    <p:bg>
      <p:bgPr>
        <a:solidFill>
          <a:srgbClr val="27A68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067374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 (Optional)</a:t>
            </a:r>
          </a:p>
        </p:txBody>
      </p:sp>
      <p:sp>
        <p:nvSpPr>
          <p:cNvPr id="3" name="Picture Placeholder 2"/>
          <p:cNvSpPr>
            <a:spLocks noGrp="1"/>
          </p:cNvSpPr>
          <p:nvPr>
            <p:ph type="pic" sz="quarter" idx="11" hasCustomPrompt="1"/>
          </p:nvPr>
        </p:nvSpPr>
        <p:spPr>
          <a:xfrm>
            <a:off x="1964752" y="2291376"/>
            <a:ext cx="1408819" cy="1408620"/>
          </a:xfrm>
        </p:spPr>
        <p:txBody>
          <a:bodyPr/>
          <a:lstStyle>
            <a:lvl1pPr marL="0" indent="0">
              <a:buNone/>
              <a:defRPr/>
            </a:lvl1pPr>
          </a:lstStyle>
          <a:p>
            <a:r>
              <a:rPr lang="en-US"/>
              <a:t>icon</a:t>
            </a:r>
          </a:p>
        </p:txBody>
      </p:sp>
      <p:cxnSp>
        <p:nvCxnSpPr>
          <p:cNvPr id="5" name="Straight Connector 4"/>
          <p:cNvCxnSpPr/>
          <p:nvPr userDrawn="1"/>
        </p:nvCxnSpPr>
        <p:spPr>
          <a:xfrm>
            <a:off x="1200426"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2"/>
          </p:nvPr>
        </p:nvSpPr>
        <p:spPr>
          <a:xfrm>
            <a:off x="1200427" y="4187000"/>
            <a:ext cx="2937469" cy="2300746"/>
          </a:xfrm>
        </p:spPr>
        <p:txBody>
          <a:bodyPr/>
          <a:lstStyle>
            <a:lvl1pPr marL="0" indent="0">
              <a:buNone/>
              <a:defRPr/>
            </a:lvl1pPr>
          </a:lstStyle>
          <a:p>
            <a:pPr lvl="0"/>
            <a:r>
              <a:rPr lang="en-US"/>
              <a:t>Click to edit Master text styles</a:t>
            </a:r>
          </a:p>
        </p:txBody>
      </p:sp>
      <p:sp>
        <p:nvSpPr>
          <p:cNvPr id="11" name="Picture Placeholder 2"/>
          <p:cNvSpPr>
            <a:spLocks noGrp="1"/>
          </p:cNvSpPr>
          <p:nvPr>
            <p:ph type="pic" sz="quarter" idx="13" hasCustomPrompt="1"/>
          </p:nvPr>
        </p:nvSpPr>
        <p:spPr>
          <a:xfrm>
            <a:off x="5568180" y="2291376"/>
            <a:ext cx="1408819" cy="1408620"/>
          </a:xfrm>
        </p:spPr>
        <p:txBody>
          <a:bodyPr/>
          <a:lstStyle>
            <a:lvl1pPr marL="0" indent="0">
              <a:buNone/>
              <a:defRPr/>
            </a:lvl1pPr>
          </a:lstStyle>
          <a:p>
            <a:r>
              <a:rPr lang="en-US"/>
              <a:t>icon</a:t>
            </a:r>
          </a:p>
        </p:txBody>
      </p:sp>
      <p:cxnSp>
        <p:nvCxnSpPr>
          <p:cNvPr id="12" name="Straight Connector 11"/>
          <p:cNvCxnSpPr/>
          <p:nvPr userDrawn="1"/>
        </p:nvCxnSpPr>
        <p:spPr>
          <a:xfrm>
            <a:off x="4804027"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8"/>
          <p:cNvSpPr>
            <a:spLocks noGrp="1"/>
          </p:cNvSpPr>
          <p:nvPr>
            <p:ph type="body" sz="quarter" idx="14"/>
          </p:nvPr>
        </p:nvSpPr>
        <p:spPr>
          <a:xfrm>
            <a:off x="4803855" y="4187000"/>
            <a:ext cx="2937469" cy="2300746"/>
          </a:xfrm>
        </p:spPr>
        <p:txBody>
          <a:bodyPr/>
          <a:lstStyle>
            <a:lvl1pPr marL="0" indent="0">
              <a:buNone/>
              <a:defRPr/>
            </a:lvl1pPr>
          </a:lstStyle>
          <a:p>
            <a:pPr lvl="0"/>
            <a:r>
              <a:rPr lang="en-US"/>
              <a:t>Click to edit Master text styles</a:t>
            </a:r>
          </a:p>
        </p:txBody>
      </p:sp>
      <p:sp>
        <p:nvSpPr>
          <p:cNvPr id="14" name="Picture Placeholder 2"/>
          <p:cNvSpPr>
            <a:spLocks noGrp="1"/>
          </p:cNvSpPr>
          <p:nvPr>
            <p:ph type="pic" sz="quarter" idx="15" hasCustomPrompt="1"/>
          </p:nvPr>
        </p:nvSpPr>
        <p:spPr>
          <a:xfrm>
            <a:off x="9171609" y="2291376"/>
            <a:ext cx="1408819" cy="1408620"/>
          </a:xfrm>
        </p:spPr>
        <p:txBody>
          <a:bodyPr/>
          <a:lstStyle>
            <a:lvl1pPr marL="0" indent="0">
              <a:buNone/>
              <a:defRPr/>
            </a:lvl1pPr>
          </a:lstStyle>
          <a:p>
            <a:r>
              <a:rPr lang="en-US"/>
              <a:t>icon</a:t>
            </a:r>
          </a:p>
        </p:txBody>
      </p:sp>
      <p:cxnSp>
        <p:nvCxnSpPr>
          <p:cNvPr id="15" name="Straight Connector 14"/>
          <p:cNvCxnSpPr/>
          <p:nvPr userDrawn="1"/>
        </p:nvCxnSpPr>
        <p:spPr>
          <a:xfrm>
            <a:off x="8407629"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8"/>
          <p:cNvSpPr>
            <a:spLocks noGrp="1"/>
          </p:cNvSpPr>
          <p:nvPr>
            <p:ph type="body" sz="quarter" idx="16"/>
          </p:nvPr>
        </p:nvSpPr>
        <p:spPr>
          <a:xfrm>
            <a:off x="8407284" y="4187000"/>
            <a:ext cx="2937469" cy="2300746"/>
          </a:xfrm>
        </p:spPr>
        <p:txBody>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333953105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9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 (Optional)</a:t>
            </a:r>
          </a:p>
        </p:txBody>
      </p:sp>
      <p:sp>
        <p:nvSpPr>
          <p:cNvPr id="17" name="Text Placeholder 7"/>
          <p:cNvSpPr>
            <a:spLocks noGrp="1"/>
          </p:cNvSpPr>
          <p:nvPr>
            <p:ph type="body" sz="quarter" idx="11" hasCustomPrompt="1"/>
          </p:nvPr>
        </p:nvSpPr>
        <p:spPr>
          <a:xfrm>
            <a:off x="0" y="1267759"/>
            <a:ext cx="12436475" cy="1688792"/>
          </a:xfrm>
        </p:spPr>
        <p:txBody>
          <a:bodyPr lIns="393192" rIns="182880" bIns="91440">
            <a:normAutofit/>
          </a:bodyPr>
          <a:lstStyle>
            <a:lvl1pPr marL="0" indent="0">
              <a:buNone/>
              <a:defRPr sz="2040">
                <a:solidFill>
                  <a:schemeClr val="tx1"/>
                </a:solidFill>
                <a:latin typeface="+mj-lt"/>
              </a:defRPr>
            </a:lvl1pPr>
            <a:lvl2pPr marL="466298" indent="0">
              <a:buNone/>
              <a:defRPr/>
            </a:lvl2pPr>
          </a:lstStyle>
          <a:p>
            <a:pPr lvl="0"/>
            <a:r>
              <a:rPr lang="en-US"/>
              <a:t>Body text</a:t>
            </a:r>
          </a:p>
        </p:txBody>
      </p:sp>
      <p:sp>
        <p:nvSpPr>
          <p:cNvPr id="4" name="Table Placeholder 3"/>
          <p:cNvSpPr>
            <a:spLocks noGrp="1"/>
          </p:cNvSpPr>
          <p:nvPr>
            <p:ph type="tbl" sz="quarter" idx="12"/>
          </p:nvPr>
        </p:nvSpPr>
        <p:spPr>
          <a:xfrm>
            <a:off x="426676" y="2956483"/>
            <a:ext cx="11559970" cy="4038043"/>
          </a:xfrm>
        </p:spPr>
        <p:txBody>
          <a:bodyPr>
            <a:normAutofit/>
          </a:bodyPr>
          <a:lstStyle>
            <a:lvl1pPr marL="0" indent="0">
              <a:buNone/>
              <a:defRPr sz="1632"/>
            </a:lvl1pPr>
          </a:lstStyle>
          <a:p>
            <a:endParaRPr lang="en-US"/>
          </a:p>
        </p:txBody>
      </p:sp>
    </p:spTree>
    <p:extLst>
      <p:ext uri="{BB962C8B-B14F-4D97-AF65-F5344CB8AC3E}">
        <p14:creationId xmlns:p14="http://schemas.microsoft.com/office/powerpoint/2010/main" val="267774653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8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402919004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72266516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5_Title/sub-title/light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6">
              <a:lumMod val="50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11265200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6_Title/sub-title/teal">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1"/>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159601539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7_Title/sub-title/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tx1">
              <a:lumMod val="75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195806213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1_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153394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4_Red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97959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5_Red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3844943"/>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Tree>
    <p:extLst>
      <p:ext uri="{BB962C8B-B14F-4D97-AF65-F5344CB8AC3E}">
        <p14:creationId xmlns:p14="http://schemas.microsoft.com/office/powerpoint/2010/main" val="39264435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mpty Template color 3">
    <p:bg>
      <p:bgPr>
        <a:solidFill>
          <a:srgbClr val="00765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167355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6_Purpl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449419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7_green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901133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8_Sky 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365429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0_teal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220698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9_dark 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508339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ide bar_2 Tile lines &amp; Content">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6"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p:cNvSpPr>
            <a:spLocks noGrp="1"/>
          </p:cNvSpPr>
          <p:nvPr>
            <p:ph type="body" sz="quarter" idx="10" hasCustomPrompt="1"/>
          </p:nvPr>
        </p:nvSpPr>
        <p:spPr>
          <a:xfrm>
            <a:off x="1" y="1"/>
            <a:ext cx="4183177" cy="2014026"/>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9" name="Text Placeholder 7"/>
          <p:cNvSpPr>
            <a:spLocks noGrp="1"/>
          </p:cNvSpPr>
          <p:nvPr>
            <p:ph type="body" sz="quarter" idx="11" hasCustomPrompt="1"/>
          </p:nvPr>
        </p:nvSpPr>
        <p:spPr>
          <a:xfrm>
            <a:off x="1" y="2014027"/>
            <a:ext cx="4183177" cy="1560952"/>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322351737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3" name="Picture Placeholder 7"/>
          <p:cNvSpPr>
            <a:spLocks noGrp="1"/>
          </p:cNvSpPr>
          <p:nvPr>
            <p:ph type="pic" sz="quarter" idx="15"/>
          </p:nvPr>
        </p:nvSpPr>
        <p:spPr>
          <a:xfrm>
            <a:off x="4182737" y="0"/>
            <a:ext cx="8253738" cy="4137187"/>
          </a:xfrm>
        </p:spPr>
        <p:txBody>
          <a:bodyPr>
            <a:normAutofit/>
          </a:bodyPr>
          <a:lstStyle>
            <a:lvl1pPr marL="0" indent="0">
              <a:buNone/>
              <a:defRPr sz="2040">
                <a:latin typeface="Segoe UI" panose="020B0502040204020203" pitchFamily="34" charset="0"/>
                <a:cs typeface="Segoe UI" panose="020B0502040204020203" pitchFamily="34" charset="0"/>
              </a:defRPr>
            </a:lvl1pPr>
          </a:lstStyle>
          <a:p>
            <a:endParaRPr lang="en-US"/>
          </a:p>
        </p:txBody>
      </p:sp>
      <p:sp>
        <p:nvSpPr>
          <p:cNvPr id="14" name="Text Placeholder 5"/>
          <p:cNvSpPr>
            <a:spLocks noGrp="1"/>
          </p:cNvSpPr>
          <p:nvPr>
            <p:ph type="body" sz="quarter" idx="13"/>
          </p:nvPr>
        </p:nvSpPr>
        <p:spPr>
          <a:xfrm>
            <a:off x="4182737" y="4434826"/>
            <a:ext cx="4062958"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sz="1632"/>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p:txBody>
      </p:sp>
      <p:sp>
        <p:nvSpPr>
          <p:cNvPr id="15" name="Text Placeholder 5"/>
          <p:cNvSpPr>
            <a:spLocks noGrp="1"/>
          </p:cNvSpPr>
          <p:nvPr>
            <p:ph type="body" sz="quarter" idx="16"/>
          </p:nvPr>
        </p:nvSpPr>
        <p:spPr>
          <a:xfrm>
            <a:off x="8269914" y="4434826"/>
            <a:ext cx="4065284"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sz="1632"/>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p:txBody>
      </p:sp>
      <p:sp>
        <p:nvSpPr>
          <p:cNvPr id="9" name="Rectangle 8"/>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6" name="Text Placeholder 7"/>
          <p:cNvSpPr>
            <a:spLocks noGrp="1"/>
          </p:cNvSpPr>
          <p:nvPr>
            <p:ph type="body" sz="quarter" idx="11" hasCustomPrompt="1"/>
          </p:nvPr>
        </p:nvSpPr>
        <p:spPr>
          <a:xfrm>
            <a:off x="1" y="2014027"/>
            <a:ext cx="4183177" cy="1560952"/>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a:t>Subtitle</a:t>
            </a:r>
          </a:p>
        </p:txBody>
      </p:sp>
      <p:sp>
        <p:nvSpPr>
          <p:cNvPr id="18" name="Text Placeholder 5"/>
          <p:cNvSpPr>
            <a:spLocks noGrp="1"/>
          </p:cNvSpPr>
          <p:nvPr>
            <p:ph type="body" sz="quarter" idx="10" hasCustomPrompt="1"/>
          </p:nvPr>
        </p:nvSpPr>
        <p:spPr>
          <a:xfrm>
            <a:off x="1" y="1"/>
            <a:ext cx="4183177" cy="2014026"/>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Tree>
    <p:extLst>
      <p:ext uri="{BB962C8B-B14F-4D97-AF65-F5344CB8AC3E}">
        <p14:creationId xmlns:p14="http://schemas.microsoft.com/office/powerpoint/2010/main" val="203939187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7" name="Text Placeholder 7"/>
          <p:cNvSpPr>
            <a:spLocks noGrp="1"/>
          </p:cNvSpPr>
          <p:nvPr>
            <p:ph type="body" sz="quarter" idx="11" hasCustomPrompt="1"/>
          </p:nvPr>
        </p:nvSpPr>
        <p:spPr>
          <a:xfrm>
            <a:off x="1" y="2581882"/>
            <a:ext cx="4183177" cy="1833101"/>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a:t>Subtitle</a:t>
            </a:r>
          </a:p>
        </p:txBody>
      </p:sp>
      <p:sp>
        <p:nvSpPr>
          <p:cNvPr id="3" name="Text Placeholder 2"/>
          <p:cNvSpPr>
            <a:spLocks noGrp="1"/>
          </p:cNvSpPr>
          <p:nvPr>
            <p:ph type="body" sz="quarter" idx="12" hasCustomPrompt="1"/>
          </p:nvPr>
        </p:nvSpPr>
        <p:spPr>
          <a:xfrm>
            <a:off x="1" y="4414984"/>
            <a:ext cx="4169782" cy="2579541"/>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0" name="Picture Placeholder 9"/>
          <p:cNvSpPr>
            <a:spLocks noGrp="1"/>
          </p:cNvSpPr>
          <p:nvPr>
            <p:ph type="pic" sz="quarter" idx="13"/>
          </p:nvPr>
        </p:nvSpPr>
        <p:spPr>
          <a:xfrm>
            <a:off x="4182737" y="0"/>
            <a:ext cx="8253738" cy="6994525"/>
          </a:xfrm>
        </p:spPr>
        <p:txBody>
          <a:bodyPr>
            <a:normAutofit/>
          </a:bodyPr>
          <a:lstStyle>
            <a:lvl1pPr marL="0" indent="0">
              <a:buNone/>
              <a:defRPr sz="1632"/>
            </a:lvl1pPr>
          </a:lstStyle>
          <a:p>
            <a:endParaRPr lang="en-US"/>
          </a:p>
        </p:txBody>
      </p:sp>
    </p:spTree>
    <p:extLst>
      <p:ext uri="{BB962C8B-B14F-4D97-AF65-F5344CB8AC3E}">
        <p14:creationId xmlns:p14="http://schemas.microsoft.com/office/powerpoint/2010/main" val="47270050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9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6" name="Text Placeholder 5"/>
          <p:cNvSpPr>
            <a:spLocks noGrp="1"/>
          </p:cNvSpPr>
          <p:nvPr>
            <p:ph type="body" sz="quarter" idx="13"/>
          </p:nvPr>
        </p:nvSpPr>
        <p:spPr>
          <a:xfrm>
            <a:off x="4182737" y="4434827"/>
            <a:ext cx="8253738"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p:cNvSpPr>
            <a:spLocks noGrp="1"/>
          </p:cNvSpPr>
          <p:nvPr>
            <p:ph type="pic" sz="quarter" idx="14"/>
          </p:nvPr>
        </p:nvSpPr>
        <p:spPr>
          <a:xfrm>
            <a:off x="4182737" y="0"/>
            <a:ext cx="8253738" cy="4137187"/>
          </a:xfrm>
        </p:spPr>
        <p:txBody>
          <a:bodyPr>
            <a:normAutofit/>
          </a:bodyPr>
          <a:lstStyle>
            <a:lvl1pPr marL="0" indent="0">
              <a:buNone/>
              <a:defRPr sz="2040">
                <a:latin typeface="Segoe UI" panose="020B0502040204020203" pitchFamily="34" charset="0"/>
                <a:cs typeface="Segoe UI" panose="020B0502040204020203" pitchFamily="34" charset="0"/>
              </a:defRPr>
            </a:lvl1pPr>
          </a:lstStyle>
          <a:p>
            <a:endParaRPr lang="en-US"/>
          </a:p>
        </p:txBody>
      </p:sp>
    </p:spTree>
    <p:extLst>
      <p:ext uri="{BB962C8B-B14F-4D97-AF65-F5344CB8AC3E}">
        <p14:creationId xmlns:p14="http://schemas.microsoft.com/office/powerpoint/2010/main" val="304865768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0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0"/>
            <a:ext cx="4183177" cy="2143003"/>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2143003"/>
            <a:ext cx="4169782" cy="485152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Picture Placeholder 6"/>
          <p:cNvSpPr>
            <a:spLocks noGrp="1"/>
          </p:cNvSpPr>
          <p:nvPr>
            <p:ph type="pic" sz="quarter" idx="13" hasCustomPrompt="1"/>
          </p:nvPr>
        </p:nvSpPr>
        <p:spPr>
          <a:xfrm>
            <a:off x="5307966" y="476912"/>
            <a:ext cx="1399103" cy="1398905"/>
          </a:xfrm>
        </p:spPr>
        <p:txBody>
          <a:bodyPr>
            <a:normAutofit/>
          </a:bodyPr>
          <a:lstStyle>
            <a:lvl1pPr marL="0" indent="0">
              <a:buNone/>
              <a:defRPr sz="1632"/>
            </a:lvl1pPr>
          </a:lstStyle>
          <a:p>
            <a:r>
              <a:rPr lang="en-US"/>
              <a:t>icon</a:t>
            </a:r>
          </a:p>
        </p:txBody>
      </p:sp>
      <p:sp>
        <p:nvSpPr>
          <p:cNvPr id="10" name="Text Placeholder 9"/>
          <p:cNvSpPr>
            <a:spLocks noGrp="1"/>
          </p:cNvSpPr>
          <p:nvPr>
            <p:ph type="body" sz="quarter" idx="14" hasCustomPrompt="1"/>
          </p:nvPr>
        </p:nvSpPr>
        <p:spPr>
          <a:xfrm>
            <a:off x="7154004" y="688256"/>
            <a:ext cx="4872331" cy="976217"/>
          </a:xfrm>
        </p:spPr>
        <p:txBody>
          <a:bodyPr/>
          <a:lstStyle>
            <a:lvl1pPr marL="0" indent="0">
              <a:spcAft>
                <a:spcPts val="0"/>
              </a:spcAft>
              <a:buNone/>
              <a:defRPr>
                <a:solidFill>
                  <a:schemeClr val="tx2"/>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
        <p:nvSpPr>
          <p:cNvPr id="17" name="Picture Placeholder 6"/>
          <p:cNvSpPr>
            <a:spLocks noGrp="1"/>
          </p:cNvSpPr>
          <p:nvPr>
            <p:ph type="pic" sz="quarter" idx="15" hasCustomPrompt="1"/>
          </p:nvPr>
        </p:nvSpPr>
        <p:spPr>
          <a:xfrm>
            <a:off x="5307966" y="2051094"/>
            <a:ext cx="1399103" cy="1398905"/>
          </a:xfrm>
        </p:spPr>
        <p:txBody>
          <a:bodyPr>
            <a:normAutofit/>
          </a:bodyPr>
          <a:lstStyle>
            <a:lvl1pPr marL="0" indent="0">
              <a:buNone/>
              <a:defRPr sz="1632"/>
            </a:lvl1pPr>
          </a:lstStyle>
          <a:p>
            <a:r>
              <a:rPr lang="en-US"/>
              <a:t>icon</a:t>
            </a:r>
          </a:p>
        </p:txBody>
      </p:sp>
      <p:sp>
        <p:nvSpPr>
          <p:cNvPr id="18" name="Text Placeholder 9"/>
          <p:cNvSpPr>
            <a:spLocks noGrp="1"/>
          </p:cNvSpPr>
          <p:nvPr>
            <p:ph type="body" sz="quarter" idx="16" hasCustomPrompt="1"/>
          </p:nvPr>
        </p:nvSpPr>
        <p:spPr>
          <a:xfrm>
            <a:off x="7154004" y="2262438"/>
            <a:ext cx="4872331" cy="976217"/>
          </a:xfrm>
        </p:spPr>
        <p:txBody>
          <a:bodyPr/>
          <a:lstStyle>
            <a:lvl1pPr marL="0" indent="0">
              <a:spcAft>
                <a:spcPts val="0"/>
              </a:spcAft>
              <a:buNone/>
              <a:defRPr>
                <a:solidFill>
                  <a:schemeClr val="accent6">
                    <a:lumMod val="50000"/>
                  </a:schemeClr>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
        <p:nvSpPr>
          <p:cNvPr id="19" name="Picture Placeholder 6"/>
          <p:cNvSpPr>
            <a:spLocks noGrp="1"/>
          </p:cNvSpPr>
          <p:nvPr>
            <p:ph type="pic" sz="quarter" idx="17" hasCustomPrompt="1"/>
          </p:nvPr>
        </p:nvSpPr>
        <p:spPr>
          <a:xfrm>
            <a:off x="5307966" y="3625276"/>
            <a:ext cx="1399103" cy="1398905"/>
          </a:xfrm>
        </p:spPr>
        <p:txBody>
          <a:bodyPr>
            <a:normAutofit/>
          </a:bodyPr>
          <a:lstStyle>
            <a:lvl1pPr marL="0" indent="0">
              <a:buNone/>
              <a:defRPr sz="1632"/>
            </a:lvl1pPr>
          </a:lstStyle>
          <a:p>
            <a:r>
              <a:rPr lang="en-US"/>
              <a:t>icon</a:t>
            </a:r>
          </a:p>
        </p:txBody>
      </p:sp>
      <p:sp>
        <p:nvSpPr>
          <p:cNvPr id="20" name="Text Placeholder 9"/>
          <p:cNvSpPr>
            <a:spLocks noGrp="1"/>
          </p:cNvSpPr>
          <p:nvPr>
            <p:ph type="body" sz="quarter" idx="18" hasCustomPrompt="1"/>
          </p:nvPr>
        </p:nvSpPr>
        <p:spPr>
          <a:xfrm>
            <a:off x="7154004" y="3836620"/>
            <a:ext cx="4872331" cy="976217"/>
          </a:xfrm>
        </p:spPr>
        <p:txBody>
          <a:bodyPr/>
          <a:lstStyle>
            <a:lvl1pPr marL="0" indent="0">
              <a:spcAft>
                <a:spcPts val="0"/>
              </a:spcAft>
              <a:buNone/>
              <a:defRPr>
                <a:solidFill>
                  <a:schemeClr val="accent5"/>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
        <p:nvSpPr>
          <p:cNvPr id="21" name="Picture Placeholder 6"/>
          <p:cNvSpPr>
            <a:spLocks noGrp="1"/>
          </p:cNvSpPr>
          <p:nvPr>
            <p:ph type="pic" sz="quarter" idx="19" hasCustomPrompt="1"/>
          </p:nvPr>
        </p:nvSpPr>
        <p:spPr>
          <a:xfrm>
            <a:off x="5307966" y="5199458"/>
            <a:ext cx="1399103" cy="1398905"/>
          </a:xfrm>
        </p:spPr>
        <p:txBody>
          <a:bodyPr>
            <a:normAutofit/>
          </a:bodyPr>
          <a:lstStyle>
            <a:lvl1pPr marL="0" indent="0">
              <a:buNone/>
              <a:defRPr sz="1632"/>
            </a:lvl1pPr>
          </a:lstStyle>
          <a:p>
            <a:r>
              <a:rPr lang="en-US"/>
              <a:t>icon</a:t>
            </a:r>
          </a:p>
        </p:txBody>
      </p:sp>
      <p:sp>
        <p:nvSpPr>
          <p:cNvPr id="22" name="Text Placeholder 9"/>
          <p:cNvSpPr>
            <a:spLocks noGrp="1"/>
          </p:cNvSpPr>
          <p:nvPr>
            <p:ph type="body" sz="quarter" idx="20" hasCustomPrompt="1"/>
          </p:nvPr>
        </p:nvSpPr>
        <p:spPr>
          <a:xfrm>
            <a:off x="7154004" y="5410802"/>
            <a:ext cx="4872331" cy="976217"/>
          </a:xfrm>
        </p:spPr>
        <p:txBody>
          <a:bodyPr/>
          <a:lstStyle>
            <a:lvl1pPr marL="0" indent="0">
              <a:spcAft>
                <a:spcPts val="0"/>
              </a:spcAft>
              <a:buNone/>
              <a:defRPr>
                <a:solidFill>
                  <a:schemeClr val="accent6"/>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Tree>
    <p:extLst>
      <p:ext uri="{BB962C8B-B14F-4D97-AF65-F5344CB8AC3E}">
        <p14:creationId xmlns:p14="http://schemas.microsoft.com/office/powerpoint/2010/main" val="2056641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mpty Template color 4">
    <p:bg>
      <p:bgPr>
        <a:solidFill>
          <a:srgbClr val="005A4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9732826"/>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2_Split layout ">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4346289" y="1468527"/>
            <a:ext cx="7819758" cy="48411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0"/>
            <a:ext cx="4183177" cy="2143003"/>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2143003"/>
            <a:ext cx="4169782" cy="485152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Tree>
    <p:extLst>
      <p:ext uri="{BB962C8B-B14F-4D97-AF65-F5344CB8AC3E}">
        <p14:creationId xmlns:p14="http://schemas.microsoft.com/office/powerpoint/2010/main" val="259497740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5_Split layout ">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4346289" y="1468527"/>
            <a:ext cx="7819758" cy="48411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p:cNvSpPr>
            <a:spLocks noGrp="1"/>
          </p:cNvSpPr>
          <p:nvPr>
            <p:ph type="body" sz="quarter" idx="10" hasCustomPrompt="1"/>
          </p:nvPr>
        </p:nvSpPr>
        <p:spPr>
          <a:xfrm>
            <a:off x="1" y="1"/>
            <a:ext cx="4183177" cy="3502222"/>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8" name="Text Placeholder 2"/>
          <p:cNvSpPr>
            <a:spLocks noGrp="1"/>
          </p:cNvSpPr>
          <p:nvPr>
            <p:ph type="body" sz="quarter" idx="12" hasCustomPrompt="1"/>
          </p:nvPr>
        </p:nvSpPr>
        <p:spPr>
          <a:xfrm>
            <a:off x="1" y="3502223"/>
            <a:ext cx="4169782" cy="349230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Tree>
    <p:extLst>
      <p:ext uri="{BB962C8B-B14F-4D97-AF65-F5344CB8AC3E}">
        <p14:creationId xmlns:p14="http://schemas.microsoft.com/office/powerpoint/2010/main" val="250227048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0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51581664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141824153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121755643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299618552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116472307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436475" cy="1257442"/>
          </a:xfrm>
        </p:spPr>
        <p:txBody>
          <a:bodyPr lIns="393192" tIns="393192" bIns="91440">
            <a:normAutofit/>
          </a:bodyPr>
          <a:lstStyle>
            <a:lvl1pPr marL="0" indent="0">
              <a:buNone/>
              <a:defRPr sz="4488">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96908" y="1258044"/>
            <a:ext cx="12039567" cy="4789307"/>
          </a:xfrm>
        </p:spPr>
        <p:txBody>
          <a:bodyPr/>
          <a:lstStyle>
            <a:lvl1pPr marL="0" indent="0">
              <a:buNone/>
              <a:defRPr/>
            </a:lvl1pPr>
            <a:lvl2pPr marL="466298" indent="0">
              <a:buNone/>
              <a:defRPr/>
            </a:lvl2pPr>
            <a:lvl3pPr marL="932597" indent="0">
              <a:buNone/>
              <a:defRPr/>
            </a:lvl3pPr>
            <a:lvl4pPr marL="1398895" indent="0">
              <a:buNone/>
              <a:defRPr/>
            </a:lvl4pPr>
            <a:lvl5pPr marL="186519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138138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1144879089"/>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71349" y="2340151"/>
            <a:ext cx="10972800" cy="1098762"/>
          </a:xfrm>
          <a:noFill/>
        </p:spPr>
        <p:txBody>
          <a:bodyPr wrap="square" tIns="91440" bIns="91440" anchor="t" anchorCtr="0">
            <a:spAutoFit/>
          </a:bodyPr>
          <a:lstStyle>
            <a:lvl1pPr algn="ctr">
              <a:defRPr sz="6599"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220971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377863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6_Title/sub-title/boxes_Red ">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109C0968-A7FB-47F9-AB88-493BFC6E4428}"/>
              </a:ext>
            </a:extLst>
          </p:cNvPr>
          <p:cNvSpPr>
            <a:spLocks noGrp="1"/>
          </p:cNvSpPr>
          <p:nvPr>
            <p:ph type="body" sz="quarter" idx="14" hasCustomPrompt="1"/>
          </p:nvPr>
        </p:nvSpPr>
        <p:spPr>
          <a:xfrm>
            <a:off x="215372" y="1484542"/>
            <a:ext cx="2304310" cy="4211286"/>
          </a:xfrm>
          <a:solidFill>
            <a:schemeClr val="accent5"/>
          </a:solidFill>
        </p:spPr>
        <p:txBody>
          <a:bodyPr tIns="91440" bIns="91440">
            <a:normAutofit/>
          </a:bodyPr>
          <a:lstStyle>
            <a:lvl1pPr marL="0" indent="0">
              <a:buNone/>
              <a:defRPr sz="1836">
                <a:solidFill>
                  <a:schemeClr val="bg1"/>
                </a:solidFill>
                <a:latin typeface="+mn-lt"/>
              </a:defRPr>
            </a:lvl1pPr>
          </a:lstStyle>
          <a:p>
            <a:pPr lvl="0"/>
            <a:r>
              <a:rPr lang="en-US" dirty="0"/>
              <a:t>text</a:t>
            </a:r>
          </a:p>
        </p:txBody>
      </p:sp>
      <p:sp>
        <p:nvSpPr>
          <p:cNvPr id="25" name="Text Placeholder 9">
            <a:extLst>
              <a:ext uri="{FF2B5EF4-FFF2-40B4-BE49-F238E27FC236}">
                <a16:creationId xmlns:a16="http://schemas.microsoft.com/office/drawing/2014/main" id="{79011D7D-60B6-4A3A-905E-7B0D6C780F96}"/>
              </a:ext>
            </a:extLst>
          </p:cNvPr>
          <p:cNvSpPr>
            <a:spLocks noGrp="1"/>
          </p:cNvSpPr>
          <p:nvPr>
            <p:ph type="body" sz="quarter" idx="15" hasCustomPrompt="1"/>
          </p:nvPr>
        </p:nvSpPr>
        <p:spPr>
          <a:xfrm>
            <a:off x="2660938" y="1484542"/>
            <a:ext cx="2304310" cy="4211286"/>
          </a:xfrm>
          <a:solidFill>
            <a:schemeClr val="tx2"/>
          </a:solidFill>
        </p:spPr>
        <p:txBody>
          <a:bodyPr tIns="91440" bIns="91440">
            <a:normAutofit/>
          </a:bodyPr>
          <a:lstStyle>
            <a:lvl1pPr marL="0" indent="0">
              <a:buNone/>
              <a:defRPr sz="1836">
                <a:solidFill>
                  <a:schemeClr val="bg1"/>
                </a:solidFill>
                <a:latin typeface="+mn-lt"/>
              </a:defRPr>
            </a:lvl1pPr>
          </a:lstStyle>
          <a:p>
            <a:pPr lvl="0"/>
            <a:r>
              <a:rPr lang="en-US" dirty="0"/>
              <a:t>text</a:t>
            </a:r>
          </a:p>
        </p:txBody>
      </p:sp>
      <p:sp>
        <p:nvSpPr>
          <p:cNvPr id="26" name="Text Placeholder 9">
            <a:extLst>
              <a:ext uri="{FF2B5EF4-FFF2-40B4-BE49-F238E27FC236}">
                <a16:creationId xmlns:a16="http://schemas.microsoft.com/office/drawing/2014/main" id="{FBE8CB9C-8DF0-4F65-AAF4-3C42CBA8550A}"/>
              </a:ext>
            </a:extLst>
          </p:cNvPr>
          <p:cNvSpPr>
            <a:spLocks noGrp="1"/>
          </p:cNvSpPr>
          <p:nvPr>
            <p:ph type="body" sz="quarter" idx="16" hasCustomPrompt="1"/>
          </p:nvPr>
        </p:nvSpPr>
        <p:spPr>
          <a:xfrm>
            <a:off x="5106505" y="1484542"/>
            <a:ext cx="2304310" cy="4211286"/>
          </a:xfrm>
          <a:solidFill>
            <a:schemeClr val="accent6"/>
          </a:solidFill>
        </p:spPr>
        <p:txBody>
          <a:bodyPr tIns="91440" bIns="91440">
            <a:normAutofit/>
          </a:bodyPr>
          <a:lstStyle>
            <a:lvl1pPr marL="0" indent="0">
              <a:buNone/>
              <a:defRPr sz="1836">
                <a:solidFill>
                  <a:schemeClr val="bg1"/>
                </a:solidFill>
                <a:latin typeface="+mn-lt"/>
              </a:defRPr>
            </a:lvl1pPr>
          </a:lstStyle>
          <a:p>
            <a:pPr lvl="0"/>
            <a:r>
              <a:rPr lang="en-US" dirty="0"/>
              <a:t>text</a:t>
            </a:r>
          </a:p>
        </p:txBody>
      </p:sp>
      <p:sp>
        <p:nvSpPr>
          <p:cNvPr id="27" name="Text Placeholder 9">
            <a:extLst>
              <a:ext uri="{FF2B5EF4-FFF2-40B4-BE49-F238E27FC236}">
                <a16:creationId xmlns:a16="http://schemas.microsoft.com/office/drawing/2014/main" id="{936674C8-B1BC-41F7-9D1B-F3A8F34A443F}"/>
              </a:ext>
            </a:extLst>
          </p:cNvPr>
          <p:cNvSpPr>
            <a:spLocks noGrp="1"/>
          </p:cNvSpPr>
          <p:nvPr>
            <p:ph type="body" sz="quarter" idx="17" hasCustomPrompt="1"/>
          </p:nvPr>
        </p:nvSpPr>
        <p:spPr>
          <a:xfrm>
            <a:off x="7552072" y="1484542"/>
            <a:ext cx="2304310" cy="4211286"/>
          </a:xfrm>
          <a:solidFill>
            <a:schemeClr val="tx1"/>
          </a:solidFill>
        </p:spPr>
        <p:txBody>
          <a:bodyPr tIns="91440" bIns="91440">
            <a:normAutofit/>
          </a:bodyPr>
          <a:lstStyle>
            <a:lvl1pPr marL="0" indent="0">
              <a:buNone/>
              <a:defRPr sz="1836">
                <a:solidFill>
                  <a:schemeClr val="bg1"/>
                </a:solidFill>
                <a:latin typeface="+mn-lt"/>
              </a:defRPr>
            </a:lvl1pPr>
          </a:lstStyle>
          <a:p>
            <a:pPr lvl="0"/>
            <a:r>
              <a:rPr lang="en-US" dirty="0"/>
              <a:t>text</a:t>
            </a:r>
          </a:p>
        </p:txBody>
      </p:sp>
      <p:sp>
        <p:nvSpPr>
          <p:cNvPr id="28" name="Text Placeholder 9">
            <a:extLst>
              <a:ext uri="{FF2B5EF4-FFF2-40B4-BE49-F238E27FC236}">
                <a16:creationId xmlns:a16="http://schemas.microsoft.com/office/drawing/2014/main" id="{8643E47D-FC93-43C1-BC7F-E1BA420F1B59}"/>
              </a:ext>
            </a:extLst>
          </p:cNvPr>
          <p:cNvSpPr>
            <a:spLocks noGrp="1"/>
          </p:cNvSpPr>
          <p:nvPr>
            <p:ph type="body" sz="quarter" idx="18" hasCustomPrompt="1"/>
          </p:nvPr>
        </p:nvSpPr>
        <p:spPr>
          <a:xfrm>
            <a:off x="9997638" y="1484542"/>
            <a:ext cx="2304310" cy="4211286"/>
          </a:xfrm>
          <a:solidFill>
            <a:schemeClr val="tx1">
              <a:lumMod val="50000"/>
            </a:schemeClr>
          </a:solidFill>
        </p:spPr>
        <p:txBody>
          <a:bodyPr tIns="91440" bIns="91440">
            <a:normAutofit/>
          </a:bodyPr>
          <a:lstStyle>
            <a:lvl1pPr marL="0" indent="0">
              <a:buNone/>
              <a:defRPr sz="1836">
                <a:solidFill>
                  <a:schemeClr val="bg1"/>
                </a:solidFill>
                <a:latin typeface="+mn-lt"/>
              </a:defRPr>
            </a:lvl1pPr>
          </a:lstStyle>
          <a:p>
            <a:pPr lvl="0"/>
            <a:r>
              <a:rPr lang="en-US" dirty="0"/>
              <a:t>text</a:t>
            </a:r>
          </a:p>
        </p:txBody>
      </p:sp>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dirty="0"/>
              <a:t>Title</a:t>
            </a:r>
          </a:p>
        </p:txBody>
      </p:sp>
      <p:sp>
        <p:nvSpPr>
          <p:cNvPr id="4" name="Text Placeholder 3">
            <a:extLst>
              <a:ext uri="{FF2B5EF4-FFF2-40B4-BE49-F238E27FC236}">
                <a16:creationId xmlns:a16="http://schemas.microsoft.com/office/drawing/2014/main" id="{895D3CCB-3555-4B1A-AB4A-5AD19E10D892}"/>
              </a:ext>
            </a:extLst>
          </p:cNvPr>
          <p:cNvSpPr>
            <a:spLocks noGrp="1"/>
          </p:cNvSpPr>
          <p:nvPr>
            <p:ph type="body" sz="quarter" idx="13" hasCustomPrompt="1"/>
          </p:nvPr>
        </p:nvSpPr>
        <p:spPr>
          <a:xfrm>
            <a:off x="0" y="6039255"/>
            <a:ext cx="12436475" cy="955271"/>
          </a:xfrm>
          <a:solidFill>
            <a:schemeClr val="tx2"/>
          </a:solidFill>
        </p:spPr>
        <p:txBody>
          <a:bodyPr lIns="182880" tIns="91440" rIns="91440" bIns="91440"/>
          <a:lstStyle>
            <a:lvl1pPr marL="0" indent="0">
              <a:buNone/>
              <a:defRPr>
                <a:solidFill>
                  <a:schemeClr val="bg1"/>
                </a:solidFill>
              </a:defRPr>
            </a:lvl1pPr>
            <a:lvl2pPr marL="466298" indent="0">
              <a:buNone/>
              <a:defRPr/>
            </a:lvl2pPr>
            <a:lvl3pPr marL="932597" indent="0">
              <a:buNone/>
              <a:defRPr/>
            </a:lvl3pPr>
            <a:lvl4pPr marL="1398895" indent="0">
              <a:buNone/>
              <a:defRPr/>
            </a:lvl4pPr>
            <a:lvl5pPr marL="1865193" indent="0">
              <a:buNone/>
              <a:defRPr/>
            </a:lvl5pPr>
          </a:lstStyle>
          <a:p>
            <a:pPr lvl="0"/>
            <a:r>
              <a:rPr lang="en-US" dirty="0"/>
              <a:t>text</a:t>
            </a:r>
          </a:p>
        </p:txBody>
      </p:sp>
    </p:spTree>
    <p:extLst>
      <p:ext uri="{BB962C8B-B14F-4D97-AF65-F5344CB8AC3E}">
        <p14:creationId xmlns:p14="http://schemas.microsoft.com/office/powerpoint/2010/main" val="265118518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_Title 48 P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sz="4799"/>
            </a:lvl1pPr>
          </a:lstStyle>
          <a:p>
            <a:r>
              <a:rPr lang="en-US"/>
              <a:t>Click to edit Master title style</a:t>
            </a:r>
          </a:p>
        </p:txBody>
      </p:sp>
    </p:spTree>
    <p:extLst>
      <p:ext uri="{BB962C8B-B14F-4D97-AF65-F5344CB8AC3E}">
        <p14:creationId xmlns:p14="http://schemas.microsoft.com/office/powerpoint/2010/main" val="2498741433"/>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grpSp>
        <p:nvGrpSpPr>
          <p:cNvPr id="4" name="Group 3"/>
          <p:cNvGrpSpPr>
            <a:grpSpLocks noChangeAspect="1"/>
          </p:cNvGrpSpPr>
          <p:nvPr userDrawn="1"/>
        </p:nvGrpSpPr>
        <p:grpSpPr bwMode="black">
          <a:xfrm>
            <a:off x="472338" y="6251648"/>
            <a:ext cx="1278563" cy="274492"/>
            <a:chOff x="457200" y="1643393"/>
            <a:chExt cx="4492753" cy="96454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grpSp>
    </p:spTree>
    <p:extLst>
      <p:ext uri="{BB962C8B-B14F-4D97-AF65-F5344CB8AC3E}">
        <p14:creationId xmlns:p14="http://schemas.microsoft.com/office/powerpoint/2010/main" val="3878173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6475249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121027"/>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011329"/>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7002462"/>
          </a:xfrm>
          <a:prstGeom prst="rect">
            <a:avLst/>
          </a:prstGeom>
        </p:spPr>
      </p:pic>
    </p:spTree>
    <p:extLst>
      <p:ext uri="{BB962C8B-B14F-4D97-AF65-F5344CB8AC3E}">
        <p14:creationId xmlns:p14="http://schemas.microsoft.com/office/powerpoint/2010/main" val="1944372819"/>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2081"/>
          </a:xfrm>
        </p:spPr>
        <p:txBody>
          <a:bodyPr wrap="square">
            <a:spAutoFit/>
          </a:bodyPr>
          <a:lstStyle>
            <a:lvl1pPr marL="0" indent="0">
              <a:spcBef>
                <a:spcPts val="1224"/>
              </a:spcBef>
              <a:buClr>
                <a:schemeClr val="tx1"/>
              </a:buClr>
              <a:buFont typeface="Wingdings" pitchFamily="2" charset="2"/>
              <a:buNone/>
              <a:defRPr sz="3199"/>
            </a:lvl1pPr>
            <a:lvl2pPr marL="0" indent="0">
              <a:buNone/>
              <a:defRPr sz="24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50"/>
            <a:ext cx="5486399" cy="1982081"/>
          </a:xfrm>
        </p:spPr>
        <p:txBody>
          <a:bodyPr wrap="square">
            <a:spAutoFit/>
          </a:bodyPr>
          <a:lstStyle>
            <a:lvl1pPr marL="0" indent="0">
              <a:spcBef>
                <a:spcPts val="1224"/>
              </a:spcBef>
              <a:buClr>
                <a:schemeClr val="tx1"/>
              </a:buClr>
              <a:buFont typeface="Wingdings" pitchFamily="2" charset="2"/>
              <a:buNone/>
              <a:defRPr sz="3199"/>
            </a:lvl1pPr>
            <a:lvl2pPr marL="0" indent="0">
              <a:buNone/>
              <a:defRPr sz="24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227728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30160615"/>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1365727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417752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47052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101436" y="2963863"/>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7874208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2"/>
            <a:ext cx="11887200" cy="1084912"/>
          </a:xfrm>
          <a:noFill/>
        </p:spPr>
        <p:txBody>
          <a:bodyPr tIns="91440" bIns="91440" anchor="t" anchorCtr="0">
            <a:spAutoFit/>
          </a:bodyPr>
          <a:lstStyle>
            <a:lvl1pPr>
              <a:defRPr sz="64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9597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633564"/>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80061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084912"/>
          </a:xfrm>
          <a:noFill/>
        </p:spPr>
        <p:txBody>
          <a:bodyPr tIns="91440" bIns="91440" anchor="t" anchorCtr="0">
            <a:spAutoFit/>
          </a:bodyPr>
          <a:lstStyle>
            <a:lvl1pPr>
              <a:defRPr lang="en-US" sz="64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116067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084912"/>
          </a:xfrm>
          <a:noFill/>
        </p:spPr>
        <p:txBody>
          <a:bodyPr tIns="91440" bIns="91440" anchor="t" anchorCtr="0">
            <a:spAutoFit/>
          </a:bodyPr>
          <a:lstStyle>
            <a:lvl1pPr>
              <a:defRPr sz="64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6618045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798471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5499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_Blank Accent Color 1">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87183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type="twoObj">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21824" y="1632058"/>
            <a:ext cx="5492776" cy="3081293"/>
          </a:xfrm>
        </p:spPr>
        <p:txBody>
          <a:bodyPr/>
          <a:lstStyle>
            <a:lvl1pPr>
              <a:defRPr sz="3807"/>
            </a:lvl1pPr>
            <a:lvl2pPr>
              <a:defRPr sz="3264"/>
            </a:lvl2pPr>
            <a:lvl3pPr>
              <a:defRPr sz="2719"/>
            </a:lvl3pPr>
            <a:lvl4pPr>
              <a:defRPr sz="2448"/>
            </a:lvl4pPr>
            <a:lvl5pPr>
              <a:defRPr sz="2448"/>
            </a:lvl5pPr>
            <a:lvl6pPr>
              <a:defRPr sz="2448"/>
            </a:lvl6pPr>
            <a:lvl7pPr>
              <a:defRPr sz="2448"/>
            </a:lvl7pPr>
            <a:lvl8pPr>
              <a:defRPr sz="2448"/>
            </a:lvl8pPr>
            <a:lvl9pPr>
              <a:defRPr sz="2448"/>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321875" y="1632058"/>
            <a:ext cx="5492776" cy="3081293"/>
          </a:xfrm>
        </p:spPr>
        <p:txBody>
          <a:bodyPr/>
          <a:lstStyle>
            <a:lvl1pPr>
              <a:defRPr sz="3807"/>
            </a:lvl1pPr>
            <a:lvl2pPr>
              <a:defRPr sz="3264"/>
            </a:lvl2pPr>
            <a:lvl3pPr>
              <a:defRPr sz="2719"/>
            </a:lvl3pPr>
            <a:lvl4pPr>
              <a:defRPr sz="2448"/>
            </a:lvl4pPr>
            <a:lvl5pPr>
              <a:defRPr sz="2448"/>
            </a:lvl5pPr>
            <a:lvl6pPr>
              <a:defRPr sz="2448"/>
            </a:lvl6pPr>
            <a:lvl7pPr>
              <a:defRPr sz="2448"/>
            </a:lvl7pPr>
            <a:lvl8pPr>
              <a:defRPr sz="2448"/>
            </a:lvl8pPr>
            <a:lvl9pPr>
              <a:defRPr sz="2448"/>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a:xfrm>
            <a:off x="621824" y="6482890"/>
            <a:ext cx="2901844" cy="372394"/>
          </a:xfrm>
          <a:prstGeom prst="rect">
            <a:avLst/>
          </a:prstGeom>
        </p:spPr>
        <p:txBody>
          <a:bodyPr/>
          <a:lstStyle/>
          <a:p>
            <a:fld id="{530820CF-B880-4189-942D-D702A7CBA730}" type="datetimeFigureOut">
              <a:rPr lang="zh-CN" altLang="en-US" smtClean="0"/>
              <a:t>2019/06/03</a:t>
            </a:fld>
            <a:endParaRPr lang="zh-CN" altLang="en-US"/>
          </a:p>
        </p:txBody>
      </p:sp>
      <p:sp>
        <p:nvSpPr>
          <p:cNvPr id="6" name="页脚占位符 5"/>
          <p:cNvSpPr>
            <a:spLocks noGrp="1"/>
          </p:cNvSpPr>
          <p:nvPr>
            <p:ph type="ftr" sz="quarter" idx="11"/>
          </p:nvPr>
        </p:nvSpPr>
        <p:spPr>
          <a:xfrm>
            <a:off x="4249129" y="6482890"/>
            <a:ext cx="3938217" cy="37239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912807" y="6482890"/>
            <a:ext cx="2901844" cy="372394"/>
          </a:xfrm>
          <a:prstGeom prst="rect">
            <a:avLst/>
          </a:prstGeom>
        </p:spPr>
        <p:txBody>
          <a:bodyPr/>
          <a:lstStyle/>
          <a:p>
            <a:fld id="{0C913308-F349-4B6D-A68A-DD1791B4A57B}" type="slidenum">
              <a:rPr lang="zh-CN" altLang="en-US" smtClean="0"/>
              <a:t>‹#›</a:t>
            </a:fld>
            <a:endParaRPr lang="zh-CN" altLang="en-US"/>
          </a:p>
        </p:txBody>
      </p:sp>
    </p:spTree>
    <p:extLst>
      <p:ext uri="{BB962C8B-B14F-4D97-AF65-F5344CB8AC3E}">
        <p14:creationId xmlns:p14="http://schemas.microsoft.com/office/powerpoint/2010/main" val="15371002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8356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CED9258-A472-46CD-AF0C-EA6DBA2E5DF0}"/>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AD164CB2-FD7B-45A9-A5E0-FA2312B0A34A}"/>
              </a:ext>
            </a:extLst>
          </p:cNvPr>
          <p:cNvSpPr>
            <a:spLocks noGrp="1"/>
          </p:cNvSpPr>
          <p:nvPr>
            <p:ph idx="1"/>
          </p:nvPr>
        </p:nvSpPr>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a16="http://schemas.microsoft.com/office/drawing/2014/main" id="{2A5D6141-E59E-406F-B7D7-6912C5DA0317}"/>
              </a:ext>
            </a:extLst>
          </p:cNvPr>
          <p:cNvSpPr>
            <a:spLocks noGrp="1"/>
          </p:cNvSpPr>
          <p:nvPr>
            <p:ph type="dt" sz="half" idx="10"/>
          </p:nvPr>
        </p:nvSpPr>
        <p:spPr>
          <a:xfrm>
            <a:off x="855008" y="6482889"/>
            <a:ext cx="2798207" cy="372394"/>
          </a:xfrm>
          <a:prstGeom prst="rect">
            <a:avLst/>
          </a:prstGeom>
        </p:spPr>
        <p:txBody>
          <a:bodyPr/>
          <a:lstStyle/>
          <a:p>
            <a:fld id="{A1979BB6-D06C-4BE7-82C5-3FCB63B64699}" type="datetimeFigureOut">
              <a:rPr lang="zh-CN" altLang="en-US" smtClean="0"/>
              <a:t>2019/06/03</a:t>
            </a:fld>
            <a:endParaRPr lang="zh-CN" altLang="en-US"/>
          </a:p>
        </p:txBody>
      </p:sp>
      <p:sp>
        <p:nvSpPr>
          <p:cNvPr id="5" name="页脚占位符 4">
            <a:extLst>
              <a:ext uri="{FF2B5EF4-FFF2-40B4-BE49-F238E27FC236}">
                <a16:creationId xmlns:a16="http://schemas.microsoft.com/office/drawing/2014/main" id="{EB7DFAC1-E829-48B0-889D-53A05C76135A}"/>
              </a:ext>
            </a:extLst>
          </p:cNvPr>
          <p:cNvSpPr>
            <a:spLocks noGrp="1"/>
          </p:cNvSpPr>
          <p:nvPr>
            <p:ph type="ftr" sz="quarter" idx="11"/>
          </p:nvPr>
        </p:nvSpPr>
        <p:spPr>
          <a:xfrm>
            <a:off x="4119583" y="6482889"/>
            <a:ext cx="4197310" cy="372394"/>
          </a:xfrm>
          <a:prstGeom prst="rect">
            <a:avLst/>
          </a:prstGeom>
        </p:spPr>
        <p:txBody>
          <a:bodyPr/>
          <a:lstStyle/>
          <a:p>
            <a:endParaRPr lang="zh-CN" altLang="en-US"/>
          </a:p>
        </p:txBody>
      </p:sp>
      <p:sp>
        <p:nvSpPr>
          <p:cNvPr id="6" name="灯片编号占位符 5">
            <a:extLst>
              <a:ext uri="{FF2B5EF4-FFF2-40B4-BE49-F238E27FC236}">
                <a16:creationId xmlns:a16="http://schemas.microsoft.com/office/drawing/2014/main" id="{03EBFE29-5E51-4B6B-99D4-54D9EE0AACC3}"/>
              </a:ext>
            </a:extLst>
          </p:cNvPr>
          <p:cNvSpPr>
            <a:spLocks noGrp="1"/>
          </p:cNvSpPr>
          <p:nvPr>
            <p:ph type="sldNum" sz="quarter" idx="12"/>
          </p:nvPr>
        </p:nvSpPr>
        <p:spPr>
          <a:xfrm>
            <a:off x="8783260" y="6482889"/>
            <a:ext cx="2798207" cy="372394"/>
          </a:xfrm>
          <a:prstGeom prst="rect">
            <a:avLst/>
          </a:prstGeom>
        </p:spPr>
        <p:txBody>
          <a:bodyPr/>
          <a:lstStyle/>
          <a:p>
            <a:fld id="{D3F5C0BC-445F-4C78-9A94-38B066E302DF}" type="slidenum">
              <a:rPr lang="zh-CN" altLang="en-US" smtClean="0"/>
              <a:t>‹#›</a:t>
            </a:fld>
            <a:endParaRPr lang="zh-CN" altLang="en-US"/>
          </a:p>
        </p:txBody>
      </p:sp>
    </p:spTree>
    <p:extLst>
      <p:ext uri="{BB962C8B-B14F-4D97-AF65-F5344CB8AC3E}">
        <p14:creationId xmlns:p14="http://schemas.microsoft.com/office/powerpoint/2010/main" val="192767321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560101"/>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54560" y="1144706"/>
            <a:ext cx="9327356" cy="2435131"/>
          </a:xfrm>
        </p:spPr>
        <p:txBody>
          <a:bodyPr anchor="b"/>
          <a:lstStyle>
            <a:lvl1pPr algn="ctr">
              <a:defRPr sz="6119"/>
            </a:lvl1pPr>
          </a:lstStyle>
          <a:p>
            <a:r>
              <a:rPr lang="zh-CN" altLang="en-US"/>
              <a:t>单击此处编辑母版标题样式</a:t>
            </a:r>
          </a:p>
        </p:txBody>
      </p:sp>
      <p:sp>
        <p:nvSpPr>
          <p:cNvPr id="3" name="副标题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zh-CN" altLang="en-US"/>
              <a:t>单击此处编辑母版副标题样式</a:t>
            </a:r>
          </a:p>
        </p:txBody>
      </p:sp>
      <p:sp>
        <p:nvSpPr>
          <p:cNvPr id="4" name="日期占位符 3"/>
          <p:cNvSpPr>
            <a:spLocks noGrp="1"/>
          </p:cNvSpPr>
          <p:nvPr>
            <p:ph type="dt" sz="half" idx="10"/>
          </p:nvPr>
        </p:nvSpPr>
        <p:spPr/>
        <p:txBody>
          <a:bodyPr/>
          <a:lstStyle/>
          <a:p>
            <a:fld id="{3DCD0012-0F5D-4F94-A7CE-6C640CDCBDDD}" type="datetimeFigureOut">
              <a:rPr lang="zh-CN" altLang="en-US" smtClean="0"/>
              <a:t>2019/06/03</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8BAFFC0-9880-46D2-BFF3-B75E6F515C3E}" type="slidenum">
              <a:rPr lang="zh-CN" altLang="en-US" smtClean="0"/>
              <a:t>‹#›</a:t>
            </a:fld>
            <a:endParaRPr lang="zh-CN" altLang="en-US"/>
          </a:p>
        </p:txBody>
      </p:sp>
    </p:spTree>
    <p:extLst>
      <p:ext uri="{BB962C8B-B14F-4D97-AF65-F5344CB8AC3E}">
        <p14:creationId xmlns:p14="http://schemas.microsoft.com/office/powerpoint/2010/main" val="180272300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3DCD0012-0F5D-4F94-A7CE-6C640CDCBDDD}" type="datetimeFigureOut">
              <a:rPr lang="zh-CN" altLang="en-US" smtClean="0"/>
              <a:t>2019/06/03</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8BAFFC0-9880-46D2-BFF3-B75E6F515C3E}" type="slidenum">
              <a:rPr lang="zh-CN" altLang="en-US" smtClean="0"/>
              <a:t>‹#›</a:t>
            </a:fld>
            <a:endParaRPr lang="zh-CN" altLang="en-US"/>
          </a:p>
        </p:txBody>
      </p:sp>
    </p:spTree>
    <p:extLst>
      <p:ext uri="{BB962C8B-B14F-4D97-AF65-F5344CB8AC3E}">
        <p14:creationId xmlns:p14="http://schemas.microsoft.com/office/powerpoint/2010/main" val="322700538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48530" y="1743775"/>
            <a:ext cx="10726460" cy="2909528"/>
          </a:xfrm>
        </p:spPr>
        <p:txBody>
          <a:bodyPr anchor="b"/>
          <a:lstStyle>
            <a:lvl1pPr>
              <a:defRPr sz="6119"/>
            </a:lvl1pPr>
          </a:lstStyle>
          <a:p>
            <a:r>
              <a:rPr lang="zh-CN" altLang="en-US"/>
              <a:t>单击此处编辑母版标题样式</a:t>
            </a:r>
          </a:p>
        </p:txBody>
      </p:sp>
      <p:sp>
        <p:nvSpPr>
          <p:cNvPr id="3" name="文本占位符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3DCD0012-0F5D-4F94-A7CE-6C640CDCBDDD}" type="datetimeFigureOut">
              <a:rPr lang="zh-CN" altLang="en-US" smtClean="0"/>
              <a:t>2019/06/03</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8BAFFC0-9880-46D2-BFF3-B75E6F515C3E}" type="slidenum">
              <a:rPr lang="zh-CN" altLang="en-US" smtClean="0"/>
              <a:t>‹#›</a:t>
            </a:fld>
            <a:endParaRPr lang="zh-CN" altLang="en-US"/>
          </a:p>
        </p:txBody>
      </p:sp>
    </p:spTree>
    <p:extLst>
      <p:ext uri="{BB962C8B-B14F-4D97-AF65-F5344CB8AC3E}">
        <p14:creationId xmlns:p14="http://schemas.microsoft.com/office/powerpoint/2010/main" val="83126430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55008" y="1861968"/>
            <a:ext cx="5285502" cy="443796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295965" y="1861968"/>
            <a:ext cx="5285502" cy="443796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3DCD0012-0F5D-4F94-A7CE-6C640CDCBDDD}" type="datetimeFigureOut">
              <a:rPr lang="zh-CN" altLang="en-US" smtClean="0"/>
              <a:t>2019/06/03</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8BAFFC0-9880-46D2-BFF3-B75E6F515C3E}" type="slidenum">
              <a:rPr lang="zh-CN" altLang="en-US" smtClean="0"/>
              <a:t>‹#›</a:t>
            </a:fld>
            <a:endParaRPr lang="zh-CN" altLang="en-US"/>
          </a:p>
        </p:txBody>
      </p:sp>
    </p:spTree>
    <p:extLst>
      <p:ext uri="{BB962C8B-B14F-4D97-AF65-F5344CB8AC3E}">
        <p14:creationId xmlns:p14="http://schemas.microsoft.com/office/powerpoint/2010/main" val="354806437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56627" y="372394"/>
            <a:ext cx="10726460" cy="1351952"/>
          </a:xfrm>
        </p:spPr>
        <p:txBody>
          <a:bodyPr/>
          <a:lstStyle/>
          <a:p>
            <a:r>
              <a:rPr lang="zh-CN" altLang="en-US"/>
              <a:t>单击此处编辑母版标题样式</a:t>
            </a:r>
          </a:p>
        </p:txBody>
      </p:sp>
      <p:sp>
        <p:nvSpPr>
          <p:cNvPr id="3" name="文本占位符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zh-CN" altLang="en-US"/>
              <a:t>单击此处编辑母版文本样式</a:t>
            </a:r>
          </a:p>
        </p:txBody>
      </p:sp>
      <p:sp>
        <p:nvSpPr>
          <p:cNvPr id="4" name="内容占位符 3"/>
          <p:cNvSpPr>
            <a:spLocks noGrp="1"/>
          </p:cNvSpPr>
          <p:nvPr>
            <p:ph sz="half" idx="2"/>
          </p:nvPr>
        </p:nvSpPr>
        <p:spPr>
          <a:xfrm>
            <a:off x="856628" y="2554944"/>
            <a:ext cx="5261211" cy="3757939"/>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zh-CN" altLang="en-US"/>
              <a:t>单击此处编辑母版文本样式</a:t>
            </a:r>
          </a:p>
        </p:txBody>
      </p:sp>
      <p:sp>
        <p:nvSpPr>
          <p:cNvPr id="6" name="内容占位符 5"/>
          <p:cNvSpPr>
            <a:spLocks noGrp="1"/>
          </p:cNvSpPr>
          <p:nvPr>
            <p:ph sz="quarter" idx="4"/>
          </p:nvPr>
        </p:nvSpPr>
        <p:spPr>
          <a:xfrm>
            <a:off x="6295965" y="2554944"/>
            <a:ext cx="5287122" cy="3757939"/>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3DCD0012-0F5D-4F94-A7CE-6C640CDCBDDD}" type="datetimeFigureOut">
              <a:rPr lang="zh-CN" altLang="en-US" smtClean="0"/>
              <a:t>2019/06/03</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28BAFFC0-9880-46D2-BFF3-B75E6F515C3E}" type="slidenum">
              <a:rPr lang="zh-CN" altLang="en-US" smtClean="0"/>
              <a:t>‹#›</a:t>
            </a:fld>
            <a:endParaRPr lang="zh-CN" altLang="en-US"/>
          </a:p>
        </p:txBody>
      </p:sp>
    </p:spTree>
    <p:extLst>
      <p:ext uri="{BB962C8B-B14F-4D97-AF65-F5344CB8AC3E}">
        <p14:creationId xmlns:p14="http://schemas.microsoft.com/office/powerpoint/2010/main" val="132103506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3DCD0012-0F5D-4F94-A7CE-6C640CDCBDDD}" type="datetimeFigureOut">
              <a:rPr lang="zh-CN" altLang="en-US" smtClean="0"/>
              <a:t>2019/06/03</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28BAFFC0-9880-46D2-BFF3-B75E6F515C3E}" type="slidenum">
              <a:rPr lang="zh-CN" altLang="en-US" smtClean="0"/>
              <a:t>‹#›</a:t>
            </a:fld>
            <a:endParaRPr lang="zh-CN" altLang="en-US"/>
          </a:p>
        </p:txBody>
      </p:sp>
    </p:spTree>
    <p:extLst>
      <p:ext uri="{BB962C8B-B14F-4D97-AF65-F5344CB8AC3E}">
        <p14:creationId xmlns:p14="http://schemas.microsoft.com/office/powerpoint/2010/main" val="15739404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3DCD0012-0F5D-4F94-A7CE-6C640CDCBDDD}" type="datetimeFigureOut">
              <a:rPr lang="zh-CN" altLang="en-US" smtClean="0"/>
              <a:t>2019/06/03</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28BAFFC0-9880-46D2-BFF3-B75E6F515C3E}" type="slidenum">
              <a:rPr lang="zh-CN" altLang="en-US" smtClean="0"/>
              <a:t>‹#›</a:t>
            </a:fld>
            <a:endParaRPr lang="zh-CN" altLang="en-US"/>
          </a:p>
        </p:txBody>
      </p:sp>
    </p:spTree>
    <p:extLst>
      <p:ext uri="{BB962C8B-B14F-4D97-AF65-F5344CB8AC3E}">
        <p14:creationId xmlns:p14="http://schemas.microsoft.com/office/powerpoint/2010/main" val="222878718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56628" y="466302"/>
            <a:ext cx="4011087" cy="1632056"/>
          </a:xfrm>
        </p:spPr>
        <p:txBody>
          <a:bodyPr anchor="b"/>
          <a:lstStyle>
            <a:lvl1pPr>
              <a:defRPr sz="3264"/>
            </a:lvl1pPr>
          </a:lstStyle>
          <a:p>
            <a:r>
              <a:rPr lang="zh-CN" altLang="en-US"/>
              <a:t>单击此处编辑母版标题样式</a:t>
            </a:r>
          </a:p>
        </p:txBody>
      </p:sp>
      <p:sp>
        <p:nvSpPr>
          <p:cNvPr id="3" name="内容占位符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3DCD0012-0F5D-4F94-A7CE-6C640CDCBDDD}" type="datetimeFigureOut">
              <a:rPr lang="zh-CN" altLang="en-US" smtClean="0"/>
              <a:t>2019/06/03</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8BAFFC0-9880-46D2-BFF3-B75E6F515C3E}" type="slidenum">
              <a:rPr lang="zh-CN" altLang="en-US" smtClean="0"/>
              <a:t>‹#›</a:t>
            </a:fld>
            <a:endParaRPr lang="zh-CN" altLang="en-US"/>
          </a:p>
        </p:txBody>
      </p:sp>
    </p:spTree>
    <p:extLst>
      <p:ext uri="{BB962C8B-B14F-4D97-AF65-F5344CB8AC3E}">
        <p14:creationId xmlns:p14="http://schemas.microsoft.com/office/powerpoint/2010/main" val="742398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3872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56628" y="466302"/>
            <a:ext cx="4011087" cy="1632056"/>
          </a:xfrm>
        </p:spPr>
        <p:txBody>
          <a:bodyPr anchor="b"/>
          <a:lstStyle>
            <a:lvl1pPr>
              <a:defRPr sz="3264"/>
            </a:lvl1pPr>
          </a:lstStyle>
          <a:p>
            <a:r>
              <a:rPr lang="zh-CN" altLang="en-US"/>
              <a:t>单击此处编辑母版标题样式</a:t>
            </a:r>
          </a:p>
        </p:txBody>
      </p:sp>
      <p:sp>
        <p:nvSpPr>
          <p:cNvPr id="3" name="图片占位符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zh-CN" altLang="en-US"/>
          </a:p>
        </p:txBody>
      </p:sp>
      <p:sp>
        <p:nvSpPr>
          <p:cNvPr id="4" name="文本占位符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3DCD0012-0F5D-4F94-A7CE-6C640CDCBDDD}" type="datetimeFigureOut">
              <a:rPr lang="zh-CN" altLang="en-US" smtClean="0"/>
              <a:t>2019/06/03</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8BAFFC0-9880-46D2-BFF3-B75E6F515C3E}" type="slidenum">
              <a:rPr lang="zh-CN" altLang="en-US" smtClean="0"/>
              <a:t>‹#›</a:t>
            </a:fld>
            <a:endParaRPr lang="zh-CN" altLang="en-US"/>
          </a:p>
        </p:txBody>
      </p:sp>
    </p:spTree>
    <p:extLst>
      <p:ext uri="{BB962C8B-B14F-4D97-AF65-F5344CB8AC3E}">
        <p14:creationId xmlns:p14="http://schemas.microsoft.com/office/powerpoint/2010/main" val="11910169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3DCD0012-0F5D-4F94-A7CE-6C640CDCBDDD}" type="datetimeFigureOut">
              <a:rPr lang="zh-CN" altLang="en-US" smtClean="0"/>
              <a:t>2019/06/03</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8BAFFC0-9880-46D2-BFF3-B75E6F515C3E}" type="slidenum">
              <a:rPr lang="zh-CN" altLang="en-US" smtClean="0"/>
              <a:t>‹#›</a:t>
            </a:fld>
            <a:endParaRPr lang="zh-CN" altLang="en-US"/>
          </a:p>
        </p:txBody>
      </p:sp>
    </p:spTree>
    <p:extLst>
      <p:ext uri="{BB962C8B-B14F-4D97-AF65-F5344CB8AC3E}">
        <p14:creationId xmlns:p14="http://schemas.microsoft.com/office/powerpoint/2010/main" val="13991043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99852" y="372394"/>
            <a:ext cx="2681615" cy="5927537"/>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55008" y="372394"/>
            <a:ext cx="7889389" cy="5927537"/>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3DCD0012-0F5D-4F94-A7CE-6C640CDCBDDD}" type="datetimeFigureOut">
              <a:rPr lang="zh-CN" altLang="en-US" smtClean="0"/>
              <a:t>2019/06/03</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8BAFFC0-9880-46D2-BFF3-B75E6F515C3E}" type="slidenum">
              <a:rPr lang="zh-CN" altLang="en-US" smtClean="0"/>
              <a:t>‹#›</a:t>
            </a:fld>
            <a:endParaRPr lang="zh-CN" altLang="en-US"/>
          </a:p>
        </p:txBody>
      </p:sp>
    </p:spTree>
    <p:extLst>
      <p:ext uri="{BB962C8B-B14F-4D97-AF65-F5344CB8AC3E}">
        <p14:creationId xmlns:p14="http://schemas.microsoft.com/office/powerpoint/2010/main" val="364329886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961845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826651743"/>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pic>
        <p:nvPicPr>
          <p:cNvPr id="2" name="图片 1" descr="底图.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12527528" cy="7051999"/>
          </a:xfrm>
          <a:prstGeom prst="rect">
            <a:avLst/>
          </a:prstGeom>
        </p:spPr>
      </p:pic>
      <p:pic>
        <p:nvPicPr>
          <p:cNvPr id="5" name="图片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790188" y="205458"/>
            <a:ext cx="1499690" cy="356121"/>
          </a:xfrm>
          <a:prstGeom prst="rect">
            <a:avLst/>
          </a:prstGeom>
        </p:spPr>
      </p:pic>
    </p:spTree>
    <p:extLst>
      <p:ext uri="{BB962C8B-B14F-4D97-AF65-F5344CB8AC3E}">
        <p14:creationId xmlns:p14="http://schemas.microsoft.com/office/powerpoint/2010/main" val="2103112056"/>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376838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79292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7" y="3090314"/>
            <a:ext cx="9590081" cy="1828800"/>
          </a:xfrm>
          <a:noFill/>
        </p:spPr>
        <p:txBody>
          <a:bodyPr lIns="0" tIns="0" rIns="0" bIns="182880" anchor="b" anchorCtr="0"/>
          <a:lstStyle>
            <a:lvl1pPr>
              <a:defRPr sz="5399" strike="noStrike" spc="-150"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34977" y="4935118"/>
            <a:ext cx="9590081" cy="964256"/>
          </a:xfrm>
          <a:noFill/>
        </p:spPr>
        <p:txBody>
          <a:bodyPr lIns="0" tIns="0" rIns="0" bIns="0">
            <a:noAutofit/>
          </a:bodyPr>
          <a:lstStyle>
            <a:lvl1pPr marL="0" indent="0">
              <a:lnSpc>
                <a:spcPct val="100000"/>
              </a:lnSpc>
              <a:spcBef>
                <a:spcPts val="0"/>
              </a:spcBef>
              <a:buNone/>
              <a:defRPr sz="1599"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2069" y="246185"/>
            <a:ext cx="1305378" cy="585080"/>
          </a:xfrm>
          <a:prstGeom prst="rect">
            <a:avLst/>
          </a:prstGeom>
        </p:spPr>
      </p:pic>
    </p:spTree>
    <p:extLst>
      <p:ext uri="{BB962C8B-B14F-4D97-AF65-F5344CB8AC3E}">
        <p14:creationId xmlns:p14="http://schemas.microsoft.com/office/powerpoint/2010/main" val="35515852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8157" y="3090314"/>
            <a:ext cx="9590081" cy="1828800"/>
          </a:xfrm>
          <a:noFill/>
        </p:spPr>
        <p:txBody>
          <a:bodyPr lIns="0" tIns="0" rIns="0" bIns="182880" anchor="b" anchorCtr="0"/>
          <a:lstStyle>
            <a:lvl1pPr>
              <a:defRPr sz="5399" strike="noStrike" spc="-150"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977" y="4935118"/>
            <a:ext cx="9590081" cy="964256"/>
          </a:xfrm>
          <a:noFill/>
        </p:spPr>
        <p:txBody>
          <a:bodyPr lIns="0" tIns="0" rIns="0" bIns="0">
            <a:noAutofit/>
          </a:bodyPr>
          <a:lstStyle>
            <a:lvl1pPr marL="0" indent="0">
              <a:lnSpc>
                <a:spcPct val="100000"/>
              </a:lnSpc>
              <a:spcBef>
                <a:spcPts val="0"/>
              </a:spcBef>
              <a:buNone/>
              <a:defRPr sz="1599"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2069" y="246185"/>
            <a:ext cx="1305378" cy="585080"/>
          </a:xfrm>
          <a:prstGeom prst="rect">
            <a:avLst/>
          </a:prstGeom>
        </p:spPr>
      </p:pic>
    </p:spTree>
    <p:extLst>
      <p:ext uri="{BB962C8B-B14F-4D97-AF65-F5344CB8AC3E}">
        <p14:creationId xmlns:p14="http://schemas.microsoft.com/office/powerpoint/2010/main" val="168846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52872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3779" y="0"/>
            <a:ext cx="12450255" cy="6994525"/>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7"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7"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8158" y="445839"/>
            <a:ext cx="914400" cy="194005"/>
          </a:xfrm>
          <a:prstGeom prst="rect">
            <a:avLst/>
          </a:prstGeom>
        </p:spPr>
      </p:pic>
    </p:spTree>
    <p:extLst>
      <p:ext uri="{BB962C8B-B14F-4D97-AF65-F5344CB8AC3E}">
        <p14:creationId xmlns:p14="http://schemas.microsoft.com/office/powerpoint/2010/main" val="2978940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6" y="1226818"/>
            <a:ext cx="3705225" cy="1195895"/>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337300" y="1226818"/>
            <a:ext cx="3690938" cy="3354708"/>
          </a:xfrm>
        </p:spPr>
        <p:txBody>
          <a:bodyPr wrap="square" lIns="0" tIns="0" rIns="0" bIns="0">
            <a:noAutofit/>
          </a:bodyPr>
          <a:lstStyle>
            <a:lvl1pPr marL="0" marR="0" indent="0" algn="l" defTabSz="517426" rtl="0" eaLnBrk="1" fontAlgn="auto" latinLnBrk="0" hangingPunct="1">
              <a:lnSpc>
                <a:spcPct val="100000"/>
              </a:lnSpc>
              <a:spcBef>
                <a:spcPts val="0"/>
              </a:spcBef>
              <a:spcAft>
                <a:spcPts val="500"/>
              </a:spcAft>
              <a:buClrTx/>
              <a:buSzPct val="90000"/>
              <a:buFont typeface="Wingdings" panose="05000000000000000000" pitchFamily="2" charset="2"/>
              <a:buNone/>
              <a:tabLst/>
              <a:defRPr sz="2000" spc="0" baseline="0">
                <a:solidFill>
                  <a:schemeClr val="tx1"/>
                </a:solidFill>
                <a:latin typeface="+mj-lt"/>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65812907"/>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454477"/>
            <a:ext cx="11567160" cy="1018094"/>
          </a:xfrm>
        </p:spPr>
        <p:txBody>
          <a:bodyPr wrap="square" lIns="0" tIns="0" rIns="0" bIns="0">
            <a:spAutoFit/>
          </a:bodyPr>
          <a:lstStyle>
            <a:lvl1pPr marL="0" indent="0">
              <a:lnSpc>
                <a:spcPct val="90000"/>
              </a:lnSpc>
              <a:spcBef>
                <a:spcPts val="0"/>
              </a:spcBef>
              <a:spcAft>
                <a:spcPts val="1299"/>
              </a:spcAft>
              <a:buNone/>
              <a:defRPr sz="1836" b="0" i="0">
                <a:solidFill>
                  <a:srgbClr val="000000"/>
                </a:solidFill>
                <a:latin typeface="+mn-lt"/>
              </a:defRPr>
            </a:lvl1pPr>
            <a:lvl2pPr marL="228557" indent="0">
              <a:lnSpc>
                <a:spcPct val="90000"/>
              </a:lnSpc>
              <a:spcBef>
                <a:spcPts val="0"/>
              </a:spcBef>
              <a:spcAft>
                <a:spcPts val="1299"/>
              </a:spcAft>
              <a:buNone/>
              <a:defRPr sz="1632">
                <a:solidFill>
                  <a:srgbClr val="000000"/>
                </a:solidFill>
              </a:defRPr>
            </a:lvl2pPr>
            <a:lvl3pPr marL="457112" indent="0">
              <a:spcBef>
                <a:spcPts val="0"/>
              </a:spcBef>
              <a:spcAft>
                <a:spcPts val="1299"/>
              </a:spcAft>
              <a:buNone/>
              <a:defRPr sz="1428">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18pt</a:t>
            </a:r>
          </a:p>
          <a:p>
            <a:pPr lvl="1"/>
            <a:r>
              <a:rPr lang="en-US"/>
              <a:t>Second level Segoe UI 16pt</a:t>
            </a:r>
          </a:p>
          <a:p>
            <a:pPr lvl="2"/>
            <a:r>
              <a:rPr lang="en-US"/>
              <a:t>Third level Segoe UI 14</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5"/>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380111424"/>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8"/>
            <a:ext cx="11567160" cy="254262"/>
          </a:xfrm>
        </p:spPr>
        <p:txBody>
          <a:bodyPr wrap="square" lIns="0" tIns="0" rIns="0" bIns="0">
            <a:spAutoFit/>
          </a:bodyPr>
          <a:lstStyle>
            <a:lvl1pPr marL="0" indent="0">
              <a:lnSpc>
                <a:spcPct val="90000"/>
              </a:lnSpc>
              <a:spcBef>
                <a:spcPts val="0"/>
              </a:spcBef>
              <a:spcAft>
                <a:spcPts val="1299"/>
              </a:spcAft>
              <a:buNone/>
              <a:defRPr sz="1836" b="0" i="0">
                <a:solidFill>
                  <a:srgbClr val="000000"/>
                </a:solidFill>
                <a:latin typeface="+mn-lt"/>
              </a:defRPr>
            </a:lvl1pPr>
            <a:lvl2pPr marL="228557" indent="0">
              <a:lnSpc>
                <a:spcPct val="90000"/>
              </a:lnSpc>
              <a:spcBef>
                <a:spcPts val="0"/>
              </a:spcBef>
              <a:spcAft>
                <a:spcPts val="1299"/>
              </a:spcAft>
              <a:buNone/>
              <a:defRPr sz="2000">
                <a:solidFill>
                  <a:schemeClr val="tx2"/>
                </a:solidFill>
              </a:defRPr>
            </a:lvl2pPr>
            <a:lvl3pPr marL="457112" indent="0">
              <a:spcBef>
                <a:spcPts val="0"/>
              </a:spcBef>
              <a:spcAft>
                <a:spcPts val="1299"/>
              </a:spcAft>
              <a:buNone/>
              <a:defRPr sz="2000"/>
            </a:lvl3pPr>
            <a:lvl4pPr marL="685669" indent="0">
              <a:spcBef>
                <a:spcPts val="0"/>
              </a:spcBef>
              <a:spcAft>
                <a:spcPts val="1299"/>
              </a:spcAft>
              <a:buNone/>
              <a:defRPr sz="2000"/>
            </a:lvl4pPr>
            <a:lvl5pPr marL="914224" indent="0">
              <a:buNone/>
              <a:defRPr/>
            </a:lvl5pPr>
          </a:lstStyle>
          <a:p>
            <a:pPr lvl="0"/>
            <a:r>
              <a:rPr lang="en-US"/>
              <a:t>Subtitle Segoe UI 26pt</a:t>
            </a:r>
          </a:p>
        </p:txBody>
      </p:sp>
      <p:sp>
        <p:nvSpPr>
          <p:cNvPr id="7" name="Text Placeholder 3">
            <a:extLst>
              <a:ext uri="{FF2B5EF4-FFF2-40B4-BE49-F238E27FC236}">
                <a16:creationId xmlns:a16="http://schemas.microsoft.com/office/drawing/2014/main" id="{7F157DD4-5908-0746-85BD-95DE103B35D8}"/>
              </a:ext>
            </a:extLst>
          </p:cNvPr>
          <p:cNvSpPr>
            <a:spLocks noGrp="1"/>
          </p:cNvSpPr>
          <p:nvPr>
            <p:ph type="body" sz="quarter" idx="13" hasCustomPrompt="1"/>
          </p:nvPr>
        </p:nvSpPr>
        <p:spPr>
          <a:xfrm>
            <a:off x="446087" y="1634638"/>
            <a:ext cx="11567160" cy="1018094"/>
          </a:xfrm>
        </p:spPr>
        <p:txBody>
          <a:bodyPr wrap="square" lIns="0" tIns="0" rIns="0" bIns="0">
            <a:spAutoFit/>
          </a:bodyPr>
          <a:lstStyle>
            <a:lvl1pPr marL="0" indent="0">
              <a:lnSpc>
                <a:spcPct val="90000"/>
              </a:lnSpc>
              <a:spcBef>
                <a:spcPts val="0"/>
              </a:spcBef>
              <a:spcAft>
                <a:spcPts val="1299"/>
              </a:spcAft>
              <a:buNone/>
              <a:defRPr sz="1836" b="0" i="0">
                <a:solidFill>
                  <a:srgbClr val="000000"/>
                </a:solidFill>
                <a:latin typeface="+mn-lt"/>
              </a:defRPr>
            </a:lvl1pPr>
            <a:lvl2pPr marL="228557" indent="0">
              <a:lnSpc>
                <a:spcPct val="90000"/>
              </a:lnSpc>
              <a:spcBef>
                <a:spcPts val="0"/>
              </a:spcBef>
              <a:spcAft>
                <a:spcPts val="1299"/>
              </a:spcAft>
              <a:buNone/>
              <a:defRPr sz="1632">
                <a:solidFill>
                  <a:srgbClr val="000000"/>
                </a:solidFill>
              </a:defRPr>
            </a:lvl2pPr>
            <a:lvl3pPr marL="457112" indent="0">
              <a:spcBef>
                <a:spcPts val="0"/>
              </a:spcBef>
              <a:spcAft>
                <a:spcPts val="1299"/>
              </a:spcAft>
              <a:buNone/>
              <a:defRPr sz="1428">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18pt</a:t>
            </a:r>
          </a:p>
          <a:p>
            <a:pPr lvl="1"/>
            <a:r>
              <a:rPr lang="en-US"/>
              <a:t>Second level Segoe UI 16pt</a:t>
            </a:r>
          </a:p>
          <a:p>
            <a:pPr lvl="2"/>
            <a:r>
              <a:rPr lang="en-US"/>
              <a:t>Third level Segoe UI 14</a:t>
            </a:r>
          </a:p>
        </p:txBody>
      </p:sp>
    </p:spTree>
    <p:extLst>
      <p:ext uri="{BB962C8B-B14F-4D97-AF65-F5344CB8AC3E}">
        <p14:creationId xmlns:p14="http://schemas.microsoft.com/office/powerpoint/2010/main" val="1289180583"/>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97568706"/>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6" y="0"/>
            <a:ext cx="6102349" cy="6994525"/>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6" y="449264"/>
            <a:ext cx="5667375" cy="77311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60"/>
            <a:ext cx="5667374" cy="2624741"/>
          </a:xfrm>
        </p:spPr>
        <p:txBody>
          <a:bodyPr wrap="square" lIns="0" tIns="0" rIns="0" bIns="0">
            <a:noAutofit/>
          </a:bodyPr>
          <a:lstStyle>
            <a:lvl1pPr marL="0" marR="0" indent="0" algn="l" defTabSz="932563"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55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2" indent="0">
              <a:buNone/>
              <a:defRPr/>
            </a:lvl3pPr>
            <a:lvl4pPr marL="685669" indent="0">
              <a:buNone/>
              <a:defRPr/>
            </a:lvl4pPr>
            <a:lvl5pPr marL="91422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975747970"/>
      </p:ext>
    </p:extLst>
  </p:cSld>
  <p:clrMapOvr>
    <a:masterClrMapping/>
  </p:clrMapOvr>
  <p:transition>
    <p:fade/>
  </p:transition>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5" y="2178051"/>
            <a:ext cx="3705225" cy="2635250"/>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367214" y="2178051"/>
            <a:ext cx="3695700" cy="2635250"/>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289926" y="2178049"/>
            <a:ext cx="3706871" cy="2635251"/>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34975" y="5026024"/>
            <a:ext cx="3703321" cy="1333698"/>
          </a:xfrm>
        </p:spPr>
        <p:txBody>
          <a:bodyPr lIns="0" tIns="0" rIns="0" bIns="0"/>
          <a:lstStyle>
            <a:lvl1pPr marL="0" indent="0">
              <a:lnSpc>
                <a:spcPct val="100000"/>
              </a:lnSpc>
              <a:spcBef>
                <a:spcPts val="0"/>
              </a:spcBef>
              <a:spcAft>
                <a:spcPts val="800"/>
              </a:spcAft>
              <a:buNone/>
              <a:defRPr sz="1599" b="1">
                <a:solidFill>
                  <a:schemeClr val="tx2"/>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367211" y="5026024"/>
            <a:ext cx="3695700" cy="1333698"/>
          </a:xfrm>
        </p:spPr>
        <p:txBody>
          <a:bodyPr lIns="0" tIns="0" rIns="0" bIns="0"/>
          <a:lstStyle>
            <a:lvl1pPr marL="0" indent="0">
              <a:lnSpc>
                <a:spcPct val="100000"/>
              </a:lnSpc>
              <a:spcBef>
                <a:spcPts val="0"/>
              </a:spcBef>
              <a:spcAft>
                <a:spcPts val="800"/>
              </a:spcAft>
              <a:buNone/>
              <a:defRPr sz="1599">
                <a:solidFill>
                  <a:schemeClr val="tx2"/>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289926" y="5026024"/>
            <a:ext cx="3703321" cy="1333698"/>
          </a:xfrm>
        </p:spPr>
        <p:txBody>
          <a:bodyPr lIns="0" tIns="0" rIns="0" bIns="0"/>
          <a:lstStyle>
            <a:lvl1pPr marL="0" indent="0">
              <a:lnSpc>
                <a:spcPct val="100000"/>
              </a:lnSpc>
              <a:spcBef>
                <a:spcPts val="0"/>
              </a:spcBef>
              <a:spcAft>
                <a:spcPts val="800"/>
              </a:spcAft>
              <a:buNone/>
              <a:defRPr sz="1599">
                <a:solidFill>
                  <a:schemeClr val="tx2"/>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449265"/>
            <a:ext cx="11563350" cy="754061"/>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65021637"/>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1" y="2188559"/>
            <a:ext cx="5895976" cy="3831241"/>
          </a:xfrm>
        </p:spPr>
        <p:txBody>
          <a:bodyPr anchor="ctr">
            <a:noAutofit/>
          </a:bodyPr>
          <a:lstStyle>
            <a:lvl1pPr algn="ctr">
              <a:defRPr sz="2000">
                <a:latin typeface="+mj-lt"/>
              </a:defRPr>
            </a:lvl1pPr>
          </a:lstStyle>
          <a:p>
            <a:r>
              <a:rPr lang="en-US"/>
              <a:t>Drop photo here</a:t>
            </a:r>
          </a:p>
        </p:txBody>
      </p:sp>
      <p:sp>
        <p:nvSpPr>
          <p:cNvPr id="4" name="Text Placeholder 3"/>
          <p:cNvSpPr>
            <a:spLocks noGrp="1"/>
          </p:cNvSpPr>
          <p:nvPr>
            <p:ph type="body" sz="quarter" idx="10" hasCustomPrompt="1"/>
          </p:nvPr>
        </p:nvSpPr>
        <p:spPr>
          <a:xfrm>
            <a:off x="434975" y="2188560"/>
            <a:ext cx="5241206" cy="2624741"/>
          </a:xfrm>
        </p:spPr>
        <p:txBody>
          <a:bodyPr wrap="square" lIns="0" tIns="0" rIns="0" bIns="0">
            <a:noAutofit/>
          </a:bodyPr>
          <a:lstStyle>
            <a:lvl1pPr marL="0" marR="0" indent="0" algn="l" defTabSz="932563"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55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2" indent="0">
              <a:buNone/>
              <a:defRPr/>
            </a:lvl3pPr>
            <a:lvl4pPr marL="685669" indent="0">
              <a:buNone/>
              <a:defRPr/>
            </a:lvl4pPr>
            <a:lvl5pPr marL="91422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449265"/>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561355703"/>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4975" y="2178049"/>
            <a:ext cx="11563350" cy="4373564"/>
          </a:xfrm>
        </p:spPr>
        <p:txBody>
          <a:bodyPr bIns="1737360" anchor="ctr">
            <a:noAutofit/>
          </a:bodyPr>
          <a:lstStyle>
            <a:lvl1pPr algn="ctr">
              <a:defRPr sz="2000">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4975" y="449265"/>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4207984998"/>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750477" y="2497662"/>
            <a:ext cx="7312437" cy="2315640"/>
          </a:xfrm>
          <a:noFill/>
        </p:spPr>
        <p:txBody>
          <a:bodyPr vert="horz" wrap="square" lIns="0" tIns="0" rIns="0" bIns="0" rtlCol="0" anchor="t" anchorCtr="0">
            <a:noAutofit/>
          </a:bodyPr>
          <a:lstStyle>
            <a:lvl1pPr>
              <a:lnSpc>
                <a:spcPct val="90000"/>
              </a:lnSpc>
              <a:defRPr lang="en-US" sz="4080" spc="-150" dirty="0">
                <a:solidFill>
                  <a:srgbClr val="000000"/>
                </a:solidFill>
              </a:defRPr>
            </a:lvl1pPr>
          </a:lstStyle>
          <a:p>
            <a:pPr marL="0" lvl="0">
              <a:lnSpc>
                <a:spcPts val="5599"/>
              </a:lnSpc>
            </a:pPr>
            <a:r>
              <a:rPr lang="en-US"/>
              <a:t>Section title</a:t>
            </a:r>
          </a:p>
        </p:txBody>
      </p:sp>
    </p:spTree>
    <p:extLst>
      <p:ext uri="{BB962C8B-B14F-4D97-AF65-F5344CB8AC3E}">
        <p14:creationId xmlns:p14="http://schemas.microsoft.com/office/powerpoint/2010/main" val="379776617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2_Blank_1">
    <p:spTree>
      <p:nvGrpSpPr>
        <p:cNvPr id="1" name=""/>
        <p:cNvGrpSpPr/>
        <p:nvPr/>
      </p:nvGrpSpPr>
      <p:grpSpPr>
        <a:xfrm>
          <a:off x="0" y="0"/>
          <a:ext cx="0" cy="0"/>
          <a:chOff x="0" y="0"/>
          <a:chExt cx="0" cy="0"/>
        </a:xfrm>
      </p:grpSpPr>
      <p:sp>
        <p:nvSpPr>
          <p:cNvPr id="4" name="Slide Number Placeholder 12"/>
          <p:cNvSpPr>
            <a:spLocks noGrp="1"/>
          </p:cNvSpPr>
          <p:nvPr>
            <p:ph type="sldNum" sz="quarter" idx="4"/>
          </p:nvPr>
        </p:nvSpPr>
        <p:spPr>
          <a:xfrm>
            <a:off x="9364663" y="6372905"/>
            <a:ext cx="2797175" cy="371475"/>
          </a:xfrm>
          <a:prstGeom prst="rect">
            <a:avLst/>
          </a:prstGeom>
        </p:spPr>
        <p:txBody>
          <a:bodyPr vert="horz" lIns="91440" tIns="45720" rIns="146304" bIns="45720" rtlCol="0" anchor="ctr"/>
          <a:lstStyle>
            <a:lvl1pPr marL="0" algn="r" defTabSz="932205" rtl="0" eaLnBrk="1" latinLnBrk="0" hangingPunct="1">
              <a:lnSpc>
                <a:spcPct val="90000"/>
              </a:lnSpc>
              <a:spcAft>
                <a:spcPts val="600"/>
              </a:spcAft>
              <a:defRPr lang="en-US" sz="2000" kern="1200" smtClean="0">
                <a:gradFill>
                  <a:gsLst>
                    <a:gs pos="2917">
                      <a:srgbClr val="D7D7D7"/>
                    </a:gs>
                    <a:gs pos="100000">
                      <a:srgbClr val="D7D7D7"/>
                    </a:gs>
                  </a:gsLst>
                  <a:lin ang="5400000" scaled="0"/>
                </a:gradFill>
                <a:latin typeface="Segoe UI Light" panose="020B0502040204020203" pitchFamily="34" charset="0"/>
                <a:ea typeface="+mn-ea"/>
                <a:cs typeface="Segoe UI Light" panose="020B0502040204020203" pitchFamily="34" charset="0"/>
              </a:defRPr>
            </a:lvl1pPr>
          </a:lstStyle>
          <a:p>
            <a:fld id="{461BA605-C888-4326-8417-118ADDBFD3D5}" type="slidenum">
              <a:rPr lang="en-US" smtClean="0"/>
              <a:pPr/>
              <a:t>‹#›</a:t>
            </a:fld>
            <a:endParaRPr lang="en-US"/>
          </a:p>
        </p:txBody>
      </p:sp>
    </p:spTree>
    <p:extLst>
      <p:ext uri="{BB962C8B-B14F-4D97-AF65-F5344CB8AC3E}">
        <p14:creationId xmlns:p14="http://schemas.microsoft.com/office/powerpoint/2010/main" val="3993378843"/>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6"/>
            <a:ext cx="7627938" cy="3605405"/>
          </a:xfrm>
          <a:noFill/>
        </p:spPr>
        <p:txBody>
          <a:bodyPr vert="horz" wrap="square" lIns="0" tIns="0" rIns="0" bIns="0" rtlCol="0" anchor="t" anchorCtr="0">
            <a:noAutofit/>
          </a:bodyPr>
          <a:lstStyle>
            <a:lvl1pPr>
              <a:lnSpc>
                <a:spcPct val="90000"/>
              </a:lnSpc>
              <a:defRPr lang="en-US" sz="4080" spc="-15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35727025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6"/>
            <a:ext cx="7627938" cy="3605405"/>
          </a:xfrm>
          <a:noFill/>
        </p:spPr>
        <p:txBody>
          <a:bodyPr vert="horz" wrap="square" lIns="0" tIns="0" rIns="0" bIns="0" rtlCol="0" anchor="t" anchorCtr="0">
            <a:noAutofit/>
          </a:bodyPr>
          <a:lstStyle>
            <a:lvl1pPr>
              <a:lnSpc>
                <a:spcPct val="90000"/>
              </a:lnSpc>
              <a:defRPr lang="en-US" sz="4080" spc="-15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25846614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434704" cy="6994521"/>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6"/>
            <a:ext cx="7627938" cy="3605405"/>
          </a:xfrm>
          <a:noFill/>
        </p:spPr>
        <p:txBody>
          <a:bodyPr vert="horz" wrap="square" lIns="0" tIns="0" rIns="0" bIns="0" rtlCol="0" anchor="t" anchorCtr="0">
            <a:noAutofit/>
          </a:bodyPr>
          <a:lstStyle>
            <a:lvl1pPr>
              <a:lnSpc>
                <a:spcPct val="90000"/>
              </a:lnSpc>
              <a:defRPr lang="en-US" sz="5399" spc="-150" dirty="0">
                <a:solidFill>
                  <a:srgbClr val="000000"/>
                </a:solidFill>
              </a:defRPr>
            </a:lvl1pPr>
          </a:lstStyle>
          <a:p>
            <a:pPr marL="0" lvl="0">
              <a:lnSpc>
                <a:spcPts val="5599"/>
              </a:lnSpc>
            </a:pPr>
            <a:r>
              <a:rPr lang="en-US"/>
              <a:t>Section title</a:t>
            </a:r>
          </a:p>
        </p:txBody>
      </p:sp>
    </p:spTree>
    <p:extLst>
      <p:ext uri="{BB962C8B-B14F-4D97-AF65-F5344CB8AC3E}">
        <p14:creationId xmlns:p14="http://schemas.microsoft.com/office/powerpoint/2010/main" val="4242097433"/>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86896820"/>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4975" y="1866136"/>
            <a:ext cx="7627938" cy="1502727"/>
          </a:xfrm>
          <a:noFill/>
        </p:spPr>
        <p:txBody>
          <a:bodyPr lIns="0" tIns="0" rIns="0" bIns="0" anchor="t" anchorCtr="0"/>
          <a:lstStyle>
            <a:lvl1pPr>
              <a:lnSpc>
                <a:spcPct val="100000"/>
              </a:lnSpc>
              <a:spcAft>
                <a:spcPts val="1299"/>
              </a:spcAft>
              <a:defRPr sz="2600" spc="-150"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38158" y="445839"/>
            <a:ext cx="914400" cy="194005"/>
          </a:xfrm>
          <a:prstGeom prst="rect">
            <a:avLst/>
          </a:prstGeom>
        </p:spPr>
      </p:pic>
    </p:spTree>
    <p:extLst>
      <p:ext uri="{BB962C8B-B14F-4D97-AF65-F5344CB8AC3E}">
        <p14:creationId xmlns:p14="http://schemas.microsoft.com/office/powerpoint/2010/main" val="2794823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7"/>
          </a:xfrm>
          <a:noFill/>
        </p:spPr>
        <p:txBody>
          <a:bodyPr lIns="0" tIns="0" rIns="0" bIns="0" anchor="t" anchorCtr="0"/>
          <a:lstStyle>
            <a:lvl1pPr>
              <a:lnSpc>
                <a:spcPct val="100000"/>
              </a:lnSpc>
              <a:spcAft>
                <a:spcPts val="1299"/>
              </a:spcAft>
              <a:defRPr sz="2600" spc="-150"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37278" y="445842"/>
            <a:ext cx="914400" cy="194945"/>
          </a:xfrm>
          <a:prstGeom prst="rect">
            <a:avLst/>
          </a:prstGeom>
        </p:spPr>
      </p:pic>
    </p:spTree>
    <p:extLst>
      <p:ext uri="{BB962C8B-B14F-4D97-AF65-F5344CB8AC3E}">
        <p14:creationId xmlns:p14="http://schemas.microsoft.com/office/powerpoint/2010/main" val="36215160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95523"/>
            <a:ext cx="9327356" cy="508601"/>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282513"/>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23" name="Group 21">
            <a:extLst>
              <a:ext uri="{FF2B5EF4-FFF2-40B4-BE49-F238E27FC236}">
                <a16:creationId xmlns:a16="http://schemas.microsoft.com/office/drawing/2014/main" id="{E1FEE244-FDD2-45A4-B9BF-BD32415AF239}"/>
              </a:ext>
            </a:extLst>
          </p:cNvPr>
          <p:cNvGrpSpPr>
            <a:grpSpLocks noChangeAspect="1"/>
          </p:cNvGrpSpPr>
          <p:nvPr userDrawn="1"/>
        </p:nvGrpSpPr>
        <p:grpSpPr bwMode="auto">
          <a:xfrm>
            <a:off x="595914" y="597450"/>
            <a:ext cx="2073248" cy="298433"/>
            <a:chOff x="428" y="664"/>
            <a:chExt cx="4126" cy="594"/>
          </a:xfrm>
        </p:grpSpPr>
        <p:sp>
          <p:nvSpPr>
            <p:cNvPr id="24" name="Freeform 22">
              <a:extLst>
                <a:ext uri="{FF2B5EF4-FFF2-40B4-BE49-F238E27FC236}">
                  <a16:creationId xmlns:a16="http://schemas.microsoft.com/office/drawing/2014/main" id="{8135A547-0519-4204-B212-EB7084748A67}"/>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25" name="Freeform 23">
              <a:extLst>
                <a:ext uri="{FF2B5EF4-FFF2-40B4-BE49-F238E27FC236}">
                  <a16:creationId xmlns:a16="http://schemas.microsoft.com/office/drawing/2014/main" id="{03419E32-D223-42CF-8570-A04DBBECD41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26" name="Freeform 24">
              <a:extLst>
                <a:ext uri="{FF2B5EF4-FFF2-40B4-BE49-F238E27FC236}">
                  <a16:creationId xmlns:a16="http://schemas.microsoft.com/office/drawing/2014/main" id="{396CCFB2-CF0D-482C-9CC8-0F73D26B9A1C}"/>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27" name="Freeform 25">
              <a:extLst>
                <a:ext uri="{FF2B5EF4-FFF2-40B4-BE49-F238E27FC236}">
                  <a16:creationId xmlns:a16="http://schemas.microsoft.com/office/drawing/2014/main" id="{ED5C5BC4-DDF6-44C2-8C5B-5F930A4D5B68}"/>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28" name="Freeform 26">
              <a:extLst>
                <a:ext uri="{FF2B5EF4-FFF2-40B4-BE49-F238E27FC236}">
                  <a16:creationId xmlns:a16="http://schemas.microsoft.com/office/drawing/2014/main" id="{633BBD4B-C10D-4906-960A-BEFCC4CDC05A}"/>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29" name="Freeform 27">
              <a:extLst>
                <a:ext uri="{FF2B5EF4-FFF2-40B4-BE49-F238E27FC236}">
                  <a16:creationId xmlns:a16="http://schemas.microsoft.com/office/drawing/2014/main" id="{354B65B7-9C63-4CE4-B430-4A27761B47F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30" name="Rectangle 28">
              <a:extLst>
                <a:ext uri="{FF2B5EF4-FFF2-40B4-BE49-F238E27FC236}">
                  <a16:creationId xmlns:a16="http://schemas.microsoft.com/office/drawing/2014/main" id="{D4AA7E16-0603-418C-9792-CA986990EFCF}"/>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31" name="Rectangle 29">
              <a:extLst>
                <a:ext uri="{FF2B5EF4-FFF2-40B4-BE49-F238E27FC236}">
                  <a16:creationId xmlns:a16="http://schemas.microsoft.com/office/drawing/2014/main" id="{594501B0-8ED1-4460-AB1D-493FAB5BCE47}"/>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32" name="Rectangle 30">
              <a:extLst>
                <a:ext uri="{FF2B5EF4-FFF2-40B4-BE49-F238E27FC236}">
                  <a16:creationId xmlns:a16="http://schemas.microsoft.com/office/drawing/2014/main" id="{37E72F66-5883-4285-8FFF-CD7B9502A9CE}"/>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33" name="Rectangle 31">
              <a:extLst>
                <a:ext uri="{FF2B5EF4-FFF2-40B4-BE49-F238E27FC236}">
                  <a16:creationId xmlns:a16="http://schemas.microsoft.com/office/drawing/2014/main" id="{DA5FC26F-C159-4670-A03E-5834B08DF517}"/>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34" name="Rectangle 32">
              <a:extLst>
                <a:ext uri="{FF2B5EF4-FFF2-40B4-BE49-F238E27FC236}">
                  <a16:creationId xmlns:a16="http://schemas.microsoft.com/office/drawing/2014/main" id="{05E4C2D0-C66A-4D81-AA6C-97FBC74CDA63}"/>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35" name="Rectangle 33">
              <a:extLst>
                <a:ext uri="{FF2B5EF4-FFF2-40B4-BE49-F238E27FC236}">
                  <a16:creationId xmlns:a16="http://schemas.microsoft.com/office/drawing/2014/main" id="{78CF0401-A7A7-488E-ADF3-CCA09DFEC323}"/>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36" name="Rectangle 34">
              <a:extLst>
                <a:ext uri="{FF2B5EF4-FFF2-40B4-BE49-F238E27FC236}">
                  <a16:creationId xmlns:a16="http://schemas.microsoft.com/office/drawing/2014/main" id="{EC159A60-6B2F-4F43-9264-86566AB6129E}"/>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37" name="Rectangle 35">
              <a:extLst>
                <a:ext uri="{FF2B5EF4-FFF2-40B4-BE49-F238E27FC236}">
                  <a16:creationId xmlns:a16="http://schemas.microsoft.com/office/drawing/2014/main" id="{6D777A0B-5012-4E42-AD5C-669C9E7A2B97}"/>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grpSp>
    </p:spTree>
    <p:extLst>
      <p:ext uri="{BB962C8B-B14F-4D97-AF65-F5344CB8AC3E}">
        <p14:creationId xmlns:p14="http://schemas.microsoft.com/office/powerpoint/2010/main" val="27657783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9C8537-D3A3-6541-B4CB-37F457260EE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8" t="2837" b="12619"/>
          <a:stretch/>
        </p:blipFill>
        <p:spPr>
          <a:xfrm>
            <a:off x="0" y="1"/>
            <a:ext cx="12299977" cy="6994526"/>
          </a:xfrm>
          <a:prstGeom prst="rect">
            <a:avLst/>
          </a:prstGeom>
        </p:spPr>
      </p:pic>
      <p:sp>
        <p:nvSpPr>
          <p:cNvPr id="37" name="Rectangle 36">
            <a:extLst>
              <a:ext uri="{FF2B5EF4-FFF2-40B4-BE49-F238E27FC236}">
                <a16:creationId xmlns:a16="http://schemas.microsoft.com/office/drawing/2014/main" id="{ECE62850-5FE2-3B45-9E3F-CF6715534C81}"/>
              </a:ext>
            </a:extLst>
          </p:cNvPr>
          <p:cNvSpPr/>
          <p:nvPr userDrawn="1"/>
        </p:nvSpPr>
        <p:spPr bwMode="auto">
          <a:xfrm>
            <a:off x="-1032671" y="1"/>
            <a:ext cx="15490073" cy="6994525"/>
          </a:xfrm>
          <a:prstGeom prst="rect">
            <a:avLst/>
          </a:prstGeom>
          <a:gradFill flip="none" rotWithShape="1">
            <a:gsLst>
              <a:gs pos="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solidFill>
                <a:schemeClr val="bg1"/>
              </a:soli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8BCCA059-E904-4849-B856-034AD6DE845D}"/>
              </a:ext>
            </a:extLst>
          </p:cNvPr>
          <p:cNvGrpSpPr/>
          <p:nvPr userDrawn="1"/>
        </p:nvGrpSpPr>
        <p:grpSpPr>
          <a:xfrm>
            <a:off x="595914" y="597450"/>
            <a:ext cx="2073248" cy="298433"/>
            <a:chOff x="584200" y="585788"/>
            <a:chExt cx="2032492" cy="292608"/>
          </a:xfrm>
        </p:grpSpPr>
        <p:sp>
          <p:nvSpPr>
            <p:cNvPr id="49" name="Rectangle 28">
              <a:extLst>
                <a:ext uri="{FF2B5EF4-FFF2-40B4-BE49-F238E27FC236}">
                  <a16:creationId xmlns:a16="http://schemas.microsoft.com/office/drawing/2014/main" id="{3FE0ECFD-1B86-3348-BB33-91D40F0D291B}"/>
                </a:ext>
              </a:extLst>
            </p:cNvPr>
            <p:cNvSpPr>
              <a:spLocks noChangeArrowheads="1"/>
            </p:cNvSpPr>
            <p:nvPr userDrawn="1"/>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50" name="Rectangle 29">
              <a:extLst>
                <a:ext uri="{FF2B5EF4-FFF2-40B4-BE49-F238E27FC236}">
                  <a16:creationId xmlns:a16="http://schemas.microsoft.com/office/drawing/2014/main" id="{DBD46591-BA2D-D643-823B-CCF9456D5532}"/>
                </a:ext>
              </a:extLst>
            </p:cNvPr>
            <p:cNvSpPr>
              <a:spLocks noChangeArrowheads="1"/>
            </p:cNvSpPr>
            <p:nvPr userDrawn="1"/>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51" name="Rectangle 30">
              <a:extLst>
                <a:ext uri="{FF2B5EF4-FFF2-40B4-BE49-F238E27FC236}">
                  <a16:creationId xmlns:a16="http://schemas.microsoft.com/office/drawing/2014/main" id="{BD3C47C7-7DB3-D94A-BA08-F07A8492AA33}"/>
                </a:ext>
              </a:extLst>
            </p:cNvPr>
            <p:cNvSpPr>
              <a:spLocks noChangeArrowheads="1"/>
            </p:cNvSpPr>
            <p:nvPr userDrawn="1"/>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52" name="Rectangle 31">
              <a:extLst>
                <a:ext uri="{FF2B5EF4-FFF2-40B4-BE49-F238E27FC236}">
                  <a16:creationId xmlns:a16="http://schemas.microsoft.com/office/drawing/2014/main" id="{881A41DB-E573-A34F-9057-376A2951B043}"/>
                </a:ext>
              </a:extLst>
            </p:cNvPr>
            <p:cNvSpPr>
              <a:spLocks noChangeArrowheads="1"/>
            </p:cNvSpPr>
            <p:nvPr userDrawn="1"/>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grpSp>
          <p:nvGrpSpPr>
            <p:cNvPr id="53" name="Group 52">
              <a:extLst>
                <a:ext uri="{FF2B5EF4-FFF2-40B4-BE49-F238E27FC236}">
                  <a16:creationId xmlns:a16="http://schemas.microsoft.com/office/drawing/2014/main" id="{9D872837-FE1F-8048-9E7B-F8CE33D9024D}"/>
                </a:ext>
              </a:extLst>
            </p:cNvPr>
            <p:cNvGrpSpPr/>
            <p:nvPr userDrawn="1"/>
          </p:nvGrpSpPr>
          <p:grpSpPr>
            <a:xfrm>
              <a:off x="584200" y="585788"/>
              <a:ext cx="2032492" cy="292608"/>
              <a:chOff x="584200" y="585788"/>
              <a:chExt cx="2032492" cy="292608"/>
            </a:xfrm>
          </p:grpSpPr>
          <p:sp>
            <p:nvSpPr>
              <p:cNvPr id="54" name="Freeform 22">
                <a:extLst>
                  <a:ext uri="{FF2B5EF4-FFF2-40B4-BE49-F238E27FC236}">
                    <a16:creationId xmlns:a16="http://schemas.microsoft.com/office/drawing/2014/main" id="{685A4EF1-2D17-9043-BE90-89964A6B8181}"/>
                  </a:ext>
                </a:extLst>
              </p:cNvPr>
              <p:cNvSpPr>
                <a:spLocks noEditPoints="1"/>
              </p:cNvSpPr>
              <p:nvPr/>
            </p:nvSpPr>
            <p:spPr bwMode="auto">
              <a:xfrm>
                <a:off x="1996994" y="644901"/>
                <a:ext cx="165023" cy="174383"/>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sz="1836">
                  <a:solidFill>
                    <a:schemeClr val="bg1"/>
                  </a:solidFill>
                </a:endParaRPr>
              </a:p>
            </p:txBody>
          </p:sp>
          <p:sp>
            <p:nvSpPr>
              <p:cNvPr id="55" name="Freeform 23">
                <a:extLst>
                  <a:ext uri="{FF2B5EF4-FFF2-40B4-BE49-F238E27FC236}">
                    <a16:creationId xmlns:a16="http://schemas.microsoft.com/office/drawing/2014/main" id="{20CFD7C2-62C8-144D-B3D6-29CA385D6F1D}"/>
                  </a:ext>
                </a:extLst>
              </p:cNvPr>
              <p:cNvSpPr>
                <a:spLocks/>
              </p:cNvSpPr>
              <p:nvPr/>
            </p:nvSpPr>
            <p:spPr bwMode="auto">
              <a:xfrm>
                <a:off x="2171869" y="693669"/>
                <a:ext cx="104925" cy="12561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sz="1836">
                  <a:solidFill>
                    <a:schemeClr val="bg1"/>
                  </a:solidFill>
                </a:endParaRPr>
              </a:p>
            </p:txBody>
          </p:sp>
          <p:sp>
            <p:nvSpPr>
              <p:cNvPr id="56" name="Freeform 24">
                <a:extLst>
                  <a:ext uri="{FF2B5EF4-FFF2-40B4-BE49-F238E27FC236}">
                    <a16:creationId xmlns:a16="http://schemas.microsoft.com/office/drawing/2014/main" id="{AFF7E8C1-7227-1945-8EA5-9AEE297F45B2}"/>
                  </a:ext>
                </a:extLst>
              </p:cNvPr>
              <p:cNvSpPr>
                <a:spLocks/>
              </p:cNvSpPr>
              <p:nvPr/>
            </p:nvSpPr>
            <p:spPr bwMode="auto">
              <a:xfrm>
                <a:off x="2289602" y="693669"/>
                <a:ext cx="111822" cy="128078"/>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sz="1836">
                  <a:solidFill>
                    <a:schemeClr val="bg1"/>
                  </a:solidFill>
                </a:endParaRPr>
              </a:p>
            </p:txBody>
          </p:sp>
          <p:sp>
            <p:nvSpPr>
              <p:cNvPr id="57" name="Freeform 25">
                <a:extLst>
                  <a:ext uri="{FF2B5EF4-FFF2-40B4-BE49-F238E27FC236}">
                    <a16:creationId xmlns:a16="http://schemas.microsoft.com/office/drawing/2014/main" id="{CB68B529-3098-0340-BC94-0C7B5753F5F4}"/>
                  </a:ext>
                </a:extLst>
              </p:cNvPr>
              <p:cNvSpPr>
                <a:spLocks/>
              </p:cNvSpPr>
              <p:nvPr/>
            </p:nvSpPr>
            <p:spPr bwMode="auto">
              <a:xfrm>
                <a:off x="2428517" y="691698"/>
                <a:ext cx="72413" cy="127585"/>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sz="1836">
                  <a:solidFill>
                    <a:schemeClr val="bg1"/>
                  </a:solidFill>
                </a:endParaRPr>
              </a:p>
            </p:txBody>
          </p:sp>
          <p:sp>
            <p:nvSpPr>
              <p:cNvPr id="58" name="Freeform 26">
                <a:extLst>
                  <a:ext uri="{FF2B5EF4-FFF2-40B4-BE49-F238E27FC236}">
                    <a16:creationId xmlns:a16="http://schemas.microsoft.com/office/drawing/2014/main" id="{16318527-29C7-4245-ABDB-118ECBEE01E8}"/>
                  </a:ext>
                </a:extLst>
              </p:cNvPr>
              <p:cNvSpPr>
                <a:spLocks noEditPoints="1"/>
              </p:cNvSpPr>
              <p:nvPr/>
            </p:nvSpPr>
            <p:spPr bwMode="auto">
              <a:xfrm>
                <a:off x="2501915" y="691698"/>
                <a:ext cx="114777" cy="131033"/>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sz="1836">
                  <a:solidFill>
                    <a:schemeClr val="bg1"/>
                  </a:solidFill>
                </a:endParaRPr>
              </a:p>
            </p:txBody>
          </p:sp>
          <p:sp>
            <p:nvSpPr>
              <p:cNvPr id="59" name="Freeform 27">
                <a:extLst>
                  <a:ext uri="{FF2B5EF4-FFF2-40B4-BE49-F238E27FC236}">
                    <a16:creationId xmlns:a16="http://schemas.microsoft.com/office/drawing/2014/main" id="{4E1E3D8F-A2A9-DD40-837C-2735C2789AB7}"/>
                  </a:ext>
                </a:extLst>
              </p:cNvPr>
              <p:cNvSpPr>
                <a:spLocks noEditPoints="1"/>
              </p:cNvSpPr>
              <p:nvPr/>
            </p:nvSpPr>
            <p:spPr bwMode="auto">
              <a:xfrm>
                <a:off x="960551" y="631600"/>
                <a:ext cx="983241" cy="191131"/>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sz="1836">
                  <a:solidFill>
                    <a:schemeClr val="bg1"/>
                  </a:solidFill>
                </a:endParaRPr>
              </a:p>
            </p:txBody>
          </p:sp>
          <p:sp>
            <p:nvSpPr>
              <p:cNvPr id="60" name="Rectangle 32">
                <a:extLst>
                  <a:ext uri="{FF2B5EF4-FFF2-40B4-BE49-F238E27FC236}">
                    <a16:creationId xmlns:a16="http://schemas.microsoft.com/office/drawing/2014/main" id="{F9A67B49-1641-694B-A766-7D036948A14D}"/>
                  </a:ext>
                </a:extLst>
              </p:cNvPr>
              <p:cNvSpPr>
                <a:spLocks noChangeArrowheads="1"/>
              </p:cNvSpPr>
              <p:nvPr/>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61" name="Rectangle 33">
                <a:extLst>
                  <a:ext uri="{FF2B5EF4-FFF2-40B4-BE49-F238E27FC236}">
                    <a16:creationId xmlns:a16="http://schemas.microsoft.com/office/drawing/2014/main" id="{8022A3C1-A9BA-684F-97A6-25BE6D67ADE2}"/>
                  </a:ext>
                </a:extLst>
              </p:cNvPr>
              <p:cNvSpPr>
                <a:spLocks noChangeArrowheads="1"/>
              </p:cNvSpPr>
              <p:nvPr/>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62" name="Rectangle 34">
                <a:extLst>
                  <a:ext uri="{FF2B5EF4-FFF2-40B4-BE49-F238E27FC236}">
                    <a16:creationId xmlns:a16="http://schemas.microsoft.com/office/drawing/2014/main" id="{F9842A9C-C1E9-C34F-AEF8-AA8875C738C6}"/>
                  </a:ext>
                </a:extLst>
              </p:cNvPr>
              <p:cNvSpPr>
                <a:spLocks noChangeArrowheads="1"/>
              </p:cNvSpPr>
              <p:nvPr/>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63" name="Rectangle 35">
                <a:extLst>
                  <a:ext uri="{FF2B5EF4-FFF2-40B4-BE49-F238E27FC236}">
                    <a16:creationId xmlns:a16="http://schemas.microsoft.com/office/drawing/2014/main" id="{90E3F8AC-F0E5-3443-8B09-40E983B5BF10}"/>
                  </a:ext>
                </a:extLst>
              </p:cNvPr>
              <p:cNvSpPr>
                <a:spLocks noChangeArrowheads="1"/>
              </p:cNvSpPr>
              <p:nvPr/>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grpSp>
      </p:grpSp>
      <p:sp>
        <p:nvSpPr>
          <p:cNvPr id="64" name="Rectangle 63">
            <a:extLst>
              <a:ext uri="{FF2B5EF4-FFF2-40B4-BE49-F238E27FC236}">
                <a16:creationId xmlns:a16="http://schemas.microsoft.com/office/drawing/2014/main" id="{862D0462-39AF-454C-91BA-45B18973FD23}"/>
              </a:ext>
            </a:extLst>
          </p:cNvPr>
          <p:cNvSpPr/>
          <p:nvPr userDrawn="1"/>
        </p:nvSpPr>
        <p:spPr bwMode="auto">
          <a:xfrm>
            <a:off x="-2065343" y="-166536"/>
            <a:ext cx="2065343" cy="7327597"/>
          </a:xfrm>
          <a:prstGeom prst="rect">
            <a:avLst/>
          </a:prstGeom>
          <a:solidFill>
            <a:srgbClr val="F5F5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55583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_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741655" y="1566496"/>
            <a:ext cx="7627938" cy="658086"/>
          </a:xfrm>
          <a:noFill/>
        </p:spPr>
        <p:txBody>
          <a:bodyPr vert="horz" wrap="square" lIns="0" tIns="0" rIns="0" bIns="0" rtlCol="0" anchor="t" anchorCtr="0">
            <a:spAutoFit/>
          </a:bodyPr>
          <a:lstStyle>
            <a:lvl1pPr>
              <a:lnSpc>
                <a:spcPct val="90000"/>
              </a:lnSpc>
              <a:defRPr lang="en-US" sz="3672" spc="-150" dirty="0">
                <a:solidFill>
                  <a:schemeClr val="tx1"/>
                </a:solidFill>
              </a:defRPr>
            </a:lvl1pPr>
          </a:lstStyle>
          <a:p>
            <a:pPr marL="0" lvl="0">
              <a:lnSpc>
                <a:spcPts val="5599"/>
              </a:lnSpc>
            </a:pPr>
            <a:r>
              <a:rPr lang="en-US"/>
              <a:t>Section title</a:t>
            </a:r>
          </a:p>
        </p:txBody>
      </p:sp>
      <p:sp>
        <p:nvSpPr>
          <p:cNvPr id="4" name="Rectangle 3">
            <a:extLst>
              <a:ext uri="{FF2B5EF4-FFF2-40B4-BE49-F238E27FC236}">
                <a16:creationId xmlns:a16="http://schemas.microsoft.com/office/drawing/2014/main" id="{98825247-7734-4E73-A6A5-8EA0DF84288E}"/>
              </a:ext>
            </a:extLst>
          </p:cNvPr>
          <p:cNvSpPr/>
          <p:nvPr userDrawn="1"/>
        </p:nvSpPr>
        <p:spPr bwMode="auto">
          <a:xfrm>
            <a:off x="0" y="852667"/>
            <a:ext cx="5998601" cy="5665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C08329B4-AF23-4FE8-9F29-4C805F15D5B8}"/>
              </a:ext>
            </a:extLst>
          </p:cNvPr>
          <p:cNvSpPr>
            <a:spLocks noGrp="1"/>
          </p:cNvSpPr>
          <p:nvPr>
            <p:ph type="body" sz="quarter" idx="10"/>
          </p:nvPr>
        </p:nvSpPr>
        <p:spPr>
          <a:xfrm>
            <a:off x="741655" y="1008832"/>
            <a:ext cx="5122874" cy="254262"/>
          </a:xfrm>
        </p:spPr>
        <p:txBody>
          <a:bodyPr/>
          <a:lstStyle>
            <a:lvl1pPr>
              <a:defRPr kumimoji="0" lang="en-US" sz="1836" b="0" i="0" u="none" strike="noStrike" kern="1200" cap="none" spc="-51" normalizeH="0" baseline="0" dirty="0">
                <a:ln>
                  <a:noFill/>
                </a:ln>
                <a:solidFill>
                  <a:srgbClr val="0078D4"/>
                </a:solidFill>
                <a:effectLst/>
                <a:uLnTx/>
                <a:uFillTx/>
                <a:latin typeface="Segoe UI Semibold"/>
                <a:ea typeface="+mn-ea"/>
                <a:cs typeface="+mn-cs"/>
              </a:defRPr>
            </a:lvl1pPr>
          </a:lstStyle>
          <a:p>
            <a:pPr lvl="0"/>
            <a:r>
              <a:rPr lang="en-US"/>
              <a:t>Edit Master text styles</a:t>
            </a:r>
          </a:p>
        </p:txBody>
      </p:sp>
      <p:sp>
        <p:nvSpPr>
          <p:cNvPr id="9" name="Text Placeholder 8">
            <a:extLst>
              <a:ext uri="{FF2B5EF4-FFF2-40B4-BE49-F238E27FC236}">
                <a16:creationId xmlns:a16="http://schemas.microsoft.com/office/drawing/2014/main" id="{233FF77E-0444-4D07-9356-49FD7BAE822A}"/>
              </a:ext>
            </a:extLst>
          </p:cNvPr>
          <p:cNvSpPr>
            <a:spLocks noGrp="1"/>
          </p:cNvSpPr>
          <p:nvPr>
            <p:ph type="body" sz="quarter" idx="11"/>
          </p:nvPr>
        </p:nvSpPr>
        <p:spPr>
          <a:xfrm>
            <a:off x="741654" y="2212614"/>
            <a:ext cx="3292104" cy="378581"/>
          </a:xfrm>
        </p:spPr>
        <p:txBody>
          <a:bodyPr/>
          <a:lstStyle>
            <a:lvl1pPr>
              <a:defRPr kumimoji="0" lang="en-US" sz="1836" b="0" i="0" u="none" strike="noStrike" kern="1200" cap="none" spc="0" normalizeH="0" baseline="0" dirty="0" smtClean="0">
                <a:ln w="3175">
                  <a:noFill/>
                </a:ln>
                <a:solidFill>
                  <a:schemeClr val="tx1"/>
                </a:solidFill>
                <a:effectLst/>
                <a:uLnTx/>
                <a:uFillTx/>
                <a:latin typeface="Segoe UI Semibold"/>
                <a:ea typeface="+mn-ea"/>
                <a:cs typeface="Segoe UI" pitchFamily="34" charset="0"/>
              </a:defRPr>
            </a:lvl1pPr>
          </a:lstStyle>
          <a:p>
            <a:pPr marL="0" marR="0" lvl="0" indent="0" algn="l" defTabSz="932563" rtl="0" eaLnBrk="1" fontAlgn="auto" latinLnBrk="0" hangingPunct="1">
              <a:lnSpc>
                <a:spcPct val="150000"/>
              </a:lnSpc>
              <a:spcBef>
                <a:spcPct val="0"/>
              </a:spcBef>
              <a:spcAft>
                <a:spcPts val="0"/>
              </a:spcAft>
              <a:buClrTx/>
              <a:buSzTx/>
              <a:buFontTx/>
              <a:buNone/>
              <a:tabLst/>
              <a:defRPr/>
            </a:pPr>
            <a:r>
              <a:rPr lang="en-US"/>
              <a:t>Edit Master text styles</a:t>
            </a:r>
          </a:p>
        </p:txBody>
      </p:sp>
    </p:spTree>
    <p:extLst>
      <p:ext uri="{BB962C8B-B14F-4D97-AF65-F5344CB8AC3E}">
        <p14:creationId xmlns:p14="http://schemas.microsoft.com/office/powerpoint/2010/main" val="21778394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2_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741655" y="1566496"/>
            <a:ext cx="7627938" cy="658086"/>
          </a:xfrm>
          <a:noFill/>
        </p:spPr>
        <p:txBody>
          <a:bodyPr vert="horz" wrap="square" lIns="0" tIns="0" rIns="0" bIns="0" rtlCol="0" anchor="t" anchorCtr="0">
            <a:spAutoFit/>
          </a:bodyPr>
          <a:lstStyle>
            <a:lvl1pPr>
              <a:lnSpc>
                <a:spcPct val="90000"/>
              </a:lnSpc>
              <a:defRPr lang="en-US" sz="3672" spc="-150" dirty="0">
                <a:solidFill>
                  <a:schemeClr val="tx1"/>
                </a:solidFill>
              </a:defRPr>
            </a:lvl1pPr>
          </a:lstStyle>
          <a:p>
            <a:pPr marL="0" lvl="0">
              <a:lnSpc>
                <a:spcPts val="5599"/>
              </a:lnSpc>
            </a:pPr>
            <a:r>
              <a:rPr lang="en-US"/>
              <a:t>Section title</a:t>
            </a:r>
          </a:p>
        </p:txBody>
      </p:sp>
      <p:sp>
        <p:nvSpPr>
          <p:cNvPr id="4" name="Rectangle 3">
            <a:extLst>
              <a:ext uri="{FF2B5EF4-FFF2-40B4-BE49-F238E27FC236}">
                <a16:creationId xmlns:a16="http://schemas.microsoft.com/office/drawing/2014/main" id="{98825247-7734-4E73-A6A5-8EA0DF84288E}"/>
              </a:ext>
            </a:extLst>
          </p:cNvPr>
          <p:cNvSpPr/>
          <p:nvPr userDrawn="1"/>
        </p:nvSpPr>
        <p:spPr bwMode="auto">
          <a:xfrm>
            <a:off x="0" y="1008832"/>
            <a:ext cx="5998601" cy="358280"/>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C08329B4-AF23-4FE8-9F29-4C805F15D5B8}"/>
              </a:ext>
            </a:extLst>
          </p:cNvPr>
          <p:cNvSpPr>
            <a:spLocks noGrp="1"/>
          </p:cNvSpPr>
          <p:nvPr>
            <p:ph type="body" sz="quarter" idx="10" hasCustomPrompt="1"/>
          </p:nvPr>
        </p:nvSpPr>
        <p:spPr>
          <a:xfrm>
            <a:off x="741655" y="1085411"/>
            <a:ext cx="5122874" cy="254262"/>
          </a:xfrm>
        </p:spPr>
        <p:txBody>
          <a:bodyPr anchor="ctr"/>
          <a:lstStyle>
            <a:lvl1pPr>
              <a:defRPr kumimoji="0" lang="en-US" sz="1836" b="0" i="0" u="none" strike="noStrike" kern="1200" cap="none" spc="-51" normalizeH="0" baseline="0" dirty="0">
                <a:ln>
                  <a:noFill/>
                </a:ln>
                <a:solidFill>
                  <a:schemeClr val="bg2"/>
                </a:solidFill>
                <a:effectLst/>
                <a:uLnTx/>
                <a:uFillTx/>
                <a:latin typeface="Segoe UI Semibold"/>
                <a:ea typeface="+mn-ea"/>
                <a:cs typeface="+mn-cs"/>
              </a:defRPr>
            </a:lvl1pPr>
          </a:lstStyle>
          <a:p>
            <a:pPr lvl="0"/>
            <a:r>
              <a:rPr lang="en-US"/>
              <a:t>EDIT MASTER TEXT STYLES</a:t>
            </a:r>
          </a:p>
        </p:txBody>
      </p:sp>
      <p:sp>
        <p:nvSpPr>
          <p:cNvPr id="9" name="Text Placeholder 8">
            <a:extLst>
              <a:ext uri="{FF2B5EF4-FFF2-40B4-BE49-F238E27FC236}">
                <a16:creationId xmlns:a16="http://schemas.microsoft.com/office/drawing/2014/main" id="{233FF77E-0444-4D07-9356-49FD7BAE822A}"/>
              </a:ext>
            </a:extLst>
          </p:cNvPr>
          <p:cNvSpPr>
            <a:spLocks noGrp="1"/>
          </p:cNvSpPr>
          <p:nvPr>
            <p:ph type="body" sz="quarter" idx="11"/>
          </p:nvPr>
        </p:nvSpPr>
        <p:spPr>
          <a:xfrm>
            <a:off x="741654" y="2212614"/>
            <a:ext cx="3292104" cy="378581"/>
          </a:xfrm>
        </p:spPr>
        <p:txBody>
          <a:bodyPr/>
          <a:lstStyle>
            <a:lvl1pPr>
              <a:defRPr kumimoji="0" lang="en-US" sz="1836" b="0" i="0" u="none" strike="noStrike" kern="1200" cap="none" spc="0" normalizeH="0" baseline="0" dirty="0" smtClean="0">
                <a:ln w="3175">
                  <a:noFill/>
                </a:ln>
                <a:solidFill>
                  <a:schemeClr val="tx1"/>
                </a:solidFill>
                <a:effectLst/>
                <a:uLnTx/>
                <a:uFillTx/>
                <a:latin typeface="Segoe UI Semibold"/>
                <a:ea typeface="+mn-ea"/>
                <a:cs typeface="Segoe UI" pitchFamily="34" charset="0"/>
              </a:defRPr>
            </a:lvl1pPr>
          </a:lstStyle>
          <a:p>
            <a:pPr marL="0" marR="0" lvl="0" indent="0" algn="l" defTabSz="932563" rtl="0" eaLnBrk="1" fontAlgn="auto" latinLnBrk="0" hangingPunct="1">
              <a:lnSpc>
                <a:spcPct val="150000"/>
              </a:lnSpc>
              <a:spcBef>
                <a:spcPct val="0"/>
              </a:spcBef>
              <a:spcAft>
                <a:spcPts val="0"/>
              </a:spcAft>
              <a:buClrTx/>
              <a:buSzTx/>
              <a:buFontTx/>
              <a:buNone/>
              <a:tabLst/>
              <a:defRPr/>
            </a:pPr>
            <a:r>
              <a:rPr lang="en-US"/>
              <a:t>Edit Master text styles</a:t>
            </a:r>
          </a:p>
        </p:txBody>
      </p:sp>
    </p:spTree>
    <p:extLst>
      <p:ext uri="{BB962C8B-B14F-4D97-AF65-F5344CB8AC3E}">
        <p14:creationId xmlns:p14="http://schemas.microsoft.com/office/powerpoint/2010/main" val="11021622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03DA3463-51ED-4E09-B4E0-6096900C97C1}" type="datetimeFigureOut">
              <a:rPr lang="zh-CN" altLang="en-US" smtClean="0"/>
              <a:t>2019/06/03</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FA74CA4-EAEF-40BC-A585-C24F4417E261}" type="slidenum">
              <a:rPr lang="zh-CN" altLang="en-US" smtClean="0"/>
              <a:t>‹#›</a:t>
            </a:fld>
            <a:endParaRPr lang="zh-CN" altLang="en-US"/>
          </a:p>
        </p:txBody>
      </p:sp>
    </p:spTree>
    <p:extLst>
      <p:ext uri="{BB962C8B-B14F-4D97-AF65-F5344CB8AC3E}">
        <p14:creationId xmlns:p14="http://schemas.microsoft.com/office/powerpoint/2010/main" val="205764257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30151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06225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09022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1B1ACE1-40DB-BB41-9EB4-0232AA1B2252}" type="datetimeFigureOut">
              <a:rPr kumimoji="1" lang="zh-CN" altLang="en-US" smtClean="0"/>
              <a:t>2019/06/03</a:t>
            </a:fld>
            <a:endParaRPr kumimoji="1" lang="zh-CN" altLang="en-US"/>
          </a:p>
        </p:txBody>
      </p:sp>
      <p:sp>
        <p:nvSpPr>
          <p:cNvPr id="3" name="Footer Placeholder 2"/>
          <p:cNvSpPr>
            <a:spLocks noGrp="1"/>
          </p:cNvSpPr>
          <p:nvPr>
            <p:ph type="ftr" sz="quarter" idx="11"/>
          </p:nvPr>
        </p:nvSpPr>
        <p:spPr/>
        <p:txBody>
          <a:bodyPr/>
          <a:lstStyle/>
          <a:p>
            <a:endParaRPr kumimoji="1" lang="zh-CN" altLang="en-US"/>
          </a:p>
        </p:txBody>
      </p:sp>
      <p:sp>
        <p:nvSpPr>
          <p:cNvPr id="4" name="Slide Number Placeholder 3"/>
          <p:cNvSpPr>
            <a:spLocks noGrp="1"/>
          </p:cNvSpPr>
          <p:nvPr>
            <p:ph type="sldNum" sz="quarter" idx="12"/>
          </p:nvPr>
        </p:nvSpPr>
        <p:spPr>
          <a:xfrm>
            <a:off x="8783260" y="6482897"/>
            <a:ext cx="2798207" cy="372394"/>
          </a:xfrm>
          <a:prstGeom prst="rect">
            <a:avLst/>
          </a:prstGeom>
        </p:spPr>
        <p:txBody>
          <a:bodyPr/>
          <a:lstStyle/>
          <a:p>
            <a:fld id="{ACDDB00C-AAE5-1441-A61D-9CC21B6B3339}" type="slidenum">
              <a:rPr kumimoji="1" lang="zh-CN" altLang="en-US" smtClean="0"/>
              <a:t>‹#›</a:t>
            </a:fld>
            <a:endParaRPr kumimoji="1" lang="zh-CN" altLang="en-US"/>
          </a:p>
        </p:txBody>
      </p:sp>
    </p:spTree>
    <p:extLst>
      <p:ext uri="{BB962C8B-B14F-4D97-AF65-F5344CB8AC3E}">
        <p14:creationId xmlns:p14="http://schemas.microsoft.com/office/powerpoint/2010/main" val="149558676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CEA97B18-117F-484D-93AF-D12E303E33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72575529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367684118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54560" y="2638169"/>
            <a:ext cx="9327356" cy="941668"/>
          </a:xfrm>
        </p:spPr>
        <p:txBody>
          <a:bodyPr anchor="b"/>
          <a:lstStyle>
            <a:lvl1pPr algn="ctr">
              <a:defRPr sz="6119"/>
            </a:lvl1pPr>
          </a:lstStyle>
          <a:p>
            <a:r>
              <a:rPr kumimoji="1" lang="zh-CN" altLang="en-US"/>
              <a:t>单击此处编辑母版标题样式</a:t>
            </a:r>
          </a:p>
        </p:txBody>
      </p:sp>
      <p:sp>
        <p:nvSpPr>
          <p:cNvPr id="3" name="副标题 2"/>
          <p:cNvSpPr>
            <a:spLocks noGrp="1"/>
          </p:cNvSpPr>
          <p:nvPr>
            <p:ph type="subTitle" idx="1"/>
          </p:nvPr>
        </p:nvSpPr>
        <p:spPr>
          <a:xfrm>
            <a:off x="1554560" y="3673745"/>
            <a:ext cx="9327356" cy="376706"/>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kumimoji="1" lang="zh-CN" altLang="en-US"/>
              <a:t>单击此处编辑母版副标题样式</a:t>
            </a:r>
          </a:p>
        </p:txBody>
      </p:sp>
      <p:sp>
        <p:nvSpPr>
          <p:cNvPr id="4" name="日期占位符 3"/>
          <p:cNvSpPr>
            <a:spLocks noGrp="1"/>
          </p:cNvSpPr>
          <p:nvPr>
            <p:ph type="dt" sz="half" idx="10"/>
          </p:nvPr>
        </p:nvSpPr>
        <p:spPr>
          <a:xfrm>
            <a:off x="855008" y="6482889"/>
            <a:ext cx="2798207" cy="372394"/>
          </a:xfrm>
          <a:prstGeom prst="rect">
            <a:avLst/>
          </a:prstGeom>
        </p:spPr>
        <p:txBody>
          <a:bodyPr/>
          <a:lstStyle/>
          <a:p>
            <a:fld id="{A60D9E35-4CC0-7140-9E4F-DD4B7E452617}" type="datetimeFigureOut">
              <a:rPr kumimoji="1" lang="zh-CN" altLang="en-US" smtClean="0">
                <a:solidFill>
                  <a:prstClr val="black">
                    <a:tint val="75000"/>
                  </a:prstClr>
                </a:solidFill>
                <a:latin typeface="Calibri"/>
                <a:ea typeface="宋体"/>
              </a:rPr>
              <a:pPr/>
              <a:t>2019/06/03</a:t>
            </a:fld>
            <a:endParaRPr kumimoji="1" lang="zh-CN" altLang="en-US">
              <a:solidFill>
                <a:prstClr val="black">
                  <a:tint val="75000"/>
                </a:prstClr>
              </a:solidFill>
              <a:latin typeface="Calibri"/>
              <a:ea typeface="宋体"/>
            </a:endParaRPr>
          </a:p>
        </p:txBody>
      </p:sp>
      <p:sp>
        <p:nvSpPr>
          <p:cNvPr id="5" name="页脚占位符 4"/>
          <p:cNvSpPr>
            <a:spLocks noGrp="1"/>
          </p:cNvSpPr>
          <p:nvPr>
            <p:ph type="ftr" sz="quarter" idx="11"/>
          </p:nvPr>
        </p:nvSpPr>
        <p:spPr>
          <a:xfrm>
            <a:off x="4119583" y="6482889"/>
            <a:ext cx="4197310" cy="372394"/>
          </a:xfrm>
          <a:prstGeom prst="rect">
            <a:avLst/>
          </a:prstGeom>
        </p:spPr>
        <p:txBody>
          <a:bodyPr/>
          <a:lstStyle/>
          <a:p>
            <a:endParaRPr kumimoji="1" lang="zh-CN" altLang="en-US">
              <a:solidFill>
                <a:prstClr val="black">
                  <a:tint val="75000"/>
                </a:prstClr>
              </a:solidFill>
              <a:latin typeface="Calibri"/>
              <a:ea typeface="宋体"/>
            </a:endParaRPr>
          </a:p>
        </p:txBody>
      </p:sp>
      <p:sp>
        <p:nvSpPr>
          <p:cNvPr id="6" name="幻灯片编号占位符 5"/>
          <p:cNvSpPr>
            <a:spLocks noGrp="1"/>
          </p:cNvSpPr>
          <p:nvPr>
            <p:ph type="sldNum" sz="quarter" idx="12"/>
          </p:nvPr>
        </p:nvSpPr>
        <p:spPr>
          <a:xfrm>
            <a:off x="8783260" y="6482889"/>
            <a:ext cx="2798207" cy="372394"/>
          </a:xfrm>
          <a:prstGeom prst="rect">
            <a:avLst/>
          </a:prstGeom>
        </p:spPr>
        <p:txBody>
          <a:bodyPr/>
          <a:lstStyle/>
          <a:p>
            <a:fld id="{69C18084-9BCB-5446-8B16-1D7A68FCD824}" type="slidenum">
              <a:rPr kumimoji="1" lang="zh-CN" altLang="en-US" smtClean="0">
                <a:solidFill>
                  <a:prstClr val="black">
                    <a:tint val="75000"/>
                  </a:prstClr>
                </a:solidFill>
                <a:latin typeface="Calibri"/>
                <a:ea typeface="宋体"/>
              </a:rPr>
              <a:pPr/>
              <a:t>‹#›</a:t>
            </a:fld>
            <a:endParaRPr kumimoji="1" lang="zh-CN" altLang="en-US">
              <a:solidFill>
                <a:prstClr val="black">
                  <a:tint val="75000"/>
                </a:prstClr>
              </a:solidFill>
              <a:latin typeface="Calibri"/>
              <a:ea typeface="宋体"/>
            </a:endParaRPr>
          </a:p>
        </p:txBody>
      </p:sp>
    </p:spTree>
    <p:extLst>
      <p:ext uri="{BB962C8B-B14F-4D97-AF65-F5344CB8AC3E}">
        <p14:creationId xmlns:p14="http://schemas.microsoft.com/office/powerpoint/2010/main" val="321901316"/>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a:t>单击此处编辑母版标题样式</a:t>
            </a:r>
          </a:p>
        </p:txBody>
      </p:sp>
      <p:sp>
        <p:nvSpPr>
          <p:cNvPr id="3" name="内容占位符 2"/>
          <p:cNvSpPr>
            <a:spLocks noGrp="1"/>
          </p:cNvSpPr>
          <p:nvPr>
            <p:ph idx="1"/>
          </p:nvPr>
        </p:nvSpPr>
        <p:spPr/>
        <p:txBody>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日期占位符 3"/>
          <p:cNvSpPr>
            <a:spLocks noGrp="1"/>
          </p:cNvSpPr>
          <p:nvPr>
            <p:ph type="dt" sz="half" idx="10"/>
          </p:nvPr>
        </p:nvSpPr>
        <p:spPr>
          <a:xfrm>
            <a:off x="855008" y="6482889"/>
            <a:ext cx="2798207" cy="372394"/>
          </a:xfrm>
          <a:prstGeom prst="rect">
            <a:avLst/>
          </a:prstGeom>
        </p:spPr>
        <p:txBody>
          <a:bodyPr/>
          <a:lstStyle/>
          <a:p>
            <a:fld id="{A60D9E35-4CC0-7140-9E4F-DD4B7E452617}" type="datetimeFigureOut">
              <a:rPr kumimoji="1" lang="zh-CN" altLang="en-US" smtClean="0">
                <a:solidFill>
                  <a:prstClr val="black">
                    <a:tint val="75000"/>
                  </a:prstClr>
                </a:solidFill>
                <a:latin typeface="Calibri"/>
                <a:ea typeface="宋体"/>
              </a:rPr>
              <a:pPr/>
              <a:t>2019/06/03</a:t>
            </a:fld>
            <a:endParaRPr kumimoji="1" lang="zh-CN" altLang="en-US">
              <a:solidFill>
                <a:prstClr val="black">
                  <a:tint val="75000"/>
                </a:prstClr>
              </a:solidFill>
              <a:latin typeface="Calibri"/>
              <a:ea typeface="宋体"/>
            </a:endParaRPr>
          </a:p>
        </p:txBody>
      </p:sp>
      <p:sp>
        <p:nvSpPr>
          <p:cNvPr id="5" name="页脚占位符 4"/>
          <p:cNvSpPr>
            <a:spLocks noGrp="1"/>
          </p:cNvSpPr>
          <p:nvPr>
            <p:ph type="ftr" sz="quarter" idx="11"/>
          </p:nvPr>
        </p:nvSpPr>
        <p:spPr>
          <a:xfrm>
            <a:off x="4119583" y="6482889"/>
            <a:ext cx="4197310" cy="372394"/>
          </a:xfrm>
          <a:prstGeom prst="rect">
            <a:avLst/>
          </a:prstGeom>
        </p:spPr>
        <p:txBody>
          <a:bodyPr/>
          <a:lstStyle/>
          <a:p>
            <a:endParaRPr kumimoji="1" lang="zh-CN" altLang="en-US">
              <a:solidFill>
                <a:prstClr val="black">
                  <a:tint val="75000"/>
                </a:prstClr>
              </a:solidFill>
              <a:latin typeface="Calibri"/>
              <a:ea typeface="宋体"/>
            </a:endParaRPr>
          </a:p>
        </p:txBody>
      </p:sp>
      <p:sp>
        <p:nvSpPr>
          <p:cNvPr id="6" name="幻灯片编号占位符 5"/>
          <p:cNvSpPr>
            <a:spLocks noGrp="1"/>
          </p:cNvSpPr>
          <p:nvPr>
            <p:ph type="sldNum" sz="quarter" idx="12"/>
          </p:nvPr>
        </p:nvSpPr>
        <p:spPr>
          <a:xfrm>
            <a:off x="8783260" y="6482889"/>
            <a:ext cx="2798207" cy="372394"/>
          </a:xfrm>
          <a:prstGeom prst="rect">
            <a:avLst/>
          </a:prstGeom>
        </p:spPr>
        <p:txBody>
          <a:bodyPr/>
          <a:lstStyle/>
          <a:p>
            <a:fld id="{69C18084-9BCB-5446-8B16-1D7A68FCD824}" type="slidenum">
              <a:rPr kumimoji="1" lang="zh-CN" altLang="en-US" smtClean="0">
                <a:solidFill>
                  <a:prstClr val="black">
                    <a:tint val="75000"/>
                  </a:prstClr>
                </a:solidFill>
                <a:latin typeface="Calibri"/>
                <a:ea typeface="宋体"/>
              </a:rPr>
              <a:pPr/>
              <a:t>‹#›</a:t>
            </a:fld>
            <a:endParaRPr kumimoji="1" lang="zh-CN" altLang="en-US">
              <a:solidFill>
                <a:prstClr val="black">
                  <a:tint val="75000"/>
                </a:prstClr>
              </a:solidFill>
              <a:latin typeface="Calibri"/>
              <a:ea typeface="宋体"/>
            </a:endParaRPr>
          </a:p>
        </p:txBody>
      </p:sp>
    </p:spTree>
    <p:extLst>
      <p:ext uri="{BB962C8B-B14F-4D97-AF65-F5344CB8AC3E}">
        <p14:creationId xmlns:p14="http://schemas.microsoft.com/office/powerpoint/2010/main" val="533074010"/>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454931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01349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72513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03DA3463-51ED-4E09-B4E0-6096900C97C1}" type="datetimeFigureOut">
              <a:rPr lang="zh-CN" altLang="en-US" smtClean="0"/>
              <a:t>2019/06/03</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FA74CA4-EAEF-40BC-A585-C24F4417E261}" type="slidenum">
              <a:rPr lang="zh-CN" altLang="en-US" smtClean="0"/>
              <a:t>‹#›</a:t>
            </a:fld>
            <a:endParaRPr lang="zh-CN" altLang="en-US"/>
          </a:p>
        </p:txBody>
      </p:sp>
    </p:spTree>
    <p:extLst>
      <p:ext uri="{BB962C8B-B14F-4D97-AF65-F5344CB8AC3E}">
        <p14:creationId xmlns:p14="http://schemas.microsoft.com/office/powerpoint/2010/main" val="36181943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6EB48F5B-FA46-418B-8BEE-9F0C23C84A5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37250524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Title &amp; 2-color Non-bulleted text_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1637465"/>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4766455"/>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11888787" cy="1644874"/>
          </a:xfrm>
        </p:spPr>
        <p:txBody>
          <a:bodyPr>
            <a:spAutoFit/>
          </a:bodyPr>
          <a:lstStyle>
            <a:lvl1pPr marL="0" indent="0">
              <a:buNone/>
              <a:defRPr/>
            </a:lvl1pPr>
            <a:lvl2pPr marL="228513" indent="0">
              <a:buNone/>
              <a:defRPr/>
            </a:lvl2pPr>
            <a:lvl3pPr marL="457024" indent="0">
              <a:buNone/>
              <a:defRPr/>
            </a:lvl3pPr>
            <a:lvl4pPr marL="685537" indent="0">
              <a:buNone/>
              <a:defRPr/>
            </a:lvl4pPr>
            <a:lvl5pPr marL="91404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8900949"/>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789704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Only">
  <p:cSld name="1_仅标题">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855008" y="372394"/>
            <a:ext cx="10726460" cy="565091"/>
          </a:xfrm>
          <a:prstGeom prst="rect">
            <a:avLst/>
          </a:prstGeom>
        </p:spPr>
        <p:txBody>
          <a:bodyPr/>
          <a:lstStyle/>
          <a:p>
            <a:r>
              <a:rPr lang="zh-CN" altLang="en-US"/>
              <a:t>单击此处编辑母版标题样式</a:t>
            </a:r>
          </a:p>
        </p:txBody>
      </p:sp>
      <p:sp>
        <p:nvSpPr>
          <p:cNvPr id="3" name="日期占位符 2"/>
          <p:cNvSpPr>
            <a:spLocks noGrp="1"/>
          </p:cNvSpPr>
          <p:nvPr>
            <p:ph type="dt" sz="half" idx="10"/>
          </p:nvPr>
        </p:nvSpPr>
        <p:spPr>
          <a:xfrm>
            <a:off x="855008" y="6482889"/>
            <a:ext cx="2798207" cy="372394"/>
          </a:xfrm>
          <a:prstGeom prst="rect">
            <a:avLst/>
          </a:prstGeom>
        </p:spPr>
        <p:txBody>
          <a:bodyPr/>
          <a:lstStyle/>
          <a:p>
            <a:fld id="{AA6719B7-201B-4254-9923-A0B4007B1CFA}" type="datetimeFigureOut">
              <a:rPr lang="zh-CN" altLang="en-US" smtClean="0"/>
              <a:t>2019/06/03</a:t>
            </a:fld>
            <a:endParaRPr lang="zh-CN" altLang="en-US"/>
          </a:p>
        </p:txBody>
      </p:sp>
      <p:sp>
        <p:nvSpPr>
          <p:cNvPr id="4" name="页脚占位符 3"/>
          <p:cNvSpPr>
            <a:spLocks noGrp="1"/>
          </p:cNvSpPr>
          <p:nvPr>
            <p:ph type="ftr" sz="quarter" idx="11"/>
          </p:nvPr>
        </p:nvSpPr>
        <p:spPr>
          <a:xfrm>
            <a:off x="4119583" y="6482889"/>
            <a:ext cx="4197310" cy="372394"/>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8783260" y="6482889"/>
            <a:ext cx="2798207" cy="372394"/>
          </a:xfrm>
          <a:prstGeom prst="rect">
            <a:avLst/>
          </a:prstGeom>
        </p:spPr>
        <p:txBody>
          <a:bodyPr/>
          <a:lstStyle/>
          <a:p>
            <a:fld id="{3A69B363-7A1E-42F3-9D1A-C6ED4873DE00}" type="slidenum">
              <a:rPr lang="zh-CN" altLang="en-US" smtClean="0"/>
              <a:t>‹#›</a:t>
            </a:fld>
            <a:endParaRPr lang="zh-CN" altLang="en-US"/>
          </a:p>
        </p:txBody>
      </p:sp>
    </p:spTree>
    <p:extLst>
      <p:ext uri="{BB962C8B-B14F-4D97-AF65-F5344CB8AC3E}">
        <p14:creationId xmlns:p14="http://schemas.microsoft.com/office/powerpoint/2010/main" val="402191273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cSld name="THINGS - Manage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1FA688A-561C-4456-9598-B7E7878A12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37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cSld name="6_Title Only">
    <p:bg>
      <p:bgPr>
        <a:solidFill>
          <a:schemeClr val="bg1"/>
        </a:solidFill>
        <a:effectLst/>
      </p:bgPr>
    </p:bg>
    <p:spTree>
      <p:nvGrpSpPr>
        <p:cNvPr id="1" name=""/>
        <p:cNvGrpSpPr/>
        <p:nvPr/>
      </p:nvGrpSpPr>
      <p:grpSpPr>
        <a:xfrm>
          <a:off x="0" y="0"/>
          <a:ext cx="0" cy="0"/>
          <a:chOff x="0" y="0"/>
          <a:chExt cx="0" cy="0"/>
        </a:xfrm>
      </p:grpSpPr>
      <p:sp>
        <p:nvSpPr>
          <p:cNvPr id="5" name="Title 6"/>
          <p:cNvSpPr>
            <a:spLocks noGrp="1"/>
          </p:cNvSpPr>
          <p:nvPr>
            <p:ph type="title"/>
          </p:nvPr>
        </p:nvSpPr>
        <p:spPr>
          <a:xfrm>
            <a:off x="289938" y="301153"/>
            <a:ext cx="11856603" cy="796127"/>
          </a:xfrm>
        </p:spPr>
        <p:txBody>
          <a:bodyPr vert="horz" lIns="93278" tIns="46639" rIns="93278" bIns="46639" rtlCol="0" anchor="ctr" anchorCtr="0">
            <a:noAutofit/>
          </a:bodyPr>
          <a:lstStyle>
            <a:lvl1pPr>
              <a:defRPr lang="en-US" sz="4896" dirty="0">
                <a:solidFill>
                  <a:schemeClr val="tx1"/>
                </a:solidFill>
              </a:defRPr>
            </a:lvl1pPr>
          </a:lstStyle>
          <a:p>
            <a:pPr marL="0" lvl="0" indent="0">
              <a:lnSpc>
                <a:spcPct val="80000"/>
              </a:lnSpc>
              <a:buFont typeface="Arial" pitchFamily="34" charset="0"/>
            </a:pPr>
            <a:r>
              <a:rPr lang="en-US"/>
              <a:t>Click to edit Master title style</a:t>
            </a:r>
            <a:endParaRPr lang="en-US" dirty="0"/>
          </a:p>
        </p:txBody>
      </p:sp>
    </p:spTree>
    <p:extLst>
      <p:ext uri="{BB962C8B-B14F-4D97-AF65-F5344CB8AC3E}">
        <p14:creationId xmlns:p14="http://schemas.microsoft.com/office/powerpoint/2010/main" val="30035655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48530" y="1743775"/>
            <a:ext cx="10726460" cy="2909528"/>
          </a:xfrm>
        </p:spPr>
        <p:txBody>
          <a:bodyPr anchor="b"/>
          <a:lstStyle>
            <a:lvl1pPr>
              <a:defRPr sz="6119"/>
            </a:lvl1pPr>
          </a:lstStyle>
          <a:p>
            <a:r>
              <a:rPr lang="zh-CN" altLang="en-US"/>
              <a:t>单击此处编辑母版标题样式</a:t>
            </a:r>
          </a:p>
        </p:txBody>
      </p:sp>
      <p:sp>
        <p:nvSpPr>
          <p:cNvPr id="3" name="文本占位符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03DA3463-51ED-4E09-B4E0-6096900C97C1}" type="datetimeFigureOut">
              <a:rPr lang="zh-CN" altLang="en-US" smtClean="0"/>
              <a:t>2019/06/03</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FA74CA4-EAEF-40BC-A585-C24F4417E261}" type="slidenum">
              <a:rPr lang="zh-CN" altLang="en-US" smtClean="0"/>
              <a:t>‹#›</a:t>
            </a:fld>
            <a:endParaRPr lang="zh-CN" altLang="en-US"/>
          </a:p>
        </p:txBody>
      </p:sp>
    </p:spTree>
    <p:extLst>
      <p:ext uri="{BB962C8B-B14F-4D97-AF65-F5344CB8AC3E}">
        <p14:creationId xmlns:p14="http://schemas.microsoft.com/office/powerpoint/2010/main" val="12356720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55008" y="1861968"/>
            <a:ext cx="5285502" cy="443796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295965" y="1861968"/>
            <a:ext cx="5285502" cy="443796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03DA3463-51ED-4E09-B4E0-6096900C97C1}" type="datetimeFigureOut">
              <a:rPr lang="zh-CN" altLang="en-US" smtClean="0"/>
              <a:t>2019/06/03</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FA74CA4-EAEF-40BC-A585-C24F4417E261}" type="slidenum">
              <a:rPr lang="zh-CN" altLang="en-US" smtClean="0"/>
              <a:t>‹#›</a:t>
            </a:fld>
            <a:endParaRPr lang="zh-CN" altLang="en-US"/>
          </a:p>
        </p:txBody>
      </p:sp>
    </p:spTree>
    <p:extLst>
      <p:ext uri="{BB962C8B-B14F-4D97-AF65-F5344CB8AC3E}">
        <p14:creationId xmlns:p14="http://schemas.microsoft.com/office/powerpoint/2010/main" val="31640258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56627" y="372394"/>
            <a:ext cx="10726460" cy="1351952"/>
          </a:xfrm>
        </p:spPr>
        <p:txBody>
          <a:bodyPr/>
          <a:lstStyle/>
          <a:p>
            <a:r>
              <a:rPr lang="zh-CN" altLang="en-US"/>
              <a:t>单击此处编辑母版标题样式</a:t>
            </a:r>
          </a:p>
        </p:txBody>
      </p:sp>
      <p:sp>
        <p:nvSpPr>
          <p:cNvPr id="3" name="文本占位符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zh-CN" altLang="en-US"/>
              <a:t>单击此处编辑母版文本样式</a:t>
            </a:r>
          </a:p>
        </p:txBody>
      </p:sp>
      <p:sp>
        <p:nvSpPr>
          <p:cNvPr id="4" name="内容占位符 3"/>
          <p:cNvSpPr>
            <a:spLocks noGrp="1"/>
          </p:cNvSpPr>
          <p:nvPr>
            <p:ph sz="half" idx="2"/>
          </p:nvPr>
        </p:nvSpPr>
        <p:spPr>
          <a:xfrm>
            <a:off x="856628" y="2554944"/>
            <a:ext cx="5261211" cy="3757939"/>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zh-CN" altLang="en-US"/>
              <a:t>单击此处编辑母版文本样式</a:t>
            </a:r>
          </a:p>
        </p:txBody>
      </p:sp>
      <p:sp>
        <p:nvSpPr>
          <p:cNvPr id="6" name="内容占位符 5"/>
          <p:cNvSpPr>
            <a:spLocks noGrp="1"/>
          </p:cNvSpPr>
          <p:nvPr>
            <p:ph sz="quarter" idx="4"/>
          </p:nvPr>
        </p:nvSpPr>
        <p:spPr>
          <a:xfrm>
            <a:off x="6295965" y="2554944"/>
            <a:ext cx="5287122" cy="3757939"/>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03DA3463-51ED-4E09-B4E0-6096900C97C1}" type="datetimeFigureOut">
              <a:rPr lang="zh-CN" altLang="en-US" smtClean="0"/>
              <a:t>2019/06/03</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CFA74CA4-EAEF-40BC-A585-C24F4417E261}" type="slidenum">
              <a:rPr lang="zh-CN" altLang="en-US" smtClean="0"/>
              <a:t>‹#›</a:t>
            </a:fld>
            <a:endParaRPr lang="zh-CN" altLang="en-US"/>
          </a:p>
        </p:txBody>
      </p:sp>
    </p:spTree>
    <p:extLst>
      <p:ext uri="{BB962C8B-B14F-4D97-AF65-F5344CB8AC3E}">
        <p14:creationId xmlns:p14="http://schemas.microsoft.com/office/powerpoint/2010/main" val="33583671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marL="342900" indent="-342900">
              <a:buFont typeface="Wingdings" panose="05000000000000000000" pitchFamily="2" charset="2"/>
              <a:buChar char="§"/>
              <a:defRPr sz="3600">
                <a:solidFill>
                  <a:srgbClr val="005A4D"/>
                </a:solidFill>
              </a:defRPr>
            </a:lvl1pPr>
            <a:lvl2pPr marL="584200" indent="-241300">
              <a:buFont typeface="Wingdings" panose="05000000000000000000" pitchFamily="2" charset="2"/>
              <a:buChar char="§"/>
              <a:defRPr/>
            </a:lvl2pPr>
            <a:lvl3pPr marL="800100" indent="-228600">
              <a:buFont typeface="Wingdings" panose="05000000000000000000" pitchFamily="2" charset="2"/>
              <a:buChar char="§"/>
              <a:defRPr/>
            </a:lvl3pPr>
            <a:lvl4pPr marL="1028700" indent="-228600">
              <a:buFont typeface="Wingdings" panose="05000000000000000000" pitchFamily="2" charset="2"/>
              <a:buChar char="§"/>
              <a:defRPr/>
            </a:lvl4pPr>
            <a:lvl5pPr marL="1257300" indent="-228600">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03DA3463-51ED-4E09-B4E0-6096900C97C1}" type="datetimeFigureOut">
              <a:rPr lang="zh-CN" altLang="en-US" smtClean="0"/>
              <a:t>2019/06/03</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FA74CA4-EAEF-40BC-A585-C24F4417E261}" type="slidenum">
              <a:rPr lang="zh-CN" altLang="en-US" smtClean="0"/>
              <a:t>‹#›</a:t>
            </a:fld>
            <a:endParaRPr lang="zh-CN" altLang="en-US"/>
          </a:p>
        </p:txBody>
      </p:sp>
    </p:spTree>
    <p:extLst>
      <p:ext uri="{BB962C8B-B14F-4D97-AF65-F5344CB8AC3E}">
        <p14:creationId xmlns:p14="http://schemas.microsoft.com/office/powerpoint/2010/main" val="33681031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03DA3463-51ED-4E09-B4E0-6096900C97C1}" type="datetimeFigureOut">
              <a:rPr lang="zh-CN" altLang="en-US" smtClean="0"/>
              <a:t>2019/06/03</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CFA74CA4-EAEF-40BC-A585-C24F4417E261}" type="slidenum">
              <a:rPr lang="zh-CN" altLang="en-US" smtClean="0"/>
              <a:t>‹#›</a:t>
            </a:fld>
            <a:endParaRPr lang="zh-CN" altLang="en-US"/>
          </a:p>
        </p:txBody>
      </p:sp>
    </p:spTree>
    <p:extLst>
      <p:ext uri="{BB962C8B-B14F-4D97-AF65-F5344CB8AC3E}">
        <p14:creationId xmlns:p14="http://schemas.microsoft.com/office/powerpoint/2010/main" val="22238969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56628" y="466302"/>
            <a:ext cx="4011087" cy="1632056"/>
          </a:xfrm>
        </p:spPr>
        <p:txBody>
          <a:bodyPr anchor="b"/>
          <a:lstStyle>
            <a:lvl1pPr>
              <a:defRPr sz="3264"/>
            </a:lvl1pPr>
          </a:lstStyle>
          <a:p>
            <a:r>
              <a:rPr lang="zh-CN" altLang="en-US"/>
              <a:t>单击此处编辑母版标题样式</a:t>
            </a:r>
          </a:p>
        </p:txBody>
      </p:sp>
      <p:sp>
        <p:nvSpPr>
          <p:cNvPr id="3" name="内容占位符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03DA3463-51ED-4E09-B4E0-6096900C97C1}" type="datetimeFigureOut">
              <a:rPr lang="zh-CN" altLang="en-US" smtClean="0"/>
              <a:t>2019/06/03</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FA74CA4-EAEF-40BC-A585-C24F4417E261}" type="slidenum">
              <a:rPr lang="zh-CN" altLang="en-US" smtClean="0"/>
              <a:t>‹#›</a:t>
            </a:fld>
            <a:endParaRPr lang="zh-CN" altLang="en-US"/>
          </a:p>
        </p:txBody>
      </p:sp>
    </p:spTree>
    <p:extLst>
      <p:ext uri="{BB962C8B-B14F-4D97-AF65-F5344CB8AC3E}">
        <p14:creationId xmlns:p14="http://schemas.microsoft.com/office/powerpoint/2010/main" val="20978568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56628" y="466302"/>
            <a:ext cx="4011087" cy="1632056"/>
          </a:xfrm>
        </p:spPr>
        <p:txBody>
          <a:bodyPr anchor="b"/>
          <a:lstStyle>
            <a:lvl1pPr>
              <a:defRPr sz="3264"/>
            </a:lvl1pPr>
          </a:lstStyle>
          <a:p>
            <a:r>
              <a:rPr lang="zh-CN" altLang="en-US"/>
              <a:t>单击此处编辑母版标题样式</a:t>
            </a:r>
          </a:p>
        </p:txBody>
      </p:sp>
      <p:sp>
        <p:nvSpPr>
          <p:cNvPr id="3" name="图片占位符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zh-CN" altLang="en-US"/>
          </a:p>
        </p:txBody>
      </p:sp>
      <p:sp>
        <p:nvSpPr>
          <p:cNvPr id="4" name="文本占位符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03DA3463-51ED-4E09-B4E0-6096900C97C1}" type="datetimeFigureOut">
              <a:rPr lang="zh-CN" altLang="en-US" smtClean="0"/>
              <a:t>2019/06/03</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FA74CA4-EAEF-40BC-A585-C24F4417E261}" type="slidenum">
              <a:rPr lang="zh-CN" altLang="en-US" smtClean="0"/>
              <a:t>‹#›</a:t>
            </a:fld>
            <a:endParaRPr lang="zh-CN" altLang="en-US"/>
          </a:p>
        </p:txBody>
      </p:sp>
    </p:spTree>
    <p:extLst>
      <p:ext uri="{BB962C8B-B14F-4D97-AF65-F5344CB8AC3E}">
        <p14:creationId xmlns:p14="http://schemas.microsoft.com/office/powerpoint/2010/main" val="41782721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03DA3463-51ED-4E09-B4E0-6096900C97C1}" type="datetimeFigureOut">
              <a:rPr lang="zh-CN" altLang="en-US" smtClean="0"/>
              <a:t>2019/06/03</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FA74CA4-EAEF-40BC-A585-C24F4417E261}" type="slidenum">
              <a:rPr lang="zh-CN" altLang="en-US" smtClean="0"/>
              <a:t>‹#›</a:t>
            </a:fld>
            <a:endParaRPr lang="zh-CN" altLang="en-US"/>
          </a:p>
        </p:txBody>
      </p:sp>
    </p:spTree>
    <p:extLst>
      <p:ext uri="{BB962C8B-B14F-4D97-AF65-F5344CB8AC3E}">
        <p14:creationId xmlns:p14="http://schemas.microsoft.com/office/powerpoint/2010/main" val="14180155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99852" y="372394"/>
            <a:ext cx="2681615" cy="5927537"/>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55008" y="372394"/>
            <a:ext cx="7889389" cy="5927537"/>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03DA3463-51ED-4E09-B4E0-6096900C97C1}" type="datetimeFigureOut">
              <a:rPr lang="zh-CN" altLang="en-US" smtClean="0"/>
              <a:t>2019/06/03</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FA74CA4-EAEF-40BC-A585-C24F4417E261}" type="slidenum">
              <a:rPr lang="zh-CN" altLang="en-US" smtClean="0"/>
              <a:t>‹#›</a:t>
            </a:fld>
            <a:endParaRPr lang="zh-CN" altLang="en-US"/>
          </a:p>
        </p:txBody>
      </p:sp>
    </p:spTree>
    <p:extLst>
      <p:ext uri="{BB962C8B-B14F-4D97-AF65-F5344CB8AC3E}">
        <p14:creationId xmlns:p14="http://schemas.microsoft.com/office/powerpoint/2010/main" val="34390875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2003" y="192738"/>
            <a:ext cx="10260092" cy="5769804"/>
          </a:xfrm>
          <a:prstGeom prst="rect">
            <a:avLst/>
          </a:prstGeom>
        </p:spPr>
      </p:pic>
    </p:spTree>
    <p:extLst>
      <p:ext uri="{BB962C8B-B14F-4D97-AF65-F5344CB8AC3E}">
        <p14:creationId xmlns:p14="http://schemas.microsoft.com/office/powerpoint/2010/main" val="8878600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437939" cy="6994525"/>
          </a:xfrm>
          <a:prstGeom prst="rect">
            <a:avLst/>
          </a:prstGeom>
        </p:spPr>
      </p:pic>
    </p:spTree>
    <p:extLst>
      <p:ext uri="{BB962C8B-B14F-4D97-AF65-F5344CB8AC3E}">
        <p14:creationId xmlns:p14="http://schemas.microsoft.com/office/powerpoint/2010/main" val="32531228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7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89933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437939" cy="6994525"/>
          </a:xfrm>
          <a:prstGeom prst="rect">
            <a:avLst/>
          </a:prstGeom>
        </p:spPr>
      </p:pic>
    </p:spTree>
    <p:extLst>
      <p:ext uri="{BB962C8B-B14F-4D97-AF65-F5344CB8AC3E}">
        <p14:creationId xmlns:p14="http://schemas.microsoft.com/office/powerpoint/2010/main" val="23956753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100583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7" name="Text Placeholder 2"/>
          <p:cNvSpPr>
            <a:spLocks noGrp="1"/>
          </p:cNvSpPr>
          <p:nvPr>
            <p:ph type="body" sz="quarter" idx="13" hasCustomPrompt="1"/>
          </p:nvPr>
        </p:nvSpPr>
        <p:spPr>
          <a:xfrm>
            <a:off x="8504239" y="307622"/>
            <a:ext cx="3656013" cy="578303"/>
          </a:xfrm>
        </p:spPr>
        <p:txBody>
          <a:bodyPr lIns="182880" tIns="146304" rIns="182880" bIns="146304"/>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Tree>
    <p:extLst>
      <p:ext uri="{BB962C8B-B14F-4D97-AF65-F5344CB8AC3E}">
        <p14:creationId xmlns:p14="http://schemas.microsoft.com/office/powerpoint/2010/main" val="2102912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100583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504239" y="307622"/>
            <a:ext cx="3656013" cy="578303"/>
          </a:xfrm>
        </p:spPr>
        <p:txBody>
          <a:bodyPr lIns="182880" tIns="146304" rIns="182880" bIns="146304"/>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
        <p:nvSpPr>
          <p:cNvPr id="8" name="Freeform 7"/>
          <p:cNvSpPr>
            <a:spLocks noChangeAspect="1" noEditPoints="1"/>
          </p:cNvSpPr>
          <p:nvPr userDrawn="1"/>
        </p:nvSpPr>
        <p:spPr bwMode="black">
          <a:xfrm>
            <a:off x="457200" y="490736"/>
            <a:ext cx="1239006" cy="310896"/>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4952459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60156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49016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34383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32510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05404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77023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45355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09464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solidFill>
                  <a:srgbClr val="005A4D"/>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solidFill>
                  <a:srgbClr val="005A4D"/>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285426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101436" y="2963863"/>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595996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4"/>
            <a:ext cx="9144000" cy="1181862"/>
          </a:xfrm>
          <a:noFill/>
        </p:spPr>
        <p:txBody>
          <a:bodyPr wrap="square" tIns="91440" bIns="91440" anchor="t" anchorCtr="0">
            <a:spAutoFit/>
          </a:bodyPr>
          <a:lstStyle>
            <a:lvl1pPr>
              <a:defRPr sz="7198" spc="-100"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9143999" cy="738664"/>
          </a:xfrm>
          <a:noFill/>
        </p:spPr>
        <p:txBody>
          <a:bodyPr wrap="square" lIns="182880" tIns="146304" rIns="182880" bIns="146304">
            <a:spAutoFit/>
          </a:bodyPr>
          <a:lstStyle>
            <a:lvl1pPr marL="0" indent="0">
              <a:spcBef>
                <a:spcPts val="0"/>
              </a:spcBef>
              <a:buNone/>
              <a:defRPr sz="3199"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37607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9143999"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6656349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982512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11502707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3952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2">
            <a:lumMod val="1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3273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343253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16740075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40714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620795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solidFill>
                  <a:srgbClr val="005A4D"/>
                </a:soli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207764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948142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marL="342900" indent="-342900">
              <a:buFont typeface="Wingdings" panose="05000000000000000000" pitchFamily="2" charset="2"/>
              <a:buChar char="§"/>
              <a:defRPr sz="3600">
                <a:solidFill>
                  <a:srgbClr val="005A4D"/>
                </a:solidFill>
              </a:defRPr>
            </a:lvl1pPr>
            <a:lvl2pPr marL="584200" indent="-241300">
              <a:buFont typeface="Wingdings" panose="05000000000000000000" pitchFamily="2" charset="2"/>
              <a:buChar char="§"/>
              <a:defRPr/>
            </a:lvl2pPr>
            <a:lvl3pPr marL="800100" indent="-228600">
              <a:buFont typeface="Wingdings" panose="05000000000000000000" pitchFamily="2" charset="2"/>
              <a:buChar char="§"/>
              <a:defRPr/>
            </a:lvl3pPr>
            <a:lvl4pPr marL="1028700" indent="-228600">
              <a:buFont typeface="Wingdings" panose="05000000000000000000" pitchFamily="2" charset="2"/>
              <a:buChar char="§"/>
              <a:defRPr/>
            </a:lvl4pPr>
            <a:lvl5pPr marL="1257300" indent="-228600">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164540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039172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5"/>
              </a:spcBef>
              <a:buClr>
                <a:schemeClr val="tx1"/>
              </a:buClr>
              <a:buFont typeface="Wingdings" panose="05000000000000000000" pitchFamily="2" charset="2"/>
              <a:buNone/>
              <a:defRPr sz="3600">
                <a:solidFill>
                  <a:srgbClr val="005A4D"/>
                </a:solidFill>
              </a:defRPr>
            </a:lvl1pPr>
            <a:lvl2pPr marL="0" indent="0">
              <a:buNone/>
              <a:defRPr sz="2000"/>
            </a:lvl2pPr>
            <a:lvl3pPr marL="231775" indent="0">
              <a:buNone/>
              <a:defRPr sz="2000"/>
            </a:lvl3pPr>
            <a:lvl4pPr marL="460375"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5"/>
              </a:spcBef>
              <a:buClr>
                <a:schemeClr val="tx1"/>
              </a:buClr>
              <a:buFont typeface="Wingdings" panose="05000000000000000000" pitchFamily="2" charset="2"/>
              <a:buNone/>
              <a:defRPr sz="3600">
                <a:solidFill>
                  <a:srgbClr val="005A4D"/>
                </a:solidFill>
              </a:defRPr>
            </a:lvl1pPr>
            <a:lvl2pPr marL="0" indent="0">
              <a:buNone/>
              <a:defRPr sz="2000"/>
            </a:lvl2pPr>
            <a:lvl3pPr marL="231775" indent="0">
              <a:buNone/>
              <a:defRPr sz="2000"/>
            </a:lvl3pPr>
            <a:lvl4pPr marL="460375"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016233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5"/>
              </a:spcBef>
              <a:buClr>
                <a:schemeClr val="tx1"/>
              </a:buClr>
              <a:buFont typeface="Wingdings" panose="05000000000000000000" pitchFamily="2" charset="2"/>
              <a:buNone/>
              <a:defRPr sz="3600"/>
            </a:lvl1pPr>
            <a:lvl2pPr marL="0" indent="0">
              <a:buNone/>
              <a:defRPr sz="2000"/>
            </a:lvl2pPr>
            <a:lvl3pPr marL="231775" indent="0">
              <a:buNone/>
              <a:defRPr sz="2000"/>
            </a:lvl3pPr>
            <a:lvl4pPr marL="460375"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5"/>
              </a:spcBef>
              <a:buClr>
                <a:schemeClr val="tx1"/>
              </a:buClr>
              <a:buFont typeface="Wingdings" panose="05000000000000000000" pitchFamily="2" charset="2"/>
              <a:buNone/>
              <a:defRPr sz="3600"/>
            </a:lvl1pPr>
            <a:lvl2pPr marL="0" indent="0">
              <a:buNone/>
              <a:defRPr sz="2000"/>
            </a:lvl2pPr>
            <a:lvl3pPr marL="231775" indent="0">
              <a:buNone/>
              <a:defRPr sz="2000"/>
            </a:lvl3pPr>
            <a:lvl4pPr marL="460375"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602867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655" indent="-287655">
              <a:spcBef>
                <a:spcPts val="1225"/>
              </a:spcBef>
              <a:buClr>
                <a:schemeClr val="tx2"/>
              </a:buClr>
              <a:buFont typeface="Arial" panose="020B0604020202020204" pitchFamily="34" charset="0"/>
              <a:buChar char="•"/>
              <a:defRPr sz="3200">
                <a:solidFill>
                  <a:srgbClr val="005A4D"/>
                </a:solidFill>
              </a:defRPr>
            </a:lvl1pPr>
            <a:lvl2pPr marL="530860" indent="-233045">
              <a:defRPr sz="2400"/>
            </a:lvl2pPr>
            <a:lvl3pPr marL="699770" indent="-168275">
              <a:defRPr sz="2000"/>
            </a:lvl3pPr>
            <a:lvl4pPr marL="880745" indent="-181610">
              <a:defRPr/>
            </a:lvl4pPr>
            <a:lvl5pPr marL="1049655" indent="-168275">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655" indent="-287655">
              <a:spcBef>
                <a:spcPts val="1225"/>
              </a:spcBef>
              <a:buClr>
                <a:schemeClr val="tx2"/>
              </a:buClr>
              <a:buFont typeface="Arial" panose="020B0604020202020204" pitchFamily="34" charset="0"/>
              <a:buChar char="•"/>
              <a:defRPr sz="3200">
                <a:solidFill>
                  <a:srgbClr val="005A4D"/>
                </a:solidFill>
              </a:defRPr>
            </a:lvl1pPr>
            <a:lvl2pPr marL="530860" indent="-233045">
              <a:defRPr sz="2400"/>
            </a:lvl2pPr>
            <a:lvl3pPr marL="699770" indent="-168275">
              <a:defRPr sz="2000"/>
            </a:lvl3pPr>
            <a:lvl4pPr marL="880745" indent="-181610">
              <a:defRPr/>
            </a:lvl4pPr>
            <a:lvl5pPr marL="1049655" indent="-168275">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262931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655" indent="-287655">
              <a:spcBef>
                <a:spcPts val="1225"/>
              </a:spcBef>
              <a:buClr>
                <a:schemeClr val="tx1"/>
              </a:buClr>
              <a:buFont typeface="Arial" panose="020B0604020202020204" pitchFamily="34" charset="0"/>
              <a:buChar char="•"/>
              <a:defRPr sz="3200"/>
            </a:lvl1pPr>
            <a:lvl2pPr marL="530860" indent="-233045">
              <a:defRPr sz="2400"/>
            </a:lvl2pPr>
            <a:lvl3pPr marL="699770" indent="-168275">
              <a:defRPr sz="2000"/>
            </a:lvl3pPr>
            <a:lvl4pPr marL="880745" indent="-181610">
              <a:defRPr/>
            </a:lvl4pPr>
            <a:lvl5pPr marL="1049655" indent="-168275">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655" indent="-287655">
              <a:spcBef>
                <a:spcPts val="1225"/>
              </a:spcBef>
              <a:buClr>
                <a:schemeClr val="tx1"/>
              </a:buClr>
              <a:buFont typeface="Arial" panose="020B0604020202020204" pitchFamily="34" charset="0"/>
              <a:buChar char="•"/>
              <a:defRPr sz="3200"/>
            </a:lvl1pPr>
            <a:lvl2pPr marL="530860" indent="-233045">
              <a:defRPr sz="2400"/>
            </a:lvl2pPr>
            <a:lvl3pPr marL="699770" indent="-168275">
              <a:defRPr sz="2000"/>
            </a:lvl3pPr>
            <a:lvl4pPr marL="880745" indent="-181610">
              <a:defRPr/>
            </a:lvl4pPr>
            <a:lvl5pPr marL="1049655" indent="-168275">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639894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solidFill>
                  <a:srgbClr val="005A4D"/>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solidFill>
                  <a:srgbClr val="005A4D"/>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164919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2174432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77"/>
            <a:ext cx="10056812" cy="1181862"/>
          </a:xfrm>
        </p:spPr>
        <p:txBody>
          <a:bodyPr/>
          <a:lstStyle>
            <a:lvl1pPr>
              <a:defRPr sz="7200"/>
            </a:lvl1pPr>
          </a:lstStyle>
          <a:p>
            <a:endParaRPr lang="en-US"/>
          </a:p>
        </p:txBody>
      </p:sp>
      <p:sp>
        <p:nvSpPr>
          <p:cNvPr id="3" name="Text Placeholder 5"/>
          <p:cNvSpPr>
            <a:spLocks noGrp="1"/>
          </p:cNvSpPr>
          <p:nvPr>
            <p:ph type="body" sz="quarter" idx="12" hasCustomPrompt="1"/>
          </p:nvPr>
        </p:nvSpPr>
        <p:spPr>
          <a:xfrm>
            <a:off x="274638" y="4373267"/>
            <a:ext cx="10058401" cy="738664"/>
          </a:xfrm>
        </p:spPr>
        <p:txBody>
          <a:bodyPr/>
          <a:lstStyle>
            <a:lvl1pPr marL="0" indent="0">
              <a:buNone/>
              <a:defRPr/>
            </a:lvl1pPr>
          </a:lstStyle>
          <a:p>
            <a:r>
              <a:rPr lang="en-US"/>
              <a:t>Onstage </a:t>
            </a:r>
            <a:r>
              <a:rPr lang="en-US" err="1"/>
              <a:t>Demoer</a:t>
            </a:r>
            <a:r>
              <a:rPr lang="en-US"/>
              <a:t>: XX</a:t>
            </a:r>
          </a:p>
        </p:txBody>
      </p:sp>
    </p:spTree>
    <p:extLst>
      <p:ext uri="{BB962C8B-B14F-4D97-AF65-F5344CB8AC3E}">
        <p14:creationId xmlns:p14="http://schemas.microsoft.com/office/powerpoint/2010/main" val="8726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02244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Empty Template color 4">
    <p:bg>
      <p:bgPr>
        <a:solidFill>
          <a:srgbClr val="005A4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379056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p:bg bwMode="blackWhite">
      <p:bgRef idx="1001">
        <a:schemeClr val="bg2"/>
      </p:bgRef>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0" name="Picture 79"/>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black">
          <a:xfrm>
            <a:off x="457200" y="479425"/>
            <a:ext cx="1449939" cy="306604"/>
          </a:xfrm>
          <a:prstGeom prst="rect">
            <a:avLst/>
          </a:prstGeom>
        </p:spPr>
      </p:pic>
      <p:grpSp>
        <p:nvGrpSpPr>
          <p:cNvPr id="2" name="Group 1"/>
          <p:cNvGrpSpPr/>
          <p:nvPr userDrawn="1"/>
        </p:nvGrpSpPr>
        <p:grpSpPr bwMode="black">
          <a:xfrm>
            <a:off x="394445" y="1211288"/>
            <a:ext cx="3915640" cy="3177845"/>
            <a:chOff x="394443" y="1325247"/>
            <a:chExt cx="3629258" cy="2945424"/>
          </a:xfrm>
        </p:grpSpPr>
        <p:sp>
          <p:nvSpPr>
            <p:cNvPr id="82" name="Freeform 5"/>
            <p:cNvSpPr>
              <a:spLocks/>
            </p:cNvSpPr>
            <p:nvPr userDrawn="1"/>
          </p:nvSpPr>
          <p:spPr bwMode="black">
            <a:xfrm>
              <a:off x="452957" y="1363316"/>
              <a:ext cx="525213" cy="523803"/>
            </a:xfrm>
            <a:custGeom>
              <a:avLst/>
              <a:gdLst>
                <a:gd name="T0" fmla="*/ 315 w 315"/>
                <a:gd name="T1" fmla="*/ 314 h 314"/>
                <a:gd name="T2" fmla="*/ 279 w 315"/>
                <a:gd name="T3" fmla="*/ 314 h 314"/>
                <a:gd name="T4" fmla="*/ 279 w 315"/>
                <a:gd name="T5" fmla="*/ 103 h 314"/>
                <a:gd name="T6" fmla="*/ 282 w 315"/>
                <a:gd name="T7" fmla="*/ 42 h 314"/>
                <a:gd name="T8" fmla="*/ 281 w 315"/>
                <a:gd name="T9" fmla="*/ 42 h 314"/>
                <a:gd name="T10" fmla="*/ 272 w 315"/>
                <a:gd name="T11" fmla="*/ 72 h 314"/>
                <a:gd name="T12" fmla="*/ 166 w 315"/>
                <a:gd name="T13" fmla="*/ 314 h 314"/>
                <a:gd name="T14" fmla="*/ 149 w 315"/>
                <a:gd name="T15" fmla="*/ 314 h 314"/>
                <a:gd name="T16" fmla="*/ 43 w 315"/>
                <a:gd name="T17" fmla="*/ 74 h 314"/>
                <a:gd name="T18" fmla="*/ 34 w 315"/>
                <a:gd name="T19" fmla="*/ 42 h 314"/>
                <a:gd name="T20" fmla="*/ 33 w 315"/>
                <a:gd name="T21" fmla="*/ 42 h 314"/>
                <a:gd name="T22" fmla="*/ 35 w 315"/>
                <a:gd name="T23" fmla="*/ 103 h 314"/>
                <a:gd name="T24" fmla="*/ 35 w 315"/>
                <a:gd name="T25" fmla="*/ 314 h 314"/>
                <a:gd name="T26" fmla="*/ 0 w 315"/>
                <a:gd name="T27" fmla="*/ 314 h 314"/>
                <a:gd name="T28" fmla="*/ 0 w 315"/>
                <a:gd name="T29" fmla="*/ 0 h 314"/>
                <a:gd name="T30" fmla="*/ 48 w 315"/>
                <a:gd name="T31" fmla="*/ 0 h 314"/>
                <a:gd name="T32" fmla="*/ 142 w 315"/>
                <a:gd name="T33" fmla="*/ 219 h 314"/>
                <a:gd name="T34" fmla="*/ 156 w 315"/>
                <a:gd name="T35" fmla="*/ 256 h 314"/>
                <a:gd name="T36" fmla="*/ 158 w 315"/>
                <a:gd name="T37" fmla="*/ 256 h 314"/>
                <a:gd name="T38" fmla="*/ 173 w 315"/>
                <a:gd name="T39" fmla="*/ 218 h 314"/>
                <a:gd name="T40" fmla="*/ 270 w 315"/>
                <a:gd name="T41" fmla="*/ 0 h 314"/>
                <a:gd name="T42" fmla="*/ 315 w 315"/>
                <a:gd name="T43" fmla="*/ 0 h 314"/>
                <a:gd name="T44" fmla="*/ 315 w 315"/>
                <a:gd name="T4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314">
                  <a:moveTo>
                    <a:pt x="315" y="314"/>
                  </a:moveTo>
                  <a:cubicBezTo>
                    <a:pt x="279" y="314"/>
                    <a:pt x="279" y="314"/>
                    <a:pt x="279" y="314"/>
                  </a:cubicBezTo>
                  <a:cubicBezTo>
                    <a:pt x="279" y="103"/>
                    <a:pt x="279" y="103"/>
                    <a:pt x="279" y="103"/>
                  </a:cubicBezTo>
                  <a:cubicBezTo>
                    <a:pt x="279" y="86"/>
                    <a:pt x="280" y="66"/>
                    <a:pt x="282" y="42"/>
                  </a:cubicBezTo>
                  <a:cubicBezTo>
                    <a:pt x="281" y="42"/>
                    <a:pt x="281" y="42"/>
                    <a:pt x="281" y="42"/>
                  </a:cubicBezTo>
                  <a:cubicBezTo>
                    <a:pt x="277" y="56"/>
                    <a:pt x="274" y="66"/>
                    <a:pt x="272" y="72"/>
                  </a:cubicBezTo>
                  <a:cubicBezTo>
                    <a:pt x="166" y="314"/>
                    <a:pt x="166" y="314"/>
                    <a:pt x="166" y="314"/>
                  </a:cubicBezTo>
                  <a:cubicBezTo>
                    <a:pt x="149" y="314"/>
                    <a:pt x="149" y="314"/>
                    <a:pt x="149" y="314"/>
                  </a:cubicBezTo>
                  <a:cubicBezTo>
                    <a:pt x="43" y="74"/>
                    <a:pt x="43" y="74"/>
                    <a:pt x="43" y="74"/>
                  </a:cubicBezTo>
                  <a:cubicBezTo>
                    <a:pt x="40" y="68"/>
                    <a:pt x="37" y="57"/>
                    <a:pt x="34" y="42"/>
                  </a:cubicBezTo>
                  <a:cubicBezTo>
                    <a:pt x="33" y="42"/>
                    <a:pt x="33" y="42"/>
                    <a:pt x="33" y="42"/>
                  </a:cubicBezTo>
                  <a:cubicBezTo>
                    <a:pt x="34" y="54"/>
                    <a:pt x="35" y="75"/>
                    <a:pt x="35" y="103"/>
                  </a:cubicBezTo>
                  <a:cubicBezTo>
                    <a:pt x="35" y="314"/>
                    <a:pt x="35" y="314"/>
                    <a:pt x="35" y="314"/>
                  </a:cubicBezTo>
                  <a:cubicBezTo>
                    <a:pt x="0" y="314"/>
                    <a:pt x="0" y="314"/>
                    <a:pt x="0" y="314"/>
                  </a:cubicBezTo>
                  <a:cubicBezTo>
                    <a:pt x="0" y="0"/>
                    <a:pt x="0" y="0"/>
                    <a:pt x="0" y="0"/>
                  </a:cubicBezTo>
                  <a:cubicBezTo>
                    <a:pt x="48" y="0"/>
                    <a:pt x="48" y="0"/>
                    <a:pt x="48" y="0"/>
                  </a:cubicBezTo>
                  <a:cubicBezTo>
                    <a:pt x="142" y="219"/>
                    <a:pt x="142" y="219"/>
                    <a:pt x="142" y="219"/>
                  </a:cubicBezTo>
                  <a:cubicBezTo>
                    <a:pt x="150" y="235"/>
                    <a:pt x="154" y="248"/>
                    <a:pt x="156" y="256"/>
                  </a:cubicBezTo>
                  <a:cubicBezTo>
                    <a:pt x="158" y="256"/>
                    <a:pt x="158" y="256"/>
                    <a:pt x="158" y="256"/>
                  </a:cubicBezTo>
                  <a:cubicBezTo>
                    <a:pt x="165" y="236"/>
                    <a:pt x="170" y="223"/>
                    <a:pt x="173" y="218"/>
                  </a:cubicBezTo>
                  <a:cubicBezTo>
                    <a:pt x="270" y="0"/>
                    <a:pt x="270" y="0"/>
                    <a:pt x="270" y="0"/>
                  </a:cubicBezTo>
                  <a:cubicBezTo>
                    <a:pt x="315" y="0"/>
                    <a:pt x="315" y="0"/>
                    <a:pt x="315" y="0"/>
                  </a:cubicBezTo>
                  <a:lnTo>
                    <a:pt x="315" y="3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Freeform 6"/>
            <p:cNvSpPr>
              <a:spLocks noEditPoints="1"/>
            </p:cNvSpPr>
            <p:nvPr userDrawn="1"/>
          </p:nvSpPr>
          <p:spPr bwMode="black">
            <a:xfrm>
              <a:off x="1096607" y="1340052"/>
              <a:ext cx="78253" cy="547068"/>
            </a:xfrm>
            <a:custGeom>
              <a:avLst/>
              <a:gdLst>
                <a:gd name="T0" fmla="*/ 47 w 47"/>
                <a:gd name="T1" fmla="*/ 23 h 328"/>
                <a:gd name="T2" fmla="*/ 40 w 47"/>
                <a:gd name="T3" fmla="*/ 40 h 328"/>
                <a:gd name="T4" fmla="*/ 23 w 47"/>
                <a:gd name="T5" fmla="*/ 46 h 328"/>
                <a:gd name="T6" fmla="*/ 7 w 47"/>
                <a:gd name="T7" fmla="*/ 40 h 328"/>
                <a:gd name="T8" fmla="*/ 0 w 47"/>
                <a:gd name="T9" fmla="*/ 23 h 328"/>
                <a:gd name="T10" fmla="*/ 7 w 47"/>
                <a:gd name="T11" fmla="*/ 7 h 328"/>
                <a:gd name="T12" fmla="*/ 23 w 47"/>
                <a:gd name="T13" fmla="*/ 0 h 328"/>
                <a:gd name="T14" fmla="*/ 40 w 47"/>
                <a:gd name="T15" fmla="*/ 7 h 328"/>
                <a:gd name="T16" fmla="*/ 47 w 47"/>
                <a:gd name="T17" fmla="*/ 23 h 328"/>
                <a:gd name="T18" fmla="*/ 41 w 47"/>
                <a:gd name="T19" fmla="*/ 328 h 328"/>
                <a:gd name="T20" fmla="*/ 5 w 47"/>
                <a:gd name="T21" fmla="*/ 328 h 328"/>
                <a:gd name="T22" fmla="*/ 5 w 47"/>
                <a:gd name="T23" fmla="*/ 103 h 328"/>
                <a:gd name="T24" fmla="*/ 41 w 47"/>
                <a:gd name="T25" fmla="*/ 103 h 328"/>
                <a:gd name="T26" fmla="*/ 41 w 47"/>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328">
                  <a:moveTo>
                    <a:pt x="47" y="23"/>
                  </a:moveTo>
                  <a:cubicBezTo>
                    <a:pt x="47" y="30"/>
                    <a:pt x="44" y="35"/>
                    <a:pt x="40" y="40"/>
                  </a:cubicBezTo>
                  <a:cubicBezTo>
                    <a:pt x="35" y="44"/>
                    <a:pt x="30" y="46"/>
                    <a:pt x="23" y="46"/>
                  </a:cubicBezTo>
                  <a:cubicBezTo>
                    <a:pt x="17" y="46"/>
                    <a:pt x="11" y="44"/>
                    <a:pt x="7" y="40"/>
                  </a:cubicBezTo>
                  <a:cubicBezTo>
                    <a:pt x="3" y="36"/>
                    <a:pt x="0" y="30"/>
                    <a:pt x="0" y="23"/>
                  </a:cubicBezTo>
                  <a:cubicBezTo>
                    <a:pt x="0" y="17"/>
                    <a:pt x="2" y="11"/>
                    <a:pt x="7" y="7"/>
                  </a:cubicBezTo>
                  <a:cubicBezTo>
                    <a:pt x="11" y="2"/>
                    <a:pt x="17" y="0"/>
                    <a:pt x="23" y="0"/>
                  </a:cubicBezTo>
                  <a:cubicBezTo>
                    <a:pt x="30" y="0"/>
                    <a:pt x="35" y="2"/>
                    <a:pt x="40" y="7"/>
                  </a:cubicBezTo>
                  <a:cubicBezTo>
                    <a:pt x="44" y="11"/>
                    <a:pt x="47" y="17"/>
                    <a:pt x="47" y="23"/>
                  </a:cubicBezTo>
                  <a:close/>
                  <a:moveTo>
                    <a:pt x="41" y="328"/>
                  </a:moveTo>
                  <a:cubicBezTo>
                    <a:pt x="5" y="328"/>
                    <a:pt x="5" y="328"/>
                    <a:pt x="5" y="328"/>
                  </a:cubicBezTo>
                  <a:cubicBezTo>
                    <a:pt x="5" y="103"/>
                    <a:pt x="5" y="103"/>
                    <a:pt x="5" y="103"/>
                  </a:cubicBezTo>
                  <a:cubicBezTo>
                    <a:pt x="41" y="103"/>
                    <a:pt x="41" y="103"/>
                    <a:pt x="41" y="103"/>
                  </a:cubicBezTo>
                  <a:lnTo>
                    <a:pt x="41" y="32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Freeform 7"/>
            <p:cNvSpPr>
              <a:spLocks/>
            </p:cNvSpPr>
            <p:nvPr userDrawn="1"/>
          </p:nvSpPr>
          <p:spPr bwMode="black">
            <a:xfrm>
              <a:off x="1255229" y="1503608"/>
              <a:ext cx="277059" cy="391266"/>
            </a:xfrm>
            <a:custGeom>
              <a:avLst/>
              <a:gdLst>
                <a:gd name="T0" fmla="*/ 166 w 166"/>
                <a:gd name="T1" fmla="*/ 219 h 235"/>
                <a:gd name="T2" fmla="*/ 105 w 166"/>
                <a:gd name="T3" fmla="*/ 235 h 235"/>
                <a:gd name="T4" fmla="*/ 51 w 166"/>
                <a:gd name="T5" fmla="*/ 221 h 235"/>
                <a:gd name="T6" fmla="*/ 14 w 166"/>
                <a:gd name="T7" fmla="*/ 181 h 235"/>
                <a:gd name="T8" fmla="*/ 0 w 166"/>
                <a:gd name="T9" fmla="*/ 123 h 235"/>
                <a:gd name="T10" fmla="*/ 32 w 166"/>
                <a:gd name="T11" fmla="*/ 34 h 235"/>
                <a:gd name="T12" fmla="*/ 115 w 166"/>
                <a:gd name="T13" fmla="*/ 0 h 235"/>
                <a:gd name="T14" fmla="*/ 166 w 166"/>
                <a:gd name="T15" fmla="*/ 11 h 235"/>
                <a:gd name="T16" fmla="*/ 166 w 166"/>
                <a:gd name="T17" fmla="*/ 48 h 235"/>
                <a:gd name="T18" fmla="*/ 114 w 166"/>
                <a:gd name="T19" fmla="*/ 31 h 235"/>
                <a:gd name="T20" fmla="*/ 58 w 166"/>
                <a:gd name="T21" fmla="*/ 55 h 235"/>
                <a:gd name="T22" fmla="*/ 37 w 166"/>
                <a:gd name="T23" fmla="*/ 120 h 235"/>
                <a:gd name="T24" fmla="*/ 57 w 166"/>
                <a:gd name="T25" fmla="*/ 182 h 235"/>
                <a:gd name="T26" fmla="*/ 111 w 166"/>
                <a:gd name="T27" fmla="*/ 204 h 235"/>
                <a:gd name="T28" fmla="*/ 166 w 166"/>
                <a:gd name="T29" fmla="*/ 185 h 235"/>
                <a:gd name="T30" fmla="*/ 166 w 166"/>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6" h="235">
                  <a:moveTo>
                    <a:pt x="166" y="219"/>
                  </a:moveTo>
                  <a:cubicBezTo>
                    <a:pt x="149" y="230"/>
                    <a:pt x="129" y="235"/>
                    <a:pt x="105" y="235"/>
                  </a:cubicBezTo>
                  <a:cubicBezTo>
                    <a:pt x="85" y="235"/>
                    <a:pt x="67" y="230"/>
                    <a:pt x="51" y="221"/>
                  </a:cubicBezTo>
                  <a:cubicBezTo>
                    <a:pt x="35" y="212"/>
                    <a:pt x="23" y="198"/>
                    <a:pt x="14" y="181"/>
                  </a:cubicBezTo>
                  <a:cubicBezTo>
                    <a:pt x="5" y="164"/>
                    <a:pt x="0" y="144"/>
                    <a:pt x="0" y="123"/>
                  </a:cubicBezTo>
                  <a:cubicBezTo>
                    <a:pt x="0" y="86"/>
                    <a:pt x="11" y="56"/>
                    <a:pt x="32" y="34"/>
                  </a:cubicBezTo>
                  <a:cubicBezTo>
                    <a:pt x="53" y="11"/>
                    <a:pt x="80" y="0"/>
                    <a:pt x="115" y="0"/>
                  </a:cubicBezTo>
                  <a:cubicBezTo>
                    <a:pt x="134" y="0"/>
                    <a:pt x="151" y="4"/>
                    <a:pt x="166" y="11"/>
                  </a:cubicBezTo>
                  <a:cubicBezTo>
                    <a:pt x="166" y="48"/>
                    <a:pt x="166" y="48"/>
                    <a:pt x="166" y="48"/>
                  </a:cubicBezTo>
                  <a:cubicBezTo>
                    <a:pt x="150" y="36"/>
                    <a:pt x="132" y="31"/>
                    <a:pt x="114" y="31"/>
                  </a:cubicBezTo>
                  <a:cubicBezTo>
                    <a:pt x="91" y="31"/>
                    <a:pt x="72" y="39"/>
                    <a:pt x="58" y="55"/>
                  </a:cubicBezTo>
                  <a:cubicBezTo>
                    <a:pt x="44" y="72"/>
                    <a:pt x="37" y="93"/>
                    <a:pt x="37" y="120"/>
                  </a:cubicBezTo>
                  <a:cubicBezTo>
                    <a:pt x="37" y="146"/>
                    <a:pt x="43" y="166"/>
                    <a:pt x="57" y="182"/>
                  </a:cubicBezTo>
                  <a:cubicBezTo>
                    <a:pt x="70" y="197"/>
                    <a:pt x="89" y="204"/>
                    <a:pt x="111" y="204"/>
                  </a:cubicBezTo>
                  <a:cubicBezTo>
                    <a:pt x="131" y="204"/>
                    <a:pt x="149" y="198"/>
                    <a:pt x="166" y="185"/>
                  </a:cubicBezTo>
                  <a:lnTo>
                    <a:pt x="166" y="2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Freeform 8"/>
            <p:cNvSpPr>
              <a:spLocks/>
            </p:cNvSpPr>
            <p:nvPr userDrawn="1"/>
          </p:nvSpPr>
          <p:spPr bwMode="black">
            <a:xfrm>
              <a:off x="1620410" y="1505018"/>
              <a:ext cx="191756" cy="382101"/>
            </a:xfrm>
            <a:custGeom>
              <a:avLst/>
              <a:gdLst>
                <a:gd name="T0" fmla="*/ 115 w 115"/>
                <a:gd name="T1" fmla="*/ 41 h 229"/>
                <a:gd name="T2" fmla="*/ 88 w 115"/>
                <a:gd name="T3" fmla="*/ 33 h 229"/>
                <a:gd name="T4" fmla="*/ 50 w 115"/>
                <a:gd name="T5" fmla="*/ 56 h 229"/>
                <a:gd name="T6" fmla="*/ 36 w 115"/>
                <a:gd name="T7" fmla="*/ 114 h 229"/>
                <a:gd name="T8" fmla="*/ 36 w 115"/>
                <a:gd name="T9" fmla="*/ 229 h 229"/>
                <a:gd name="T10" fmla="*/ 0 w 115"/>
                <a:gd name="T11" fmla="*/ 229 h 229"/>
                <a:gd name="T12" fmla="*/ 0 w 115"/>
                <a:gd name="T13" fmla="*/ 4 h 229"/>
                <a:gd name="T14" fmla="*/ 36 w 115"/>
                <a:gd name="T15" fmla="*/ 4 h 229"/>
                <a:gd name="T16" fmla="*/ 36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9" y="36"/>
                    <a:pt x="100" y="33"/>
                    <a:pt x="88" y="33"/>
                  </a:cubicBezTo>
                  <a:cubicBezTo>
                    <a:pt x="73" y="33"/>
                    <a:pt x="60" y="41"/>
                    <a:pt x="50" y="56"/>
                  </a:cubicBezTo>
                  <a:cubicBezTo>
                    <a:pt x="40"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6" y="51"/>
                    <a:pt x="36" y="51"/>
                    <a:pt x="36" y="51"/>
                  </a:cubicBezTo>
                  <a:cubicBezTo>
                    <a:pt x="41" y="35"/>
                    <a:pt x="49" y="23"/>
                    <a:pt x="59" y="14"/>
                  </a:cubicBezTo>
                  <a:cubicBezTo>
                    <a:pt x="69" y="5"/>
                    <a:pt x="81" y="0"/>
                    <a:pt x="94" y="0"/>
                  </a:cubicBezTo>
                  <a:cubicBezTo>
                    <a:pt x="103" y="0"/>
                    <a:pt x="110" y="1"/>
                    <a:pt x="115" y="3"/>
                  </a:cubicBezTo>
                  <a:lnTo>
                    <a:pt x="115" y="4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Freeform 9"/>
            <p:cNvSpPr>
              <a:spLocks noEditPoints="1"/>
            </p:cNvSpPr>
            <p:nvPr userDrawn="1"/>
          </p:nvSpPr>
          <p:spPr bwMode="black">
            <a:xfrm>
              <a:off x="1838955" y="1503608"/>
              <a:ext cx="361657" cy="391266"/>
            </a:xfrm>
            <a:custGeom>
              <a:avLst/>
              <a:gdLst>
                <a:gd name="T0" fmla="*/ 217 w 217"/>
                <a:gd name="T1" fmla="*/ 117 h 235"/>
                <a:gd name="T2" fmla="*/ 188 w 217"/>
                <a:gd name="T3" fmla="*/ 203 h 235"/>
                <a:gd name="T4" fmla="*/ 108 w 217"/>
                <a:gd name="T5" fmla="*/ 235 h 235"/>
                <a:gd name="T6" fmla="*/ 29 w 217"/>
                <a:gd name="T7" fmla="*/ 203 h 235"/>
                <a:gd name="T8" fmla="*/ 0 w 217"/>
                <a:gd name="T9" fmla="*/ 120 h 235"/>
                <a:gd name="T10" fmla="*/ 30 w 217"/>
                <a:gd name="T11" fmla="*/ 32 h 235"/>
                <a:gd name="T12" fmla="*/ 113 w 217"/>
                <a:gd name="T13" fmla="*/ 0 h 235"/>
                <a:gd name="T14" fmla="*/ 190 w 217"/>
                <a:gd name="T15" fmla="*/ 31 h 235"/>
                <a:gd name="T16" fmla="*/ 217 w 217"/>
                <a:gd name="T17" fmla="*/ 117 h 235"/>
                <a:gd name="T18" fmla="*/ 181 w 217"/>
                <a:gd name="T19" fmla="*/ 118 h 235"/>
                <a:gd name="T20" fmla="*/ 163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8" y="203"/>
                  </a:cubicBezTo>
                  <a:cubicBezTo>
                    <a:pt x="168" y="224"/>
                    <a:pt x="141" y="235"/>
                    <a:pt x="108" y="235"/>
                  </a:cubicBezTo>
                  <a:cubicBezTo>
                    <a:pt x="75" y="235"/>
                    <a:pt x="49" y="225"/>
                    <a:pt x="29" y="203"/>
                  </a:cubicBezTo>
                  <a:cubicBezTo>
                    <a:pt x="10" y="182"/>
                    <a:pt x="0" y="155"/>
                    <a:pt x="0" y="120"/>
                  </a:cubicBezTo>
                  <a:cubicBezTo>
                    <a:pt x="0" y="83"/>
                    <a:pt x="10" y="54"/>
                    <a:pt x="30" y="32"/>
                  </a:cubicBezTo>
                  <a:cubicBezTo>
                    <a:pt x="50" y="11"/>
                    <a:pt x="78" y="0"/>
                    <a:pt x="113" y="0"/>
                  </a:cubicBezTo>
                  <a:cubicBezTo>
                    <a:pt x="145" y="0"/>
                    <a:pt x="171" y="10"/>
                    <a:pt x="190" y="31"/>
                  </a:cubicBezTo>
                  <a:cubicBezTo>
                    <a:pt x="208" y="52"/>
                    <a:pt x="217" y="80"/>
                    <a:pt x="217" y="117"/>
                  </a:cubicBezTo>
                  <a:close/>
                  <a:moveTo>
                    <a:pt x="181" y="118"/>
                  </a:moveTo>
                  <a:cubicBezTo>
                    <a:pt x="181" y="90"/>
                    <a:pt x="175" y="68"/>
                    <a:pt x="163" y="53"/>
                  </a:cubicBezTo>
                  <a:cubicBezTo>
                    <a:pt x="151" y="38"/>
                    <a:pt x="133" y="31"/>
                    <a:pt x="110" y="31"/>
                  </a:cubicBezTo>
                  <a:cubicBezTo>
                    <a:pt x="87" y="31"/>
                    <a:pt x="69" y="38"/>
                    <a:pt x="56" y="54"/>
                  </a:cubicBezTo>
                  <a:cubicBezTo>
                    <a:pt x="43" y="69"/>
                    <a:pt x="36" y="91"/>
                    <a:pt x="36" y="119"/>
                  </a:cubicBezTo>
                  <a:cubicBezTo>
                    <a:pt x="36" y="146"/>
                    <a:pt x="43" y="167"/>
                    <a:pt x="56" y="182"/>
                  </a:cubicBezTo>
                  <a:cubicBezTo>
                    <a:pt x="70" y="197"/>
                    <a:pt x="88" y="204"/>
                    <a:pt x="110" y="204"/>
                  </a:cubicBezTo>
                  <a:cubicBezTo>
                    <a:pt x="133" y="204"/>
                    <a:pt x="151" y="197"/>
                    <a:pt x="163" y="182"/>
                  </a:cubicBezTo>
                  <a:cubicBezTo>
                    <a:pt x="175" y="167"/>
                    <a:pt x="181" y="146"/>
                    <a:pt x="181" y="1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Freeform 10"/>
            <p:cNvSpPr>
              <a:spLocks/>
            </p:cNvSpPr>
            <p:nvPr userDrawn="1"/>
          </p:nvSpPr>
          <p:spPr bwMode="black">
            <a:xfrm>
              <a:off x="2267586" y="1503608"/>
              <a:ext cx="227005" cy="391266"/>
            </a:xfrm>
            <a:custGeom>
              <a:avLst/>
              <a:gdLst>
                <a:gd name="T0" fmla="*/ 136 w 136"/>
                <a:gd name="T1" fmla="*/ 170 h 235"/>
                <a:gd name="T2" fmla="*/ 113 w 136"/>
                <a:gd name="T3" fmla="*/ 217 h 235"/>
                <a:gd name="T4" fmla="*/ 55 w 136"/>
                <a:gd name="T5" fmla="*/ 235 h 235"/>
                <a:gd name="T6" fmla="*/ 0 w 136"/>
                <a:gd name="T7" fmla="*/ 222 h 235"/>
                <a:gd name="T8" fmla="*/ 0 w 136"/>
                <a:gd name="T9" fmla="*/ 183 h 235"/>
                <a:gd name="T10" fmla="*/ 57 w 136"/>
                <a:gd name="T11" fmla="*/ 204 h 235"/>
                <a:gd name="T12" fmla="*/ 99 w 136"/>
                <a:gd name="T13" fmla="*/ 173 h 235"/>
                <a:gd name="T14" fmla="*/ 91 w 136"/>
                <a:gd name="T15" fmla="*/ 152 h 235"/>
                <a:gd name="T16" fmla="*/ 54 w 136"/>
                <a:gd name="T17" fmla="*/ 131 h 235"/>
                <a:gd name="T18" fmla="*/ 13 w 136"/>
                <a:gd name="T19" fmla="*/ 104 h 235"/>
                <a:gd name="T20" fmla="*/ 0 w 136"/>
                <a:gd name="T21" fmla="*/ 65 h 235"/>
                <a:gd name="T22" fmla="*/ 22 w 136"/>
                <a:gd name="T23" fmla="*/ 18 h 235"/>
                <a:gd name="T24" fmla="*/ 78 w 136"/>
                <a:gd name="T25" fmla="*/ 0 h 235"/>
                <a:gd name="T26" fmla="*/ 125 w 136"/>
                <a:gd name="T27" fmla="*/ 10 h 235"/>
                <a:gd name="T28" fmla="*/ 125 w 136"/>
                <a:gd name="T29" fmla="*/ 47 h 235"/>
                <a:gd name="T30" fmla="*/ 75 w 136"/>
                <a:gd name="T31" fmla="*/ 31 h 235"/>
                <a:gd name="T32" fmla="*/ 47 w 136"/>
                <a:gd name="T33" fmla="*/ 39 h 235"/>
                <a:gd name="T34" fmla="*/ 37 w 136"/>
                <a:gd name="T35" fmla="*/ 62 h 235"/>
                <a:gd name="T36" fmla="*/ 45 w 136"/>
                <a:gd name="T37" fmla="*/ 85 h 235"/>
                <a:gd name="T38" fmla="*/ 79 w 136"/>
                <a:gd name="T39" fmla="*/ 104 h 235"/>
                <a:gd name="T40" fmla="*/ 123 w 136"/>
                <a:gd name="T41" fmla="*/ 132 h 235"/>
                <a:gd name="T42" fmla="*/ 136 w 136"/>
                <a:gd name="T43" fmla="*/ 1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235">
                  <a:moveTo>
                    <a:pt x="136" y="170"/>
                  </a:moveTo>
                  <a:cubicBezTo>
                    <a:pt x="136" y="189"/>
                    <a:pt x="128" y="205"/>
                    <a:pt x="113" y="217"/>
                  </a:cubicBezTo>
                  <a:cubicBezTo>
                    <a:pt x="99" y="229"/>
                    <a:pt x="79" y="235"/>
                    <a:pt x="55" y="235"/>
                  </a:cubicBezTo>
                  <a:cubicBezTo>
                    <a:pt x="34" y="235"/>
                    <a:pt x="16" y="231"/>
                    <a:pt x="0" y="222"/>
                  </a:cubicBezTo>
                  <a:cubicBezTo>
                    <a:pt x="0" y="183"/>
                    <a:pt x="0" y="183"/>
                    <a:pt x="0" y="183"/>
                  </a:cubicBezTo>
                  <a:cubicBezTo>
                    <a:pt x="17" y="197"/>
                    <a:pt x="37" y="204"/>
                    <a:pt x="57" y="204"/>
                  </a:cubicBezTo>
                  <a:cubicBezTo>
                    <a:pt x="85" y="204"/>
                    <a:pt x="99" y="194"/>
                    <a:pt x="99" y="173"/>
                  </a:cubicBezTo>
                  <a:cubicBezTo>
                    <a:pt x="99" y="165"/>
                    <a:pt x="97" y="158"/>
                    <a:pt x="91" y="152"/>
                  </a:cubicBezTo>
                  <a:cubicBezTo>
                    <a:pt x="86" y="147"/>
                    <a:pt x="73" y="140"/>
                    <a:pt x="54" y="131"/>
                  </a:cubicBezTo>
                  <a:cubicBezTo>
                    <a:pt x="34" y="122"/>
                    <a:pt x="21" y="113"/>
                    <a:pt x="13" y="104"/>
                  </a:cubicBezTo>
                  <a:cubicBezTo>
                    <a:pt x="5" y="94"/>
                    <a:pt x="0" y="81"/>
                    <a:pt x="0" y="65"/>
                  </a:cubicBezTo>
                  <a:cubicBezTo>
                    <a:pt x="0" y="46"/>
                    <a:pt x="8" y="31"/>
                    <a:pt x="22" y="18"/>
                  </a:cubicBezTo>
                  <a:cubicBezTo>
                    <a:pt x="37" y="6"/>
                    <a:pt x="56" y="0"/>
                    <a:pt x="78" y="0"/>
                  </a:cubicBezTo>
                  <a:cubicBezTo>
                    <a:pt x="96" y="0"/>
                    <a:pt x="111" y="3"/>
                    <a:pt x="125" y="10"/>
                  </a:cubicBezTo>
                  <a:cubicBezTo>
                    <a:pt x="125" y="47"/>
                    <a:pt x="125" y="47"/>
                    <a:pt x="125" y="47"/>
                  </a:cubicBezTo>
                  <a:cubicBezTo>
                    <a:pt x="111" y="36"/>
                    <a:pt x="94" y="31"/>
                    <a:pt x="75" y="31"/>
                  </a:cubicBezTo>
                  <a:cubicBezTo>
                    <a:pt x="64" y="31"/>
                    <a:pt x="54" y="33"/>
                    <a:pt x="47" y="39"/>
                  </a:cubicBezTo>
                  <a:cubicBezTo>
                    <a:pt x="40" y="45"/>
                    <a:pt x="37" y="53"/>
                    <a:pt x="37" y="62"/>
                  </a:cubicBezTo>
                  <a:cubicBezTo>
                    <a:pt x="37" y="72"/>
                    <a:pt x="39" y="79"/>
                    <a:pt x="45" y="85"/>
                  </a:cubicBezTo>
                  <a:cubicBezTo>
                    <a:pt x="50" y="90"/>
                    <a:pt x="62" y="96"/>
                    <a:pt x="79" y="104"/>
                  </a:cubicBezTo>
                  <a:cubicBezTo>
                    <a:pt x="100" y="113"/>
                    <a:pt x="114" y="122"/>
                    <a:pt x="123" y="132"/>
                  </a:cubicBezTo>
                  <a:cubicBezTo>
                    <a:pt x="131" y="142"/>
                    <a:pt x="136" y="155"/>
                    <a:pt x="136" y="17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Freeform 11"/>
            <p:cNvSpPr>
              <a:spLocks noEditPoints="1"/>
            </p:cNvSpPr>
            <p:nvPr userDrawn="1"/>
          </p:nvSpPr>
          <p:spPr bwMode="black">
            <a:xfrm>
              <a:off x="2550989" y="1503608"/>
              <a:ext cx="363772" cy="391266"/>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7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7"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Freeform 12"/>
            <p:cNvSpPr>
              <a:spLocks/>
            </p:cNvSpPr>
            <p:nvPr userDrawn="1"/>
          </p:nvSpPr>
          <p:spPr bwMode="black">
            <a:xfrm>
              <a:off x="2951420" y="1325247"/>
              <a:ext cx="221365" cy="561872"/>
            </a:xfrm>
            <a:custGeom>
              <a:avLst/>
              <a:gdLst>
                <a:gd name="T0" fmla="*/ 133 w 133"/>
                <a:gd name="T1" fmla="*/ 36 h 337"/>
                <a:gd name="T2" fmla="*/ 110 w 133"/>
                <a:gd name="T3" fmla="*/ 30 h 337"/>
                <a:gd name="T4" fmla="*/ 73 w 133"/>
                <a:gd name="T5" fmla="*/ 78 h 337"/>
                <a:gd name="T6" fmla="*/ 73 w 133"/>
                <a:gd name="T7" fmla="*/ 112 h 337"/>
                <a:gd name="T8" fmla="*/ 125 w 133"/>
                <a:gd name="T9" fmla="*/ 112 h 337"/>
                <a:gd name="T10" fmla="*/ 125 w 133"/>
                <a:gd name="T11" fmla="*/ 143 h 337"/>
                <a:gd name="T12" fmla="*/ 73 w 133"/>
                <a:gd name="T13" fmla="*/ 143 h 337"/>
                <a:gd name="T14" fmla="*/ 73 w 133"/>
                <a:gd name="T15" fmla="*/ 337 h 337"/>
                <a:gd name="T16" fmla="*/ 38 w 133"/>
                <a:gd name="T17" fmla="*/ 337 h 337"/>
                <a:gd name="T18" fmla="*/ 38 w 133"/>
                <a:gd name="T19" fmla="*/ 143 h 337"/>
                <a:gd name="T20" fmla="*/ 0 w 133"/>
                <a:gd name="T21" fmla="*/ 143 h 337"/>
                <a:gd name="T22" fmla="*/ 0 w 133"/>
                <a:gd name="T23" fmla="*/ 112 h 337"/>
                <a:gd name="T24" fmla="*/ 38 w 133"/>
                <a:gd name="T25" fmla="*/ 112 h 337"/>
                <a:gd name="T26" fmla="*/ 38 w 133"/>
                <a:gd name="T27" fmla="*/ 76 h 337"/>
                <a:gd name="T28" fmla="*/ 57 w 133"/>
                <a:gd name="T29" fmla="*/ 21 h 337"/>
                <a:gd name="T30" fmla="*/ 108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7" y="32"/>
                    <a:pt x="119" y="30"/>
                    <a:pt x="110" y="30"/>
                  </a:cubicBezTo>
                  <a:cubicBezTo>
                    <a:pt x="85" y="30"/>
                    <a:pt x="73" y="46"/>
                    <a:pt x="73" y="78"/>
                  </a:cubicBezTo>
                  <a:cubicBezTo>
                    <a:pt x="73" y="112"/>
                    <a:pt x="73" y="112"/>
                    <a:pt x="73" y="112"/>
                  </a:cubicBezTo>
                  <a:cubicBezTo>
                    <a:pt x="125" y="112"/>
                    <a:pt x="125" y="112"/>
                    <a:pt x="125" y="112"/>
                  </a:cubicBezTo>
                  <a:cubicBezTo>
                    <a:pt x="125" y="143"/>
                    <a:pt x="125" y="143"/>
                    <a:pt x="125" y="143"/>
                  </a:cubicBezTo>
                  <a:cubicBezTo>
                    <a:pt x="73" y="143"/>
                    <a:pt x="73" y="143"/>
                    <a:pt x="73" y="143"/>
                  </a:cubicBezTo>
                  <a:cubicBezTo>
                    <a:pt x="73" y="337"/>
                    <a:pt x="73" y="337"/>
                    <a:pt x="73" y="337"/>
                  </a:cubicBezTo>
                  <a:cubicBezTo>
                    <a:pt x="38" y="337"/>
                    <a:pt x="38" y="337"/>
                    <a:pt x="38" y="337"/>
                  </a:cubicBezTo>
                  <a:cubicBezTo>
                    <a:pt x="38" y="143"/>
                    <a:pt x="38" y="143"/>
                    <a:pt x="38" y="143"/>
                  </a:cubicBezTo>
                  <a:cubicBezTo>
                    <a:pt x="0" y="143"/>
                    <a:pt x="0" y="143"/>
                    <a:pt x="0" y="143"/>
                  </a:cubicBezTo>
                  <a:cubicBezTo>
                    <a:pt x="0" y="112"/>
                    <a:pt x="0" y="112"/>
                    <a:pt x="0" y="112"/>
                  </a:cubicBezTo>
                  <a:cubicBezTo>
                    <a:pt x="38" y="112"/>
                    <a:pt x="38" y="112"/>
                    <a:pt x="38" y="112"/>
                  </a:cubicBezTo>
                  <a:cubicBezTo>
                    <a:pt x="38" y="76"/>
                    <a:pt x="38" y="76"/>
                    <a:pt x="38" y="76"/>
                  </a:cubicBezTo>
                  <a:cubicBezTo>
                    <a:pt x="38" y="53"/>
                    <a:pt x="44" y="35"/>
                    <a:pt x="57" y="21"/>
                  </a:cubicBezTo>
                  <a:cubicBezTo>
                    <a:pt x="71" y="7"/>
                    <a:pt x="87" y="0"/>
                    <a:pt x="108" y="0"/>
                  </a:cubicBezTo>
                  <a:cubicBezTo>
                    <a:pt x="119" y="0"/>
                    <a:pt x="127" y="1"/>
                    <a:pt x="133" y="4"/>
                  </a:cubicBezTo>
                  <a:lnTo>
                    <a:pt x="133" y="3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0" name="Freeform 13"/>
            <p:cNvSpPr>
              <a:spLocks/>
            </p:cNvSpPr>
            <p:nvPr userDrawn="1"/>
          </p:nvSpPr>
          <p:spPr bwMode="black">
            <a:xfrm>
              <a:off x="3191115" y="1401385"/>
              <a:ext cx="215020" cy="493489"/>
            </a:xfrm>
            <a:custGeom>
              <a:avLst/>
              <a:gdLst>
                <a:gd name="T0" fmla="*/ 129 w 129"/>
                <a:gd name="T1" fmla="*/ 288 h 296"/>
                <a:gd name="T2" fmla="*/ 96 w 129"/>
                <a:gd name="T3" fmla="*/ 296 h 296"/>
                <a:gd name="T4" fmla="*/ 38 w 129"/>
                <a:gd name="T5" fmla="*/ 230 h 296"/>
                <a:gd name="T6" fmla="*/ 38 w 129"/>
                <a:gd name="T7" fmla="*/ 97 h 296"/>
                <a:gd name="T8" fmla="*/ 0 w 129"/>
                <a:gd name="T9" fmla="*/ 97 h 296"/>
                <a:gd name="T10" fmla="*/ 0 w 129"/>
                <a:gd name="T11" fmla="*/ 66 h 296"/>
                <a:gd name="T12" fmla="*/ 38 w 129"/>
                <a:gd name="T13" fmla="*/ 66 h 296"/>
                <a:gd name="T14" fmla="*/ 38 w 129"/>
                <a:gd name="T15" fmla="*/ 12 h 296"/>
                <a:gd name="T16" fmla="*/ 73 w 129"/>
                <a:gd name="T17" fmla="*/ 0 h 296"/>
                <a:gd name="T18" fmla="*/ 73 w 129"/>
                <a:gd name="T19" fmla="*/ 66 h 296"/>
                <a:gd name="T20" fmla="*/ 129 w 129"/>
                <a:gd name="T21" fmla="*/ 66 h 296"/>
                <a:gd name="T22" fmla="*/ 129 w 129"/>
                <a:gd name="T23" fmla="*/ 97 h 296"/>
                <a:gd name="T24" fmla="*/ 73 w 129"/>
                <a:gd name="T25" fmla="*/ 97 h 296"/>
                <a:gd name="T26" fmla="*/ 73 w 129"/>
                <a:gd name="T27" fmla="*/ 223 h 296"/>
                <a:gd name="T28" fmla="*/ 81 w 129"/>
                <a:gd name="T29" fmla="*/ 255 h 296"/>
                <a:gd name="T30" fmla="*/ 106 w 129"/>
                <a:gd name="T31" fmla="*/ 265 h 296"/>
                <a:gd name="T32" fmla="*/ 129 w 129"/>
                <a:gd name="T33" fmla="*/ 258 h 296"/>
                <a:gd name="T34" fmla="*/ 129 w 129"/>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296">
                  <a:moveTo>
                    <a:pt x="129" y="288"/>
                  </a:moveTo>
                  <a:cubicBezTo>
                    <a:pt x="120" y="293"/>
                    <a:pt x="109" y="296"/>
                    <a:pt x="96" y="296"/>
                  </a:cubicBezTo>
                  <a:cubicBezTo>
                    <a:pt x="57" y="296"/>
                    <a:pt x="38" y="274"/>
                    <a:pt x="38" y="230"/>
                  </a:cubicBezTo>
                  <a:cubicBezTo>
                    <a:pt x="38" y="97"/>
                    <a:pt x="38" y="97"/>
                    <a:pt x="38" y="97"/>
                  </a:cubicBezTo>
                  <a:cubicBezTo>
                    <a:pt x="0" y="97"/>
                    <a:pt x="0" y="97"/>
                    <a:pt x="0" y="97"/>
                  </a:cubicBezTo>
                  <a:cubicBezTo>
                    <a:pt x="0" y="66"/>
                    <a:pt x="0" y="66"/>
                    <a:pt x="0" y="66"/>
                  </a:cubicBezTo>
                  <a:cubicBezTo>
                    <a:pt x="38" y="66"/>
                    <a:pt x="38" y="66"/>
                    <a:pt x="38" y="66"/>
                  </a:cubicBezTo>
                  <a:cubicBezTo>
                    <a:pt x="38" y="12"/>
                    <a:pt x="38" y="12"/>
                    <a:pt x="38" y="12"/>
                  </a:cubicBezTo>
                  <a:cubicBezTo>
                    <a:pt x="73" y="0"/>
                    <a:pt x="73" y="0"/>
                    <a:pt x="73" y="0"/>
                  </a:cubicBezTo>
                  <a:cubicBezTo>
                    <a:pt x="73" y="66"/>
                    <a:pt x="73" y="66"/>
                    <a:pt x="73" y="66"/>
                  </a:cubicBezTo>
                  <a:cubicBezTo>
                    <a:pt x="129" y="66"/>
                    <a:pt x="129" y="66"/>
                    <a:pt x="129" y="66"/>
                  </a:cubicBezTo>
                  <a:cubicBezTo>
                    <a:pt x="129" y="97"/>
                    <a:pt x="129" y="97"/>
                    <a:pt x="129" y="97"/>
                  </a:cubicBezTo>
                  <a:cubicBezTo>
                    <a:pt x="73" y="97"/>
                    <a:pt x="73" y="97"/>
                    <a:pt x="73" y="97"/>
                  </a:cubicBezTo>
                  <a:cubicBezTo>
                    <a:pt x="73" y="223"/>
                    <a:pt x="73" y="223"/>
                    <a:pt x="73" y="223"/>
                  </a:cubicBezTo>
                  <a:cubicBezTo>
                    <a:pt x="73" y="238"/>
                    <a:pt x="76" y="249"/>
                    <a:pt x="81" y="255"/>
                  </a:cubicBezTo>
                  <a:cubicBezTo>
                    <a:pt x="86" y="262"/>
                    <a:pt x="94" y="265"/>
                    <a:pt x="106" y="265"/>
                  </a:cubicBezTo>
                  <a:cubicBezTo>
                    <a:pt x="115" y="265"/>
                    <a:pt x="122" y="263"/>
                    <a:pt x="129" y="258"/>
                  </a:cubicBezTo>
                  <a:lnTo>
                    <a:pt x="129" y="28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1" name="Freeform 14"/>
            <p:cNvSpPr>
              <a:spLocks/>
            </p:cNvSpPr>
            <p:nvPr userDrawn="1"/>
          </p:nvSpPr>
          <p:spPr bwMode="black">
            <a:xfrm>
              <a:off x="394443" y="2155013"/>
              <a:ext cx="669030" cy="523803"/>
            </a:xfrm>
            <a:custGeom>
              <a:avLst/>
              <a:gdLst>
                <a:gd name="T0" fmla="*/ 401 w 401"/>
                <a:gd name="T1" fmla="*/ 0 h 314"/>
                <a:gd name="T2" fmla="*/ 314 w 401"/>
                <a:gd name="T3" fmla="*/ 314 h 314"/>
                <a:gd name="T4" fmla="*/ 271 w 401"/>
                <a:gd name="T5" fmla="*/ 314 h 314"/>
                <a:gd name="T6" fmla="*/ 208 w 401"/>
                <a:gd name="T7" fmla="*/ 84 h 314"/>
                <a:gd name="T8" fmla="*/ 203 w 401"/>
                <a:gd name="T9" fmla="*/ 52 h 314"/>
                <a:gd name="T10" fmla="*/ 202 w 401"/>
                <a:gd name="T11" fmla="*/ 52 h 314"/>
                <a:gd name="T12" fmla="*/ 196 w 401"/>
                <a:gd name="T13" fmla="*/ 83 h 314"/>
                <a:gd name="T14" fmla="*/ 132 w 401"/>
                <a:gd name="T15" fmla="*/ 314 h 314"/>
                <a:gd name="T16" fmla="*/ 90 w 401"/>
                <a:gd name="T17" fmla="*/ 314 h 314"/>
                <a:gd name="T18" fmla="*/ 0 w 401"/>
                <a:gd name="T19" fmla="*/ 0 h 314"/>
                <a:gd name="T20" fmla="*/ 40 w 401"/>
                <a:gd name="T21" fmla="*/ 0 h 314"/>
                <a:gd name="T22" fmla="*/ 105 w 401"/>
                <a:gd name="T23" fmla="*/ 240 h 314"/>
                <a:gd name="T24" fmla="*/ 111 w 401"/>
                <a:gd name="T25" fmla="*/ 272 h 314"/>
                <a:gd name="T26" fmla="*/ 112 w 401"/>
                <a:gd name="T27" fmla="*/ 272 h 314"/>
                <a:gd name="T28" fmla="*/ 118 w 401"/>
                <a:gd name="T29" fmla="*/ 240 h 314"/>
                <a:gd name="T30" fmla="*/ 187 w 401"/>
                <a:gd name="T31" fmla="*/ 0 h 314"/>
                <a:gd name="T32" fmla="*/ 222 w 401"/>
                <a:gd name="T33" fmla="*/ 0 h 314"/>
                <a:gd name="T34" fmla="*/ 287 w 401"/>
                <a:gd name="T35" fmla="*/ 242 h 314"/>
                <a:gd name="T36" fmla="*/ 292 w 401"/>
                <a:gd name="T37" fmla="*/ 271 h 314"/>
                <a:gd name="T38" fmla="*/ 293 w 401"/>
                <a:gd name="T39" fmla="*/ 271 h 314"/>
                <a:gd name="T40" fmla="*/ 299 w 401"/>
                <a:gd name="T41" fmla="*/ 241 h 314"/>
                <a:gd name="T42" fmla="*/ 362 w 401"/>
                <a:gd name="T43" fmla="*/ 0 h 314"/>
                <a:gd name="T44" fmla="*/ 401 w 401"/>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314">
                  <a:moveTo>
                    <a:pt x="401" y="0"/>
                  </a:moveTo>
                  <a:cubicBezTo>
                    <a:pt x="314" y="314"/>
                    <a:pt x="314" y="314"/>
                    <a:pt x="314" y="314"/>
                  </a:cubicBezTo>
                  <a:cubicBezTo>
                    <a:pt x="271" y="314"/>
                    <a:pt x="271" y="314"/>
                    <a:pt x="271" y="314"/>
                  </a:cubicBezTo>
                  <a:cubicBezTo>
                    <a:pt x="208" y="84"/>
                    <a:pt x="208" y="84"/>
                    <a:pt x="208" y="84"/>
                  </a:cubicBezTo>
                  <a:cubicBezTo>
                    <a:pt x="205" y="75"/>
                    <a:pt x="204" y="65"/>
                    <a:pt x="203" y="52"/>
                  </a:cubicBezTo>
                  <a:cubicBezTo>
                    <a:pt x="202" y="52"/>
                    <a:pt x="202" y="52"/>
                    <a:pt x="202" y="52"/>
                  </a:cubicBezTo>
                  <a:cubicBezTo>
                    <a:pt x="201" y="63"/>
                    <a:pt x="199" y="73"/>
                    <a:pt x="196" y="83"/>
                  </a:cubicBezTo>
                  <a:cubicBezTo>
                    <a:pt x="132" y="314"/>
                    <a:pt x="132" y="314"/>
                    <a:pt x="132" y="314"/>
                  </a:cubicBezTo>
                  <a:cubicBezTo>
                    <a:pt x="90" y="314"/>
                    <a:pt x="90" y="314"/>
                    <a:pt x="90" y="314"/>
                  </a:cubicBezTo>
                  <a:cubicBezTo>
                    <a:pt x="0" y="0"/>
                    <a:pt x="0" y="0"/>
                    <a:pt x="0" y="0"/>
                  </a:cubicBezTo>
                  <a:cubicBezTo>
                    <a:pt x="40" y="0"/>
                    <a:pt x="40" y="0"/>
                    <a:pt x="40" y="0"/>
                  </a:cubicBezTo>
                  <a:cubicBezTo>
                    <a:pt x="105" y="240"/>
                    <a:pt x="105" y="240"/>
                    <a:pt x="105" y="240"/>
                  </a:cubicBezTo>
                  <a:cubicBezTo>
                    <a:pt x="108" y="251"/>
                    <a:pt x="110" y="262"/>
                    <a:pt x="111" y="272"/>
                  </a:cubicBezTo>
                  <a:cubicBezTo>
                    <a:pt x="112" y="272"/>
                    <a:pt x="112" y="272"/>
                    <a:pt x="112" y="272"/>
                  </a:cubicBezTo>
                  <a:cubicBezTo>
                    <a:pt x="112" y="263"/>
                    <a:pt x="115" y="253"/>
                    <a:pt x="118" y="240"/>
                  </a:cubicBezTo>
                  <a:cubicBezTo>
                    <a:pt x="187" y="0"/>
                    <a:pt x="187" y="0"/>
                    <a:pt x="187" y="0"/>
                  </a:cubicBezTo>
                  <a:cubicBezTo>
                    <a:pt x="222" y="0"/>
                    <a:pt x="222" y="0"/>
                    <a:pt x="222" y="0"/>
                  </a:cubicBezTo>
                  <a:cubicBezTo>
                    <a:pt x="287" y="242"/>
                    <a:pt x="287" y="242"/>
                    <a:pt x="287" y="242"/>
                  </a:cubicBezTo>
                  <a:cubicBezTo>
                    <a:pt x="289" y="251"/>
                    <a:pt x="291" y="261"/>
                    <a:pt x="292" y="271"/>
                  </a:cubicBezTo>
                  <a:cubicBezTo>
                    <a:pt x="293" y="271"/>
                    <a:pt x="293" y="271"/>
                    <a:pt x="293" y="271"/>
                  </a:cubicBezTo>
                  <a:cubicBezTo>
                    <a:pt x="294" y="264"/>
                    <a:pt x="296" y="254"/>
                    <a:pt x="299" y="241"/>
                  </a:cubicBezTo>
                  <a:cubicBezTo>
                    <a:pt x="362" y="0"/>
                    <a:pt x="362" y="0"/>
                    <a:pt x="362" y="0"/>
                  </a:cubicBezTo>
                  <a:lnTo>
                    <a:pt x="40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2" name="Freeform 15"/>
            <p:cNvSpPr>
              <a:spLocks noEditPoints="1"/>
            </p:cNvSpPr>
            <p:nvPr userDrawn="1"/>
          </p:nvSpPr>
          <p:spPr bwMode="black">
            <a:xfrm>
              <a:off x="1086737" y="2295305"/>
              <a:ext cx="361657" cy="391971"/>
            </a:xfrm>
            <a:custGeom>
              <a:avLst/>
              <a:gdLst>
                <a:gd name="T0" fmla="*/ 217 w 217"/>
                <a:gd name="T1" fmla="*/ 117 h 235"/>
                <a:gd name="T2" fmla="*/ 187 w 217"/>
                <a:gd name="T3" fmla="*/ 203 h 235"/>
                <a:gd name="T4" fmla="*/ 107 w 217"/>
                <a:gd name="T5" fmla="*/ 235 h 235"/>
                <a:gd name="T6" fmla="*/ 29 w 217"/>
                <a:gd name="T7" fmla="*/ 203 h 235"/>
                <a:gd name="T8" fmla="*/ 0 w 217"/>
                <a:gd name="T9" fmla="*/ 120 h 235"/>
                <a:gd name="T10" fmla="*/ 30 w 217"/>
                <a:gd name="T11" fmla="*/ 32 h 235"/>
                <a:gd name="T12" fmla="*/ 112 w 217"/>
                <a:gd name="T13" fmla="*/ 0 h 235"/>
                <a:gd name="T14" fmla="*/ 189 w 217"/>
                <a:gd name="T15" fmla="*/ 31 h 235"/>
                <a:gd name="T16" fmla="*/ 217 w 217"/>
                <a:gd name="T17" fmla="*/ 117 h 235"/>
                <a:gd name="T18" fmla="*/ 181 w 217"/>
                <a:gd name="T19" fmla="*/ 118 h 235"/>
                <a:gd name="T20" fmla="*/ 162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7" y="203"/>
                  </a:cubicBezTo>
                  <a:cubicBezTo>
                    <a:pt x="167" y="224"/>
                    <a:pt x="141" y="235"/>
                    <a:pt x="107" y="235"/>
                  </a:cubicBezTo>
                  <a:cubicBezTo>
                    <a:pt x="75" y="235"/>
                    <a:pt x="48" y="225"/>
                    <a:pt x="29" y="203"/>
                  </a:cubicBezTo>
                  <a:cubicBezTo>
                    <a:pt x="10" y="182"/>
                    <a:pt x="0" y="155"/>
                    <a:pt x="0" y="120"/>
                  </a:cubicBezTo>
                  <a:cubicBezTo>
                    <a:pt x="0" y="83"/>
                    <a:pt x="10" y="54"/>
                    <a:pt x="30" y="32"/>
                  </a:cubicBezTo>
                  <a:cubicBezTo>
                    <a:pt x="50" y="11"/>
                    <a:pt x="77" y="0"/>
                    <a:pt x="112" y="0"/>
                  </a:cubicBezTo>
                  <a:cubicBezTo>
                    <a:pt x="145" y="0"/>
                    <a:pt x="171" y="10"/>
                    <a:pt x="189" y="31"/>
                  </a:cubicBezTo>
                  <a:cubicBezTo>
                    <a:pt x="208" y="52"/>
                    <a:pt x="217" y="80"/>
                    <a:pt x="217" y="117"/>
                  </a:cubicBezTo>
                  <a:close/>
                  <a:moveTo>
                    <a:pt x="181" y="118"/>
                  </a:moveTo>
                  <a:cubicBezTo>
                    <a:pt x="181" y="90"/>
                    <a:pt x="175" y="68"/>
                    <a:pt x="162" y="53"/>
                  </a:cubicBezTo>
                  <a:cubicBezTo>
                    <a:pt x="150" y="38"/>
                    <a:pt x="133" y="31"/>
                    <a:pt x="110" y="31"/>
                  </a:cubicBezTo>
                  <a:cubicBezTo>
                    <a:pt x="87" y="31"/>
                    <a:pt x="69" y="38"/>
                    <a:pt x="56" y="54"/>
                  </a:cubicBezTo>
                  <a:cubicBezTo>
                    <a:pt x="43" y="69"/>
                    <a:pt x="36" y="91"/>
                    <a:pt x="36" y="119"/>
                  </a:cubicBezTo>
                  <a:cubicBezTo>
                    <a:pt x="36" y="146"/>
                    <a:pt x="43" y="167"/>
                    <a:pt x="56" y="182"/>
                  </a:cubicBezTo>
                  <a:cubicBezTo>
                    <a:pt x="69" y="197"/>
                    <a:pt x="87" y="204"/>
                    <a:pt x="110" y="204"/>
                  </a:cubicBezTo>
                  <a:cubicBezTo>
                    <a:pt x="133" y="204"/>
                    <a:pt x="150" y="197"/>
                    <a:pt x="163" y="182"/>
                  </a:cubicBezTo>
                  <a:cubicBezTo>
                    <a:pt x="175" y="167"/>
                    <a:pt x="181" y="146"/>
                    <a:pt x="181" y="1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3" name="Freeform 16"/>
            <p:cNvSpPr>
              <a:spLocks/>
            </p:cNvSpPr>
            <p:nvPr userDrawn="1"/>
          </p:nvSpPr>
          <p:spPr bwMode="black">
            <a:xfrm>
              <a:off x="1540042" y="2296715"/>
              <a:ext cx="191756" cy="382101"/>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100"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 name="Rectangle 17"/>
            <p:cNvSpPr>
              <a:spLocks noChangeArrowheads="1"/>
            </p:cNvSpPr>
            <p:nvPr userDrawn="1"/>
          </p:nvSpPr>
          <p:spPr bwMode="black">
            <a:xfrm>
              <a:off x="1795246" y="2125404"/>
              <a:ext cx="60629" cy="5534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 name="Freeform 18"/>
            <p:cNvSpPr>
              <a:spLocks noEditPoints="1"/>
            </p:cNvSpPr>
            <p:nvPr userDrawn="1"/>
          </p:nvSpPr>
          <p:spPr bwMode="black">
            <a:xfrm>
              <a:off x="1945408" y="2125404"/>
              <a:ext cx="340507" cy="561872"/>
            </a:xfrm>
            <a:custGeom>
              <a:avLst/>
              <a:gdLst>
                <a:gd name="T0" fmla="*/ 204 w 204"/>
                <a:gd name="T1" fmla="*/ 332 h 337"/>
                <a:gd name="T2" fmla="*/ 168 w 204"/>
                <a:gd name="T3" fmla="*/ 332 h 337"/>
                <a:gd name="T4" fmla="*/ 168 w 204"/>
                <a:gd name="T5" fmla="*/ 294 h 337"/>
                <a:gd name="T6" fmla="*/ 168 w 204"/>
                <a:gd name="T7" fmla="*/ 294 h 337"/>
                <a:gd name="T8" fmla="*/ 92 w 204"/>
                <a:gd name="T9" fmla="*/ 337 h 337"/>
                <a:gd name="T10" fmla="*/ 25 w 204"/>
                <a:gd name="T11" fmla="*/ 307 h 337"/>
                <a:gd name="T12" fmla="*/ 0 w 204"/>
                <a:gd name="T13" fmla="*/ 225 h 337"/>
                <a:gd name="T14" fmla="*/ 28 w 204"/>
                <a:gd name="T15" fmla="*/ 136 h 337"/>
                <a:gd name="T16" fmla="*/ 101 w 204"/>
                <a:gd name="T17" fmla="*/ 102 h 337"/>
                <a:gd name="T18" fmla="*/ 168 w 204"/>
                <a:gd name="T19" fmla="*/ 138 h 337"/>
                <a:gd name="T20" fmla="*/ 168 w 204"/>
                <a:gd name="T21" fmla="*/ 138 h 337"/>
                <a:gd name="T22" fmla="*/ 168 w 204"/>
                <a:gd name="T23" fmla="*/ 0 h 337"/>
                <a:gd name="T24" fmla="*/ 204 w 204"/>
                <a:gd name="T25" fmla="*/ 0 h 337"/>
                <a:gd name="T26" fmla="*/ 204 w 204"/>
                <a:gd name="T27" fmla="*/ 332 h 337"/>
                <a:gd name="T28" fmla="*/ 168 w 204"/>
                <a:gd name="T29" fmla="*/ 230 h 337"/>
                <a:gd name="T30" fmla="*/ 168 w 204"/>
                <a:gd name="T31" fmla="*/ 197 h 337"/>
                <a:gd name="T32" fmla="*/ 150 w 204"/>
                <a:gd name="T33" fmla="*/ 151 h 337"/>
                <a:gd name="T34" fmla="*/ 106 w 204"/>
                <a:gd name="T35" fmla="*/ 133 h 337"/>
                <a:gd name="T36" fmla="*/ 55 w 204"/>
                <a:gd name="T37" fmla="*/ 157 h 337"/>
                <a:gd name="T38" fmla="*/ 37 w 204"/>
                <a:gd name="T39" fmla="*/ 223 h 337"/>
                <a:gd name="T40" fmla="*/ 54 w 204"/>
                <a:gd name="T41" fmla="*/ 284 h 337"/>
                <a:gd name="T42" fmla="*/ 102 w 204"/>
                <a:gd name="T43" fmla="*/ 306 h 337"/>
                <a:gd name="T44" fmla="*/ 150 w 204"/>
                <a:gd name="T45" fmla="*/ 285 h 337"/>
                <a:gd name="T46" fmla="*/ 168 w 204"/>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337">
                  <a:moveTo>
                    <a:pt x="204" y="332"/>
                  </a:moveTo>
                  <a:cubicBezTo>
                    <a:pt x="168" y="332"/>
                    <a:pt x="168" y="332"/>
                    <a:pt x="168" y="332"/>
                  </a:cubicBezTo>
                  <a:cubicBezTo>
                    <a:pt x="168" y="294"/>
                    <a:pt x="168" y="294"/>
                    <a:pt x="168" y="294"/>
                  </a:cubicBezTo>
                  <a:cubicBezTo>
                    <a:pt x="168" y="294"/>
                    <a:pt x="168" y="294"/>
                    <a:pt x="168" y="294"/>
                  </a:cubicBezTo>
                  <a:cubicBezTo>
                    <a:pt x="151" y="323"/>
                    <a:pt x="126" y="337"/>
                    <a:pt x="92" y="337"/>
                  </a:cubicBezTo>
                  <a:cubicBezTo>
                    <a:pt x="64" y="337"/>
                    <a:pt x="42" y="327"/>
                    <a:pt x="25" y="307"/>
                  </a:cubicBezTo>
                  <a:cubicBezTo>
                    <a:pt x="9" y="286"/>
                    <a:pt x="0" y="259"/>
                    <a:pt x="0" y="225"/>
                  </a:cubicBezTo>
                  <a:cubicBezTo>
                    <a:pt x="0" y="188"/>
                    <a:pt x="10" y="158"/>
                    <a:pt x="28" y="136"/>
                  </a:cubicBezTo>
                  <a:cubicBezTo>
                    <a:pt x="46" y="113"/>
                    <a:pt x="71" y="102"/>
                    <a:pt x="101" y="102"/>
                  </a:cubicBezTo>
                  <a:cubicBezTo>
                    <a:pt x="132" y="102"/>
                    <a:pt x="154" y="114"/>
                    <a:pt x="168" y="138"/>
                  </a:cubicBezTo>
                  <a:cubicBezTo>
                    <a:pt x="168" y="138"/>
                    <a:pt x="168" y="138"/>
                    <a:pt x="168" y="138"/>
                  </a:cubicBezTo>
                  <a:cubicBezTo>
                    <a:pt x="168" y="0"/>
                    <a:pt x="168" y="0"/>
                    <a:pt x="168" y="0"/>
                  </a:cubicBezTo>
                  <a:cubicBezTo>
                    <a:pt x="204" y="0"/>
                    <a:pt x="204" y="0"/>
                    <a:pt x="204" y="0"/>
                  </a:cubicBezTo>
                  <a:lnTo>
                    <a:pt x="204" y="332"/>
                  </a:lnTo>
                  <a:close/>
                  <a:moveTo>
                    <a:pt x="168" y="230"/>
                  </a:moveTo>
                  <a:cubicBezTo>
                    <a:pt x="168" y="197"/>
                    <a:pt x="168" y="197"/>
                    <a:pt x="168" y="197"/>
                  </a:cubicBezTo>
                  <a:cubicBezTo>
                    <a:pt x="168" y="179"/>
                    <a:pt x="162" y="163"/>
                    <a:pt x="150" y="151"/>
                  </a:cubicBezTo>
                  <a:cubicBezTo>
                    <a:pt x="138" y="139"/>
                    <a:pt x="123" y="133"/>
                    <a:pt x="106" y="133"/>
                  </a:cubicBezTo>
                  <a:cubicBezTo>
                    <a:pt x="85" y="133"/>
                    <a:pt x="68" y="141"/>
                    <a:pt x="55" y="157"/>
                  </a:cubicBezTo>
                  <a:cubicBezTo>
                    <a:pt x="43" y="173"/>
                    <a:pt x="37" y="195"/>
                    <a:pt x="37" y="223"/>
                  </a:cubicBezTo>
                  <a:cubicBezTo>
                    <a:pt x="37" y="249"/>
                    <a:pt x="43" y="269"/>
                    <a:pt x="54" y="284"/>
                  </a:cubicBezTo>
                  <a:cubicBezTo>
                    <a:pt x="66" y="299"/>
                    <a:pt x="82" y="306"/>
                    <a:pt x="102" y="306"/>
                  </a:cubicBezTo>
                  <a:cubicBezTo>
                    <a:pt x="121" y="306"/>
                    <a:pt x="137" y="299"/>
                    <a:pt x="150" y="285"/>
                  </a:cubicBezTo>
                  <a:cubicBezTo>
                    <a:pt x="162" y="271"/>
                    <a:pt x="168" y="252"/>
                    <a:pt x="168" y="23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 name="Freeform 19"/>
            <p:cNvSpPr>
              <a:spLocks/>
            </p:cNvSpPr>
            <p:nvPr userDrawn="1"/>
          </p:nvSpPr>
          <p:spPr bwMode="black">
            <a:xfrm>
              <a:off x="2354299" y="2303765"/>
              <a:ext cx="513228" cy="375052"/>
            </a:xfrm>
            <a:custGeom>
              <a:avLst/>
              <a:gdLst>
                <a:gd name="T0" fmla="*/ 308 w 308"/>
                <a:gd name="T1" fmla="*/ 0 h 225"/>
                <a:gd name="T2" fmla="*/ 242 w 308"/>
                <a:gd name="T3" fmla="*/ 225 h 225"/>
                <a:gd name="T4" fmla="*/ 206 w 308"/>
                <a:gd name="T5" fmla="*/ 225 h 225"/>
                <a:gd name="T6" fmla="*/ 160 w 308"/>
                <a:gd name="T7" fmla="*/ 64 h 225"/>
                <a:gd name="T8" fmla="*/ 157 w 308"/>
                <a:gd name="T9" fmla="*/ 43 h 225"/>
                <a:gd name="T10" fmla="*/ 156 w 308"/>
                <a:gd name="T11" fmla="*/ 43 h 225"/>
                <a:gd name="T12" fmla="*/ 151 w 308"/>
                <a:gd name="T13" fmla="*/ 64 h 225"/>
                <a:gd name="T14" fmla="*/ 102 w 308"/>
                <a:gd name="T15" fmla="*/ 225 h 225"/>
                <a:gd name="T16" fmla="*/ 67 w 308"/>
                <a:gd name="T17" fmla="*/ 225 h 225"/>
                <a:gd name="T18" fmla="*/ 0 w 308"/>
                <a:gd name="T19" fmla="*/ 0 h 225"/>
                <a:gd name="T20" fmla="*/ 37 w 308"/>
                <a:gd name="T21" fmla="*/ 0 h 225"/>
                <a:gd name="T22" fmla="*/ 83 w 308"/>
                <a:gd name="T23" fmla="*/ 169 h 225"/>
                <a:gd name="T24" fmla="*/ 86 w 308"/>
                <a:gd name="T25" fmla="*/ 189 h 225"/>
                <a:gd name="T26" fmla="*/ 87 w 308"/>
                <a:gd name="T27" fmla="*/ 189 h 225"/>
                <a:gd name="T28" fmla="*/ 91 w 308"/>
                <a:gd name="T29" fmla="*/ 169 h 225"/>
                <a:gd name="T30" fmla="*/ 142 w 308"/>
                <a:gd name="T31" fmla="*/ 0 h 225"/>
                <a:gd name="T32" fmla="*/ 174 w 308"/>
                <a:gd name="T33" fmla="*/ 0 h 225"/>
                <a:gd name="T34" fmla="*/ 220 w 308"/>
                <a:gd name="T35" fmla="*/ 169 h 225"/>
                <a:gd name="T36" fmla="*/ 223 w 308"/>
                <a:gd name="T37" fmla="*/ 190 h 225"/>
                <a:gd name="T38" fmla="*/ 225 w 308"/>
                <a:gd name="T39" fmla="*/ 190 h 225"/>
                <a:gd name="T40" fmla="*/ 228 w 308"/>
                <a:gd name="T41" fmla="*/ 169 h 225"/>
                <a:gd name="T42" fmla="*/ 273 w 308"/>
                <a:gd name="T43" fmla="*/ 0 h 225"/>
                <a:gd name="T44" fmla="*/ 308 w 308"/>
                <a:gd name="T4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225">
                  <a:moveTo>
                    <a:pt x="308" y="0"/>
                  </a:moveTo>
                  <a:cubicBezTo>
                    <a:pt x="242" y="225"/>
                    <a:pt x="242" y="225"/>
                    <a:pt x="242" y="225"/>
                  </a:cubicBezTo>
                  <a:cubicBezTo>
                    <a:pt x="206" y="225"/>
                    <a:pt x="206" y="225"/>
                    <a:pt x="206" y="225"/>
                  </a:cubicBezTo>
                  <a:cubicBezTo>
                    <a:pt x="160" y="64"/>
                    <a:pt x="160" y="64"/>
                    <a:pt x="160" y="64"/>
                  </a:cubicBezTo>
                  <a:cubicBezTo>
                    <a:pt x="158" y="59"/>
                    <a:pt x="157" y="52"/>
                    <a:pt x="157" y="43"/>
                  </a:cubicBezTo>
                  <a:cubicBezTo>
                    <a:pt x="156" y="43"/>
                    <a:pt x="156" y="43"/>
                    <a:pt x="156" y="43"/>
                  </a:cubicBezTo>
                  <a:cubicBezTo>
                    <a:pt x="155" y="49"/>
                    <a:pt x="154" y="55"/>
                    <a:pt x="151" y="64"/>
                  </a:cubicBezTo>
                  <a:cubicBezTo>
                    <a:pt x="102" y="225"/>
                    <a:pt x="102" y="225"/>
                    <a:pt x="102" y="225"/>
                  </a:cubicBezTo>
                  <a:cubicBezTo>
                    <a:pt x="67" y="225"/>
                    <a:pt x="67" y="225"/>
                    <a:pt x="67" y="225"/>
                  </a:cubicBezTo>
                  <a:cubicBezTo>
                    <a:pt x="0" y="0"/>
                    <a:pt x="0" y="0"/>
                    <a:pt x="0" y="0"/>
                  </a:cubicBezTo>
                  <a:cubicBezTo>
                    <a:pt x="37" y="0"/>
                    <a:pt x="37" y="0"/>
                    <a:pt x="37" y="0"/>
                  </a:cubicBezTo>
                  <a:cubicBezTo>
                    <a:pt x="83" y="169"/>
                    <a:pt x="83" y="169"/>
                    <a:pt x="83" y="169"/>
                  </a:cubicBezTo>
                  <a:cubicBezTo>
                    <a:pt x="84" y="175"/>
                    <a:pt x="85" y="182"/>
                    <a:pt x="86" y="189"/>
                  </a:cubicBezTo>
                  <a:cubicBezTo>
                    <a:pt x="87" y="189"/>
                    <a:pt x="87" y="189"/>
                    <a:pt x="87" y="189"/>
                  </a:cubicBezTo>
                  <a:cubicBezTo>
                    <a:pt x="88" y="184"/>
                    <a:pt x="89" y="177"/>
                    <a:pt x="91" y="169"/>
                  </a:cubicBezTo>
                  <a:cubicBezTo>
                    <a:pt x="142" y="0"/>
                    <a:pt x="142" y="0"/>
                    <a:pt x="142" y="0"/>
                  </a:cubicBezTo>
                  <a:cubicBezTo>
                    <a:pt x="174" y="0"/>
                    <a:pt x="174" y="0"/>
                    <a:pt x="174" y="0"/>
                  </a:cubicBezTo>
                  <a:cubicBezTo>
                    <a:pt x="220" y="169"/>
                    <a:pt x="220" y="169"/>
                    <a:pt x="220" y="169"/>
                  </a:cubicBezTo>
                  <a:cubicBezTo>
                    <a:pt x="222" y="175"/>
                    <a:pt x="223" y="182"/>
                    <a:pt x="223" y="190"/>
                  </a:cubicBezTo>
                  <a:cubicBezTo>
                    <a:pt x="225" y="190"/>
                    <a:pt x="225" y="190"/>
                    <a:pt x="225" y="190"/>
                  </a:cubicBezTo>
                  <a:cubicBezTo>
                    <a:pt x="225" y="183"/>
                    <a:pt x="226" y="176"/>
                    <a:pt x="228" y="169"/>
                  </a:cubicBezTo>
                  <a:cubicBezTo>
                    <a:pt x="273" y="0"/>
                    <a:pt x="273" y="0"/>
                    <a:pt x="273" y="0"/>
                  </a:cubicBezTo>
                  <a:lnTo>
                    <a:pt x="30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7" name="Freeform 20"/>
            <p:cNvSpPr>
              <a:spLocks noEditPoints="1"/>
            </p:cNvSpPr>
            <p:nvPr userDrawn="1"/>
          </p:nvSpPr>
          <p:spPr bwMode="black">
            <a:xfrm>
              <a:off x="2929566" y="2131749"/>
              <a:ext cx="76843" cy="547068"/>
            </a:xfrm>
            <a:custGeom>
              <a:avLst/>
              <a:gdLst>
                <a:gd name="T0" fmla="*/ 46 w 46"/>
                <a:gd name="T1" fmla="*/ 23 h 328"/>
                <a:gd name="T2" fmla="*/ 39 w 46"/>
                <a:gd name="T3" fmla="*/ 40 h 328"/>
                <a:gd name="T4" fmla="*/ 23 w 46"/>
                <a:gd name="T5" fmla="*/ 46 h 328"/>
                <a:gd name="T6" fmla="*/ 6 w 46"/>
                <a:gd name="T7" fmla="*/ 40 h 328"/>
                <a:gd name="T8" fmla="*/ 0 w 46"/>
                <a:gd name="T9" fmla="*/ 23 h 328"/>
                <a:gd name="T10" fmla="*/ 6 w 46"/>
                <a:gd name="T11" fmla="*/ 7 h 328"/>
                <a:gd name="T12" fmla="*/ 23 w 46"/>
                <a:gd name="T13" fmla="*/ 0 h 328"/>
                <a:gd name="T14" fmla="*/ 39 w 46"/>
                <a:gd name="T15" fmla="*/ 7 h 328"/>
                <a:gd name="T16" fmla="*/ 46 w 46"/>
                <a:gd name="T17" fmla="*/ 23 h 328"/>
                <a:gd name="T18" fmla="*/ 40 w 46"/>
                <a:gd name="T19" fmla="*/ 328 h 328"/>
                <a:gd name="T20" fmla="*/ 4 w 46"/>
                <a:gd name="T21" fmla="*/ 328 h 328"/>
                <a:gd name="T22" fmla="*/ 4 w 46"/>
                <a:gd name="T23" fmla="*/ 103 h 328"/>
                <a:gd name="T24" fmla="*/ 40 w 46"/>
                <a:gd name="T25" fmla="*/ 103 h 328"/>
                <a:gd name="T26" fmla="*/ 40 w 46"/>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328">
                  <a:moveTo>
                    <a:pt x="46" y="23"/>
                  </a:moveTo>
                  <a:cubicBezTo>
                    <a:pt x="46" y="30"/>
                    <a:pt x="44" y="35"/>
                    <a:pt x="39" y="40"/>
                  </a:cubicBezTo>
                  <a:cubicBezTo>
                    <a:pt x="34" y="44"/>
                    <a:pt x="29" y="46"/>
                    <a:pt x="23" y="46"/>
                  </a:cubicBezTo>
                  <a:cubicBezTo>
                    <a:pt x="16" y="46"/>
                    <a:pt x="11" y="44"/>
                    <a:pt x="6" y="40"/>
                  </a:cubicBezTo>
                  <a:cubicBezTo>
                    <a:pt x="2" y="36"/>
                    <a:pt x="0" y="30"/>
                    <a:pt x="0" y="23"/>
                  </a:cubicBezTo>
                  <a:cubicBezTo>
                    <a:pt x="0" y="17"/>
                    <a:pt x="2" y="11"/>
                    <a:pt x="6" y="7"/>
                  </a:cubicBezTo>
                  <a:cubicBezTo>
                    <a:pt x="10" y="2"/>
                    <a:pt x="16" y="0"/>
                    <a:pt x="23" y="0"/>
                  </a:cubicBezTo>
                  <a:cubicBezTo>
                    <a:pt x="29" y="0"/>
                    <a:pt x="35" y="2"/>
                    <a:pt x="39" y="7"/>
                  </a:cubicBezTo>
                  <a:cubicBezTo>
                    <a:pt x="44" y="11"/>
                    <a:pt x="46" y="17"/>
                    <a:pt x="46" y="23"/>
                  </a:cubicBezTo>
                  <a:close/>
                  <a:moveTo>
                    <a:pt x="40" y="328"/>
                  </a:moveTo>
                  <a:cubicBezTo>
                    <a:pt x="4" y="328"/>
                    <a:pt x="4" y="328"/>
                    <a:pt x="4" y="328"/>
                  </a:cubicBezTo>
                  <a:cubicBezTo>
                    <a:pt x="4" y="103"/>
                    <a:pt x="4" y="103"/>
                    <a:pt x="4" y="103"/>
                  </a:cubicBezTo>
                  <a:cubicBezTo>
                    <a:pt x="40" y="103"/>
                    <a:pt x="40" y="103"/>
                    <a:pt x="40" y="103"/>
                  </a:cubicBezTo>
                  <a:lnTo>
                    <a:pt x="40" y="32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8" name="Freeform 21"/>
            <p:cNvSpPr>
              <a:spLocks noEditPoints="1"/>
            </p:cNvSpPr>
            <p:nvPr userDrawn="1"/>
          </p:nvSpPr>
          <p:spPr bwMode="black">
            <a:xfrm>
              <a:off x="3088187" y="2125404"/>
              <a:ext cx="338392" cy="561872"/>
            </a:xfrm>
            <a:custGeom>
              <a:avLst/>
              <a:gdLst>
                <a:gd name="T0" fmla="*/ 203 w 203"/>
                <a:gd name="T1" fmla="*/ 332 h 337"/>
                <a:gd name="T2" fmla="*/ 168 w 203"/>
                <a:gd name="T3" fmla="*/ 332 h 337"/>
                <a:gd name="T4" fmla="*/ 168 w 203"/>
                <a:gd name="T5" fmla="*/ 294 h 337"/>
                <a:gd name="T6" fmla="*/ 167 w 203"/>
                <a:gd name="T7" fmla="*/ 294 h 337"/>
                <a:gd name="T8" fmla="*/ 91 w 203"/>
                <a:gd name="T9" fmla="*/ 337 h 337"/>
                <a:gd name="T10" fmla="*/ 24 w 203"/>
                <a:gd name="T11" fmla="*/ 307 h 337"/>
                <a:gd name="T12" fmla="*/ 0 w 203"/>
                <a:gd name="T13" fmla="*/ 225 h 337"/>
                <a:gd name="T14" fmla="*/ 27 w 203"/>
                <a:gd name="T15" fmla="*/ 136 h 337"/>
                <a:gd name="T16" fmla="*/ 101 w 203"/>
                <a:gd name="T17" fmla="*/ 102 h 337"/>
                <a:gd name="T18" fmla="*/ 167 w 203"/>
                <a:gd name="T19" fmla="*/ 138 h 337"/>
                <a:gd name="T20" fmla="*/ 168 w 203"/>
                <a:gd name="T21" fmla="*/ 138 h 337"/>
                <a:gd name="T22" fmla="*/ 168 w 203"/>
                <a:gd name="T23" fmla="*/ 0 h 337"/>
                <a:gd name="T24" fmla="*/ 203 w 203"/>
                <a:gd name="T25" fmla="*/ 0 h 337"/>
                <a:gd name="T26" fmla="*/ 203 w 203"/>
                <a:gd name="T27" fmla="*/ 332 h 337"/>
                <a:gd name="T28" fmla="*/ 168 w 203"/>
                <a:gd name="T29" fmla="*/ 230 h 337"/>
                <a:gd name="T30" fmla="*/ 168 w 203"/>
                <a:gd name="T31" fmla="*/ 197 h 337"/>
                <a:gd name="T32" fmla="*/ 149 w 203"/>
                <a:gd name="T33" fmla="*/ 151 h 337"/>
                <a:gd name="T34" fmla="*/ 105 w 203"/>
                <a:gd name="T35" fmla="*/ 133 h 337"/>
                <a:gd name="T36" fmla="*/ 54 w 203"/>
                <a:gd name="T37" fmla="*/ 157 h 337"/>
                <a:gd name="T38" fmla="*/ 36 w 203"/>
                <a:gd name="T39" fmla="*/ 223 h 337"/>
                <a:gd name="T40" fmla="*/ 53 w 203"/>
                <a:gd name="T41" fmla="*/ 284 h 337"/>
                <a:gd name="T42" fmla="*/ 101 w 203"/>
                <a:gd name="T43" fmla="*/ 306 h 337"/>
                <a:gd name="T44" fmla="*/ 149 w 203"/>
                <a:gd name="T45" fmla="*/ 285 h 337"/>
                <a:gd name="T46" fmla="*/ 168 w 203"/>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37">
                  <a:moveTo>
                    <a:pt x="203" y="332"/>
                  </a:moveTo>
                  <a:cubicBezTo>
                    <a:pt x="168" y="332"/>
                    <a:pt x="168" y="332"/>
                    <a:pt x="168" y="332"/>
                  </a:cubicBezTo>
                  <a:cubicBezTo>
                    <a:pt x="168" y="294"/>
                    <a:pt x="168" y="294"/>
                    <a:pt x="168" y="294"/>
                  </a:cubicBezTo>
                  <a:cubicBezTo>
                    <a:pt x="167" y="294"/>
                    <a:pt x="167" y="294"/>
                    <a:pt x="167" y="294"/>
                  </a:cubicBezTo>
                  <a:cubicBezTo>
                    <a:pt x="150" y="323"/>
                    <a:pt x="125" y="337"/>
                    <a:pt x="91" y="337"/>
                  </a:cubicBezTo>
                  <a:cubicBezTo>
                    <a:pt x="63" y="337"/>
                    <a:pt x="41" y="327"/>
                    <a:pt x="24" y="307"/>
                  </a:cubicBezTo>
                  <a:cubicBezTo>
                    <a:pt x="8" y="286"/>
                    <a:pt x="0" y="259"/>
                    <a:pt x="0" y="225"/>
                  </a:cubicBezTo>
                  <a:cubicBezTo>
                    <a:pt x="0" y="188"/>
                    <a:pt x="9" y="158"/>
                    <a:pt x="27" y="136"/>
                  </a:cubicBezTo>
                  <a:cubicBezTo>
                    <a:pt x="45" y="113"/>
                    <a:pt x="70" y="102"/>
                    <a:pt x="101" y="102"/>
                  </a:cubicBezTo>
                  <a:cubicBezTo>
                    <a:pt x="131" y="102"/>
                    <a:pt x="153" y="114"/>
                    <a:pt x="167" y="138"/>
                  </a:cubicBezTo>
                  <a:cubicBezTo>
                    <a:pt x="168" y="138"/>
                    <a:pt x="168" y="138"/>
                    <a:pt x="168" y="138"/>
                  </a:cubicBezTo>
                  <a:cubicBezTo>
                    <a:pt x="168" y="0"/>
                    <a:pt x="168" y="0"/>
                    <a:pt x="168" y="0"/>
                  </a:cubicBezTo>
                  <a:cubicBezTo>
                    <a:pt x="203" y="0"/>
                    <a:pt x="203" y="0"/>
                    <a:pt x="203" y="0"/>
                  </a:cubicBezTo>
                  <a:lnTo>
                    <a:pt x="203" y="332"/>
                  </a:lnTo>
                  <a:close/>
                  <a:moveTo>
                    <a:pt x="168" y="230"/>
                  </a:moveTo>
                  <a:cubicBezTo>
                    <a:pt x="168" y="197"/>
                    <a:pt x="168" y="197"/>
                    <a:pt x="168" y="197"/>
                  </a:cubicBezTo>
                  <a:cubicBezTo>
                    <a:pt x="168" y="179"/>
                    <a:pt x="162" y="163"/>
                    <a:pt x="149" y="151"/>
                  </a:cubicBezTo>
                  <a:cubicBezTo>
                    <a:pt x="137" y="139"/>
                    <a:pt x="122" y="133"/>
                    <a:pt x="105" y="133"/>
                  </a:cubicBezTo>
                  <a:cubicBezTo>
                    <a:pt x="84" y="133"/>
                    <a:pt x="67" y="141"/>
                    <a:pt x="54" y="157"/>
                  </a:cubicBezTo>
                  <a:cubicBezTo>
                    <a:pt x="42" y="173"/>
                    <a:pt x="36" y="195"/>
                    <a:pt x="36" y="223"/>
                  </a:cubicBezTo>
                  <a:cubicBezTo>
                    <a:pt x="36" y="249"/>
                    <a:pt x="42" y="269"/>
                    <a:pt x="53" y="284"/>
                  </a:cubicBezTo>
                  <a:cubicBezTo>
                    <a:pt x="65" y="299"/>
                    <a:pt x="81" y="306"/>
                    <a:pt x="101" y="306"/>
                  </a:cubicBezTo>
                  <a:cubicBezTo>
                    <a:pt x="120" y="306"/>
                    <a:pt x="136" y="299"/>
                    <a:pt x="149" y="285"/>
                  </a:cubicBezTo>
                  <a:cubicBezTo>
                    <a:pt x="161" y="271"/>
                    <a:pt x="168" y="252"/>
                    <a:pt x="168" y="23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9" name="Freeform 22"/>
            <p:cNvSpPr>
              <a:spLocks noEditPoints="1"/>
            </p:cNvSpPr>
            <p:nvPr userDrawn="1"/>
          </p:nvSpPr>
          <p:spPr bwMode="black">
            <a:xfrm>
              <a:off x="3518227" y="2295305"/>
              <a:ext cx="320063" cy="391971"/>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8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8"/>
                  </a:cubicBezTo>
                  <a:cubicBezTo>
                    <a:pt x="47" y="60"/>
                    <a:pt x="40" y="76"/>
                    <a:pt x="37" y="96"/>
                  </a:cubicBezTo>
                  <a:lnTo>
                    <a:pt x="156"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 name="Freeform 23"/>
            <p:cNvSpPr>
              <a:spLocks noEditPoints="1"/>
            </p:cNvSpPr>
            <p:nvPr userDrawn="1"/>
          </p:nvSpPr>
          <p:spPr bwMode="black">
            <a:xfrm>
              <a:off x="452957" y="2946711"/>
              <a:ext cx="315128" cy="523803"/>
            </a:xfrm>
            <a:custGeom>
              <a:avLst/>
              <a:gdLst>
                <a:gd name="T0" fmla="*/ 189 w 189"/>
                <a:gd name="T1" fmla="*/ 93 h 314"/>
                <a:gd name="T2" fmla="*/ 158 w 189"/>
                <a:gd name="T3" fmla="*/ 167 h 314"/>
                <a:gd name="T4" fmla="*/ 77 w 189"/>
                <a:gd name="T5" fmla="*/ 195 h 314"/>
                <a:gd name="T6" fmla="*/ 36 w 189"/>
                <a:gd name="T7" fmla="*/ 195 h 314"/>
                <a:gd name="T8" fmla="*/ 36 w 189"/>
                <a:gd name="T9" fmla="*/ 314 h 314"/>
                <a:gd name="T10" fmla="*/ 0 w 189"/>
                <a:gd name="T11" fmla="*/ 314 h 314"/>
                <a:gd name="T12" fmla="*/ 0 w 189"/>
                <a:gd name="T13" fmla="*/ 0 h 314"/>
                <a:gd name="T14" fmla="*/ 85 w 189"/>
                <a:gd name="T15" fmla="*/ 0 h 314"/>
                <a:gd name="T16" fmla="*/ 161 w 189"/>
                <a:gd name="T17" fmla="*/ 24 h 314"/>
                <a:gd name="T18" fmla="*/ 189 w 189"/>
                <a:gd name="T19" fmla="*/ 93 h 314"/>
                <a:gd name="T20" fmla="*/ 151 w 189"/>
                <a:gd name="T21" fmla="*/ 95 h 314"/>
                <a:gd name="T22" fmla="*/ 78 w 189"/>
                <a:gd name="T23" fmla="*/ 33 h 314"/>
                <a:gd name="T24" fmla="*/ 36 w 189"/>
                <a:gd name="T25" fmla="*/ 33 h 314"/>
                <a:gd name="T26" fmla="*/ 36 w 189"/>
                <a:gd name="T27" fmla="*/ 162 h 314"/>
                <a:gd name="T28" fmla="*/ 74 w 189"/>
                <a:gd name="T29" fmla="*/ 162 h 314"/>
                <a:gd name="T30" fmla="*/ 131 w 189"/>
                <a:gd name="T31" fmla="*/ 144 h 314"/>
                <a:gd name="T32" fmla="*/ 151 w 189"/>
                <a:gd name="T33" fmla="*/ 9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9" h="314">
                  <a:moveTo>
                    <a:pt x="189" y="93"/>
                  </a:moveTo>
                  <a:cubicBezTo>
                    <a:pt x="189" y="124"/>
                    <a:pt x="178" y="148"/>
                    <a:pt x="158" y="167"/>
                  </a:cubicBezTo>
                  <a:cubicBezTo>
                    <a:pt x="137" y="185"/>
                    <a:pt x="110" y="195"/>
                    <a:pt x="77" y="195"/>
                  </a:cubicBezTo>
                  <a:cubicBezTo>
                    <a:pt x="36" y="195"/>
                    <a:pt x="36" y="195"/>
                    <a:pt x="36" y="195"/>
                  </a:cubicBezTo>
                  <a:cubicBezTo>
                    <a:pt x="36" y="314"/>
                    <a:pt x="36" y="314"/>
                    <a:pt x="36" y="314"/>
                  </a:cubicBezTo>
                  <a:cubicBezTo>
                    <a:pt x="0" y="314"/>
                    <a:pt x="0" y="314"/>
                    <a:pt x="0" y="314"/>
                  </a:cubicBezTo>
                  <a:cubicBezTo>
                    <a:pt x="0" y="0"/>
                    <a:pt x="0" y="0"/>
                    <a:pt x="0" y="0"/>
                  </a:cubicBezTo>
                  <a:cubicBezTo>
                    <a:pt x="85" y="0"/>
                    <a:pt x="85" y="0"/>
                    <a:pt x="85" y="0"/>
                  </a:cubicBezTo>
                  <a:cubicBezTo>
                    <a:pt x="118" y="0"/>
                    <a:pt x="143" y="8"/>
                    <a:pt x="161" y="24"/>
                  </a:cubicBezTo>
                  <a:cubicBezTo>
                    <a:pt x="180" y="41"/>
                    <a:pt x="189" y="64"/>
                    <a:pt x="189" y="93"/>
                  </a:cubicBezTo>
                  <a:close/>
                  <a:moveTo>
                    <a:pt x="151" y="95"/>
                  </a:moveTo>
                  <a:cubicBezTo>
                    <a:pt x="151" y="54"/>
                    <a:pt x="127" y="33"/>
                    <a:pt x="78" y="33"/>
                  </a:cubicBezTo>
                  <a:cubicBezTo>
                    <a:pt x="36" y="33"/>
                    <a:pt x="36" y="33"/>
                    <a:pt x="36" y="33"/>
                  </a:cubicBezTo>
                  <a:cubicBezTo>
                    <a:pt x="36" y="162"/>
                    <a:pt x="36" y="162"/>
                    <a:pt x="36" y="162"/>
                  </a:cubicBezTo>
                  <a:cubicBezTo>
                    <a:pt x="74" y="162"/>
                    <a:pt x="74" y="162"/>
                    <a:pt x="74" y="162"/>
                  </a:cubicBezTo>
                  <a:cubicBezTo>
                    <a:pt x="99" y="162"/>
                    <a:pt x="118" y="156"/>
                    <a:pt x="131" y="144"/>
                  </a:cubicBezTo>
                  <a:cubicBezTo>
                    <a:pt x="144" y="133"/>
                    <a:pt x="151" y="117"/>
                    <a:pt x="151" y="9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1" name="Freeform 24"/>
            <p:cNvSpPr>
              <a:spLocks noEditPoints="1"/>
            </p:cNvSpPr>
            <p:nvPr userDrawn="1"/>
          </p:nvSpPr>
          <p:spPr bwMode="black">
            <a:xfrm>
              <a:off x="803334" y="3087003"/>
              <a:ext cx="289748" cy="391971"/>
            </a:xfrm>
            <a:custGeom>
              <a:avLst/>
              <a:gdLst>
                <a:gd name="T0" fmla="*/ 174 w 174"/>
                <a:gd name="T1" fmla="*/ 230 h 235"/>
                <a:gd name="T2" fmla="*/ 139 w 174"/>
                <a:gd name="T3" fmla="*/ 230 h 235"/>
                <a:gd name="T4" fmla="*/ 139 w 174"/>
                <a:gd name="T5" fmla="*/ 195 h 235"/>
                <a:gd name="T6" fmla="*/ 138 w 174"/>
                <a:gd name="T7" fmla="*/ 195 h 235"/>
                <a:gd name="T8" fmla="*/ 70 w 174"/>
                <a:gd name="T9" fmla="*/ 235 h 235"/>
                <a:gd name="T10" fmla="*/ 19 w 174"/>
                <a:gd name="T11" fmla="*/ 218 h 235"/>
                <a:gd name="T12" fmla="*/ 0 w 174"/>
                <a:gd name="T13" fmla="*/ 170 h 235"/>
                <a:gd name="T14" fmla="*/ 73 w 174"/>
                <a:gd name="T15" fmla="*/ 97 h 235"/>
                <a:gd name="T16" fmla="*/ 139 w 174"/>
                <a:gd name="T17" fmla="*/ 87 h 235"/>
                <a:gd name="T18" fmla="*/ 93 w 174"/>
                <a:gd name="T19" fmla="*/ 31 h 235"/>
                <a:gd name="T20" fmla="*/ 21 w 174"/>
                <a:gd name="T21" fmla="*/ 58 h 235"/>
                <a:gd name="T22" fmla="*/ 21 w 174"/>
                <a:gd name="T23" fmla="*/ 21 h 235"/>
                <a:gd name="T24" fmla="*/ 55 w 174"/>
                <a:gd name="T25" fmla="*/ 7 h 235"/>
                <a:gd name="T26" fmla="*/ 96 w 174"/>
                <a:gd name="T27" fmla="*/ 0 h 235"/>
                <a:gd name="T28" fmla="*/ 174 w 174"/>
                <a:gd name="T29" fmla="*/ 84 h 235"/>
                <a:gd name="T30" fmla="*/ 174 w 174"/>
                <a:gd name="T31" fmla="*/ 230 h 235"/>
                <a:gd name="T32" fmla="*/ 139 w 174"/>
                <a:gd name="T33" fmla="*/ 116 h 235"/>
                <a:gd name="T34" fmla="*/ 85 w 174"/>
                <a:gd name="T35" fmla="*/ 124 h 235"/>
                <a:gd name="T36" fmla="*/ 47 w 174"/>
                <a:gd name="T37" fmla="*/ 137 h 235"/>
                <a:gd name="T38" fmla="*/ 36 w 174"/>
                <a:gd name="T39" fmla="*/ 167 h 235"/>
                <a:gd name="T40" fmla="*/ 48 w 174"/>
                <a:gd name="T41" fmla="*/ 194 h 235"/>
                <a:gd name="T42" fmla="*/ 78 w 174"/>
                <a:gd name="T43" fmla="*/ 204 h 235"/>
                <a:gd name="T44" fmla="*/ 122 w 174"/>
                <a:gd name="T45" fmla="*/ 186 h 235"/>
                <a:gd name="T46" fmla="*/ 139 w 174"/>
                <a:gd name="T47" fmla="*/ 139 h 235"/>
                <a:gd name="T48" fmla="*/ 139 w 174"/>
                <a:gd name="T49" fmla="*/ 11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235">
                  <a:moveTo>
                    <a:pt x="174" y="230"/>
                  </a:moveTo>
                  <a:cubicBezTo>
                    <a:pt x="139" y="230"/>
                    <a:pt x="139" y="230"/>
                    <a:pt x="139" y="230"/>
                  </a:cubicBezTo>
                  <a:cubicBezTo>
                    <a:pt x="139" y="195"/>
                    <a:pt x="139" y="195"/>
                    <a:pt x="139" y="195"/>
                  </a:cubicBezTo>
                  <a:cubicBezTo>
                    <a:pt x="138" y="195"/>
                    <a:pt x="138" y="195"/>
                    <a:pt x="138" y="195"/>
                  </a:cubicBezTo>
                  <a:cubicBezTo>
                    <a:pt x="123" y="222"/>
                    <a:pt x="100" y="235"/>
                    <a:pt x="70" y="235"/>
                  </a:cubicBezTo>
                  <a:cubicBezTo>
                    <a:pt x="49" y="235"/>
                    <a:pt x="32" y="229"/>
                    <a:pt x="19" y="218"/>
                  </a:cubicBezTo>
                  <a:cubicBezTo>
                    <a:pt x="6" y="206"/>
                    <a:pt x="0" y="190"/>
                    <a:pt x="0" y="170"/>
                  </a:cubicBezTo>
                  <a:cubicBezTo>
                    <a:pt x="0" y="128"/>
                    <a:pt x="24" y="104"/>
                    <a:pt x="73" y="97"/>
                  </a:cubicBezTo>
                  <a:cubicBezTo>
                    <a:pt x="139" y="87"/>
                    <a:pt x="139" y="87"/>
                    <a:pt x="139" y="87"/>
                  </a:cubicBezTo>
                  <a:cubicBezTo>
                    <a:pt x="139" y="50"/>
                    <a:pt x="124" y="31"/>
                    <a:pt x="93" y="31"/>
                  </a:cubicBezTo>
                  <a:cubicBezTo>
                    <a:pt x="67" y="31"/>
                    <a:pt x="43" y="40"/>
                    <a:pt x="21" y="58"/>
                  </a:cubicBezTo>
                  <a:cubicBezTo>
                    <a:pt x="21" y="21"/>
                    <a:pt x="21" y="21"/>
                    <a:pt x="21" y="21"/>
                  </a:cubicBezTo>
                  <a:cubicBezTo>
                    <a:pt x="28" y="16"/>
                    <a:pt x="39" y="11"/>
                    <a:pt x="55" y="7"/>
                  </a:cubicBezTo>
                  <a:cubicBezTo>
                    <a:pt x="70" y="2"/>
                    <a:pt x="84" y="0"/>
                    <a:pt x="96" y="0"/>
                  </a:cubicBezTo>
                  <a:cubicBezTo>
                    <a:pt x="148" y="0"/>
                    <a:pt x="174" y="28"/>
                    <a:pt x="174" y="84"/>
                  </a:cubicBezTo>
                  <a:lnTo>
                    <a:pt x="174" y="230"/>
                  </a:lnTo>
                  <a:close/>
                  <a:moveTo>
                    <a:pt x="139" y="116"/>
                  </a:moveTo>
                  <a:cubicBezTo>
                    <a:pt x="85" y="124"/>
                    <a:pt x="85" y="124"/>
                    <a:pt x="85" y="124"/>
                  </a:cubicBezTo>
                  <a:cubicBezTo>
                    <a:pt x="67" y="126"/>
                    <a:pt x="54" y="131"/>
                    <a:pt x="47" y="137"/>
                  </a:cubicBezTo>
                  <a:cubicBezTo>
                    <a:pt x="40" y="143"/>
                    <a:pt x="36" y="153"/>
                    <a:pt x="36" y="167"/>
                  </a:cubicBezTo>
                  <a:cubicBezTo>
                    <a:pt x="36" y="178"/>
                    <a:pt x="40" y="187"/>
                    <a:pt x="48" y="194"/>
                  </a:cubicBezTo>
                  <a:cubicBezTo>
                    <a:pt x="56" y="201"/>
                    <a:pt x="66" y="204"/>
                    <a:pt x="78" y="204"/>
                  </a:cubicBezTo>
                  <a:cubicBezTo>
                    <a:pt x="96" y="204"/>
                    <a:pt x="110" y="198"/>
                    <a:pt x="122" y="186"/>
                  </a:cubicBezTo>
                  <a:cubicBezTo>
                    <a:pt x="133" y="173"/>
                    <a:pt x="139" y="157"/>
                    <a:pt x="139" y="139"/>
                  </a:cubicBezTo>
                  <a:lnTo>
                    <a:pt x="139" y="1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2" name="Freeform 25"/>
            <p:cNvSpPr>
              <a:spLocks/>
            </p:cNvSpPr>
            <p:nvPr userDrawn="1"/>
          </p:nvSpPr>
          <p:spPr bwMode="black">
            <a:xfrm>
              <a:off x="1205175" y="3088413"/>
              <a:ext cx="191756" cy="382101"/>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3" name="Freeform 26"/>
            <p:cNvSpPr>
              <a:spLocks/>
            </p:cNvSpPr>
            <p:nvPr userDrawn="1"/>
          </p:nvSpPr>
          <p:spPr bwMode="black">
            <a:xfrm>
              <a:off x="1438524" y="2985485"/>
              <a:ext cx="213610" cy="493489"/>
            </a:xfrm>
            <a:custGeom>
              <a:avLst/>
              <a:gdLst>
                <a:gd name="T0" fmla="*/ 128 w 128"/>
                <a:gd name="T1" fmla="*/ 288 h 296"/>
                <a:gd name="T2" fmla="*/ 95 w 128"/>
                <a:gd name="T3" fmla="*/ 296 h 296"/>
                <a:gd name="T4" fmla="*/ 37 w 128"/>
                <a:gd name="T5" fmla="*/ 230 h 296"/>
                <a:gd name="T6" fmla="*/ 37 w 128"/>
                <a:gd name="T7" fmla="*/ 97 h 296"/>
                <a:gd name="T8" fmla="*/ 0 w 128"/>
                <a:gd name="T9" fmla="*/ 97 h 296"/>
                <a:gd name="T10" fmla="*/ 0 w 128"/>
                <a:gd name="T11" fmla="*/ 66 h 296"/>
                <a:gd name="T12" fmla="*/ 37 w 128"/>
                <a:gd name="T13" fmla="*/ 66 h 296"/>
                <a:gd name="T14" fmla="*/ 37 w 128"/>
                <a:gd name="T15" fmla="*/ 12 h 296"/>
                <a:gd name="T16" fmla="*/ 73 w 128"/>
                <a:gd name="T17" fmla="*/ 0 h 296"/>
                <a:gd name="T18" fmla="*/ 73 w 128"/>
                <a:gd name="T19" fmla="*/ 66 h 296"/>
                <a:gd name="T20" fmla="*/ 128 w 128"/>
                <a:gd name="T21" fmla="*/ 66 h 296"/>
                <a:gd name="T22" fmla="*/ 128 w 128"/>
                <a:gd name="T23" fmla="*/ 97 h 296"/>
                <a:gd name="T24" fmla="*/ 73 w 128"/>
                <a:gd name="T25" fmla="*/ 97 h 296"/>
                <a:gd name="T26" fmla="*/ 73 w 128"/>
                <a:gd name="T27" fmla="*/ 223 h 296"/>
                <a:gd name="T28" fmla="*/ 80 w 128"/>
                <a:gd name="T29" fmla="*/ 256 h 296"/>
                <a:gd name="T30" fmla="*/ 106 w 128"/>
                <a:gd name="T31" fmla="*/ 265 h 296"/>
                <a:gd name="T32" fmla="*/ 128 w 128"/>
                <a:gd name="T33" fmla="*/ 258 h 296"/>
                <a:gd name="T34" fmla="*/ 128 w 128"/>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296">
                  <a:moveTo>
                    <a:pt x="128" y="288"/>
                  </a:moveTo>
                  <a:cubicBezTo>
                    <a:pt x="120" y="293"/>
                    <a:pt x="109" y="296"/>
                    <a:pt x="95" y="296"/>
                  </a:cubicBezTo>
                  <a:cubicBezTo>
                    <a:pt x="57" y="296"/>
                    <a:pt x="37" y="274"/>
                    <a:pt x="37" y="230"/>
                  </a:cubicBezTo>
                  <a:cubicBezTo>
                    <a:pt x="37" y="97"/>
                    <a:pt x="37" y="97"/>
                    <a:pt x="37" y="97"/>
                  </a:cubicBezTo>
                  <a:cubicBezTo>
                    <a:pt x="0" y="97"/>
                    <a:pt x="0" y="97"/>
                    <a:pt x="0" y="97"/>
                  </a:cubicBezTo>
                  <a:cubicBezTo>
                    <a:pt x="0" y="66"/>
                    <a:pt x="0" y="66"/>
                    <a:pt x="0" y="66"/>
                  </a:cubicBezTo>
                  <a:cubicBezTo>
                    <a:pt x="37" y="66"/>
                    <a:pt x="37" y="66"/>
                    <a:pt x="37" y="66"/>
                  </a:cubicBezTo>
                  <a:cubicBezTo>
                    <a:pt x="37" y="12"/>
                    <a:pt x="37" y="12"/>
                    <a:pt x="37" y="12"/>
                  </a:cubicBezTo>
                  <a:cubicBezTo>
                    <a:pt x="73" y="0"/>
                    <a:pt x="73" y="0"/>
                    <a:pt x="73" y="0"/>
                  </a:cubicBezTo>
                  <a:cubicBezTo>
                    <a:pt x="73" y="66"/>
                    <a:pt x="73" y="66"/>
                    <a:pt x="73" y="66"/>
                  </a:cubicBezTo>
                  <a:cubicBezTo>
                    <a:pt x="128" y="66"/>
                    <a:pt x="128" y="66"/>
                    <a:pt x="128" y="66"/>
                  </a:cubicBezTo>
                  <a:cubicBezTo>
                    <a:pt x="128" y="97"/>
                    <a:pt x="128" y="97"/>
                    <a:pt x="128" y="97"/>
                  </a:cubicBezTo>
                  <a:cubicBezTo>
                    <a:pt x="73" y="97"/>
                    <a:pt x="73" y="97"/>
                    <a:pt x="73" y="97"/>
                  </a:cubicBezTo>
                  <a:cubicBezTo>
                    <a:pt x="73" y="223"/>
                    <a:pt x="73" y="223"/>
                    <a:pt x="73" y="223"/>
                  </a:cubicBezTo>
                  <a:cubicBezTo>
                    <a:pt x="73" y="238"/>
                    <a:pt x="75" y="249"/>
                    <a:pt x="80" y="256"/>
                  </a:cubicBezTo>
                  <a:cubicBezTo>
                    <a:pt x="85" y="262"/>
                    <a:pt x="94" y="265"/>
                    <a:pt x="106" y="265"/>
                  </a:cubicBezTo>
                  <a:cubicBezTo>
                    <a:pt x="114" y="265"/>
                    <a:pt x="122" y="263"/>
                    <a:pt x="128" y="258"/>
                  </a:cubicBezTo>
                  <a:lnTo>
                    <a:pt x="128" y="28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4" name="Freeform 27"/>
            <p:cNvSpPr>
              <a:spLocks/>
            </p:cNvSpPr>
            <p:nvPr userDrawn="1"/>
          </p:nvSpPr>
          <p:spPr bwMode="black">
            <a:xfrm>
              <a:off x="1731798" y="3087003"/>
              <a:ext cx="305258" cy="383511"/>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5" name="Freeform 28"/>
            <p:cNvSpPr>
              <a:spLocks noEditPoints="1"/>
            </p:cNvSpPr>
            <p:nvPr userDrawn="1"/>
          </p:nvSpPr>
          <p:spPr bwMode="black">
            <a:xfrm>
              <a:off x="2118834" y="3087003"/>
              <a:ext cx="322178" cy="391971"/>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2" y="59"/>
                    <a:pt x="142" y="48"/>
                  </a:cubicBezTo>
                  <a:cubicBezTo>
                    <a:pt x="132" y="36"/>
                    <a:pt x="119" y="31"/>
                    <a:pt x="102" y="31"/>
                  </a:cubicBezTo>
                  <a:cubicBezTo>
                    <a:pt x="85" y="31"/>
                    <a:pt x="71" y="37"/>
                    <a:pt x="60" y="49"/>
                  </a:cubicBezTo>
                  <a:cubicBezTo>
                    <a:pt x="48" y="60"/>
                    <a:pt x="41" y="76"/>
                    <a:pt x="38" y="96"/>
                  </a:cubicBezTo>
                  <a:lnTo>
                    <a:pt x="157"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6" name="Freeform 29"/>
            <p:cNvSpPr>
              <a:spLocks/>
            </p:cNvSpPr>
            <p:nvPr userDrawn="1"/>
          </p:nvSpPr>
          <p:spPr bwMode="black">
            <a:xfrm>
              <a:off x="2527725" y="3088413"/>
              <a:ext cx="191756" cy="382101"/>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8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8" y="14"/>
                  </a:cubicBezTo>
                  <a:cubicBezTo>
                    <a:pt x="69" y="5"/>
                    <a:pt x="80" y="0"/>
                    <a:pt x="94" y="0"/>
                  </a:cubicBezTo>
                  <a:cubicBezTo>
                    <a:pt x="103" y="0"/>
                    <a:pt x="110" y="1"/>
                    <a:pt x="115" y="3"/>
                  </a:cubicBezTo>
                  <a:lnTo>
                    <a:pt x="115" y="4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7" name="Freeform 30"/>
            <p:cNvSpPr>
              <a:spLocks/>
            </p:cNvSpPr>
            <p:nvPr userDrawn="1"/>
          </p:nvSpPr>
          <p:spPr bwMode="black">
            <a:xfrm>
              <a:off x="419822" y="3728538"/>
              <a:ext cx="383511" cy="542133"/>
            </a:xfrm>
            <a:custGeom>
              <a:avLst/>
              <a:gdLst>
                <a:gd name="T0" fmla="*/ 230 w 230"/>
                <a:gd name="T1" fmla="*/ 307 h 325"/>
                <a:gd name="T2" fmla="*/ 145 w 230"/>
                <a:gd name="T3" fmla="*/ 325 h 325"/>
                <a:gd name="T4" fmla="*/ 69 w 230"/>
                <a:gd name="T5" fmla="*/ 306 h 325"/>
                <a:gd name="T6" fmla="*/ 17 w 230"/>
                <a:gd name="T7" fmla="*/ 250 h 325"/>
                <a:gd name="T8" fmla="*/ 0 w 230"/>
                <a:gd name="T9" fmla="*/ 169 h 325"/>
                <a:gd name="T10" fmla="*/ 20 w 230"/>
                <a:gd name="T11" fmla="*/ 82 h 325"/>
                <a:gd name="T12" fmla="*/ 76 w 230"/>
                <a:gd name="T13" fmla="*/ 22 h 325"/>
                <a:gd name="T14" fmla="*/ 157 w 230"/>
                <a:gd name="T15" fmla="*/ 0 h 325"/>
                <a:gd name="T16" fmla="*/ 230 w 230"/>
                <a:gd name="T17" fmla="*/ 13 h 325"/>
                <a:gd name="T18" fmla="*/ 230 w 230"/>
                <a:gd name="T19" fmla="*/ 52 h 325"/>
                <a:gd name="T20" fmla="*/ 157 w 230"/>
                <a:gd name="T21" fmla="*/ 33 h 325"/>
                <a:gd name="T22" fmla="*/ 95 w 230"/>
                <a:gd name="T23" fmla="*/ 50 h 325"/>
                <a:gd name="T24" fmla="*/ 52 w 230"/>
                <a:gd name="T25" fmla="*/ 97 h 325"/>
                <a:gd name="T26" fmla="*/ 37 w 230"/>
                <a:gd name="T27" fmla="*/ 166 h 325"/>
                <a:gd name="T28" fmla="*/ 51 w 230"/>
                <a:gd name="T29" fmla="*/ 232 h 325"/>
                <a:gd name="T30" fmla="*/ 91 w 230"/>
                <a:gd name="T31" fmla="*/ 276 h 325"/>
                <a:gd name="T32" fmla="*/ 150 w 230"/>
                <a:gd name="T33" fmla="*/ 292 h 325"/>
                <a:gd name="T34" fmla="*/ 230 w 230"/>
                <a:gd name="T35" fmla="*/ 271 h 325"/>
                <a:gd name="T36" fmla="*/ 230 w 230"/>
                <a:gd name="T37" fmla="*/ 30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0" h="325">
                  <a:moveTo>
                    <a:pt x="230" y="307"/>
                  </a:moveTo>
                  <a:cubicBezTo>
                    <a:pt x="207" y="319"/>
                    <a:pt x="179" y="325"/>
                    <a:pt x="145" y="325"/>
                  </a:cubicBezTo>
                  <a:cubicBezTo>
                    <a:pt x="116" y="325"/>
                    <a:pt x="91" y="319"/>
                    <a:pt x="69" y="306"/>
                  </a:cubicBezTo>
                  <a:cubicBezTo>
                    <a:pt x="47" y="293"/>
                    <a:pt x="29" y="274"/>
                    <a:pt x="17" y="250"/>
                  </a:cubicBezTo>
                  <a:cubicBezTo>
                    <a:pt x="6" y="226"/>
                    <a:pt x="0" y="199"/>
                    <a:pt x="0" y="169"/>
                  </a:cubicBezTo>
                  <a:cubicBezTo>
                    <a:pt x="0" y="137"/>
                    <a:pt x="6" y="108"/>
                    <a:pt x="20" y="82"/>
                  </a:cubicBezTo>
                  <a:cubicBezTo>
                    <a:pt x="33" y="56"/>
                    <a:pt x="52" y="36"/>
                    <a:pt x="76" y="22"/>
                  </a:cubicBezTo>
                  <a:cubicBezTo>
                    <a:pt x="100" y="7"/>
                    <a:pt x="127" y="0"/>
                    <a:pt x="157" y="0"/>
                  </a:cubicBezTo>
                  <a:cubicBezTo>
                    <a:pt x="186" y="0"/>
                    <a:pt x="210" y="5"/>
                    <a:pt x="230" y="13"/>
                  </a:cubicBezTo>
                  <a:cubicBezTo>
                    <a:pt x="230" y="52"/>
                    <a:pt x="230" y="52"/>
                    <a:pt x="230" y="52"/>
                  </a:cubicBezTo>
                  <a:cubicBezTo>
                    <a:pt x="208" y="40"/>
                    <a:pt x="183" y="33"/>
                    <a:pt x="157" y="33"/>
                  </a:cubicBezTo>
                  <a:cubicBezTo>
                    <a:pt x="133" y="33"/>
                    <a:pt x="113" y="39"/>
                    <a:pt x="95" y="50"/>
                  </a:cubicBezTo>
                  <a:cubicBezTo>
                    <a:pt x="76" y="61"/>
                    <a:pt x="62" y="76"/>
                    <a:pt x="52" y="97"/>
                  </a:cubicBezTo>
                  <a:cubicBezTo>
                    <a:pt x="42" y="117"/>
                    <a:pt x="37" y="140"/>
                    <a:pt x="37" y="166"/>
                  </a:cubicBezTo>
                  <a:cubicBezTo>
                    <a:pt x="37" y="191"/>
                    <a:pt x="42" y="213"/>
                    <a:pt x="51" y="232"/>
                  </a:cubicBezTo>
                  <a:cubicBezTo>
                    <a:pt x="61" y="251"/>
                    <a:pt x="74" y="266"/>
                    <a:pt x="91" y="276"/>
                  </a:cubicBezTo>
                  <a:cubicBezTo>
                    <a:pt x="108" y="287"/>
                    <a:pt x="128" y="292"/>
                    <a:pt x="150" y="292"/>
                  </a:cubicBezTo>
                  <a:cubicBezTo>
                    <a:pt x="181" y="292"/>
                    <a:pt x="207" y="285"/>
                    <a:pt x="230" y="271"/>
                  </a:cubicBezTo>
                  <a:lnTo>
                    <a:pt x="230" y="30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8" name="Freeform 31"/>
            <p:cNvSpPr>
              <a:spLocks noEditPoints="1"/>
            </p:cNvSpPr>
            <p:nvPr userDrawn="1"/>
          </p:nvSpPr>
          <p:spPr bwMode="black">
            <a:xfrm>
              <a:off x="871717" y="3878700"/>
              <a:ext cx="363772" cy="391971"/>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6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6"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9" name="Freeform 32"/>
            <p:cNvSpPr>
              <a:spLocks/>
            </p:cNvSpPr>
            <p:nvPr userDrawn="1"/>
          </p:nvSpPr>
          <p:spPr bwMode="black">
            <a:xfrm>
              <a:off x="1325022" y="3878700"/>
              <a:ext cx="305258" cy="383511"/>
            </a:xfrm>
            <a:custGeom>
              <a:avLst/>
              <a:gdLst>
                <a:gd name="T0" fmla="*/ 183 w 183"/>
                <a:gd name="T1" fmla="*/ 230 h 230"/>
                <a:gd name="T2" fmla="*/ 148 w 183"/>
                <a:gd name="T3" fmla="*/ 230 h 230"/>
                <a:gd name="T4" fmla="*/ 148 w 183"/>
                <a:gd name="T5" fmla="*/ 102 h 230"/>
                <a:gd name="T6" fmla="*/ 97 w 183"/>
                <a:gd name="T7" fmla="*/ 31 h 230"/>
                <a:gd name="T8" fmla="*/ 53 w 183"/>
                <a:gd name="T9" fmla="*/ 51 h 230"/>
                <a:gd name="T10" fmla="*/ 36 w 183"/>
                <a:gd name="T11" fmla="*/ 102 h 230"/>
                <a:gd name="T12" fmla="*/ 36 w 183"/>
                <a:gd name="T13" fmla="*/ 230 h 230"/>
                <a:gd name="T14" fmla="*/ 0 w 183"/>
                <a:gd name="T15" fmla="*/ 230 h 230"/>
                <a:gd name="T16" fmla="*/ 0 w 183"/>
                <a:gd name="T17" fmla="*/ 5 h 230"/>
                <a:gd name="T18" fmla="*/ 36 w 183"/>
                <a:gd name="T19" fmla="*/ 5 h 230"/>
                <a:gd name="T20" fmla="*/ 36 w 183"/>
                <a:gd name="T21" fmla="*/ 43 h 230"/>
                <a:gd name="T22" fmla="*/ 37 w 183"/>
                <a:gd name="T23" fmla="*/ 43 h 230"/>
                <a:gd name="T24" fmla="*/ 109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8" y="230"/>
                    <a:pt x="148" y="230"/>
                    <a:pt x="148" y="230"/>
                  </a:cubicBezTo>
                  <a:cubicBezTo>
                    <a:pt x="148" y="102"/>
                    <a:pt x="148" y="102"/>
                    <a:pt x="148" y="102"/>
                  </a:cubicBezTo>
                  <a:cubicBezTo>
                    <a:pt x="148" y="54"/>
                    <a:pt x="131" y="31"/>
                    <a:pt x="97" y="31"/>
                  </a:cubicBezTo>
                  <a:cubicBezTo>
                    <a:pt x="79" y="31"/>
                    <a:pt x="65" y="37"/>
                    <a:pt x="53" y="51"/>
                  </a:cubicBezTo>
                  <a:cubicBezTo>
                    <a:pt x="42" y="64"/>
                    <a:pt x="36" y="81"/>
                    <a:pt x="36" y="102"/>
                  </a:cubicBezTo>
                  <a:cubicBezTo>
                    <a:pt x="36" y="230"/>
                    <a:pt x="36" y="230"/>
                    <a:pt x="36" y="230"/>
                  </a:cubicBezTo>
                  <a:cubicBezTo>
                    <a:pt x="0" y="230"/>
                    <a:pt x="0" y="230"/>
                    <a:pt x="0" y="230"/>
                  </a:cubicBezTo>
                  <a:cubicBezTo>
                    <a:pt x="0" y="5"/>
                    <a:pt x="0" y="5"/>
                    <a:pt x="0" y="5"/>
                  </a:cubicBezTo>
                  <a:cubicBezTo>
                    <a:pt x="36" y="5"/>
                    <a:pt x="36" y="5"/>
                    <a:pt x="36" y="5"/>
                  </a:cubicBezTo>
                  <a:cubicBezTo>
                    <a:pt x="36" y="43"/>
                    <a:pt x="36" y="43"/>
                    <a:pt x="36" y="43"/>
                  </a:cubicBezTo>
                  <a:cubicBezTo>
                    <a:pt x="37" y="43"/>
                    <a:pt x="37" y="43"/>
                    <a:pt x="37" y="43"/>
                  </a:cubicBezTo>
                  <a:cubicBezTo>
                    <a:pt x="53" y="14"/>
                    <a:pt x="77" y="0"/>
                    <a:pt x="109" y="0"/>
                  </a:cubicBezTo>
                  <a:cubicBezTo>
                    <a:pt x="133" y="0"/>
                    <a:pt x="152" y="8"/>
                    <a:pt x="164" y="24"/>
                  </a:cubicBezTo>
                  <a:cubicBezTo>
                    <a:pt x="177" y="40"/>
                    <a:pt x="183" y="63"/>
                    <a:pt x="183" y="92"/>
                  </a:cubicBezTo>
                  <a:lnTo>
                    <a:pt x="183" y="2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 name="Freeform 33"/>
            <p:cNvSpPr>
              <a:spLocks/>
            </p:cNvSpPr>
            <p:nvPr userDrawn="1"/>
          </p:nvSpPr>
          <p:spPr bwMode="black">
            <a:xfrm>
              <a:off x="1702188" y="3700339"/>
              <a:ext cx="222070" cy="561872"/>
            </a:xfrm>
            <a:custGeom>
              <a:avLst/>
              <a:gdLst>
                <a:gd name="T0" fmla="*/ 133 w 133"/>
                <a:gd name="T1" fmla="*/ 36 h 337"/>
                <a:gd name="T2" fmla="*/ 110 w 133"/>
                <a:gd name="T3" fmla="*/ 30 h 337"/>
                <a:gd name="T4" fmla="*/ 73 w 133"/>
                <a:gd name="T5" fmla="*/ 78 h 337"/>
                <a:gd name="T6" fmla="*/ 73 w 133"/>
                <a:gd name="T7" fmla="*/ 112 h 337"/>
                <a:gd name="T8" fmla="*/ 124 w 133"/>
                <a:gd name="T9" fmla="*/ 112 h 337"/>
                <a:gd name="T10" fmla="*/ 124 w 133"/>
                <a:gd name="T11" fmla="*/ 143 h 337"/>
                <a:gd name="T12" fmla="*/ 73 w 133"/>
                <a:gd name="T13" fmla="*/ 143 h 337"/>
                <a:gd name="T14" fmla="*/ 73 w 133"/>
                <a:gd name="T15" fmla="*/ 337 h 337"/>
                <a:gd name="T16" fmla="*/ 37 w 133"/>
                <a:gd name="T17" fmla="*/ 337 h 337"/>
                <a:gd name="T18" fmla="*/ 37 w 133"/>
                <a:gd name="T19" fmla="*/ 143 h 337"/>
                <a:gd name="T20" fmla="*/ 0 w 133"/>
                <a:gd name="T21" fmla="*/ 143 h 337"/>
                <a:gd name="T22" fmla="*/ 0 w 133"/>
                <a:gd name="T23" fmla="*/ 112 h 337"/>
                <a:gd name="T24" fmla="*/ 37 w 133"/>
                <a:gd name="T25" fmla="*/ 112 h 337"/>
                <a:gd name="T26" fmla="*/ 37 w 133"/>
                <a:gd name="T27" fmla="*/ 76 h 337"/>
                <a:gd name="T28" fmla="*/ 57 w 133"/>
                <a:gd name="T29" fmla="*/ 21 h 337"/>
                <a:gd name="T30" fmla="*/ 107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6" y="32"/>
                    <a:pt x="118" y="30"/>
                    <a:pt x="110" y="30"/>
                  </a:cubicBezTo>
                  <a:cubicBezTo>
                    <a:pt x="85" y="30"/>
                    <a:pt x="73" y="46"/>
                    <a:pt x="73" y="78"/>
                  </a:cubicBezTo>
                  <a:cubicBezTo>
                    <a:pt x="73" y="112"/>
                    <a:pt x="73" y="112"/>
                    <a:pt x="73" y="112"/>
                  </a:cubicBezTo>
                  <a:cubicBezTo>
                    <a:pt x="124" y="112"/>
                    <a:pt x="124" y="112"/>
                    <a:pt x="124" y="112"/>
                  </a:cubicBezTo>
                  <a:cubicBezTo>
                    <a:pt x="124" y="143"/>
                    <a:pt x="124" y="143"/>
                    <a:pt x="124" y="143"/>
                  </a:cubicBezTo>
                  <a:cubicBezTo>
                    <a:pt x="73" y="143"/>
                    <a:pt x="73" y="143"/>
                    <a:pt x="73" y="143"/>
                  </a:cubicBezTo>
                  <a:cubicBezTo>
                    <a:pt x="73" y="337"/>
                    <a:pt x="73" y="337"/>
                    <a:pt x="73" y="337"/>
                  </a:cubicBezTo>
                  <a:cubicBezTo>
                    <a:pt x="37" y="337"/>
                    <a:pt x="37" y="337"/>
                    <a:pt x="37" y="337"/>
                  </a:cubicBezTo>
                  <a:cubicBezTo>
                    <a:pt x="37" y="143"/>
                    <a:pt x="37" y="143"/>
                    <a:pt x="37" y="143"/>
                  </a:cubicBezTo>
                  <a:cubicBezTo>
                    <a:pt x="0" y="143"/>
                    <a:pt x="0" y="143"/>
                    <a:pt x="0" y="143"/>
                  </a:cubicBezTo>
                  <a:cubicBezTo>
                    <a:pt x="0" y="112"/>
                    <a:pt x="0" y="112"/>
                    <a:pt x="0" y="112"/>
                  </a:cubicBezTo>
                  <a:cubicBezTo>
                    <a:pt x="37" y="112"/>
                    <a:pt x="37" y="112"/>
                    <a:pt x="37" y="112"/>
                  </a:cubicBezTo>
                  <a:cubicBezTo>
                    <a:pt x="37" y="76"/>
                    <a:pt x="37" y="76"/>
                    <a:pt x="37" y="76"/>
                  </a:cubicBezTo>
                  <a:cubicBezTo>
                    <a:pt x="37" y="53"/>
                    <a:pt x="44" y="35"/>
                    <a:pt x="57" y="21"/>
                  </a:cubicBezTo>
                  <a:cubicBezTo>
                    <a:pt x="70" y="7"/>
                    <a:pt x="87" y="0"/>
                    <a:pt x="107" y="0"/>
                  </a:cubicBezTo>
                  <a:cubicBezTo>
                    <a:pt x="118" y="0"/>
                    <a:pt x="127" y="1"/>
                    <a:pt x="133" y="4"/>
                  </a:cubicBezTo>
                  <a:lnTo>
                    <a:pt x="133" y="3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1" name="Freeform 34"/>
            <p:cNvSpPr>
              <a:spLocks noEditPoints="1"/>
            </p:cNvSpPr>
            <p:nvPr userDrawn="1"/>
          </p:nvSpPr>
          <p:spPr bwMode="black">
            <a:xfrm>
              <a:off x="1943998" y="3878700"/>
              <a:ext cx="321473" cy="391971"/>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1 w 193"/>
                <a:gd name="T35" fmla="*/ 31 h 235"/>
                <a:gd name="T36" fmla="*/ 59 w 193"/>
                <a:gd name="T37" fmla="*/ 49 h 235"/>
                <a:gd name="T38" fmla="*/ 37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2" y="235"/>
                    <a:pt x="101" y="235"/>
                  </a:cubicBezTo>
                  <a:cubicBezTo>
                    <a:pt x="69" y="235"/>
                    <a:pt x="45" y="225"/>
                    <a:pt x="27" y="204"/>
                  </a:cubicBezTo>
                  <a:cubicBezTo>
                    <a:pt x="9" y="183"/>
                    <a:pt x="0" y="155"/>
                    <a:pt x="0" y="118"/>
                  </a:cubicBezTo>
                  <a:cubicBezTo>
                    <a:pt x="0" y="96"/>
                    <a:pt x="5" y="76"/>
                    <a:pt x="14" y="58"/>
                  </a:cubicBezTo>
                  <a:cubicBezTo>
                    <a:pt x="22" y="39"/>
                    <a:pt x="35" y="25"/>
                    <a:pt x="50" y="15"/>
                  </a:cubicBezTo>
                  <a:cubicBezTo>
                    <a:pt x="66" y="5"/>
                    <a:pt x="83" y="0"/>
                    <a:pt x="102" y="0"/>
                  </a:cubicBezTo>
                  <a:cubicBezTo>
                    <a:pt x="130" y="0"/>
                    <a:pt x="153" y="9"/>
                    <a:pt x="169" y="28"/>
                  </a:cubicBezTo>
                  <a:cubicBezTo>
                    <a:pt x="185" y="47"/>
                    <a:pt x="193" y="74"/>
                    <a:pt x="193" y="108"/>
                  </a:cubicBezTo>
                  <a:lnTo>
                    <a:pt x="193" y="126"/>
                  </a:lnTo>
                  <a:close/>
                  <a:moveTo>
                    <a:pt x="157" y="96"/>
                  </a:moveTo>
                  <a:cubicBezTo>
                    <a:pt x="156" y="75"/>
                    <a:pt x="151" y="59"/>
                    <a:pt x="142" y="48"/>
                  </a:cubicBezTo>
                  <a:cubicBezTo>
                    <a:pt x="132" y="36"/>
                    <a:pt x="119" y="31"/>
                    <a:pt x="101" y="31"/>
                  </a:cubicBezTo>
                  <a:cubicBezTo>
                    <a:pt x="85" y="31"/>
                    <a:pt x="71" y="37"/>
                    <a:pt x="59" y="49"/>
                  </a:cubicBezTo>
                  <a:cubicBezTo>
                    <a:pt x="48" y="60"/>
                    <a:pt x="40" y="76"/>
                    <a:pt x="37" y="96"/>
                  </a:cubicBezTo>
                  <a:lnTo>
                    <a:pt x="157"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2" name="Freeform 35"/>
            <p:cNvSpPr>
              <a:spLocks/>
            </p:cNvSpPr>
            <p:nvPr userDrawn="1"/>
          </p:nvSpPr>
          <p:spPr bwMode="black">
            <a:xfrm>
              <a:off x="2350774" y="3880815"/>
              <a:ext cx="193166" cy="381396"/>
            </a:xfrm>
            <a:custGeom>
              <a:avLst/>
              <a:gdLst>
                <a:gd name="T0" fmla="*/ 116 w 116"/>
                <a:gd name="T1" fmla="*/ 41 h 229"/>
                <a:gd name="T2" fmla="*/ 89 w 116"/>
                <a:gd name="T3" fmla="*/ 33 h 229"/>
                <a:gd name="T4" fmla="*/ 50 w 116"/>
                <a:gd name="T5" fmla="*/ 56 h 229"/>
                <a:gd name="T6" fmla="*/ 36 w 116"/>
                <a:gd name="T7" fmla="*/ 114 h 229"/>
                <a:gd name="T8" fmla="*/ 36 w 116"/>
                <a:gd name="T9" fmla="*/ 229 h 229"/>
                <a:gd name="T10" fmla="*/ 0 w 116"/>
                <a:gd name="T11" fmla="*/ 229 h 229"/>
                <a:gd name="T12" fmla="*/ 0 w 116"/>
                <a:gd name="T13" fmla="*/ 4 h 229"/>
                <a:gd name="T14" fmla="*/ 36 w 116"/>
                <a:gd name="T15" fmla="*/ 4 h 229"/>
                <a:gd name="T16" fmla="*/ 36 w 116"/>
                <a:gd name="T17" fmla="*/ 51 h 229"/>
                <a:gd name="T18" fmla="*/ 37 w 116"/>
                <a:gd name="T19" fmla="*/ 51 h 229"/>
                <a:gd name="T20" fmla="*/ 59 w 116"/>
                <a:gd name="T21" fmla="*/ 14 h 229"/>
                <a:gd name="T22" fmla="*/ 94 w 116"/>
                <a:gd name="T23" fmla="*/ 0 h 229"/>
                <a:gd name="T24" fmla="*/ 116 w 116"/>
                <a:gd name="T25" fmla="*/ 3 h 229"/>
                <a:gd name="T26" fmla="*/ 116 w 116"/>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229">
                  <a:moveTo>
                    <a:pt x="116" y="41"/>
                  </a:moveTo>
                  <a:cubicBezTo>
                    <a:pt x="109" y="36"/>
                    <a:pt x="100" y="33"/>
                    <a:pt x="89" y="33"/>
                  </a:cubicBezTo>
                  <a:cubicBezTo>
                    <a:pt x="73" y="33"/>
                    <a:pt x="60" y="41"/>
                    <a:pt x="50" y="56"/>
                  </a:cubicBezTo>
                  <a:cubicBezTo>
                    <a:pt x="41"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7" y="51"/>
                    <a:pt x="37" y="51"/>
                    <a:pt x="37" y="51"/>
                  </a:cubicBezTo>
                  <a:cubicBezTo>
                    <a:pt x="42" y="35"/>
                    <a:pt x="49" y="23"/>
                    <a:pt x="59" y="14"/>
                  </a:cubicBezTo>
                  <a:cubicBezTo>
                    <a:pt x="69" y="5"/>
                    <a:pt x="81" y="0"/>
                    <a:pt x="94" y="0"/>
                  </a:cubicBezTo>
                  <a:cubicBezTo>
                    <a:pt x="104" y="0"/>
                    <a:pt x="111" y="1"/>
                    <a:pt x="116" y="3"/>
                  </a:cubicBezTo>
                  <a:lnTo>
                    <a:pt x="116" y="4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3" name="Freeform 36"/>
            <p:cNvSpPr>
              <a:spLocks noEditPoints="1"/>
            </p:cNvSpPr>
            <p:nvPr userDrawn="1"/>
          </p:nvSpPr>
          <p:spPr bwMode="black">
            <a:xfrm>
              <a:off x="2569319" y="3878700"/>
              <a:ext cx="322178" cy="391971"/>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1" y="59"/>
                    <a:pt x="142" y="48"/>
                  </a:cubicBezTo>
                  <a:cubicBezTo>
                    <a:pt x="132" y="36"/>
                    <a:pt x="119" y="31"/>
                    <a:pt x="102" y="31"/>
                  </a:cubicBezTo>
                  <a:cubicBezTo>
                    <a:pt x="85" y="31"/>
                    <a:pt x="71" y="37"/>
                    <a:pt x="60" y="49"/>
                  </a:cubicBezTo>
                  <a:cubicBezTo>
                    <a:pt x="48" y="60"/>
                    <a:pt x="41" y="76"/>
                    <a:pt x="38" y="96"/>
                  </a:cubicBezTo>
                  <a:lnTo>
                    <a:pt x="157"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4" name="Freeform 37"/>
            <p:cNvSpPr>
              <a:spLocks/>
            </p:cNvSpPr>
            <p:nvPr userDrawn="1"/>
          </p:nvSpPr>
          <p:spPr bwMode="black">
            <a:xfrm>
              <a:off x="2978210" y="3878700"/>
              <a:ext cx="304553" cy="383511"/>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5" name="Freeform 38"/>
            <p:cNvSpPr>
              <a:spLocks/>
            </p:cNvSpPr>
            <p:nvPr userDrawn="1"/>
          </p:nvSpPr>
          <p:spPr bwMode="black">
            <a:xfrm>
              <a:off x="3366656" y="3878700"/>
              <a:ext cx="274944" cy="391971"/>
            </a:xfrm>
            <a:custGeom>
              <a:avLst/>
              <a:gdLst>
                <a:gd name="T0" fmla="*/ 165 w 165"/>
                <a:gd name="T1" fmla="*/ 219 h 235"/>
                <a:gd name="T2" fmla="*/ 104 w 165"/>
                <a:gd name="T3" fmla="*/ 235 h 235"/>
                <a:gd name="T4" fmla="*/ 50 w 165"/>
                <a:gd name="T5" fmla="*/ 221 h 235"/>
                <a:gd name="T6" fmla="*/ 13 w 165"/>
                <a:gd name="T7" fmla="*/ 181 h 235"/>
                <a:gd name="T8" fmla="*/ 0 w 165"/>
                <a:gd name="T9" fmla="*/ 123 h 235"/>
                <a:gd name="T10" fmla="*/ 31 w 165"/>
                <a:gd name="T11" fmla="*/ 34 h 235"/>
                <a:gd name="T12" fmla="*/ 114 w 165"/>
                <a:gd name="T13" fmla="*/ 0 h 235"/>
                <a:gd name="T14" fmla="*/ 165 w 165"/>
                <a:gd name="T15" fmla="*/ 11 h 235"/>
                <a:gd name="T16" fmla="*/ 165 w 165"/>
                <a:gd name="T17" fmla="*/ 48 h 235"/>
                <a:gd name="T18" fmla="*/ 113 w 165"/>
                <a:gd name="T19" fmla="*/ 31 h 235"/>
                <a:gd name="T20" fmla="*/ 57 w 165"/>
                <a:gd name="T21" fmla="*/ 55 h 235"/>
                <a:gd name="T22" fmla="*/ 36 w 165"/>
                <a:gd name="T23" fmla="*/ 120 h 235"/>
                <a:gd name="T24" fmla="*/ 56 w 165"/>
                <a:gd name="T25" fmla="*/ 182 h 235"/>
                <a:gd name="T26" fmla="*/ 111 w 165"/>
                <a:gd name="T27" fmla="*/ 204 h 235"/>
                <a:gd name="T28" fmla="*/ 165 w 165"/>
                <a:gd name="T29" fmla="*/ 185 h 235"/>
                <a:gd name="T30" fmla="*/ 165 w 165"/>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235">
                  <a:moveTo>
                    <a:pt x="165" y="219"/>
                  </a:moveTo>
                  <a:cubicBezTo>
                    <a:pt x="148" y="230"/>
                    <a:pt x="128" y="235"/>
                    <a:pt x="104" y="235"/>
                  </a:cubicBezTo>
                  <a:cubicBezTo>
                    <a:pt x="84" y="235"/>
                    <a:pt x="66" y="230"/>
                    <a:pt x="50" y="221"/>
                  </a:cubicBezTo>
                  <a:cubicBezTo>
                    <a:pt x="34" y="212"/>
                    <a:pt x="22" y="198"/>
                    <a:pt x="13" y="181"/>
                  </a:cubicBezTo>
                  <a:cubicBezTo>
                    <a:pt x="4" y="164"/>
                    <a:pt x="0" y="144"/>
                    <a:pt x="0" y="123"/>
                  </a:cubicBezTo>
                  <a:cubicBezTo>
                    <a:pt x="0" y="86"/>
                    <a:pt x="10" y="56"/>
                    <a:pt x="31" y="34"/>
                  </a:cubicBezTo>
                  <a:cubicBezTo>
                    <a:pt x="52" y="11"/>
                    <a:pt x="80" y="0"/>
                    <a:pt x="114" y="0"/>
                  </a:cubicBezTo>
                  <a:cubicBezTo>
                    <a:pt x="134" y="0"/>
                    <a:pt x="151" y="4"/>
                    <a:pt x="165" y="11"/>
                  </a:cubicBezTo>
                  <a:cubicBezTo>
                    <a:pt x="165" y="48"/>
                    <a:pt x="165" y="48"/>
                    <a:pt x="165" y="48"/>
                  </a:cubicBezTo>
                  <a:cubicBezTo>
                    <a:pt x="149" y="36"/>
                    <a:pt x="131" y="31"/>
                    <a:pt x="113" y="31"/>
                  </a:cubicBezTo>
                  <a:cubicBezTo>
                    <a:pt x="90" y="31"/>
                    <a:pt x="71" y="39"/>
                    <a:pt x="57" y="55"/>
                  </a:cubicBezTo>
                  <a:cubicBezTo>
                    <a:pt x="43" y="72"/>
                    <a:pt x="36" y="93"/>
                    <a:pt x="36" y="120"/>
                  </a:cubicBezTo>
                  <a:cubicBezTo>
                    <a:pt x="36" y="146"/>
                    <a:pt x="42" y="167"/>
                    <a:pt x="56" y="182"/>
                  </a:cubicBezTo>
                  <a:cubicBezTo>
                    <a:pt x="70" y="197"/>
                    <a:pt x="88" y="204"/>
                    <a:pt x="111" y="204"/>
                  </a:cubicBezTo>
                  <a:cubicBezTo>
                    <a:pt x="130" y="204"/>
                    <a:pt x="148" y="198"/>
                    <a:pt x="165" y="185"/>
                  </a:cubicBezTo>
                  <a:lnTo>
                    <a:pt x="165" y="2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6" name="Freeform 39"/>
            <p:cNvSpPr>
              <a:spLocks noEditPoints="1"/>
            </p:cNvSpPr>
            <p:nvPr userDrawn="1"/>
          </p:nvSpPr>
          <p:spPr bwMode="black">
            <a:xfrm>
              <a:off x="3703638" y="3878700"/>
              <a:ext cx="320063" cy="391971"/>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9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9"/>
                  </a:cubicBezTo>
                  <a:cubicBezTo>
                    <a:pt x="47" y="60"/>
                    <a:pt x="40" y="76"/>
                    <a:pt x="37" y="96"/>
                  </a:cubicBezTo>
                  <a:lnTo>
                    <a:pt x="156"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157" name="TextBox 156"/>
          <p:cNvSpPr txBox="1"/>
          <p:nvPr userDrawn="1"/>
        </p:nvSpPr>
        <p:spPr>
          <a:xfrm>
            <a:off x="10603689" y="6062368"/>
            <a:ext cx="1558083" cy="634440"/>
          </a:xfrm>
          <a:prstGeom prst="rect">
            <a:avLst/>
          </a:prstGeom>
          <a:noFill/>
        </p:spPr>
        <p:txBody>
          <a:bodyPr wrap="none" lIns="182854" tIns="146283" rIns="182854" bIns="146283" rtlCol="0" anchor="b">
            <a:spAutoFit/>
          </a:bodyPr>
          <a:lstStyle/>
          <a:p>
            <a:pPr marL="0" marR="0" lvl="0" indent="0" algn="r" defTabSz="914224"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a:ln>
                  <a:noFill/>
                </a:ln>
                <a:gradFill>
                  <a:gsLst>
                    <a:gs pos="2917">
                      <a:schemeClr val="tx1"/>
                    </a:gs>
                    <a:gs pos="30000">
                      <a:schemeClr val="tx1"/>
                    </a:gs>
                  </a:gsLst>
                  <a:lin ang="5400000" scaled="0"/>
                </a:gradFill>
                <a:effectLst/>
                <a:uLnTx/>
                <a:uFillTx/>
              </a:rPr>
              <a:t>#WPC16</a:t>
            </a:r>
          </a:p>
        </p:txBody>
      </p:sp>
    </p:spTree>
    <p:extLst>
      <p:ext uri="{BB962C8B-B14F-4D97-AF65-F5344CB8AC3E}">
        <p14:creationId xmlns:p14="http://schemas.microsoft.com/office/powerpoint/2010/main" val="3550333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84180"/>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Tree>
    <p:extLst>
      <p:ext uri="{BB962C8B-B14F-4D97-AF65-F5344CB8AC3E}">
        <p14:creationId xmlns:p14="http://schemas.microsoft.com/office/powerpoint/2010/main" val="3633820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23457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5755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25613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04687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93849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19064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6914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87649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00022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Tree>
    <p:extLst>
      <p:ext uri="{BB962C8B-B14F-4D97-AF65-F5344CB8AC3E}">
        <p14:creationId xmlns:p14="http://schemas.microsoft.com/office/powerpoint/2010/main" val="971351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63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836153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104729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135693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45218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9475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94343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436251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defTabSz="932111"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a:ln>
                  <a:noFill/>
                </a:ln>
                <a:gradFill>
                  <a:gsLst>
                    <a:gs pos="0">
                      <a:schemeClr val="tx1"/>
                    </a:gs>
                    <a:gs pos="100000">
                      <a:schemeClr val="tx1"/>
                    </a:gs>
                  </a:gsLst>
                  <a:lin ang="5400000" scaled="0"/>
                </a:gradFill>
                <a:effectLst/>
                <a:uLnTx/>
                <a:uFillTx/>
                <a:cs typeface="Segoe UI" pitchFamily="34" charset="0"/>
              </a:rPr>
              <a:t>© 2017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220686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809477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9725410"/>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List">
    <p:spTree>
      <p:nvGrpSpPr>
        <p:cNvPr id="1" name=""/>
        <p:cNvGrpSpPr/>
        <p:nvPr/>
      </p:nvGrpSpPr>
      <p:grpSpPr>
        <a:xfrm>
          <a:off x="0" y="0"/>
          <a:ext cx="0" cy="0"/>
          <a:chOff x="0" y="0"/>
          <a:chExt cx="0" cy="0"/>
        </a:xfrm>
      </p:grpSpPr>
      <p:sp>
        <p:nvSpPr>
          <p:cNvPr id="5" name="Textplatzhalter 8"/>
          <p:cNvSpPr>
            <a:spLocks noGrp="1"/>
          </p:cNvSpPr>
          <p:nvPr>
            <p:ph type="body" sz="quarter" idx="13" hasCustomPrompt="1"/>
          </p:nvPr>
        </p:nvSpPr>
        <p:spPr>
          <a:xfrm>
            <a:off x="474342" y="411256"/>
            <a:ext cx="11486174" cy="979557"/>
          </a:xfrm>
          <a:prstGeom prst="rect">
            <a:avLst/>
          </a:prstGeom>
        </p:spPr>
        <p:txBody>
          <a:bodyPr lIns="0" tIns="0" rIns="0" bIns="0">
            <a:noAutofit/>
          </a:bodyPr>
          <a:lstStyle>
            <a:lvl1pPr marL="0" indent="0">
              <a:lnSpc>
                <a:spcPts val="2855"/>
              </a:lnSpc>
              <a:spcBef>
                <a:spcPts val="0"/>
              </a:spcBef>
              <a:buNone/>
              <a:defRPr sz="2855" b="1" cap="all" baseline="0">
                <a:solidFill>
                  <a:schemeClr val="bg2"/>
                </a:solidFill>
                <a:latin typeface="+mj-lt"/>
              </a:defRPr>
            </a:lvl1pPr>
          </a:lstStyle>
          <a:p>
            <a:pPr lvl="0"/>
            <a:r>
              <a:rPr lang="en-GB" noProof="0"/>
              <a:t>Edit headline by clicking</a:t>
            </a:r>
          </a:p>
        </p:txBody>
      </p:sp>
      <p:sp>
        <p:nvSpPr>
          <p:cNvPr id="6" name="Textplatzhalter 7"/>
          <p:cNvSpPr>
            <a:spLocks noGrp="1"/>
          </p:cNvSpPr>
          <p:nvPr>
            <p:ph type="body" sz="quarter" idx="14" hasCustomPrompt="1"/>
          </p:nvPr>
        </p:nvSpPr>
        <p:spPr>
          <a:xfrm>
            <a:off x="474342" y="1662324"/>
            <a:ext cx="11486174" cy="2510574"/>
          </a:xfrm>
          <a:prstGeom prst="rect">
            <a:avLst/>
          </a:prstGeom>
        </p:spPr>
        <p:txBody>
          <a:bodyPr lIns="0" tIns="0" rIns="0" bIns="0"/>
          <a:lstStyle>
            <a:lvl1pPr marL="271874" indent="-271874">
              <a:lnSpc>
                <a:spcPct val="100000"/>
              </a:lnSpc>
              <a:spcBef>
                <a:spcPts val="0"/>
              </a:spcBef>
              <a:spcAft>
                <a:spcPts val="1224"/>
              </a:spcAft>
              <a:buFont typeface="Symbol" pitchFamily="18" charset="2"/>
              <a:buChar char="-"/>
              <a:defRPr lang="de-DE" sz="2447" smtClean="0"/>
            </a:lvl1pPr>
            <a:lvl2pPr marL="729851" indent="-289675">
              <a:lnSpc>
                <a:spcPct val="100000"/>
              </a:lnSpc>
              <a:spcBef>
                <a:spcPts val="0"/>
              </a:spcBef>
              <a:spcAft>
                <a:spcPts val="1224"/>
              </a:spcAft>
              <a:buFont typeface="Symbol" pitchFamily="18" charset="2"/>
              <a:buChar char="-"/>
              <a:defRPr sz="2447">
                <a:latin typeface="+mn-lt"/>
                <a:ea typeface="BMW Type Global Pro Regular" pitchFamily="2" charset="0"/>
                <a:cs typeface="BMW Type Global Pro Regular" pitchFamily="2" charset="0"/>
              </a:defRPr>
            </a:lvl2pPr>
            <a:lvl3pPr marL="1098823" indent="-281583">
              <a:lnSpc>
                <a:spcPct val="100000"/>
              </a:lnSpc>
              <a:spcBef>
                <a:spcPts val="0"/>
              </a:spcBef>
              <a:spcAft>
                <a:spcPts val="1224"/>
              </a:spcAft>
              <a:buFont typeface="Symbol" pitchFamily="18" charset="2"/>
              <a:buChar char="-"/>
              <a:defRPr sz="2447">
                <a:latin typeface="+mn-lt"/>
                <a:ea typeface="BMW Type Global Pro Regular" pitchFamily="2" charset="0"/>
                <a:cs typeface="BMW Type Global Pro Regular" pitchFamily="2" charset="0"/>
              </a:defRPr>
            </a:lvl3pPr>
            <a:lvl4pPr marL="1459701" indent="-271874">
              <a:lnSpc>
                <a:spcPct val="100000"/>
              </a:lnSpc>
              <a:spcBef>
                <a:spcPts val="0"/>
              </a:spcBef>
              <a:spcAft>
                <a:spcPts val="1224"/>
              </a:spcAft>
              <a:buFont typeface="Symbol" pitchFamily="18" charset="2"/>
              <a:buChar char="-"/>
              <a:defRPr sz="2447">
                <a:latin typeface="+mn-lt"/>
                <a:ea typeface="BMW Type Global Pro Regular" pitchFamily="2" charset="0"/>
                <a:cs typeface="BMW Type Global Pro Regular" pitchFamily="2" charset="0"/>
              </a:defRPr>
            </a:lvl4pPr>
            <a:lvl5pPr marL="1828673" indent="-271874">
              <a:lnSpc>
                <a:spcPct val="100000"/>
              </a:lnSpc>
              <a:spcBef>
                <a:spcPts val="0"/>
              </a:spcBef>
              <a:spcAft>
                <a:spcPts val="1224"/>
              </a:spcAft>
              <a:buFont typeface="Symbol" pitchFamily="18" charset="2"/>
              <a:buChar char="-"/>
              <a:defRPr sz="2447">
                <a:latin typeface="+mn-lt"/>
                <a:ea typeface="BMW Type Global Pro Regular" pitchFamily="2" charset="0"/>
                <a:cs typeface="BMW Type Global Pro Regular" pitchFamily="2" charset="0"/>
              </a:defRPr>
            </a:lvl5pPr>
          </a:lstStyle>
          <a:p>
            <a:pPr lvl="0"/>
            <a:r>
              <a:rPr lang="en-GB" noProof="0"/>
              <a:t>Edit list by clicking</a:t>
            </a:r>
          </a:p>
          <a:p>
            <a:pPr lvl="1"/>
            <a:r>
              <a:rPr lang="en-GB" noProof="0"/>
              <a:t>Second layer</a:t>
            </a:r>
          </a:p>
          <a:p>
            <a:pPr lvl="2"/>
            <a:r>
              <a:rPr lang="en-GB" noProof="0"/>
              <a:t>Third layer</a:t>
            </a:r>
          </a:p>
          <a:p>
            <a:pPr lvl="3"/>
            <a:r>
              <a:rPr lang="en-GB" noProof="0"/>
              <a:t>Fourth layer</a:t>
            </a:r>
          </a:p>
          <a:p>
            <a:pPr lvl="4"/>
            <a:r>
              <a:rPr lang="en-GB" noProof="0"/>
              <a:t>Fifth layer</a:t>
            </a:r>
          </a:p>
        </p:txBody>
      </p:sp>
    </p:spTree>
    <p:extLst>
      <p:ext uri="{BB962C8B-B14F-4D97-AF65-F5344CB8AC3E}">
        <p14:creationId xmlns:p14="http://schemas.microsoft.com/office/powerpoint/2010/main" val="258651567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hasCustomPrompt="1"/>
          </p:nvPr>
        </p:nvSpPr>
        <p:spPr>
          <a:xfrm>
            <a:off x="274639" y="926617"/>
            <a:ext cx="11889564"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p:txBody>
      </p:sp>
    </p:spTree>
    <p:extLst>
      <p:ext uri="{BB962C8B-B14F-4D97-AF65-F5344CB8AC3E}">
        <p14:creationId xmlns:p14="http://schemas.microsoft.com/office/powerpoint/2010/main" val="405083831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321" y="802434"/>
            <a:ext cx="11033125" cy="410547"/>
          </a:xfrm>
          <a:prstGeom prst="rect">
            <a:avLst/>
          </a:prstGeom>
        </p:spPr>
        <p:txBody>
          <a:bodyPr lIns="192024"/>
          <a:lstStyle>
            <a:lvl1pPr marL="0" indent="0">
              <a:buNone/>
              <a:defRPr lang="en-US" sz="1599"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510351"/>
          </a:xfrm>
          <a:prstGeom prst="rect">
            <a:avLst/>
          </a:prstGeom>
        </p:spPr>
        <p:txBody>
          <a:bodyPr/>
          <a:lstStyle>
            <a:lvl1pPr algn="l">
              <a:defRPr sz="2800">
                <a:solidFill>
                  <a:schemeClr val="accent1"/>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defTabSz="931684" fontAlgn="base">
              <a:spcBef>
                <a:spcPct val="0"/>
              </a:spcBef>
              <a:spcAft>
                <a:spcPct val="0"/>
              </a:spcAft>
              <a:defRPr smtClean="0">
                <a:solidFill>
                  <a:srgbClr val="505050"/>
                </a:solidFill>
              </a:defRPr>
            </a:lvl1pPr>
          </a:lstStyle>
          <a:p>
            <a:pPr>
              <a:defRPr/>
            </a:pPr>
            <a:fld id="{56442AAA-6A77-5942-BCC4-0CCA4B0626F8}" type="slidenum">
              <a:rPr/>
              <a:pPr>
                <a:defRPr/>
              </a:pPr>
              <a:t>‹#›</a:t>
            </a:fld>
            <a:endParaRPr/>
          </a:p>
        </p:txBody>
      </p:sp>
    </p:spTree>
    <p:extLst>
      <p:ext uri="{BB962C8B-B14F-4D97-AF65-F5344CB8AC3E}">
        <p14:creationId xmlns:p14="http://schemas.microsoft.com/office/powerpoint/2010/main" val="2972217149"/>
      </p:ext>
    </p:extLst>
  </p:cSld>
  <p:clrMapOvr>
    <a:overrideClrMapping bg1="lt1" tx1="dk1" bg2="lt2" tx2="dk2" accent1="accent1" accent2="accent2" accent3="accent3" accent4="accent4" accent5="accent5" accent6="accent6" hlink="hlink" folHlink="folHlink"/>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slideLayout" Target="../slideLayouts/slideLayout178.xml"/><Relationship Id="rId39" Type="http://schemas.openxmlformats.org/officeDocument/2006/relationships/slideLayout" Target="../slideLayouts/slideLayout191.xml"/><Relationship Id="rId21" Type="http://schemas.openxmlformats.org/officeDocument/2006/relationships/slideLayout" Target="../slideLayouts/slideLayout173.xml"/><Relationship Id="rId34" Type="http://schemas.openxmlformats.org/officeDocument/2006/relationships/slideLayout" Target="../slideLayouts/slideLayout186.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33" Type="http://schemas.openxmlformats.org/officeDocument/2006/relationships/slideLayout" Target="../slideLayouts/slideLayout185.xml"/><Relationship Id="rId38" Type="http://schemas.openxmlformats.org/officeDocument/2006/relationships/slideLayout" Target="../slideLayouts/slideLayout190.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29" Type="http://schemas.openxmlformats.org/officeDocument/2006/relationships/slideLayout" Target="../slideLayouts/slideLayout181.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32" Type="http://schemas.openxmlformats.org/officeDocument/2006/relationships/slideLayout" Target="../slideLayouts/slideLayout184.xml"/><Relationship Id="rId37" Type="http://schemas.openxmlformats.org/officeDocument/2006/relationships/slideLayout" Target="../slideLayouts/slideLayout189.xml"/><Relationship Id="rId40" Type="http://schemas.openxmlformats.org/officeDocument/2006/relationships/theme" Target="../theme/theme10.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slideLayout" Target="../slideLayouts/slideLayout180.xml"/><Relationship Id="rId36" Type="http://schemas.openxmlformats.org/officeDocument/2006/relationships/slideLayout" Target="../slideLayouts/slideLayout188.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31" Type="http://schemas.openxmlformats.org/officeDocument/2006/relationships/slideLayout" Target="../slideLayouts/slideLayout183.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slideLayout" Target="../slideLayouts/slideLayout179.xml"/><Relationship Id="rId30" Type="http://schemas.openxmlformats.org/officeDocument/2006/relationships/slideLayout" Target="../slideLayouts/slideLayout182.xml"/><Relationship Id="rId35" Type="http://schemas.openxmlformats.org/officeDocument/2006/relationships/slideLayout" Target="../slideLayouts/slideLayout187.xml"/><Relationship Id="rId8" Type="http://schemas.openxmlformats.org/officeDocument/2006/relationships/slideLayout" Target="../slideLayouts/slideLayout160.xml"/><Relationship Id="rId3" Type="http://schemas.openxmlformats.org/officeDocument/2006/relationships/slideLayout" Target="../slideLayouts/slideLayout15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3" Type="http://schemas.openxmlformats.org/officeDocument/2006/relationships/slideLayout" Target="../slideLayouts/slideLayout194.xml"/><Relationship Id="rId21" Type="http://schemas.openxmlformats.org/officeDocument/2006/relationships/theme" Target="../theme/theme11.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slideLayout" Target="../slideLayouts/slideLayout211.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image" Target="../media/image3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3" Type="http://schemas.openxmlformats.org/officeDocument/2006/relationships/slideLayout" Target="../slideLayouts/slideLayout214.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theme" Target="../theme/theme12.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10" Type="http://schemas.openxmlformats.org/officeDocument/2006/relationships/slideLayout" Target="../slideLayouts/slideLayout221.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35.xml"/><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26" Type="http://schemas.openxmlformats.org/officeDocument/2006/relationships/slideLayout" Target="../slideLayouts/slideLayout253.xml"/><Relationship Id="rId3" Type="http://schemas.openxmlformats.org/officeDocument/2006/relationships/slideLayout" Target="../slideLayouts/slideLayout230.xml"/><Relationship Id="rId21" Type="http://schemas.openxmlformats.org/officeDocument/2006/relationships/slideLayout" Target="../slideLayouts/slideLayout248.xml"/><Relationship Id="rId7" Type="http://schemas.openxmlformats.org/officeDocument/2006/relationships/slideLayout" Target="../slideLayouts/slideLayout234.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5" Type="http://schemas.openxmlformats.org/officeDocument/2006/relationships/slideLayout" Target="../slideLayouts/slideLayout252.xm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0" Type="http://schemas.openxmlformats.org/officeDocument/2006/relationships/slideLayout" Target="../slideLayouts/slideLayout247.xml"/><Relationship Id="rId29" Type="http://schemas.openxmlformats.org/officeDocument/2006/relationships/image" Target="../media/image2.emf"/><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slideLayout" Target="../slideLayouts/slideLayout238.xml"/><Relationship Id="rId24" Type="http://schemas.openxmlformats.org/officeDocument/2006/relationships/slideLayout" Target="../slideLayouts/slideLayout251.xml"/><Relationship Id="rId5" Type="http://schemas.openxmlformats.org/officeDocument/2006/relationships/slideLayout" Target="../slideLayouts/slideLayout232.xml"/><Relationship Id="rId15" Type="http://schemas.openxmlformats.org/officeDocument/2006/relationships/slideLayout" Target="../slideLayouts/slideLayout242.xml"/><Relationship Id="rId23" Type="http://schemas.openxmlformats.org/officeDocument/2006/relationships/slideLayout" Target="../slideLayouts/slideLayout250.xml"/><Relationship Id="rId28" Type="http://schemas.openxmlformats.org/officeDocument/2006/relationships/theme" Target="../theme/theme13.xml"/><Relationship Id="rId10" Type="http://schemas.openxmlformats.org/officeDocument/2006/relationships/slideLayout" Target="../slideLayouts/slideLayout237.xml"/><Relationship Id="rId19" Type="http://schemas.openxmlformats.org/officeDocument/2006/relationships/slideLayout" Target="../slideLayouts/slideLayout246.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 Id="rId22" Type="http://schemas.openxmlformats.org/officeDocument/2006/relationships/slideLayout" Target="../slideLayouts/slideLayout249.xml"/><Relationship Id="rId27" Type="http://schemas.openxmlformats.org/officeDocument/2006/relationships/slideLayout" Target="../slideLayouts/slideLayout254.xml"/><Relationship Id="rId30" Type="http://schemas.openxmlformats.org/officeDocument/2006/relationships/image" Target="../media/image36.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theme" Target="../theme/theme14.xml"/><Relationship Id="rId3" Type="http://schemas.openxmlformats.org/officeDocument/2006/relationships/slideLayout" Target="../slideLayouts/slideLayout257.xml"/><Relationship Id="rId7" Type="http://schemas.openxmlformats.org/officeDocument/2006/relationships/slideLayout" Target="../slideLayouts/slideLayout261.xml"/><Relationship Id="rId12" Type="http://schemas.openxmlformats.org/officeDocument/2006/relationships/slideLayout" Target="../slideLayouts/slideLayout266.xml"/><Relationship Id="rId2" Type="http://schemas.openxmlformats.org/officeDocument/2006/relationships/slideLayout" Target="../slideLayouts/slideLayout256.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5" Type="http://schemas.openxmlformats.org/officeDocument/2006/relationships/slideLayout" Target="../slideLayouts/slideLayout259.xml"/><Relationship Id="rId10" Type="http://schemas.openxmlformats.org/officeDocument/2006/relationships/slideLayout" Target="../slideLayouts/slideLayout264.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image" Target="../media/image49.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image" Target="../media/image2.emf"/><Relationship Id="rId5" Type="http://schemas.openxmlformats.org/officeDocument/2006/relationships/theme" Target="../theme/theme3.xml"/><Relationship Id="rId4"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image" Target="../media/image3.jpeg"/><Relationship Id="rId2" Type="http://schemas.openxmlformats.org/officeDocument/2006/relationships/slideLayout" Target="../slideLayouts/slideLayout26.xml"/><Relationship Id="rId16" Type="http://schemas.openxmlformats.org/officeDocument/2006/relationships/theme" Target="../theme/theme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theme" Target="../theme/theme5.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image" Target="../media/image1.emf"/><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theme" Target="../theme/theme7.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slideLayout" Target="../slideLayouts/slideLayout128.xml"/><Relationship Id="rId39" Type="http://schemas.openxmlformats.org/officeDocument/2006/relationships/image" Target="../media/image10.png"/><Relationship Id="rId21" Type="http://schemas.openxmlformats.org/officeDocument/2006/relationships/slideLayout" Target="../slideLayouts/slideLayout123.xml"/><Relationship Id="rId34" Type="http://schemas.openxmlformats.org/officeDocument/2006/relationships/slideLayout" Target="../slideLayouts/slideLayout136.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33" Type="http://schemas.openxmlformats.org/officeDocument/2006/relationships/slideLayout" Target="../slideLayouts/slideLayout135.xml"/><Relationship Id="rId38" Type="http://schemas.openxmlformats.org/officeDocument/2006/relationships/theme" Target="../theme/theme8.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29" Type="http://schemas.openxmlformats.org/officeDocument/2006/relationships/slideLayout" Target="../slideLayouts/slideLayout131.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32" Type="http://schemas.openxmlformats.org/officeDocument/2006/relationships/slideLayout" Target="../slideLayouts/slideLayout134.xml"/><Relationship Id="rId37" Type="http://schemas.openxmlformats.org/officeDocument/2006/relationships/slideLayout" Target="../slideLayouts/slideLayout139.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slideLayout" Target="../slideLayouts/slideLayout130.xml"/><Relationship Id="rId36" Type="http://schemas.openxmlformats.org/officeDocument/2006/relationships/slideLayout" Target="../slideLayouts/slideLayout138.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31" Type="http://schemas.openxmlformats.org/officeDocument/2006/relationships/slideLayout" Target="../slideLayouts/slideLayout133.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slideLayout" Target="../slideLayouts/slideLayout129.xml"/><Relationship Id="rId30" Type="http://schemas.openxmlformats.org/officeDocument/2006/relationships/slideLayout" Target="../slideLayouts/slideLayout132.xml"/><Relationship Id="rId35" Type="http://schemas.openxmlformats.org/officeDocument/2006/relationships/slideLayout" Target="../slideLayouts/slideLayout137.xml"/><Relationship Id="rId8" Type="http://schemas.openxmlformats.org/officeDocument/2006/relationships/slideLayout" Target="../slideLayouts/slideLayout110.xml"/><Relationship Id="rId3" Type="http://schemas.openxmlformats.org/officeDocument/2006/relationships/slideLayout" Target="../slideLayouts/slideLayout10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oleObject" Target="../embeddings/oleObject1.bin"/><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tags" Target="../tags/tag2.xml"/><Relationship Id="rId2" Type="http://schemas.openxmlformats.org/officeDocument/2006/relationships/slideLayout" Target="../slideLayouts/slideLayout141.xml"/><Relationship Id="rId16" Type="http://schemas.openxmlformats.org/officeDocument/2006/relationships/tags" Target="../tags/tag1.xml"/><Relationship Id="rId20" Type="http://schemas.openxmlformats.org/officeDocument/2006/relationships/oleObject" Target="../embeddings/oleObject2.bin"/><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vmlDrawing" Target="../drawings/vmlDrawing1.vml"/><Relationship Id="rId10" Type="http://schemas.openxmlformats.org/officeDocument/2006/relationships/slideLayout" Target="../slideLayouts/slideLayout149.xml"/><Relationship Id="rId19" Type="http://schemas.openxmlformats.org/officeDocument/2006/relationships/image" Target="../media/image20.emf"/><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fr-FR"/>
              <a:t>Modifiez le style du titre</a:t>
            </a:r>
            <a:endParaRPr lang="en-US"/>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6" name="Image 5"/>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2926779" y="-24334"/>
            <a:ext cx="2338676" cy="7018859"/>
          </a:xfrm>
          <a:prstGeom prst="rect">
            <a:avLst/>
          </a:prstGeom>
        </p:spPr>
      </p:pic>
      <p:grpSp>
        <p:nvGrpSpPr>
          <p:cNvPr id="3" name="Group 2">
            <a:extLst>
              <a:ext uri="{FF2B5EF4-FFF2-40B4-BE49-F238E27FC236}">
                <a16:creationId xmlns:a16="http://schemas.microsoft.com/office/drawing/2014/main" id="{4225D727-F43A-4521-9AC6-E2C4A4F19CDB}"/>
              </a:ext>
            </a:extLst>
          </p:cNvPr>
          <p:cNvGrpSpPr/>
          <p:nvPr userDrawn="1"/>
        </p:nvGrpSpPr>
        <p:grpSpPr>
          <a:xfrm rot="16200000">
            <a:off x="-5112277" y="2882074"/>
            <a:ext cx="8572272" cy="1206042"/>
            <a:chOff x="513529" y="4111712"/>
            <a:chExt cx="8572272" cy="1206042"/>
          </a:xfrm>
        </p:grpSpPr>
        <p:sp>
          <p:nvSpPr>
            <p:cNvPr id="13" name="Rectangle 12">
              <a:extLst>
                <a:ext uri="{FF2B5EF4-FFF2-40B4-BE49-F238E27FC236}">
                  <a16:creationId xmlns:a16="http://schemas.microsoft.com/office/drawing/2014/main" id="{DAE689D2-6515-4C52-AFF4-514FDDD0E1CD}"/>
                </a:ext>
              </a:extLst>
            </p:cNvPr>
            <p:cNvSpPr/>
            <p:nvPr userDrawn="1"/>
          </p:nvSpPr>
          <p:spPr bwMode="auto">
            <a:xfrm>
              <a:off x="4673268" y="4111712"/>
              <a:ext cx="1206527" cy="1206042"/>
            </a:xfrm>
            <a:prstGeom prst="rect">
              <a:avLst/>
            </a:prstGeom>
            <a:solidFill>
              <a:srgbClr val="00765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Accent 3</a:t>
              </a:r>
            </a:p>
          </p:txBody>
        </p:sp>
        <p:sp>
          <p:nvSpPr>
            <p:cNvPr id="15" name="Rectangle 14">
              <a:extLst>
                <a:ext uri="{FF2B5EF4-FFF2-40B4-BE49-F238E27FC236}">
                  <a16:creationId xmlns:a16="http://schemas.microsoft.com/office/drawing/2014/main" id="{95F4AD5D-CAD9-4056-B066-555F944E01E9}"/>
                </a:ext>
              </a:extLst>
            </p:cNvPr>
            <p:cNvSpPr/>
            <p:nvPr userDrawn="1"/>
          </p:nvSpPr>
          <p:spPr bwMode="auto">
            <a:xfrm>
              <a:off x="3363642" y="4111712"/>
              <a:ext cx="1206527" cy="1206042"/>
            </a:xfrm>
            <a:prstGeom prst="rect">
              <a:avLst/>
            </a:prstGeom>
            <a:solidFill>
              <a:srgbClr val="27A68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Accent 2</a:t>
              </a:r>
            </a:p>
          </p:txBody>
        </p:sp>
        <p:sp>
          <p:nvSpPr>
            <p:cNvPr id="16" name="Rectangle 15">
              <a:extLst>
                <a:ext uri="{FF2B5EF4-FFF2-40B4-BE49-F238E27FC236}">
                  <a16:creationId xmlns:a16="http://schemas.microsoft.com/office/drawing/2014/main" id="{5F077F7E-EF22-430F-9CF2-1CB5D262E212}"/>
                </a:ext>
              </a:extLst>
            </p:cNvPr>
            <p:cNvSpPr/>
            <p:nvPr userDrawn="1"/>
          </p:nvSpPr>
          <p:spPr bwMode="auto">
            <a:xfrm>
              <a:off x="2054016" y="4111712"/>
              <a:ext cx="1206527" cy="1206042"/>
            </a:xfrm>
            <a:prstGeom prst="rect">
              <a:avLst/>
            </a:prstGeom>
            <a:solidFill>
              <a:srgbClr val="00856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Accent 1</a:t>
              </a:r>
            </a:p>
          </p:txBody>
        </p:sp>
        <p:sp>
          <p:nvSpPr>
            <p:cNvPr id="17" name="Rectangle 16">
              <a:extLst>
                <a:ext uri="{FF2B5EF4-FFF2-40B4-BE49-F238E27FC236}">
                  <a16:creationId xmlns:a16="http://schemas.microsoft.com/office/drawing/2014/main" id="{C682A0F4-C6DE-4020-917F-795E39012B9D}"/>
                </a:ext>
              </a:extLst>
            </p:cNvPr>
            <p:cNvSpPr/>
            <p:nvPr userDrawn="1"/>
          </p:nvSpPr>
          <p:spPr bwMode="auto">
            <a:xfrm>
              <a:off x="8150068" y="4262806"/>
              <a:ext cx="935733" cy="935357"/>
            </a:xfrm>
            <a:prstGeom prst="rect">
              <a:avLst/>
            </a:prstGeom>
            <a:solidFill>
              <a:srgbClr val="E84334"/>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Accent 6</a:t>
              </a:r>
            </a:p>
          </p:txBody>
        </p:sp>
        <p:sp>
          <p:nvSpPr>
            <p:cNvPr id="18" name="Rectangle 17">
              <a:extLst>
                <a:ext uri="{FF2B5EF4-FFF2-40B4-BE49-F238E27FC236}">
                  <a16:creationId xmlns:a16="http://schemas.microsoft.com/office/drawing/2014/main" id="{2923BB82-10CE-4BE0-9FDF-EC8979F99FCC}"/>
                </a:ext>
              </a:extLst>
            </p:cNvPr>
            <p:cNvSpPr/>
            <p:nvPr userDrawn="1"/>
          </p:nvSpPr>
          <p:spPr bwMode="auto">
            <a:xfrm>
              <a:off x="7118509" y="4262806"/>
              <a:ext cx="935733" cy="935357"/>
            </a:xfrm>
            <a:prstGeom prst="rect">
              <a:avLst/>
            </a:prstGeom>
            <a:solidFill>
              <a:srgbClr val="B14082"/>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Accent 5</a:t>
              </a:r>
            </a:p>
          </p:txBody>
        </p:sp>
        <p:sp>
          <p:nvSpPr>
            <p:cNvPr id="19" name="Rectangle 18">
              <a:extLst>
                <a:ext uri="{FF2B5EF4-FFF2-40B4-BE49-F238E27FC236}">
                  <a16:creationId xmlns:a16="http://schemas.microsoft.com/office/drawing/2014/main" id="{3CA8DDE0-207E-4F2D-B7D6-7FD4DD8FBB26}"/>
                </a:ext>
              </a:extLst>
            </p:cNvPr>
            <p:cNvSpPr/>
            <p:nvPr userDrawn="1"/>
          </p:nvSpPr>
          <p:spPr bwMode="auto">
            <a:xfrm>
              <a:off x="6079677" y="4262806"/>
              <a:ext cx="935733" cy="935357"/>
            </a:xfrm>
            <a:prstGeom prst="rect">
              <a:avLst/>
            </a:prstGeom>
            <a:solidFill>
              <a:srgbClr val="694182"/>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Accent 4</a:t>
              </a:r>
            </a:p>
          </p:txBody>
        </p:sp>
        <p:sp>
          <p:nvSpPr>
            <p:cNvPr id="20" name="Rectangle 19">
              <a:extLst>
                <a:ext uri="{FF2B5EF4-FFF2-40B4-BE49-F238E27FC236}">
                  <a16:creationId xmlns:a16="http://schemas.microsoft.com/office/drawing/2014/main" id="{B8E06F4E-3CA8-44C1-9BE8-285BAEB3EBE9}"/>
                </a:ext>
              </a:extLst>
            </p:cNvPr>
            <p:cNvSpPr/>
            <p:nvPr userDrawn="1"/>
          </p:nvSpPr>
          <p:spPr bwMode="auto">
            <a:xfrm>
              <a:off x="513529" y="4111712"/>
              <a:ext cx="1206527" cy="1206042"/>
            </a:xfrm>
            <a:prstGeom prst="rect">
              <a:avLst/>
            </a:prstGeom>
            <a:solidFill>
              <a:srgbClr val="005A4D"/>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Text</a:t>
              </a:r>
            </a:p>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Dark 2</a:t>
              </a:r>
            </a:p>
          </p:txBody>
        </p:sp>
      </p:gr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087" r:id="rId1"/>
    <p:sldLayoutId id="2147484098" r:id="rId2"/>
    <p:sldLayoutId id="2147484107" r:id="rId3"/>
    <p:sldLayoutId id="2147484086" r:id="rId4"/>
    <p:sldLayoutId id="2147484099" r:id="rId5"/>
    <p:sldLayoutId id="2147484100" r:id="rId6"/>
    <p:sldLayoutId id="2147484106" r:id="rId7"/>
    <p:sldLayoutId id="2147484089" r:id="rId8"/>
    <p:sldLayoutId id="2147484092" r:id="rId9"/>
    <p:sldLayoutId id="2147484124" r:id="rId10"/>
    <p:sldLayoutId id="2147484129" r:id="rId11"/>
    <p:sldLayoutId id="2147484134" r:id="rId12"/>
    <p:sldLayoutId id="2147484135" r:id="rId1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817BCF1-EDE9-46B3-A8B3-659212B54243}" type="datetimeFigureOut">
              <a:rPr lang="en-US" smtClean="0"/>
              <a:t>6/3/2019</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2766053932"/>
      </p:ext>
    </p:extLst>
  </p:cSld>
  <p:clrMap bg1="lt1" tx1="dk1" bg2="lt2" tx2="dk2" accent1="accent1" accent2="accent2" accent3="accent3" accent4="accent4" accent5="accent5" accent6="accent6" hlink="hlink" folHlink="folHlink"/>
  <p:sldLayoutIdLst>
    <p:sldLayoutId id="2147484346" r:id="rId1"/>
    <p:sldLayoutId id="2147484347" r:id="rId2"/>
    <p:sldLayoutId id="2147484348" r:id="rId3"/>
    <p:sldLayoutId id="2147484349" r:id="rId4"/>
    <p:sldLayoutId id="2147484350" r:id="rId5"/>
    <p:sldLayoutId id="2147484351" r:id="rId6"/>
    <p:sldLayoutId id="2147484352" r:id="rId7"/>
    <p:sldLayoutId id="2147484353" r:id="rId8"/>
    <p:sldLayoutId id="2147484354" r:id="rId9"/>
    <p:sldLayoutId id="2147484355" r:id="rId10"/>
    <p:sldLayoutId id="2147484356" r:id="rId11"/>
    <p:sldLayoutId id="2147484357" r:id="rId12"/>
    <p:sldLayoutId id="2147484358" r:id="rId13"/>
    <p:sldLayoutId id="2147484359" r:id="rId14"/>
    <p:sldLayoutId id="2147484360" r:id="rId15"/>
    <p:sldLayoutId id="2147484361" r:id="rId16"/>
    <p:sldLayoutId id="2147484362" r:id="rId17"/>
    <p:sldLayoutId id="2147484363" r:id="rId18"/>
    <p:sldLayoutId id="2147484364" r:id="rId19"/>
    <p:sldLayoutId id="2147484365" r:id="rId20"/>
    <p:sldLayoutId id="2147484366" r:id="rId21"/>
    <p:sldLayoutId id="2147484367" r:id="rId22"/>
    <p:sldLayoutId id="2147484368" r:id="rId23"/>
    <p:sldLayoutId id="2147484369" r:id="rId24"/>
    <p:sldLayoutId id="2147484370" r:id="rId25"/>
    <p:sldLayoutId id="2147484371" r:id="rId26"/>
    <p:sldLayoutId id="2147484372" r:id="rId27"/>
    <p:sldLayoutId id="2147484373" r:id="rId28"/>
    <p:sldLayoutId id="2147484374" r:id="rId29"/>
    <p:sldLayoutId id="2147484375" r:id="rId30"/>
    <p:sldLayoutId id="2147484376" r:id="rId31"/>
    <p:sldLayoutId id="2147484377" r:id="rId32"/>
    <p:sldLayoutId id="2147484378" r:id="rId33"/>
    <p:sldLayoutId id="2147484379" r:id="rId34"/>
    <p:sldLayoutId id="2147484380" r:id="rId35"/>
    <p:sldLayoutId id="2147484381" r:id="rId36"/>
    <p:sldLayoutId id="2147484382" r:id="rId37"/>
    <p:sldLayoutId id="2147484383" r:id="rId38"/>
    <p:sldLayoutId id="2147484384" r:id="rId39"/>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110000"/>
        </a:lnSpc>
        <a:spcBef>
          <a:spcPts val="1020"/>
        </a:spcBef>
        <a:spcAft>
          <a:spcPts val="612"/>
        </a:spcAft>
        <a:buFont typeface="Arial" panose="020B0604020202020204" pitchFamily="34" charset="0"/>
        <a:buChar char="•"/>
        <a:defRPr sz="2856" kern="1200">
          <a:solidFill>
            <a:schemeClr val="tx1"/>
          </a:solidFill>
          <a:latin typeface="+mj-lt"/>
          <a:ea typeface="+mn-ea"/>
          <a:cs typeface="+mn-cs"/>
        </a:defRPr>
      </a:lvl1pPr>
      <a:lvl2pPr marL="699447" indent="-233149" algn="l" defTabSz="932597" rtl="0" eaLnBrk="1" latinLnBrk="0" hangingPunct="1">
        <a:lnSpc>
          <a:spcPct val="110000"/>
        </a:lnSpc>
        <a:spcBef>
          <a:spcPts val="510"/>
        </a:spcBef>
        <a:spcAft>
          <a:spcPts val="612"/>
        </a:spcAft>
        <a:buFont typeface="Arial" panose="020B0604020202020204" pitchFamily="34" charset="0"/>
        <a:buChar char="•"/>
        <a:defRPr sz="2448" kern="1200">
          <a:solidFill>
            <a:schemeClr val="tx1"/>
          </a:solidFill>
          <a:latin typeface="+mj-lt"/>
          <a:ea typeface="+mn-ea"/>
          <a:cs typeface="+mn-cs"/>
        </a:defRPr>
      </a:lvl2pPr>
      <a:lvl3pPr marL="1165746" indent="-233149" algn="l" defTabSz="932597" rtl="0" eaLnBrk="1" latinLnBrk="0" hangingPunct="1">
        <a:lnSpc>
          <a:spcPct val="110000"/>
        </a:lnSpc>
        <a:spcBef>
          <a:spcPts val="510"/>
        </a:spcBef>
        <a:spcAft>
          <a:spcPts val="612"/>
        </a:spcAft>
        <a:buFont typeface="Arial" panose="020B0604020202020204" pitchFamily="34" charset="0"/>
        <a:buChar char="•"/>
        <a:defRPr sz="2040" kern="1200">
          <a:solidFill>
            <a:schemeClr val="tx1"/>
          </a:solidFill>
          <a:latin typeface="Segoe UI" panose="020B0502040204020203" pitchFamily="34" charset="0"/>
          <a:ea typeface="+mn-ea"/>
          <a:cs typeface="Segoe UI" panose="020B0502040204020203" pitchFamily="34" charset="0"/>
        </a:defRPr>
      </a:lvl3pPr>
      <a:lvl4pPr marL="1632044" indent="-233149" algn="l" defTabSz="932597" rtl="0" eaLnBrk="1" latinLnBrk="0" hangingPunct="1">
        <a:lnSpc>
          <a:spcPct val="110000"/>
        </a:lnSpc>
        <a:spcBef>
          <a:spcPts val="510"/>
        </a:spcBef>
        <a:spcAft>
          <a:spcPts val="612"/>
        </a:spcAft>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4pPr>
      <a:lvl5pPr marL="2098342" indent="-233149" algn="l" defTabSz="932597" rtl="0" eaLnBrk="1" latinLnBrk="0" hangingPunct="1">
        <a:lnSpc>
          <a:spcPct val="110000"/>
        </a:lnSpc>
        <a:spcBef>
          <a:spcPts val="510"/>
        </a:spcBef>
        <a:spcAft>
          <a:spcPts val="612"/>
        </a:spcAft>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906100487"/>
      </p:ext>
    </p:extLst>
  </p:cSld>
  <p:clrMap bg1="dk1" tx1="lt1" bg2="dk2" tx2="lt2" accent1="accent1" accent2="accent2" accent3="accent3" accent4="accent4" accent5="accent5" accent6="accent6" hlink="hlink" folHlink="folHlink"/>
  <p:sldLayoutIdLst>
    <p:sldLayoutId id="2147484427" r:id="rId1"/>
    <p:sldLayoutId id="2147484428" r:id="rId2"/>
    <p:sldLayoutId id="2147484429" r:id="rId3"/>
    <p:sldLayoutId id="2147484430" r:id="rId4"/>
    <p:sldLayoutId id="2147484431" r:id="rId5"/>
    <p:sldLayoutId id="2147484432" r:id="rId6"/>
    <p:sldLayoutId id="2147484433" r:id="rId7"/>
    <p:sldLayoutId id="2147484434" r:id="rId8"/>
    <p:sldLayoutId id="2147484435" r:id="rId9"/>
    <p:sldLayoutId id="2147484436" r:id="rId10"/>
    <p:sldLayoutId id="2147484437" r:id="rId11"/>
    <p:sldLayoutId id="2147484438" r:id="rId12"/>
    <p:sldLayoutId id="2147484439" r:id="rId13"/>
    <p:sldLayoutId id="2147484440" r:id="rId14"/>
    <p:sldLayoutId id="2147484441" r:id="rId15"/>
    <p:sldLayoutId id="2147484442" r:id="rId16"/>
    <p:sldLayoutId id="2147484443" r:id="rId17"/>
    <p:sldLayoutId id="2147484444" r:id="rId18"/>
    <p:sldLayoutId id="2147484445" r:id="rId19"/>
    <p:sldLayoutId id="2147484446" r:id="rId20"/>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799"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3DCD0012-0F5D-4F94-A7CE-6C640CDCBDDD}" type="datetimeFigureOut">
              <a:rPr lang="zh-CN" altLang="en-US" smtClean="0"/>
              <a:t>2019/06/03</a:t>
            </a:fld>
            <a:endParaRPr lang="zh-CN" altLang="en-US"/>
          </a:p>
        </p:txBody>
      </p:sp>
      <p:sp>
        <p:nvSpPr>
          <p:cNvPr id="5" name="页脚占位符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28BAFFC0-9880-46D2-BFF3-B75E6F515C3E}" type="slidenum">
              <a:rPr lang="zh-CN" altLang="en-US" smtClean="0"/>
              <a:t>‹#›</a:t>
            </a:fld>
            <a:endParaRPr lang="zh-CN" altLang="en-US"/>
          </a:p>
        </p:txBody>
      </p:sp>
    </p:spTree>
    <p:extLst>
      <p:ext uri="{BB962C8B-B14F-4D97-AF65-F5344CB8AC3E}">
        <p14:creationId xmlns:p14="http://schemas.microsoft.com/office/powerpoint/2010/main" val="4145947153"/>
      </p:ext>
    </p:extLst>
  </p:cSld>
  <p:clrMap bg1="lt1" tx1="dk1" bg2="lt2" tx2="dk2" accent1="accent1" accent2="accent2" accent3="accent3" accent4="accent4" accent5="accent5" accent6="accent6" hlink="hlink" folHlink="folHlink"/>
  <p:sldLayoutIdLst>
    <p:sldLayoutId id="2147484461" r:id="rId1"/>
    <p:sldLayoutId id="2147484462" r:id="rId2"/>
    <p:sldLayoutId id="2147484463" r:id="rId3"/>
    <p:sldLayoutId id="2147484464" r:id="rId4"/>
    <p:sldLayoutId id="2147484465" r:id="rId5"/>
    <p:sldLayoutId id="2147484466" r:id="rId6"/>
    <p:sldLayoutId id="2147484467" r:id="rId7"/>
    <p:sldLayoutId id="2147484468" r:id="rId8"/>
    <p:sldLayoutId id="2147484469" r:id="rId9"/>
    <p:sldLayoutId id="2147484470" r:id="rId10"/>
    <p:sldLayoutId id="2147484471" r:id="rId11"/>
    <p:sldLayoutId id="2147484472" r:id="rId12"/>
    <p:sldLayoutId id="2147484473" r:id="rId13"/>
    <p:sldLayoutId id="2147484474" r:id="rId14"/>
    <p:sldLayoutId id="2147484475" r:id="rId15"/>
    <p:sldLayoutId id="2147484477" r:id="rId16"/>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zh-CN"/>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975" y="444500"/>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9" y="1903775"/>
            <a:ext cx="11563350" cy="130189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9" cstate="email">
            <a:extLst>
              <a:ext uri="{28A0092B-C50C-407E-A947-70E740481C1C}">
                <a14:useLocalDpi xmlns:a14="http://schemas.microsoft.com/office/drawing/2010/main"/>
              </a:ext>
            </a:extLst>
          </a:blip>
          <a:stretch>
            <a:fillRect/>
          </a:stretch>
        </p:blipFill>
        <p:spPr>
          <a:xfrm rot="5400000">
            <a:off x="9883595" y="3071982"/>
            <a:ext cx="6995160" cy="849926"/>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rot="5400000">
            <a:off x="9221642" y="3285698"/>
            <a:ext cx="6994525" cy="423130"/>
          </a:xfrm>
          <a:prstGeom prst="rect">
            <a:avLst/>
          </a:prstGeom>
        </p:spPr>
      </p:pic>
    </p:spTree>
    <p:extLst>
      <p:ext uri="{BB962C8B-B14F-4D97-AF65-F5344CB8AC3E}">
        <p14:creationId xmlns:p14="http://schemas.microsoft.com/office/powerpoint/2010/main" val="3360547944"/>
      </p:ext>
    </p:extLst>
  </p:cSld>
  <p:clrMap bg1="lt1" tx1="dk1" bg2="lt2" tx2="dk2" accent1="accent1" accent2="accent2" accent3="accent3" accent4="accent4" accent5="accent5" accent6="accent6" hlink="hlink" folHlink="folHlink"/>
  <p:sldLayoutIdLst>
    <p:sldLayoutId id="2147484479" r:id="rId1"/>
    <p:sldLayoutId id="2147484480" r:id="rId2"/>
    <p:sldLayoutId id="2147484481" r:id="rId3"/>
    <p:sldLayoutId id="2147484482" r:id="rId4"/>
    <p:sldLayoutId id="2147484483" r:id="rId5"/>
    <p:sldLayoutId id="2147484484" r:id="rId6"/>
    <p:sldLayoutId id="2147484485" r:id="rId7"/>
    <p:sldLayoutId id="2147484486" r:id="rId8"/>
    <p:sldLayoutId id="2147484487" r:id="rId9"/>
    <p:sldLayoutId id="2147484488" r:id="rId10"/>
    <p:sldLayoutId id="2147484489" r:id="rId11"/>
    <p:sldLayoutId id="2147484490" r:id="rId12"/>
    <p:sldLayoutId id="2147484491" r:id="rId13"/>
    <p:sldLayoutId id="2147484492" r:id="rId14"/>
    <p:sldLayoutId id="2147484493" r:id="rId15"/>
    <p:sldLayoutId id="2147484494" r:id="rId16"/>
    <p:sldLayoutId id="2147484495" r:id="rId17"/>
    <p:sldLayoutId id="2147484496" r:id="rId18"/>
    <p:sldLayoutId id="2147484497" r:id="rId19"/>
    <p:sldLayoutId id="2147484498" r:id="rId20"/>
    <p:sldLayoutId id="2147484499" r:id="rId21"/>
    <p:sldLayoutId id="2147484500" r:id="rId22"/>
    <p:sldLayoutId id="2147484501" r:id="rId23"/>
    <p:sldLayoutId id="2147484502" r:id="rId24"/>
    <p:sldLayoutId id="2147484503" r:id="rId25"/>
    <p:sldLayoutId id="2147484504" r:id="rId26"/>
    <p:sldLayoutId id="2147484505" r:id="rId27"/>
  </p:sldLayoutIdLst>
  <p:transition>
    <p:fade/>
  </p:transition>
  <p:txStyles>
    <p:titleStyle>
      <a:lvl1pPr algn="l" defTabSz="932563" rtl="0" eaLnBrk="1" latinLnBrk="0" hangingPunct="1">
        <a:lnSpc>
          <a:spcPct val="90000"/>
        </a:lnSpc>
        <a:spcBef>
          <a:spcPct val="0"/>
        </a:spcBef>
        <a:buNone/>
        <a:defRPr lang="en-US" sz="3199" b="0" kern="1200" cap="none" spc="-150" baseline="0" dirty="0" smtClean="0">
          <a:ln w="3175">
            <a:noFill/>
          </a:ln>
          <a:solidFill>
            <a:srgbClr val="000000"/>
          </a:solidFill>
          <a:effectLst/>
          <a:latin typeface="+mj-lt"/>
          <a:ea typeface="+mn-ea"/>
          <a:cs typeface="Segoe UI" pitchFamily="34" charset="0"/>
        </a:defRPr>
      </a:lvl1pPr>
    </p:titleStyle>
    <p:body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6260624"/>
      </p:ext>
    </p:extLst>
  </p:cSld>
  <p:clrMap bg1="lt1" tx1="dk1" bg2="lt2" tx2="dk2" accent1="accent1" accent2="accent2" accent3="accent3" accent4="accent4" accent5="accent5" accent6="accent6" hlink="hlink" folHlink="folHlink"/>
  <p:sldLayoutIdLst>
    <p:sldLayoutId id="2147484507" r:id="rId1"/>
    <p:sldLayoutId id="2147484508" r:id="rId2"/>
    <p:sldLayoutId id="2147484509" r:id="rId3"/>
    <p:sldLayoutId id="2147484510" r:id="rId4"/>
    <p:sldLayoutId id="2147484511" r:id="rId5"/>
    <p:sldLayoutId id="2147484512" r:id="rId6"/>
    <p:sldLayoutId id="2147484513" r:id="rId7"/>
    <p:sldLayoutId id="2147484514" r:id="rId8"/>
    <p:sldLayoutId id="2147484515" r:id="rId9"/>
    <p:sldLayoutId id="2147484516" r:id="rId10"/>
    <p:sldLayoutId id="2147484517" r:id="rId11"/>
    <p:sldLayoutId id="2147484518" r:id="rId12"/>
  </p:sldLayoutIdLst>
  <p:transition>
    <p:fade/>
  </p:transition>
  <p:hf sldNum="0" hdr="0" ftr="0" dt="0"/>
  <p:txStyles>
    <p:titleStyle>
      <a:lvl1pPr algn="l" defTabSz="951304"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Image 1"/>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2926779" y="-24334"/>
            <a:ext cx="2338676" cy="7018859"/>
          </a:xfrm>
          <a:prstGeom prst="rect">
            <a:avLst/>
          </a:prstGeom>
        </p:spPr>
      </p:pic>
    </p:spTree>
    <p:extLst>
      <p:ext uri="{BB962C8B-B14F-4D97-AF65-F5344CB8AC3E}">
        <p14:creationId xmlns:p14="http://schemas.microsoft.com/office/powerpoint/2010/main" val="2531437848"/>
      </p:ext>
    </p:extLst>
  </p:cSld>
  <p:clrMap bg1="lt1" tx1="dk1" bg2="lt2" tx2="dk2" accent1="accent1" accent2="accent2" accent3="accent3" accent4="accent4" accent5="accent5" accent6="accent6" hlink="hlink" folHlink="folHlink"/>
  <p:sldLayoutIdLst>
    <p:sldLayoutId id="2147484109" r:id="rId1"/>
    <p:sldLayoutId id="2147484120" r:id="rId2"/>
    <p:sldLayoutId id="2147484121" r:id="rId3"/>
    <p:sldLayoutId id="2147484122" r:id="rId4"/>
    <p:sldLayoutId id="2147484123" r:id="rId5"/>
    <p:sldLayoutId id="2147484125" r:id="rId6"/>
    <p:sldLayoutId id="2147484130"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1483346548"/>
      </p:ext>
    </p:extLst>
  </p:cSld>
  <p:clrMap bg1="lt1" tx1="dk1" bg2="lt2" tx2="dk2" accent1="accent1" accent2="accent2" accent3="accent3" accent4="accent4" accent5="accent5" accent6="accent6" hlink="hlink" folHlink="folHlink"/>
  <p:sldLayoutIdLst>
    <p:sldLayoutId id="2147484154" r:id="rId1"/>
    <p:sldLayoutId id="2147484155" r:id="rId2"/>
    <p:sldLayoutId id="2147484156" r:id="rId3"/>
    <p:sldLayoutId id="2147484157" r:id="rId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03DA3463-51ED-4E09-B4E0-6096900C97C1}" type="datetimeFigureOut">
              <a:rPr lang="zh-CN" altLang="en-US" smtClean="0"/>
              <a:t>2019/06/03</a:t>
            </a:fld>
            <a:endParaRPr lang="zh-CN" altLang="en-US"/>
          </a:p>
        </p:txBody>
      </p:sp>
      <p:sp>
        <p:nvSpPr>
          <p:cNvPr id="5" name="页脚占位符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CFA74CA4-EAEF-40BC-A585-C24F4417E261}" type="slidenum">
              <a:rPr lang="zh-CN" altLang="en-US" smtClean="0"/>
              <a:t>‹#›</a:t>
            </a:fld>
            <a:endParaRPr lang="zh-CN" altLang="en-US"/>
          </a:p>
        </p:txBody>
      </p:sp>
      <p:pic>
        <p:nvPicPr>
          <p:cNvPr id="7" name="图片 6"/>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1" y="0"/>
            <a:ext cx="12437939" cy="6994525"/>
          </a:xfrm>
          <a:prstGeom prst="rect">
            <a:avLst/>
          </a:prstGeom>
        </p:spPr>
      </p:pic>
    </p:spTree>
    <p:extLst>
      <p:ext uri="{BB962C8B-B14F-4D97-AF65-F5344CB8AC3E}">
        <p14:creationId xmlns:p14="http://schemas.microsoft.com/office/powerpoint/2010/main" val="3205618198"/>
      </p:ext>
    </p:extLst>
  </p:cSld>
  <p:clrMap bg1="lt1" tx1="dk1" bg2="lt2" tx2="dk2" accent1="accent1" accent2="accent2" accent3="accent3" accent4="accent4" accent5="accent5" accent6="accent6" hlink="hlink" folHlink="folHlink"/>
  <p:sldLayoutIdLst>
    <p:sldLayoutId id="2147484159" r:id="rId1"/>
    <p:sldLayoutId id="2147484160" r:id="rId2"/>
    <p:sldLayoutId id="2147484161" r:id="rId3"/>
    <p:sldLayoutId id="2147484162" r:id="rId4"/>
    <p:sldLayoutId id="2147484163" r:id="rId5"/>
    <p:sldLayoutId id="2147484164" r:id="rId6"/>
    <p:sldLayoutId id="2147484165" r:id="rId7"/>
    <p:sldLayoutId id="2147484166" r:id="rId8"/>
    <p:sldLayoutId id="2147484167" r:id="rId9"/>
    <p:sldLayoutId id="2147484168" r:id="rId10"/>
    <p:sldLayoutId id="2147484169" r:id="rId11"/>
    <p:sldLayoutId id="2147484170" r:id="rId12"/>
    <p:sldLayoutId id="2147484174" r:id="rId13"/>
    <p:sldLayoutId id="2147484175" r:id="rId14"/>
    <p:sldLayoutId id="2147484176" r:id="rId15"/>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zh-CN"/>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1770725554"/>
      </p:ext>
    </p:extLst>
  </p:cSld>
  <p:clrMap bg1="lt1" tx1="dk1" bg2="lt2" tx2="dk2" accent1="accent1" accent2="accent2" accent3="accent3" accent4="accent4" accent5="accent5" accent6="accent6" hlink="hlink" folHlink="folHlink"/>
  <p:sldLayoutIdLst>
    <p:sldLayoutId id="2147484191" r:id="rId1"/>
    <p:sldLayoutId id="2147484192" r:id="rId2"/>
    <p:sldLayoutId id="2147484193" r:id="rId3"/>
    <p:sldLayoutId id="2147484194" r:id="rId4"/>
    <p:sldLayoutId id="2147484195" r:id="rId5"/>
    <p:sldLayoutId id="2147484196" r:id="rId6"/>
    <p:sldLayoutId id="2147484197" r:id="rId7"/>
    <p:sldLayoutId id="2147484198" r:id="rId8"/>
    <p:sldLayoutId id="2147484199" r:id="rId9"/>
    <p:sldLayoutId id="2147484200" r:id="rId10"/>
    <p:sldLayoutId id="2147484201" r:id="rId11"/>
    <p:sldLayoutId id="2147484202" r:id="rId12"/>
    <p:sldLayoutId id="2147484203" r:id="rId13"/>
    <p:sldLayoutId id="2147484204" r:id="rId14"/>
    <p:sldLayoutId id="2147484205" r:id="rId15"/>
    <p:sldLayoutId id="2147484206" r:id="rId16"/>
    <p:sldLayoutId id="2147484207" r:id="rId17"/>
    <p:sldLayoutId id="2147484208" r:id="rId18"/>
    <p:sldLayoutId id="2147484209" r:id="rId19"/>
    <p:sldLayoutId id="2147484210" r:id="rId20"/>
    <p:sldLayoutId id="2147484211" r:id="rId21"/>
    <p:sldLayoutId id="2147484212" r:id="rId22"/>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fr-FR"/>
              <a:t>Modifiez le style du titre</a:t>
            </a:r>
            <a:endParaRPr lang="en-US"/>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6" name="Image 5"/>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2926779" y="-24334"/>
            <a:ext cx="2338676" cy="7018859"/>
          </a:xfrm>
          <a:prstGeom prst="rect">
            <a:avLst/>
          </a:prstGeom>
        </p:spPr>
      </p:pic>
      <p:grpSp>
        <p:nvGrpSpPr>
          <p:cNvPr id="3" name="Group 2"/>
          <p:cNvGrpSpPr/>
          <p:nvPr userDrawn="1"/>
        </p:nvGrpSpPr>
        <p:grpSpPr>
          <a:xfrm rot="16200000">
            <a:off x="-5112277" y="2882074"/>
            <a:ext cx="8572272" cy="1206042"/>
            <a:chOff x="513529" y="4111712"/>
            <a:chExt cx="8572272" cy="1206042"/>
          </a:xfrm>
        </p:grpSpPr>
        <p:sp>
          <p:nvSpPr>
            <p:cNvPr id="13" name="Rectangle 12"/>
            <p:cNvSpPr/>
            <p:nvPr userDrawn="1"/>
          </p:nvSpPr>
          <p:spPr bwMode="auto">
            <a:xfrm>
              <a:off x="4673268" y="4111712"/>
              <a:ext cx="1206527" cy="1206042"/>
            </a:xfrm>
            <a:prstGeom prst="rect">
              <a:avLst/>
            </a:prstGeom>
            <a:solidFill>
              <a:srgbClr val="00765F"/>
            </a:solidFill>
            <a:ln w="10795" cap="flat" cmpd="sng" algn="ctr">
              <a:noFill/>
              <a:prstDash val="solid"/>
              <a:headEnd type="none" w="med" len="med"/>
              <a:tailEnd type="none" w="med" len="med"/>
            </a:ln>
            <a:effectLst/>
          </p:spPr>
          <p:txBody>
            <a:bodyPr vert="horz" wrap="square" lIns="0" tIns="46637" rIns="0" bIns="46637" numCol="1" rtlCol="0" anchor="ctr" anchorCtr="0" compatLnSpc="1"/>
            <a:lstStyle/>
            <a:p>
              <a:pPr marL="0" marR="0" lvl="0" indent="0" algn="ctr" defTabSz="932180" eaLnBrk="1" fontAlgn="base" latinLnBrk="0" hangingPunct="1">
                <a:lnSpc>
                  <a:spcPct val="100000"/>
                </a:lnSpc>
                <a:spcBef>
                  <a:spcPct val="0"/>
                </a:spcBef>
                <a:spcAft>
                  <a:spcPct val="0"/>
                </a:spcAft>
                <a:buClrTx/>
                <a:buSzTx/>
                <a:buFontTx/>
                <a:buNone/>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a:ea typeface="+mn-ea"/>
                  <a:cs typeface="+mn-cs"/>
                </a:rPr>
                <a:t>Accent 3</a:t>
              </a:r>
            </a:p>
          </p:txBody>
        </p:sp>
        <p:sp>
          <p:nvSpPr>
            <p:cNvPr id="15" name="Rectangle 14"/>
            <p:cNvSpPr/>
            <p:nvPr userDrawn="1"/>
          </p:nvSpPr>
          <p:spPr bwMode="auto">
            <a:xfrm>
              <a:off x="3363642" y="4111712"/>
              <a:ext cx="1206527" cy="1206042"/>
            </a:xfrm>
            <a:prstGeom prst="rect">
              <a:avLst/>
            </a:prstGeom>
            <a:solidFill>
              <a:srgbClr val="27A68C"/>
            </a:solidFill>
            <a:ln w="10795" cap="flat" cmpd="sng" algn="ctr">
              <a:noFill/>
              <a:prstDash val="solid"/>
              <a:headEnd type="none" w="med" len="med"/>
              <a:tailEnd type="none" w="med" len="med"/>
            </a:ln>
            <a:effectLst/>
          </p:spPr>
          <p:txBody>
            <a:bodyPr vert="horz" wrap="square" lIns="0" tIns="46637" rIns="0" bIns="46637" numCol="1" rtlCol="0" anchor="ctr" anchorCtr="0" compatLnSpc="1"/>
            <a:lstStyle/>
            <a:p>
              <a:pPr marL="0" marR="0" lvl="0" indent="0" algn="ctr" defTabSz="932180" eaLnBrk="1" fontAlgn="base" latinLnBrk="0" hangingPunct="1">
                <a:lnSpc>
                  <a:spcPct val="100000"/>
                </a:lnSpc>
                <a:spcBef>
                  <a:spcPct val="0"/>
                </a:spcBef>
                <a:spcAft>
                  <a:spcPct val="0"/>
                </a:spcAft>
                <a:buClrTx/>
                <a:buSzTx/>
                <a:buFontTx/>
                <a:buNone/>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a:ea typeface="+mn-ea"/>
                  <a:cs typeface="+mn-cs"/>
                </a:rPr>
                <a:t>Accent 2</a:t>
              </a:r>
            </a:p>
          </p:txBody>
        </p:sp>
        <p:sp>
          <p:nvSpPr>
            <p:cNvPr id="16" name="Rectangle 15"/>
            <p:cNvSpPr/>
            <p:nvPr userDrawn="1"/>
          </p:nvSpPr>
          <p:spPr bwMode="auto">
            <a:xfrm>
              <a:off x="2054016" y="4111712"/>
              <a:ext cx="1206527" cy="1206042"/>
            </a:xfrm>
            <a:prstGeom prst="rect">
              <a:avLst/>
            </a:prstGeom>
            <a:solidFill>
              <a:srgbClr val="00856A"/>
            </a:solidFill>
            <a:ln w="10795" cap="flat" cmpd="sng" algn="ctr">
              <a:noFill/>
              <a:prstDash val="solid"/>
              <a:headEnd type="none" w="med" len="med"/>
              <a:tailEnd type="none" w="med" len="med"/>
            </a:ln>
            <a:effectLst/>
          </p:spPr>
          <p:txBody>
            <a:bodyPr vert="horz" wrap="square" lIns="0" tIns="46637" rIns="0" bIns="46637" numCol="1" rtlCol="0" anchor="ctr" anchorCtr="0" compatLnSpc="1"/>
            <a:lstStyle/>
            <a:p>
              <a:pPr marL="0" marR="0" lvl="0" indent="0" algn="ctr" defTabSz="932180" eaLnBrk="1" fontAlgn="base" latinLnBrk="0" hangingPunct="1">
                <a:lnSpc>
                  <a:spcPct val="100000"/>
                </a:lnSpc>
                <a:spcBef>
                  <a:spcPct val="0"/>
                </a:spcBef>
                <a:spcAft>
                  <a:spcPct val="0"/>
                </a:spcAft>
                <a:buClrTx/>
                <a:buSzTx/>
                <a:buFontTx/>
                <a:buNone/>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a:ea typeface="+mn-ea"/>
                  <a:cs typeface="+mn-cs"/>
                </a:rPr>
                <a:t>Accent 1</a:t>
              </a:r>
            </a:p>
          </p:txBody>
        </p:sp>
        <p:sp>
          <p:nvSpPr>
            <p:cNvPr id="17" name="Rectangle 16"/>
            <p:cNvSpPr/>
            <p:nvPr userDrawn="1"/>
          </p:nvSpPr>
          <p:spPr bwMode="auto">
            <a:xfrm>
              <a:off x="8150068" y="4262806"/>
              <a:ext cx="935733" cy="935357"/>
            </a:xfrm>
            <a:prstGeom prst="rect">
              <a:avLst/>
            </a:prstGeom>
            <a:solidFill>
              <a:srgbClr val="E84334"/>
            </a:solidFill>
            <a:ln w="10795" cap="flat" cmpd="sng" algn="ctr">
              <a:noFill/>
              <a:prstDash val="solid"/>
              <a:headEnd type="none" w="med" len="med"/>
              <a:tailEnd type="none" w="med" len="med"/>
            </a:ln>
            <a:effectLst/>
          </p:spPr>
          <p:txBody>
            <a:bodyPr vert="horz" wrap="square" lIns="0" tIns="46637" rIns="0" bIns="46637" numCol="1" rtlCol="0" anchor="ctr" anchorCtr="0" compatLnSpc="1"/>
            <a:lstStyle/>
            <a:p>
              <a:pPr marL="0" marR="0" lvl="0" indent="0" algn="ctr" defTabSz="932180" eaLnBrk="1" fontAlgn="base" latinLnBrk="0" hangingPunct="1">
                <a:lnSpc>
                  <a:spcPct val="100000"/>
                </a:lnSpc>
                <a:spcBef>
                  <a:spcPct val="0"/>
                </a:spcBef>
                <a:spcAft>
                  <a:spcPct val="0"/>
                </a:spcAft>
                <a:buClrTx/>
                <a:buSzTx/>
                <a:buFontTx/>
                <a:buNone/>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a:ea typeface="+mn-ea"/>
                  <a:cs typeface="+mn-cs"/>
                </a:rPr>
                <a:t>Accent 6</a:t>
              </a:r>
            </a:p>
          </p:txBody>
        </p:sp>
        <p:sp>
          <p:nvSpPr>
            <p:cNvPr id="18" name="Rectangle 17"/>
            <p:cNvSpPr/>
            <p:nvPr userDrawn="1"/>
          </p:nvSpPr>
          <p:spPr bwMode="auto">
            <a:xfrm>
              <a:off x="7118509" y="4262806"/>
              <a:ext cx="935733" cy="935357"/>
            </a:xfrm>
            <a:prstGeom prst="rect">
              <a:avLst/>
            </a:prstGeom>
            <a:solidFill>
              <a:srgbClr val="B14082"/>
            </a:solidFill>
            <a:ln w="10795" cap="flat" cmpd="sng" algn="ctr">
              <a:noFill/>
              <a:prstDash val="solid"/>
              <a:headEnd type="none" w="med" len="med"/>
              <a:tailEnd type="none" w="med" len="med"/>
            </a:ln>
            <a:effectLst/>
          </p:spPr>
          <p:txBody>
            <a:bodyPr vert="horz" wrap="square" lIns="0" tIns="46637" rIns="0" bIns="46637" numCol="1" rtlCol="0" anchor="ctr" anchorCtr="0" compatLnSpc="1"/>
            <a:lstStyle/>
            <a:p>
              <a:pPr marL="0" marR="0" lvl="0" indent="0" algn="ctr" defTabSz="932180" eaLnBrk="1" fontAlgn="base" latinLnBrk="0" hangingPunct="1">
                <a:lnSpc>
                  <a:spcPct val="100000"/>
                </a:lnSpc>
                <a:spcBef>
                  <a:spcPct val="0"/>
                </a:spcBef>
                <a:spcAft>
                  <a:spcPct val="0"/>
                </a:spcAft>
                <a:buClrTx/>
                <a:buSzTx/>
                <a:buFontTx/>
                <a:buNone/>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a:ea typeface="+mn-ea"/>
                  <a:cs typeface="+mn-cs"/>
                </a:rPr>
                <a:t>Accent 5</a:t>
              </a:r>
            </a:p>
          </p:txBody>
        </p:sp>
        <p:sp>
          <p:nvSpPr>
            <p:cNvPr id="19" name="Rectangle 18"/>
            <p:cNvSpPr/>
            <p:nvPr userDrawn="1"/>
          </p:nvSpPr>
          <p:spPr bwMode="auto">
            <a:xfrm>
              <a:off x="6079677" y="4262806"/>
              <a:ext cx="935733" cy="935357"/>
            </a:xfrm>
            <a:prstGeom prst="rect">
              <a:avLst/>
            </a:prstGeom>
            <a:solidFill>
              <a:srgbClr val="694182"/>
            </a:solidFill>
            <a:ln w="10795" cap="flat" cmpd="sng" algn="ctr">
              <a:noFill/>
              <a:prstDash val="solid"/>
              <a:headEnd type="none" w="med" len="med"/>
              <a:tailEnd type="none" w="med" len="med"/>
            </a:ln>
            <a:effectLst/>
          </p:spPr>
          <p:txBody>
            <a:bodyPr vert="horz" wrap="square" lIns="0" tIns="46637" rIns="0" bIns="46637" numCol="1" rtlCol="0" anchor="ctr" anchorCtr="0" compatLnSpc="1"/>
            <a:lstStyle/>
            <a:p>
              <a:pPr marL="0" marR="0" lvl="0" indent="0" algn="ctr" defTabSz="932180" eaLnBrk="1" fontAlgn="base" latinLnBrk="0" hangingPunct="1">
                <a:lnSpc>
                  <a:spcPct val="100000"/>
                </a:lnSpc>
                <a:spcBef>
                  <a:spcPct val="0"/>
                </a:spcBef>
                <a:spcAft>
                  <a:spcPct val="0"/>
                </a:spcAft>
                <a:buClrTx/>
                <a:buSzTx/>
                <a:buFontTx/>
                <a:buNone/>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a:ea typeface="+mn-ea"/>
                  <a:cs typeface="+mn-cs"/>
                </a:rPr>
                <a:t>Accent 4</a:t>
              </a:r>
            </a:p>
          </p:txBody>
        </p:sp>
        <p:sp>
          <p:nvSpPr>
            <p:cNvPr id="20" name="Rectangle 19"/>
            <p:cNvSpPr/>
            <p:nvPr userDrawn="1"/>
          </p:nvSpPr>
          <p:spPr bwMode="auto">
            <a:xfrm>
              <a:off x="513529" y="4111712"/>
              <a:ext cx="1206527" cy="1206042"/>
            </a:xfrm>
            <a:prstGeom prst="rect">
              <a:avLst/>
            </a:prstGeom>
            <a:solidFill>
              <a:srgbClr val="005A4D"/>
            </a:solidFill>
            <a:ln w="10795" cap="flat" cmpd="sng" algn="ctr">
              <a:noFill/>
              <a:prstDash val="solid"/>
              <a:headEnd type="none" w="med" len="med"/>
              <a:tailEnd type="none" w="med" len="med"/>
            </a:ln>
            <a:effectLst/>
          </p:spPr>
          <p:txBody>
            <a:bodyPr vert="horz" wrap="square" lIns="0" tIns="0" rIns="0" bIns="0" numCol="1" rtlCol="0" anchor="ctr" anchorCtr="0" compatLnSpc="1"/>
            <a:lstStyle/>
            <a:p>
              <a:pPr marL="0" marR="0" lvl="0" indent="0" algn="ctr" defTabSz="932180" eaLnBrk="1" fontAlgn="base" latinLnBrk="0" hangingPunct="1">
                <a:lnSpc>
                  <a:spcPct val="100000"/>
                </a:lnSpc>
                <a:spcBef>
                  <a:spcPct val="0"/>
                </a:spcBef>
                <a:spcAft>
                  <a:spcPct val="0"/>
                </a:spcAft>
                <a:buClrTx/>
                <a:buSzTx/>
                <a:buFontTx/>
                <a:buNone/>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a:ea typeface="+mn-ea"/>
                  <a:cs typeface="+mn-cs"/>
                </a:rPr>
                <a:t>Text</a:t>
              </a:r>
            </a:p>
            <a:p>
              <a:pPr marL="0" marR="0" lvl="0" indent="0" algn="ctr" defTabSz="932180" eaLnBrk="1" fontAlgn="base" latinLnBrk="0" hangingPunct="1">
                <a:lnSpc>
                  <a:spcPct val="100000"/>
                </a:lnSpc>
                <a:spcBef>
                  <a:spcPct val="0"/>
                </a:spcBef>
                <a:spcAft>
                  <a:spcPct val="0"/>
                </a:spcAft>
                <a:buClrTx/>
                <a:buSzTx/>
                <a:buFontTx/>
                <a:buNone/>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a:ea typeface="+mn-ea"/>
                  <a:cs typeface="+mn-cs"/>
                </a:rPr>
                <a:t>Dark 2</a:t>
              </a:r>
            </a:p>
          </p:txBody>
        </p:sp>
      </p:grpSp>
    </p:spTree>
    <p:extLst>
      <p:ext uri="{BB962C8B-B14F-4D97-AF65-F5344CB8AC3E}">
        <p14:creationId xmlns:p14="http://schemas.microsoft.com/office/powerpoint/2010/main" val="4048047598"/>
      </p:ext>
    </p:extLst>
  </p:cSld>
  <p:clrMap bg1="lt1" tx1="dk1" bg2="lt2" tx2="dk2" accent1="accent1" accent2="accent2" accent3="accent3" accent4="accent4" accent5="accent5" accent6="accent6" hlink="hlink" folHlink="folHlink"/>
  <p:sldLayoutIdLst>
    <p:sldLayoutId id="2147484214" r:id="rId1"/>
    <p:sldLayoutId id="2147484215" r:id="rId2"/>
    <p:sldLayoutId id="2147484216" r:id="rId3"/>
    <p:sldLayoutId id="2147484217" r:id="rId4"/>
    <p:sldLayoutId id="2147484218" r:id="rId5"/>
    <p:sldLayoutId id="2147484219" r:id="rId6"/>
    <p:sldLayoutId id="2147484220" r:id="rId7"/>
    <p:sldLayoutId id="2147484221" r:id="rId8"/>
    <p:sldLayoutId id="2147484222" r:id="rId9"/>
    <p:sldLayoutId id="2147484223" r:id="rId10"/>
    <p:sldLayoutId id="2147484224" r:id="rId11"/>
    <p:sldLayoutId id="2147484226" r:id="rId12"/>
    <p:sldLayoutId id="2147484227" r:id="rId13"/>
  </p:sldLayoutIdLst>
  <p:transition>
    <p:fade/>
  </p:transition>
  <p:txStyles>
    <p:titleStyle>
      <a:lvl1pPr algn="l" defTabSz="932180"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p:titleStyle>
    <p:bodyStyle>
      <a:lvl1pPr marL="342900" marR="0" indent="-3429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mn-lt"/>
          <a:ea typeface="+mn-ea"/>
          <a:cs typeface="+mn-cs"/>
        </a:defRPr>
      </a:lvl5pPr>
      <a:lvl6pPr marL="256476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9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58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430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p:cNvGrpSpPr/>
          <p:nvPr userDrawn="1"/>
        </p:nvGrpSpPr>
        <p:grpSpPr>
          <a:xfrm>
            <a:off x="12614193" y="-8396"/>
            <a:ext cx="960410" cy="5775362"/>
            <a:chOff x="12614198" y="-8396"/>
            <a:chExt cx="960410" cy="5775362"/>
          </a:xfrm>
        </p:grpSpPr>
        <p:grpSp>
          <p:nvGrpSpPr>
            <p:cNvPr id="37" name="Group 36"/>
            <p:cNvGrpSpPr/>
            <p:nvPr userDrawn="1"/>
          </p:nvGrpSpPr>
          <p:grpSpPr>
            <a:xfrm>
              <a:off x="12614198" y="-8396"/>
              <a:ext cx="960410" cy="5774050"/>
              <a:chOff x="12614198" y="-8396"/>
              <a:chExt cx="960410" cy="5774050"/>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696827" y="4228746"/>
                <a:ext cx="2746983" cy="326834"/>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3855583324"/>
      </p:ext>
    </p:extLst>
  </p:cSld>
  <p:clrMap bg1="lt1" tx1="dk1" bg2="lt2" tx2="dk2" accent1="accent1" accent2="accent2" accent3="accent3" accent4="accent4" accent5="accent5" accent6="accent6" hlink="hlink" folHlink="folHlink"/>
  <p:sldLayoutIdLst>
    <p:sldLayoutId id="2147484230" r:id="rId1"/>
    <p:sldLayoutId id="2147484231" r:id="rId2"/>
    <p:sldLayoutId id="2147484232" r:id="rId3"/>
    <p:sldLayoutId id="2147484233" r:id="rId4"/>
    <p:sldLayoutId id="2147484234" r:id="rId5"/>
    <p:sldLayoutId id="2147484235" r:id="rId6"/>
    <p:sldLayoutId id="2147484236" r:id="rId7"/>
    <p:sldLayoutId id="2147484237" r:id="rId8"/>
    <p:sldLayoutId id="2147484238" r:id="rId9"/>
    <p:sldLayoutId id="2147484239" r:id="rId10"/>
    <p:sldLayoutId id="2147484240" r:id="rId11"/>
    <p:sldLayoutId id="2147484241" r:id="rId12"/>
    <p:sldLayoutId id="2147484242" r:id="rId13"/>
    <p:sldLayoutId id="2147484243" r:id="rId14"/>
    <p:sldLayoutId id="2147484244" r:id="rId15"/>
    <p:sldLayoutId id="2147484245" r:id="rId16"/>
    <p:sldLayoutId id="2147484246" r:id="rId17"/>
    <p:sldLayoutId id="2147484247" r:id="rId18"/>
    <p:sldLayoutId id="2147484248" r:id="rId19"/>
    <p:sldLayoutId id="2147484249" r:id="rId20"/>
    <p:sldLayoutId id="2147484250" r:id="rId21"/>
    <p:sldLayoutId id="2147484251" r:id="rId22"/>
    <p:sldLayoutId id="2147484252" r:id="rId23"/>
    <p:sldLayoutId id="2147484253" r:id="rId24"/>
    <p:sldLayoutId id="2147484254" r:id="rId25"/>
    <p:sldLayoutId id="2147484255" r:id="rId26"/>
    <p:sldLayoutId id="2147484256" r:id="rId27"/>
    <p:sldLayoutId id="2147484257" r:id="rId2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9" cstate="email">
            <a:extLst>
              <a:ext uri="{28A0092B-C50C-407E-A947-70E740481C1C}">
                <a14:useLocalDpi xmlns:a14="http://schemas.microsoft.com/office/drawing/2010/main"/>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2014925476"/>
      </p:ext>
    </p:extLst>
  </p:cSld>
  <p:clrMap bg1="lt1" tx1="dk1" bg2="lt2" tx2="dk2" accent1="accent1" accent2="accent2" accent3="accent3" accent4="accent4" accent5="accent5" accent6="accent6" hlink="hlink" folHlink="folHlink"/>
  <p:sldLayoutIdLst>
    <p:sldLayoutId id="2147484261" r:id="rId1"/>
    <p:sldLayoutId id="2147484262" r:id="rId2"/>
    <p:sldLayoutId id="2147484263" r:id="rId3"/>
    <p:sldLayoutId id="2147484264" r:id="rId4"/>
    <p:sldLayoutId id="2147484265" r:id="rId5"/>
    <p:sldLayoutId id="2147484266" r:id="rId6"/>
    <p:sldLayoutId id="2147484267" r:id="rId7"/>
    <p:sldLayoutId id="2147484268" r:id="rId8"/>
    <p:sldLayoutId id="2147484269" r:id="rId9"/>
    <p:sldLayoutId id="2147484270" r:id="rId10"/>
    <p:sldLayoutId id="2147484271" r:id="rId11"/>
    <p:sldLayoutId id="2147484272" r:id="rId12"/>
    <p:sldLayoutId id="2147484273" r:id="rId13"/>
    <p:sldLayoutId id="2147484274" r:id="rId14"/>
    <p:sldLayoutId id="2147484275" r:id="rId15"/>
    <p:sldLayoutId id="2147484276" r:id="rId16"/>
    <p:sldLayoutId id="2147484277" r:id="rId17"/>
    <p:sldLayoutId id="2147484278" r:id="rId18"/>
    <p:sldLayoutId id="2147484279" r:id="rId19"/>
    <p:sldLayoutId id="2147484280" r:id="rId20"/>
    <p:sldLayoutId id="2147484281" r:id="rId21"/>
    <p:sldLayoutId id="2147484282" r:id="rId22"/>
    <p:sldLayoutId id="2147484283" r:id="rId23"/>
    <p:sldLayoutId id="2147484284" r:id="rId24"/>
    <p:sldLayoutId id="2147484285" r:id="rId25"/>
    <p:sldLayoutId id="2147484286" r:id="rId26"/>
    <p:sldLayoutId id="2147484287" r:id="rId27"/>
    <p:sldLayoutId id="2147484288" r:id="rId28"/>
    <p:sldLayoutId id="2147484289" r:id="rId29"/>
    <p:sldLayoutId id="2147484290" r:id="rId30"/>
    <p:sldLayoutId id="2147484291" r:id="rId31"/>
    <p:sldLayoutId id="2147484292" r:id="rId32"/>
    <p:sldLayoutId id="2147484293" r:id="rId33"/>
    <p:sldLayoutId id="2147484294" r:id="rId34"/>
    <p:sldLayoutId id="2147484295" r:id="rId35"/>
    <p:sldLayoutId id="2147484296" r:id="rId36"/>
    <p:sldLayoutId id="2147484297" r:id="rId37"/>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00188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6"/>
            </p:custDataLst>
          </p:nvPr>
        </p:nvGraphicFramePr>
        <p:xfrm>
          <a:off x="1595" y="1590"/>
          <a:ext cx="1587" cy="1587"/>
        </p:xfrm>
        <a:graphic>
          <a:graphicData uri="http://schemas.openxmlformats.org/presentationml/2006/ole">
            <mc:AlternateContent xmlns:mc="http://schemas.openxmlformats.org/markup-compatibility/2006">
              <mc:Choice xmlns:v="urn:schemas-microsoft-com:vml" Requires="v">
                <p:oleObj spid="_x0000_s1134" name="think-cell Slide" r:id="rId18" imgW="270" imgH="270" progId="TCLayout.ActiveDocument.1">
                  <p:embed/>
                </p:oleObj>
              </mc:Choice>
              <mc:Fallback>
                <p:oleObj name="think-cell Slide" r:id="rId18" imgW="270" imgH="270" progId="TCLayout.ActiveDocument.1">
                  <p:embed/>
                  <p:pic>
                    <p:nvPicPr>
                      <p:cNvPr id="4" name="Object 3" hidden="1"/>
                      <p:cNvPicPr/>
                      <p:nvPr/>
                    </p:nvPicPr>
                    <p:blipFill>
                      <a:blip r:embed="rId19"/>
                      <a:stretch>
                        <a:fillRect/>
                      </a:stretch>
                    </p:blipFill>
                    <p:spPr>
                      <a:xfrm>
                        <a:off x="1595"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66368" y="257237"/>
            <a:ext cx="11191876" cy="674893"/>
          </a:xfrm>
          <a:prstGeom prst="rect">
            <a:avLst/>
          </a:prstGeom>
        </p:spPr>
        <p:txBody>
          <a:bodyPr vert="horz" lIns="149143" tIns="0" rIns="149143" bIns="0" rtlCol="0" anchor="ctr">
            <a:spAutoFit/>
          </a:bodyPr>
          <a:lstStyle/>
          <a:p>
            <a:r>
              <a:rPr lang="en-US"/>
              <a:t>Click to edit Master title style</a:t>
            </a:r>
            <a:endParaRPr lang="en-US" dirty="0"/>
          </a:p>
        </p:txBody>
      </p:sp>
      <p:sp>
        <p:nvSpPr>
          <p:cNvPr id="3" name="Text Placeholder 2"/>
          <p:cNvSpPr>
            <a:spLocks noGrp="1"/>
          </p:cNvSpPr>
          <p:nvPr>
            <p:ph type="body" idx="1"/>
          </p:nvPr>
        </p:nvSpPr>
        <p:spPr>
          <a:xfrm>
            <a:off x="466368" y="1643615"/>
            <a:ext cx="11191876" cy="4616451"/>
          </a:xfrm>
          <a:prstGeom prst="rect">
            <a:avLst/>
          </a:prstGeom>
        </p:spPr>
        <p:txBody>
          <a:bodyPr vert="horz" lIns="93212" tIns="46607" rIns="93212" bIns="46607"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aphicFrame>
        <p:nvGraphicFramePr>
          <p:cNvPr id="5" name="Object 4" hidden="1"/>
          <p:cNvGraphicFramePr>
            <a:graphicFrameLocks noChangeAspect="1"/>
          </p:cNvGraphicFramePr>
          <p:nvPr>
            <p:custDataLst>
              <p:tags r:id="rId17"/>
            </p:custDataLst>
          </p:nvPr>
        </p:nvGraphicFramePr>
        <p:xfrm>
          <a:off x="1594" y="1589"/>
          <a:ext cx="1587" cy="1587"/>
        </p:xfrm>
        <a:graphic>
          <a:graphicData uri="http://schemas.openxmlformats.org/presentationml/2006/ole">
            <mc:AlternateContent xmlns:mc="http://schemas.openxmlformats.org/markup-compatibility/2006">
              <mc:Choice xmlns:v="urn:schemas-microsoft-com:vml" Requires="v">
                <p:oleObj spid="_x0000_s1135" name="think-cell Slide" r:id="rId20" imgW="270" imgH="270" progId="TCLayout.ActiveDocument.1">
                  <p:embed/>
                </p:oleObj>
              </mc:Choice>
              <mc:Fallback>
                <p:oleObj name="think-cell Slide" r:id="rId20" imgW="270" imgH="270" progId="TCLayout.ActiveDocument.1">
                  <p:embed/>
                  <p:pic>
                    <p:nvPicPr>
                      <p:cNvPr id="5" name="Object 4" hidden="1"/>
                      <p:cNvPicPr/>
                      <p:nvPr/>
                    </p:nvPicPr>
                    <p:blipFill>
                      <a:blip r:embed="rId19"/>
                      <a:stretch>
                        <a:fillRect/>
                      </a:stretch>
                    </p:blipFill>
                    <p:spPr>
                      <a:xfrm>
                        <a:off x="1594"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888104495"/>
      </p:ext>
    </p:extLst>
  </p:cSld>
  <p:clrMap bg1="lt1" tx1="dk1" bg2="lt2" tx2="dk2" accent1="accent1" accent2="accent2" accent3="accent3" accent4="accent4" accent5="accent5" accent6="accent6" hlink="hlink" folHlink="folHlink"/>
  <p:sldLayoutIdLst>
    <p:sldLayoutId id="2147484299" r:id="rId1"/>
    <p:sldLayoutId id="2147484300" r:id="rId2"/>
    <p:sldLayoutId id="2147484301" r:id="rId3"/>
    <p:sldLayoutId id="2147484302" r:id="rId4"/>
    <p:sldLayoutId id="2147484303" r:id="rId5"/>
    <p:sldLayoutId id="2147484304" r:id="rId6"/>
    <p:sldLayoutId id="2147484305" r:id="rId7"/>
    <p:sldLayoutId id="2147484306" r:id="rId8"/>
    <p:sldLayoutId id="2147484307" r:id="rId9"/>
    <p:sldLayoutId id="2147484308" r:id="rId10"/>
    <p:sldLayoutId id="2147484309" r:id="rId11"/>
    <p:sldLayoutId id="2147484311" r:id="rId12"/>
    <p:sldLayoutId id="2147484312" r:id="rId13"/>
  </p:sldLayoutIdLst>
  <p:transition>
    <p:fade/>
  </p:transition>
  <p:txStyles>
    <p:titleStyle>
      <a:lvl1pPr algn="l" defTabSz="913579" rtl="0" eaLnBrk="1" latinLnBrk="0" hangingPunct="1">
        <a:spcBef>
          <a:spcPct val="0"/>
        </a:spcBef>
        <a:buNone/>
        <a:defRPr sz="4400" kern="1200">
          <a:solidFill>
            <a:schemeClr val="bg1"/>
          </a:solidFill>
          <a:latin typeface="Segoe UI Light" pitchFamily="34" charset="0"/>
          <a:ea typeface="+mj-ea"/>
          <a:cs typeface="+mj-cs"/>
        </a:defRPr>
      </a:lvl1pPr>
    </p:titleStyle>
    <p:bodyStyle>
      <a:lvl1pPr marL="342591" indent="-342591" algn="l" defTabSz="913579" rtl="0" eaLnBrk="1" latinLnBrk="0" hangingPunct="1">
        <a:spcBef>
          <a:spcPct val="20000"/>
        </a:spcBef>
        <a:buFont typeface="Arial" pitchFamily="34" charset="0"/>
        <a:buChar char="•"/>
        <a:defRPr sz="3300" kern="1200">
          <a:solidFill>
            <a:schemeClr val="bg1"/>
          </a:solidFill>
          <a:latin typeface="Segoe UI" pitchFamily="34" charset="0"/>
          <a:ea typeface="Segoe UI" pitchFamily="34" charset="0"/>
          <a:cs typeface="Segoe UI" pitchFamily="34" charset="0"/>
        </a:defRPr>
      </a:lvl1pPr>
      <a:lvl2pPr marL="742282" indent="-285493" algn="l" defTabSz="913579" rtl="0" eaLnBrk="1" latinLnBrk="0" hangingPunct="1">
        <a:spcBef>
          <a:spcPct val="20000"/>
        </a:spcBef>
        <a:buFont typeface="Arial" pitchFamily="34" charset="0"/>
        <a:buChar char="–"/>
        <a:defRPr sz="2900" kern="1200">
          <a:solidFill>
            <a:schemeClr val="bg1"/>
          </a:solidFill>
          <a:latin typeface="Segoe UI" pitchFamily="34" charset="0"/>
          <a:ea typeface="Segoe UI" pitchFamily="34" charset="0"/>
          <a:cs typeface="Segoe UI" pitchFamily="34" charset="0"/>
        </a:defRPr>
      </a:lvl2pPr>
      <a:lvl3pPr marL="1141973" indent="-228396" algn="l" defTabSz="913579" rtl="0" eaLnBrk="1" latinLnBrk="0" hangingPunct="1">
        <a:spcBef>
          <a:spcPct val="20000"/>
        </a:spcBef>
        <a:buFont typeface="Arial" pitchFamily="34" charset="0"/>
        <a:buChar char="•"/>
        <a:defRPr sz="2400" kern="1200">
          <a:solidFill>
            <a:schemeClr val="bg1"/>
          </a:solidFill>
          <a:latin typeface="Segoe UI" pitchFamily="34" charset="0"/>
          <a:ea typeface="Segoe UI" pitchFamily="34" charset="0"/>
          <a:cs typeface="Segoe UI" pitchFamily="34" charset="0"/>
        </a:defRPr>
      </a:lvl3pPr>
      <a:lvl4pPr marL="1598760" indent="-228396" algn="l" defTabSz="913579" rtl="0" eaLnBrk="1" latinLnBrk="0" hangingPunct="1">
        <a:spcBef>
          <a:spcPct val="20000"/>
        </a:spcBef>
        <a:buFont typeface="Arial" pitchFamily="34" charset="0"/>
        <a:buChar char="–"/>
        <a:defRPr sz="2000" kern="1200">
          <a:solidFill>
            <a:schemeClr val="bg1"/>
          </a:solidFill>
          <a:latin typeface="Segoe UI" pitchFamily="34" charset="0"/>
          <a:ea typeface="Segoe UI" pitchFamily="34" charset="0"/>
          <a:cs typeface="Segoe UI" pitchFamily="34" charset="0"/>
        </a:defRPr>
      </a:lvl4pPr>
      <a:lvl5pPr marL="2055549" indent="-228396" algn="l" defTabSz="913579" rtl="0" eaLnBrk="1" latinLnBrk="0" hangingPunct="1">
        <a:spcBef>
          <a:spcPct val="20000"/>
        </a:spcBef>
        <a:buFont typeface="Arial" pitchFamily="34" charset="0"/>
        <a:buChar char="»"/>
        <a:defRPr sz="2000" kern="1200">
          <a:solidFill>
            <a:schemeClr val="bg1"/>
          </a:solidFill>
          <a:latin typeface="Segoe UI" pitchFamily="34" charset="0"/>
          <a:ea typeface="Segoe UI" pitchFamily="34" charset="0"/>
          <a:cs typeface="Segoe UI" pitchFamily="34" charset="0"/>
        </a:defRPr>
      </a:lvl5pPr>
      <a:lvl6pPr marL="2512341" indent="-228396" algn="l" defTabSz="91357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132" indent="-228396" algn="l" defTabSz="91357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5919" indent="-228396" algn="l" defTabSz="91357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708" indent="-228396" algn="l" defTabSz="91357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579" rtl="0" eaLnBrk="1" latinLnBrk="0" hangingPunct="1">
        <a:defRPr sz="1700" kern="1200">
          <a:solidFill>
            <a:schemeClr val="tx1"/>
          </a:solidFill>
          <a:latin typeface="+mn-lt"/>
          <a:ea typeface="+mn-ea"/>
          <a:cs typeface="+mn-cs"/>
        </a:defRPr>
      </a:lvl1pPr>
      <a:lvl2pPr marL="456788" algn="l" defTabSz="913579" rtl="0" eaLnBrk="1" latinLnBrk="0" hangingPunct="1">
        <a:defRPr sz="1700" kern="1200">
          <a:solidFill>
            <a:schemeClr val="tx1"/>
          </a:solidFill>
          <a:latin typeface="+mn-lt"/>
          <a:ea typeface="+mn-ea"/>
          <a:cs typeface="+mn-cs"/>
        </a:defRPr>
      </a:lvl2pPr>
      <a:lvl3pPr marL="913579" algn="l" defTabSz="913579" rtl="0" eaLnBrk="1" latinLnBrk="0" hangingPunct="1">
        <a:defRPr sz="1700" kern="1200">
          <a:solidFill>
            <a:schemeClr val="tx1"/>
          </a:solidFill>
          <a:latin typeface="+mn-lt"/>
          <a:ea typeface="+mn-ea"/>
          <a:cs typeface="+mn-cs"/>
        </a:defRPr>
      </a:lvl3pPr>
      <a:lvl4pPr marL="1370368" algn="l" defTabSz="913579" rtl="0" eaLnBrk="1" latinLnBrk="0" hangingPunct="1">
        <a:defRPr sz="1700" kern="1200">
          <a:solidFill>
            <a:schemeClr val="tx1"/>
          </a:solidFill>
          <a:latin typeface="+mn-lt"/>
          <a:ea typeface="+mn-ea"/>
          <a:cs typeface="+mn-cs"/>
        </a:defRPr>
      </a:lvl4pPr>
      <a:lvl5pPr marL="1827159" algn="l" defTabSz="913579" rtl="0" eaLnBrk="1" latinLnBrk="0" hangingPunct="1">
        <a:defRPr sz="1700" kern="1200">
          <a:solidFill>
            <a:schemeClr val="tx1"/>
          </a:solidFill>
          <a:latin typeface="+mn-lt"/>
          <a:ea typeface="+mn-ea"/>
          <a:cs typeface="+mn-cs"/>
        </a:defRPr>
      </a:lvl5pPr>
      <a:lvl6pPr marL="2283946" algn="l" defTabSz="913579" rtl="0" eaLnBrk="1" latinLnBrk="0" hangingPunct="1">
        <a:defRPr sz="1700" kern="1200">
          <a:solidFill>
            <a:schemeClr val="tx1"/>
          </a:solidFill>
          <a:latin typeface="+mn-lt"/>
          <a:ea typeface="+mn-ea"/>
          <a:cs typeface="+mn-cs"/>
        </a:defRPr>
      </a:lvl6pPr>
      <a:lvl7pPr marL="2740735" algn="l" defTabSz="913579" rtl="0" eaLnBrk="1" latinLnBrk="0" hangingPunct="1">
        <a:defRPr sz="1700" kern="1200">
          <a:solidFill>
            <a:schemeClr val="tx1"/>
          </a:solidFill>
          <a:latin typeface="+mn-lt"/>
          <a:ea typeface="+mn-ea"/>
          <a:cs typeface="+mn-cs"/>
        </a:defRPr>
      </a:lvl7pPr>
      <a:lvl8pPr marL="3197524" algn="l" defTabSz="913579" rtl="0" eaLnBrk="1" latinLnBrk="0" hangingPunct="1">
        <a:defRPr sz="1700" kern="1200">
          <a:solidFill>
            <a:schemeClr val="tx1"/>
          </a:solidFill>
          <a:latin typeface="+mn-lt"/>
          <a:ea typeface="+mn-ea"/>
          <a:cs typeface="+mn-cs"/>
        </a:defRPr>
      </a:lvl8pPr>
      <a:lvl9pPr marL="3654312" algn="l" defTabSz="913579" rtl="0" eaLnBrk="1" latinLnBrk="0" hangingPunct="1">
        <a:defRPr sz="17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
          <p15:clr>
            <a:srgbClr val="F26B43"/>
          </p15:clr>
        </p15:guide>
        <p15:guide id="3"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xml"/><Relationship Id="rId1" Type="http://schemas.openxmlformats.org/officeDocument/2006/relationships/slideLayout" Target="../slideLayouts/slideLayout255.xml"/></Relationships>
</file>

<file path=ppt/slides/_rels/slide10.xml.rels><?xml version="1.0" encoding="UTF-8" standalone="yes"?>
<Relationships xmlns="http://schemas.openxmlformats.org/package/2006/relationships"><Relationship Id="rId3" Type="http://schemas.openxmlformats.org/officeDocument/2006/relationships/image" Target="../media/image174.png"/><Relationship Id="rId7" Type="http://schemas.openxmlformats.org/officeDocument/2006/relationships/image" Target="../media/image177.jpeg"/><Relationship Id="rId2" Type="http://schemas.openxmlformats.org/officeDocument/2006/relationships/notesSlide" Target="../notesSlides/notesSlide7.xml"/><Relationship Id="rId1" Type="http://schemas.openxmlformats.org/officeDocument/2006/relationships/slideLayout" Target="../slideLayouts/slideLayout226.xml"/><Relationship Id="rId6" Type="http://schemas.openxmlformats.org/officeDocument/2006/relationships/image" Target="../media/image176.jpeg"/><Relationship Id="rId5" Type="http://schemas.openxmlformats.org/officeDocument/2006/relationships/image" Target="../media/image175.jpeg"/><Relationship Id="rId4" Type="http://schemas.openxmlformats.org/officeDocument/2006/relationships/image" Target="../media/image32.emf"/></Relationships>
</file>

<file path=ppt/slides/_rels/slide11.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8.xml"/><Relationship Id="rId1" Type="http://schemas.openxmlformats.org/officeDocument/2006/relationships/slideLayout" Target="../slideLayouts/slideLayout227.xml"/><Relationship Id="rId4" Type="http://schemas.openxmlformats.org/officeDocument/2006/relationships/image" Target="../media/image179.png"/></Relationships>
</file>

<file path=ppt/slides/_rels/slide12.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9.xml"/><Relationship Id="rId1" Type="http://schemas.openxmlformats.org/officeDocument/2006/relationships/slideLayout" Target="../slideLayouts/slideLayout218.xml"/><Relationship Id="rId6" Type="http://schemas.openxmlformats.org/officeDocument/2006/relationships/image" Target="../media/image183.png"/><Relationship Id="rId5" Type="http://schemas.openxmlformats.org/officeDocument/2006/relationships/image" Target="../media/image182.png"/><Relationship Id="rId4" Type="http://schemas.openxmlformats.org/officeDocument/2006/relationships/image" Target="../media/image181.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2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2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24.xml"/></Relationships>
</file>

<file path=ppt/slides/_rels/slide18.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notesSlide" Target="../notesSlides/notesSlide13.xml"/><Relationship Id="rId1" Type="http://schemas.openxmlformats.org/officeDocument/2006/relationships/slideLayout" Target="../slideLayouts/slideLayout224.xml"/><Relationship Id="rId4" Type="http://schemas.openxmlformats.org/officeDocument/2006/relationships/audio" Target="../media/audio2.wav"/></Relationships>
</file>

<file path=ppt/slides/_rels/slide19.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4.xml"/><Relationship Id="rId1" Type="http://schemas.openxmlformats.org/officeDocument/2006/relationships/slideLayout" Target="../slideLayouts/slideLayout224.xml"/><Relationship Id="rId6" Type="http://schemas.openxmlformats.org/officeDocument/2006/relationships/image" Target="../media/image187.emf"/><Relationship Id="rId5" Type="http://schemas.openxmlformats.org/officeDocument/2006/relationships/image" Target="../media/image186.emf"/><Relationship Id="rId4" Type="http://schemas.openxmlformats.org/officeDocument/2006/relationships/image" Target="../media/image185.png"/></Relationships>
</file>

<file path=ppt/slides/_rels/slide2.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2.xml"/><Relationship Id="rId1" Type="http://schemas.openxmlformats.org/officeDocument/2006/relationships/slideLayout" Target="../slideLayouts/slideLayout226.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0.xml.rels><?xml version="1.0" encoding="UTF-8" standalone="yes"?>
<Relationships xmlns="http://schemas.openxmlformats.org/package/2006/relationships"><Relationship Id="rId8" Type="http://schemas.openxmlformats.org/officeDocument/2006/relationships/image" Target="../media/image192.png"/><Relationship Id="rId13" Type="http://schemas.openxmlformats.org/officeDocument/2006/relationships/image" Target="../media/image196.png"/><Relationship Id="rId3" Type="http://schemas.openxmlformats.org/officeDocument/2006/relationships/image" Target="../media/image188.png"/><Relationship Id="rId7" Type="http://schemas.openxmlformats.org/officeDocument/2006/relationships/image" Target="../media/image191.png"/><Relationship Id="rId12" Type="http://schemas.microsoft.com/office/2007/relationships/hdphoto" Target="../media/hdphoto2.wdp"/><Relationship Id="rId2" Type="http://schemas.openxmlformats.org/officeDocument/2006/relationships/notesSlide" Target="../notesSlides/notesSlide15.xml"/><Relationship Id="rId1" Type="http://schemas.openxmlformats.org/officeDocument/2006/relationships/slideLayout" Target="../slideLayouts/slideLayout226.xml"/><Relationship Id="rId6" Type="http://schemas.openxmlformats.org/officeDocument/2006/relationships/image" Target="../media/image190.png"/><Relationship Id="rId11" Type="http://schemas.openxmlformats.org/officeDocument/2006/relationships/image" Target="../media/image195.png"/><Relationship Id="rId5" Type="http://schemas.openxmlformats.org/officeDocument/2006/relationships/image" Target="../media/image189.png"/><Relationship Id="rId10" Type="http://schemas.openxmlformats.org/officeDocument/2006/relationships/image" Target="../media/image194.png"/><Relationship Id="rId4" Type="http://schemas.microsoft.com/office/2007/relationships/hdphoto" Target="../media/hdphoto1.wdp"/><Relationship Id="rId9" Type="http://schemas.openxmlformats.org/officeDocument/2006/relationships/image" Target="../media/image193.png"/><Relationship Id="rId14" Type="http://schemas.microsoft.com/office/2007/relationships/hdphoto" Target="../media/hdphoto3.wdp"/></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2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3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5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51.xml"/></Relationships>
</file>

<file path=ppt/slides/_rels/slide27.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image" Target="../media/image197.png"/><Relationship Id="rId1" Type="http://schemas.openxmlformats.org/officeDocument/2006/relationships/slideLayout" Target="../slideLayouts/slideLayout243.xml"/><Relationship Id="rId5" Type="http://schemas.openxmlformats.org/officeDocument/2006/relationships/image" Target="../media/image199.png"/><Relationship Id="rId4" Type="http://schemas.microsoft.com/office/2007/relationships/hdphoto" Target="../media/hdphoto4.wdp"/></Relationships>
</file>

<file path=ppt/slides/_rels/slide28.xml.rels><?xml version="1.0" encoding="UTF-8" standalone="yes"?>
<Relationships xmlns="http://schemas.openxmlformats.org/package/2006/relationships"><Relationship Id="rId8" Type="http://schemas.openxmlformats.org/officeDocument/2006/relationships/image" Target="../media/image204.png"/><Relationship Id="rId13" Type="http://schemas.microsoft.com/office/2007/relationships/hdphoto" Target="../media/hdphoto7.wdp"/><Relationship Id="rId18" Type="http://schemas.openxmlformats.org/officeDocument/2006/relationships/image" Target="../media/image212.png"/><Relationship Id="rId3" Type="http://schemas.openxmlformats.org/officeDocument/2006/relationships/image" Target="../media/image200.jpeg"/><Relationship Id="rId7" Type="http://schemas.microsoft.com/office/2007/relationships/hdphoto" Target="../media/hdphoto5.wdp"/><Relationship Id="rId12" Type="http://schemas.openxmlformats.org/officeDocument/2006/relationships/image" Target="../media/image207.png"/><Relationship Id="rId17" Type="http://schemas.openxmlformats.org/officeDocument/2006/relationships/image" Target="../media/image211.png"/><Relationship Id="rId2" Type="http://schemas.openxmlformats.org/officeDocument/2006/relationships/notesSlide" Target="../notesSlides/notesSlide22.xml"/><Relationship Id="rId16" Type="http://schemas.openxmlformats.org/officeDocument/2006/relationships/image" Target="../media/image210.png"/><Relationship Id="rId1" Type="http://schemas.openxmlformats.org/officeDocument/2006/relationships/slideLayout" Target="../slideLayouts/slideLayout254.xml"/><Relationship Id="rId6" Type="http://schemas.openxmlformats.org/officeDocument/2006/relationships/image" Target="../media/image203.png"/><Relationship Id="rId11" Type="http://schemas.openxmlformats.org/officeDocument/2006/relationships/image" Target="../media/image206.png"/><Relationship Id="rId5" Type="http://schemas.openxmlformats.org/officeDocument/2006/relationships/image" Target="../media/image202.jpeg"/><Relationship Id="rId15" Type="http://schemas.openxmlformats.org/officeDocument/2006/relationships/image" Target="../media/image209.emf"/><Relationship Id="rId10" Type="http://schemas.openxmlformats.org/officeDocument/2006/relationships/image" Target="../media/image205.png"/><Relationship Id="rId19" Type="http://schemas.microsoft.com/office/2007/relationships/hdphoto" Target="../media/hdphoto8.wdp"/><Relationship Id="rId4" Type="http://schemas.openxmlformats.org/officeDocument/2006/relationships/image" Target="../media/image201.jpeg"/><Relationship Id="rId9" Type="http://schemas.microsoft.com/office/2007/relationships/hdphoto" Target="../media/hdphoto6.wdp"/><Relationship Id="rId14" Type="http://schemas.openxmlformats.org/officeDocument/2006/relationships/image" Target="../media/image208.emf"/></Relationships>
</file>

<file path=ppt/slides/_rels/slide29.xml.rels><?xml version="1.0" encoding="UTF-8" standalone="yes"?>
<Relationships xmlns="http://schemas.openxmlformats.org/package/2006/relationships"><Relationship Id="rId8" Type="http://schemas.openxmlformats.org/officeDocument/2006/relationships/image" Target="../media/image218.png"/><Relationship Id="rId3" Type="http://schemas.openxmlformats.org/officeDocument/2006/relationships/image" Target="../media/image213.png"/><Relationship Id="rId7" Type="http://schemas.openxmlformats.org/officeDocument/2006/relationships/image" Target="../media/image217.png"/><Relationship Id="rId2" Type="http://schemas.openxmlformats.org/officeDocument/2006/relationships/notesSlide" Target="../notesSlides/notesSlide23.xml"/><Relationship Id="rId1" Type="http://schemas.openxmlformats.org/officeDocument/2006/relationships/slideLayout" Target="../slideLayouts/slideLayout243.xml"/><Relationship Id="rId6" Type="http://schemas.openxmlformats.org/officeDocument/2006/relationships/image" Target="../media/image216.png"/><Relationship Id="rId5" Type="http://schemas.openxmlformats.org/officeDocument/2006/relationships/image" Target="../media/image215.png"/><Relationship Id="rId10" Type="http://schemas.openxmlformats.org/officeDocument/2006/relationships/image" Target="../media/image220.png"/><Relationship Id="rId4" Type="http://schemas.openxmlformats.org/officeDocument/2006/relationships/image" Target="../media/image214.png"/><Relationship Id="rId9" Type="http://schemas.openxmlformats.org/officeDocument/2006/relationships/image" Target="../media/image219.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30.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24.xml"/><Relationship Id="rId1" Type="http://schemas.openxmlformats.org/officeDocument/2006/relationships/slideLayout" Target="../slideLayouts/slideLayout265.xml"/><Relationship Id="rId4" Type="http://schemas.openxmlformats.org/officeDocument/2006/relationships/image" Target="../media/image222.png"/></Relationships>
</file>

<file path=ppt/slides/_rels/slide31.xml.rels><?xml version="1.0" encoding="UTF-8" standalone="yes"?>
<Relationships xmlns="http://schemas.openxmlformats.org/package/2006/relationships"><Relationship Id="rId3" Type="http://schemas.openxmlformats.org/officeDocument/2006/relationships/image" Target="../media/image223.png"/><Relationship Id="rId7" Type="http://schemas.openxmlformats.org/officeDocument/2006/relationships/image" Target="../media/image227.png"/><Relationship Id="rId2" Type="http://schemas.openxmlformats.org/officeDocument/2006/relationships/notesSlide" Target="../notesSlides/notesSlide25.xml"/><Relationship Id="rId1" Type="http://schemas.openxmlformats.org/officeDocument/2006/relationships/slideLayout" Target="../slideLayouts/slideLayout243.xml"/><Relationship Id="rId6" Type="http://schemas.openxmlformats.org/officeDocument/2006/relationships/image" Target="../media/image226.png"/><Relationship Id="rId5" Type="http://schemas.openxmlformats.org/officeDocument/2006/relationships/image" Target="../media/image225.png"/><Relationship Id="rId4" Type="http://schemas.openxmlformats.org/officeDocument/2006/relationships/image" Target="../media/image224.png"/></Relationships>
</file>

<file path=ppt/slides/_rels/slide32.xml.rels><?xml version="1.0" encoding="UTF-8" standalone="yes"?>
<Relationships xmlns="http://schemas.openxmlformats.org/package/2006/relationships"><Relationship Id="rId8" Type="http://schemas.openxmlformats.org/officeDocument/2006/relationships/image" Target="../media/image233.png"/><Relationship Id="rId3" Type="http://schemas.openxmlformats.org/officeDocument/2006/relationships/image" Target="../media/image228.png"/><Relationship Id="rId7" Type="http://schemas.openxmlformats.org/officeDocument/2006/relationships/image" Target="../media/image232.png"/><Relationship Id="rId2" Type="http://schemas.openxmlformats.org/officeDocument/2006/relationships/notesSlide" Target="../notesSlides/notesSlide26.xml"/><Relationship Id="rId1" Type="http://schemas.openxmlformats.org/officeDocument/2006/relationships/slideLayout" Target="../slideLayouts/slideLayout243.xml"/><Relationship Id="rId6" Type="http://schemas.openxmlformats.org/officeDocument/2006/relationships/image" Target="../media/image231.png"/><Relationship Id="rId5" Type="http://schemas.openxmlformats.org/officeDocument/2006/relationships/image" Target="../media/image230.png"/><Relationship Id="rId4" Type="http://schemas.openxmlformats.org/officeDocument/2006/relationships/image" Target="../media/image229.png"/><Relationship Id="rId9" Type="http://schemas.openxmlformats.org/officeDocument/2006/relationships/image" Target="../media/image234.tif"/></Relationships>
</file>

<file path=ppt/slides/_rels/slide33.xml.rels><?xml version="1.0" encoding="UTF-8" standalone="yes"?>
<Relationships xmlns="http://schemas.openxmlformats.org/package/2006/relationships"><Relationship Id="rId3" Type="http://schemas.openxmlformats.org/officeDocument/2006/relationships/image" Target="../media/image235.jpeg"/><Relationship Id="rId2" Type="http://schemas.openxmlformats.org/officeDocument/2006/relationships/notesSlide" Target="../notesSlides/notesSlide27.xml"/><Relationship Id="rId1" Type="http://schemas.openxmlformats.org/officeDocument/2006/relationships/slideLayout" Target="../slideLayouts/slideLayout36.xml"/><Relationship Id="rId4" Type="http://schemas.openxmlformats.org/officeDocument/2006/relationships/image" Target="../media/image236.png"/></Relationships>
</file>

<file path=ppt/slides/_rels/slide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xml"/><Relationship Id="rId1" Type="http://schemas.openxmlformats.org/officeDocument/2006/relationships/slideLayout" Target="../slideLayouts/slideLayout96.xml"/><Relationship Id="rId4" Type="http://schemas.openxmlformats.org/officeDocument/2006/relationships/hyperlink" Target="https://azure.microsoft.com/en-us/regions/" TargetMode="External"/></Relationships>
</file>

<file path=ppt/slides/_rels/slide5.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96.xml"/></Relationships>
</file>

<file path=ppt/slides/_rels/slide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96.xml"/></Relationships>
</file>

<file path=ppt/slides/_rels/slide7.xml.rels><?xml version="1.0" encoding="UTF-8" standalone="yes"?>
<Relationships xmlns="http://schemas.openxmlformats.org/package/2006/relationships"><Relationship Id="rId26" Type="http://schemas.openxmlformats.org/officeDocument/2006/relationships/image" Target="../media/image85.png"/><Relationship Id="rId21" Type="http://schemas.openxmlformats.org/officeDocument/2006/relationships/image" Target="../media/image80.png"/><Relationship Id="rId42" Type="http://schemas.openxmlformats.org/officeDocument/2006/relationships/image" Target="../media/image101.png"/><Relationship Id="rId47" Type="http://schemas.openxmlformats.org/officeDocument/2006/relationships/image" Target="../media/image106.png"/><Relationship Id="rId63" Type="http://schemas.openxmlformats.org/officeDocument/2006/relationships/image" Target="../media/image122.png"/><Relationship Id="rId68" Type="http://schemas.openxmlformats.org/officeDocument/2006/relationships/image" Target="../media/image127.png"/><Relationship Id="rId84" Type="http://schemas.openxmlformats.org/officeDocument/2006/relationships/image" Target="../media/image143.jpeg"/><Relationship Id="rId89" Type="http://schemas.openxmlformats.org/officeDocument/2006/relationships/image" Target="../media/image148.jpeg"/><Relationship Id="rId112" Type="http://schemas.openxmlformats.org/officeDocument/2006/relationships/image" Target="../media/image171.png"/><Relationship Id="rId16" Type="http://schemas.openxmlformats.org/officeDocument/2006/relationships/image" Target="../media/image75.jpeg"/><Relationship Id="rId107" Type="http://schemas.openxmlformats.org/officeDocument/2006/relationships/image" Target="../media/image166.jpeg"/><Relationship Id="rId11" Type="http://schemas.openxmlformats.org/officeDocument/2006/relationships/image" Target="../media/image70.jpeg"/><Relationship Id="rId32" Type="http://schemas.openxmlformats.org/officeDocument/2006/relationships/image" Target="../media/image91.png"/><Relationship Id="rId37" Type="http://schemas.openxmlformats.org/officeDocument/2006/relationships/image" Target="../media/image96.png"/><Relationship Id="rId53" Type="http://schemas.openxmlformats.org/officeDocument/2006/relationships/image" Target="../media/image112.jpeg"/><Relationship Id="rId58" Type="http://schemas.openxmlformats.org/officeDocument/2006/relationships/image" Target="../media/image117.png"/><Relationship Id="rId74" Type="http://schemas.openxmlformats.org/officeDocument/2006/relationships/image" Target="../media/image133.png"/><Relationship Id="rId79" Type="http://schemas.openxmlformats.org/officeDocument/2006/relationships/image" Target="../media/image138.png"/><Relationship Id="rId102" Type="http://schemas.openxmlformats.org/officeDocument/2006/relationships/image" Target="../media/image161.jpeg"/><Relationship Id="rId5" Type="http://schemas.openxmlformats.org/officeDocument/2006/relationships/image" Target="../media/image64.png"/><Relationship Id="rId90" Type="http://schemas.openxmlformats.org/officeDocument/2006/relationships/image" Target="../media/image149.png"/><Relationship Id="rId95" Type="http://schemas.openxmlformats.org/officeDocument/2006/relationships/image" Target="../media/image154.png"/><Relationship Id="rId22" Type="http://schemas.openxmlformats.org/officeDocument/2006/relationships/image" Target="../media/image81.png"/><Relationship Id="rId27" Type="http://schemas.openxmlformats.org/officeDocument/2006/relationships/image" Target="../media/image86.jpeg"/><Relationship Id="rId43" Type="http://schemas.openxmlformats.org/officeDocument/2006/relationships/image" Target="../media/image102.jpeg"/><Relationship Id="rId48" Type="http://schemas.openxmlformats.org/officeDocument/2006/relationships/image" Target="../media/image107.png"/><Relationship Id="rId64" Type="http://schemas.openxmlformats.org/officeDocument/2006/relationships/image" Target="../media/image123.jpeg"/><Relationship Id="rId69" Type="http://schemas.openxmlformats.org/officeDocument/2006/relationships/image" Target="../media/image128.png"/><Relationship Id="rId113" Type="http://schemas.openxmlformats.org/officeDocument/2006/relationships/image" Target="../media/image172.png"/><Relationship Id="rId80" Type="http://schemas.openxmlformats.org/officeDocument/2006/relationships/image" Target="../media/image139.png"/><Relationship Id="rId85" Type="http://schemas.openxmlformats.org/officeDocument/2006/relationships/image" Target="../media/image144.png"/><Relationship Id="rId12" Type="http://schemas.openxmlformats.org/officeDocument/2006/relationships/image" Target="../media/image71.jpeg"/><Relationship Id="rId17" Type="http://schemas.openxmlformats.org/officeDocument/2006/relationships/image" Target="../media/image76.png"/><Relationship Id="rId33" Type="http://schemas.openxmlformats.org/officeDocument/2006/relationships/image" Target="../media/image92.png"/><Relationship Id="rId38" Type="http://schemas.openxmlformats.org/officeDocument/2006/relationships/image" Target="../media/image97.png"/><Relationship Id="rId59" Type="http://schemas.openxmlformats.org/officeDocument/2006/relationships/image" Target="../media/image118.jpeg"/><Relationship Id="rId103" Type="http://schemas.openxmlformats.org/officeDocument/2006/relationships/image" Target="../media/image162.jpeg"/><Relationship Id="rId108" Type="http://schemas.openxmlformats.org/officeDocument/2006/relationships/image" Target="../media/image167.png"/><Relationship Id="rId54" Type="http://schemas.openxmlformats.org/officeDocument/2006/relationships/image" Target="../media/image113.png"/><Relationship Id="rId70" Type="http://schemas.openxmlformats.org/officeDocument/2006/relationships/image" Target="../media/image129.png"/><Relationship Id="rId75" Type="http://schemas.openxmlformats.org/officeDocument/2006/relationships/image" Target="../media/image134.png"/><Relationship Id="rId91" Type="http://schemas.openxmlformats.org/officeDocument/2006/relationships/image" Target="../media/image150.png"/><Relationship Id="rId96" Type="http://schemas.openxmlformats.org/officeDocument/2006/relationships/image" Target="../media/image155.png"/><Relationship Id="rId1" Type="http://schemas.openxmlformats.org/officeDocument/2006/relationships/slideLayout" Target="../slideLayouts/slideLayout96.xml"/><Relationship Id="rId6" Type="http://schemas.openxmlformats.org/officeDocument/2006/relationships/image" Target="../media/image65.jpeg"/><Relationship Id="rId15" Type="http://schemas.openxmlformats.org/officeDocument/2006/relationships/image" Target="../media/image74.jpeg"/><Relationship Id="rId23" Type="http://schemas.openxmlformats.org/officeDocument/2006/relationships/image" Target="../media/image82.jpeg"/><Relationship Id="rId28" Type="http://schemas.openxmlformats.org/officeDocument/2006/relationships/image" Target="../media/image87.jpeg"/><Relationship Id="rId36" Type="http://schemas.openxmlformats.org/officeDocument/2006/relationships/image" Target="../media/image95.jpeg"/><Relationship Id="rId49" Type="http://schemas.openxmlformats.org/officeDocument/2006/relationships/image" Target="../media/image108.png"/><Relationship Id="rId57" Type="http://schemas.openxmlformats.org/officeDocument/2006/relationships/image" Target="../media/image116.jpeg"/><Relationship Id="rId106" Type="http://schemas.openxmlformats.org/officeDocument/2006/relationships/image" Target="../media/image165.jpeg"/><Relationship Id="rId114" Type="http://schemas.openxmlformats.org/officeDocument/2006/relationships/image" Target="../media/image173.png"/><Relationship Id="rId10" Type="http://schemas.openxmlformats.org/officeDocument/2006/relationships/image" Target="../media/image69.jpeg"/><Relationship Id="rId31" Type="http://schemas.openxmlformats.org/officeDocument/2006/relationships/image" Target="../media/image90.jpeg"/><Relationship Id="rId44" Type="http://schemas.openxmlformats.org/officeDocument/2006/relationships/image" Target="../media/image103.png"/><Relationship Id="rId52" Type="http://schemas.openxmlformats.org/officeDocument/2006/relationships/image" Target="../media/image111.jpeg"/><Relationship Id="rId60" Type="http://schemas.openxmlformats.org/officeDocument/2006/relationships/image" Target="../media/image119.jpeg"/><Relationship Id="rId65" Type="http://schemas.openxmlformats.org/officeDocument/2006/relationships/image" Target="../media/image124.png"/><Relationship Id="rId73" Type="http://schemas.openxmlformats.org/officeDocument/2006/relationships/image" Target="../media/image132.png"/><Relationship Id="rId78" Type="http://schemas.openxmlformats.org/officeDocument/2006/relationships/image" Target="../media/image137.png"/><Relationship Id="rId81" Type="http://schemas.openxmlformats.org/officeDocument/2006/relationships/image" Target="../media/image140.jpeg"/><Relationship Id="rId86" Type="http://schemas.openxmlformats.org/officeDocument/2006/relationships/image" Target="../media/image145.png"/><Relationship Id="rId94" Type="http://schemas.openxmlformats.org/officeDocument/2006/relationships/image" Target="../media/image153.jpeg"/><Relationship Id="rId99" Type="http://schemas.openxmlformats.org/officeDocument/2006/relationships/image" Target="../media/image158.png"/><Relationship Id="rId101" Type="http://schemas.openxmlformats.org/officeDocument/2006/relationships/image" Target="../media/image160.jpeg"/><Relationship Id="rId4" Type="http://schemas.openxmlformats.org/officeDocument/2006/relationships/image" Target="../media/image63.jpeg"/><Relationship Id="rId9" Type="http://schemas.openxmlformats.org/officeDocument/2006/relationships/image" Target="../media/image68.jpeg"/><Relationship Id="rId13" Type="http://schemas.openxmlformats.org/officeDocument/2006/relationships/image" Target="../media/image72.jpeg"/><Relationship Id="rId18" Type="http://schemas.openxmlformats.org/officeDocument/2006/relationships/image" Target="../media/image77.png"/><Relationship Id="rId39" Type="http://schemas.openxmlformats.org/officeDocument/2006/relationships/image" Target="../media/image98.png"/><Relationship Id="rId109" Type="http://schemas.openxmlformats.org/officeDocument/2006/relationships/image" Target="../media/image168.jpeg"/><Relationship Id="rId34" Type="http://schemas.openxmlformats.org/officeDocument/2006/relationships/image" Target="../media/image93.jpeg"/><Relationship Id="rId50" Type="http://schemas.openxmlformats.org/officeDocument/2006/relationships/image" Target="../media/image109.png"/><Relationship Id="rId55" Type="http://schemas.openxmlformats.org/officeDocument/2006/relationships/image" Target="../media/image114.png"/><Relationship Id="rId76" Type="http://schemas.openxmlformats.org/officeDocument/2006/relationships/image" Target="../media/image135.png"/><Relationship Id="rId97" Type="http://schemas.openxmlformats.org/officeDocument/2006/relationships/image" Target="../media/image156.png"/><Relationship Id="rId104" Type="http://schemas.openxmlformats.org/officeDocument/2006/relationships/image" Target="../media/image163.jpeg"/><Relationship Id="rId7" Type="http://schemas.openxmlformats.org/officeDocument/2006/relationships/image" Target="../media/image66.png"/><Relationship Id="rId71" Type="http://schemas.openxmlformats.org/officeDocument/2006/relationships/image" Target="../media/image130.jpeg"/><Relationship Id="rId92" Type="http://schemas.openxmlformats.org/officeDocument/2006/relationships/image" Target="../media/image151.jpeg"/><Relationship Id="rId2" Type="http://schemas.openxmlformats.org/officeDocument/2006/relationships/notesSlide" Target="../notesSlides/notesSlide4.xml"/><Relationship Id="rId29" Type="http://schemas.openxmlformats.org/officeDocument/2006/relationships/image" Target="../media/image88.jpeg"/><Relationship Id="rId24" Type="http://schemas.openxmlformats.org/officeDocument/2006/relationships/image" Target="../media/image83.png"/><Relationship Id="rId40" Type="http://schemas.openxmlformats.org/officeDocument/2006/relationships/image" Target="../media/image99.png"/><Relationship Id="rId45" Type="http://schemas.openxmlformats.org/officeDocument/2006/relationships/image" Target="../media/image104.png"/><Relationship Id="rId66" Type="http://schemas.openxmlformats.org/officeDocument/2006/relationships/image" Target="../media/image125.png"/><Relationship Id="rId87" Type="http://schemas.openxmlformats.org/officeDocument/2006/relationships/image" Target="../media/image146.png"/><Relationship Id="rId110" Type="http://schemas.openxmlformats.org/officeDocument/2006/relationships/image" Target="../media/image169.png"/><Relationship Id="rId61" Type="http://schemas.openxmlformats.org/officeDocument/2006/relationships/image" Target="../media/image120.jpeg"/><Relationship Id="rId82" Type="http://schemas.openxmlformats.org/officeDocument/2006/relationships/image" Target="../media/image141.jpeg"/><Relationship Id="rId19" Type="http://schemas.openxmlformats.org/officeDocument/2006/relationships/image" Target="../media/image78.png"/><Relationship Id="rId14" Type="http://schemas.openxmlformats.org/officeDocument/2006/relationships/image" Target="../media/image73.png"/><Relationship Id="rId30" Type="http://schemas.openxmlformats.org/officeDocument/2006/relationships/image" Target="../media/image89.png"/><Relationship Id="rId35" Type="http://schemas.openxmlformats.org/officeDocument/2006/relationships/image" Target="../media/image94.png"/><Relationship Id="rId56" Type="http://schemas.openxmlformats.org/officeDocument/2006/relationships/image" Target="../media/image115.jpeg"/><Relationship Id="rId77" Type="http://schemas.openxmlformats.org/officeDocument/2006/relationships/image" Target="../media/image136.png"/><Relationship Id="rId100" Type="http://schemas.openxmlformats.org/officeDocument/2006/relationships/image" Target="../media/image159.png"/><Relationship Id="rId105" Type="http://schemas.openxmlformats.org/officeDocument/2006/relationships/image" Target="../media/image164.jpeg"/><Relationship Id="rId8" Type="http://schemas.openxmlformats.org/officeDocument/2006/relationships/image" Target="../media/image67.jpeg"/><Relationship Id="rId51" Type="http://schemas.openxmlformats.org/officeDocument/2006/relationships/image" Target="../media/image110.png"/><Relationship Id="rId72" Type="http://schemas.openxmlformats.org/officeDocument/2006/relationships/image" Target="../media/image131.png"/><Relationship Id="rId93" Type="http://schemas.openxmlformats.org/officeDocument/2006/relationships/image" Target="../media/image152.jpeg"/><Relationship Id="rId98" Type="http://schemas.openxmlformats.org/officeDocument/2006/relationships/image" Target="../media/image157.png"/><Relationship Id="rId3" Type="http://schemas.openxmlformats.org/officeDocument/2006/relationships/image" Target="../media/image62.jpeg"/><Relationship Id="rId25" Type="http://schemas.openxmlformats.org/officeDocument/2006/relationships/image" Target="../media/image84.png"/><Relationship Id="rId46" Type="http://schemas.openxmlformats.org/officeDocument/2006/relationships/image" Target="../media/image105.png"/><Relationship Id="rId67" Type="http://schemas.openxmlformats.org/officeDocument/2006/relationships/image" Target="../media/image126.png"/><Relationship Id="rId20" Type="http://schemas.openxmlformats.org/officeDocument/2006/relationships/image" Target="../media/image79.jpeg"/><Relationship Id="rId41" Type="http://schemas.openxmlformats.org/officeDocument/2006/relationships/image" Target="../media/image100.jpeg"/><Relationship Id="rId62" Type="http://schemas.openxmlformats.org/officeDocument/2006/relationships/image" Target="../media/image121.jpeg"/><Relationship Id="rId83" Type="http://schemas.openxmlformats.org/officeDocument/2006/relationships/image" Target="../media/image142.jpeg"/><Relationship Id="rId88" Type="http://schemas.openxmlformats.org/officeDocument/2006/relationships/image" Target="../media/image147.png"/><Relationship Id="rId111" Type="http://schemas.openxmlformats.org/officeDocument/2006/relationships/image" Target="../media/image17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23.xml"/></Relationships>
</file>

<file path=ppt/slides/_rels/slide9.xml.rels><?xml version="1.0" encoding="UTF-8" standalone="yes"?>
<Relationships xmlns="http://schemas.openxmlformats.org/package/2006/relationships"><Relationship Id="rId3" Type="http://schemas.openxmlformats.org/officeDocument/2006/relationships/image" Target="../media/image174.png"/><Relationship Id="rId7" Type="http://schemas.openxmlformats.org/officeDocument/2006/relationships/image" Target="../media/image177.jpeg"/><Relationship Id="rId2" Type="http://schemas.openxmlformats.org/officeDocument/2006/relationships/notesSlide" Target="../notesSlides/notesSlide6.xml"/><Relationship Id="rId1" Type="http://schemas.openxmlformats.org/officeDocument/2006/relationships/slideLayout" Target="../slideLayouts/slideLayout226.xml"/><Relationship Id="rId6" Type="http://schemas.openxmlformats.org/officeDocument/2006/relationships/image" Target="../media/image176.jpeg"/><Relationship Id="rId5" Type="http://schemas.openxmlformats.org/officeDocument/2006/relationships/image" Target="../media/image175.jpeg"/><Relationship Id="rId4" Type="http://schemas.openxmlformats.org/officeDocument/2006/relationships/image" Target="../media/image32.emf"/></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l="-1000" r="-1000"/>
          </a:stretch>
        </a:blipFill>
        <a:effectLst/>
      </p:bgPr>
    </p:bg>
    <p:spTree>
      <p:nvGrpSpPr>
        <p:cNvPr id="1" name=""/>
        <p:cNvGrpSpPr/>
        <p:nvPr/>
      </p:nvGrpSpPr>
      <p:grpSpPr>
        <a:xfrm>
          <a:off x="0" y="0"/>
          <a:ext cx="0" cy="0"/>
          <a:chOff x="0" y="0"/>
          <a:chExt cx="0" cy="0"/>
        </a:xfrm>
      </p:grpSpPr>
      <p:sp>
        <p:nvSpPr>
          <p:cNvPr id="6" name="文本框 5"/>
          <p:cNvSpPr txBox="1"/>
          <p:nvPr/>
        </p:nvSpPr>
        <p:spPr>
          <a:xfrm>
            <a:off x="1257504" y="1664068"/>
            <a:ext cx="10077287" cy="2197525"/>
          </a:xfrm>
          <a:prstGeom prst="rect">
            <a:avLst/>
          </a:prstGeom>
          <a:noFill/>
        </p:spPr>
        <p:txBody>
          <a:bodyPr wrap="square" rtlCol="0">
            <a:spAutoFit/>
          </a:bodyPr>
          <a:lstStyle/>
          <a:p>
            <a:pPr algn="ctr" defTabSz="932597">
              <a:defRPr/>
            </a:pPr>
            <a:r>
              <a:rPr lang="zh-CN" altLang="en-US" sz="4800" dirty="0">
                <a:gradFill>
                  <a:gsLst>
                    <a:gs pos="91000">
                      <a:srgbClr val="FFFFFF"/>
                    </a:gs>
                    <a:gs pos="0">
                      <a:srgbClr val="FFFFFF"/>
                    </a:gs>
                  </a:gsLst>
                  <a:lin ang="5400000" scaled="0"/>
                </a:gradFill>
                <a:latin typeface="微软雅黑" panose="020B0503020204020204" pitchFamily="34" charset="-122"/>
                <a:ea typeface="微软雅黑" panose="020B0503020204020204" pitchFamily="34" charset="-122"/>
              </a:rPr>
              <a:t>未来就在眼前</a:t>
            </a:r>
            <a:endParaRPr lang="en-US" altLang="zh-CN" sz="4800" dirty="0">
              <a:gradFill>
                <a:gsLst>
                  <a:gs pos="91000">
                    <a:srgbClr val="FFFFFF"/>
                  </a:gs>
                  <a:gs pos="0">
                    <a:srgbClr val="FFFFFF"/>
                  </a:gs>
                </a:gsLst>
                <a:lin ang="5400000" scaled="0"/>
              </a:gradFill>
              <a:latin typeface="微软雅黑" panose="020B0503020204020204" pitchFamily="34" charset="-122"/>
              <a:ea typeface="微软雅黑" panose="020B0503020204020204" pitchFamily="34" charset="-122"/>
            </a:endParaRPr>
          </a:p>
          <a:p>
            <a:pPr algn="ctr" defTabSz="932597">
              <a:defRPr/>
            </a:pPr>
            <a:endParaRPr lang="en-US" altLang="zh-CN" sz="4800" dirty="0">
              <a:gradFill>
                <a:gsLst>
                  <a:gs pos="91000">
                    <a:srgbClr val="FFFFFF"/>
                  </a:gs>
                  <a:gs pos="0">
                    <a:srgbClr val="FFFFFF"/>
                  </a:gs>
                </a:gsLst>
                <a:lin ang="5400000" scaled="0"/>
              </a:gradFill>
              <a:latin typeface="微软雅黑" panose="020B0503020204020204" pitchFamily="34" charset="-122"/>
              <a:ea typeface="微软雅黑" panose="020B0503020204020204" pitchFamily="34" charset="-122"/>
            </a:endParaRPr>
          </a:p>
          <a:p>
            <a:pPr algn="ctr" defTabSz="932597">
              <a:defRPr/>
            </a:pPr>
            <a:r>
              <a:rPr lang="zh-CN" altLang="en-US" sz="4080" dirty="0">
                <a:gradFill>
                  <a:gsLst>
                    <a:gs pos="91000">
                      <a:srgbClr val="FFFFFF"/>
                    </a:gs>
                    <a:gs pos="0">
                      <a:srgbClr val="FFFFFF"/>
                    </a:gs>
                  </a:gsLst>
                  <a:lin ang="5400000" scaled="0"/>
                </a:gradFill>
                <a:latin typeface="微软雅黑" panose="020B0503020204020204" pitchFamily="34" charset="-122"/>
                <a:ea typeface="微软雅黑" panose="020B0503020204020204" pitchFamily="34" charset="-122"/>
              </a:rPr>
              <a:t>微软人工智能技术赋能企业转型</a:t>
            </a:r>
            <a:endParaRPr lang="en-US" altLang="zh-CN" sz="4080" dirty="0">
              <a:solidFill>
                <a:srgbClr val="FFFFFF"/>
              </a:solidFill>
              <a:latin typeface="微软雅黑" panose="020B0503020204020204" pitchFamily="34" charset="-122"/>
              <a:ea typeface="微软雅黑" panose="020B0503020204020204" pitchFamily="34" charset="-122"/>
              <a:cs typeface="Segoe UI Light" charset="0"/>
            </a:endParaRPr>
          </a:p>
        </p:txBody>
      </p:sp>
      <p:sp>
        <p:nvSpPr>
          <p:cNvPr id="2" name="文本框 1">
            <a:extLst>
              <a:ext uri="{FF2B5EF4-FFF2-40B4-BE49-F238E27FC236}">
                <a16:creationId xmlns:a16="http://schemas.microsoft.com/office/drawing/2014/main" id="{FACB6D3A-E66C-432E-8244-32C9BFA126FA}"/>
              </a:ext>
            </a:extLst>
          </p:cNvPr>
          <p:cNvSpPr txBox="1"/>
          <p:nvPr/>
        </p:nvSpPr>
        <p:spPr>
          <a:xfrm>
            <a:off x="6502149" y="5033414"/>
            <a:ext cx="4924425" cy="1596014"/>
          </a:xfrm>
          <a:prstGeom prst="rect">
            <a:avLst/>
          </a:prstGeom>
          <a:noFill/>
        </p:spPr>
        <p:txBody>
          <a:bodyPr wrap="none" lIns="0" tIns="0" rIns="0" bIns="0" rtlCol="0">
            <a:spAutoFit/>
          </a:bodyPr>
          <a:lstStyle/>
          <a:p>
            <a:pPr defTabSz="932597">
              <a:lnSpc>
                <a:spcPct val="150000"/>
              </a:lnSpc>
              <a:defRPr/>
            </a:pPr>
            <a:r>
              <a:rPr lang="zh-CN" altLang="en-US" sz="2400" dirty="0">
                <a:solidFill>
                  <a:srgbClr val="FFFFFF"/>
                </a:solidFill>
                <a:latin typeface="Segoe UI"/>
              </a:rPr>
              <a:t>崔宏禹 </a:t>
            </a:r>
            <a:r>
              <a:rPr lang="en-US" altLang="zh-CN" sz="2400" dirty="0">
                <a:solidFill>
                  <a:srgbClr val="FFFFFF"/>
                </a:solidFill>
                <a:latin typeface="Segoe UI"/>
              </a:rPr>
              <a:t>hongyuc@microsoft.com</a:t>
            </a:r>
          </a:p>
          <a:p>
            <a:pPr defTabSz="932597">
              <a:lnSpc>
                <a:spcPct val="150000"/>
              </a:lnSpc>
              <a:defRPr/>
            </a:pPr>
            <a:r>
              <a:rPr lang="zh-CN" altLang="en-US" sz="2400" dirty="0">
                <a:solidFill>
                  <a:srgbClr val="FFFFFF"/>
                </a:solidFill>
                <a:latin typeface="Segoe UI"/>
              </a:rPr>
              <a:t>创新技术总经理</a:t>
            </a:r>
            <a:endParaRPr lang="en-US" altLang="zh-CN" sz="2400" dirty="0">
              <a:solidFill>
                <a:srgbClr val="FFFFFF"/>
              </a:solidFill>
              <a:latin typeface="Segoe UI"/>
            </a:endParaRPr>
          </a:p>
          <a:p>
            <a:pPr defTabSz="932597">
              <a:lnSpc>
                <a:spcPct val="150000"/>
              </a:lnSpc>
              <a:defRPr/>
            </a:pPr>
            <a:r>
              <a:rPr lang="zh-CN" altLang="en-US" sz="2400" dirty="0">
                <a:solidFill>
                  <a:srgbClr val="FFFFFF"/>
                </a:solidFill>
                <a:latin typeface="Segoe UI"/>
              </a:rPr>
              <a:t>微软（中国）有限公司全渠道事业部</a:t>
            </a:r>
          </a:p>
        </p:txBody>
      </p:sp>
    </p:spTree>
    <p:extLst>
      <p:ext uri="{BB962C8B-B14F-4D97-AF65-F5344CB8AC3E}">
        <p14:creationId xmlns:p14="http://schemas.microsoft.com/office/powerpoint/2010/main" val="1000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2" name="Straight Connector 221">
            <a:extLst>
              <a:ext uri="{FF2B5EF4-FFF2-40B4-BE49-F238E27FC236}">
                <a16:creationId xmlns:a16="http://schemas.microsoft.com/office/drawing/2014/main" id="{A9486458-08CA-014E-9604-2A7111199F38}"/>
              </a:ext>
            </a:extLst>
          </p:cNvPr>
          <p:cNvCxnSpPr>
            <a:cxnSpLocks/>
          </p:cNvCxnSpPr>
          <p:nvPr/>
        </p:nvCxnSpPr>
        <p:spPr>
          <a:xfrm>
            <a:off x="4151487" y="2363354"/>
            <a:ext cx="4141045"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3" name="Rectangle 222">
            <a:extLst>
              <a:ext uri="{FF2B5EF4-FFF2-40B4-BE49-F238E27FC236}">
                <a16:creationId xmlns:a16="http://schemas.microsoft.com/office/drawing/2014/main" id="{C288CB01-1D33-7A41-BD82-12F586614508}"/>
              </a:ext>
            </a:extLst>
          </p:cNvPr>
          <p:cNvSpPr/>
          <p:nvPr/>
        </p:nvSpPr>
        <p:spPr>
          <a:xfrm>
            <a:off x="5362656" y="2191202"/>
            <a:ext cx="1649544" cy="334307"/>
          </a:xfrm>
          <a:prstGeom prst="rect">
            <a:avLst/>
          </a:prstGeom>
          <a:solidFill>
            <a:schemeClr val="bg1"/>
          </a:solidFill>
        </p:spPr>
        <p:txBody>
          <a:bodyPr wrap="square">
            <a:spAutoFit/>
          </a:bodyPr>
          <a:lstStyle/>
          <a:p>
            <a:pPr algn="ctr" defTabSz="699447">
              <a:defRPr/>
            </a:pPr>
            <a:r>
              <a:rPr lang="en-US" sz="1530" dirty="0">
                <a:solidFill>
                  <a:srgbClr val="5B9BD5"/>
                </a:solidFill>
                <a:latin typeface="Segoe UI Semibold"/>
              </a:rPr>
              <a:t>Speech </a:t>
            </a:r>
            <a:r>
              <a:rPr lang="zh-CN" altLang="en-US" sz="1530" dirty="0">
                <a:solidFill>
                  <a:srgbClr val="5B9BD5"/>
                </a:solidFill>
                <a:latin typeface="Segoe UI Semibold"/>
                <a:ea typeface="宋体" panose="02010600030101010101" pitchFamily="2" charset="-122"/>
              </a:rPr>
              <a:t>语音</a:t>
            </a:r>
            <a:endParaRPr lang="en-US" sz="1071" dirty="0">
              <a:solidFill>
                <a:srgbClr val="5B9BD5"/>
              </a:solidFill>
              <a:latin typeface="Segoe UI Semibold"/>
            </a:endParaRPr>
          </a:p>
        </p:txBody>
      </p:sp>
      <p:cxnSp>
        <p:nvCxnSpPr>
          <p:cNvPr id="287" name="Straight Connector 286">
            <a:extLst>
              <a:ext uri="{FF2B5EF4-FFF2-40B4-BE49-F238E27FC236}">
                <a16:creationId xmlns:a16="http://schemas.microsoft.com/office/drawing/2014/main" id="{92A23A78-E61E-6E42-B47F-603B17DCCB7E}"/>
              </a:ext>
            </a:extLst>
          </p:cNvPr>
          <p:cNvCxnSpPr>
            <a:cxnSpLocks/>
          </p:cNvCxnSpPr>
          <p:nvPr/>
        </p:nvCxnSpPr>
        <p:spPr>
          <a:xfrm>
            <a:off x="2000360" y="2363354"/>
            <a:ext cx="1944828"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8" name="Rectangle 287">
            <a:extLst>
              <a:ext uri="{FF2B5EF4-FFF2-40B4-BE49-F238E27FC236}">
                <a16:creationId xmlns:a16="http://schemas.microsoft.com/office/drawing/2014/main" id="{348933E7-3306-B04A-80B4-BDC3E2D1DFB4}"/>
              </a:ext>
            </a:extLst>
          </p:cNvPr>
          <p:cNvSpPr/>
          <p:nvPr/>
        </p:nvSpPr>
        <p:spPr>
          <a:xfrm>
            <a:off x="2403119" y="2185458"/>
            <a:ext cx="1192707" cy="334307"/>
          </a:xfrm>
          <a:prstGeom prst="rect">
            <a:avLst/>
          </a:prstGeom>
          <a:solidFill>
            <a:schemeClr val="bg1"/>
          </a:solidFill>
        </p:spPr>
        <p:txBody>
          <a:bodyPr wrap="square">
            <a:spAutoFit/>
          </a:bodyPr>
          <a:lstStyle/>
          <a:p>
            <a:pPr algn="ctr" defTabSz="699447">
              <a:defRPr/>
            </a:pPr>
            <a:r>
              <a:rPr lang="en-US" sz="1530" dirty="0">
                <a:solidFill>
                  <a:srgbClr val="5B9BD5"/>
                </a:solidFill>
                <a:latin typeface="Segoe UI Semibold"/>
              </a:rPr>
              <a:t>Vision </a:t>
            </a:r>
            <a:r>
              <a:rPr lang="zh-CN" altLang="en-US" sz="1530" dirty="0">
                <a:solidFill>
                  <a:srgbClr val="5B9BD5"/>
                </a:solidFill>
                <a:latin typeface="Segoe UI Semibold"/>
                <a:ea typeface="宋体" panose="02010600030101010101" pitchFamily="2" charset="-122"/>
              </a:rPr>
              <a:t>视觉</a:t>
            </a:r>
            <a:endParaRPr lang="en-US" sz="1071" dirty="0">
              <a:solidFill>
                <a:srgbClr val="5B9BD5"/>
              </a:solidFill>
              <a:latin typeface="Segoe UI Semibold"/>
            </a:endParaRPr>
          </a:p>
        </p:txBody>
      </p:sp>
      <p:cxnSp>
        <p:nvCxnSpPr>
          <p:cNvPr id="289" name="Straight Connector 288">
            <a:extLst>
              <a:ext uri="{FF2B5EF4-FFF2-40B4-BE49-F238E27FC236}">
                <a16:creationId xmlns:a16="http://schemas.microsoft.com/office/drawing/2014/main" id="{3F651C64-B18B-974B-8F3C-5A9FCB2E404E}"/>
              </a:ext>
            </a:extLst>
          </p:cNvPr>
          <p:cNvCxnSpPr>
            <a:cxnSpLocks/>
          </p:cNvCxnSpPr>
          <p:nvPr/>
        </p:nvCxnSpPr>
        <p:spPr>
          <a:xfrm>
            <a:off x="8507887" y="2363354"/>
            <a:ext cx="1944828"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0" name="Rectangle 289">
            <a:extLst>
              <a:ext uri="{FF2B5EF4-FFF2-40B4-BE49-F238E27FC236}">
                <a16:creationId xmlns:a16="http://schemas.microsoft.com/office/drawing/2014/main" id="{D33EF7E5-41D9-5F42-B169-A78DE8FF89D3}"/>
              </a:ext>
            </a:extLst>
          </p:cNvPr>
          <p:cNvSpPr/>
          <p:nvPr/>
        </p:nvSpPr>
        <p:spPr>
          <a:xfrm>
            <a:off x="8692839" y="2210328"/>
            <a:ext cx="1555271" cy="334307"/>
          </a:xfrm>
          <a:prstGeom prst="rect">
            <a:avLst/>
          </a:prstGeom>
          <a:solidFill>
            <a:schemeClr val="bg1"/>
          </a:solidFill>
        </p:spPr>
        <p:txBody>
          <a:bodyPr wrap="square">
            <a:spAutoFit/>
          </a:bodyPr>
          <a:lstStyle/>
          <a:p>
            <a:pPr algn="ctr" defTabSz="699447">
              <a:defRPr/>
            </a:pPr>
            <a:r>
              <a:rPr lang="en-US" sz="1530" dirty="0">
                <a:solidFill>
                  <a:srgbClr val="5B9BD5"/>
                </a:solidFill>
                <a:latin typeface="Segoe UI Semibold"/>
              </a:rPr>
              <a:t>Language </a:t>
            </a:r>
            <a:r>
              <a:rPr lang="zh-CN" altLang="en-US" sz="1530" dirty="0">
                <a:solidFill>
                  <a:srgbClr val="5B9BD5"/>
                </a:solidFill>
                <a:latin typeface="Segoe UI Semibold"/>
                <a:ea typeface="宋体" panose="02010600030101010101" pitchFamily="2" charset="-122"/>
              </a:rPr>
              <a:t>语言</a:t>
            </a:r>
            <a:endParaRPr lang="en-US" sz="1071" dirty="0">
              <a:solidFill>
                <a:srgbClr val="5B9BD5"/>
              </a:solidFill>
              <a:latin typeface="Segoe UI Semibold"/>
            </a:endParaRPr>
          </a:p>
        </p:txBody>
      </p:sp>
      <p:grpSp>
        <p:nvGrpSpPr>
          <p:cNvPr id="224" name="Group 223">
            <a:extLst>
              <a:ext uri="{FF2B5EF4-FFF2-40B4-BE49-F238E27FC236}">
                <a16:creationId xmlns:a16="http://schemas.microsoft.com/office/drawing/2014/main" id="{EE50CE08-E5B9-9545-A031-26797224FA66}"/>
              </a:ext>
            </a:extLst>
          </p:cNvPr>
          <p:cNvGrpSpPr/>
          <p:nvPr/>
        </p:nvGrpSpPr>
        <p:grpSpPr>
          <a:xfrm>
            <a:off x="4106087" y="2582763"/>
            <a:ext cx="2080540" cy="1944478"/>
            <a:chOff x="3338624" y="2025650"/>
            <a:chExt cx="2719907" cy="2542032"/>
          </a:xfrm>
        </p:grpSpPr>
        <p:pic>
          <p:nvPicPr>
            <p:cNvPr id="225" name="Picture Placeholder 7">
              <a:extLst>
                <a:ext uri="{FF2B5EF4-FFF2-40B4-BE49-F238E27FC236}">
                  <a16:creationId xmlns:a16="http://schemas.microsoft.com/office/drawing/2014/main" id="{90C14125-E05F-974B-8A95-2C750D1C67C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34523" t="3995" r="20642" b="39960"/>
            <a:stretch/>
          </p:blipFill>
          <p:spPr>
            <a:xfrm>
              <a:off x="3408927" y="2025650"/>
              <a:ext cx="2542032" cy="2542032"/>
            </a:xfrm>
            <a:prstGeom prst="rect">
              <a:avLst/>
            </a:prstGeom>
          </p:spPr>
        </p:pic>
        <p:grpSp>
          <p:nvGrpSpPr>
            <p:cNvPr id="226" name="Group 225">
              <a:extLst>
                <a:ext uri="{FF2B5EF4-FFF2-40B4-BE49-F238E27FC236}">
                  <a16:creationId xmlns:a16="http://schemas.microsoft.com/office/drawing/2014/main" id="{5FA07DCA-3C1B-6944-9407-3C0236026D70}"/>
                </a:ext>
              </a:extLst>
            </p:cNvPr>
            <p:cNvGrpSpPr/>
            <p:nvPr/>
          </p:nvGrpSpPr>
          <p:grpSpPr>
            <a:xfrm>
              <a:off x="3338624" y="2257427"/>
              <a:ext cx="2719907" cy="2281356"/>
              <a:chOff x="-7356833" y="4564065"/>
              <a:chExt cx="3145879" cy="2638644"/>
            </a:xfrm>
          </p:grpSpPr>
          <p:grpSp>
            <p:nvGrpSpPr>
              <p:cNvPr id="227" name="Group 226">
                <a:extLst>
                  <a:ext uri="{FF2B5EF4-FFF2-40B4-BE49-F238E27FC236}">
                    <a16:creationId xmlns:a16="http://schemas.microsoft.com/office/drawing/2014/main" id="{F26CB0F8-84F4-FA44-995C-7C19BCCC2079}"/>
                  </a:ext>
                </a:extLst>
              </p:cNvPr>
              <p:cNvGrpSpPr/>
              <p:nvPr/>
            </p:nvGrpSpPr>
            <p:grpSpPr>
              <a:xfrm>
                <a:off x="-7285907" y="4564065"/>
                <a:ext cx="3074953" cy="1882323"/>
                <a:chOff x="-4470975" y="2599831"/>
                <a:chExt cx="4134954" cy="2531195"/>
              </a:xfrm>
            </p:grpSpPr>
            <p:sp>
              <p:nvSpPr>
                <p:cNvPr id="240" name="Freeform: Shape 30">
                  <a:extLst>
                    <a:ext uri="{FF2B5EF4-FFF2-40B4-BE49-F238E27FC236}">
                      <a16:creationId xmlns:a16="http://schemas.microsoft.com/office/drawing/2014/main" id="{878F891E-A76B-B74A-8F88-C22F93C4688C}"/>
                    </a:ext>
                  </a:extLst>
                </p:cNvPr>
                <p:cNvSpPr/>
                <p:nvPr/>
              </p:nvSpPr>
              <p:spPr bwMode="auto">
                <a:xfrm>
                  <a:off x="-4122455" y="2612711"/>
                  <a:ext cx="1330123" cy="1111929"/>
                </a:xfrm>
                <a:custGeom>
                  <a:avLst/>
                  <a:gdLst>
                    <a:gd name="connsiteX0" fmla="*/ 0 w 3480816"/>
                    <a:gd name="connsiteY0" fmla="*/ 0 h 1139952"/>
                    <a:gd name="connsiteX1" fmla="*/ 877824 w 3480816"/>
                    <a:gd name="connsiteY1" fmla="*/ 481584 h 1139952"/>
                    <a:gd name="connsiteX2" fmla="*/ 1237488 w 3480816"/>
                    <a:gd name="connsiteY2" fmla="*/ 627888 h 1139952"/>
                    <a:gd name="connsiteX3" fmla="*/ 2688336 w 3480816"/>
                    <a:gd name="connsiteY3" fmla="*/ 1139952 h 1139952"/>
                    <a:gd name="connsiteX4" fmla="*/ 3133344 w 3480816"/>
                    <a:gd name="connsiteY4" fmla="*/ 1115568 h 1139952"/>
                    <a:gd name="connsiteX5" fmla="*/ 3480816 w 3480816"/>
                    <a:gd name="connsiteY5" fmla="*/ 1127760 h 1139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80816" h="1139952">
                      <a:moveTo>
                        <a:pt x="0" y="0"/>
                      </a:moveTo>
                      <a:lnTo>
                        <a:pt x="877824" y="481584"/>
                      </a:lnTo>
                      <a:lnTo>
                        <a:pt x="1237488" y="627888"/>
                      </a:lnTo>
                      <a:lnTo>
                        <a:pt x="2688336" y="1139952"/>
                      </a:lnTo>
                      <a:lnTo>
                        <a:pt x="3133344" y="1115568"/>
                      </a:lnTo>
                      <a:lnTo>
                        <a:pt x="3480816" y="1127760"/>
                      </a:lnTo>
                    </a:path>
                  </a:pathLst>
                </a:cu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22645">
                    <a:defRPr/>
                  </a:pPr>
                  <a:endParaRPr lang="en-US" sz="918">
                    <a:gradFill>
                      <a:gsLst>
                        <a:gs pos="5439">
                          <a:srgbClr val="FFFFFF"/>
                        </a:gs>
                        <a:gs pos="100000">
                          <a:srgbClr val="FFFFFF"/>
                        </a:gs>
                      </a:gsLst>
                      <a:lin ang="5400000" scaled="0"/>
                    </a:gradFill>
                    <a:latin typeface="Segoe UI"/>
                  </a:endParaRPr>
                </a:p>
              </p:txBody>
            </p:sp>
            <p:sp>
              <p:nvSpPr>
                <p:cNvPr id="241" name="Oval 240">
                  <a:extLst>
                    <a:ext uri="{FF2B5EF4-FFF2-40B4-BE49-F238E27FC236}">
                      <a16:creationId xmlns:a16="http://schemas.microsoft.com/office/drawing/2014/main" id="{67FD3851-1C6B-A041-A212-4C857E4A4A93}"/>
                    </a:ext>
                  </a:extLst>
                </p:cNvPr>
                <p:cNvSpPr/>
                <p:nvPr/>
              </p:nvSpPr>
              <p:spPr bwMode="auto">
                <a:xfrm>
                  <a:off x="-4140640" y="2599831"/>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242" name="Oval 241">
                  <a:extLst>
                    <a:ext uri="{FF2B5EF4-FFF2-40B4-BE49-F238E27FC236}">
                      <a16:creationId xmlns:a16="http://schemas.microsoft.com/office/drawing/2014/main" id="{BD61C243-8B44-C248-89F4-2B21BB413E45}"/>
                    </a:ext>
                  </a:extLst>
                </p:cNvPr>
                <p:cNvSpPr/>
                <p:nvPr/>
              </p:nvSpPr>
              <p:spPr bwMode="auto">
                <a:xfrm>
                  <a:off x="-3811915" y="3061025"/>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243" name="Oval 242">
                  <a:extLst>
                    <a:ext uri="{FF2B5EF4-FFF2-40B4-BE49-F238E27FC236}">
                      <a16:creationId xmlns:a16="http://schemas.microsoft.com/office/drawing/2014/main" id="{38B024CC-EDEF-FA42-994E-AD3FA2E6D3BC}"/>
                    </a:ext>
                  </a:extLst>
                </p:cNvPr>
                <p:cNvSpPr/>
                <p:nvPr/>
              </p:nvSpPr>
              <p:spPr bwMode="auto">
                <a:xfrm>
                  <a:off x="-3672537" y="3205767"/>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244" name="Oval 243">
                  <a:extLst>
                    <a:ext uri="{FF2B5EF4-FFF2-40B4-BE49-F238E27FC236}">
                      <a16:creationId xmlns:a16="http://schemas.microsoft.com/office/drawing/2014/main" id="{66114887-FCD9-0A4F-9E8E-097BAC063E63}"/>
                    </a:ext>
                  </a:extLst>
                </p:cNvPr>
                <p:cNvSpPr/>
                <p:nvPr/>
              </p:nvSpPr>
              <p:spPr bwMode="auto">
                <a:xfrm>
                  <a:off x="-3106069" y="3693842"/>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245" name="Oval 244">
                  <a:extLst>
                    <a:ext uri="{FF2B5EF4-FFF2-40B4-BE49-F238E27FC236}">
                      <a16:creationId xmlns:a16="http://schemas.microsoft.com/office/drawing/2014/main" id="{27BF942D-CE5D-D14B-9C50-277815C6F3C6}"/>
                    </a:ext>
                  </a:extLst>
                </p:cNvPr>
                <p:cNvSpPr/>
                <p:nvPr/>
              </p:nvSpPr>
              <p:spPr bwMode="auto">
                <a:xfrm>
                  <a:off x="-2931204" y="3669814"/>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246" name="Oval 245">
                  <a:extLst>
                    <a:ext uri="{FF2B5EF4-FFF2-40B4-BE49-F238E27FC236}">
                      <a16:creationId xmlns:a16="http://schemas.microsoft.com/office/drawing/2014/main" id="{8A9D8258-709B-284E-8F97-C6C27011DF3A}"/>
                    </a:ext>
                  </a:extLst>
                </p:cNvPr>
                <p:cNvSpPr/>
                <p:nvPr/>
              </p:nvSpPr>
              <p:spPr bwMode="auto">
                <a:xfrm>
                  <a:off x="-2812054" y="3686333"/>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247" name="Freeform: Shape 37">
                  <a:extLst>
                    <a:ext uri="{FF2B5EF4-FFF2-40B4-BE49-F238E27FC236}">
                      <a16:creationId xmlns:a16="http://schemas.microsoft.com/office/drawing/2014/main" id="{102F0365-444B-2B41-9B0E-87A331AEDA5E}"/>
                    </a:ext>
                  </a:extLst>
                </p:cNvPr>
                <p:cNvSpPr/>
                <p:nvPr/>
              </p:nvSpPr>
              <p:spPr bwMode="auto">
                <a:xfrm>
                  <a:off x="-3627954" y="3395220"/>
                  <a:ext cx="1096237" cy="867838"/>
                </a:xfrm>
                <a:custGeom>
                  <a:avLst/>
                  <a:gdLst>
                    <a:gd name="connsiteX0" fmla="*/ 0 w 3332480"/>
                    <a:gd name="connsiteY0" fmla="*/ 124460 h 861060"/>
                    <a:gd name="connsiteX1" fmla="*/ 358140 w 3332480"/>
                    <a:gd name="connsiteY1" fmla="*/ 0 h 861060"/>
                    <a:gd name="connsiteX2" fmla="*/ 734060 w 3332480"/>
                    <a:gd name="connsiteY2" fmla="*/ 525780 h 861060"/>
                    <a:gd name="connsiteX3" fmla="*/ 1122680 w 3332480"/>
                    <a:gd name="connsiteY3" fmla="*/ 665480 h 861060"/>
                    <a:gd name="connsiteX4" fmla="*/ 1531620 w 3332480"/>
                    <a:gd name="connsiteY4" fmla="*/ 576580 h 861060"/>
                    <a:gd name="connsiteX5" fmla="*/ 2794000 w 3332480"/>
                    <a:gd name="connsiteY5" fmla="*/ 861060 h 861060"/>
                    <a:gd name="connsiteX6" fmla="*/ 3332480 w 3332480"/>
                    <a:gd name="connsiteY6" fmla="*/ 739140 h 861060"/>
                    <a:gd name="connsiteX7" fmla="*/ 3332480 w 3332480"/>
                    <a:gd name="connsiteY7" fmla="*/ 744220 h 861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2480" h="861060">
                      <a:moveTo>
                        <a:pt x="0" y="124460"/>
                      </a:moveTo>
                      <a:lnTo>
                        <a:pt x="358140" y="0"/>
                      </a:lnTo>
                      <a:lnTo>
                        <a:pt x="734060" y="525780"/>
                      </a:lnTo>
                      <a:lnTo>
                        <a:pt x="1122680" y="665480"/>
                      </a:lnTo>
                      <a:lnTo>
                        <a:pt x="1531620" y="576580"/>
                      </a:lnTo>
                      <a:lnTo>
                        <a:pt x="2794000" y="861060"/>
                      </a:lnTo>
                      <a:lnTo>
                        <a:pt x="3332480" y="739140"/>
                      </a:lnTo>
                      <a:lnTo>
                        <a:pt x="3332480" y="744220"/>
                      </a:lnTo>
                    </a:path>
                  </a:pathLst>
                </a:cu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22645">
                    <a:defRPr/>
                  </a:pPr>
                  <a:endParaRPr lang="en-US" sz="918">
                    <a:gradFill>
                      <a:gsLst>
                        <a:gs pos="5439">
                          <a:srgbClr val="FFFFFF"/>
                        </a:gs>
                        <a:gs pos="100000">
                          <a:srgbClr val="FFFFFF"/>
                        </a:gs>
                      </a:gsLst>
                      <a:lin ang="5400000" scaled="0"/>
                    </a:gradFill>
                    <a:latin typeface="Segoe UI"/>
                  </a:endParaRPr>
                </a:p>
              </p:txBody>
            </p:sp>
            <p:sp>
              <p:nvSpPr>
                <p:cNvPr id="248" name="Oval 247">
                  <a:extLst>
                    <a:ext uri="{FF2B5EF4-FFF2-40B4-BE49-F238E27FC236}">
                      <a16:creationId xmlns:a16="http://schemas.microsoft.com/office/drawing/2014/main" id="{7A652BBE-C609-AA42-85D4-67E43750F6FE}"/>
                    </a:ext>
                  </a:extLst>
                </p:cNvPr>
                <p:cNvSpPr/>
                <p:nvPr/>
              </p:nvSpPr>
              <p:spPr bwMode="auto">
                <a:xfrm>
                  <a:off x="-3650408" y="3486903"/>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249" name="Oval 248">
                  <a:extLst>
                    <a:ext uri="{FF2B5EF4-FFF2-40B4-BE49-F238E27FC236}">
                      <a16:creationId xmlns:a16="http://schemas.microsoft.com/office/drawing/2014/main" id="{F21A6638-1BF1-3046-9310-B24FC18F1687}"/>
                    </a:ext>
                  </a:extLst>
                </p:cNvPr>
                <p:cNvSpPr/>
                <p:nvPr/>
              </p:nvSpPr>
              <p:spPr bwMode="auto">
                <a:xfrm>
                  <a:off x="-3535766" y="3378137"/>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250" name="Oval 249">
                  <a:extLst>
                    <a:ext uri="{FF2B5EF4-FFF2-40B4-BE49-F238E27FC236}">
                      <a16:creationId xmlns:a16="http://schemas.microsoft.com/office/drawing/2014/main" id="{519F62AB-9B81-8640-A65E-1C6CD1A67AA2}"/>
                    </a:ext>
                  </a:extLst>
                </p:cNvPr>
                <p:cNvSpPr/>
                <p:nvPr/>
              </p:nvSpPr>
              <p:spPr bwMode="auto">
                <a:xfrm>
                  <a:off x="-3408644" y="3905237"/>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251" name="Oval 250">
                  <a:extLst>
                    <a:ext uri="{FF2B5EF4-FFF2-40B4-BE49-F238E27FC236}">
                      <a16:creationId xmlns:a16="http://schemas.microsoft.com/office/drawing/2014/main" id="{2D79C9E6-7CAD-9843-9CE3-FC72142EB112}"/>
                    </a:ext>
                  </a:extLst>
                </p:cNvPr>
                <p:cNvSpPr/>
                <p:nvPr/>
              </p:nvSpPr>
              <p:spPr bwMode="auto">
                <a:xfrm>
                  <a:off x="-3284483" y="4033324"/>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252" name="Oval 251">
                  <a:extLst>
                    <a:ext uri="{FF2B5EF4-FFF2-40B4-BE49-F238E27FC236}">
                      <a16:creationId xmlns:a16="http://schemas.microsoft.com/office/drawing/2014/main" id="{5A805381-D305-A949-8377-86BB6DF74D54}"/>
                    </a:ext>
                  </a:extLst>
                </p:cNvPr>
                <p:cNvSpPr/>
                <p:nvPr/>
              </p:nvSpPr>
              <p:spPr bwMode="auto">
                <a:xfrm>
                  <a:off x="-3156676" y="3952671"/>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253" name="Oval 252">
                  <a:extLst>
                    <a:ext uri="{FF2B5EF4-FFF2-40B4-BE49-F238E27FC236}">
                      <a16:creationId xmlns:a16="http://schemas.microsoft.com/office/drawing/2014/main" id="{F5076C29-911F-3643-A0D8-F444D86314DB}"/>
                    </a:ext>
                  </a:extLst>
                </p:cNvPr>
                <p:cNvSpPr/>
                <p:nvPr/>
              </p:nvSpPr>
              <p:spPr bwMode="auto">
                <a:xfrm>
                  <a:off x="-2735608" y="4230954"/>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254" name="Oval 253">
                  <a:extLst>
                    <a:ext uri="{FF2B5EF4-FFF2-40B4-BE49-F238E27FC236}">
                      <a16:creationId xmlns:a16="http://schemas.microsoft.com/office/drawing/2014/main" id="{570D7D19-2201-4944-8593-2486FB4B237A}"/>
                    </a:ext>
                  </a:extLst>
                </p:cNvPr>
                <p:cNvSpPr/>
                <p:nvPr/>
              </p:nvSpPr>
              <p:spPr bwMode="auto">
                <a:xfrm>
                  <a:off x="-2559152" y="4110373"/>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255" name="Freeform: Shape 45">
                  <a:extLst>
                    <a:ext uri="{FF2B5EF4-FFF2-40B4-BE49-F238E27FC236}">
                      <a16:creationId xmlns:a16="http://schemas.microsoft.com/office/drawing/2014/main" id="{17012E9C-3B1C-9C49-895E-A3445182168D}"/>
                    </a:ext>
                  </a:extLst>
                </p:cNvPr>
                <p:cNvSpPr/>
                <p:nvPr/>
              </p:nvSpPr>
              <p:spPr bwMode="auto">
                <a:xfrm>
                  <a:off x="-2931201" y="3221844"/>
                  <a:ext cx="858943" cy="294399"/>
                </a:xfrm>
                <a:custGeom>
                  <a:avLst/>
                  <a:gdLst>
                    <a:gd name="connsiteX0" fmla="*/ 0 w 2611120"/>
                    <a:gd name="connsiteY0" fmla="*/ 0 h 292100"/>
                    <a:gd name="connsiteX1" fmla="*/ 767080 w 2611120"/>
                    <a:gd name="connsiteY1" fmla="*/ 73660 h 292100"/>
                    <a:gd name="connsiteX2" fmla="*/ 1132840 w 2611120"/>
                    <a:gd name="connsiteY2" fmla="*/ 233680 h 292100"/>
                    <a:gd name="connsiteX3" fmla="*/ 1503680 w 2611120"/>
                    <a:gd name="connsiteY3" fmla="*/ 292100 h 292100"/>
                    <a:gd name="connsiteX4" fmla="*/ 1874520 w 2611120"/>
                    <a:gd name="connsiteY4" fmla="*/ 248920 h 292100"/>
                    <a:gd name="connsiteX5" fmla="*/ 2611120 w 2611120"/>
                    <a:gd name="connsiteY5" fmla="*/ 251460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1120" h="292100">
                      <a:moveTo>
                        <a:pt x="0" y="0"/>
                      </a:moveTo>
                      <a:lnTo>
                        <a:pt x="767080" y="73660"/>
                      </a:lnTo>
                      <a:lnTo>
                        <a:pt x="1132840" y="233680"/>
                      </a:lnTo>
                      <a:lnTo>
                        <a:pt x="1503680" y="292100"/>
                      </a:lnTo>
                      <a:lnTo>
                        <a:pt x="1874520" y="248920"/>
                      </a:lnTo>
                      <a:lnTo>
                        <a:pt x="2611120" y="251460"/>
                      </a:lnTo>
                    </a:path>
                  </a:pathLst>
                </a:cu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22645">
                    <a:defRPr/>
                  </a:pPr>
                  <a:endParaRPr lang="en-US" sz="918">
                    <a:gradFill>
                      <a:gsLst>
                        <a:gs pos="5439">
                          <a:srgbClr val="FFFFFF"/>
                        </a:gs>
                        <a:gs pos="100000">
                          <a:srgbClr val="FFFFFF"/>
                        </a:gs>
                      </a:gsLst>
                      <a:lin ang="5400000" scaled="0"/>
                    </a:gradFill>
                    <a:latin typeface="Segoe UI"/>
                  </a:endParaRPr>
                </a:p>
              </p:txBody>
            </p:sp>
            <p:sp>
              <p:nvSpPr>
                <p:cNvPr id="256" name="Oval 255">
                  <a:extLst>
                    <a:ext uri="{FF2B5EF4-FFF2-40B4-BE49-F238E27FC236}">
                      <a16:creationId xmlns:a16="http://schemas.microsoft.com/office/drawing/2014/main" id="{51C835E2-2181-6446-B7D6-8755E2CF91EC}"/>
                    </a:ext>
                  </a:extLst>
                </p:cNvPr>
                <p:cNvSpPr/>
                <p:nvPr/>
              </p:nvSpPr>
              <p:spPr bwMode="auto">
                <a:xfrm>
                  <a:off x="-2945279" y="3197709"/>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257" name="Oval 256">
                  <a:extLst>
                    <a:ext uri="{FF2B5EF4-FFF2-40B4-BE49-F238E27FC236}">
                      <a16:creationId xmlns:a16="http://schemas.microsoft.com/office/drawing/2014/main" id="{715E3C7F-C123-2143-8E1A-CE61F79D8DF3}"/>
                    </a:ext>
                  </a:extLst>
                </p:cNvPr>
                <p:cNvSpPr/>
                <p:nvPr/>
              </p:nvSpPr>
              <p:spPr bwMode="auto">
                <a:xfrm>
                  <a:off x="-2692888" y="3273736"/>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258" name="Oval 257">
                  <a:extLst>
                    <a:ext uri="{FF2B5EF4-FFF2-40B4-BE49-F238E27FC236}">
                      <a16:creationId xmlns:a16="http://schemas.microsoft.com/office/drawing/2014/main" id="{44CD8E60-C094-C046-95B9-C3E5662192A9}"/>
                    </a:ext>
                  </a:extLst>
                </p:cNvPr>
                <p:cNvSpPr/>
                <p:nvPr/>
              </p:nvSpPr>
              <p:spPr bwMode="auto">
                <a:xfrm>
                  <a:off x="-2577471" y="3419026"/>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259" name="Oval 258">
                  <a:extLst>
                    <a:ext uri="{FF2B5EF4-FFF2-40B4-BE49-F238E27FC236}">
                      <a16:creationId xmlns:a16="http://schemas.microsoft.com/office/drawing/2014/main" id="{D6BE54FE-46F5-5046-A1DD-80ABD51FA9BA}"/>
                    </a:ext>
                  </a:extLst>
                </p:cNvPr>
                <p:cNvSpPr/>
                <p:nvPr/>
              </p:nvSpPr>
              <p:spPr bwMode="auto">
                <a:xfrm>
                  <a:off x="-2454467" y="3487928"/>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260" name="Oval 259">
                  <a:extLst>
                    <a:ext uri="{FF2B5EF4-FFF2-40B4-BE49-F238E27FC236}">
                      <a16:creationId xmlns:a16="http://schemas.microsoft.com/office/drawing/2014/main" id="{0286AF63-9058-8542-9017-B5DA9B400EAE}"/>
                    </a:ext>
                  </a:extLst>
                </p:cNvPr>
                <p:cNvSpPr/>
                <p:nvPr/>
              </p:nvSpPr>
              <p:spPr bwMode="auto">
                <a:xfrm>
                  <a:off x="-2332917" y="3438793"/>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261" name="Oval 260">
                  <a:extLst>
                    <a:ext uri="{FF2B5EF4-FFF2-40B4-BE49-F238E27FC236}">
                      <a16:creationId xmlns:a16="http://schemas.microsoft.com/office/drawing/2014/main" id="{5B344C07-69FD-4D4F-BAC7-84F922BC0FB0}"/>
                    </a:ext>
                  </a:extLst>
                </p:cNvPr>
                <p:cNvSpPr/>
                <p:nvPr/>
              </p:nvSpPr>
              <p:spPr bwMode="auto">
                <a:xfrm>
                  <a:off x="-2094685" y="3441966"/>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262" name="Freeform: Shape 52">
                  <a:extLst>
                    <a:ext uri="{FF2B5EF4-FFF2-40B4-BE49-F238E27FC236}">
                      <a16:creationId xmlns:a16="http://schemas.microsoft.com/office/drawing/2014/main" id="{0E91C403-F557-044F-B539-3F7FA43946D5}"/>
                    </a:ext>
                  </a:extLst>
                </p:cNvPr>
                <p:cNvSpPr/>
                <p:nvPr/>
              </p:nvSpPr>
              <p:spPr bwMode="auto">
                <a:xfrm>
                  <a:off x="-2985002" y="3364546"/>
                  <a:ext cx="235625" cy="145920"/>
                </a:xfrm>
                <a:custGeom>
                  <a:avLst/>
                  <a:gdLst>
                    <a:gd name="connsiteX0" fmla="*/ 0 w 716280"/>
                    <a:gd name="connsiteY0" fmla="*/ 0 h 144780"/>
                    <a:gd name="connsiteX1" fmla="*/ 345440 w 716280"/>
                    <a:gd name="connsiteY1" fmla="*/ 63500 h 144780"/>
                    <a:gd name="connsiteX2" fmla="*/ 716280 w 716280"/>
                    <a:gd name="connsiteY2" fmla="*/ 144780 h 144780"/>
                  </a:gdLst>
                  <a:ahLst/>
                  <a:cxnLst>
                    <a:cxn ang="0">
                      <a:pos x="connsiteX0" y="connsiteY0"/>
                    </a:cxn>
                    <a:cxn ang="0">
                      <a:pos x="connsiteX1" y="connsiteY1"/>
                    </a:cxn>
                    <a:cxn ang="0">
                      <a:pos x="connsiteX2" y="connsiteY2"/>
                    </a:cxn>
                  </a:cxnLst>
                  <a:rect l="l" t="t" r="r" b="b"/>
                  <a:pathLst>
                    <a:path w="716280" h="144780">
                      <a:moveTo>
                        <a:pt x="0" y="0"/>
                      </a:moveTo>
                      <a:lnTo>
                        <a:pt x="345440" y="63500"/>
                      </a:lnTo>
                      <a:lnTo>
                        <a:pt x="716280" y="144780"/>
                      </a:lnTo>
                    </a:path>
                  </a:pathLst>
                </a:cu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22645">
                    <a:defRPr/>
                  </a:pPr>
                  <a:endParaRPr lang="en-US" sz="918">
                    <a:gradFill>
                      <a:gsLst>
                        <a:gs pos="5439">
                          <a:srgbClr val="FFFFFF"/>
                        </a:gs>
                        <a:gs pos="100000">
                          <a:srgbClr val="FFFFFF"/>
                        </a:gs>
                      </a:gsLst>
                      <a:lin ang="5400000" scaled="0"/>
                    </a:gradFill>
                    <a:latin typeface="Segoe UI"/>
                  </a:endParaRPr>
                </a:p>
              </p:txBody>
            </p:sp>
            <p:sp>
              <p:nvSpPr>
                <p:cNvPr id="263" name="Oval 262">
                  <a:extLst>
                    <a:ext uri="{FF2B5EF4-FFF2-40B4-BE49-F238E27FC236}">
                      <a16:creationId xmlns:a16="http://schemas.microsoft.com/office/drawing/2014/main" id="{DD8265D4-60D0-014D-BEA2-4E1C1D90DC6B}"/>
                    </a:ext>
                  </a:extLst>
                </p:cNvPr>
                <p:cNvSpPr/>
                <p:nvPr/>
              </p:nvSpPr>
              <p:spPr bwMode="auto">
                <a:xfrm>
                  <a:off x="-2995941" y="3346167"/>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264" name="Oval 263">
                  <a:extLst>
                    <a:ext uri="{FF2B5EF4-FFF2-40B4-BE49-F238E27FC236}">
                      <a16:creationId xmlns:a16="http://schemas.microsoft.com/office/drawing/2014/main" id="{21795BFE-FEDD-A645-B463-24D5BF6E3DC5}"/>
                    </a:ext>
                  </a:extLst>
                </p:cNvPr>
                <p:cNvSpPr/>
                <p:nvPr/>
              </p:nvSpPr>
              <p:spPr bwMode="auto">
                <a:xfrm>
                  <a:off x="-2891319" y="3407028"/>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265" name="Oval 264">
                  <a:extLst>
                    <a:ext uri="{FF2B5EF4-FFF2-40B4-BE49-F238E27FC236}">
                      <a16:creationId xmlns:a16="http://schemas.microsoft.com/office/drawing/2014/main" id="{8AD22C7E-6CBB-AB47-8167-2F577127C064}"/>
                    </a:ext>
                  </a:extLst>
                </p:cNvPr>
                <p:cNvSpPr/>
                <p:nvPr/>
              </p:nvSpPr>
              <p:spPr bwMode="auto">
                <a:xfrm>
                  <a:off x="-2762552" y="3491145"/>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266" name="Freeform: Shape 56">
                  <a:extLst>
                    <a:ext uri="{FF2B5EF4-FFF2-40B4-BE49-F238E27FC236}">
                      <a16:creationId xmlns:a16="http://schemas.microsoft.com/office/drawing/2014/main" id="{760CB88F-F43C-4D47-AD44-9737ECE6079E}"/>
                    </a:ext>
                  </a:extLst>
                </p:cNvPr>
                <p:cNvSpPr/>
                <p:nvPr/>
              </p:nvSpPr>
              <p:spPr bwMode="auto">
                <a:xfrm>
                  <a:off x="-1973470" y="3739091"/>
                  <a:ext cx="652563" cy="1059835"/>
                </a:xfrm>
                <a:custGeom>
                  <a:avLst/>
                  <a:gdLst>
                    <a:gd name="connsiteX0" fmla="*/ 0 w 1983740"/>
                    <a:gd name="connsiteY0" fmla="*/ 0 h 1051560"/>
                    <a:gd name="connsiteX1" fmla="*/ 1107440 w 1983740"/>
                    <a:gd name="connsiteY1" fmla="*/ 424180 h 1051560"/>
                    <a:gd name="connsiteX2" fmla="*/ 1983740 w 1983740"/>
                    <a:gd name="connsiteY2" fmla="*/ 1051560 h 1051560"/>
                  </a:gdLst>
                  <a:ahLst/>
                  <a:cxnLst>
                    <a:cxn ang="0">
                      <a:pos x="connsiteX0" y="connsiteY0"/>
                    </a:cxn>
                    <a:cxn ang="0">
                      <a:pos x="connsiteX1" y="connsiteY1"/>
                    </a:cxn>
                    <a:cxn ang="0">
                      <a:pos x="connsiteX2" y="connsiteY2"/>
                    </a:cxn>
                  </a:cxnLst>
                  <a:rect l="l" t="t" r="r" b="b"/>
                  <a:pathLst>
                    <a:path w="1983740" h="1051560">
                      <a:moveTo>
                        <a:pt x="0" y="0"/>
                      </a:moveTo>
                      <a:lnTo>
                        <a:pt x="1107440" y="424180"/>
                      </a:lnTo>
                      <a:lnTo>
                        <a:pt x="1983740" y="1051560"/>
                      </a:lnTo>
                    </a:path>
                  </a:pathLst>
                </a:custGeom>
                <a:noFill/>
                <a:ln w="952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22645">
                    <a:defRPr/>
                  </a:pPr>
                  <a:endParaRPr lang="en-US" sz="918">
                    <a:gradFill>
                      <a:gsLst>
                        <a:gs pos="5439">
                          <a:srgbClr val="FFFFFF"/>
                        </a:gs>
                        <a:gs pos="100000">
                          <a:srgbClr val="FFFFFF"/>
                        </a:gs>
                      </a:gsLst>
                      <a:lin ang="5400000" scaled="0"/>
                    </a:gradFill>
                    <a:latin typeface="Segoe UI"/>
                  </a:endParaRPr>
                </a:p>
              </p:txBody>
            </p:sp>
            <p:sp>
              <p:nvSpPr>
                <p:cNvPr id="267" name="Oval 266">
                  <a:extLst>
                    <a:ext uri="{FF2B5EF4-FFF2-40B4-BE49-F238E27FC236}">
                      <a16:creationId xmlns:a16="http://schemas.microsoft.com/office/drawing/2014/main" id="{669E7B93-4E51-534E-A0E4-271B61C25A7A}"/>
                    </a:ext>
                  </a:extLst>
                </p:cNvPr>
                <p:cNvSpPr/>
                <p:nvPr/>
              </p:nvSpPr>
              <p:spPr bwMode="auto">
                <a:xfrm>
                  <a:off x="-1994460" y="3720153"/>
                  <a:ext cx="64008" cy="64008"/>
                </a:xfrm>
                <a:prstGeom prst="ellipse">
                  <a:avLst/>
                </a:prstGeom>
                <a:solidFill>
                  <a:schemeClr val="accent1">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268" name="Oval 267">
                  <a:extLst>
                    <a:ext uri="{FF2B5EF4-FFF2-40B4-BE49-F238E27FC236}">
                      <a16:creationId xmlns:a16="http://schemas.microsoft.com/office/drawing/2014/main" id="{82B7B7CA-69EA-5143-931A-F69645D57E8C}"/>
                    </a:ext>
                  </a:extLst>
                </p:cNvPr>
                <p:cNvSpPr/>
                <p:nvPr/>
              </p:nvSpPr>
              <p:spPr bwMode="auto">
                <a:xfrm>
                  <a:off x="-1642637" y="4131863"/>
                  <a:ext cx="64008" cy="64008"/>
                </a:xfrm>
                <a:prstGeom prst="ellipse">
                  <a:avLst/>
                </a:prstGeom>
                <a:solidFill>
                  <a:schemeClr val="accent1">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269" name="Oval 268">
                  <a:extLst>
                    <a:ext uri="{FF2B5EF4-FFF2-40B4-BE49-F238E27FC236}">
                      <a16:creationId xmlns:a16="http://schemas.microsoft.com/office/drawing/2014/main" id="{818D477B-6409-784B-86C0-62113656D9B6}"/>
                    </a:ext>
                  </a:extLst>
                </p:cNvPr>
                <p:cNvSpPr/>
                <p:nvPr/>
              </p:nvSpPr>
              <p:spPr bwMode="auto">
                <a:xfrm>
                  <a:off x="-1553534" y="4314879"/>
                  <a:ext cx="64008" cy="64008"/>
                </a:xfrm>
                <a:prstGeom prst="ellipse">
                  <a:avLst/>
                </a:prstGeom>
                <a:solidFill>
                  <a:schemeClr val="bg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270" name="TextBox 269">
                  <a:extLst>
                    <a:ext uri="{FF2B5EF4-FFF2-40B4-BE49-F238E27FC236}">
                      <a16:creationId xmlns:a16="http://schemas.microsoft.com/office/drawing/2014/main" id="{C70BFA3A-1EFE-B94A-92DE-A9A560CCBF04}"/>
                    </a:ext>
                  </a:extLst>
                </p:cNvPr>
                <p:cNvSpPr txBox="1"/>
                <p:nvPr/>
              </p:nvSpPr>
              <p:spPr>
                <a:xfrm>
                  <a:off x="-3871705" y="2797502"/>
                  <a:ext cx="1430728" cy="558148"/>
                </a:xfrm>
                <a:prstGeom prst="rect">
                  <a:avLst/>
                </a:prstGeom>
                <a:noFill/>
              </p:spPr>
              <p:txBody>
                <a:bodyPr wrap="square" lIns="137120" tIns="109696" rIns="137120" bIns="109696" rtlCol="0">
                  <a:spAutoFit/>
                </a:bodyPr>
                <a:lstStyle/>
                <a:p>
                  <a:pPr defTabSz="822645">
                    <a:lnSpc>
                      <a:spcPct val="90000"/>
                    </a:lnSpc>
                    <a:spcAft>
                      <a:spcPts val="450"/>
                    </a:spcAft>
                    <a:defRPr/>
                  </a:pPr>
                  <a:r>
                    <a:rPr lang="en-US" sz="382" b="1">
                      <a:gradFill>
                        <a:gsLst>
                          <a:gs pos="5439">
                            <a:srgbClr val="FFFFFF"/>
                          </a:gs>
                          <a:gs pos="100000">
                            <a:srgbClr val="FFFFFF"/>
                          </a:gs>
                        </a:gsLst>
                        <a:lin ang="5400000" scaled="0"/>
                      </a:gradFill>
                      <a:latin typeface="Segoe UI" panose="020B0502040204020203" pitchFamily="34" charset="0"/>
                      <a:cs typeface="Segoe UI" panose="020B0502040204020203" pitchFamily="34" charset="0"/>
                    </a:rPr>
                    <a:t>Switchboard</a:t>
                  </a:r>
                </a:p>
              </p:txBody>
            </p:sp>
            <p:sp>
              <p:nvSpPr>
                <p:cNvPr id="271" name="TextBox 270">
                  <a:extLst>
                    <a:ext uri="{FF2B5EF4-FFF2-40B4-BE49-F238E27FC236}">
                      <a16:creationId xmlns:a16="http://schemas.microsoft.com/office/drawing/2014/main" id="{6FF5B10E-FC5B-D741-BBA1-5333A6453E88}"/>
                    </a:ext>
                  </a:extLst>
                </p:cNvPr>
                <p:cNvSpPr txBox="1"/>
                <p:nvPr/>
              </p:nvSpPr>
              <p:spPr>
                <a:xfrm>
                  <a:off x="-2946592" y="3411496"/>
                  <a:ext cx="1352715" cy="665853"/>
                </a:xfrm>
                <a:prstGeom prst="rect">
                  <a:avLst/>
                </a:prstGeom>
                <a:noFill/>
              </p:spPr>
              <p:txBody>
                <a:bodyPr wrap="square" lIns="137120" tIns="109696" rIns="137120" bIns="109696" rtlCol="0">
                  <a:spAutoFit/>
                </a:bodyPr>
                <a:lstStyle/>
                <a:p>
                  <a:pPr defTabSz="822645">
                    <a:lnSpc>
                      <a:spcPct val="90000"/>
                    </a:lnSpc>
                    <a:spcAft>
                      <a:spcPts val="450"/>
                    </a:spcAft>
                    <a:defRPr/>
                  </a:pPr>
                  <a:r>
                    <a:rPr lang="en-US" sz="382" b="1">
                      <a:gradFill>
                        <a:gsLst>
                          <a:gs pos="5439">
                            <a:srgbClr val="FFFFFF"/>
                          </a:gs>
                          <a:gs pos="100000">
                            <a:srgbClr val="FFFFFF"/>
                          </a:gs>
                        </a:gsLst>
                        <a:lin ang="5400000" scaled="0"/>
                      </a:gradFill>
                      <a:latin typeface="Segoe UI" panose="020B0502040204020203" pitchFamily="34" charset="0"/>
                      <a:cs typeface="Segoe UI" panose="020B0502040204020203" pitchFamily="34" charset="0"/>
                    </a:rPr>
                    <a:t>Switchboard cellular</a:t>
                  </a:r>
                </a:p>
              </p:txBody>
            </p:sp>
            <p:sp>
              <p:nvSpPr>
                <p:cNvPr id="272" name="TextBox 271">
                  <a:extLst>
                    <a:ext uri="{FF2B5EF4-FFF2-40B4-BE49-F238E27FC236}">
                      <a16:creationId xmlns:a16="http://schemas.microsoft.com/office/drawing/2014/main" id="{B3D1F96A-0499-9241-9C94-C86D41313F37}"/>
                    </a:ext>
                  </a:extLst>
                </p:cNvPr>
                <p:cNvSpPr txBox="1"/>
                <p:nvPr/>
              </p:nvSpPr>
              <p:spPr>
                <a:xfrm>
                  <a:off x="-2704720" y="2920789"/>
                  <a:ext cx="1638853" cy="665853"/>
                </a:xfrm>
                <a:prstGeom prst="rect">
                  <a:avLst/>
                </a:prstGeom>
                <a:noFill/>
              </p:spPr>
              <p:txBody>
                <a:bodyPr wrap="square" lIns="137120" tIns="109696" rIns="137120" bIns="109696" rtlCol="0">
                  <a:spAutoFit/>
                </a:bodyPr>
                <a:lstStyle/>
                <a:p>
                  <a:pPr defTabSz="822645">
                    <a:lnSpc>
                      <a:spcPct val="90000"/>
                    </a:lnSpc>
                    <a:spcAft>
                      <a:spcPts val="450"/>
                    </a:spcAft>
                    <a:defRPr/>
                  </a:pPr>
                  <a:r>
                    <a:rPr lang="en-US" sz="382" b="1">
                      <a:gradFill>
                        <a:gsLst>
                          <a:gs pos="5439">
                            <a:srgbClr val="FFFFFF"/>
                          </a:gs>
                          <a:gs pos="100000">
                            <a:srgbClr val="FFFFFF"/>
                          </a:gs>
                        </a:gsLst>
                        <a:lin ang="5400000" scaled="0"/>
                      </a:gradFill>
                      <a:latin typeface="Segoe UI" panose="020B0502040204020203" pitchFamily="34" charset="0"/>
                      <a:cs typeface="Segoe UI" panose="020B0502040204020203" pitchFamily="34" charset="0"/>
                    </a:rPr>
                    <a:t>Meeting </a:t>
                  </a:r>
                  <a:br>
                    <a:rPr lang="en-US" sz="382" b="1">
                      <a:gradFill>
                        <a:gsLst>
                          <a:gs pos="5439">
                            <a:srgbClr val="FFFFFF"/>
                          </a:gs>
                          <a:gs pos="100000">
                            <a:srgbClr val="FFFFFF"/>
                          </a:gs>
                        </a:gsLst>
                        <a:lin ang="5400000" scaled="0"/>
                      </a:gradFill>
                      <a:latin typeface="Segoe UI" panose="020B0502040204020203" pitchFamily="34" charset="0"/>
                      <a:cs typeface="Segoe UI" panose="020B0502040204020203" pitchFamily="34" charset="0"/>
                    </a:rPr>
                  </a:br>
                  <a:r>
                    <a:rPr lang="en-US" sz="382" b="1">
                      <a:gradFill>
                        <a:gsLst>
                          <a:gs pos="5439">
                            <a:srgbClr val="FFFFFF"/>
                          </a:gs>
                          <a:gs pos="100000">
                            <a:srgbClr val="FFFFFF"/>
                          </a:gs>
                        </a:gsLst>
                        <a:lin ang="5400000" scaled="0"/>
                      </a:gradFill>
                      <a:latin typeface="Segoe UI" panose="020B0502040204020203" pitchFamily="34" charset="0"/>
                      <a:cs typeface="Segoe UI" panose="020B0502040204020203" pitchFamily="34" charset="0"/>
                    </a:rPr>
                    <a:t>speech</a:t>
                  </a:r>
                </a:p>
              </p:txBody>
            </p:sp>
            <p:sp>
              <p:nvSpPr>
                <p:cNvPr id="273" name="TextBox 272">
                  <a:extLst>
                    <a:ext uri="{FF2B5EF4-FFF2-40B4-BE49-F238E27FC236}">
                      <a16:creationId xmlns:a16="http://schemas.microsoft.com/office/drawing/2014/main" id="{1AD71B45-7ECE-8F4E-B92A-114C63AD805C}"/>
                    </a:ext>
                  </a:extLst>
                </p:cNvPr>
                <p:cNvSpPr txBox="1"/>
                <p:nvPr/>
              </p:nvSpPr>
              <p:spPr>
                <a:xfrm>
                  <a:off x="-1615553" y="4023761"/>
                  <a:ext cx="1279532" cy="665853"/>
                </a:xfrm>
                <a:prstGeom prst="rect">
                  <a:avLst/>
                </a:prstGeom>
                <a:noFill/>
              </p:spPr>
              <p:txBody>
                <a:bodyPr wrap="square" lIns="137120" tIns="109696" rIns="137120" bIns="109696" rtlCol="0">
                  <a:spAutoFit/>
                </a:bodyPr>
                <a:lstStyle/>
                <a:p>
                  <a:pPr defTabSz="822645">
                    <a:lnSpc>
                      <a:spcPct val="90000"/>
                    </a:lnSpc>
                    <a:spcAft>
                      <a:spcPts val="450"/>
                    </a:spcAft>
                    <a:defRPr/>
                  </a:pPr>
                  <a:r>
                    <a:rPr lang="en-US" sz="382" b="1">
                      <a:gradFill>
                        <a:gsLst>
                          <a:gs pos="5439">
                            <a:srgbClr val="FFFFFF"/>
                          </a:gs>
                          <a:gs pos="100000">
                            <a:srgbClr val="FFFFFF"/>
                          </a:gs>
                        </a:gsLst>
                        <a:lin ang="5400000" scaled="0"/>
                      </a:gradFill>
                      <a:latin typeface="Segoe UI" panose="020B0502040204020203" pitchFamily="34" charset="0"/>
                      <a:cs typeface="Segoe UI" panose="020B0502040204020203" pitchFamily="34" charset="0"/>
                    </a:rPr>
                    <a:t>IBM Switchboard</a:t>
                  </a:r>
                </a:p>
              </p:txBody>
            </p:sp>
            <p:sp>
              <p:nvSpPr>
                <p:cNvPr id="274" name="TextBox 273">
                  <a:extLst>
                    <a:ext uri="{FF2B5EF4-FFF2-40B4-BE49-F238E27FC236}">
                      <a16:creationId xmlns:a16="http://schemas.microsoft.com/office/drawing/2014/main" id="{48D26153-AAC7-FC43-8CA8-2FEA3325A685}"/>
                    </a:ext>
                  </a:extLst>
                </p:cNvPr>
                <p:cNvSpPr txBox="1"/>
                <p:nvPr/>
              </p:nvSpPr>
              <p:spPr>
                <a:xfrm>
                  <a:off x="-4470975" y="3445500"/>
                  <a:ext cx="1107856" cy="665853"/>
                </a:xfrm>
                <a:prstGeom prst="rect">
                  <a:avLst/>
                </a:prstGeom>
                <a:noFill/>
              </p:spPr>
              <p:txBody>
                <a:bodyPr wrap="square" lIns="137120" tIns="109696" rIns="137120" bIns="109696" rtlCol="0">
                  <a:spAutoFit/>
                </a:bodyPr>
                <a:lstStyle/>
                <a:p>
                  <a:pPr algn="r" defTabSz="822645">
                    <a:lnSpc>
                      <a:spcPct val="90000"/>
                    </a:lnSpc>
                    <a:spcAft>
                      <a:spcPts val="450"/>
                    </a:spcAft>
                    <a:defRPr/>
                  </a:pPr>
                  <a:r>
                    <a:rPr lang="en-US" sz="382" b="1">
                      <a:gradFill>
                        <a:gsLst>
                          <a:gs pos="5439">
                            <a:srgbClr val="FFFFFF"/>
                          </a:gs>
                          <a:gs pos="100000">
                            <a:srgbClr val="FFFFFF"/>
                          </a:gs>
                        </a:gsLst>
                        <a:lin ang="5400000" scaled="0"/>
                      </a:gradFill>
                      <a:latin typeface="Segoe UI" panose="020B0502040204020203" pitchFamily="34" charset="0"/>
                      <a:cs typeface="Segoe UI" panose="020B0502040204020203" pitchFamily="34" charset="0"/>
                    </a:rPr>
                    <a:t>Broadcast speech</a:t>
                  </a:r>
                </a:p>
              </p:txBody>
            </p:sp>
            <p:sp>
              <p:nvSpPr>
                <p:cNvPr id="275" name="Oval 274">
                  <a:extLst>
                    <a:ext uri="{FF2B5EF4-FFF2-40B4-BE49-F238E27FC236}">
                      <a16:creationId xmlns:a16="http://schemas.microsoft.com/office/drawing/2014/main" id="{8F41CFAA-EF8B-D74B-AC3E-7F2989D1C927}"/>
                    </a:ext>
                  </a:extLst>
                </p:cNvPr>
                <p:cNvSpPr/>
                <p:nvPr/>
              </p:nvSpPr>
              <p:spPr bwMode="auto">
                <a:xfrm>
                  <a:off x="-1385847" y="4757601"/>
                  <a:ext cx="91440" cy="94206"/>
                </a:xfrm>
                <a:prstGeom prst="ellipse">
                  <a:avLst/>
                </a:prstGeom>
                <a:solidFill>
                  <a:schemeClr val="bg1"/>
                </a:solidFill>
                <a:ln w="63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276" name="Oval 275">
                  <a:extLst>
                    <a:ext uri="{FF2B5EF4-FFF2-40B4-BE49-F238E27FC236}">
                      <a16:creationId xmlns:a16="http://schemas.microsoft.com/office/drawing/2014/main" id="{5341A67D-E257-A040-A42F-956C3ED80208}"/>
                    </a:ext>
                  </a:extLst>
                </p:cNvPr>
                <p:cNvSpPr/>
                <p:nvPr/>
              </p:nvSpPr>
              <p:spPr bwMode="auto">
                <a:xfrm>
                  <a:off x="-1372131" y="4772705"/>
                  <a:ext cx="64008" cy="64008"/>
                </a:xfrm>
                <a:prstGeom prst="ellipse">
                  <a:avLst/>
                </a:prstGeom>
                <a:solidFill>
                  <a:schemeClr val="accent1">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grpSp>
              <p:nvGrpSpPr>
                <p:cNvPr id="277" name="Group 276">
                  <a:extLst>
                    <a:ext uri="{FF2B5EF4-FFF2-40B4-BE49-F238E27FC236}">
                      <a16:creationId xmlns:a16="http://schemas.microsoft.com/office/drawing/2014/main" id="{C627F9C8-1439-F24D-B4F3-3F97EEABEFB5}"/>
                    </a:ext>
                  </a:extLst>
                </p:cNvPr>
                <p:cNvGrpSpPr/>
                <p:nvPr/>
              </p:nvGrpSpPr>
              <p:grpSpPr>
                <a:xfrm>
                  <a:off x="-1811814" y="4943801"/>
                  <a:ext cx="872075" cy="187225"/>
                  <a:chOff x="9975718" y="3109333"/>
                  <a:chExt cx="1315753" cy="282477"/>
                </a:xfrm>
              </p:grpSpPr>
              <p:pic>
                <p:nvPicPr>
                  <p:cNvPr id="278" name="Picture 277">
                    <a:extLst>
                      <a:ext uri="{FF2B5EF4-FFF2-40B4-BE49-F238E27FC236}">
                        <a16:creationId xmlns:a16="http://schemas.microsoft.com/office/drawing/2014/main" id="{3ED73CE6-222E-CD42-82A9-DDF986E483E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black">
                  <a:xfrm>
                    <a:off x="9975718" y="3109333"/>
                    <a:ext cx="282475" cy="282477"/>
                  </a:xfrm>
                  <a:prstGeom prst="rect">
                    <a:avLst/>
                  </a:prstGeom>
                </p:spPr>
              </p:pic>
              <p:sp>
                <p:nvSpPr>
                  <p:cNvPr id="279" name="Freeform 12">
                    <a:extLst>
                      <a:ext uri="{FF2B5EF4-FFF2-40B4-BE49-F238E27FC236}">
                        <a16:creationId xmlns:a16="http://schemas.microsoft.com/office/drawing/2014/main" id="{1611E074-4AA7-C34A-837A-6DD379D268B2}"/>
                      </a:ext>
                    </a:extLst>
                  </p:cNvPr>
                  <p:cNvSpPr>
                    <a:spLocks noEditPoints="1"/>
                  </p:cNvSpPr>
                  <p:nvPr/>
                </p:nvSpPr>
                <p:spPr bwMode="black">
                  <a:xfrm>
                    <a:off x="10340714" y="3153057"/>
                    <a:ext cx="950757" cy="186062"/>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68570" tIns="34285" rIns="68570" bIns="34285" numCol="1" anchor="t" anchorCtr="0" compatLnSpc="1">
                    <a:prstTxWarp prst="textNoShape">
                      <a:avLst/>
                    </a:prstTxWarp>
                  </a:bodyPr>
                  <a:lstStyle/>
                  <a:p>
                    <a:pPr defTabSz="699422">
                      <a:defRPr/>
                    </a:pPr>
                    <a:endParaRPr lang="en-US" sz="804">
                      <a:solidFill>
                        <a:srgbClr val="1A1A1A"/>
                      </a:solidFill>
                      <a:latin typeface="Segoe UI"/>
                    </a:endParaRPr>
                  </a:p>
                </p:txBody>
              </p:sp>
            </p:grpSp>
          </p:grpSp>
          <p:grpSp>
            <p:nvGrpSpPr>
              <p:cNvPr id="228" name="Group 227">
                <a:extLst>
                  <a:ext uri="{FF2B5EF4-FFF2-40B4-BE49-F238E27FC236}">
                    <a16:creationId xmlns:a16="http://schemas.microsoft.com/office/drawing/2014/main" id="{71C904A7-2370-0540-9A35-0EFEFE4F36E5}"/>
                  </a:ext>
                </a:extLst>
              </p:cNvPr>
              <p:cNvGrpSpPr/>
              <p:nvPr/>
            </p:nvGrpSpPr>
            <p:grpSpPr>
              <a:xfrm>
                <a:off x="-7356833" y="6725408"/>
                <a:ext cx="3073385" cy="477301"/>
                <a:chOff x="210989" y="5921118"/>
                <a:chExt cx="3903149" cy="606184"/>
              </a:xfrm>
            </p:grpSpPr>
            <p:cxnSp>
              <p:nvCxnSpPr>
                <p:cNvPr id="229" name="Straight Connector 228">
                  <a:extLst>
                    <a:ext uri="{FF2B5EF4-FFF2-40B4-BE49-F238E27FC236}">
                      <a16:creationId xmlns:a16="http://schemas.microsoft.com/office/drawing/2014/main" id="{CA895C0D-38CD-0A44-A0AC-50F8C4036F52}"/>
                    </a:ext>
                  </a:extLst>
                </p:cNvPr>
                <p:cNvCxnSpPr>
                  <a:cxnSpLocks/>
                </p:cNvCxnSpPr>
                <p:nvPr/>
              </p:nvCxnSpPr>
              <p:spPr>
                <a:xfrm>
                  <a:off x="632760" y="5925005"/>
                  <a:ext cx="3065763"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4AC45AF9-C5DC-CE4C-833B-911644C615E4}"/>
                    </a:ext>
                  </a:extLst>
                </p:cNvPr>
                <p:cNvCxnSpPr>
                  <a:cxnSpLocks/>
                </p:cNvCxnSpPr>
                <p:nvPr/>
              </p:nvCxnSpPr>
              <p:spPr>
                <a:xfrm>
                  <a:off x="632760" y="5921121"/>
                  <a:ext cx="0" cy="16306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1A3D6199-D1E6-264E-88B2-BD014F8F70B8}"/>
                    </a:ext>
                  </a:extLst>
                </p:cNvPr>
                <p:cNvCxnSpPr>
                  <a:cxnSpLocks/>
                </p:cNvCxnSpPr>
                <p:nvPr/>
              </p:nvCxnSpPr>
              <p:spPr>
                <a:xfrm>
                  <a:off x="1397422" y="5921121"/>
                  <a:ext cx="0" cy="16306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46FD1E24-6334-6A40-8417-310D0C4F93D6}"/>
                    </a:ext>
                  </a:extLst>
                </p:cNvPr>
                <p:cNvCxnSpPr>
                  <a:cxnSpLocks/>
                </p:cNvCxnSpPr>
                <p:nvPr/>
              </p:nvCxnSpPr>
              <p:spPr>
                <a:xfrm>
                  <a:off x="2162084" y="5921121"/>
                  <a:ext cx="0" cy="16306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89E970A3-1A55-7E47-971D-33C5894AD1C0}"/>
                    </a:ext>
                  </a:extLst>
                </p:cNvPr>
                <p:cNvCxnSpPr>
                  <a:cxnSpLocks/>
                </p:cNvCxnSpPr>
                <p:nvPr/>
              </p:nvCxnSpPr>
              <p:spPr>
                <a:xfrm>
                  <a:off x="2926747" y="5921121"/>
                  <a:ext cx="0" cy="16306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396AA8FA-BF48-0040-9987-07BBD5CEF235}"/>
                    </a:ext>
                  </a:extLst>
                </p:cNvPr>
                <p:cNvCxnSpPr>
                  <a:cxnSpLocks/>
                </p:cNvCxnSpPr>
                <p:nvPr/>
              </p:nvCxnSpPr>
              <p:spPr>
                <a:xfrm>
                  <a:off x="3691414" y="5921118"/>
                  <a:ext cx="0" cy="16306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5" name="TextBox 234">
                  <a:extLst>
                    <a:ext uri="{FF2B5EF4-FFF2-40B4-BE49-F238E27FC236}">
                      <a16:creationId xmlns:a16="http://schemas.microsoft.com/office/drawing/2014/main" id="{11926985-5215-CC41-A0CF-1177F71863FE}"/>
                    </a:ext>
                  </a:extLst>
                </p:cNvPr>
                <p:cNvSpPr txBox="1"/>
                <p:nvPr/>
              </p:nvSpPr>
              <p:spPr>
                <a:xfrm>
                  <a:off x="210989" y="6000142"/>
                  <a:ext cx="847833" cy="527144"/>
                </a:xfrm>
                <a:prstGeom prst="rect">
                  <a:avLst/>
                </a:prstGeom>
                <a:noFill/>
              </p:spPr>
              <p:txBody>
                <a:bodyPr wrap="square" lIns="137120" tIns="109696" rIns="137120" bIns="109696" rtlCol="0">
                  <a:spAutoFit/>
                </a:bodyPr>
                <a:lstStyle/>
                <a:p>
                  <a:pPr algn="ctr" defTabSz="822645">
                    <a:lnSpc>
                      <a:spcPct val="90000"/>
                    </a:lnSpc>
                    <a:spcAft>
                      <a:spcPts val="450"/>
                    </a:spcAft>
                    <a:defRPr/>
                  </a:pPr>
                  <a:r>
                    <a:rPr lang="en-US" sz="382">
                      <a:gradFill>
                        <a:gsLst>
                          <a:gs pos="5439">
                            <a:srgbClr val="FFFFFF"/>
                          </a:gs>
                          <a:gs pos="100000">
                            <a:srgbClr val="FFFFFF"/>
                          </a:gs>
                        </a:gsLst>
                        <a:lin ang="5400000" scaled="0"/>
                      </a:gradFill>
                      <a:latin typeface="Segoe UI Semibold" panose="020B0702040204020203" pitchFamily="34" charset="0"/>
                      <a:cs typeface="Segoe UI Semibold" panose="020B0702040204020203" pitchFamily="34" charset="0"/>
                    </a:rPr>
                    <a:t>1993</a:t>
                  </a:r>
                </a:p>
              </p:txBody>
            </p:sp>
            <p:sp>
              <p:nvSpPr>
                <p:cNvPr id="236" name="TextBox 235">
                  <a:extLst>
                    <a:ext uri="{FF2B5EF4-FFF2-40B4-BE49-F238E27FC236}">
                      <a16:creationId xmlns:a16="http://schemas.microsoft.com/office/drawing/2014/main" id="{98059804-E1E2-0141-81FB-50E33B8CBFF7}"/>
                    </a:ext>
                  </a:extLst>
                </p:cNvPr>
                <p:cNvSpPr txBox="1"/>
                <p:nvPr/>
              </p:nvSpPr>
              <p:spPr>
                <a:xfrm>
                  <a:off x="3266305" y="6000146"/>
                  <a:ext cx="847833" cy="527144"/>
                </a:xfrm>
                <a:prstGeom prst="rect">
                  <a:avLst/>
                </a:prstGeom>
                <a:noFill/>
              </p:spPr>
              <p:txBody>
                <a:bodyPr wrap="square" lIns="137120" tIns="109696" rIns="137120" bIns="109696" rtlCol="0">
                  <a:spAutoFit/>
                </a:bodyPr>
                <a:lstStyle/>
                <a:p>
                  <a:pPr algn="ctr" defTabSz="822645">
                    <a:lnSpc>
                      <a:spcPct val="90000"/>
                    </a:lnSpc>
                    <a:spcAft>
                      <a:spcPts val="450"/>
                    </a:spcAft>
                    <a:defRPr/>
                  </a:pPr>
                  <a:r>
                    <a:rPr lang="en-US" sz="382">
                      <a:gradFill>
                        <a:gsLst>
                          <a:gs pos="5439">
                            <a:srgbClr val="FFFFFF"/>
                          </a:gs>
                          <a:gs pos="100000">
                            <a:srgbClr val="FFFFFF"/>
                          </a:gs>
                        </a:gsLst>
                        <a:lin ang="5400000" scaled="0"/>
                      </a:gradFill>
                      <a:latin typeface="Segoe UI Semibold" panose="020B0702040204020203" pitchFamily="34" charset="0"/>
                      <a:cs typeface="Segoe UI Semibold" panose="020B0702040204020203" pitchFamily="34" charset="0"/>
                    </a:rPr>
                    <a:t>2017</a:t>
                  </a:r>
                </a:p>
              </p:txBody>
            </p:sp>
            <p:sp>
              <p:nvSpPr>
                <p:cNvPr id="237" name="TextBox 236">
                  <a:extLst>
                    <a:ext uri="{FF2B5EF4-FFF2-40B4-BE49-F238E27FC236}">
                      <a16:creationId xmlns:a16="http://schemas.microsoft.com/office/drawing/2014/main" id="{85A72414-BCA4-B645-9A3F-B18C35960B18}"/>
                    </a:ext>
                  </a:extLst>
                </p:cNvPr>
                <p:cNvSpPr txBox="1"/>
                <p:nvPr/>
              </p:nvSpPr>
              <p:spPr>
                <a:xfrm>
                  <a:off x="921243" y="6000150"/>
                  <a:ext cx="955704" cy="527144"/>
                </a:xfrm>
                <a:prstGeom prst="rect">
                  <a:avLst/>
                </a:prstGeom>
                <a:noFill/>
              </p:spPr>
              <p:txBody>
                <a:bodyPr wrap="square" lIns="137120" tIns="109696" rIns="137120" bIns="109696" rtlCol="0">
                  <a:spAutoFit/>
                </a:bodyPr>
                <a:lstStyle/>
                <a:p>
                  <a:pPr algn="ctr" defTabSz="822645">
                    <a:lnSpc>
                      <a:spcPct val="90000"/>
                    </a:lnSpc>
                    <a:spcAft>
                      <a:spcPts val="450"/>
                    </a:spcAft>
                    <a:defRPr/>
                  </a:pPr>
                  <a:r>
                    <a:rPr lang="en-US" sz="382">
                      <a:gradFill>
                        <a:gsLst>
                          <a:gs pos="5439">
                            <a:srgbClr val="FFFFFF"/>
                          </a:gs>
                          <a:gs pos="100000">
                            <a:srgbClr val="FFFFFF"/>
                          </a:gs>
                        </a:gsLst>
                        <a:lin ang="5400000" scaled="0"/>
                      </a:gradFill>
                      <a:latin typeface="Segoe UI Semibold" panose="020B0702040204020203" pitchFamily="34" charset="0"/>
                      <a:cs typeface="Segoe UI Semibold" panose="020B0702040204020203" pitchFamily="34" charset="0"/>
                    </a:rPr>
                    <a:t>2000</a:t>
                  </a:r>
                </a:p>
              </p:txBody>
            </p:sp>
            <p:sp>
              <p:nvSpPr>
                <p:cNvPr id="238" name="TextBox 237">
                  <a:extLst>
                    <a:ext uri="{FF2B5EF4-FFF2-40B4-BE49-F238E27FC236}">
                      <a16:creationId xmlns:a16="http://schemas.microsoft.com/office/drawing/2014/main" id="{AE62F91D-97A6-4E45-8AE6-AA7A7444C9B3}"/>
                    </a:ext>
                  </a:extLst>
                </p:cNvPr>
                <p:cNvSpPr txBox="1"/>
                <p:nvPr/>
              </p:nvSpPr>
              <p:spPr>
                <a:xfrm>
                  <a:off x="1688448" y="6000154"/>
                  <a:ext cx="955704" cy="527144"/>
                </a:xfrm>
                <a:prstGeom prst="rect">
                  <a:avLst/>
                </a:prstGeom>
                <a:noFill/>
              </p:spPr>
              <p:txBody>
                <a:bodyPr wrap="square" lIns="137120" tIns="109696" rIns="137120" bIns="109696" rtlCol="0">
                  <a:spAutoFit/>
                </a:bodyPr>
                <a:lstStyle/>
                <a:p>
                  <a:pPr algn="ctr" defTabSz="822645">
                    <a:lnSpc>
                      <a:spcPct val="90000"/>
                    </a:lnSpc>
                    <a:spcAft>
                      <a:spcPts val="450"/>
                    </a:spcAft>
                    <a:defRPr/>
                  </a:pPr>
                  <a:r>
                    <a:rPr lang="en-US" sz="382">
                      <a:gradFill>
                        <a:gsLst>
                          <a:gs pos="5439">
                            <a:srgbClr val="FFFFFF"/>
                          </a:gs>
                          <a:gs pos="100000">
                            <a:srgbClr val="FFFFFF"/>
                          </a:gs>
                        </a:gsLst>
                        <a:lin ang="5400000" scaled="0"/>
                      </a:gradFill>
                      <a:latin typeface="Segoe UI Semibold" panose="020B0702040204020203" pitchFamily="34" charset="0"/>
                      <a:cs typeface="Segoe UI Semibold" panose="020B0702040204020203" pitchFamily="34" charset="0"/>
                    </a:rPr>
                    <a:t>2006</a:t>
                  </a:r>
                </a:p>
              </p:txBody>
            </p:sp>
            <p:sp>
              <p:nvSpPr>
                <p:cNvPr id="239" name="TextBox 238">
                  <a:extLst>
                    <a:ext uri="{FF2B5EF4-FFF2-40B4-BE49-F238E27FC236}">
                      <a16:creationId xmlns:a16="http://schemas.microsoft.com/office/drawing/2014/main" id="{F8509E7F-4B66-4E4C-A555-538010F4A32B}"/>
                    </a:ext>
                  </a:extLst>
                </p:cNvPr>
                <p:cNvSpPr txBox="1"/>
                <p:nvPr/>
              </p:nvSpPr>
              <p:spPr>
                <a:xfrm>
                  <a:off x="2448180" y="6000158"/>
                  <a:ext cx="955704" cy="527144"/>
                </a:xfrm>
                <a:prstGeom prst="rect">
                  <a:avLst/>
                </a:prstGeom>
                <a:noFill/>
              </p:spPr>
              <p:txBody>
                <a:bodyPr wrap="square" lIns="137120" tIns="109696" rIns="137120" bIns="109696" rtlCol="0">
                  <a:spAutoFit/>
                </a:bodyPr>
                <a:lstStyle/>
                <a:p>
                  <a:pPr algn="ctr" defTabSz="822645">
                    <a:lnSpc>
                      <a:spcPct val="90000"/>
                    </a:lnSpc>
                    <a:spcAft>
                      <a:spcPts val="450"/>
                    </a:spcAft>
                    <a:defRPr/>
                  </a:pPr>
                  <a:r>
                    <a:rPr lang="en-US" sz="382">
                      <a:gradFill>
                        <a:gsLst>
                          <a:gs pos="5439">
                            <a:srgbClr val="FFFFFF"/>
                          </a:gs>
                          <a:gs pos="100000">
                            <a:srgbClr val="FFFFFF"/>
                          </a:gs>
                        </a:gsLst>
                        <a:lin ang="5400000" scaled="0"/>
                      </a:gradFill>
                      <a:latin typeface="Segoe UI Semibold" panose="020B0702040204020203" pitchFamily="34" charset="0"/>
                      <a:cs typeface="Segoe UI Semibold" panose="020B0702040204020203" pitchFamily="34" charset="0"/>
                    </a:rPr>
                    <a:t>2010</a:t>
                  </a:r>
                </a:p>
              </p:txBody>
            </p:sp>
          </p:grpSp>
        </p:grpSp>
      </p:grpSp>
      <p:sp>
        <p:nvSpPr>
          <p:cNvPr id="280" name="Picture Placeholder 3">
            <a:extLst>
              <a:ext uri="{FF2B5EF4-FFF2-40B4-BE49-F238E27FC236}">
                <a16:creationId xmlns:a16="http://schemas.microsoft.com/office/drawing/2014/main" id="{419ABB89-C1D8-C74C-AD50-9D6D9CD4892F}"/>
              </a:ext>
            </a:extLst>
          </p:cNvPr>
          <p:cNvSpPr txBox="1">
            <a:spLocks/>
          </p:cNvSpPr>
          <p:nvPr/>
        </p:nvSpPr>
        <p:spPr>
          <a:xfrm>
            <a:off x="4162632" y="2582765"/>
            <a:ext cx="1941711" cy="1941711"/>
          </a:xfrm>
          <a:prstGeom prst="rect">
            <a:avLst/>
          </a:prstGeom>
          <a:solidFill>
            <a:schemeClr val="tx1">
              <a:alpha val="63000"/>
            </a:schemeClr>
          </a:solidFill>
        </p:spPr>
        <p:txBody>
          <a:bodyP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713478">
              <a:lnSpc>
                <a:spcPct val="100000"/>
              </a:lnSpc>
              <a:spcBef>
                <a:spcPts val="612"/>
              </a:spcBef>
              <a:buNone/>
              <a:defRPr/>
            </a:pPr>
            <a:endParaRPr lang="en-US" sz="2448">
              <a:gradFill>
                <a:gsLst>
                  <a:gs pos="1250">
                    <a:srgbClr val="1A1A1A"/>
                  </a:gs>
                  <a:gs pos="100000">
                    <a:srgbClr val="1A1A1A"/>
                  </a:gs>
                </a:gsLst>
                <a:lin ang="5400000" scaled="0"/>
              </a:gradFill>
              <a:latin typeface="Segoe UI"/>
            </a:endParaRPr>
          </a:p>
        </p:txBody>
      </p:sp>
      <p:pic>
        <p:nvPicPr>
          <p:cNvPr id="281" name="Picture Placeholder 5">
            <a:extLst>
              <a:ext uri="{FF2B5EF4-FFF2-40B4-BE49-F238E27FC236}">
                <a16:creationId xmlns:a16="http://schemas.microsoft.com/office/drawing/2014/main" id="{D2B3F609-970E-794D-9C57-D86FBE773C8B}"/>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2000533" y="2579996"/>
            <a:ext cx="1944478" cy="1944478"/>
          </a:xfrm>
          <a:prstGeom prst="rect">
            <a:avLst/>
          </a:prstGeom>
        </p:spPr>
      </p:pic>
      <p:sp>
        <p:nvSpPr>
          <p:cNvPr id="282" name="Picture Placeholder 3">
            <a:extLst>
              <a:ext uri="{FF2B5EF4-FFF2-40B4-BE49-F238E27FC236}">
                <a16:creationId xmlns:a16="http://schemas.microsoft.com/office/drawing/2014/main" id="{B242C480-453A-0E48-9FB6-74CE1D23D7AF}"/>
              </a:ext>
            </a:extLst>
          </p:cNvPr>
          <p:cNvSpPr txBox="1">
            <a:spLocks/>
          </p:cNvSpPr>
          <p:nvPr/>
        </p:nvSpPr>
        <p:spPr>
          <a:xfrm>
            <a:off x="1997818" y="2576692"/>
            <a:ext cx="1941711" cy="1941711"/>
          </a:xfrm>
          <a:prstGeom prst="rect">
            <a:avLst/>
          </a:prstGeom>
          <a:solidFill>
            <a:schemeClr val="tx1">
              <a:alpha val="63000"/>
            </a:schemeClr>
          </a:solidFill>
        </p:spPr>
        <p:txBody>
          <a:bodyP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713478">
              <a:lnSpc>
                <a:spcPct val="100000"/>
              </a:lnSpc>
              <a:spcBef>
                <a:spcPts val="612"/>
              </a:spcBef>
              <a:buNone/>
              <a:defRPr/>
            </a:pPr>
            <a:endParaRPr lang="en-US" sz="2448">
              <a:gradFill>
                <a:gsLst>
                  <a:gs pos="1250">
                    <a:srgbClr val="1A1A1A"/>
                  </a:gs>
                  <a:gs pos="100000">
                    <a:srgbClr val="1A1A1A"/>
                  </a:gs>
                </a:gsLst>
                <a:lin ang="5400000" scaled="0"/>
              </a:gradFill>
              <a:latin typeface="Segoe UI"/>
            </a:endParaRPr>
          </a:p>
        </p:txBody>
      </p:sp>
      <p:pic>
        <p:nvPicPr>
          <p:cNvPr id="283" name="Picture 282" descr="A picture containing wall, clock, object&#10;&#10;Description generated with high confidence">
            <a:extLst>
              <a:ext uri="{FF2B5EF4-FFF2-40B4-BE49-F238E27FC236}">
                <a16:creationId xmlns:a16="http://schemas.microsoft.com/office/drawing/2014/main" id="{C5235735-697F-3B4B-A9A1-CCAC61E36498}"/>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454937" y="2579995"/>
            <a:ext cx="1944478" cy="1944478"/>
          </a:xfrm>
          <a:prstGeom prst="rect">
            <a:avLst/>
          </a:prstGeom>
        </p:spPr>
      </p:pic>
      <p:sp>
        <p:nvSpPr>
          <p:cNvPr id="284" name="Picture Placeholder 3">
            <a:extLst>
              <a:ext uri="{FF2B5EF4-FFF2-40B4-BE49-F238E27FC236}">
                <a16:creationId xmlns:a16="http://schemas.microsoft.com/office/drawing/2014/main" id="{43AB02E9-CC4E-BF4D-8DE9-EB8CE7EE7212}"/>
              </a:ext>
            </a:extLst>
          </p:cNvPr>
          <p:cNvSpPr txBox="1">
            <a:spLocks/>
          </p:cNvSpPr>
          <p:nvPr/>
        </p:nvSpPr>
        <p:spPr>
          <a:xfrm>
            <a:off x="8457705" y="2582764"/>
            <a:ext cx="1941711" cy="1941711"/>
          </a:xfrm>
          <a:prstGeom prst="rect">
            <a:avLst/>
          </a:prstGeom>
          <a:solidFill>
            <a:schemeClr val="tx1">
              <a:alpha val="63000"/>
            </a:schemeClr>
          </a:solidFill>
        </p:spPr>
        <p:txBody>
          <a:bodyP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713478">
              <a:lnSpc>
                <a:spcPct val="100000"/>
              </a:lnSpc>
              <a:spcBef>
                <a:spcPts val="612"/>
              </a:spcBef>
              <a:buNone/>
              <a:defRPr/>
            </a:pPr>
            <a:endParaRPr lang="en-US" sz="2448">
              <a:gradFill>
                <a:gsLst>
                  <a:gs pos="1250">
                    <a:srgbClr val="1A1A1A"/>
                  </a:gs>
                  <a:gs pos="100000">
                    <a:srgbClr val="1A1A1A"/>
                  </a:gs>
                </a:gsLst>
                <a:lin ang="5400000" scaled="0"/>
              </a:gradFill>
              <a:latin typeface="Segoe UI"/>
            </a:endParaRPr>
          </a:p>
        </p:txBody>
      </p:sp>
      <p:pic>
        <p:nvPicPr>
          <p:cNvPr id="285" name="Picture 284">
            <a:extLst>
              <a:ext uri="{FF2B5EF4-FFF2-40B4-BE49-F238E27FC236}">
                <a16:creationId xmlns:a16="http://schemas.microsoft.com/office/drawing/2014/main" id="{5E8AF61F-4615-D047-8E3A-0B6B8DFACF32}"/>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347704" y="2576693"/>
            <a:ext cx="1944828" cy="1947781"/>
          </a:xfrm>
          <a:prstGeom prst="rect">
            <a:avLst/>
          </a:prstGeom>
        </p:spPr>
      </p:pic>
      <p:sp>
        <p:nvSpPr>
          <p:cNvPr id="286" name="Picture Placeholder 3">
            <a:extLst>
              <a:ext uri="{FF2B5EF4-FFF2-40B4-BE49-F238E27FC236}">
                <a16:creationId xmlns:a16="http://schemas.microsoft.com/office/drawing/2014/main" id="{07FE9D03-70DF-EF40-A639-ADF69F5EAA83}"/>
              </a:ext>
            </a:extLst>
          </p:cNvPr>
          <p:cNvSpPr txBox="1">
            <a:spLocks/>
          </p:cNvSpPr>
          <p:nvPr/>
        </p:nvSpPr>
        <p:spPr>
          <a:xfrm>
            <a:off x="6348990" y="2576692"/>
            <a:ext cx="1941711" cy="1941711"/>
          </a:xfrm>
          <a:prstGeom prst="rect">
            <a:avLst/>
          </a:prstGeom>
          <a:solidFill>
            <a:schemeClr val="tx1">
              <a:alpha val="63000"/>
            </a:schemeClr>
          </a:solidFill>
        </p:spPr>
        <p:txBody>
          <a:bodyP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713478">
              <a:lnSpc>
                <a:spcPct val="100000"/>
              </a:lnSpc>
              <a:spcBef>
                <a:spcPts val="612"/>
              </a:spcBef>
              <a:buNone/>
              <a:defRPr/>
            </a:pPr>
            <a:endParaRPr lang="en-US" sz="2448">
              <a:gradFill>
                <a:gsLst>
                  <a:gs pos="1250">
                    <a:srgbClr val="1A1A1A"/>
                  </a:gs>
                  <a:gs pos="100000">
                    <a:srgbClr val="1A1A1A"/>
                  </a:gs>
                </a:gsLst>
                <a:lin ang="5400000" scaled="0"/>
              </a:gradFill>
              <a:latin typeface="Segoe UI"/>
            </a:endParaRPr>
          </a:p>
        </p:txBody>
      </p:sp>
      <p:sp>
        <p:nvSpPr>
          <p:cNvPr id="2" name="Title 1">
            <a:extLst>
              <a:ext uri="{FF2B5EF4-FFF2-40B4-BE49-F238E27FC236}">
                <a16:creationId xmlns:a16="http://schemas.microsoft.com/office/drawing/2014/main" id="{78CD8E59-363A-4F92-B38B-D4579DBD3125}"/>
              </a:ext>
            </a:extLst>
          </p:cNvPr>
          <p:cNvSpPr>
            <a:spLocks noGrp="1"/>
          </p:cNvSpPr>
          <p:nvPr>
            <p:ph type="title"/>
          </p:nvPr>
        </p:nvSpPr>
        <p:spPr>
          <a:xfrm>
            <a:off x="1690106" y="621783"/>
            <a:ext cx="7469131" cy="900498"/>
          </a:xfrm>
        </p:spPr>
        <p:txBody>
          <a:bodyPr>
            <a:noAutofit/>
          </a:bodyPr>
          <a:lstStyle/>
          <a:p>
            <a:r>
              <a:rPr lang="zh-CN" altLang="en-US" sz="4080" dirty="0">
                <a:latin typeface="微软雅黑" panose="020B0503020204020204" pitchFamily="34" charset="-122"/>
                <a:ea typeface="微软雅黑" panose="020B0503020204020204" pitchFamily="34" charset="-122"/>
              </a:rPr>
              <a:t>微软人工智能不断取得进展</a:t>
            </a:r>
            <a:endParaRPr lang="en-US" sz="4080" dirty="0">
              <a:latin typeface="微软雅黑" panose="020B0503020204020204" pitchFamily="34" charset="-122"/>
              <a:ea typeface="微软雅黑" panose="020B0503020204020204" pitchFamily="34" charset="-122"/>
            </a:endParaRPr>
          </a:p>
        </p:txBody>
      </p:sp>
      <p:sp>
        <p:nvSpPr>
          <p:cNvPr id="161" name="Rectangle 160">
            <a:extLst>
              <a:ext uri="{FF2B5EF4-FFF2-40B4-BE49-F238E27FC236}">
                <a16:creationId xmlns:a16="http://schemas.microsoft.com/office/drawing/2014/main" id="{D6D4091E-ED78-45B2-AE3F-5F79922F0080}"/>
              </a:ext>
            </a:extLst>
          </p:cNvPr>
          <p:cNvSpPr/>
          <p:nvPr/>
        </p:nvSpPr>
        <p:spPr>
          <a:xfrm>
            <a:off x="2086079" y="2826737"/>
            <a:ext cx="1765191" cy="1453766"/>
          </a:xfrm>
          <a:prstGeom prst="rect">
            <a:avLst/>
          </a:prstGeom>
        </p:spPr>
        <p:txBody>
          <a:bodyPr wrap="square" lIns="0" tIns="0" rIns="0" bIns="0" anchor="ctr">
            <a:spAutoFit/>
          </a:bodyPr>
          <a:lstStyle/>
          <a:p>
            <a:pPr algn="ctr" defTabSz="699422">
              <a:lnSpc>
                <a:spcPct val="90000"/>
              </a:lnSpc>
              <a:spcBef>
                <a:spcPts val="306"/>
              </a:spcBef>
              <a:defRPr/>
            </a:pPr>
            <a:r>
              <a:rPr lang="en-US" sz="3060" b="1" spc="-115" dirty="0">
                <a:gradFill>
                  <a:gsLst>
                    <a:gs pos="6079">
                      <a:srgbClr val="FFFFFF"/>
                    </a:gs>
                    <a:gs pos="18000">
                      <a:srgbClr val="FFFFFF"/>
                    </a:gs>
                  </a:gsLst>
                  <a:lin ang="5400000" scaled="0"/>
                </a:gradFill>
                <a:latin typeface="Segoe UI"/>
              </a:rPr>
              <a:t>1.2M </a:t>
            </a:r>
            <a:r>
              <a:rPr lang="en-US" sz="1836" b="1" spc="-39" dirty="0" err="1">
                <a:gradFill>
                  <a:gsLst>
                    <a:gs pos="6079">
                      <a:srgbClr val="FFFFFF"/>
                    </a:gs>
                    <a:gs pos="18000">
                      <a:srgbClr val="FFFFFF"/>
                    </a:gs>
                  </a:gsLst>
                  <a:lin ang="5400000" scaled="0"/>
                </a:gradFill>
                <a:latin typeface="Segoe UI"/>
              </a:rPr>
              <a:t>devs</a:t>
            </a:r>
            <a:endParaRPr lang="en-US" sz="1836" b="1" spc="-39" dirty="0">
              <a:gradFill>
                <a:gsLst>
                  <a:gs pos="6079">
                    <a:srgbClr val="FFFFFF"/>
                  </a:gs>
                  <a:gs pos="18000">
                    <a:srgbClr val="FFFFFF"/>
                  </a:gs>
                </a:gsLst>
                <a:lin ang="5400000" scaled="0"/>
              </a:gradFill>
              <a:latin typeface="Segoe UI"/>
            </a:endParaRPr>
          </a:p>
          <a:p>
            <a:pPr algn="ctr" defTabSz="699422">
              <a:lnSpc>
                <a:spcPct val="90000"/>
              </a:lnSpc>
              <a:spcBef>
                <a:spcPts val="306"/>
              </a:spcBef>
              <a:defRPr/>
            </a:pPr>
            <a:r>
              <a:rPr lang="en-US" sz="1224" dirty="0">
                <a:gradFill>
                  <a:gsLst>
                    <a:gs pos="6079">
                      <a:srgbClr val="FFFFFF"/>
                    </a:gs>
                    <a:gs pos="18000">
                      <a:srgbClr val="FFFFFF"/>
                    </a:gs>
                  </a:gsLst>
                  <a:lin ang="5400000" scaled="0"/>
                </a:gradFill>
                <a:latin typeface="Segoe UI Semibold"/>
              </a:rPr>
              <a:t>Using Azure </a:t>
            </a:r>
            <a:br>
              <a:rPr lang="en-US" sz="1224" dirty="0">
                <a:gradFill>
                  <a:gsLst>
                    <a:gs pos="6079">
                      <a:srgbClr val="FFFFFF"/>
                    </a:gs>
                    <a:gs pos="18000">
                      <a:srgbClr val="FFFFFF"/>
                    </a:gs>
                  </a:gsLst>
                  <a:lin ang="5400000" scaled="0"/>
                </a:gradFill>
                <a:latin typeface="Segoe UI Semibold"/>
              </a:rPr>
            </a:br>
            <a:r>
              <a:rPr lang="en-US" sz="1224" dirty="0">
                <a:gradFill>
                  <a:gsLst>
                    <a:gs pos="6079">
                      <a:srgbClr val="FFFFFF"/>
                    </a:gs>
                    <a:gs pos="18000">
                      <a:srgbClr val="FFFFFF"/>
                    </a:gs>
                  </a:gsLst>
                  <a:lin ang="5400000" scaled="0"/>
                </a:gradFill>
                <a:latin typeface="Segoe UI Semibold"/>
              </a:rPr>
              <a:t>Cognitive Services</a:t>
            </a:r>
          </a:p>
          <a:p>
            <a:pPr algn="ctr" defTabSz="699422">
              <a:lnSpc>
                <a:spcPct val="90000"/>
              </a:lnSpc>
              <a:spcBef>
                <a:spcPts val="306"/>
              </a:spcBef>
              <a:defRPr/>
            </a:pPr>
            <a:endParaRPr lang="en-US" altLang="zh-CN" sz="1224" dirty="0">
              <a:gradFill>
                <a:gsLst>
                  <a:gs pos="6079">
                    <a:srgbClr val="FFFFFF"/>
                  </a:gs>
                  <a:gs pos="18000">
                    <a:srgbClr val="FFFFFF"/>
                  </a:gs>
                </a:gsLst>
                <a:lin ang="5400000" scaled="0"/>
              </a:gradFill>
              <a:latin typeface="Segoe UI Semibold"/>
              <a:ea typeface="宋体" panose="02010600030101010101" pitchFamily="2" charset="-122"/>
            </a:endParaRPr>
          </a:p>
          <a:p>
            <a:pPr algn="ctr" defTabSz="699422">
              <a:lnSpc>
                <a:spcPct val="90000"/>
              </a:lnSpc>
              <a:spcBef>
                <a:spcPts val="306"/>
              </a:spcBef>
              <a:defRPr/>
            </a:pPr>
            <a:r>
              <a:rPr lang="en-US" altLang="zh-CN" sz="1224" dirty="0">
                <a:gradFill>
                  <a:gsLst>
                    <a:gs pos="6079">
                      <a:srgbClr val="FFFFFF"/>
                    </a:gs>
                    <a:gs pos="18000">
                      <a:srgbClr val="FFFFFF"/>
                    </a:gs>
                  </a:gsLst>
                  <a:lin ang="5400000" scaled="0"/>
                </a:gradFill>
                <a:latin typeface="Segoe UI Semibold"/>
                <a:ea typeface="宋体" panose="02010600030101010101" pitchFamily="2" charset="-122"/>
              </a:rPr>
              <a:t>120</a:t>
            </a:r>
            <a:r>
              <a:rPr lang="zh-CN" altLang="en-US" sz="1224" dirty="0">
                <a:gradFill>
                  <a:gsLst>
                    <a:gs pos="6079">
                      <a:srgbClr val="FFFFFF"/>
                    </a:gs>
                    <a:gs pos="18000">
                      <a:srgbClr val="FFFFFF"/>
                    </a:gs>
                  </a:gsLst>
                  <a:lin ang="5400000" scaled="0"/>
                </a:gradFill>
                <a:latin typeface="Segoe UI Semibold"/>
                <a:ea typeface="宋体" panose="02010600030101010101" pitchFamily="2" charset="-122"/>
              </a:rPr>
              <a:t>万开发者</a:t>
            </a:r>
            <a:endParaRPr lang="en-US" altLang="zh-CN" sz="1224" dirty="0">
              <a:gradFill>
                <a:gsLst>
                  <a:gs pos="6079">
                    <a:srgbClr val="FFFFFF"/>
                  </a:gs>
                  <a:gs pos="18000">
                    <a:srgbClr val="FFFFFF"/>
                  </a:gs>
                </a:gsLst>
                <a:lin ang="5400000" scaled="0"/>
              </a:gradFill>
              <a:latin typeface="Segoe UI Semibold"/>
              <a:ea typeface="宋体" panose="02010600030101010101" pitchFamily="2" charset="-122"/>
            </a:endParaRPr>
          </a:p>
          <a:p>
            <a:pPr algn="ctr" defTabSz="699422">
              <a:lnSpc>
                <a:spcPct val="90000"/>
              </a:lnSpc>
              <a:spcBef>
                <a:spcPts val="306"/>
              </a:spcBef>
              <a:defRPr/>
            </a:pPr>
            <a:r>
              <a:rPr lang="zh-CN" altLang="en-US" sz="1224" dirty="0">
                <a:gradFill>
                  <a:gsLst>
                    <a:gs pos="6079">
                      <a:srgbClr val="FFFFFF"/>
                    </a:gs>
                    <a:gs pos="18000">
                      <a:srgbClr val="FFFFFF"/>
                    </a:gs>
                  </a:gsLst>
                  <a:lin ang="5400000" scaled="0"/>
                </a:gradFill>
                <a:latin typeface="Segoe UI Semibold"/>
                <a:ea typeface="宋体" panose="02010600030101010101" pitchFamily="2" charset="-122"/>
              </a:rPr>
              <a:t>使用认知服务</a:t>
            </a:r>
            <a:endParaRPr lang="en-US" sz="1224" dirty="0">
              <a:gradFill>
                <a:gsLst>
                  <a:gs pos="6079">
                    <a:srgbClr val="FFFFFF"/>
                  </a:gs>
                  <a:gs pos="18000">
                    <a:srgbClr val="FFFFFF"/>
                  </a:gs>
                </a:gsLst>
                <a:lin ang="5400000" scaled="0"/>
              </a:gradFill>
              <a:latin typeface="Segoe UI Semibold"/>
            </a:endParaRPr>
          </a:p>
        </p:txBody>
      </p:sp>
      <p:sp>
        <p:nvSpPr>
          <p:cNvPr id="162" name="Rectangle 161">
            <a:extLst>
              <a:ext uri="{FF2B5EF4-FFF2-40B4-BE49-F238E27FC236}">
                <a16:creationId xmlns:a16="http://schemas.microsoft.com/office/drawing/2014/main" id="{F22C4DED-03A0-4398-A3DD-C6EA489767D1}"/>
              </a:ext>
            </a:extLst>
          </p:cNvPr>
          <p:cNvSpPr/>
          <p:nvPr/>
        </p:nvSpPr>
        <p:spPr>
          <a:xfrm>
            <a:off x="4249509" y="2826737"/>
            <a:ext cx="1765191" cy="1453766"/>
          </a:xfrm>
          <a:prstGeom prst="rect">
            <a:avLst/>
          </a:prstGeom>
        </p:spPr>
        <p:txBody>
          <a:bodyPr wrap="square" lIns="0" tIns="0" rIns="0" bIns="0" anchor="ctr">
            <a:spAutoFit/>
          </a:bodyPr>
          <a:lstStyle/>
          <a:p>
            <a:pPr algn="ctr" defTabSz="699422">
              <a:lnSpc>
                <a:spcPct val="90000"/>
              </a:lnSpc>
              <a:spcBef>
                <a:spcPts val="306"/>
              </a:spcBef>
              <a:defRPr/>
            </a:pPr>
            <a:r>
              <a:rPr lang="en-US" sz="3060" b="1" spc="-115" dirty="0">
                <a:gradFill>
                  <a:gsLst>
                    <a:gs pos="6079">
                      <a:srgbClr val="FFFFFF"/>
                    </a:gs>
                    <a:gs pos="18000">
                      <a:srgbClr val="FFFFFF"/>
                    </a:gs>
                  </a:gsLst>
                  <a:lin ang="5400000" scaled="0"/>
                </a:gradFill>
                <a:latin typeface="Segoe UI"/>
              </a:rPr>
              <a:t>340K</a:t>
            </a:r>
            <a:r>
              <a:rPr lang="en-US" sz="1224" dirty="0">
                <a:gradFill>
                  <a:gsLst>
                    <a:gs pos="6079">
                      <a:srgbClr val="FFFFFF"/>
                    </a:gs>
                    <a:gs pos="18000">
                      <a:srgbClr val="FFFFFF"/>
                    </a:gs>
                  </a:gsLst>
                  <a:lin ang="5400000" scaled="0"/>
                </a:gradFill>
                <a:latin typeface="Segoe UI Semibold"/>
              </a:rPr>
              <a:t> </a:t>
            </a:r>
            <a:r>
              <a:rPr lang="en-US" sz="1836" b="1" spc="-39" dirty="0" err="1">
                <a:gradFill>
                  <a:gsLst>
                    <a:gs pos="6079">
                      <a:srgbClr val="FFFFFF"/>
                    </a:gs>
                    <a:gs pos="18000">
                      <a:srgbClr val="FFFFFF"/>
                    </a:gs>
                  </a:gsLst>
                  <a:lin ang="5400000" scaled="0"/>
                </a:gradFill>
                <a:latin typeface="Segoe UI"/>
              </a:rPr>
              <a:t>devs</a:t>
            </a:r>
            <a:endParaRPr lang="en-US" sz="1836" b="1" spc="-39" dirty="0">
              <a:gradFill>
                <a:gsLst>
                  <a:gs pos="6079">
                    <a:srgbClr val="FFFFFF"/>
                  </a:gs>
                  <a:gs pos="18000">
                    <a:srgbClr val="FFFFFF"/>
                  </a:gs>
                </a:gsLst>
                <a:lin ang="5400000" scaled="0"/>
              </a:gradFill>
              <a:latin typeface="Segoe UI"/>
            </a:endParaRPr>
          </a:p>
          <a:p>
            <a:pPr algn="ctr" defTabSz="699422">
              <a:lnSpc>
                <a:spcPct val="90000"/>
              </a:lnSpc>
              <a:spcBef>
                <a:spcPts val="306"/>
              </a:spcBef>
              <a:defRPr/>
            </a:pPr>
            <a:r>
              <a:rPr lang="en-US" sz="1224" dirty="0">
                <a:gradFill>
                  <a:gsLst>
                    <a:gs pos="6079">
                      <a:srgbClr val="FFFFFF"/>
                    </a:gs>
                    <a:gs pos="18000">
                      <a:srgbClr val="FFFFFF"/>
                    </a:gs>
                  </a:gsLst>
                  <a:lin ang="5400000" scaled="0"/>
                </a:gradFill>
                <a:latin typeface="Segoe UI Semibold"/>
              </a:rPr>
              <a:t>Creating digital agents with Azure Bot Service</a:t>
            </a:r>
          </a:p>
          <a:p>
            <a:pPr algn="ctr" defTabSz="699422">
              <a:lnSpc>
                <a:spcPct val="90000"/>
              </a:lnSpc>
              <a:spcBef>
                <a:spcPts val="306"/>
              </a:spcBef>
              <a:defRPr/>
            </a:pPr>
            <a:endParaRPr lang="en-US" altLang="zh-CN" sz="1224" dirty="0">
              <a:gradFill>
                <a:gsLst>
                  <a:gs pos="6079">
                    <a:srgbClr val="FFFFFF"/>
                  </a:gs>
                  <a:gs pos="18000">
                    <a:srgbClr val="FFFFFF"/>
                  </a:gs>
                </a:gsLst>
                <a:lin ang="5400000" scaled="0"/>
              </a:gradFill>
              <a:latin typeface="Segoe UI Semibold"/>
              <a:ea typeface="宋体" panose="02010600030101010101" pitchFamily="2" charset="-122"/>
            </a:endParaRPr>
          </a:p>
          <a:p>
            <a:pPr algn="ctr" defTabSz="699422">
              <a:lnSpc>
                <a:spcPct val="90000"/>
              </a:lnSpc>
              <a:spcBef>
                <a:spcPts val="306"/>
              </a:spcBef>
              <a:defRPr/>
            </a:pPr>
            <a:r>
              <a:rPr lang="en-US" altLang="zh-CN" sz="1224" dirty="0">
                <a:gradFill>
                  <a:gsLst>
                    <a:gs pos="6079">
                      <a:srgbClr val="FFFFFF"/>
                    </a:gs>
                    <a:gs pos="18000">
                      <a:srgbClr val="FFFFFF"/>
                    </a:gs>
                  </a:gsLst>
                  <a:lin ang="5400000" scaled="0"/>
                </a:gradFill>
                <a:latin typeface="Segoe UI Semibold"/>
                <a:ea typeface="宋体" panose="02010600030101010101" pitchFamily="2" charset="-122"/>
              </a:rPr>
              <a:t>34</a:t>
            </a:r>
            <a:r>
              <a:rPr lang="zh-CN" altLang="en-US" sz="1224" dirty="0">
                <a:gradFill>
                  <a:gsLst>
                    <a:gs pos="6079">
                      <a:srgbClr val="FFFFFF"/>
                    </a:gs>
                    <a:gs pos="18000">
                      <a:srgbClr val="FFFFFF"/>
                    </a:gs>
                  </a:gsLst>
                  <a:lin ang="5400000" scaled="0"/>
                </a:gradFill>
                <a:latin typeface="Segoe UI Semibold"/>
                <a:ea typeface="宋体" panose="02010600030101010101" pitchFamily="2" charset="-122"/>
              </a:rPr>
              <a:t>万开发者使用</a:t>
            </a:r>
            <a:endParaRPr lang="en-US" altLang="zh-CN" sz="1224" dirty="0">
              <a:gradFill>
                <a:gsLst>
                  <a:gs pos="6079">
                    <a:srgbClr val="FFFFFF"/>
                  </a:gs>
                  <a:gs pos="18000">
                    <a:srgbClr val="FFFFFF"/>
                  </a:gs>
                </a:gsLst>
                <a:lin ang="5400000" scaled="0"/>
              </a:gradFill>
              <a:latin typeface="Segoe UI Semibold"/>
              <a:ea typeface="宋体" panose="02010600030101010101" pitchFamily="2" charset="-122"/>
            </a:endParaRPr>
          </a:p>
          <a:p>
            <a:pPr algn="ctr" defTabSz="699422">
              <a:lnSpc>
                <a:spcPct val="90000"/>
              </a:lnSpc>
              <a:spcBef>
                <a:spcPts val="306"/>
              </a:spcBef>
              <a:defRPr/>
            </a:pPr>
            <a:r>
              <a:rPr lang="zh-CN" altLang="en-US" sz="1224" dirty="0">
                <a:gradFill>
                  <a:gsLst>
                    <a:gs pos="6079">
                      <a:srgbClr val="FFFFFF"/>
                    </a:gs>
                    <a:gs pos="18000">
                      <a:srgbClr val="FFFFFF"/>
                    </a:gs>
                  </a:gsLst>
                  <a:lin ang="5400000" scaled="0"/>
                </a:gradFill>
                <a:latin typeface="Segoe UI Semibold"/>
                <a:ea typeface="宋体" panose="02010600030101010101" pitchFamily="2" charset="-122"/>
              </a:rPr>
              <a:t>对话机器服务</a:t>
            </a:r>
            <a:endParaRPr lang="en-US" sz="1224" dirty="0">
              <a:gradFill>
                <a:gsLst>
                  <a:gs pos="6079">
                    <a:srgbClr val="FFFFFF"/>
                  </a:gs>
                  <a:gs pos="18000">
                    <a:srgbClr val="FFFFFF"/>
                  </a:gs>
                </a:gsLst>
                <a:lin ang="5400000" scaled="0"/>
              </a:gradFill>
              <a:latin typeface="Segoe UI Semibold"/>
            </a:endParaRPr>
          </a:p>
        </p:txBody>
      </p:sp>
      <p:sp>
        <p:nvSpPr>
          <p:cNvPr id="163" name="Rectangle 162">
            <a:extLst>
              <a:ext uri="{FF2B5EF4-FFF2-40B4-BE49-F238E27FC236}">
                <a16:creationId xmlns:a16="http://schemas.microsoft.com/office/drawing/2014/main" id="{D6DBBE08-4A73-475F-BBAF-B81ADCB5DFF5}"/>
              </a:ext>
            </a:extLst>
          </p:cNvPr>
          <p:cNvSpPr/>
          <p:nvPr/>
        </p:nvSpPr>
        <p:spPr>
          <a:xfrm>
            <a:off x="8545966" y="2826737"/>
            <a:ext cx="1765191" cy="1453766"/>
          </a:xfrm>
          <a:prstGeom prst="rect">
            <a:avLst/>
          </a:prstGeom>
        </p:spPr>
        <p:txBody>
          <a:bodyPr wrap="square" lIns="0" tIns="0" rIns="0" bIns="0" anchor="ctr">
            <a:spAutoFit/>
          </a:bodyPr>
          <a:lstStyle/>
          <a:p>
            <a:pPr algn="ctr" defTabSz="699422">
              <a:lnSpc>
                <a:spcPct val="90000"/>
              </a:lnSpc>
              <a:spcBef>
                <a:spcPts val="306"/>
              </a:spcBef>
              <a:defRPr/>
            </a:pPr>
            <a:r>
              <a:rPr lang="en-US" sz="3060" b="1" spc="-115" dirty="0">
                <a:gradFill>
                  <a:gsLst>
                    <a:gs pos="6079">
                      <a:srgbClr val="FFFFFF"/>
                    </a:gs>
                    <a:gs pos="18000">
                      <a:srgbClr val="FFFFFF"/>
                    </a:gs>
                  </a:gsLst>
                  <a:lin ang="5400000" scaled="0"/>
                </a:gradFill>
                <a:latin typeface="Segoe UI"/>
              </a:rPr>
              <a:t>35T</a:t>
            </a:r>
            <a:r>
              <a:rPr lang="en-US" sz="1224" dirty="0">
                <a:gradFill>
                  <a:gsLst>
                    <a:gs pos="6079">
                      <a:srgbClr val="FFFFFF"/>
                    </a:gs>
                    <a:gs pos="18000">
                      <a:srgbClr val="FFFFFF"/>
                    </a:gs>
                  </a:gsLst>
                  <a:lin ang="5400000" scaled="0"/>
                </a:gradFill>
                <a:latin typeface="Segoe UI Semibold"/>
              </a:rPr>
              <a:t> </a:t>
            </a:r>
            <a:r>
              <a:rPr lang="en-US" sz="1836" b="1" spc="-39" dirty="0">
                <a:gradFill>
                  <a:gsLst>
                    <a:gs pos="6079">
                      <a:srgbClr val="FFFFFF"/>
                    </a:gs>
                    <a:gs pos="18000">
                      <a:srgbClr val="FFFFFF"/>
                    </a:gs>
                  </a:gsLst>
                  <a:lin ang="5400000" scaled="0"/>
                </a:gradFill>
                <a:latin typeface="Segoe UI"/>
              </a:rPr>
              <a:t>docs</a:t>
            </a:r>
            <a:r>
              <a:rPr lang="en-US" sz="1224" dirty="0">
                <a:gradFill>
                  <a:gsLst>
                    <a:gs pos="6079">
                      <a:srgbClr val="FFFFFF"/>
                    </a:gs>
                    <a:gs pos="18000">
                      <a:srgbClr val="FFFFFF"/>
                    </a:gs>
                  </a:gsLst>
                  <a:lin ang="5400000" scaled="0"/>
                </a:gradFill>
                <a:latin typeface="Segoe UI Semibold"/>
              </a:rPr>
              <a:t> </a:t>
            </a:r>
          </a:p>
          <a:p>
            <a:pPr algn="ctr" defTabSz="699422">
              <a:lnSpc>
                <a:spcPct val="90000"/>
              </a:lnSpc>
              <a:spcBef>
                <a:spcPts val="306"/>
              </a:spcBef>
              <a:defRPr/>
            </a:pPr>
            <a:r>
              <a:rPr lang="en-US" sz="1224" dirty="0">
                <a:gradFill>
                  <a:gsLst>
                    <a:gs pos="6079">
                      <a:srgbClr val="FFFFFF"/>
                    </a:gs>
                    <a:gs pos="18000">
                      <a:srgbClr val="FFFFFF"/>
                    </a:gs>
                  </a:gsLst>
                  <a:lin ang="5400000" scaled="0"/>
                </a:gradFill>
                <a:latin typeface="Segoe UI Semibold"/>
              </a:rPr>
              <a:t>Processed by </a:t>
            </a:r>
            <a:br>
              <a:rPr lang="en-US" sz="1224" dirty="0">
                <a:gradFill>
                  <a:gsLst>
                    <a:gs pos="6079">
                      <a:srgbClr val="FFFFFF"/>
                    </a:gs>
                    <a:gs pos="18000">
                      <a:srgbClr val="FFFFFF"/>
                    </a:gs>
                  </a:gsLst>
                  <a:lin ang="5400000" scaled="0"/>
                </a:gradFill>
                <a:latin typeface="Segoe UI Semibold"/>
              </a:rPr>
            </a:br>
            <a:r>
              <a:rPr lang="en-US" sz="1224" dirty="0">
                <a:gradFill>
                  <a:gsLst>
                    <a:gs pos="6079">
                      <a:srgbClr val="FFFFFF"/>
                    </a:gs>
                    <a:gs pos="18000">
                      <a:srgbClr val="FFFFFF"/>
                    </a:gs>
                  </a:gsLst>
                  <a:lin ang="5400000" scaled="0"/>
                </a:gradFill>
                <a:latin typeface="Segoe UI Semibold"/>
              </a:rPr>
              <a:t>machine reading</a:t>
            </a:r>
          </a:p>
          <a:p>
            <a:pPr algn="ctr" defTabSz="699422">
              <a:lnSpc>
                <a:spcPct val="90000"/>
              </a:lnSpc>
              <a:spcBef>
                <a:spcPts val="306"/>
              </a:spcBef>
              <a:defRPr/>
            </a:pPr>
            <a:endParaRPr lang="en-US" altLang="zh-CN" sz="1224" dirty="0">
              <a:gradFill>
                <a:gsLst>
                  <a:gs pos="6079">
                    <a:srgbClr val="FFFFFF"/>
                  </a:gs>
                  <a:gs pos="18000">
                    <a:srgbClr val="FFFFFF"/>
                  </a:gs>
                </a:gsLst>
                <a:lin ang="5400000" scaled="0"/>
              </a:gradFill>
              <a:latin typeface="Segoe UI Semibold"/>
              <a:ea typeface="宋体" panose="02010600030101010101" pitchFamily="2" charset="-122"/>
            </a:endParaRPr>
          </a:p>
          <a:p>
            <a:pPr algn="ctr" defTabSz="699422">
              <a:lnSpc>
                <a:spcPct val="90000"/>
              </a:lnSpc>
              <a:spcBef>
                <a:spcPts val="306"/>
              </a:spcBef>
              <a:defRPr/>
            </a:pPr>
            <a:r>
              <a:rPr lang="zh-CN" altLang="en-US" sz="1224" dirty="0">
                <a:gradFill>
                  <a:gsLst>
                    <a:gs pos="6079">
                      <a:srgbClr val="FFFFFF"/>
                    </a:gs>
                    <a:gs pos="18000">
                      <a:srgbClr val="FFFFFF"/>
                    </a:gs>
                  </a:gsLst>
                  <a:lin ang="5400000" scaled="0"/>
                </a:gradFill>
                <a:latin typeface="Segoe UI Semibold"/>
                <a:ea typeface="宋体" panose="02010600030101010101" pitchFamily="2" charset="-122"/>
              </a:rPr>
              <a:t>超过</a:t>
            </a:r>
            <a:r>
              <a:rPr lang="en-US" altLang="zh-CN" sz="1224" dirty="0">
                <a:gradFill>
                  <a:gsLst>
                    <a:gs pos="6079">
                      <a:srgbClr val="FFFFFF"/>
                    </a:gs>
                    <a:gs pos="18000">
                      <a:srgbClr val="FFFFFF"/>
                    </a:gs>
                  </a:gsLst>
                  <a:lin ang="5400000" scaled="0"/>
                </a:gradFill>
                <a:latin typeface="Segoe UI Semibold"/>
                <a:ea typeface="宋体" panose="02010600030101010101" pitchFamily="2" charset="-122"/>
              </a:rPr>
              <a:t>35TB</a:t>
            </a:r>
            <a:r>
              <a:rPr lang="zh-CN" altLang="en-US" sz="1224" dirty="0">
                <a:gradFill>
                  <a:gsLst>
                    <a:gs pos="6079">
                      <a:srgbClr val="FFFFFF"/>
                    </a:gs>
                    <a:gs pos="18000">
                      <a:srgbClr val="FFFFFF"/>
                    </a:gs>
                  </a:gsLst>
                  <a:lin ang="5400000" scaled="0"/>
                </a:gradFill>
                <a:latin typeface="Segoe UI Semibold"/>
                <a:ea typeface="宋体" panose="02010600030101010101" pitchFamily="2" charset="-122"/>
              </a:rPr>
              <a:t>的文档</a:t>
            </a:r>
            <a:endParaRPr lang="en-US" altLang="zh-CN" sz="1224" dirty="0">
              <a:gradFill>
                <a:gsLst>
                  <a:gs pos="6079">
                    <a:srgbClr val="FFFFFF"/>
                  </a:gs>
                  <a:gs pos="18000">
                    <a:srgbClr val="FFFFFF"/>
                  </a:gs>
                </a:gsLst>
                <a:lin ang="5400000" scaled="0"/>
              </a:gradFill>
              <a:latin typeface="Segoe UI Semibold"/>
              <a:ea typeface="宋体" panose="02010600030101010101" pitchFamily="2" charset="-122"/>
            </a:endParaRPr>
          </a:p>
          <a:p>
            <a:pPr algn="ctr" defTabSz="699422">
              <a:lnSpc>
                <a:spcPct val="90000"/>
              </a:lnSpc>
              <a:spcBef>
                <a:spcPts val="306"/>
              </a:spcBef>
              <a:defRPr/>
            </a:pPr>
            <a:r>
              <a:rPr lang="zh-CN" altLang="en-US" sz="1224" dirty="0">
                <a:gradFill>
                  <a:gsLst>
                    <a:gs pos="6079">
                      <a:srgbClr val="FFFFFF"/>
                    </a:gs>
                    <a:gs pos="18000">
                      <a:srgbClr val="FFFFFF"/>
                    </a:gs>
                  </a:gsLst>
                  <a:lin ang="5400000" scaled="0"/>
                </a:gradFill>
                <a:latin typeface="Segoe UI Semibold"/>
                <a:ea typeface="宋体" panose="02010600030101010101" pitchFamily="2" charset="-122"/>
              </a:rPr>
              <a:t>被机器阅读</a:t>
            </a:r>
            <a:endParaRPr lang="en-US" sz="1224" dirty="0">
              <a:gradFill>
                <a:gsLst>
                  <a:gs pos="6079">
                    <a:srgbClr val="FFFFFF"/>
                  </a:gs>
                  <a:gs pos="18000">
                    <a:srgbClr val="FFFFFF"/>
                  </a:gs>
                </a:gsLst>
                <a:lin ang="5400000" scaled="0"/>
              </a:gradFill>
              <a:latin typeface="Segoe UI Semibold"/>
            </a:endParaRPr>
          </a:p>
        </p:txBody>
      </p:sp>
      <p:sp>
        <p:nvSpPr>
          <p:cNvPr id="164" name="Rectangle 163">
            <a:extLst>
              <a:ext uri="{FF2B5EF4-FFF2-40B4-BE49-F238E27FC236}">
                <a16:creationId xmlns:a16="http://schemas.microsoft.com/office/drawing/2014/main" id="{3F777E20-5872-4895-B255-681E5820A1C1}"/>
              </a:ext>
            </a:extLst>
          </p:cNvPr>
          <p:cNvSpPr/>
          <p:nvPr/>
        </p:nvSpPr>
        <p:spPr>
          <a:xfrm>
            <a:off x="6398774" y="2826737"/>
            <a:ext cx="1848487" cy="1453766"/>
          </a:xfrm>
          <a:prstGeom prst="rect">
            <a:avLst/>
          </a:prstGeom>
        </p:spPr>
        <p:txBody>
          <a:bodyPr wrap="square" lIns="0" tIns="0" rIns="0" bIns="0" anchor="ctr">
            <a:spAutoFit/>
          </a:bodyPr>
          <a:lstStyle/>
          <a:p>
            <a:pPr algn="ctr" defTabSz="699422">
              <a:lnSpc>
                <a:spcPct val="90000"/>
              </a:lnSpc>
              <a:spcBef>
                <a:spcPts val="306"/>
              </a:spcBef>
              <a:defRPr/>
            </a:pPr>
            <a:r>
              <a:rPr lang="en-US" sz="3060" b="1" spc="-115" dirty="0">
                <a:gradFill>
                  <a:gsLst>
                    <a:gs pos="6079">
                      <a:srgbClr val="FFFFFF"/>
                    </a:gs>
                    <a:gs pos="18000">
                      <a:srgbClr val="FFFFFF"/>
                    </a:gs>
                  </a:gsLst>
                  <a:lin ang="5400000" scaled="0"/>
                </a:gradFill>
                <a:latin typeface="Segoe UI"/>
              </a:rPr>
              <a:t>60</a:t>
            </a:r>
            <a:r>
              <a:rPr lang="en-US" sz="1224" dirty="0">
                <a:gradFill>
                  <a:gsLst>
                    <a:gs pos="6079">
                      <a:srgbClr val="FFFFFF"/>
                    </a:gs>
                    <a:gs pos="18000">
                      <a:srgbClr val="FFFFFF"/>
                    </a:gs>
                  </a:gsLst>
                  <a:lin ang="5400000" scaled="0"/>
                </a:gradFill>
                <a:latin typeface="Segoe UI Semibold"/>
              </a:rPr>
              <a:t> </a:t>
            </a:r>
            <a:r>
              <a:rPr lang="en-US" sz="1836" b="1" spc="-39" dirty="0">
                <a:gradFill>
                  <a:gsLst>
                    <a:gs pos="6079">
                      <a:srgbClr val="FFFFFF"/>
                    </a:gs>
                    <a:gs pos="18000">
                      <a:srgbClr val="FFFFFF"/>
                    </a:gs>
                  </a:gsLst>
                  <a:lin ang="5400000" scaled="0"/>
                </a:gradFill>
                <a:latin typeface="Segoe UI"/>
              </a:rPr>
              <a:t>languages</a:t>
            </a:r>
          </a:p>
          <a:p>
            <a:pPr algn="ctr" defTabSz="699422">
              <a:lnSpc>
                <a:spcPct val="90000"/>
              </a:lnSpc>
              <a:spcBef>
                <a:spcPts val="306"/>
              </a:spcBef>
              <a:defRPr/>
            </a:pPr>
            <a:r>
              <a:rPr lang="en-US" sz="1224" spc="-15" dirty="0">
                <a:gradFill>
                  <a:gsLst>
                    <a:gs pos="6079">
                      <a:srgbClr val="FFFFFF"/>
                    </a:gs>
                    <a:gs pos="18000">
                      <a:srgbClr val="FFFFFF"/>
                    </a:gs>
                  </a:gsLst>
                  <a:lin ang="5400000" scaled="0"/>
                </a:gradFill>
                <a:latin typeface="Segoe UI Semibold"/>
              </a:rPr>
              <a:t>Supported by PowerPoint </a:t>
            </a:r>
            <a:br>
              <a:rPr lang="en-US" sz="1224" dirty="0">
                <a:gradFill>
                  <a:gsLst>
                    <a:gs pos="6079">
                      <a:srgbClr val="FFFFFF"/>
                    </a:gs>
                    <a:gs pos="18000">
                      <a:srgbClr val="FFFFFF"/>
                    </a:gs>
                  </a:gsLst>
                  <a:lin ang="5400000" scaled="0"/>
                </a:gradFill>
                <a:latin typeface="Segoe UI Semibold"/>
              </a:rPr>
            </a:br>
            <a:r>
              <a:rPr lang="en-US" sz="1224" dirty="0">
                <a:gradFill>
                  <a:gsLst>
                    <a:gs pos="6079">
                      <a:srgbClr val="FFFFFF"/>
                    </a:gs>
                    <a:gs pos="18000">
                      <a:srgbClr val="FFFFFF"/>
                    </a:gs>
                  </a:gsLst>
                  <a:lin ang="5400000" scaled="0"/>
                </a:gradFill>
                <a:latin typeface="Segoe UI Semibold"/>
              </a:rPr>
              <a:t>Translator live feature</a:t>
            </a:r>
          </a:p>
          <a:p>
            <a:pPr algn="ctr" defTabSz="699422">
              <a:lnSpc>
                <a:spcPct val="90000"/>
              </a:lnSpc>
              <a:spcBef>
                <a:spcPts val="306"/>
              </a:spcBef>
              <a:defRPr/>
            </a:pPr>
            <a:endParaRPr lang="en-US" altLang="zh-CN" sz="1224" dirty="0">
              <a:gradFill>
                <a:gsLst>
                  <a:gs pos="6079">
                    <a:srgbClr val="FFFFFF"/>
                  </a:gs>
                  <a:gs pos="18000">
                    <a:srgbClr val="FFFFFF"/>
                  </a:gs>
                </a:gsLst>
                <a:lin ang="5400000" scaled="0"/>
              </a:gradFill>
              <a:latin typeface="Segoe UI Semibold"/>
              <a:ea typeface="宋体" panose="02010600030101010101" pitchFamily="2" charset="-122"/>
            </a:endParaRPr>
          </a:p>
          <a:p>
            <a:pPr algn="ctr" defTabSz="699422">
              <a:lnSpc>
                <a:spcPct val="90000"/>
              </a:lnSpc>
              <a:spcBef>
                <a:spcPts val="306"/>
              </a:spcBef>
              <a:defRPr/>
            </a:pPr>
            <a:r>
              <a:rPr lang="en-US" altLang="zh-CN" sz="1224" dirty="0">
                <a:gradFill>
                  <a:gsLst>
                    <a:gs pos="6079">
                      <a:srgbClr val="FFFFFF"/>
                    </a:gs>
                    <a:gs pos="18000">
                      <a:srgbClr val="FFFFFF"/>
                    </a:gs>
                  </a:gsLst>
                  <a:lin ang="5400000" scaled="0"/>
                </a:gradFill>
                <a:latin typeface="Segoe UI Semibold"/>
                <a:ea typeface="宋体" panose="02010600030101010101" pitchFamily="2" charset="-122"/>
              </a:rPr>
              <a:t>PowerPoint</a:t>
            </a:r>
            <a:r>
              <a:rPr lang="zh-CN" altLang="en-US" sz="1224" dirty="0">
                <a:gradFill>
                  <a:gsLst>
                    <a:gs pos="6079">
                      <a:srgbClr val="FFFFFF"/>
                    </a:gs>
                    <a:gs pos="18000">
                      <a:srgbClr val="FFFFFF"/>
                    </a:gs>
                  </a:gsLst>
                  <a:lin ang="5400000" scaled="0"/>
                </a:gradFill>
                <a:latin typeface="Segoe UI Semibold"/>
                <a:ea typeface="宋体" panose="02010600030101010101" pitchFamily="2" charset="-122"/>
              </a:rPr>
              <a:t>中支持</a:t>
            </a:r>
            <a:endParaRPr lang="en-US" altLang="zh-CN" sz="1224" dirty="0">
              <a:gradFill>
                <a:gsLst>
                  <a:gs pos="6079">
                    <a:srgbClr val="FFFFFF"/>
                  </a:gs>
                  <a:gs pos="18000">
                    <a:srgbClr val="FFFFFF"/>
                  </a:gs>
                </a:gsLst>
                <a:lin ang="5400000" scaled="0"/>
              </a:gradFill>
              <a:latin typeface="Segoe UI Semibold"/>
              <a:ea typeface="宋体" panose="02010600030101010101" pitchFamily="2" charset="-122"/>
            </a:endParaRPr>
          </a:p>
          <a:p>
            <a:pPr algn="ctr" defTabSz="699422">
              <a:lnSpc>
                <a:spcPct val="90000"/>
              </a:lnSpc>
              <a:spcBef>
                <a:spcPts val="306"/>
              </a:spcBef>
              <a:defRPr/>
            </a:pPr>
            <a:r>
              <a:rPr lang="en-US" altLang="zh-CN" sz="1224" dirty="0">
                <a:gradFill>
                  <a:gsLst>
                    <a:gs pos="6079">
                      <a:srgbClr val="FFFFFF"/>
                    </a:gs>
                    <a:gs pos="18000">
                      <a:srgbClr val="FFFFFF"/>
                    </a:gs>
                  </a:gsLst>
                  <a:lin ang="5400000" scaled="0"/>
                </a:gradFill>
                <a:latin typeface="Segoe UI Semibold"/>
                <a:ea typeface="宋体" panose="02010600030101010101" pitchFamily="2" charset="-122"/>
              </a:rPr>
              <a:t>60</a:t>
            </a:r>
            <a:r>
              <a:rPr lang="zh-CN" altLang="en-US" sz="1224" dirty="0">
                <a:gradFill>
                  <a:gsLst>
                    <a:gs pos="6079">
                      <a:srgbClr val="FFFFFF"/>
                    </a:gs>
                    <a:gs pos="18000">
                      <a:srgbClr val="FFFFFF"/>
                    </a:gs>
                  </a:gsLst>
                  <a:lin ang="5400000" scaled="0"/>
                </a:gradFill>
                <a:latin typeface="Segoe UI Semibold"/>
                <a:ea typeface="宋体" panose="02010600030101010101" pitchFamily="2" charset="-122"/>
              </a:rPr>
              <a:t>种语言的同步翻译</a:t>
            </a:r>
            <a:endParaRPr lang="en-US" sz="1224" dirty="0">
              <a:gradFill>
                <a:gsLst>
                  <a:gs pos="6079">
                    <a:srgbClr val="FFFFFF"/>
                  </a:gs>
                  <a:gs pos="18000">
                    <a:srgbClr val="FFFFFF"/>
                  </a:gs>
                </a:gsLst>
                <a:lin ang="5400000" scaled="0"/>
              </a:gradFill>
              <a:latin typeface="Segoe UI Semibold"/>
            </a:endParaRPr>
          </a:p>
        </p:txBody>
      </p:sp>
    </p:spTree>
    <p:extLst>
      <p:ext uri="{BB962C8B-B14F-4D97-AF65-F5344CB8AC3E}">
        <p14:creationId xmlns:p14="http://schemas.microsoft.com/office/powerpoint/2010/main" val="3267793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102689" y="588565"/>
            <a:ext cx="5419911" cy="946494"/>
          </a:xfrm>
        </p:spPr>
        <p:txBody>
          <a:bodyPr>
            <a:noAutofit/>
          </a:bodyPr>
          <a:lstStyle/>
          <a:p>
            <a:r>
              <a:rPr lang="zh-CN" altLang="en-US" sz="4080" dirty="0">
                <a:gradFill>
                  <a:gsLst>
                    <a:gs pos="1250">
                      <a:srgbClr val="1A1A1A"/>
                    </a:gs>
                    <a:gs pos="100000">
                      <a:srgbClr val="1A1A1A"/>
                    </a:gs>
                  </a:gsLst>
                  <a:lin ang="5400000" scaled="0"/>
                </a:gradFill>
                <a:latin typeface="微软雅黑" panose="020B0503020204020204" pitchFamily="34" charset="-122"/>
                <a:ea typeface="微软雅黑" panose="020B0503020204020204" pitchFamily="34" charset="-122"/>
              </a:rPr>
              <a:t>微软</a:t>
            </a:r>
            <a:r>
              <a:rPr lang="en-US" sz="4080" dirty="0" err="1">
                <a:gradFill>
                  <a:gsLst>
                    <a:gs pos="1250">
                      <a:srgbClr val="1A1A1A"/>
                    </a:gs>
                    <a:gs pos="100000">
                      <a:srgbClr val="1A1A1A"/>
                    </a:gs>
                  </a:gsLst>
                  <a:lin ang="5400000" scaled="0"/>
                </a:gradFill>
                <a:latin typeface="微软雅黑" panose="020B0503020204020204" pitchFamily="34" charset="-122"/>
                <a:ea typeface="微软雅黑" panose="020B0503020204020204" pitchFamily="34" charset="-122"/>
              </a:rPr>
              <a:t>认知服务</a:t>
            </a:r>
            <a:endParaRPr lang="en-US" sz="4080" dirty="0">
              <a:latin typeface="微软雅黑" panose="020B0503020204020204" pitchFamily="34" charset="-122"/>
              <a:ea typeface="微软雅黑" panose="020B0503020204020204" pitchFamily="34" charset="-122"/>
            </a:endParaRPr>
          </a:p>
        </p:txBody>
      </p:sp>
      <p:sp>
        <p:nvSpPr>
          <p:cNvPr id="23" name="TextBox 44">
            <a:extLst>
              <a:ext uri="{FF2B5EF4-FFF2-40B4-BE49-F238E27FC236}">
                <a16:creationId xmlns:a16="http://schemas.microsoft.com/office/drawing/2014/main" id="{73566AD6-3E73-4684-B9EA-A9A2623E29B4}"/>
              </a:ext>
            </a:extLst>
          </p:cNvPr>
          <p:cNvSpPr txBox="1"/>
          <p:nvPr/>
        </p:nvSpPr>
        <p:spPr>
          <a:xfrm>
            <a:off x="1996997" y="2866480"/>
            <a:ext cx="1473843" cy="470805"/>
          </a:xfrm>
          <a:prstGeom prst="rect">
            <a:avLst/>
          </a:prstGeom>
          <a:noFill/>
        </p:spPr>
        <p:txBody>
          <a:bodyPr wrap="square" lIns="137102" tIns="109682" rIns="137102" bIns="109682" rtlCol="0" anchor="t">
            <a:spAutoFit/>
          </a:bodyPr>
          <a:lstStyle/>
          <a:p>
            <a:pPr algn="ctr" defTabSz="685405">
              <a:lnSpc>
                <a:spcPct val="90000"/>
              </a:lnSpc>
              <a:spcAft>
                <a:spcPts val="450"/>
              </a:spcAft>
              <a:defRPr/>
            </a:pPr>
            <a:r>
              <a:rPr lang="zh-CN" altLang="en-US" b="1">
                <a:gradFill>
                  <a:gsLst>
                    <a:gs pos="6364">
                      <a:srgbClr val="353535"/>
                    </a:gs>
                    <a:gs pos="21818">
                      <a:srgbClr val="353535"/>
                    </a:gs>
                  </a:gsLst>
                  <a:lin ang="5400000" scaled="0"/>
                </a:gradFill>
                <a:latin typeface="Segoe UI" panose="020B0502040204020203" pitchFamily="34" charset="0"/>
                <a:ea typeface="宋体" panose="02010600030101010101" pitchFamily="2" charset="-122"/>
                <a:cs typeface="Segoe UI" panose="020B0502040204020203" pitchFamily="34" charset="0"/>
              </a:rPr>
              <a:t>视觉</a:t>
            </a:r>
            <a:endParaRPr lang="en-US" b="1">
              <a:gradFill>
                <a:gsLst>
                  <a:gs pos="6364">
                    <a:srgbClr val="353535"/>
                  </a:gs>
                  <a:gs pos="21818">
                    <a:srgbClr val="353535"/>
                  </a:gs>
                </a:gsLst>
                <a:lin ang="5400000" scaled="0"/>
              </a:gradFill>
              <a:latin typeface="Segoe UI" panose="020B0502040204020203" pitchFamily="34" charset="0"/>
              <a:cs typeface="Segoe UI" panose="020B0502040204020203" pitchFamily="34" charset="0"/>
            </a:endParaRPr>
          </a:p>
        </p:txBody>
      </p:sp>
      <p:sp>
        <p:nvSpPr>
          <p:cNvPr id="24" name="TextBox 45">
            <a:extLst>
              <a:ext uri="{FF2B5EF4-FFF2-40B4-BE49-F238E27FC236}">
                <a16:creationId xmlns:a16="http://schemas.microsoft.com/office/drawing/2014/main" id="{1FE1D141-4021-415D-AB82-85471566BE5B}"/>
              </a:ext>
            </a:extLst>
          </p:cNvPr>
          <p:cNvSpPr txBox="1"/>
          <p:nvPr/>
        </p:nvSpPr>
        <p:spPr>
          <a:xfrm>
            <a:off x="3484905" y="2866480"/>
            <a:ext cx="1473843" cy="470805"/>
          </a:xfrm>
          <a:prstGeom prst="rect">
            <a:avLst/>
          </a:prstGeom>
          <a:noFill/>
        </p:spPr>
        <p:txBody>
          <a:bodyPr wrap="square" lIns="137102" tIns="109682" rIns="68570" bIns="109682" rtlCol="0" anchor="t">
            <a:spAutoFit/>
          </a:bodyPr>
          <a:lstStyle/>
          <a:p>
            <a:pPr algn="ctr" defTabSz="685405">
              <a:lnSpc>
                <a:spcPct val="90000"/>
              </a:lnSpc>
              <a:spcAft>
                <a:spcPts val="450"/>
              </a:spcAft>
              <a:defRPr/>
            </a:pPr>
            <a:r>
              <a:rPr lang="zh-CN" altLang="en-US" b="1">
                <a:gradFill>
                  <a:gsLst>
                    <a:gs pos="6364">
                      <a:srgbClr val="353535"/>
                    </a:gs>
                    <a:gs pos="21818">
                      <a:srgbClr val="353535"/>
                    </a:gs>
                  </a:gsLst>
                  <a:lin ang="5400000" scaled="0"/>
                </a:gradFill>
                <a:latin typeface="Segoe UI" panose="020B0502040204020203" pitchFamily="34" charset="0"/>
                <a:ea typeface="宋体" panose="02010600030101010101" pitchFamily="2" charset="-122"/>
                <a:cs typeface="Segoe UI" panose="020B0502040204020203" pitchFamily="34" charset="0"/>
              </a:rPr>
              <a:t>语音</a:t>
            </a:r>
            <a:endParaRPr lang="en-US" b="1">
              <a:gradFill>
                <a:gsLst>
                  <a:gs pos="6364">
                    <a:srgbClr val="353535"/>
                  </a:gs>
                  <a:gs pos="21818">
                    <a:srgbClr val="353535"/>
                  </a:gs>
                </a:gsLst>
                <a:lin ang="5400000" scaled="0"/>
              </a:gradFill>
              <a:latin typeface="Segoe UI" panose="020B0502040204020203" pitchFamily="34" charset="0"/>
              <a:cs typeface="Segoe UI" panose="020B0502040204020203" pitchFamily="34" charset="0"/>
            </a:endParaRPr>
          </a:p>
        </p:txBody>
      </p:sp>
      <p:sp>
        <p:nvSpPr>
          <p:cNvPr id="25" name="TextBox 46">
            <a:extLst>
              <a:ext uri="{FF2B5EF4-FFF2-40B4-BE49-F238E27FC236}">
                <a16:creationId xmlns:a16="http://schemas.microsoft.com/office/drawing/2014/main" id="{D5E1C8B2-A982-4764-82BE-18011ECCF8A4}"/>
              </a:ext>
            </a:extLst>
          </p:cNvPr>
          <p:cNvSpPr txBox="1"/>
          <p:nvPr/>
        </p:nvSpPr>
        <p:spPr>
          <a:xfrm>
            <a:off x="6460719" y="2866480"/>
            <a:ext cx="1473843" cy="470805"/>
          </a:xfrm>
          <a:prstGeom prst="rect">
            <a:avLst/>
          </a:prstGeom>
          <a:noFill/>
        </p:spPr>
        <p:txBody>
          <a:bodyPr wrap="square" lIns="137102" tIns="109682" rIns="137102" bIns="109682" rtlCol="0" anchor="t">
            <a:spAutoFit/>
          </a:bodyPr>
          <a:lstStyle/>
          <a:p>
            <a:pPr algn="ctr" defTabSz="685405">
              <a:lnSpc>
                <a:spcPct val="90000"/>
              </a:lnSpc>
              <a:spcAft>
                <a:spcPts val="450"/>
              </a:spcAft>
              <a:defRPr/>
            </a:pPr>
            <a:r>
              <a:rPr lang="zh-CN" altLang="en-US" b="1">
                <a:gradFill>
                  <a:gsLst>
                    <a:gs pos="6364">
                      <a:srgbClr val="353535"/>
                    </a:gs>
                    <a:gs pos="21818">
                      <a:srgbClr val="353535"/>
                    </a:gs>
                  </a:gsLst>
                  <a:lin ang="5400000" scaled="0"/>
                </a:gradFill>
                <a:latin typeface="Segoe UI" panose="020B0502040204020203" pitchFamily="34" charset="0"/>
                <a:ea typeface="宋体" panose="02010600030101010101" pitchFamily="2" charset="-122"/>
                <a:cs typeface="Segoe UI" panose="020B0502040204020203" pitchFamily="34" charset="0"/>
              </a:rPr>
              <a:t>知识</a:t>
            </a:r>
            <a:endParaRPr lang="en-US" b="1">
              <a:gradFill>
                <a:gsLst>
                  <a:gs pos="6364">
                    <a:srgbClr val="353535"/>
                  </a:gs>
                  <a:gs pos="21818">
                    <a:srgbClr val="353535"/>
                  </a:gs>
                </a:gsLst>
                <a:lin ang="5400000" scaled="0"/>
              </a:gradFill>
              <a:latin typeface="Segoe UI" panose="020B0502040204020203" pitchFamily="34" charset="0"/>
              <a:cs typeface="Segoe UI" panose="020B0502040204020203" pitchFamily="34" charset="0"/>
            </a:endParaRPr>
          </a:p>
        </p:txBody>
      </p:sp>
      <p:sp>
        <p:nvSpPr>
          <p:cNvPr id="26" name="TextBox 48">
            <a:extLst>
              <a:ext uri="{FF2B5EF4-FFF2-40B4-BE49-F238E27FC236}">
                <a16:creationId xmlns:a16="http://schemas.microsoft.com/office/drawing/2014/main" id="{3146CDBB-E7EC-4EC9-82E9-3050EBD2B22B}"/>
              </a:ext>
            </a:extLst>
          </p:cNvPr>
          <p:cNvSpPr txBox="1"/>
          <p:nvPr/>
        </p:nvSpPr>
        <p:spPr>
          <a:xfrm>
            <a:off x="4972812" y="2866480"/>
            <a:ext cx="1473843" cy="470805"/>
          </a:xfrm>
          <a:prstGeom prst="rect">
            <a:avLst/>
          </a:prstGeom>
          <a:noFill/>
        </p:spPr>
        <p:txBody>
          <a:bodyPr wrap="square" lIns="137102" tIns="109682" rIns="137102" bIns="109682" rtlCol="0" anchor="t">
            <a:spAutoFit/>
          </a:bodyPr>
          <a:lstStyle/>
          <a:p>
            <a:pPr algn="ctr" defTabSz="685405">
              <a:lnSpc>
                <a:spcPct val="90000"/>
              </a:lnSpc>
              <a:spcAft>
                <a:spcPts val="450"/>
              </a:spcAft>
              <a:defRPr/>
            </a:pPr>
            <a:r>
              <a:rPr lang="zh-CN" altLang="en-US" b="1">
                <a:gradFill>
                  <a:gsLst>
                    <a:gs pos="6364">
                      <a:srgbClr val="353535"/>
                    </a:gs>
                    <a:gs pos="21818">
                      <a:srgbClr val="353535"/>
                    </a:gs>
                  </a:gsLst>
                  <a:lin ang="5400000" scaled="0"/>
                </a:gradFill>
                <a:latin typeface="Segoe UI" panose="020B0502040204020203" pitchFamily="34" charset="0"/>
                <a:ea typeface="宋体" panose="02010600030101010101" pitchFamily="2" charset="-122"/>
                <a:cs typeface="Segoe UI" panose="020B0502040204020203" pitchFamily="34" charset="0"/>
              </a:rPr>
              <a:t>语言</a:t>
            </a:r>
            <a:endParaRPr lang="en-US" b="1">
              <a:gradFill>
                <a:gsLst>
                  <a:gs pos="6364">
                    <a:srgbClr val="353535"/>
                  </a:gs>
                  <a:gs pos="21818">
                    <a:srgbClr val="353535"/>
                  </a:gs>
                </a:gsLst>
                <a:lin ang="5400000" scaled="0"/>
              </a:gradFill>
              <a:latin typeface="Segoe UI" panose="020B0502040204020203" pitchFamily="34" charset="0"/>
              <a:cs typeface="Segoe UI" panose="020B0502040204020203" pitchFamily="34" charset="0"/>
            </a:endParaRPr>
          </a:p>
        </p:txBody>
      </p:sp>
      <p:sp>
        <p:nvSpPr>
          <p:cNvPr id="27" name="TextBox 51">
            <a:extLst>
              <a:ext uri="{FF2B5EF4-FFF2-40B4-BE49-F238E27FC236}">
                <a16:creationId xmlns:a16="http://schemas.microsoft.com/office/drawing/2014/main" id="{6E2C97C6-985E-44E1-A889-25DFC517B9FE}"/>
              </a:ext>
            </a:extLst>
          </p:cNvPr>
          <p:cNvSpPr txBox="1"/>
          <p:nvPr/>
        </p:nvSpPr>
        <p:spPr>
          <a:xfrm>
            <a:off x="7948628" y="2866480"/>
            <a:ext cx="1473843" cy="470805"/>
          </a:xfrm>
          <a:prstGeom prst="rect">
            <a:avLst/>
          </a:prstGeom>
          <a:noFill/>
        </p:spPr>
        <p:txBody>
          <a:bodyPr wrap="square" lIns="137102" tIns="109682" rIns="137102" bIns="109682" rtlCol="0" anchor="t">
            <a:spAutoFit/>
          </a:bodyPr>
          <a:lstStyle/>
          <a:p>
            <a:pPr algn="ctr" defTabSz="685405">
              <a:lnSpc>
                <a:spcPct val="90000"/>
              </a:lnSpc>
              <a:spcAft>
                <a:spcPts val="450"/>
              </a:spcAft>
              <a:defRPr/>
            </a:pPr>
            <a:r>
              <a:rPr lang="zh-CN" altLang="en-US" b="1">
                <a:gradFill>
                  <a:gsLst>
                    <a:gs pos="6364">
                      <a:srgbClr val="353535"/>
                    </a:gs>
                    <a:gs pos="21818">
                      <a:srgbClr val="353535"/>
                    </a:gs>
                  </a:gsLst>
                  <a:lin ang="5400000" scaled="0"/>
                </a:gradFill>
                <a:latin typeface="Segoe UI" panose="020B0502040204020203" pitchFamily="34" charset="0"/>
                <a:ea typeface="宋体" panose="02010600030101010101" pitchFamily="2" charset="-122"/>
                <a:cs typeface="Segoe UI" panose="020B0502040204020203" pitchFamily="34" charset="0"/>
              </a:rPr>
              <a:t>搜索</a:t>
            </a:r>
            <a:endParaRPr lang="en-US" b="1">
              <a:gradFill>
                <a:gsLst>
                  <a:gs pos="6364">
                    <a:srgbClr val="353535"/>
                  </a:gs>
                  <a:gs pos="21818">
                    <a:srgbClr val="353535"/>
                  </a:gs>
                </a:gsLst>
                <a:lin ang="5400000" scaled="0"/>
              </a:gradFill>
              <a:latin typeface="Segoe UI" panose="020B0502040204020203" pitchFamily="34" charset="0"/>
              <a:cs typeface="Segoe UI" panose="020B0502040204020203" pitchFamily="34" charset="0"/>
            </a:endParaRPr>
          </a:p>
        </p:txBody>
      </p:sp>
      <p:grpSp>
        <p:nvGrpSpPr>
          <p:cNvPr id="34" name="组合 33">
            <a:extLst>
              <a:ext uri="{FF2B5EF4-FFF2-40B4-BE49-F238E27FC236}">
                <a16:creationId xmlns:a16="http://schemas.microsoft.com/office/drawing/2014/main" id="{CAA67451-6B5D-466E-A295-37D6AC17759B}"/>
              </a:ext>
            </a:extLst>
          </p:cNvPr>
          <p:cNvGrpSpPr/>
          <p:nvPr/>
        </p:nvGrpSpPr>
        <p:grpSpPr>
          <a:xfrm>
            <a:off x="2322407" y="2123164"/>
            <a:ext cx="6774239" cy="822844"/>
            <a:chOff x="1724688" y="2226481"/>
            <a:chExt cx="9033601" cy="1097280"/>
          </a:xfrm>
        </p:grpSpPr>
        <p:grpSp>
          <p:nvGrpSpPr>
            <p:cNvPr id="35" name="Group 53">
              <a:extLst>
                <a:ext uri="{FF2B5EF4-FFF2-40B4-BE49-F238E27FC236}">
                  <a16:creationId xmlns:a16="http://schemas.microsoft.com/office/drawing/2014/main" id="{B2A6E025-FC29-40A1-B08A-C85B6045CE70}"/>
                </a:ext>
              </a:extLst>
            </p:cNvPr>
            <p:cNvGrpSpPr/>
            <p:nvPr/>
          </p:nvGrpSpPr>
          <p:grpSpPr>
            <a:xfrm>
              <a:off x="7677162" y="2226481"/>
              <a:ext cx="1096969" cy="1097280"/>
              <a:chOff x="6572278" y="3003552"/>
              <a:chExt cx="1097280" cy="1097280"/>
            </a:xfrm>
          </p:grpSpPr>
          <p:sp>
            <p:nvSpPr>
              <p:cNvPr id="67" name="Oval 54">
                <a:extLst>
                  <a:ext uri="{FF2B5EF4-FFF2-40B4-BE49-F238E27FC236}">
                    <a16:creationId xmlns:a16="http://schemas.microsoft.com/office/drawing/2014/main" id="{7084E9D5-941D-42C2-BC04-7472E0127827}"/>
                  </a:ext>
                </a:extLst>
              </p:cNvPr>
              <p:cNvSpPr/>
              <p:nvPr/>
            </p:nvSpPr>
            <p:spPr bwMode="auto">
              <a:xfrm>
                <a:off x="6572278" y="3003552"/>
                <a:ext cx="1097280" cy="1097280"/>
              </a:xfrm>
              <a:prstGeom prst="ellipse">
                <a:avLst/>
              </a:prstGeom>
              <a:solidFill>
                <a:schemeClr val="bg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8" name="Freeform 5">
                <a:extLst>
                  <a:ext uri="{FF2B5EF4-FFF2-40B4-BE49-F238E27FC236}">
                    <a16:creationId xmlns:a16="http://schemas.microsoft.com/office/drawing/2014/main" id="{B6740964-97A5-4A86-B871-88E1AEB13F19}"/>
                  </a:ext>
                </a:extLst>
              </p:cNvPr>
              <p:cNvSpPr>
                <a:spLocks/>
              </p:cNvSpPr>
              <p:nvPr/>
            </p:nvSpPr>
            <p:spPr bwMode="auto">
              <a:xfrm>
                <a:off x="6855819" y="3284211"/>
                <a:ext cx="535961" cy="535961"/>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0078D7"/>
              </a:solidFill>
              <a:ln>
                <a:noFill/>
              </a:ln>
            </p:spPr>
            <p:txBody>
              <a:bodyPr vert="horz" wrap="square" lIns="68561" tIns="34280" rIns="68561" bIns="34280" numCol="1" anchor="t" anchorCtr="0" compatLnSpc="1">
                <a:prstTxWarp prst="textNoShape">
                  <a:avLst/>
                </a:prstTxWarp>
              </a:bodyPr>
              <a:lstStyle/>
              <a:p>
                <a:pPr defTabSz="685537">
                  <a:defRPr/>
                </a:pPr>
                <a:endParaRPr lang="en-US" sz="1600">
                  <a:solidFill>
                    <a:srgbClr val="505050"/>
                  </a:solidFill>
                  <a:latin typeface="Segoe UI Semilight"/>
                </a:endParaRPr>
              </a:p>
            </p:txBody>
          </p:sp>
        </p:grpSp>
        <p:grpSp>
          <p:nvGrpSpPr>
            <p:cNvPr id="36" name="Group 56">
              <a:extLst>
                <a:ext uri="{FF2B5EF4-FFF2-40B4-BE49-F238E27FC236}">
                  <a16:creationId xmlns:a16="http://schemas.microsoft.com/office/drawing/2014/main" id="{321DEDAB-3B7F-450B-B503-4029BC219E2D}"/>
                </a:ext>
              </a:extLst>
            </p:cNvPr>
            <p:cNvGrpSpPr/>
            <p:nvPr/>
          </p:nvGrpSpPr>
          <p:grpSpPr>
            <a:xfrm>
              <a:off x="9661320" y="2226481"/>
              <a:ext cx="1096969" cy="1097280"/>
              <a:chOff x="8455454" y="3003552"/>
              <a:chExt cx="1097280" cy="1097280"/>
            </a:xfrm>
          </p:grpSpPr>
          <p:sp>
            <p:nvSpPr>
              <p:cNvPr id="51" name="Oval 57">
                <a:extLst>
                  <a:ext uri="{FF2B5EF4-FFF2-40B4-BE49-F238E27FC236}">
                    <a16:creationId xmlns:a16="http://schemas.microsoft.com/office/drawing/2014/main" id="{262F9A55-5DD4-4AF2-8EAE-C1D85D503C6A}"/>
                  </a:ext>
                </a:extLst>
              </p:cNvPr>
              <p:cNvSpPr/>
              <p:nvPr/>
            </p:nvSpPr>
            <p:spPr bwMode="auto">
              <a:xfrm>
                <a:off x="8455454" y="3003552"/>
                <a:ext cx="1097280" cy="1097280"/>
              </a:xfrm>
              <a:prstGeom prst="ellipse">
                <a:avLst/>
              </a:prstGeom>
              <a:solidFill>
                <a:schemeClr val="bg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nvGrpSpPr>
              <p:cNvPr id="52" name="Group 58">
                <a:extLst>
                  <a:ext uri="{FF2B5EF4-FFF2-40B4-BE49-F238E27FC236}">
                    <a16:creationId xmlns:a16="http://schemas.microsoft.com/office/drawing/2014/main" id="{2C959357-A749-437D-8653-311685B525E1}"/>
                  </a:ext>
                </a:extLst>
              </p:cNvPr>
              <p:cNvGrpSpPr/>
              <p:nvPr/>
            </p:nvGrpSpPr>
            <p:grpSpPr>
              <a:xfrm>
                <a:off x="8723741" y="3290119"/>
                <a:ext cx="560707" cy="524147"/>
                <a:chOff x="234470" y="477216"/>
                <a:chExt cx="560707" cy="524147"/>
              </a:xfrm>
            </p:grpSpPr>
            <p:sp>
              <p:nvSpPr>
                <p:cNvPr id="54" name="Freeform 14">
                  <a:extLst>
                    <a:ext uri="{FF2B5EF4-FFF2-40B4-BE49-F238E27FC236}">
                      <a16:creationId xmlns:a16="http://schemas.microsoft.com/office/drawing/2014/main" id="{3959E2E1-94FE-469B-8A74-DD588D78C158}"/>
                    </a:ext>
                  </a:extLst>
                </p:cNvPr>
                <p:cNvSpPr>
                  <a:spLocks/>
                </p:cNvSpPr>
                <p:nvPr/>
              </p:nvSpPr>
              <p:spPr bwMode="auto">
                <a:xfrm>
                  <a:off x="234470" y="823343"/>
                  <a:ext cx="187220" cy="178020"/>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1" tIns="34280" rIns="68561" bIns="34280" numCol="1" anchor="t" anchorCtr="0" compatLnSpc="1">
                  <a:prstTxWarp prst="textNoShape">
                    <a:avLst/>
                  </a:prstTxWarp>
                </a:bodyPr>
                <a:lstStyle/>
                <a:p>
                  <a:pPr defTabSz="685537">
                    <a:defRPr/>
                  </a:pPr>
                  <a:endParaRPr lang="en-US" sz="1600">
                    <a:solidFill>
                      <a:srgbClr val="505050"/>
                    </a:solidFill>
                    <a:latin typeface="Segoe UI Semilight"/>
                  </a:endParaRPr>
                </a:p>
              </p:txBody>
            </p:sp>
            <p:grpSp>
              <p:nvGrpSpPr>
                <p:cNvPr id="55" name="Group 65">
                  <a:extLst>
                    <a:ext uri="{FF2B5EF4-FFF2-40B4-BE49-F238E27FC236}">
                      <a16:creationId xmlns:a16="http://schemas.microsoft.com/office/drawing/2014/main" id="{6AD81B8B-611C-4C44-A43B-1D148C7D56E3}"/>
                    </a:ext>
                  </a:extLst>
                </p:cNvPr>
                <p:cNvGrpSpPr/>
                <p:nvPr/>
              </p:nvGrpSpPr>
              <p:grpSpPr>
                <a:xfrm>
                  <a:off x="350114" y="477216"/>
                  <a:ext cx="445063" cy="423192"/>
                  <a:chOff x="350114" y="477216"/>
                  <a:chExt cx="445063" cy="423192"/>
                </a:xfrm>
              </p:grpSpPr>
              <p:sp>
                <p:nvSpPr>
                  <p:cNvPr id="56" name="Oval 13">
                    <a:extLst>
                      <a:ext uri="{FF2B5EF4-FFF2-40B4-BE49-F238E27FC236}">
                        <a16:creationId xmlns:a16="http://schemas.microsoft.com/office/drawing/2014/main" id="{4EFABF1F-7229-436E-9EA0-D31EA283DCCD}"/>
                      </a:ext>
                    </a:extLst>
                  </p:cNvPr>
                  <p:cNvSpPr>
                    <a:spLocks noChangeArrowheads="1"/>
                  </p:cNvSpPr>
                  <p:nvPr/>
                </p:nvSpPr>
                <p:spPr bwMode="auto">
                  <a:xfrm>
                    <a:off x="350114" y="477216"/>
                    <a:ext cx="445063" cy="42319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1" tIns="34280" rIns="68561" bIns="34280" numCol="1" anchor="t" anchorCtr="0" compatLnSpc="1">
                    <a:prstTxWarp prst="textNoShape">
                      <a:avLst/>
                    </a:prstTxWarp>
                  </a:bodyPr>
                  <a:lstStyle/>
                  <a:p>
                    <a:pPr defTabSz="685537">
                      <a:defRPr/>
                    </a:pPr>
                    <a:endParaRPr lang="en-US" sz="1600">
                      <a:solidFill>
                        <a:srgbClr val="505050"/>
                      </a:solidFill>
                      <a:latin typeface="Segoe UI Semilight"/>
                    </a:endParaRPr>
                  </a:p>
                </p:txBody>
              </p:sp>
              <p:sp>
                <p:nvSpPr>
                  <p:cNvPr id="64" name="Oval 13">
                    <a:extLst>
                      <a:ext uri="{FF2B5EF4-FFF2-40B4-BE49-F238E27FC236}">
                        <a16:creationId xmlns:a16="http://schemas.microsoft.com/office/drawing/2014/main" id="{661D6C32-7174-4289-9DD6-CD28602E85B6}"/>
                      </a:ext>
                    </a:extLst>
                  </p:cNvPr>
                  <p:cNvSpPr>
                    <a:spLocks noChangeArrowheads="1"/>
                  </p:cNvSpPr>
                  <p:nvPr/>
                </p:nvSpPr>
                <p:spPr bwMode="auto">
                  <a:xfrm>
                    <a:off x="415934" y="539802"/>
                    <a:ext cx="313423" cy="298021"/>
                  </a:xfrm>
                  <a:prstGeom prst="ellipse">
                    <a:avLst/>
                  </a:prstGeom>
                  <a:solidFill>
                    <a:schemeClr val="bg1">
                      <a:lumMod val="95000"/>
                    </a:schemeClr>
                  </a:solidFill>
                  <a:ln>
                    <a:noFill/>
                  </a:ln>
                </p:spPr>
                <p:txBody>
                  <a:bodyPr vert="horz" wrap="square" lIns="68561" tIns="34280" rIns="68561" bIns="34280" numCol="1" anchor="t" anchorCtr="0" compatLnSpc="1">
                    <a:prstTxWarp prst="textNoShape">
                      <a:avLst/>
                    </a:prstTxWarp>
                  </a:bodyPr>
                  <a:lstStyle/>
                  <a:p>
                    <a:pPr defTabSz="685537">
                      <a:defRPr/>
                    </a:pPr>
                    <a:endParaRPr lang="en-US" sz="1600">
                      <a:solidFill>
                        <a:srgbClr val="505050"/>
                      </a:solidFill>
                      <a:latin typeface="Segoe UI Semilight"/>
                    </a:endParaRPr>
                  </a:p>
                </p:txBody>
              </p:sp>
            </p:grpSp>
          </p:grpSp>
        </p:grpSp>
        <p:grpSp>
          <p:nvGrpSpPr>
            <p:cNvPr id="37" name="Group 94">
              <a:extLst>
                <a:ext uri="{FF2B5EF4-FFF2-40B4-BE49-F238E27FC236}">
                  <a16:creationId xmlns:a16="http://schemas.microsoft.com/office/drawing/2014/main" id="{F8A73C1F-19C7-4424-AF0A-EE053ABD3EA0}"/>
                </a:ext>
              </a:extLst>
            </p:cNvPr>
            <p:cNvGrpSpPr/>
            <p:nvPr/>
          </p:nvGrpSpPr>
          <p:grpSpPr>
            <a:xfrm>
              <a:off x="1724688" y="2226481"/>
              <a:ext cx="1096969" cy="1097280"/>
              <a:chOff x="1635346" y="1767983"/>
              <a:chExt cx="1287898" cy="1287898"/>
            </a:xfrm>
          </p:grpSpPr>
          <p:sp>
            <p:nvSpPr>
              <p:cNvPr id="46" name="Oval 95">
                <a:extLst>
                  <a:ext uri="{FF2B5EF4-FFF2-40B4-BE49-F238E27FC236}">
                    <a16:creationId xmlns:a16="http://schemas.microsoft.com/office/drawing/2014/main" id="{877A28A7-BC66-40F4-A3FB-172996540F80}"/>
                  </a:ext>
                </a:extLst>
              </p:cNvPr>
              <p:cNvSpPr/>
              <p:nvPr/>
            </p:nvSpPr>
            <p:spPr bwMode="auto">
              <a:xfrm>
                <a:off x="1635346" y="1767983"/>
                <a:ext cx="1287898" cy="1287898"/>
              </a:xfrm>
              <a:prstGeom prst="ellipse">
                <a:avLst/>
              </a:prstGeom>
              <a:solidFill>
                <a:schemeClr val="bg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50" name="Picture 96">
                <a:extLst>
                  <a:ext uri="{FF2B5EF4-FFF2-40B4-BE49-F238E27FC236}">
                    <a16:creationId xmlns:a16="http://schemas.microsoft.com/office/drawing/2014/main" id="{F319BF66-D498-489C-9736-080443C83A5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25964" t="13315" r="25964" b="13315"/>
              <a:stretch/>
            </p:blipFill>
            <p:spPr>
              <a:xfrm>
                <a:off x="1739307" y="2000770"/>
                <a:ext cx="1079976" cy="822324"/>
              </a:xfrm>
              <a:prstGeom prst="rect">
                <a:avLst/>
              </a:prstGeom>
            </p:spPr>
          </p:pic>
        </p:grpSp>
        <p:grpSp>
          <p:nvGrpSpPr>
            <p:cNvPr id="38" name="Group 97">
              <a:extLst>
                <a:ext uri="{FF2B5EF4-FFF2-40B4-BE49-F238E27FC236}">
                  <a16:creationId xmlns:a16="http://schemas.microsoft.com/office/drawing/2014/main" id="{AADE97F4-A035-4040-9955-AB7B4DA200E0}"/>
                </a:ext>
              </a:extLst>
            </p:cNvPr>
            <p:cNvGrpSpPr/>
            <p:nvPr/>
          </p:nvGrpSpPr>
          <p:grpSpPr>
            <a:xfrm>
              <a:off x="3708846" y="2226481"/>
              <a:ext cx="1096969" cy="1097280"/>
              <a:chOff x="1920558" y="3040063"/>
              <a:chExt cx="1097280" cy="1097280"/>
            </a:xfrm>
          </p:grpSpPr>
          <p:sp>
            <p:nvSpPr>
              <p:cNvPr id="44" name="Oval 98">
                <a:extLst>
                  <a:ext uri="{FF2B5EF4-FFF2-40B4-BE49-F238E27FC236}">
                    <a16:creationId xmlns:a16="http://schemas.microsoft.com/office/drawing/2014/main" id="{C573CBF7-EA71-4F16-9FF7-F28A454AAF65}"/>
                  </a:ext>
                </a:extLst>
              </p:cNvPr>
              <p:cNvSpPr/>
              <p:nvPr/>
            </p:nvSpPr>
            <p:spPr bwMode="auto">
              <a:xfrm>
                <a:off x="1920558" y="3040063"/>
                <a:ext cx="1097280" cy="1097280"/>
              </a:xfrm>
              <a:prstGeom prst="ellipse">
                <a:avLst/>
              </a:prstGeom>
              <a:solidFill>
                <a:schemeClr val="bg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pic>
            <p:nvPicPr>
              <p:cNvPr id="45" name="Picture 99">
                <a:extLst>
                  <a:ext uri="{FF2B5EF4-FFF2-40B4-BE49-F238E27FC236}">
                    <a16:creationId xmlns:a16="http://schemas.microsoft.com/office/drawing/2014/main" id="{DC56EF01-207F-4102-8D71-FD6481EC974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32236" t="18542" r="32236" b="18542"/>
              <a:stretch/>
            </p:blipFill>
            <p:spPr>
              <a:xfrm>
                <a:off x="2170133" y="3346393"/>
                <a:ext cx="596123" cy="526818"/>
              </a:xfrm>
              <a:prstGeom prst="rect">
                <a:avLst/>
              </a:prstGeom>
            </p:spPr>
          </p:pic>
        </p:grpSp>
        <p:grpSp>
          <p:nvGrpSpPr>
            <p:cNvPr id="40" name="Group 100">
              <a:extLst>
                <a:ext uri="{FF2B5EF4-FFF2-40B4-BE49-F238E27FC236}">
                  <a16:creationId xmlns:a16="http://schemas.microsoft.com/office/drawing/2014/main" id="{DE87A73A-CBC6-45F5-9130-DA5D5384D5FC}"/>
                </a:ext>
              </a:extLst>
            </p:cNvPr>
            <p:cNvGrpSpPr/>
            <p:nvPr/>
          </p:nvGrpSpPr>
          <p:grpSpPr>
            <a:xfrm>
              <a:off x="5693004" y="2226481"/>
              <a:ext cx="1096969" cy="1097280"/>
              <a:chOff x="4855674" y="5840868"/>
              <a:chExt cx="1097280" cy="1097280"/>
            </a:xfrm>
          </p:grpSpPr>
          <p:sp>
            <p:nvSpPr>
              <p:cNvPr id="42" name="Oval 101">
                <a:extLst>
                  <a:ext uri="{FF2B5EF4-FFF2-40B4-BE49-F238E27FC236}">
                    <a16:creationId xmlns:a16="http://schemas.microsoft.com/office/drawing/2014/main" id="{10A1D2C5-A352-4F17-B1D8-7EC284A04F93}"/>
                  </a:ext>
                </a:extLst>
              </p:cNvPr>
              <p:cNvSpPr/>
              <p:nvPr/>
            </p:nvSpPr>
            <p:spPr bwMode="auto">
              <a:xfrm>
                <a:off x="4855674" y="5840868"/>
                <a:ext cx="1097280" cy="1097280"/>
              </a:xfrm>
              <a:prstGeom prst="ellipse">
                <a:avLst/>
              </a:prstGeom>
              <a:solidFill>
                <a:schemeClr val="bg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43" name="Freeform 9">
                <a:extLst>
                  <a:ext uri="{FF2B5EF4-FFF2-40B4-BE49-F238E27FC236}">
                    <a16:creationId xmlns:a16="http://schemas.microsoft.com/office/drawing/2014/main" id="{018A9B1E-02E2-468D-8323-B7AFC069B6F7}"/>
                  </a:ext>
                </a:extLst>
              </p:cNvPr>
              <p:cNvSpPr>
                <a:spLocks noChangeAspect="1"/>
              </p:cNvSpPr>
              <p:nvPr/>
            </p:nvSpPr>
            <p:spPr bwMode="auto">
              <a:xfrm>
                <a:off x="5191676" y="6122120"/>
                <a:ext cx="425276" cy="534776"/>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0078D7"/>
              </a:solidFill>
              <a:ln>
                <a:noFill/>
              </a:ln>
            </p:spPr>
            <p:txBody>
              <a:bodyPr vert="horz" wrap="square" lIns="68561" tIns="34280" rIns="68561" bIns="34280" numCol="1" anchor="t" anchorCtr="0" compatLnSpc="1">
                <a:prstTxWarp prst="textNoShape">
                  <a:avLst/>
                </a:prstTxWarp>
              </a:bodyPr>
              <a:lstStyle/>
              <a:p>
                <a:pPr defTabSz="685537">
                  <a:defRPr/>
                </a:pPr>
                <a:endParaRPr lang="en-US" sz="1600">
                  <a:solidFill>
                    <a:srgbClr val="505050"/>
                  </a:solidFill>
                  <a:latin typeface="Segoe UI Semilight"/>
                </a:endParaRPr>
              </a:p>
            </p:txBody>
          </p:sp>
        </p:grpSp>
      </p:grpSp>
      <p:sp>
        <p:nvSpPr>
          <p:cNvPr id="69" name="Rectangle 113">
            <a:extLst>
              <a:ext uri="{FF2B5EF4-FFF2-40B4-BE49-F238E27FC236}">
                <a16:creationId xmlns:a16="http://schemas.microsoft.com/office/drawing/2014/main" id="{7D2D0886-1393-42D3-9984-4206801D8CB3}"/>
              </a:ext>
            </a:extLst>
          </p:cNvPr>
          <p:cNvSpPr/>
          <p:nvPr/>
        </p:nvSpPr>
        <p:spPr>
          <a:xfrm>
            <a:off x="1972111" y="3314611"/>
            <a:ext cx="1593745" cy="1779974"/>
          </a:xfrm>
          <a:prstGeom prst="rect">
            <a:avLst/>
          </a:prstGeom>
        </p:spPr>
        <p:txBody>
          <a:bodyPr wrap="square">
            <a:spAutoFit/>
          </a:bodyPr>
          <a:lstStyle/>
          <a:p>
            <a:pPr algn="ctr" defTabSz="699382">
              <a:lnSpc>
                <a:spcPct val="90000"/>
              </a:lnSpc>
              <a:spcAft>
                <a:spcPts val="1350"/>
              </a:spcAft>
              <a:defRPr/>
            </a:pPr>
            <a:r>
              <a:rPr lang="zh-CN" altLang="en-US" sz="1400">
                <a:solidFill>
                  <a:prstClr val="black">
                    <a:lumMod val="75000"/>
                    <a:lumOff val="25000"/>
                  </a:prstClr>
                </a:solidFill>
                <a:latin typeface="Segoe UI" panose="020B0502040204020203" pitchFamily="34" charset="0"/>
                <a:ea typeface="宋体" panose="02010600030101010101" pitchFamily="2" charset="-122"/>
                <a:cs typeface="Segoe UI" panose="020B0502040204020203" pitchFamily="34" charset="0"/>
                <a:sym typeface="Segoe UI" panose="020B0502040204020203" pitchFamily="34" charset="0"/>
              </a:rPr>
              <a:t>计算机影像</a:t>
            </a:r>
            <a:endParaRPr lang="en-US" sz="1400">
              <a:solidFill>
                <a:prstClr val="black">
                  <a:lumMod val="75000"/>
                  <a:lumOff val="25000"/>
                </a:prstClr>
              </a:solidFill>
              <a:latin typeface="Segoe UI" panose="020B0502040204020203" pitchFamily="34" charset="0"/>
              <a:cs typeface="Segoe UI" panose="020B0502040204020203" pitchFamily="34" charset="0"/>
              <a:sym typeface="Segoe UI" panose="020B0502040204020203" pitchFamily="34" charset="0"/>
            </a:endParaRPr>
          </a:p>
          <a:p>
            <a:pPr algn="ctr" defTabSz="699382">
              <a:lnSpc>
                <a:spcPct val="90000"/>
              </a:lnSpc>
              <a:spcAft>
                <a:spcPts val="1350"/>
              </a:spcAft>
              <a:defRPr/>
            </a:pPr>
            <a:r>
              <a:rPr lang="zh-CN" altLang="en-US" sz="1400">
                <a:solidFill>
                  <a:prstClr val="black">
                    <a:lumMod val="75000"/>
                    <a:lumOff val="25000"/>
                  </a:prstClr>
                </a:solidFill>
                <a:latin typeface="Segoe UI" panose="020B0502040204020203" pitchFamily="34" charset="0"/>
                <a:ea typeface="宋体" panose="02010600030101010101" pitchFamily="2" charset="-122"/>
                <a:cs typeface="Segoe UI" panose="020B0502040204020203" pitchFamily="34" charset="0"/>
                <a:sym typeface="Segoe UI" panose="020B0502040204020203" pitchFamily="34" charset="0"/>
              </a:rPr>
              <a:t>人脸</a:t>
            </a:r>
            <a:endParaRPr lang="en-US" sz="1400">
              <a:solidFill>
                <a:prstClr val="black">
                  <a:lumMod val="75000"/>
                  <a:lumOff val="25000"/>
                </a:prstClr>
              </a:solidFill>
              <a:latin typeface="Segoe UI" panose="020B0502040204020203" pitchFamily="34" charset="0"/>
              <a:cs typeface="Segoe UI" panose="020B0502040204020203" pitchFamily="34" charset="0"/>
              <a:sym typeface="Segoe UI" panose="020B0502040204020203" pitchFamily="34" charset="0"/>
            </a:endParaRPr>
          </a:p>
          <a:p>
            <a:pPr algn="ctr" defTabSz="699382">
              <a:lnSpc>
                <a:spcPct val="90000"/>
              </a:lnSpc>
              <a:spcAft>
                <a:spcPts val="1350"/>
              </a:spcAft>
              <a:defRPr/>
            </a:pPr>
            <a:r>
              <a:rPr lang="zh-CN" altLang="en-US" sz="1400">
                <a:solidFill>
                  <a:prstClr val="black">
                    <a:lumMod val="75000"/>
                    <a:lumOff val="25000"/>
                  </a:prstClr>
                </a:solidFill>
                <a:latin typeface="Segoe UI" panose="020B0502040204020203" pitchFamily="34" charset="0"/>
                <a:ea typeface="宋体" panose="02010600030101010101" pitchFamily="2" charset="-122"/>
                <a:cs typeface="Segoe UI" panose="020B0502040204020203" pitchFamily="34" charset="0"/>
                <a:sym typeface="Segoe UI" panose="020B0502040204020203" pitchFamily="34" charset="0"/>
              </a:rPr>
              <a:t>视频索引器</a:t>
            </a:r>
            <a:endParaRPr lang="en-US" altLang="zh-CN" sz="1400">
              <a:solidFill>
                <a:prstClr val="black">
                  <a:lumMod val="75000"/>
                  <a:lumOff val="25000"/>
                </a:prstClr>
              </a:solidFill>
              <a:latin typeface="Segoe UI" panose="020B0502040204020203" pitchFamily="34" charset="0"/>
              <a:ea typeface="宋体" panose="02010600030101010101" pitchFamily="2" charset="-122"/>
              <a:cs typeface="Segoe UI" panose="020B0502040204020203" pitchFamily="34" charset="0"/>
              <a:sym typeface="Segoe UI" panose="020B0502040204020203" pitchFamily="34" charset="0"/>
            </a:endParaRPr>
          </a:p>
          <a:p>
            <a:pPr algn="ctr" defTabSz="699382">
              <a:lnSpc>
                <a:spcPct val="90000"/>
              </a:lnSpc>
              <a:spcAft>
                <a:spcPts val="1350"/>
              </a:spcAft>
              <a:defRPr/>
            </a:pPr>
            <a:r>
              <a:rPr lang="zh-CN" altLang="en-US" sz="1400">
                <a:solidFill>
                  <a:prstClr val="black">
                    <a:lumMod val="75000"/>
                    <a:lumOff val="25000"/>
                  </a:prstClr>
                </a:solidFill>
                <a:latin typeface="Segoe UI" panose="020B0502040204020203" pitchFamily="34" charset="0"/>
                <a:ea typeface="宋体" panose="02010600030101010101" pitchFamily="2" charset="-122"/>
                <a:cs typeface="Segoe UI" panose="020B0502040204020203" pitchFamily="34" charset="0"/>
                <a:sym typeface="Segoe UI" panose="020B0502040204020203" pitchFamily="34" charset="0"/>
              </a:rPr>
              <a:t>内容审查器</a:t>
            </a:r>
            <a:endParaRPr lang="en-US" sz="1400">
              <a:solidFill>
                <a:prstClr val="black">
                  <a:lumMod val="75000"/>
                  <a:lumOff val="25000"/>
                </a:prstClr>
              </a:solidFill>
              <a:latin typeface="Segoe UI" panose="020B0502040204020203" pitchFamily="34" charset="0"/>
              <a:cs typeface="Segoe UI" panose="020B0502040204020203" pitchFamily="34" charset="0"/>
              <a:sym typeface="Segoe UI" panose="020B0502040204020203" pitchFamily="34" charset="0"/>
            </a:endParaRPr>
          </a:p>
          <a:p>
            <a:pPr algn="ctr" defTabSz="699382">
              <a:lnSpc>
                <a:spcPct val="90000"/>
              </a:lnSpc>
              <a:spcAft>
                <a:spcPts val="1350"/>
              </a:spcAft>
              <a:defRPr/>
            </a:pPr>
            <a:r>
              <a:rPr lang="zh-CN" altLang="en-US" sz="1400">
                <a:solidFill>
                  <a:prstClr val="black">
                    <a:lumMod val="75000"/>
                    <a:lumOff val="25000"/>
                  </a:prstClr>
                </a:solidFill>
                <a:latin typeface="Segoe UI" panose="020B0502040204020203" pitchFamily="34" charset="0"/>
                <a:ea typeface="宋体" panose="02010600030101010101" pitchFamily="2" charset="-122"/>
                <a:cs typeface="Segoe UI" panose="020B0502040204020203" pitchFamily="34" charset="0"/>
                <a:sym typeface="Segoe UI" panose="020B0502040204020203" pitchFamily="34" charset="0"/>
              </a:rPr>
              <a:t>自定义视觉</a:t>
            </a:r>
            <a:endParaRPr lang="en-US" sz="1400">
              <a:solidFill>
                <a:prstClr val="black">
                  <a:lumMod val="75000"/>
                  <a:lumOff val="25000"/>
                </a:prstClr>
              </a:solidFill>
              <a:latin typeface="Segoe UI" panose="020B0502040204020203" pitchFamily="34" charset="0"/>
              <a:cs typeface="Segoe UI" panose="020B0502040204020203" pitchFamily="34" charset="0"/>
              <a:sym typeface="Segoe UI" panose="020B0502040204020203" pitchFamily="34" charset="0"/>
            </a:endParaRPr>
          </a:p>
        </p:txBody>
      </p:sp>
      <p:sp>
        <p:nvSpPr>
          <p:cNvPr id="70" name="TextBox 115">
            <a:extLst>
              <a:ext uri="{FF2B5EF4-FFF2-40B4-BE49-F238E27FC236}">
                <a16:creationId xmlns:a16="http://schemas.microsoft.com/office/drawing/2014/main" id="{A4F91956-02AD-46B8-B2BD-C52681019EA2}"/>
              </a:ext>
            </a:extLst>
          </p:cNvPr>
          <p:cNvSpPr txBox="1"/>
          <p:nvPr/>
        </p:nvSpPr>
        <p:spPr>
          <a:xfrm>
            <a:off x="7981980" y="3314612"/>
            <a:ext cx="1524262" cy="2900281"/>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699382">
              <a:lnSpc>
                <a:spcPct val="90000"/>
              </a:lnSpc>
              <a:spcAft>
                <a:spcPts val="1350"/>
              </a:spcAft>
              <a:defRPr/>
            </a:pPr>
            <a:r>
              <a:rPr lang="zh-CN" altLang="en-US" sz="1400">
                <a:solidFill>
                  <a:prstClr val="black">
                    <a:lumMod val="75000"/>
                    <a:lumOff val="25000"/>
                  </a:prstClr>
                </a:solidFill>
                <a:ea typeface="宋体" panose="02010600030101010101" pitchFamily="2" charset="-122"/>
                <a:sym typeface="Segoe UI" panose="020B0502040204020203" pitchFamily="34" charset="0"/>
              </a:rPr>
              <a:t>必应</a:t>
            </a:r>
            <a:r>
              <a:rPr lang="en-US" altLang="zh-CN" sz="1400">
                <a:solidFill>
                  <a:prstClr val="black">
                    <a:lumMod val="75000"/>
                    <a:lumOff val="25000"/>
                  </a:prstClr>
                </a:solidFill>
                <a:ea typeface="宋体" panose="02010600030101010101" pitchFamily="2" charset="-122"/>
                <a:sym typeface="Segoe UI" panose="020B0502040204020203" pitchFamily="34" charset="0"/>
              </a:rPr>
              <a:t>Web </a:t>
            </a:r>
            <a:r>
              <a:rPr lang="zh-CN" altLang="en-US" sz="1400">
                <a:solidFill>
                  <a:prstClr val="black">
                    <a:lumMod val="75000"/>
                    <a:lumOff val="25000"/>
                  </a:prstClr>
                </a:solidFill>
                <a:ea typeface="宋体" panose="02010600030101010101" pitchFamily="2" charset="-122"/>
                <a:sym typeface="Segoe UI" panose="020B0502040204020203" pitchFamily="34" charset="0"/>
              </a:rPr>
              <a:t>搜索</a:t>
            </a:r>
            <a:endParaRPr lang="en-US" altLang="zh-CN" sz="1400">
              <a:solidFill>
                <a:prstClr val="black">
                  <a:lumMod val="75000"/>
                  <a:lumOff val="25000"/>
                </a:prstClr>
              </a:solidFill>
              <a:ea typeface="宋体" panose="02010600030101010101" pitchFamily="2" charset="-122"/>
              <a:sym typeface="Segoe UI" panose="020B0502040204020203" pitchFamily="34" charset="0"/>
            </a:endParaRPr>
          </a:p>
          <a:p>
            <a:pPr defTabSz="699382">
              <a:lnSpc>
                <a:spcPct val="90000"/>
              </a:lnSpc>
              <a:spcAft>
                <a:spcPts val="1350"/>
              </a:spcAft>
              <a:defRPr/>
            </a:pPr>
            <a:r>
              <a:rPr lang="zh-CN" altLang="en-US" sz="1400">
                <a:solidFill>
                  <a:prstClr val="black">
                    <a:lumMod val="75000"/>
                    <a:lumOff val="25000"/>
                  </a:prstClr>
                </a:solidFill>
                <a:ea typeface="宋体" panose="02010600030101010101" pitchFamily="2" charset="-122"/>
                <a:sym typeface="Segoe UI" panose="020B0502040204020203" pitchFamily="34" charset="0"/>
              </a:rPr>
              <a:t>必应视觉搜索</a:t>
            </a:r>
            <a:endParaRPr lang="en-US" altLang="zh-CN" sz="1400">
              <a:solidFill>
                <a:prstClr val="black">
                  <a:lumMod val="75000"/>
                  <a:lumOff val="25000"/>
                </a:prstClr>
              </a:solidFill>
              <a:ea typeface="宋体" panose="02010600030101010101" pitchFamily="2" charset="-122"/>
              <a:sym typeface="Segoe UI" panose="020B0502040204020203" pitchFamily="34" charset="0"/>
            </a:endParaRPr>
          </a:p>
          <a:p>
            <a:pPr defTabSz="699382">
              <a:lnSpc>
                <a:spcPct val="90000"/>
              </a:lnSpc>
              <a:spcAft>
                <a:spcPts val="1350"/>
              </a:spcAft>
              <a:defRPr/>
            </a:pPr>
            <a:r>
              <a:rPr lang="zh-CN" altLang="en-US" sz="1400">
                <a:solidFill>
                  <a:prstClr val="black">
                    <a:lumMod val="75000"/>
                    <a:lumOff val="25000"/>
                  </a:prstClr>
                </a:solidFill>
                <a:ea typeface="宋体" panose="02010600030101010101" pitchFamily="2" charset="-122"/>
                <a:sym typeface="Segoe UI" panose="020B0502040204020203" pitchFamily="34" charset="0"/>
              </a:rPr>
              <a:t>必应自定义搜索</a:t>
            </a:r>
            <a:endParaRPr lang="en-US" sz="1400">
              <a:solidFill>
                <a:prstClr val="black">
                  <a:lumMod val="75000"/>
                  <a:lumOff val="25000"/>
                </a:prstClr>
              </a:solidFill>
              <a:sym typeface="Segoe UI" panose="020B0502040204020203" pitchFamily="34" charset="0"/>
            </a:endParaRPr>
          </a:p>
          <a:p>
            <a:pPr defTabSz="699382">
              <a:lnSpc>
                <a:spcPct val="90000"/>
              </a:lnSpc>
              <a:spcAft>
                <a:spcPts val="1350"/>
              </a:spcAft>
              <a:defRPr/>
            </a:pPr>
            <a:r>
              <a:rPr lang="zh-CN" altLang="en-US" sz="1400">
                <a:solidFill>
                  <a:prstClr val="black">
                    <a:lumMod val="75000"/>
                    <a:lumOff val="25000"/>
                  </a:prstClr>
                </a:solidFill>
                <a:ea typeface="宋体" panose="02010600030101010101" pitchFamily="2" charset="-122"/>
                <a:sym typeface="Segoe UI" panose="020B0502040204020203" pitchFamily="34" charset="0"/>
              </a:rPr>
              <a:t>必应实体搜索</a:t>
            </a:r>
            <a:endParaRPr lang="en-US" altLang="zh-CN" sz="1400">
              <a:solidFill>
                <a:prstClr val="black">
                  <a:lumMod val="75000"/>
                  <a:lumOff val="25000"/>
                </a:prstClr>
              </a:solidFill>
              <a:ea typeface="宋体" panose="02010600030101010101" pitchFamily="2" charset="-122"/>
              <a:sym typeface="Segoe UI" panose="020B0502040204020203" pitchFamily="34" charset="0"/>
            </a:endParaRPr>
          </a:p>
          <a:p>
            <a:pPr defTabSz="699382">
              <a:lnSpc>
                <a:spcPct val="90000"/>
              </a:lnSpc>
              <a:spcAft>
                <a:spcPts val="1350"/>
              </a:spcAft>
              <a:defRPr/>
            </a:pPr>
            <a:r>
              <a:rPr lang="zh-CN" altLang="en-US" sz="1400">
                <a:solidFill>
                  <a:prstClr val="black">
                    <a:lumMod val="75000"/>
                    <a:lumOff val="25000"/>
                  </a:prstClr>
                </a:solidFill>
                <a:ea typeface="宋体" panose="02010600030101010101" pitchFamily="2" charset="-122"/>
                <a:sym typeface="Segoe UI" panose="020B0502040204020203" pitchFamily="34" charset="0"/>
              </a:rPr>
              <a:t>必应视频搜索</a:t>
            </a:r>
            <a:endParaRPr lang="en-US" sz="1400">
              <a:solidFill>
                <a:prstClr val="black">
                  <a:lumMod val="75000"/>
                  <a:lumOff val="25000"/>
                </a:prstClr>
              </a:solidFill>
              <a:sym typeface="Segoe UI" panose="020B0502040204020203" pitchFamily="34" charset="0"/>
            </a:endParaRPr>
          </a:p>
          <a:p>
            <a:pPr defTabSz="699382">
              <a:lnSpc>
                <a:spcPct val="90000"/>
              </a:lnSpc>
              <a:spcAft>
                <a:spcPts val="1350"/>
              </a:spcAft>
              <a:defRPr/>
            </a:pPr>
            <a:r>
              <a:rPr lang="zh-CN" altLang="en-US" sz="1400">
                <a:solidFill>
                  <a:prstClr val="black">
                    <a:lumMod val="75000"/>
                    <a:lumOff val="25000"/>
                  </a:prstClr>
                </a:solidFill>
                <a:ea typeface="宋体" panose="02010600030101010101" pitchFamily="2" charset="-122"/>
                <a:sym typeface="Segoe UI" panose="020B0502040204020203" pitchFamily="34" charset="0"/>
              </a:rPr>
              <a:t>必应新闻搜索</a:t>
            </a:r>
            <a:endParaRPr lang="en-US" sz="1400">
              <a:solidFill>
                <a:prstClr val="black">
                  <a:lumMod val="75000"/>
                  <a:lumOff val="25000"/>
                </a:prstClr>
              </a:solidFill>
              <a:sym typeface="Segoe UI" panose="020B0502040204020203" pitchFamily="34" charset="0"/>
            </a:endParaRPr>
          </a:p>
          <a:p>
            <a:pPr defTabSz="699382">
              <a:lnSpc>
                <a:spcPct val="90000"/>
              </a:lnSpc>
              <a:spcAft>
                <a:spcPts val="1350"/>
              </a:spcAft>
              <a:defRPr/>
            </a:pPr>
            <a:r>
              <a:rPr lang="zh-CN" altLang="en-US" sz="1400">
                <a:solidFill>
                  <a:prstClr val="black">
                    <a:lumMod val="75000"/>
                    <a:lumOff val="25000"/>
                  </a:prstClr>
                </a:solidFill>
                <a:ea typeface="宋体" panose="02010600030101010101" pitchFamily="2" charset="-122"/>
                <a:sym typeface="Segoe UI" panose="020B0502040204020203" pitchFamily="34" charset="0"/>
              </a:rPr>
              <a:t>必应图像搜索</a:t>
            </a:r>
            <a:endParaRPr lang="en-US" altLang="zh-CN" sz="1400">
              <a:solidFill>
                <a:prstClr val="black">
                  <a:lumMod val="75000"/>
                  <a:lumOff val="25000"/>
                </a:prstClr>
              </a:solidFill>
              <a:ea typeface="宋体" panose="02010600030101010101" pitchFamily="2" charset="-122"/>
              <a:sym typeface="Segoe UI" panose="020B0502040204020203" pitchFamily="34" charset="0"/>
            </a:endParaRPr>
          </a:p>
          <a:p>
            <a:pPr defTabSz="699382">
              <a:lnSpc>
                <a:spcPct val="90000"/>
              </a:lnSpc>
              <a:spcAft>
                <a:spcPts val="1350"/>
              </a:spcAft>
              <a:defRPr/>
            </a:pPr>
            <a:r>
              <a:rPr lang="zh-CN" altLang="en-US" sz="1400">
                <a:solidFill>
                  <a:prstClr val="black">
                    <a:lumMod val="75000"/>
                    <a:lumOff val="25000"/>
                  </a:prstClr>
                </a:solidFill>
                <a:ea typeface="宋体" panose="02010600030101010101" pitchFamily="2" charset="-122"/>
                <a:sym typeface="Segoe UI" panose="020B0502040204020203" pitchFamily="34" charset="0"/>
              </a:rPr>
              <a:t>必应自动推荐</a:t>
            </a:r>
            <a:endParaRPr lang="en-US" sz="1400">
              <a:solidFill>
                <a:prstClr val="black">
                  <a:lumMod val="75000"/>
                  <a:lumOff val="25000"/>
                </a:prstClr>
              </a:solidFill>
              <a:sym typeface="Segoe UI" panose="020B0502040204020203" pitchFamily="34" charset="0"/>
            </a:endParaRPr>
          </a:p>
        </p:txBody>
      </p:sp>
      <p:sp>
        <p:nvSpPr>
          <p:cNvPr id="71" name="TextBox 116">
            <a:extLst>
              <a:ext uri="{FF2B5EF4-FFF2-40B4-BE49-F238E27FC236}">
                <a16:creationId xmlns:a16="http://schemas.microsoft.com/office/drawing/2014/main" id="{79AB277E-C355-4A57-A922-FF3F27B138F3}"/>
              </a:ext>
            </a:extLst>
          </p:cNvPr>
          <p:cNvSpPr txBox="1"/>
          <p:nvPr/>
        </p:nvSpPr>
        <p:spPr>
          <a:xfrm>
            <a:off x="6455343" y="3314612"/>
            <a:ext cx="1604111" cy="659668"/>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699382">
              <a:lnSpc>
                <a:spcPct val="90000"/>
              </a:lnSpc>
              <a:spcAft>
                <a:spcPts val="1350"/>
              </a:spcAft>
              <a:defRPr/>
            </a:pPr>
            <a:r>
              <a:rPr lang="en-US" sz="1400" err="1">
                <a:solidFill>
                  <a:prstClr val="black">
                    <a:lumMod val="75000"/>
                    <a:lumOff val="25000"/>
                  </a:prstClr>
                </a:solidFill>
                <a:sym typeface="Segoe UI" panose="020B0502040204020203" pitchFamily="34" charset="0"/>
              </a:rPr>
              <a:t>QnA</a:t>
            </a:r>
            <a:r>
              <a:rPr lang="en-US" sz="1400">
                <a:solidFill>
                  <a:prstClr val="black">
                    <a:lumMod val="75000"/>
                    <a:lumOff val="25000"/>
                  </a:prstClr>
                </a:solidFill>
                <a:sym typeface="Segoe UI" panose="020B0502040204020203" pitchFamily="34" charset="0"/>
              </a:rPr>
              <a:t> </a:t>
            </a:r>
            <a:r>
              <a:rPr lang="en-US" altLang="zh-CN" sz="1400">
                <a:solidFill>
                  <a:prstClr val="black">
                    <a:lumMod val="75000"/>
                    <a:lumOff val="25000"/>
                  </a:prstClr>
                </a:solidFill>
                <a:ea typeface="宋体" panose="02010600030101010101" pitchFamily="2" charset="-122"/>
                <a:sym typeface="Segoe UI" panose="020B0502040204020203" pitchFamily="34" charset="0"/>
              </a:rPr>
              <a:t>Maker</a:t>
            </a:r>
            <a:endParaRPr lang="en-US" sz="1400">
              <a:solidFill>
                <a:prstClr val="black">
                  <a:lumMod val="75000"/>
                  <a:lumOff val="25000"/>
                </a:prstClr>
              </a:solidFill>
              <a:sym typeface="Segoe UI" panose="020B0502040204020203" pitchFamily="34" charset="0"/>
            </a:endParaRPr>
          </a:p>
          <a:p>
            <a:pPr defTabSz="699382">
              <a:lnSpc>
                <a:spcPct val="90000"/>
              </a:lnSpc>
              <a:spcAft>
                <a:spcPts val="1350"/>
              </a:spcAft>
              <a:defRPr/>
            </a:pPr>
            <a:r>
              <a:rPr lang="zh-CN" altLang="en-US" sz="1400">
                <a:solidFill>
                  <a:prstClr val="black">
                    <a:lumMod val="75000"/>
                    <a:lumOff val="25000"/>
                  </a:prstClr>
                </a:solidFill>
                <a:ea typeface="宋体" panose="02010600030101010101" pitchFamily="2" charset="-122"/>
                <a:sym typeface="Segoe UI" panose="020B0502040204020203" pitchFamily="34" charset="0"/>
              </a:rPr>
              <a:t>自定义决策服务</a:t>
            </a:r>
            <a:endParaRPr lang="en-US" sz="1400">
              <a:solidFill>
                <a:prstClr val="black">
                  <a:lumMod val="75000"/>
                  <a:lumOff val="25000"/>
                </a:prstClr>
              </a:solidFill>
              <a:sym typeface="Segoe UI" panose="020B0502040204020203" pitchFamily="34" charset="0"/>
            </a:endParaRPr>
          </a:p>
        </p:txBody>
      </p:sp>
      <p:sp>
        <p:nvSpPr>
          <p:cNvPr id="72" name="TextBox 117">
            <a:extLst>
              <a:ext uri="{FF2B5EF4-FFF2-40B4-BE49-F238E27FC236}">
                <a16:creationId xmlns:a16="http://schemas.microsoft.com/office/drawing/2014/main" id="{26A168C3-3BEF-4F1C-91E2-353F3BAAD4F8}"/>
              </a:ext>
            </a:extLst>
          </p:cNvPr>
          <p:cNvSpPr txBox="1"/>
          <p:nvPr/>
        </p:nvSpPr>
        <p:spPr>
          <a:xfrm>
            <a:off x="4994777" y="3314611"/>
            <a:ext cx="1511876" cy="1779974"/>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699382">
              <a:lnSpc>
                <a:spcPct val="90000"/>
              </a:lnSpc>
              <a:spcAft>
                <a:spcPts val="1350"/>
              </a:spcAft>
              <a:defRPr/>
            </a:pPr>
            <a:r>
              <a:rPr lang="zh-CN" altLang="en-US" sz="1400">
                <a:solidFill>
                  <a:prstClr val="black">
                    <a:lumMod val="75000"/>
                    <a:lumOff val="25000"/>
                  </a:prstClr>
                </a:solidFill>
                <a:ea typeface="宋体" panose="02010600030101010101" pitchFamily="2" charset="-122"/>
                <a:sym typeface="Segoe UI" panose="020B0502040204020203" pitchFamily="34" charset="0"/>
              </a:rPr>
              <a:t>文本分析</a:t>
            </a:r>
            <a:endParaRPr lang="en-US" altLang="zh-CN" sz="1400">
              <a:solidFill>
                <a:prstClr val="black">
                  <a:lumMod val="75000"/>
                  <a:lumOff val="25000"/>
                </a:prstClr>
              </a:solidFill>
              <a:ea typeface="宋体" panose="02010600030101010101" pitchFamily="2" charset="-122"/>
              <a:sym typeface="Segoe UI" panose="020B0502040204020203" pitchFamily="34" charset="0"/>
            </a:endParaRPr>
          </a:p>
          <a:p>
            <a:pPr defTabSz="699382">
              <a:lnSpc>
                <a:spcPct val="90000"/>
              </a:lnSpc>
              <a:spcAft>
                <a:spcPts val="1350"/>
              </a:spcAft>
              <a:defRPr/>
            </a:pPr>
            <a:r>
              <a:rPr lang="zh-CN" altLang="en-US" sz="1400">
                <a:solidFill>
                  <a:prstClr val="black">
                    <a:lumMod val="75000"/>
                    <a:lumOff val="25000"/>
                  </a:prstClr>
                </a:solidFill>
                <a:ea typeface="宋体" panose="02010600030101010101" pitchFamily="2" charset="-122"/>
                <a:sym typeface="Segoe UI" panose="020B0502040204020203" pitchFamily="34" charset="0"/>
              </a:rPr>
              <a:t>文本翻译</a:t>
            </a:r>
            <a:endParaRPr lang="en-US" altLang="zh-CN" sz="1400">
              <a:solidFill>
                <a:prstClr val="black">
                  <a:lumMod val="75000"/>
                  <a:lumOff val="25000"/>
                </a:prstClr>
              </a:solidFill>
              <a:ea typeface="宋体" panose="02010600030101010101" pitchFamily="2" charset="-122"/>
              <a:sym typeface="Segoe UI" panose="020B0502040204020203" pitchFamily="34" charset="0"/>
            </a:endParaRPr>
          </a:p>
          <a:p>
            <a:pPr defTabSz="699382">
              <a:lnSpc>
                <a:spcPct val="90000"/>
              </a:lnSpc>
              <a:spcAft>
                <a:spcPts val="1350"/>
              </a:spcAft>
              <a:defRPr/>
            </a:pPr>
            <a:r>
              <a:rPr lang="zh-CN" altLang="en-US" sz="1400">
                <a:solidFill>
                  <a:prstClr val="black">
                    <a:lumMod val="75000"/>
                    <a:lumOff val="25000"/>
                  </a:prstClr>
                </a:solidFill>
                <a:ea typeface="宋体" panose="02010600030101010101" pitchFamily="2" charset="-122"/>
                <a:sym typeface="Segoe UI" panose="020B0502040204020203" pitchFamily="34" charset="0"/>
              </a:rPr>
              <a:t>必应拼写检查</a:t>
            </a:r>
            <a:endParaRPr lang="en-US" altLang="zh-CN" sz="1400">
              <a:solidFill>
                <a:prstClr val="black">
                  <a:lumMod val="75000"/>
                  <a:lumOff val="25000"/>
                </a:prstClr>
              </a:solidFill>
              <a:ea typeface="宋体" panose="02010600030101010101" pitchFamily="2" charset="-122"/>
              <a:sym typeface="Segoe UI" panose="020B0502040204020203" pitchFamily="34" charset="0"/>
            </a:endParaRPr>
          </a:p>
          <a:p>
            <a:pPr defTabSz="699382">
              <a:lnSpc>
                <a:spcPct val="90000"/>
              </a:lnSpc>
              <a:spcAft>
                <a:spcPts val="1350"/>
              </a:spcAft>
              <a:defRPr/>
            </a:pPr>
            <a:r>
              <a:rPr lang="zh-CN" altLang="en-US" sz="1400">
                <a:solidFill>
                  <a:prstClr val="black">
                    <a:lumMod val="75000"/>
                    <a:lumOff val="25000"/>
                  </a:prstClr>
                </a:solidFill>
                <a:ea typeface="宋体" panose="02010600030101010101" pitchFamily="2" charset="-122"/>
                <a:sym typeface="Segoe UI" panose="020B0502040204020203" pitchFamily="34" charset="0"/>
              </a:rPr>
              <a:t>内容审查</a:t>
            </a:r>
            <a:endParaRPr lang="en-US" altLang="zh-CN" sz="1400">
              <a:solidFill>
                <a:prstClr val="black">
                  <a:lumMod val="75000"/>
                  <a:lumOff val="25000"/>
                </a:prstClr>
              </a:solidFill>
              <a:ea typeface="宋体" panose="02010600030101010101" pitchFamily="2" charset="-122"/>
              <a:sym typeface="Segoe UI" panose="020B0502040204020203" pitchFamily="34" charset="0"/>
            </a:endParaRPr>
          </a:p>
          <a:p>
            <a:pPr defTabSz="699382">
              <a:lnSpc>
                <a:spcPct val="90000"/>
              </a:lnSpc>
              <a:spcAft>
                <a:spcPts val="1350"/>
              </a:spcAft>
              <a:defRPr/>
            </a:pPr>
            <a:r>
              <a:rPr lang="zh-CN" altLang="en-US" sz="1400">
                <a:solidFill>
                  <a:prstClr val="black">
                    <a:lumMod val="75000"/>
                    <a:lumOff val="25000"/>
                  </a:prstClr>
                </a:solidFill>
                <a:ea typeface="宋体" panose="02010600030101010101" pitchFamily="2" charset="-122"/>
                <a:sym typeface="Segoe UI" panose="020B0502040204020203" pitchFamily="34" charset="0"/>
              </a:rPr>
              <a:t>语言理解</a:t>
            </a:r>
            <a:endParaRPr lang="en-US" sz="1400">
              <a:solidFill>
                <a:prstClr val="black">
                  <a:lumMod val="75000"/>
                  <a:lumOff val="25000"/>
                </a:prstClr>
              </a:solidFill>
              <a:sym typeface="Segoe UI" panose="020B0502040204020203" pitchFamily="34" charset="0"/>
            </a:endParaRPr>
          </a:p>
        </p:txBody>
      </p:sp>
      <p:sp>
        <p:nvSpPr>
          <p:cNvPr id="73" name="TextBox 118">
            <a:extLst>
              <a:ext uri="{FF2B5EF4-FFF2-40B4-BE49-F238E27FC236}">
                <a16:creationId xmlns:a16="http://schemas.microsoft.com/office/drawing/2014/main" id="{019C1A36-6EF2-44DD-8D99-E822DC543345}"/>
              </a:ext>
            </a:extLst>
          </p:cNvPr>
          <p:cNvSpPr txBox="1"/>
          <p:nvPr/>
        </p:nvSpPr>
        <p:spPr>
          <a:xfrm>
            <a:off x="3548924" y="3314611"/>
            <a:ext cx="1428435" cy="1406539"/>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699382">
              <a:lnSpc>
                <a:spcPct val="90000"/>
              </a:lnSpc>
              <a:spcAft>
                <a:spcPts val="1350"/>
              </a:spcAft>
              <a:defRPr/>
            </a:pPr>
            <a:r>
              <a:rPr lang="zh-CN" altLang="en-US" sz="1400">
                <a:solidFill>
                  <a:prstClr val="black">
                    <a:lumMod val="75000"/>
                    <a:lumOff val="25000"/>
                  </a:prstClr>
                </a:solidFill>
                <a:ea typeface="宋体" panose="02010600030101010101" pitchFamily="2" charset="-122"/>
                <a:sym typeface="Segoe UI" panose="020B0502040204020203" pitchFamily="34" charset="0"/>
              </a:rPr>
              <a:t>语音转文本</a:t>
            </a:r>
            <a:endParaRPr lang="en-US" altLang="zh-CN" sz="1400">
              <a:solidFill>
                <a:prstClr val="black">
                  <a:lumMod val="75000"/>
                  <a:lumOff val="25000"/>
                </a:prstClr>
              </a:solidFill>
              <a:ea typeface="宋体" panose="02010600030101010101" pitchFamily="2" charset="-122"/>
              <a:sym typeface="Segoe UI" panose="020B0502040204020203" pitchFamily="34" charset="0"/>
            </a:endParaRPr>
          </a:p>
          <a:p>
            <a:pPr defTabSz="699382">
              <a:lnSpc>
                <a:spcPct val="90000"/>
              </a:lnSpc>
              <a:spcAft>
                <a:spcPts val="1350"/>
              </a:spcAft>
              <a:defRPr/>
            </a:pPr>
            <a:r>
              <a:rPr lang="zh-CN" altLang="en-US" sz="1400">
                <a:solidFill>
                  <a:prstClr val="black">
                    <a:lumMod val="75000"/>
                    <a:lumOff val="25000"/>
                  </a:prstClr>
                </a:solidFill>
                <a:ea typeface="宋体" panose="02010600030101010101" pitchFamily="2" charset="-122"/>
                <a:sym typeface="Segoe UI" panose="020B0502040204020203" pitchFamily="34" charset="0"/>
              </a:rPr>
              <a:t>文本到语音转换</a:t>
            </a:r>
            <a:endParaRPr lang="en-US" sz="1400">
              <a:solidFill>
                <a:prstClr val="black">
                  <a:lumMod val="75000"/>
                  <a:lumOff val="25000"/>
                </a:prstClr>
              </a:solidFill>
              <a:sym typeface="Segoe UI" panose="020B0502040204020203" pitchFamily="34" charset="0"/>
            </a:endParaRPr>
          </a:p>
          <a:p>
            <a:pPr defTabSz="699382">
              <a:lnSpc>
                <a:spcPct val="90000"/>
              </a:lnSpc>
              <a:spcAft>
                <a:spcPts val="1350"/>
              </a:spcAft>
              <a:defRPr/>
            </a:pPr>
            <a:r>
              <a:rPr lang="zh-CN" altLang="en-US" sz="1400">
                <a:solidFill>
                  <a:prstClr val="black">
                    <a:lumMod val="75000"/>
                    <a:lumOff val="25000"/>
                  </a:prstClr>
                </a:solidFill>
                <a:ea typeface="宋体" panose="02010600030101010101" pitchFamily="2" charset="-122"/>
                <a:sym typeface="Segoe UI" panose="020B0502040204020203" pitchFamily="34" charset="0"/>
              </a:rPr>
              <a:t>说话人识别</a:t>
            </a:r>
            <a:endParaRPr lang="en-US" altLang="zh-CN" sz="1400">
              <a:solidFill>
                <a:prstClr val="black">
                  <a:lumMod val="75000"/>
                  <a:lumOff val="25000"/>
                </a:prstClr>
              </a:solidFill>
              <a:ea typeface="宋体" panose="02010600030101010101" pitchFamily="2" charset="-122"/>
              <a:sym typeface="Segoe UI" panose="020B0502040204020203" pitchFamily="34" charset="0"/>
            </a:endParaRPr>
          </a:p>
          <a:p>
            <a:pPr defTabSz="699382">
              <a:lnSpc>
                <a:spcPct val="90000"/>
              </a:lnSpc>
              <a:spcAft>
                <a:spcPts val="1350"/>
              </a:spcAft>
              <a:defRPr/>
            </a:pPr>
            <a:r>
              <a:rPr lang="zh-CN" altLang="en-US" sz="1400">
                <a:solidFill>
                  <a:prstClr val="black">
                    <a:lumMod val="75000"/>
                    <a:lumOff val="25000"/>
                  </a:prstClr>
                </a:solidFill>
                <a:ea typeface="宋体" panose="02010600030101010101" pitchFamily="2" charset="-122"/>
                <a:sym typeface="Segoe UI" panose="020B0502040204020203" pitchFamily="34" charset="0"/>
              </a:rPr>
              <a:t>语音翻译</a:t>
            </a:r>
            <a:endParaRPr lang="en-US" sz="1400">
              <a:solidFill>
                <a:prstClr val="black">
                  <a:lumMod val="75000"/>
                  <a:lumOff val="25000"/>
                </a:prstClr>
              </a:solidFill>
              <a:sym typeface="Segoe UI" panose="020B0502040204020203" pitchFamily="34" charset="0"/>
            </a:endParaRPr>
          </a:p>
        </p:txBody>
      </p:sp>
    </p:spTree>
    <p:extLst>
      <p:ext uri="{BB962C8B-B14F-4D97-AF65-F5344CB8AC3E}">
        <p14:creationId xmlns:p14="http://schemas.microsoft.com/office/powerpoint/2010/main" val="1348827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42" presetClass="path" presetSubtype="0" decel="100000" fill="hold" grpId="1" nodeType="withEffect">
                                  <p:stCondLst>
                                    <p:cond delay="0"/>
                                  </p:stCondLst>
                                  <p:childTnLst>
                                    <p:animMotion origin="layout" path="M 0 0 L 0 0.02569 " pathEditMode="relative" rAng="0" ptsTypes="AA">
                                      <p:cBhvr>
                                        <p:cTn id="9" dur="500" spd="-100000" fill="hold"/>
                                        <p:tgtEl>
                                          <p:spTgt spid="17"/>
                                        </p:tgtEl>
                                        <p:attrNameLst>
                                          <p:attrName>ppt_x</p:attrName>
                                          <p:attrName>ppt_y</p:attrName>
                                        </p:attrNameLst>
                                      </p:cBhvr>
                                      <p:rCtr x="0" y="1273"/>
                                    </p:animMotion>
                                  </p:childTnLst>
                                </p:cTn>
                              </p:par>
                              <p:par>
                                <p:cTn id="10" presetID="2" presetClass="entr" presetSubtype="4"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 calcmode="lin" valueType="num">
                                      <p:cBhvr additive="base">
                                        <p:cTn id="12" dur="500" fill="hold"/>
                                        <p:tgtEl>
                                          <p:spTgt spid="23"/>
                                        </p:tgtEl>
                                        <p:attrNameLst>
                                          <p:attrName>ppt_x</p:attrName>
                                        </p:attrNameLst>
                                      </p:cBhvr>
                                      <p:tavLst>
                                        <p:tav tm="0">
                                          <p:val>
                                            <p:strVal val="#ppt_x"/>
                                          </p:val>
                                        </p:tav>
                                        <p:tav tm="100000">
                                          <p:val>
                                            <p:strVal val="#ppt_x"/>
                                          </p:val>
                                        </p:tav>
                                      </p:tavLst>
                                    </p:anim>
                                    <p:anim calcmode="lin" valueType="num">
                                      <p:cBhvr additive="base">
                                        <p:cTn id="13" dur="500" fill="hold"/>
                                        <p:tgtEl>
                                          <p:spTgt spid="23"/>
                                        </p:tgtEl>
                                        <p:attrNameLst>
                                          <p:attrName>ppt_y</p:attrName>
                                        </p:attrNameLst>
                                      </p:cBhvr>
                                      <p:tavLst>
                                        <p:tav tm="0">
                                          <p:val>
                                            <p:strVal val="1+#ppt_h/2"/>
                                          </p:val>
                                        </p:tav>
                                        <p:tav tm="100000">
                                          <p:val>
                                            <p:strVal val="#ppt_y"/>
                                          </p:val>
                                        </p:tav>
                                      </p:tavLst>
                                    </p:anim>
                                  </p:childTnLst>
                                </p:cTn>
                              </p:par>
                              <p:par>
                                <p:cTn id="14" presetID="2" presetClass="entr" presetSubtype="4" fill="hold" grpId="0" nodeType="withEffect">
                                  <p:stCondLst>
                                    <p:cond delay="0"/>
                                  </p:stCondLst>
                                  <p:childTnLst>
                                    <p:set>
                                      <p:cBhvr>
                                        <p:cTn id="15" dur="1" fill="hold">
                                          <p:stCondLst>
                                            <p:cond delay="0"/>
                                          </p:stCondLst>
                                        </p:cTn>
                                        <p:tgtEl>
                                          <p:spTgt spid="24"/>
                                        </p:tgtEl>
                                        <p:attrNameLst>
                                          <p:attrName>style.visibility</p:attrName>
                                        </p:attrNameLst>
                                      </p:cBhvr>
                                      <p:to>
                                        <p:strVal val="visible"/>
                                      </p:to>
                                    </p:set>
                                    <p:anim calcmode="lin" valueType="num">
                                      <p:cBhvr additive="base">
                                        <p:cTn id="16" dur="500" fill="hold"/>
                                        <p:tgtEl>
                                          <p:spTgt spid="24"/>
                                        </p:tgtEl>
                                        <p:attrNameLst>
                                          <p:attrName>ppt_x</p:attrName>
                                        </p:attrNameLst>
                                      </p:cBhvr>
                                      <p:tavLst>
                                        <p:tav tm="0">
                                          <p:val>
                                            <p:strVal val="#ppt_x"/>
                                          </p:val>
                                        </p:tav>
                                        <p:tav tm="100000">
                                          <p:val>
                                            <p:strVal val="#ppt_x"/>
                                          </p:val>
                                        </p:tav>
                                      </p:tavLst>
                                    </p:anim>
                                    <p:anim calcmode="lin" valueType="num">
                                      <p:cBhvr additive="base">
                                        <p:cTn id="17" dur="500" fill="hold"/>
                                        <p:tgtEl>
                                          <p:spTgt spid="24"/>
                                        </p:tgtEl>
                                        <p:attrNameLst>
                                          <p:attrName>ppt_y</p:attrName>
                                        </p:attrNameLst>
                                      </p:cBhvr>
                                      <p:tavLst>
                                        <p:tav tm="0">
                                          <p:val>
                                            <p:strVal val="1+#ppt_h/2"/>
                                          </p:val>
                                        </p:tav>
                                        <p:tav tm="100000">
                                          <p:val>
                                            <p:strVal val="#ppt_y"/>
                                          </p:val>
                                        </p:tav>
                                      </p:tavLst>
                                    </p:anim>
                                  </p:childTnLst>
                                </p:cTn>
                              </p:par>
                              <p:par>
                                <p:cTn id="18" presetID="2" presetClass="entr" presetSubtype="4" fill="hold" grpId="0" nodeType="withEffect">
                                  <p:stCondLst>
                                    <p:cond delay="0"/>
                                  </p:stCondLst>
                                  <p:childTnLst>
                                    <p:set>
                                      <p:cBhvr>
                                        <p:cTn id="19" dur="1" fill="hold">
                                          <p:stCondLst>
                                            <p:cond delay="0"/>
                                          </p:stCondLst>
                                        </p:cTn>
                                        <p:tgtEl>
                                          <p:spTgt spid="25"/>
                                        </p:tgtEl>
                                        <p:attrNameLst>
                                          <p:attrName>style.visibility</p:attrName>
                                        </p:attrNameLst>
                                      </p:cBhvr>
                                      <p:to>
                                        <p:strVal val="visible"/>
                                      </p:to>
                                    </p:set>
                                    <p:anim calcmode="lin" valueType="num">
                                      <p:cBhvr additive="base">
                                        <p:cTn id="20" dur="500" fill="hold"/>
                                        <p:tgtEl>
                                          <p:spTgt spid="25"/>
                                        </p:tgtEl>
                                        <p:attrNameLst>
                                          <p:attrName>ppt_x</p:attrName>
                                        </p:attrNameLst>
                                      </p:cBhvr>
                                      <p:tavLst>
                                        <p:tav tm="0">
                                          <p:val>
                                            <p:strVal val="#ppt_x"/>
                                          </p:val>
                                        </p:tav>
                                        <p:tav tm="100000">
                                          <p:val>
                                            <p:strVal val="#ppt_x"/>
                                          </p:val>
                                        </p:tav>
                                      </p:tavLst>
                                    </p:anim>
                                    <p:anim calcmode="lin" valueType="num">
                                      <p:cBhvr additive="base">
                                        <p:cTn id="21" dur="500" fill="hold"/>
                                        <p:tgtEl>
                                          <p:spTgt spid="25"/>
                                        </p:tgtEl>
                                        <p:attrNameLst>
                                          <p:attrName>ppt_y</p:attrName>
                                        </p:attrNameLst>
                                      </p:cBhvr>
                                      <p:tavLst>
                                        <p:tav tm="0">
                                          <p:val>
                                            <p:strVal val="1+#ppt_h/2"/>
                                          </p:val>
                                        </p:tav>
                                        <p:tav tm="100000">
                                          <p:val>
                                            <p:strVal val="#ppt_y"/>
                                          </p:val>
                                        </p:tav>
                                      </p:tavLst>
                                    </p:anim>
                                  </p:childTnLst>
                                </p:cTn>
                              </p:par>
                              <p:par>
                                <p:cTn id="22" presetID="2" presetClass="entr" presetSubtype="4" fill="hold" grpId="0" nodeType="withEffect">
                                  <p:stCondLst>
                                    <p:cond delay="0"/>
                                  </p:stCondLst>
                                  <p:childTnLst>
                                    <p:set>
                                      <p:cBhvr>
                                        <p:cTn id="23" dur="1" fill="hold">
                                          <p:stCondLst>
                                            <p:cond delay="0"/>
                                          </p:stCondLst>
                                        </p:cTn>
                                        <p:tgtEl>
                                          <p:spTgt spid="26"/>
                                        </p:tgtEl>
                                        <p:attrNameLst>
                                          <p:attrName>style.visibility</p:attrName>
                                        </p:attrNameLst>
                                      </p:cBhvr>
                                      <p:to>
                                        <p:strVal val="visible"/>
                                      </p:to>
                                    </p:set>
                                    <p:anim calcmode="lin" valueType="num">
                                      <p:cBhvr additive="base">
                                        <p:cTn id="24" dur="500" fill="hold"/>
                                        <p:tgtEl>
                                          <p:spTgt spid="26"/>
                                        </p:tgtEl>
                                        <p:attrNameLst>
                                          <p:attrName>ppt_x</p:attrName>
                                        </p:attrNameLst>
                                      </p:cBhvr>
                                      <p:tavLst>
                                        <p:tav tm="0">
                                          <p:val>
                                            <p:strVal val="#ppt_x"/>
                                          </p:val>
                                        </p:tav>
                                        <p:tav tm="100000">
                                          <p:val>
                                            <p:strVal val="#ppt_x"/>
                                          </p:val>
                                        </p:tav>
                                      </p:tavLst>
                                    </p:anim>
                                    <p:anim calcmode="lin" valueType="num">
                                      <p:cBhvr additive="base">
                                        <p:cTn id="25" dur="500" fill="hold"/>
                                        <p:tgtEl>
                                          <p:spTgt spid="26"/>
                                        </p:tgtEl>
                                        <p:attrNameLst>
                                          <p:attrName>ppt_y</p:attrName>
                                        </p:attrNameLst>
                                      </p:cBhvr>
                                      <p:tavLst>
                                        <p:tav tm="0">
                                          <p:val>
                                            <p:strVal val="1+#ppt_h/2"/>
                                          </p:val>
                                        </p:tav>
                                        <p:tav tm="100000">
                                          <p:val>
                                            <p:strVal val="#ppt_y"/>
                                          </p:val>
                                        </p:tav>
                                      </p:tavLst>
                                    </p:anim>
                                  </p:childTnLst>
                                </p:cTn>
                              </p:par>
                              <p:par>
                                <p:cTn id="26" presetID="2" presetClass="entr" presetSubtype="4" fill="hold" grpId="0" nodeType="withEffect">
                                  <p:stCondLst>
                                    <p:cond delay="0"/>
                                  </p:stCondLst>
                                  <p:childTnLst>
                                    <p:set>
                                      <p:cBhvr>
                                        <p:cTn id="27" dur="1" fill="hold">
                                          <p:stCondLst>
                                            <p:cond delay="0"/>
                                          </p:stCondLst>
                                        </p:cTn>
                                        <p:tgtEl>
                                          <p:spTgt spid="27"/>
                                        </p:tgtEl>
                                        <p:attrNameLst>
                                          <p:attrName>style.visibility</p:attrName>
                                        </p:attrNameLst>
                                      </p:cBhvr>
                                      <p:to>
                                        <p:strVal val="visible"/>
                                      </p:to>
                                    </p:set>
                                    <p:anim calcmode="lin" valueType="num">
                                      <p:cBhvr additive="base">
                                        <p:cTn id="28" dur="500" fill="hold"/>
                                        <p:tgtEl>
                                          <p:spTgt spid="27"/>
                                        </p:tgtEl>
                                        <p:attrNameLst>
                                          <p:attrName>ppt_x</p:attrName>
                                        </p:attrNameLst>
                                      </p:cBhvr>
                                      <p:tavLst>
                                        <p:tav tm="0">
                                          <p:val>
                                            <p:strVal val="#ppt_x"/>
                                          </p:val>
                                        </p:tav>
                                        <p:tav tm="100000">
                                          <p:val>
                                            <p:strVal val="#ppt_x"/>
                                          </p:val>
                                        </p:tav>
                                      </p:tavLst>
                                    </p:anim>
                                    <p:anim calcmode="lin" valueType="num">
                                      <p:cBhvr additive="base">
                                        <p:cTn id="29" dur="500" fill="hold"/>
                                        <p:tgtEl>
                                          <p:spTgt spid="27"/>
                                        </p:tgtEl>
                                        <p:attrNameLst>
                                          <p:attrName>ppt_y</p:attrName>
                                        </p:attrNameLst>
                                      </p:cBhvr>
                                      <p:tavLst>
                                        <p:tav tm="0">
                                          <p:val>
                                            <p:strVal val="1+#ppt_h/2"/>
                                          </p:val>
                                        </p:tav>
                                        <p:tav tm="100000">
                                          <p:val>
                                            <p:strVal val="#ppt_y"/>
                                          </p:val>
                                        </p:tav>
                                      </p:tavLst>
                                    </p:anim>
                                  </p:childTnLst>
                                </p:cTn>
                              </p:par>
                              <p:par>
                                <p:cTn id="30" presetID="2" presetClass="entr" presetSubtype="4" fill="hold" nodeType="withEffect">
                                  <p:stCondLst>
                                    <p:cond delay="0"/>
                                  </p:stCondLst>
                                  <p:childTnLst>
                                    <p:set>
                                      <p:cBhvr>
                                        <p:cTn id="31" dur="1" fill="hold">
                                          <p:stCondLst>
                                            <p:cond delay="0"/>
                                          </p:stCondLst>
                                        </p:cTn>
                                        <p:tgtEl>
                                          <p:spTgt spid="34"/>
                                        </p:tgtEl>
                                        <p:attrNameLst>
                                          <p:attrName>style.visibility</p:attrName>
                                        </p:attrNameLst>
                                      </p:cBhvr>
                                      <p:to>
                                        <p:strVal val="visible"/>
                                      </p:to>
                                    </p:set>
                                    <p:anim calcmode="lin" valueType="num">
                                      <p:cBhvr additive="base">
                                        <p:cTn id="32" dur="500" fill="hold"/>
                                        <p:tgtEl>
                                          <p:spTgt spid="34"/>
                                        </p:tgtEl>
                                        <p:attrNameLst>
                                          <p:attrName>ppt_x</p:attrName>
                                        </p:attrNameLst>
                                      </p:cBhvr>
                                      <p:tavLst>
                                        <p:tav tm="0">
                                          <p:val>
                                            <p:strVal val="#ppt_x"/>
                                          </p:val>
                                        </p:tav>
                                        <p:tav tm="100000">
                                          <p:val>
                                            <p:strVal val="#ppt_x"/>
                                          </p:val>
                                        </p:tav>
                                      </p:tavLst>
                                    </p:anim>
                                    <p:anim calcmode="lin" valueType="num">
                                      <p:cBhvr additive="base">
                                        <p:cTn id="33" dur="500" fill="hold"/>
                                        <p:tgtEl>
                                          <p:spTgt spid="34"/>
                                        </p:tgtEl>
                                        <p:attrNameLst>
                                          <p:attrName>ppt_y</p:attrName>
                                        </p:attrNameLst>
                                      </p:cBhvr>
                                      <p:tavLst>
                                        <p:tav tm="0">
                                          <p:val>
                                            <p:strVal val="1+#ppt_h/2"/>
                                          </p:val>
                                        </p:tav>
                                        <p:tav tm="100000">
                                          <p:val>
                                            <p:strVal val="#ppt_y"/>
                                          </p:val>
                                        </p:tav>
                                      </p:tavLst>
                                    </p:anim>
                                  </p:childTnLst>
                                </p:cTn>
                              </p:par>
                              <p:par>
                                <p:cTn id="34" presetID="2" presetClass="entr" presetSubtype="4" fill="hold" grpId="0" nodeType="withEffect">
                                  <p:stCondLst>
                                    <p:cond delay="0"/>
                                  </p:stCondLst>
                                  <p:childTnLst>
                                    <p:set>
                                      <p:cBhvr>
                                        <p:cTn id="35" dur="1" fill="hold">
                                          <p:stCondLst>
                                            <p:cond delay="0"/>
                                          </p:stCondLst>
                                        </p:cTn>
                                        <p:tgtEl>
                                          <p:spTgt spid="69"/>
                                        </p:tgtEl>
                                        <p:attrNameLst>
                                          <p:attrName>style.visibility</p:attrName>
                                        </p:attrNameLst>
                                      </p:cBhvr>
                                      <p:to>
                                        <p:strVal val="visible"/>
                                      </p:to>
                                    </p:set>
                                    <p:anim calcmode="lin" valueType="num">
                                      <p:cBhvr additive="base">
                                        <p:cTn id="36" dur="500" fill="hold"/>
                                        <p:tgtEl>
                                          <p:spTgt spid="69"/>
                                        </p:tgtEl>
                                        <p:attrNameLst>
                                          <p:attrName>ppt_x</p:attrName>
                                        </p:attrNameLst>
                                      </p:cBhvr>
                                      <p:tavLst>
                                        <p:tav tm="0">
                                          <p:val>
                                            <p:strVal val="#ppt_x"/>
                                          </p:val>
                                        </p:tav>
                                        <p:tav tm="100000">
                                          <p:val>
                                            <p:strVal val="#ppt_x"/>
                                          </p:val>
                                        </p:tav>
                                      </p:tavLst>
                                    </p:anim>
                                    <p:anim calcmode="lin" valueType="num">
                                      <p:cBhvr additive="base">
                                        <p:cTn id="37" dur="500" fill="hold"/>
                                        <p:tgtEl>
                                          <p:spTgt spid="69"/>
                                        </p:tgtEl>
                                        <p:attrNameLst>
                                          <p:attrName>ppt_y</p:attrName>
                                        </p:attrNameLst>
                                      </p:cBhvr>
                                      <p:tavLst>
                                        <p:tav tm="0">
                                          <p:val>
                                            <p:strVal val="1+#ppt_h/2"/>
                                          </p:val>
                                        </p:tav>
                                        <p:tav tm="100000">
                                          <p:val>
                                            <p:strVal val="#ppt_y"/>
                                          </p:val>
                                        </p:tav>
                                      </p:tavLst>
                                    </p:anim>
                                  </p:childTnLst>
                                </p:cTn>
                              </p:par>
                              <p:par>
                                <p:cTn id="38" presetID="2" presetClass="entr" presetSubtype="4" fill="hold" grpId="0" nodeType="withEffect">
                                  <p:stCondLst>
                                    <p:cond delay="0"/>
                                  </p:stCondLst>
                                  <p:childTnLst>
                                    <p:set>
                                      <p:cBhvr>
                                        <p:cTn id="39" dur="1" fill="hold">
                                          <p:stCondLst>
                                            <p:cond delay="0"/>
                                          </p:stCondLst>
                                        </p:cTn>
                                        <p:tgtEl>
                                          <p:spTgt spid="70"/>
                                        </p:tgtEl>
                                        <p:attrNameLst>
                                          <p:attrName>style.visibility</p:attrName>
                                        </p:attrNameLst>
                                      </p:cBhvr>
                                      <p:to>
                                        <p:strVal val="visible"/>
                                      </p:to>
                                    </p:set>
                                    <p:anim calcmode="lin" valueType="num">
                                      <p:cBhvr additive="base">
                                        <p:cTn id="40" dur="500" fill="hold"/>
                                        <p:tgtEl>
                                          <p:spTgt spid="70"/>
                                        </p:tgtEl>
                                        <p:attrNameLst>
                                          <p:attrName>ppt_x</p:attrName>
                                        </p:attrNameLst>
                                      </p:cBhvr>
                                      <p:tavLst>
                                        <p:tav tm="0">
                                          <p:val>
                                            <p:strVal val="#ppt_x"/>
                                          </p:val>
                                        </p:tav>
                                        <p:tav tm="100000">
                                          <p:val>
                                            <p:strVal val="#ppt_x"/>
                                          </p:val>
                                        </p:tav>
                                      </p:tavLst>
                                    </p:anim>
                                    <p:anim calcmode="lin" valueType="num">
                                      <p:cBhvr additive="base">
                                        <p:cTn id="41" dur="500" fill="hold"/>
                                        <p:tgtEl>
                                          <p:spTgt spid="70"/>
                                        </p:tgtEl>
                                        <p:attrNameLst>
                                          <p:attrName>ppt_y</p:attrName>
                                        </p:attrNameLst>
                                      </p:cBhvr>
                                      <p:tavLst>
                                        <p:tav tm="0">
                                          <p:val>
                                            <p:strVal val="1+#ppt_h/2"/>
                                          </p:val>
                                        </p:tav>
                                        <p:tav tm="100000">
                                          <p:val>
                                            <p:strVal val="#ppt_y"/>
                                          </p:val>
                                        </p:tav>
                                      </p:tavLst>
                                    </p:anim>
                                  </p:childTnLst>
                                </p:cTn>
                              </p:par>
                              <p:par>
                                <p:cTn id="42" presetID="2" presetClass="entr" presetSubtype="4" fill="hold" grpId="0" nodeType="withEffect">
                                  <p:stCondLst>
                                    <p:cond delay="0"/>
                                  </p:stCondLst>
                                  <p:childTnLst>
                                    <p:set>
                                      <p:cBhvr>
                                        <p:cTn id="43" dur="1" fill="hold">
                                          <p:stCondLst>
                                            <p:cond delay="0"/>
                                          </p:stCondLst>
                                        </p:cTn>
                                        <p:tgtEl>
                                          <p:spTgt spid="71"/>
                                        </p:tgtEl>
                                        <p:attrNameLst>
                                          <p:attrName>style.visibility</p:attrName>
                                        </p:attrNameLst>
                                      </p:cBhvr>
                                      <p:to>
                                        <p:strVal val="visible"/>
                                      </p:to>
                                    </p:set>
                                    <p:anim calcmode="lin" valueType="num">
                                      <p:cBhvr additive="base">
                                        <p:cTn id="44" dur="500" fill="hold"/>
                                        <p:tgtEl>
                                          <p:spTgt spid="71"/>
                                        </p:tgtEl>
                                        <p:attrNameLst>
                                          <p:attrName>ppt_x</p:attrName>
                                        </p:attrNameLst>
                                      </p:cBhvr>
                                      <p:tavLst>
                                        <p:tav tm="0">
                                          <p:val>
                                            <p:strVal val="#ppt_x"/>
                                          </p:val>
                                        </p:tav>
                                        <p:tav tm="100000">
                                          <p:val>
                                            <p:strVal val="#ppt_x"/>
                                          </p:val>
                                        </p:tav>
                                      </p:tavLst>
                                    </p:anim>
                                    <p:anim calcmode="lin" valueType="num">
                                      <p:cBhvr additive="base">
                                        <p:cTn id="45" dur="500" fill="hold"/>
                                        <p:tgtEl>
                                          <p:spTgt spid="71"/>
                                        </p:tgtEl>
                                        <p:attrNameLst>
                                          <p:attrName>ppt_y</p:attrName>
                                        </p:attrNameLst>
                                      </p:cBhvr>
                                      <p:tavLst>
                                        <p:tav tm="0">
                                          <p:val>
                                            <p:strVal val="1+#ppt_h/2"/>
                                          </p:val>
                                        </p:tav>
                                        <p:tav tm="100000">
                                          <p:val>
                                            <p:strVal val="#ppt_y"/>
                                          </p:val>
                                        </p:tav>
                                      </p:tavLst>
                                    </p:anim>
                                  </p:childTnLst>
                                </p:cTn>
                              </p:par>
                              <p:par>
                                <p:cTn id="46" presetID="2" presetClass="entr" presetSubtype="4" fill="hold" grpId="0" nodeType="withEffect">
                                  <p:stCondLst>
                                    <p:cond delay="0"/>
                                  </p:stCondLst>
                                  <p:childTnLst>
                                    <p:set>
                                      <p:cBhvr>
                                        <p:cTn id="47" dur="1" fill="hold">
                                          <p:stCondLst>
                                            <p:cond delay="0"/>
                                          </p:stCondLst>
                                        </p:cTn>
                                        <p:tgtEl>
                                          <p:spTgt spid="72"/>
                                        </p:tgtEl>
                                        <p:attrNameLst>
                                          <p:attrName>style.visibility</p:attrName>
                                        </p:attrNameLst>
                                      </p:cBhvr>
                                      <p:to>
                                        <p:strVal val="visible"/>
                                      </p:to>
                                    </p:set>
                                    <p:anim calcmode="lin" valueType="num">
                                      <p:cBhvr additive="base">
                                        <p:cTn id="48" dur="500" fill="hold"/>
                                        <p:tgtEl>
                                          <p:spTgt spid="72"/>
                                        </p:tgtEl>
                                        <p:attrNameLst>
                                          <p:attrName>ppt_x</p:attrName>
                                        </p:attrNameLst>
                                      </p:cBhvr>
                                      <p:tavLst>
                                        <p:tav tm="0">
                                          <p:val>
                                            <p:strVal val="#ppt_x"/>
                                          </p:val>
                                        </p:tav>
                                        <p:tav tm="100000">
                                          <p:val>
                                            <p:strVal val="#ppt_x"/>
                                          </p:val>
                                        </p:tav>
                                      </p:tavLst>
                                    </p:anim>
                                    <p:anim calcmode="lin" valueType="num">
                                      <p:cBhvr additive="base">
                                        <p:cTn id="49" dur="500" fill="hold"/>
                                        <p:tgtEl>
                                          <p:spTgt spid="72"/>
                                        </p:tgtEl>
                                        <p:attrNameLst>
                                          <p:attrName>ppt_y</p:attrName>
                                        </p:attrNameLst>
                                      </p:cBhvr>
                                      <p:tavLst>
                                        <p:tav tm="0">
                                          <p:val>
                                            <p:strVal val="1+#ppt_h/2"/>
                                          </p:val>
                                        </p:tav>
                                        <p:tav tm="100000">
                                          <p:val>
                                            <p:strVal val="#ppt_y"/>
                                          </p:val>
                                        </p:tav>
                                      </p:tavLst>
                                    </p:anim>
                                  </p:childTnLst>
                                </p:cTn>
                              </p:par>
                              <p:par>
                                <p:cTn id="50" presetID="2" presetClass="entr" presetSubtype="4" fill="hold" grpId="0" nodeType="withEffect">
                                  <p:stCondLst>
                                    <p:cond delay="0"/>
                                  </p:stCondLst>
                                  <p:childTnLst>
                                    <p:set>
                                      <p:cBhvr>
                                        <p:cTn id="51" dur="1" fill="hold">
                                          <p:stCondLst>
                                            <p:cond delay="0"/>
                                          </p:stCondLst>
                                        </p:cTn>
                                        <p:tgtEl>
                                          <p:spTgt spid="73"/>
                                        </p:tgtEl>
                                        <p:attrNameLst>
                                          <p:attrName>style.visibility</p:attrName>
                                        </p:attrNameLst>
                                      </p:cBhvr>
                                      <p:to>
                                        <p:strVal val="visible"/>
                                      </p:to>
                                    </p:set>
                                    <p:anim calcmode="lin" valueType="num">
                                      <p:cBhvr additive="base">
                                        <p:cTn id="52" dur="500" fill="hold"/>
                                        <p:tgtEl>
                                          <p:spTgt spid="73"/>
                                        </p:tgtEl>
                                        <p:attrNameLst>
                                          <p:attrName>ppt_x</p:attrName>
                                        </p:attrNameLst>
                                      </p:cBhvr>
                                      <p:tavLst>
                                        <p:tav tm="0">
                                          <p:val>
                                            <p:strVal val="#ppt_x"/>
                                          </p:val>
                                        </p:tav>
                                        <p:tav tm="100000">
                                          <p:val>
                                            <p:strVal val="#ppt_x"/>
                                          </p:val>
                                        </p:tav>
                                      </p:tavLst>
                                    </p:anim>
                                    <p:anim calcmode="lin" valueType="num">
                                      <p:cBhvr additive="base">
                                        <p:cTn id="53" dur="500" fill="hold"/>
                                        <p:tgtEl>
                                          <p:spTgt spid="7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23" grpId="0"/>
      <p:bldP spid="24" grpId="0"/>
      <p:bldP spid="25" grpId="0"/>
      <p:bldP spid="26" grpId="0"/>
      <p:bldP spid="27" grpId="0"/>
      <p:bldP spid="69" grpId="0"/>
      <p:bldP spid="70" grpId="0"/>
      <p:bldP spid="71" grpId="0"/>
      <p:bldP spid="72" grpId="0"/>
      <p:bldP spid="7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FF69EC2-4C1C-46BE-B603-41CFDD68DD6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48612" y="1032375"/>
            <a:ext cx="5849532" cy="2780608"/>
          </a:xfrm>
          <a:prstGeom prst="rect">
            <a:avLst/>
          </a:prstGeom>
        </p:spPr>
      </p:pic>
      <p:pic>
        <p:nvPicPr>
          <p:cNvPr id="3" name="Picture 3">
            <a:extLst>
              <a:ext uri="{FF2B5EF4-FFF2-40B4-BE49-F238E27FC236}">
                <a16:creationId xmlns:a16="http://schemas.microsoft.com/office/drawing/2014/main" id="{AEA609B2-1813-4BB4-9968-9164B116361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17219" y="4324706"/>
            <a:ext cx="5534797" cy="1439047"/>
          </a:xfrm>
          <a:prstGeom prst="rect">
            <a:avLst/>
          </a:prstGeom>
        </p:spPr>
      </p:pic>
      <p:pic>
        <p:nvPicPr>
          <p:cNvPr id="4" name="Picture 2">
            <a:extLst>
              <a:ext uri="{FF2B5EF4-FFF2-40B4-BE49-F238E27FC236}">
                <a16:creationId xmlns:a16="http://schemas.microsoft.com/office/drawing/2014/main" id="{2301BD70-D16D-4CF3-A46A-9F859023C0B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9935" y="1032374"/>
            <a:ext cx="6116178" cy="2780609"/>
          </a:xfrm>
          <a:prstGeom prst="rect">
            <a:avLst/>
          </a:prstGeom>
        </p:spPr>
      </p:pic>
      <p:sp>
        <p:nvSpPr>
          <p:cNvPr id="5" name="TextBox 12">
            <a:extLst>
              <a:ext uri="{FF2B5EF4-FFF2-40B4-BE49-F238E27FC236}">
                <a16:creationId xmlns:a16="http://schemas.microsoft.com/office/drawing/2014/main" id="{B0F21F6B-0E99-4B91-A48B-28E024656093}"/>
              </a:ext>
            </a:extLst>
          </p:cNvPr>
          <p:cNvSpPr txBox="1"/>
          <p:nvPr/>
        </p:nvSpPr>
        <p:spPr>
          <a:xfrm>
            <a:off x="7446795" y="4420870"/>
            <a:ext cx="3853166" cy="1246721"/>
          </a:xfrm>
          <a:prstGeom prst="rect">
            <a:avLst/>
          </a:prstGeom>
          <a:noFill/>
        </p:spPr>
        <p:txBody>
          <a:bodyPr wrap="none" rtlCol="0">
            <a:spAutoFit/>
          </a:bodyPr>
          <a:lstStyle/>
          <a:p>
            <a:pPr marL="291436" marR="0" lvl="0" indent="-291436"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836" b="0"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mn-cs"/>
              </a:rPr>
              <a:t>整体整店消费者体验全面分析</a:t>
            </a:r>
            <a:endParaRPr kumimoji="0" lang="en-US" altLang="zh-CN" sz="1836" b="0"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mn-cs"/>
            </a:endParaRPr>
          </a:p>
          <a:p>
            <a:pPr marL="291436" marR="0" lvl="0" indent="-291436"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836" b="0"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mn-cs"/>
              </a:rPr>
              <a:t>逐点逐区域消费者体验精准分析</a:t>
            </a:r>
            <a:endParaRPr kumimoji="0" lang="en-US" altLang="zh-CN" sz="1836" b="0"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mn-cs"/>
            </a:endParaRPr>
          </a:p>
          <a:p>
            <a:pPr marL="291436" marR="0" lvl="0" indent="-291436"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836" b="0"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mn-cs"/>
              </a:rPr>
              <a:t>消费者客群特征定向精准分析</a:t>
            </a:r>
            <a:endParaRPr kumimoji="0" lang="en-US" altLang="zh-CN" sz="1836" b="0"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mn-cs"/>
            </a:endParaRPr>
          </a:p>
          <a:p>
            <a:pPr marL="291436" marR="0" lvl="0" indent="-291436"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836" b="0"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mn-cs"/>
              </a:rPr>
              <a:t>促销活动消费者满意度实时分析</a:t>
            </a:r>
            <a:endParaRPr kumimoji="0" lang="en-US" sz="1836" b="0" i="0" u="none" strike="noStrike" kern="1200" cap="none" spc="0" normalizeH="0" baseline="0" noProof="0" dirty="0">
              <a:ln>
                <a:noFill/>
              </a:ln>
              <a:solidFill>
                <a:prstClr val="black"/>
              </a:solidFill>
              <a:effectLst/>
              <a:uLnTx/>
              <a:uFillTx/>
              <a:latin typeface="等线" panose="020F0502020204030204"/>
              <a:ea typeface="+mn-ea"/>
              <a:cs typeface="+mn-cs"/>
            </a:endParaRPr>
          </a:p>
        </p:txBody>
      </p:sp>
      <p:pic>
        <p:nvPicPr>
          <p:cNvPr id="6" name="Picture 14">
            <a:extLst>
              <a:ext uri="{FF2B5EF4-FFF2-40B4-BE49-F238E27FC236}">
                <a16:creationId xmlns:a16="http://schemas.microsoft.com/office/drawing/2014/main" id="{22A6DB1C-076E-44C2-A5AC-836E621AD88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023847" y="6365121"/>
            <a:ext cx="1411746" cy="629403"/>
          </a:xfrm>
          <a:prstGeom prst="rect">
            <a:avLst/>
          </a:prstGeom>
        </p:spPr>
      </p:pic>
      <p:sp>
        <p:nvSpPr>
          <p:cNvPr id="7" name="矩形 6">
            <a:extLst>
              <a:ext uri="{FF2B5EF4-FFF2-40B4-BE49-F238E27FC236}">
                <a16:creationId xmlns:a16="http://schemas.microsoft.com/office/drawing/2014/main" id="{8DCB8B10-CB04-40FA-B7D6-E1D53FDA740A}"/>
              </a:ext>
            </a:extLst>
          </p:cNvPr>
          <p:cNvSpPr/>
          <p:nvPr/>
        </p:nvSpPr>
        <p:spPr>
          <a:xfrm>
            <a:off x="363036" y="114470"/>
            <a:ext cx="8699818" cy="646331"/>
          </a:xfrm>
          <a:prstGeom prst="rect">
            <a:avLst/>
          </a:prstGeom>
        </p:spPr>
        <p:txBody>
          <a:bodyPr wrap="none">
            <a:spAutoFit/>
          </a:bodyPr>
          <a:lstStyle/>
          <a:p>
            <a:pPr lvl="0" defTabSz="932597">
              <a:defRPr/>
            </a:pPr>
            <a:r>
              <a:rPr lang="zh-CN" altLang="en-US" sz="3600" dirty="0">
                <a:solidFill>
                  <a:prstClr val="black"/>
                </a:solidFill>
              </a:rPr>
              <a:t>案例：蜜枣网‘锐智眼’消费者精准体验分析</a:t>
            </a:r>
            <a:endParaRPr lang="en-US" altLang="zh-CN" sz="3600" dirty="0">
              <a:solidFill>
                <a:prstClr val="black"/>
              </a:solidFill>
            </a:endParaRPr>
          </a:p>
        </p:txBody>
      </p:sp>
    </p:spTree>
    <p:extLst>
      <p:ext uri="{BB962C8B-B14F-4D97-AF65-F5344CB8AC3E}">
        <p14:creationId xmlns:p14="http://schemas.microsoft.com/office/powerpoint/2010/main" val="2837493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4995A9B-8141-47DC-A726-CE0C935546F4}"/>
              </a:ext>
            </a:extLst>
          </p:cNvPr>
          <p:cNvSpPr/>
          <p:nvPr/>
        </p:nvSpPr>
        <p:spPr bwMode="auto">
          <a:xfrm>
            <a:off x="8227259" y="2936875"/>
            <a:ext cx="2080744" cy="1170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34973" rIns="69945" bIns="34973" numCol="1" spcCol="0" rtlCol="0" fromWordArt="0" anchor="b" anchorCtr="0" forceAA="0" compatLnSpc="1">
            <a:prstTxWarp prst="textNoShape">
              <a:avLst/>
            </a:prstTxWarp>
            <a:spAutoFit/>
          </a:bodyPr>
          <a:lstStyle/>
          <a:p>
            <a:pPr defTabSz="699085" fontAlgn="base">
              <a:lnSpc>
                <a:spcPct val="90000"/>
              </a:lnSpc>
              <a:spcBef>
                <a:spcPts val="918"/>
              </a:spcBef>
              <a:spcAft>
                <a:spcPct val="0"/>
              </a:spcAft>
              <a:buSzPct val="90000"/>
              <a:defRPr/>
            </a:pPr>
            <a:r>
              <a:rPr lang="en-US" sz="2040" kern="0" dirty="0">
                <a:solidFill>
                  <a:srgbClr val="0078D4"/>
                </a:solidFill>
                <a:latin typeface="Segoe UI Semibold"/>
                <a:cs typeface="Segoe UI Semilight" panose="020B0402040204020203" pitchFamily="34" charset="0"/>
              </a:rPr>
              <a:t>Vision </a:t>
            </a:r>
            <a:r>
              <a:rPr lang="zh-CN" altLang="en-US" sz="2040" kern="0" dirty="0">
                <a:solidFill>
                  <a:srgbClr val="0078D4"/>
                </a:solidFill>
                <a:latin typeface="Segoe UI Semibold"/>
                <a:ea typeface="宋体" panose="02010600030101010101" pitchFamily="2" charset="-122"/>
                <a:cs typeface="Segoe UI Semilight" panose="020B0402040204020203" pitchFamily="34" charset="0"/>
              </a:rPr>
              <a:t>视觉</a:t>
            </a:r>
            <a:endParaRPr lang="en-US" sz="2040" kern="0" dirty="0">
              <a:solidFill>
                <a:srgbClr val="0078D4"/>
              </a:solidFill>
              <a:latin typeface="Segoe UI Semibold"/>
              <a:cs typeface="Segoe UI Semilight" panose="020B0402040204020203" pitchFamily="34" charset="0"/>
            </a:endParaRPr>
          </a:p>
          <a:p>
            <a:pPr defTabSz="699085" fontAlgn="base">
              <a:lnSpc>
                <a:spcPct val="90000"/>
              </a:lnSpc>
              <a:spcBef>
                <a:spcPts val="918"/>
              </a:spcBef>
              <a:spcAft>
                <a:spcPct val="0"/>
              </a:spcAft>
              <a:buSzPct val="90000"/>
              <a:defRPr/>
            </a:pPr>
            <a:r>
              <a:rPr lang="en-US" sz="2040" kern="0" dirty="0">
                <a:solidFill>
                  <a:srgbClr val="0078D4"/>
                </a:solidFill>
                <a:latin typeface="Segoe UI Semibold"/>
                <a:cs typeface="Segoe UI Semilight" panose="020B0402040204020203" pitchFamily="34" charset="0"/>
              </a:rPr>
              <a:t>Speech </a:t>
            </a:r>
            <a:r>
              <a:rPr lang="zh-CN" altLang="en-US" sz="2040" kern="0" dirty="0">
                <a:solidFill>
                  <a:srgbClr val="0078D4"/>
                </a:solidFill>
                <a:latin typeface="Segoe UI Semibold"/>
                <a:ea typeface="宋体" panose="02010600030101010101" pitchFamily="2" charset="-122"/>
                <a:cs typeface="Segoe UI Semilight" panose="020B0402040204020203" pitchFamily="34" charset="0"/>
              </a:rPr>
              <a:t>语音</a:t>
            </a:r>
            <a:endParaRPr lang="en-US" sz="2040" kern="0" dirty="0">
              <a:solidFill>
                <a:srgbClr val="0078D4"/>
              </a:solidFill>
              <a:latin typeface="Segoe UI Semibold"/>
              <a:cs typeface="Segoe UI Semilight" panose="020B0402040204020203" pitchFamily="34" charset="0"/>
            </a:endParaRPr>
          </a:p>
          <a:p>
            <a:pPr defTabSz="699085" fontAlgn="base">
              <a:lnSpc>
                <a:spcPct val="90000"/>
              </a:lnSpc>
              <a:spcBef>
                <a:spcPts val="918"/>
              </a:spcBef>
              <a:spcAft>
                <a:spcPct val="0"/>
              </a:spcAft>
              <a:buSzPct val="90000"/>
              <a:defRPr/>
            </a:pPr>
            <a:r>
              <a:rPr lang="en-US" sz="2040" kern="0" dirty="0">
                <a:solidFill>
                  <a:srgbClr val="0078D4"/>
                </a:solidFill>
                <a:latin typeface="Segoe UI Semibold"/>
                <a:cs typeface="Segoe UI Semilight" panose="020B0402040204020203" pitchFamily="34" charset="0"/>
              </a:rPr>
              <a:t>Language </a:t>
            </a:r>
            <a:r>
              <a:rPr lang="zh-CN" altLang="en-US" sz="2040" kern="0" dirty="0">
                <a:solidFill>
                  <a:srgbClr val="0078D4"/>
                </a:solidFill>
                <a:latin typeface="Segoe UI Semibold"/>
                <a:ea typeface="宋体" panose="02010600030101010101" pitchFamily="2" charset="-122"/>
                <a:cs typeface="Segoe UI Semilight" panose="020B0402040204020203" pitchFamily="34" charset="0"/>
              </a:rPr>
              <a:t>语言</a:t>
            </a:r>
            <a:endParaRPr lang="en-US" sz="2040" kern="0" dirty="0">
              <a:solidFill>
                <a:srgbClr val="0078D4"/>
              </a:solidFill>
              <a:latin typeface="Segoe UI Semibold"/>
              <a:cs typeface="Segoe UI Semilight" panose="020B0402040204020203" pitchFamily="34" charset="0"/>
            </a:endParaRPr>
          </a:p>
        </p:txBody>
      </p:sp>
      <p:sp>
        <p:nvSpPr>
          <p:cNvPr id="13" name="Plus Sign 12">
            <a:extLst>
              <a:ext uri="{FF2B5EF4-FFF2-40B4-BE49-F238E27FC236}">
                <a16:creationId xmlns:a16="http://schemas.microsoft.com/office/drawing/2014/main" id="{35B59818-5012-4AAD-909A-4CFD4C8BAC0E}"/>
              </a:ext>
            </a:extLst>
          </p:cNvPr>
          <p:cNvSpPr/>
          <p:nvPr/>
        </p:nvSpPr>
        <p:spPr bwMode="auto">
          <a:xfrm>
            <a:off x="7327474" y="3326631"/>
            <a:ext cx="525274" cy="520238"/>
          </a:xfrm>
          <a:prstGeom prst="mathPlus">
            <a:avLst>
              <a:gd name="adj1" fmla="val 1014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fontAlgn="base">
              <a:spcBef>
                <a:spcPct val="0"/>
              </a:spcBef>
              <a:spcAft>
                <a:spcPct val="0"/>
              </a:spcAft>
              <a:defRPr/>
            </a:pPr>
            <a:endParaRPr lang="en-US" sz="153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 name="Group 4">
            <a:extLst>
              <a:ext uri="{FF2B5EF4-FFF2-40B4-BE49-F238E27FC236}">
                <a16:creationId xmlns:a16="http://schemas.microsoft.com/office/drawing/2014/main" id="{99B3E911-250C-4C12-BCA2-FD0098E2BEEC}"/>
              </a:ext>
            </a:extLst>
          </p:cNvPr>
          <p:cNvGrpSpPr>
            <a:grpSpLocks noChangeAspect="1"/>
          </p:cNvGrpSpPr>
          <p:nvPr/>
        </p:nvGrpSpPr>
        <p:grpSpPr bwMode="auto">
          <a:xfrm>
            <a:off x="3074180" y="2828669"/>
            <a:ext cx="2134841" cy="1516165"/>
            <a:chOff x="3794" y="2083"/>
            <a:chExt cx="245" cy="174"/>
          </a:xfrm>
        </p:grpSpPr>
        <p:sp>
          <p:nvSpPr>
            <p:cNvPr id="18" name="Rectangle 17">
              <a:extLst>
                <a:ext uri="{FF2B5EF4-FFF2-40B4-BE49-F238E27FC236}">
                  <a16:creationId xmlns:a16="http://schemas.microsoft.com/office/drawing/2014/main" id="{C326CAF8-18D7-4C53-BE7D-3D3DCB1AE0DB}"/>
                </a:ext>
              </a:extLst>
            </p:cNvPr>
            <p:cNvSpPr>
              <a:spLocks noChangeArrowheads="1"/>
            </p:cNvSpPr>
            <p:nvPr/>
          </p:nvSpPr>
          <p:spPr bwMode="auto">
            <a:xfrm>
              <a:off x="3794" y="2083"/>
              <a:ext cx="245" cy="138"/>
            </a:xfrm>
            <a:prstGeom prst="rect">
              <a:avLst/>
            </a:prstGeom>
            <a:noFill/>
            <a:ln w="1905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9945" tIns="34973" rIns="69945" bIns="34973" numCol="1" anchor="t" anchorCtr="0" compatLnSpc="1">
              <a:prstTxWarp prst="textNoShape">
                <a:avLst/>
              </a:prstTxWarp>
            </a:bodyPr>
            <a:lstStyle/>
            <a:p>
              <a:pPr defTabSz="713478">
                <a:defRPr/>
              </a:pPr>
              <a:endParaRPr lang="en-US" sz="1377">
                <a:solidFill>
                  <a:srgbClr val="505050"/>
                </a:solidFill>
                <a:latin typeface="Segoe UI Semilight"/>
              </a:endParaRPr>
            </a:p>
          </p:txBody>
        </p:sp>
        <p:sp>
          <p:nvSpPr>
            <p:cNvPr id="19" name="Line 7">
              <a:extLst>
                <a:ext uri="{FF2B5EF4-FFF2-40B4-BE49-F238E27FC236}">
                  <a16:creationId xmlns:a16="http://schemas.microsoft.com/office/drawing/2014/main" id="{FB3F7626-A1F0-4CEE-AF27-9470DC5610B3}"/>
                </a:ext>
              </a:extLst>
            </p:cNvPr>
            <p:cNvSpPr>
              <a:spLocks noChangeShapeType="1"/>
            </p:cNvSpPr>
            <p:nvPr/>
          </p:nvSpPr>
          <p:spPr bwMode="auto">
            <a:xfrm>
              <a:off x="3916" y="2221"/>
              <a:ext cx="0" cy="36"/>
            </a:xfrm>
            <a:prstGeom prst="line">
              <a:avLst/>
            </a:prstGeom>
            <a:noFill/>
            <a:ln w="1905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9945" tIns="34973" rIns="69945" bIns="34973" numCol="1" anchor="t" anchorCtr="0" compatLnSpc="1">
              <a:prstTxWarp prst="textNoShape">
                <a:avLst/>
              </a:prstTxWarp>
            </a:bodyPr>
            <a:lstStyle/>
            <a:p>
              <a:pPr defTabSz="713478">
                <a:defRPr/>
              </a:pPr>
              <a:endParaRPr lang="en-US" sz="1377">
                <a:solidFill>
                  <a:srgbClr val="505050"/>
                </a:solidFill>
                <a:latin typeface="Segoe UI Semilight"/>
              </a:endParaRPr>
            </a:p>
          </p:txBody>
        </p:sp>
        <p:sp>
          <p:nvSpPr>
            <p:cNvPr id="20" name="Line 8">
              <a:extLst>
                <a:ext uri="{FF2B5EF4-FFF2-40B4-BE49-F238E27FC236}">
                  <a16:creationId xmlns:a16="http://schemas.microsoft.com/office/drawing/2014/main" id="{9107324A-452E-4401-AC09-50E816910592}"/>
                </a:ext>
              </a:extLst>
            </p:cNvPr>
            <p:cNvSpPr>
              <a:spLocks noChangeShapeType="1"/>
            </p:cNvSpPr>
            <p:nvPr/>
          </p:nvSpPr>
          <p:spPr bwMode="auto">
            <a:xfrm>
              <a:off x="3874" y="2257"/>
              <a:ext cx="86" cy="0"/>
            </a:xfrm>
            <a:prstGeom prst="line">
              <a:avLst/>
            </a:prstGeom>
            <a:noFill/>
            <a:ln w="1905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9945" tIns="34973" rIns="69945" bIns="34973" numCol="1" anchor="t" anchorCtr="0" compatLnSpc="1">
              <a:prstTxWarp prst="textNoShape">
                <a:avLst/>
              </a:prstTxWarp>
            </a:bodyPr>
            <a:lstStyle/>
            <a:p>
              <a:pPr defTabSz="713478">
                <a:defRPr/>
              </a:pPr>
              <a:endParaRPr lang="en-US" sz="1377">
                <a:solidFill>
                  <a:srgbClr val="505050"/>
                </a:solidFill>
                <a:latin typeface="Segoe UI Semilight"/>
              </a:endParaRPr>
            </a:p>
          </p:txBody>
        </p:sp>
      </p:grpSp>
      <p:grpSp>
        <p:nvGrpSpPr>
          <p:cNvPr id="21" name="Group 20">
            <a:extLst>
              <a:ext uri="{FF2B5EF4-FFF2-40B4-BE49-F238E27FC236}">
                <a16:creationId xmlns:a16="http://schemas.microsoft.com/office/drawing/2014/main" id="{55824418-AB55-426F-A5F9-A88CD7A32C28}"/>
              </a:ext>
            </a:extLst>
          </p:cNvPr>
          <p:cNvGrpSpPr/>
          <p:nvPr/>
        </p:nvGrpSpPr>
        <p:grpSpPr>
          <a:xfrm>
            <a:off x="3602050" y="3019269"/>
            <a:ext cx="1079099" cy="819363"/>
            <a:chOff x="1795270" y="2978929"/>
            <a:chExt cx="1292874" cy="981684"/>
          </a:xfrm>
        </p:grpSpPr>
        <p:grpSp>
          <p:nvGrpSpPr>
            <p:cNvPr id="22" name="Group 21">
              <a:extLst>
                <a:ext uri="{FF2B5EF4-FFF2-40B4-BE49-F238E27FC236}">
                  <a16:creationId xmlns:a16="http://schemas.microsoft.com/office/drawing/2014/main" id="{38C22A61-F10C-4FE7-9BBA-B0E9B550A28A}"/>
                </a:ext>
              </a:extLst>
            </p:cNvPr>
            <p:cNvGrpSpPr/>
            <p:nvPr/>
          </p:nvGrpSpPr>
          <p:grpSpPr>
            <a:xfrm flipH="1">
              <a:off x="1795270" y="2978929"/>
              <a:ext cx="1292874" cy="981684"/>
              <a:chOff x="1950552" y="1575258"/>
              <a:chExt cx="467685" cy="355115"/>
            </a:xfrm>
          </p:grpSpPr>
          <p:grpSp>
            <p:nvGrpSpPr>
              <p:cNvPr id="26" name="Group 25">
                <a:extLst>
                  <a:ext uri="{FF2B5EF4-FFF2-40B4-BE49-F238E27FC236}">
                    <a16:creationId xmlns:a16="http://schemas.microsoft.com/office/drawing/2014/main" id="{3D644758-437A-4FC1-A9EA-FA73A4C234EC}"/>
                  </a:ext>
                </a:extLst>
              </p:cNvPr>
              <p:cNvGrpSpPr/>
              <p:nvPr/>
            </p:nvGrpSpPr>
            <p:grpSpPr>
              <a:xfrm>
                <a:off x="1950552" y="1575258"/>
                <a:ext cx="467685" cy="355115"/>
                <a:chOff x="1950552" y="1575258"/>
                <a:chExt cx="467685" cy="355115"/>
              </a:xfrm>
            </p:grpSpPr>
            <p:sp>
              <p:nvSpPr>
                <p:cNvPr id="31" name="Rectangle 9">
                  <a:extLst>
                    <a:ext uri="{FF2B5EF4-FFF2-40B4-BE49-F238E27FC236}">
                      <a16:creationId xmlns:a16="http://schemas.microsoft.com/office/drawing/2014/main" id="{B7D958AE-7548-4171-87C6-72BE57A9BB55}"/>
                    </a:ext>
                  </a:extLst>
                </p:cNvPr>
                <p:cNvSpPr>
                  <a:spLocks noChangeArrowheads="1"/>
                </p:cNvSpPr>
                <p:nvPr/>
              </p:nvSpPr>
              <p:spPr bwMode="auto">
                <a:xfrm>
                  <a:off x="1950552" y="1575258"/>
                  <a:ext cx="467685" cy="355115"/>
                </a:xfrm>
                <a:prstGeom prst="rect">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9945" tIns="34973" rIns="69945" bIns="34973" numCol="1" anchor="t" anchorCtr="0" compatLnSpc="1">
                  <a:prstTxWarp prst="textNoShape">
                    <a:avLst/>
                  </a:prstTxWarp>
                </a:bodyPr>
                <a:lstStyle/>
                <a:p>
                  <a:pPr defTabSz="713478">
                    <a:defRPr/>
                  </a:pPr>
                  <a:endParaRPr lang="en-US" sz="1377">
                    <a:solidFill>
                      <a:srgbClr val="3F3F3F"/>
                    </a:solidFill>
                    <a:latin typeface="Segoe UI"/>
                  </a:endParaRPr>
                </a:p>
              </p:txBody>
            </p:sp>
            <p:sp>
              <p:nvSpPr>
                <p:cNvPr id="32" name="Line 10">
                  <a:extLst>
                    <a:ext uri="{FF2B5EF4-FFF2-40B4-BE49-F238E27FC236}">
                      <a16:creationId xmlns:a16="http://schemas.microsoft.com/office/drawing/2014/main" id="{2128A881-57C0-4468-B991-AAA06B9A9405}"/>
                    </a:ext>
                  </a:extLst>
                </p:cNvPr>
                <p:cNvSpPr>
                  <a:spLocks noChangeShapeType="1"/>
                </p:cNvSpPr>
                <p:nvPr/>
              </p:nvSpPr>
              <p:spPr bwMode="auto">
                <a:xfrm flipH="1">
                  <a:off x="1950552" y="1647026"/>
                  <a:ext cx="4676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69945" tIns="34973" rIns="69945" bIns="34973" numCol="1" anchor="t" anchorCtr="0" compatLnSpc="1">
                  <a:prstTxWarp prst="textNoShape">
                    <a:avLst/>
                  </a:prstTxWarp>
                </a:bodyPr>
                <a:lstStyle/>
                <a:p>
                  <a:pPr defTabSz="713478">
                    <a:defRPr/>
                  </a:pPr>
                  <a:endParaRPr lang="en-US" sz="1377">
                    <a:solidFill>
                      <a:srgbClr val="3F3F3F"/>
                    </a:solidFill>
                    <a:latin typeface="Segoe UI"/>
                  </a:endParaRPr>
                </a:p>
              </p:txBody>
            </p:sp>
          </p:grpSp>
          <p:grpSp>
            <p:nvGrpSpPr>
              <p:cNvPr id="27" name="Group 26">
                <a:extLst>
                  <a:ext uri="{FF2B5EF4-FFF2-40B4-BE49-F238E27FC236}">
                    <a16:creationId xmlns:a16="http://schemas.microsoft.com/office/drawing/2014/main" id="{032679AB-87F1-4C81-81BC-8D46333E8149}"/>
                  </a:ext>
                </a:extLst>
              </p:cNvPr>
              <p:cNvGrpSpPr/>
              <p:nvPr/>
            </p:nvGrpSpPr>
            <p:grpSpPr>
              <a:xfrm>
                <a:off x="2287367" y="1599181"/>
                <a:ext cx="95690" cy="23923"/>
                <a:chOff x="2287367" y="1599181"/>
                <a:chExt cx="95690" cy="23923"/>
              </a:xfrm>
            </p:grpSpPr>
            <p:sp>
              <p:nvSpPr>
                <p:cNvPr id="28" name="Oval 11">
                  <a:extLst>
                    <a:ext uri="{FF2B5EF4-FFF2-40B4-BE49-F238E27FC236}">
                      <a16:creationId xmlns:a16="http://schemas.microsoft.com/office/drawing/2014/main" id="{175134D2-DE50-451B-A802-63568ABC43CD}"/>
                    </a:ext>
                  </a:extLst>
                </p:cNvPr>
                <p:cNvSpPr>
                  <a:spLocks noChangeArrowheads="1"/>
                </p:cNvSpPr>
                <p:nvPr/>
              </p:nvSpPr>
              <p:spPr bwMode="auto">
                <a:xfrm>
                  <a:off x="2287367" y="1599181"/>
                  <a:ext cx="23923" cy="23923"/>
                </a:xfrm>
                <a:prstGeom prst="ellipse">
                  <a:avLst/>
                </a:prstGeom>
                <a:solidFill>
                  <a:schemeClr val="tx1"/>
                </a:solidFill>
                <a:ln w="12700">
                  <a:solidFill>
                    <a:schemeClr val="tx2"/>
                  </a:solidFill>
                  <a:round/>
                  <a:headEnd/>
                  <a:tailEnd/>
                </a:ln>
              </p:spPr>
              <p:txBody>
                <a:bodyPr vert="horz" wrap="square" lIns="69945" tIns="34973" rIns="69945" bIns="34973" numCol="1" anchor="t" anchorCtr="0" compatLnSpc="1">
                  <a:prstTxWarp prst="textNoShape">
                    <a:avLst/>
                  </a:prstTxWarp>
                </a:bodyPr>
                <a:lstStyle/>
                <a:p>
                  <a:pPr defTabSz="713478">
                    <a:defRPr/>
                  </a:pPr>
                  <a:endParaRPr lang="en-US" sz="1377">
                    <a:solidFill>
                      <a:srgbClr val="3F3F3F"/>
                    </a:solidFill>
                    <a:latin typeface="Segoe UI"/>
                  </a:endParaRPr>
                </a:p>
              </p:txBody>
            </p:sp>
            <p:sp>
              <p:nvSpPr>
                <p:cNvPr id="29" name="Oval 12">
                  <a:extLst>
                    <a:ext uri="{FF2B5EF4-FFF2-40B4-BE49-F238E27FC236}">
                      <a16:creationId xmlns:a16="http://schemas.microsoft.com/office/drawing/2014/main" id="{49AFB883-812C-4480-9566-C8BA8898D637}"/>
                    </a:ext>
                  </a:extLst>
                </p:cNvPr>
                <p:cNvSpPr>
                  <a:spLocks noChangeArrowheads="1"/>
                </p:cNvSpPr>
                <p:nvPr/>
              </p:nvSpPr>
              <p:spPr bwMode="auto">
                <a:xfrm>
                  <a:off x="2322547" y="1599181"/>
                  <a:ext cx="23923" cy="23923"/>
                </a:xfrm>
                <a:prstGeom prst="ellipse">
                  <a:avLst/>
                </a:prstGeom>
                <a:solidFill>
                  <a:schemeClr val="tx1"/>
                </a:solidFill>
                <a:ln w="12700">
                  <a:solidFill>
                    <a:schemeClr val="tx2"/>
                  </a:solidFill>
                  <a:round/>
                  <a:headEnd/>
                  <a:tailEnd/>
                </a:ln>
              </p:spPr>
              <p:txBody>
                <a:bodyPr vert="horz" wrap="square" lIns="69945" tIns="34973" rIns="69945" bIns="34973" numCol="1" anchor="t" anchorCtr="0" compatLnSpc="1">
                  <a:prstTxWarp prst="textNoShape">
                    <a:avLst/>
                  </a:prstTxWarp>
                </a:bodyPr>
                <a:lstStyle/>
                <a:p>
                  <a:pPr defTabSz="713478">
                    <a:defRPr/>
                  </a:pPr>
                  <a:endParaRPr lang="en-US" sz="1377">
                    <a:solidFill>
                      <a:srgbClr val="3F3F3F"/>
                    </a:solidFill>
                    <a:latin typeface="Segoe UI"/>
                  </a:endParaRPr>
                </a:p>
              </p:txBody>
            </p:sp>
            <p:sp>
              <p:nvSpPr>
                <p:cNvPr id="30" name="Oval 13">
                  <a:extLst>
                    <a:ext uri="{FF2B5EF4-FFF2-40B4-BE49-F238E27FC236}">
                      <a16:creationId xmlns:a16="http://schemas.microsoft.com/office/drawing/2014/main" id="{362CF66D-8D49-47A7-AD91-1D845AA98CAB}"/>
                    </a:ext>
                  </a:extLst>
                </p:cNvPr>
                <p:cNvSpPr>
                  <a:spLocks noChangeArrowheads="1"/>
                </p:cNvSpPr>
                <p:nvPr/>
              </p:nvSpPr>
              <p:spPr bwMode="auto">
                <a:xfrm>
                  <a:off x="2359134" y="1599181"/>
                  <a:ext cx="23923" cy="23923"/>
                </a:xfrm>
                <a:prstGeom prst="ellipse">
                  <a:avLst/>
                </a:prstGeom>
                <a:solidFill>
                  <a:schemeClr val="tx1"/>
                </a:solidFill>
                <a:ln w="12700">
                  <a:solidFill>
                    <a:schemeClr val="tx2"/>
                  </a:solidFill>
                  <a:round/>
                  <a:headEnd/>
                  <a:tailEnd/>
                </a:ln>
              </p:spPr>
              <p:txBody>
                <a:bodyPr vert="horz" wrap="square" lIns="69945" tIns="34973" rIns="69945" bIns="34973" numCol="1" anchor="t" anchorCtr="0" compatLnSpc="1">
                  <a:prstTxWarp prst="textNoShape">
                    <a:avLst/>
                  </a:prstTxWarp>
                </a:bodyPr>
                <a:lstStyle/>
                <a:p>
                  <a:pPr defTabSz="713478">
                    <a:defRPr/>
                  </a:pPr>
                  <a:endParaRPr lang="en-US" sz="1377">
                    <a:solidFill>
                      <a:srgbClr val="3F3F3F"/>
                    </a:solidFill>
                    <a:latin typeface="Segoe UI"/>
                  </a:endParaRPr>
                </a:p>
              </p:txBody>
            </p:sp>
          </p:grpSp>
        </p:grpSp>
        <p:cxnSp>
          <p:nvCxnSpPr>
            <p:cNvPr id="23" name="Straight Connector 22">
              <a:extLst>
                <a:ext uri="{FF2B5EF4-FFF2-40B4-BE49-F238E27FC236}">
                  <a16:creationId xmlns:a16="http://schemas.microsoft.com/office/drawing/2014/main" id="{85EF6702-B61E-42C9-A3B3-B27BAA81A103}"/>
                </a:ext>
              </a:extLst>
            </p:cNvPr>
            <p:cNvCxnSpPr/>
            <p:nvPr/>
          </p:nvCxnSpPr>
          <p:spPr>
            <a:xfrm>
              <a:off x="1993664" y="3361765"/>
              <a:ext cx="438474"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3D14ACD-68EC-4292-B470-490ABB6469D4}"/>
                </a:ext>
              </a:extLst>
            </p:cNvPr>
            <p:cNvCxnSpPr>
              <a:cxnSpLocks/>
            </p:cNvCxnSpPr>
            <p:nvPr/>
          </p:nvCxnSpPr>
          <p:spPr>
            <a:xfrm>
              <a:off x="1993664" y="3545542"/>
              <a:ext cx="897828"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896BED6-C769-4BCD-85BD-2FA9501B44CC}"/>
                </a:ext>
              </a:extLst>
            </p:cNvPr>
            <p:cNvCxnSpPr>
              <a:cxnSpLocks/>
            </p:cNvCxnSpPr>
            <p:nvPr/>
          </p:nvCxnSpPr>
          <p:spPr>
            <a:xfrm>
              <a:off x="1993664" y="3729318"/>
              <a:ext cx="897828"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A702D37A-5A22-4E30-866B-177E38C38EBC}"/>
              </a:ext>
            </a:extLst>
          </p:cNvPr>
          <p:cNvGrpSpPr/>
          <p:nvPr/>
        </p:nvGrpSpPr>
        <p:grpSpPr>
          <a:xfrm>
            <a:off x="5768189" y="2838249"/>
            <a:ext cx="900100" cy="1497005"/>
            <a:chOff x="4854834" y="2681759"/>
            <a:chExt cx="1078415" cy="1793570"/>
          </a:xfrm>
        </p:grpSpPr>
        <p:sp>
          <p:nvSpPr>
            <p:cNvPr id="34" name="Freeform 5">
              <a:extLst>
                <a:ext uri="{FF2B5EF4-FFF2-40B4-BE49-F238E27FC236}">
                  <a16:creationId xmlns:a16="http://schemas.microsoft.com/office/drawing/2014/main" id="{D9A4AD6F-A38F-4CD9-9669-98B431D22916}"/>
                </a:ext>
              </a:extLst>
            </p:cNvPr>
            <p:cNvSpPr>
              <a:spLocks noEditPoints="1"/>
            </p:cNvSpPr>
            <p:nvPr/>
          </p:nvSpPr>
          <p:spPr bwMode="auto">
            <a:xfrm>
              <a:off x="4854834" y="2681759"/>
              <a:ext cx="1078415" cy="179357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905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69945" tIns="34973" rIns="69945" bIns="34973" numCol="1" anchor="t" anchorCtr="0" compatLnSpc="1">
              <a:prstTxWarp prst="textNoShape">
                <a:avLst/>
              </a:prstTxWarp>
            </a:bodyPr>
            <a:lstStyle/>
            <a:p>
              <a:pPr defTabSz="699447">
                <a:defRPr/>
              </a:pPr>
              <a:endParaRPr lang="en-US" sz="1377" kern="0">
                <a:solidFill>
                  <a:sysClr val="windowText" lastClr="000000"/>
                </a:solidFill>
                <a:latin typeface="Segoe UI Semilight"/>
              </a:endParaRPr>
            </a:p>
          </p:txBody>
        </p:sp>
        <p:grpSp>
          <p:nvGrpSpPr>
            <p:cNvPr id="35" name="Group 34">
              <a:extLst>
                <a:ext uri="{FF2B5EF4-FFF2-40B4-BE49-F238E27FC236}">
                  <a16:creationId xmlns:a16="http://schemas.microsoft.com/office/drawing/2014/main" id="{9B2239F7-7532-4AFC-87D8-23FF6A261275}"/>
                </a:ext>
              </a:extLst>
            </p:cNvPr>
            <p:cNvGrpSpPr/>
            <p:nvPr/>
          </p:nvGrpSpPr>
          <p:grpSpPr>
            <a:xfrm>
              <a:off x="5002459" y="2868706"/>
              <a:ext cx="783165" cy="209422"/>
              <a:chOff x="5011271" y="2868706"/>
              <a:chExt cx="783165" cy="209422"/>
            </a:xfrm>
          </p:grpSpPr>
          <p:sp>
            <p:nvSpPr>
              <p:cNvPr id="44" name="Rectangle 43">
                <a:extLst>
                  <a:ext uri="{FF2B5EF4-FFF2-40B4-BE49-F238E27FC236}">
                    <a16:creationId xmlns:a16="http://schemas.microsoft.com/office/drawing/2014/main" id="{24838113-0C73-406A-8019-56F6210B935C}"/>
                  </a:ext>
                </a:extLst>
              </p:cNvPr>
              <p:cNvSpPr>
                <a:spLocks noChangeAspect="1"/>
              </p:cNvSpPr>
              <p:nvPr/>
            </p:nvSpPr>
            <p:spPr bwMode="auto">
              <a:xfrm>
                <a:off x="5011271" y="2868706"/>
                <a:ext cx="209422" cy="209422"/>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fontAlgn="base">
                  <a:spcBef>
                    <a:spcPct val="0"/>
                  </a:spcBef>
                  <a:spcAft>
                    <a:spcPct val="0"/>
                  </a:spcAft>
                  <a:defRPr/>
                </a:pPr>
                <a:endParaRPr lang="en-US" sz="153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D3606404-5DD9-4F0E-8E4F-76042BA19A57}"/>
                  </a:ext>
                </a:extLst>
              </p:cNvPr>
              <p:cNvSpPr>
                <a:spLocks noChangeAspect="1"/>
              </p:cNvSpPr>
              <p:nvPr/>
            </p:nvSpPr>
            <p:spPr bwMode="auto">
              <a:xfrm>
                <a:off x="5298142" y="2868706"/>
                <a:ext cx="209422" cy="209422"/>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fontAlgn="base">
                  <a:spcBef>
                    <a:spcPct val="0"/>
                  </a:spcBef>
                  <a:spcAft>
                    <a:spcPct val="0"/>
                  </a:spcAft>
                  <a:defRPr/>
                </a:pPr>
                <a:endParaRPr lang="en-US" sz="153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027C107A-58FD-4F35-A651-2D260DF833CF}"/>
                  </a:ext>
                </a:extLst>
              </p:cNvPr>
              <p:cNvSpPr>
                <a:spLocks noChangeAspect="1"/>
              </p:cNvSpPr>
              <p:nvPr/>
            </p:nvSpPr>
            <p:spPr bwMode="auto">
              <a:xfrm>
                <a:off x="5585014" y="2868706"/>
                <a:ext cx="209422" cy="209422"/>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fontAlgn="base">
                  <a:spcBef>
                    <a:spcPct val="0"/>
                  </a:spcBef>
                  <a:spcAft>
                    <a:spcPct val="0"/>
                  </a:spcAft>
                  <a:defRPr/>
                </a:pPr>
                <a:endParaRPr lang="en-US" sz="153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6" name="Group 35">
              <a:extLst>
                <a:ext uri="{FF2B5EF4-FFF2-40B4-BE49-F238E27FC236}">
                  <a16:creationId xmlns:a16="http://schemas.microsoft.com/office/drawing/2014/main" id="{A6E3AFAA-65FD-4777-95CB-B9B9FB6A5AB3}"/>
                </a:ext>
              </a:extLst>
            </p:cNvPr>
            <p:cNvGrpSpPr/>
            <p:nvPr/>
          </p:nvGrpSpPr>
          <p:grpSpPr>
            <a:xfrm>
              <a:off x="5002459" y="3207124"/>
              <a:ext cx="783165" cy="209422"/>
              <a:chOff x="5011271" y="2868706"/>
              <a:chExt cx="783165" cy="209422"/>
            </a:xfrm>
          </p:grpSpPr>
          <p:sp>
            <p:nvSpPr>
              <p:cNvPr id="41" name="Rectangle 40">
                <a:extLst>
                  <a:ext uri="{FF2B5EF4-FFF2-40B4-BE49-F238E27FC236}">
                    <a16:creationId xmlns:a16="http://schemas.microsoft.com/office/drawing/2014/main" id="{C3CF15E0-8512-4C0F-91D3-76C446C0E11B}"/>
                  </a:ext>
                </a:extLst>
              </p:cNvPr>
              <p:cNvSpPr>
                <a:spLocks noChangeAspect="1"/>
              </p:cNvSpPr>
              <p:nvPr/>
            </p:nvSpPr>
            <p:spPr bwMode="auto">
              <a:xfrm>
                <a:off x="5011271" y="2868706"/>
                <a:ext cx="209422" cy="209422"/>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fontAlgn="base">
                  <a:spcBef>
                    <a:spcPct val="0"/>
                  </a:spcBef>
                  <a:spcAft>
                    <a:spcPct val="0"/>
                  </a:spcAft>
                  <a:defRPr/>
                </a:pPr>
                <a:endParaRPr lang="en-US" sz="153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C58FFBC9-6745-47FC-B0C9-2A5C4468E296}"/>
                  </a:ext>
                </a:extLst>
              </p:cNvPr>
              <p:cNvSpPr>
                <a:spLocks noChangeAspect="1"/>
              </p:cNvSpPr>
              <p:nvPr/>
            </p:nvSpPr>
            <p:spPr bwMode="auto">
              <a:xfrm>
                <a:off x="5298142" y="2868706"/>
                <a:ext cx="209422" cy="209422"/>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fontAlgn="base">
                  <a:spcBef>
                    <a:spcPct val="0"/>
                  </a:spcBef>
                  <a:spcAft>
                    <a:spcPct val="0"/>
                  </a:spcAft>
                  <a:defRPr/>
                </a:pPr>
                <a:endParaRPr lang="en-US" sz="153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Rectangle 42">
                <a:extLst>
                  <a:ext uri="{FF2B5EF4-FFF2-40B4-BE49-F238E27FC236}">
                    <a16:creationId xmlns:a16="http://schemas.microsoft.com/office/drawing/2014/main" id="{AD492567-B13C-41E1-AACA-E9C87F1A2AF9}"/>
                  </a:ext>
                </a:extLst>
              </p:cNvPr>
              <p:cNvSpPr>
                <a:spLocks noChangeAspect="1"/>
              </p:cNvSpPr>
              <p:nvPr/>
            </p:nvSpPr>
            <p:spPr bwMode="auto">
              <a:xfrm>
                <a:off x="5585014" y="2868706"/>
                <a:ext cx="209422" cy="209422"/>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fontAlgn="base">
                  <a:spcBef>
                    <a:spcPct val="0"/>
                  </a:spcBef>
                  <a:spcAft>
                    <a:spcPct val="0"/>
                  </a:spcAft>
                  <a:defRPr/>
                </a:pPr>
                <a:endParaRPr lang="en-US" sz="153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7" name="Group 36">
              <a:extLst>
                <a:ext uri="{FF2B5EF4-FFF2-40B4-BE49-F238E27FC236}">
                  <a16:creationId xmlns:a16="http://schemas.microsoft.com/office/drawing/2014/main" id="{C5B9B94A-9F3B-4C49-93F9-162F9A660E99}"/>
                </a:ext>
              </a:extLst>
            </p:cNvPr>
            <p:cNvGrpSpPr/>
            <p:nvPr/>
          </p:nvGrpSpPr>
          <p:grpSpPr>
            <a:xfrm>
              <a:off x="5002459" y="3545542"/>
              <a:ext cx="783165" cy="209422"/>
              <a:chOff x="5011271" y="2868706"/>
              <a:chExt cx="783165" cy="209422"/>
            </a:xfrm>
          </p:grpSpPr>
          <p:sp>
            <p:nvSpPr>
              <p:cNvPr id="38" name="Rectangle 37">
                <a:extLst>
                  <a:ext uri="{FF2B5EF4-FFF2-40B4-BE49-F238E27FC236}">
                    <a16:creationId xmlns:a16="http://schemas.microsoft.com/office/drawing/2014/main" id="{BD5D3D23-859C-433C-895F-F035DDC30A92}"/>
                  </a:ext>
                </a:extLst>
              </p:cNvPr>
              <p:cNvSpPr>
                <a:spLocks noChangeAspect="1"/>
              </p:cNvSpPr>
              <p:nvPr/>
            </p:nvSpPr>
            <p:spPr bwMode="auto">
              <a:xfrm>
                <a:off x="5011271" y="2868706"/>
                <a:ext cx="209422" cy="209422"/>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fontAlgn="base">
                  <a:spcBef>
                    <a:spcPct val="0"/>
                  </a:spcBef>
                  <a:spcAft>
                    <a:spcPct val="0"/>
                  </a:spcAft>
                  <a:defRPr/>
                </a:pPr>
                <a:endParaRPr lang="en-US" sz="153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697D9BC5-0C5F-4878-A08E-F3956C2153AC}"/>
                  </a:ext>
                </a:extLst>
              </p:cNvPr>
              <p:cNvSpPr>
                <a:spLocks noChangeAspect="1"/>
              </p:cNvSpPr>
              <p:nvPr/>
            </p:nvSpPr>
            <p:spPr bwMode="auto">
              <a:xfrm>
                <a:off x="5298142" y="2868706"/>
                <a:ext cx="209422" cy="209422"/>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fontAlgn="base">
                  <a:spcBef>
                    <a:spcPct val="0"/>
                  </a:spcBef>
                  <a:spcAft>
                    <a:spcPct val="0"/>
                  </a:spcAft>
                  <a:defRPr/>
                </a:pPr>
                <a:endParaRPr lang="en-US" sz="153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F58CDEAC-CCDB-4E6D-B352-8726A3219BFE}"/>
                  </a:ext>
                </a:extLst>
              </p:cNvPr>
              <p:cNvSpPr>
                <a:spLocks noChangeAspect="1"/>
              </p:cNvSpPr>
              <p:nvPr/>
            </p:nvSpPr>
            <p:spPr bwMode="auto">
              <a:xfrm>
                <a:off x="5585014" y="2868706"/>
                <a:ext cx="209422" cy="209422"/>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fontAlgn="base">
                  <a:spcBef>
                    <a:spcPct val="0"/>
                  </a:spcBef>
                  <a:spcAft>
                    <a:spcPct val="0"/>
                  </a:spcAft>
                  <a:defRPr/>
                </a:pPr>
                <a:endParaRPr lang="en-US" sz="153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cxnSp>
        <p:nvCxnSpPr>
          <p:cNvPr id="47" name="Straight Connector 46">
            <a:extLst>
              <a:ext uri="{FF2B5EF4-FFF2-40B4-BE49-F238E27FC236}">
                <a16:creationId xmlns:a16="http://schemas.microsoft.com/office/drawing/2014/main" id="{EA1C97CB-AE74-41D1-A1BE-C823676CBCAF}"/>
              </a:ext>
            </a:extLst>
          </p:cNvPr>
          <p:cNvCxnSpPr>
            <a:cxnSpLocks/>
          </p:cNvCxnSpPr>
          <p:nvPr/>
        </p:nvCxnSpPr>
        <p:spPr>
          <a:xfrm>
            <a:off x="2924039" y="4542841"/>
            <a:ext cx="4014335"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0246D11F-B45A-472C-917D-48863AFC2F7F}"/>
              </a:ext>
            </a:extLst>
          </p:cNvPr>
          <p:cNvSpPr/>
          <p:nvPr/>
        </p:nvSpPr>
        <p:spPr bwMode="auto">
          <a:xfrm>
            <a:off x="4132121" y="4658521"/>
            <a:ext cx="1598171" cy="3299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34973" rIns="69945" bIns="34973" numCol="1" spcCol="0" rtlCol="0" fromWordArt="0" anchor="t" anchorCtr="0" forceAA="0" compatLnSpc="1">
            <a:prstTxWarp prst="textNoShape">
              <a:avLst/>
            </a:prstTxWarp>
            <a:spAutoFit/>
          </a:bodyPr>
          <a:lstStyle/>
          <a:p>
            <a:pPr algn="ctr" defTabSz="699085" fontAlgn="base">
              <a:lnSpc>
                <a:spcPct val="90000"/>
              </a:lnSpc>
              <a:spcBef>
                <a:spcPts val="918"/>
              </a:spcBef>
              <a:spcAft>
                <a:spcPct val="0"/>
              </a:spcAft>
              <a:buSzPct val="90000"/>
              <a:defRPr/>
            </a:pPr>
            <a:r>
              <a:rPr lang="zh-CN" altLang="en-US" sz="1836" kern="0" dirty="0">
                <a:solidFill>
                  <a:srgbClr val="1A1A1A"/>
                </a:solidFill>
                <a:latin typeface="Segoe UI Semibold"/>
                <a:ea typeface="宋体" panose="02010600030101010101" pitchFamily="2" charset="-122"/>
                <a:cs typeface="Segoe UI Semilight" panose="020B0402040204020203" pitchFamily="34" charset="0"/>
              </a:rPr>
              <a:t>你的应用</a:t>
            </a:r>
            <a:endParaRPr lang="en-US" sz="1836" kern="0" dirty="0">
              <a:solidFill>
                <a:srgbClr val="1A1A1A"/>
              </a:solidFill>
              <a:latin typeface="Segoe UI Semibold"/>
              <a:cs typeface="Segoe UI Semilight" panose="020B0402040204020203" pitchFamily="34" charset="0"/>
            </a:endParaRPr>
          </a:p>
        </p:txBody>
      </p:sp>
      <p:sp>
        <p:nvSpPr>
          <p:cNvPr id="2" name="Title 1">
            <a:extLst>
              <a:ext uri="{FF2B5EF4-FFF2-40B4-BE49-F238E27FC236}">
                <a16:creationId xmlns:a16="http://schemas.microsoft.com/office/drawing/2014/main" id="{E5244E8A-EE6B-405F-8DE8-3B8D7329580A}"/>
              </a:ext>
            </a:extLst>
          </p:cNvPr>
          <p:cNvSpPr>
            <a:spLocks noGrp="1"/>
          </p:cNvSpPr>
          <p:nvPr>
            <p:ph type="title"/>
          </p:nvPr>
        </p:nvSpPr>
        <p:spPr>
          <a:xfrm>
            <a:off x="712689" y="743198"/>
            <a:ext cx="8992662" cy="908282"/>
          </a:xfrm>
        </p:spPr>
        <p:txBody>
          <a:bodyPr>
            <a:normAutofit/>
          </a:bodyPr>
          <a:lstStyle/>
          <a:p>
            <a:pPr algn="ctr"/>
            <a:r>
              <a:rPr lang="zh-CN" altLang="en-US" sz="4080" dirty="0">
                <a:latin typeface="微软雅黑" panose="020B0503020204020204" pitchFamily="34" charset="-122"/>
                <a:ea typeface="微软雅黑" panose="020B0503020204020204" pitchFamily="34" charset="-122"/>
              </a:rPr>
              <a:t>开发</a:t>
            </a:r>
            <a:r>
              <a:rPr lang="en-US" sz="4080" dirty="0">
                <a:latin typeface="微软雅黑" panose="020B0503020204020204" pitchFamily="34" charset="-122"/>
                <a:ea typeface="微软雅黑" panose="020B0503020204020204" pitchFamily="34" charset="-122"/>
              </a:rPr>
              <a:t> AI </a:t>
            </a:r>
            <a:r>
              <a:rPr lang="zh-CN" altLang="en-US" sz="4080" dirty="0">
                <a:latin typeface="微软雅黑" panose="020B0503020204020204" pitchFamily="34" charset="-122"/>
                <a:ea typeface="微软雅黑" panose="020B0503020204020204" pitchFamily="34" charset="-122"/>
              </a:rPr>
              <a:t>应用</a:t>
            </a:r>
            <a:r>
              <a:rPr lang="en-US" sz="4080" dirty="0">
                <a:latin typeface="微软雅黑" panose="020B0503020204020204" pitchFamily="34" charset="-122"/>
                <a:ea typeface="微软雅黑" panose="020B0503020204020204" pitchFamily="34" charset="-122"/>
              </a:rPr>
              <a:t> &amp; </a:t>
            </a:r>
            <a:r>
              <a:rPr lang="zh-CN" altLang="en-US" sz="4080" dirty="0">
                <a:latin typeface="微软雅黑" panose="020B0503020204020204" pitchFamily="34" charset="-122"/>
                <a:ea typeface="微软雅黑" panose="020B0503020204020204" pitchFamily="34" charset="-122"/>
              </a:rPr>
              <a:t>智能助理</a:t>
            </a:r>
            <a:endParaRPr lang="en-US" sz="408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49557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D897A1D-FC57-4E45-8D1B-18B639938EF1}"/>
              </a:ext>
            </a:extLst>
          </p:cNvPr>
          <p:cNvSpPr/>
          <p:nvPr/>
        </p:nvSpPr>
        <p:spPr bwMode="auto">
          <a:xfrm>
            <a:off x="5898101" y="1350331"/>
            <a:ext cx="4827719" cy="5245894"/>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fontAlgn="base">
              <a:spcBef>
                <a:spcPct val="0"/>
              </a:spcBef>
              <a:spcAft>
                <a:spcPct val="0"/>
              </a:spcAft>
              <a:defRPr/>
            </a:pPr>
            <a:endParaRPr lang="en-US" sz="153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Title 1">
            <a:extLst>
              <a:ext uri="{FF2B5EF4-FFF2-40B4-BE49-F238E27FC236}">
                <a16:creationId xmlns:a16="http://schemas.microsoft.com/office/drawing/2014/main" id="{78F249DD-8074-486E-A8F4-C41B8844C935}"/>
              </a:ext>
            </a:extLst>
          </p:cNvPr>
          <p:cNvSpPr>
            <a:spLocks noGrp="1"/>
          </p:cNvSpPr>
          <p:nvPr>
            <p:ph type="title"/>
          </p:nvPr>
        </p:nvSpPr>
        <p:spPr>
          <a:xfrm>
            <a:off x="1467686" y="410287"/>
            <a:ext cx="8428403" cy="847540"/>
          </a:xfrm>
        </p:spPr>
        <p:txBody>
          <a:bodyPr>
            <a:noAutofit/>
          </a:bodyPr>
          <a:lstStyle/>
          <a:p>
            <a:r>
              <a:rPr lang="en-US" altLang="en-US" sz="4080" dirty="0">
                <a:latin typeface="微软雅黑" panose="020B0503020204020204" pitchFamily="34" charset="-122"/>
                <a:ea typeface="微软雅黑" panose="020B0503020204020204" pitchFamily="34" charset="-122"/>
              </a:rPr>
              <a:t>Cognitive Services</a:t>
            </a:r>
            <a:r>
              <a:rPr lang="zh-CN" altLang="en-US" sz="4080" dirty="0">
                <a:latin typeface="微软雅黑" panose="020B0503020204020204" pitchFamily="34" charset="-122"/>
                <a:ea typeface="微软雅黑" panose="020B0503020204020204" pitchFamily="34" charset="-122"/>
              </a:rPr>
              <a:t>认知服务</a:t>
            </a:r>
            <a:endParaRPr lang="en-US" sz="4080" dirty="0">
              <a:latin typeface="微软雅黑" panose="020B0503020204020204" pitchFamily="34" charset="-122"/>
              <a:ea typeface="微软雅黑" panose="020B0503020204020204" pitchFamily="34" charset="-122"/>
            </a:endParaRPr>
          </a:p>
        </p:txBody>
      </p:sp>
      <p:sp>
        <p:nvSpPr>
          <p:cNvPr id="51" name="Title 1">
            <a:extLst>
              <a:ext uri="{FF2B5EF4-FFF2-40B4-BE49-F238E27FC236}">
                <a16:creationId xmlns:a16="http://schemas.microsoft.com/office/drawing/2014/main" id="{D9BA3765-3037-49A1-8CED-1BA3B1A7F47E}"/>
              </a:ext>
            </a:extLst>
          </p:cNvPr>
          <p:cNvSpPr txBox="1">
            <a:spLocks/>
          </p:cNvSpPr>
          <p:nvPr/>
        </p:nvSpPr>
        <p:spPr>
          <a:xfrm>
            <a:off x="6344418" y="1700059"/>
            <a:ext cx="4381403" cy="8645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13478">
              <a:defRPr/>
            </a:pPr>
            <a:r>
              <a:rPr lang="en-US" sz="2754" spc="-39" dirty="0">
                <a:solidFill>
                  <a:srgbClr val="FFFFFF"/>
                </a:solidFill>
                <a:latin typeface="微软雅黑" panose="020B0503020204020204" pitchFamily="34" charset="-122"/>
                <a:ea typeface="微软雅黑" panose="020B0503020204020204" pitchFamily="34" charset="-122"/>
              </a:rPr>
              <a:t>Bot Service</a:t>
            </a:r>
          </a:p>
          <a:p>
            <a:pPr defTabSz="713478">
              <a:defRPr/>
            </a:pPr>
            <a:r>
              <a:rPr lang="zh-CN" altLang="en-US" sz="2754" spc="-51" dirty="0">
                <a:solidFill>
                  <a:srgbClr val="FFFFFF"/>
                </a:solidFill>
                <a:latin typeface="微软雅黑" panose="020B0503020204020204" pitchFamily="34" charset="-122"/>
                <a:ea typeface="微软雅黑" panose="020B0503020204020204" pitchFamily="34" charset="-122"/>
              </a:rPr>
              <a:t>对话机器人服务</a:t>
            </a:r>
            <a:endParaRPr lang="en-US" sz="2754" spc="-38" dirty="0">
              <a:solidFill>
                <a:srgbClr val="FFFFFF"/>
              </a:solidFill>
              <a:latin typeface="微软雅黑" panose="020B0503020204020204" pitchFamily="34" charset="-122"/>
              <a:ea typeface="微软雅黑" panose="020B0503020204020204" pitchFamily="34" charset="-122"/>
              <a:cs typeface="Segoe UI Semilight" panose="020B0402040204020203" pitchFamily="34" charset="0"/>
            </a:endParaRPr>
          </a:p>
        </p:txBody>
      </p:sp>
      <p:sp>
        <p:nvSpPr>
          <p:cNvPr id="16" name="TextBox 15">
            <a:extLst>
              <a:ext uri="{FF2B5EF4-FFF2-40B4-BE49-F238E27FC236}">
                <a16:creationId xmlns:a16="http://schemas.microsoft.com/office/drawing/2014/main" id="{F019E3DF-3FA9-4A42-A9D4-16BF85492A88}"/>
              </a:ext>
            </a:extLst>
          </p:cNvPr>
          <p:cNvSpPr txBox="1"/>
          <p:nvPr/>
        </p:nvSpPr>
        <p:spPr>
          <a:xfrm>
            <a:off x="1245201" y="1865785"/>
            <a:ext cx="4328580" cy="2383182"/>
          </a:xfrm>
          <a:prstGeom prst="rect">
            <a:avLst/>
          </a:prstGeom>
          <a:noFill/>
        </p:spPr>
        <p:txBody>
          <a:bodyPr wrap="square" lIns="0" tIns="0" rIns="0" bIns="0" rtlCol="0">
            <a:spAutoFit/>
          </a:bodyPr>
          <a:lstStyle/>
          <a:p>
            <a:pPr defTabSz="534767">
              <a:spcBef>
                <a:spcPts val="688"/>
              </a:spcBef>
              <a:spcAft>
                <a:spcPts val="688"/>
              </a:spcAft>
              <a:defRPr/>
            </a:pPr>
            <a:r>
              <a:rPr lang="en-US" sz="1836" kern="0" dirty="0">
                <a:ln w="3175">
                  <a:noFill/>
                </a:ln>
                <a:solidFill>
                  <a:srgbClr val="0078D4"/>
                </a:solidFill>
                <a:latin typeface="Segoe UI" panose="020B0502040204020203" pitchFamily="34" charset="0"/>
                <a:cs typeface="Segoe UI" panose="020B0502040204020203" pitchFamily="34" charset="0"/>
              </a:rPr>
              <a:t>Infuse your apps with powerful, </a:t>
            </a:r>
            <a:br>
              <a:rPr lang="en-US" sz="1836" kern="0" dirty="0">
                <a:ln w="3175">
                  <a:noFill/>
                </a:ln>
                <a:solidFill>
                  <a:srgbClr val="0078D4"/>
                </a:solidFill>
                <a:latin typeface="Segoe UI" panose="020B0502040204020203" pitchFamily="34" charset="0"/>
                <a:cs typeface="Segoe UI" panose="020B0502040204020203" pitchFamily="34" charset="0"/>
              </a:rPr>
            </a:br>
            <a:r>
              <a:rPr lang="en-US" sz="1836" kern="0" dirty="0">
                <a:ln w="3175">
                  <a:noFill/>
                </a:ln>
                <a:solidFill>
                  <a:srgbClr val="0078D4"/>
                </a:solidFill>
                <a:latin typeface="Segoe UI" panose="020B0502040204020203" pitchFamily="34" charset="0"/>
                <a:cs typeface="Segoe UI" panose="020B0502040204020203" pitchFamily="34" charset="0"/>
              </a:rPr>
              <a:t>pre-trained AI models</a:t>
            </a:r>
            <a:br>
              <a:rPr lang="en-US" sz="1836" kern="0" dirty="0">
                <a:ln w="3175">
                  <a:noFill/>
                </a:ln>
                <a:solidFill>
                  <a:srgbClr val="0078D4"/>
                </a:solidFill>
                <a:latin typeface="Segoe UI" panose="020B0502040204020203" pitchFamily="34" charset="0"/>
                <a:cs typeface="Segoe UI" panose="020B0502040204020203" pitchFamily="34" charset="0"/>
              </a:rPr>
            </a:br>
            <a:r>
              <a:rPr lang="zh-CN" altLang="en-US" sz="1836" kern="0" dirty="0">
                <a:ln w="3175">
                  <a:noFill/>
                </a:ln>
                <a:solidFill>
                  <a:srgbClr val="0078D4"/>
                </a:solidFill>
                <a:latin typeface="Segoe UI" panose="020B0502040204020203" pitchFamily="34" charset="0"/>
                <a:ea typeface="宋体" panose="02010600030101010101" pitchFamily="2" charset="-122"/>
                <a:cs typeface="Segoe UI" panose="020B0502040204020203" pitchFamily="34" charset="0"/>
              </a:rPr>
              <a:t>应用中直接使用预训练的模型</a:t>
            </a:r>
            <a:endParaRPr lang="en-US" sz="1836" kern="0" dirty="0">
              <a:ln w="3175">
                <a:noFill/>
              </a:ln>
              <a:solidFill>
                <a:srgbClr val="0078D4"/>
              </a:solidFill>
              <a:latin typeface="Segoe UI" panose="020B0502040204020203" pitchFamily="34" charset="0"/>
              <a:cs typeface="Segoe UI" panose="020B0502040204020203" pitchFamily="34" charset="0"/>
            </a:endParaRPr>
          </a:p>
          <a:p>
            <a:pPr defTabSz="534767">
              <a:spcBef>
                <a:spcPts val="688"/>
              </a:spcBef>
              <a:spcAft>
                <a:spcPts val="688"/>
              </a:spcAft>
              <a:defRPr/>
            </a:pPr>
            <a:r>
              <a:rPr lang="en-US" sz="1836" kern="0" dirty="0">
                <a:ln w="3175">
                  <a:noFill/>
                </a:ln>
                <a:solidFill>
                  <a:srgbClr val="0078D4"/>
                </a:solidFill>
                <a:latin typeface="Segoe UI" panose="020B0502040204020203" pitchFamily="34" charset="0"/>
                <a:cs typeface="Segoe UI" panose="020B0502040204020203" pitchFamily="34" charset="0"/>
              </a:rPr>
              <a:t>Customize easily and tailor to your needs</a:t>
            </a:r>
            <a:br>
              <a:rPr lang="en-US" sz="1836" kern="0" dirty="0">
                <a:ln w="3175">
                  <a:noFill/>
                </a:ln>
                <a:solidFill>
                  <a:srgbClr val="0078D4"/>
                </a:solidFill>
                <a:latin typeface="Segoe UI" panose="020B0502040204020203" pitchFamily="34" charset="0"/>
                <a:cs typeface="Segoe UI" panose="020B0502040204020203" pitchFamily="34" charset="0"/>
              </a:rPr>
            </a:br>
            <a:r>
              <a:rPr lang="zh-CN" altLang="en-US" sz="1836" kern="0" dirty="0">
                <a:ln w="3175">
                  <a:noFill/>
                </a:ln>
                <a:solidFill>
                  <a:srgbClr val="0078D4"/>
                </a:solidFill>
                <a:latin typeface="Segoe UI" panose="020B0502040204020203" pitchFamily="34" charset="0"/>
                <a:ea typeface="宋体" panose="02010600030101010101" pitchFamily="2" charset="-122"/>
                <a:cs typeface="Segoe UI" panose="020B0502040204020203" pitchFamily="34" charset="0"/>
              </a:rPr>
              <a:t>按需对模型的个性化训练</a:t>
            </a:r>
            <a:endParaRPr lang="en-US" sz="1836" kern="0" dirty="0">
              <a:ln w="3175">
                <a:noFill/>
              </a:ln>
              <a:solidFill>
                <a:srgbClr val="0078D4"/>
              </a:solidFill>
              <a:latin typeface="Segoe UI" panose="020B0502040204020203" pitchFamily="34" charset="0"/>
              <a:cs typeface="Segoe UI" panose="020B0502040204020203" pitchFamily="34" charset="0"/>
            </a:endParaRPr>
          </a:p>
          <a:p>
            <a:pPr defTabSz="534767">
              <a:spcBef>
                <a:spcPts val="688"/>
              </a:spcBef>
              <a:spcAft>
                <a:spcPts val="688"/>
              </a:spcAft>
              <a:defRPr/>
            </a:pPr>
            <a:r>
              <a:rPr lang="en-US" sz="1836" kern="0" dirty="0">
                <a:ln w="3175">
                  <a:noFill/>
                </a:ln>
                <a:solidFill>
                  <a:srgbClr val="0070C0"/>
                </a:solidFill>
                <a:latin typeface="Segoe UI" panose="020B0502040204020203" pitchFamily="34" charset="0"/>
                <a:cs typeface="Segoe UI" panose="020B0502040204020203" pitchFamily="34" charset="0"/>
              </a:rPr>
              <a:t>Use language of your choice </a:t>
            </a:r>
            <a:r>
              <a:rPr lang="zh-CN" altLang="en-US" sz="1836" kern="0" dirty="0">
                <a:ln w="3175">
                  <a:noFill/>
                </a:ln>
                <a:solidFill>
                  <a:srgbClr val="0070C0"/>
                </a:solidFill>
                <a:latin typeface="Segoe UI" panose="020B0502040204020203" pitchFamily="34" charset="0"/>
                <a:ea typeface="宋体" panose="02010600030101010101" pitchFamily="2" charset="-122"/>
                <a:cs typeface="Segoe UI" panose="020B0502040204020203" pitchFamily="34" charset="0"/>
              </a:rPr>
              <a:t>支持多种语言</a:t>
            </a:r>
            <a:endParaRPr lang="en-US" sz="1836" kern="0" dirty="0">
              <a:ln w="3175">
                <a:noFill/>
              </a:ln>
              <a:solidFill>
                <a:srgbClr val="0070C0"/>
              </a:solidFill>
              <a:latin typeface="Segoe UI" panose="020B0502040204020203" pitchFamily="34" charset="0"/>
              <a:cs typeface="Segoe UI" panose="020B0502040204020203" pitchFamily="34" charset="0"/>
            </a:endParaRPr>
          </a:p>
        </p:txBody>
      </p:sp>
      <p:sp>
        <p:nvSpPr>
          <p:cNvPr id="52" name="TextBox 51">
            <a:extLst>
              <a:ext uri="{FF2B5EF4-FFF2-40B4-BE49-F238E27FC236}">
                <a16:creationId xmlns:a16="http://schemas.microsoft.com/office/drawing/2014/main" id="{E96D686B-0131-451D-BDC9-887B17626DD6}"/>
              </a:ext>
            </a:extLst>
          </p:cNvPr>
          <p:cNvSpPr txBox="1"/>
          <p:nvPr/>
        </p:nvSpPr>
        <p:spPr>
          <a:xfrm>
            <a:off x="6344417" y="3266997"/>
            <a:ext cx="4118998" cy="1680953"/>
          </a:xfrm>
          <a:prstGeom prst="rect">
            <a:avLst/>
          </a:prstGeom>
          <a:noFill/>
        </p:spPr>
        <p:txBody>
          <a:bodyPr wrap="square" lIns="0" tIns="0" rIns="0" bIns="0" rtlCol="0">
            <a:spAutoFit/>
          </a:bodyPr>
          <a:lstStyle/>
          <a:p>
            <a:pPr defTabSz="699422">
              <a:defRPr/>
            </a:pPr>
            <a:r>
              <a:rPr lang="en-US" sz="1530" dirty="0">
                <a:solidFill>
                  <a:srgbClr val="FFFFFF"/>
                </a:solidFill>
                <a:latin typeface="Segoe UI"/>
              </a:rPr>
              <a:t>Accelerate bot development with an integrated environment and pre-built templates</a:t>
            </a:r>
          </a:p>
          <a:p>
            <a:pPr defTabSz="699422">
              <a:defRPr/>
            </a:pPr>
            <a:r>
              <a:rPr lang="zh-CN" altLang="en-US" sz="1530" dirty="0">
                <a:solidFill>
                  <a:srgbClr val="FFFFFF"/>
                </a:solidFill>
                <a:latin typeface="Segoe UI"/>
                <a:ea typeface="宋体" panose="02010600030101010101" pitchFamily="2" charset="-122"/>
              </a:rPr>
              <a:t>统一集成环境和预制模板加速</a:t>
            </a:r>
            <a:r>
              <a:rPr lang="en-US" altLang="zh-CN" sz="1530" dirty="0">
                <a:solidFill>
                  <a:srgbClr val="FFFFFF"/>
                </a:solidFill>
                <a:latin typeface="Segoe UI"/>
                <a:ea typeface="宋体" panose="02010600030101010101" pitchFamily="2" charset="-122"/>
              </a:rPr>
              <a:t>Bot</a:t>
            </a:r>
            <a:r>
              <a:rPr lang="zh-CN" altLang="en-US" sz="1530" dirty="0">
                <a:solidFill>
                  <a:srgbClr val="FFFFFF"/>
                </a:solidFill>
                <a:latin typeface="Segoe UI"/>
                <a:ea typeface="宋体" panose="02010600030101010101" pitchFamily="2" charset="-122"/>
              </a:rPr>
              <a:t>应用开发</a:t>
            </a:r>
            <a:endParaRPr lang="en-US" sz="1530" dirty="0">
              <a:solidFill>
                <a:srgbClr val="FFFFFF"/>
              </a:solidFill>
              <a:latin typeface="Segoe UI"/>
            </a:endParaRPr>
          </a:p>
          <a:p>
            <a:pPr defTabSz="699422">
              <a:defRPr/>
            </a:pPr>
            <a:endParaRPr lang="en-US" sz="1530" dirty="0">
              <a:solidFill>
                <a:srgbClr val="FFFFFF"/>
              </a:solidFill>
              <a:latin typeface="Segoe UI"/>
            </a:endParaRPr>
          </a:p>
          <a:p>
            <a:pPr defTabSz="699422">
              <a:defRPr/>
            </a:pPr>
            <a:r>
              <a:rPr lang="en-US" sz="1530" dirty="0">
                <a:solidFill>
                  <a:srgbClr val="FFFFFF"/>
                </a:solidFill>
                <a:latin typeface="Segoe UI"/>
              </a:rPr>
              <a:t>Engage your audience easily across multiple channels </a:t>
            </a:r>
            <a:r>
              <a:rPr lang="zh-CN" altLang="en-US" sz="1530" dirty="0">
                <a:solidFill>
                  <a:srgbClr val="FFFFFF"/>
                </a:solidFill>
                <a:latin typeface="Segoe UI"/>
                <a:ea typeface="宋体" panose="02010600030101010101" pitchFamily="2" charset="-122"/>
              </a:rPr>
              <a:t>轻松的全渠道服务受众群体</a:t>
            </a:r>
            <a:endParaRPr lang="en-US" sz="1530" dirty="0">
              <a:solidFill>
                <a:srgbClr val="FFFFFF"/>
              </a:solidFill>
              <a:latin typeface="Segoe UI"/>
            </a:endParaRPr>
          </a:p>
          <a:p>
            <a:pPr defTabSz="699422">
              <a:defRPr/>
            </a:pPr>
            <a:endParaRPr lang="en-US" sz="1530" dirty="0">
              <a:solidFill>
                <a:srgbClr val="FFFFFF"/>
              </a:solidFill>
              <a:latin typeface="Segoe UI"/>
            </a:endParaRPr>
          </a:p>
        </p:txBody>
      </p:sp>
      <p:grpSp>
        <p:nvGrpSpPr>
          <p:cNvPr id="7" name="Group 6">
            <a:extLst>
              <a:ext uri="{FF2B5EF4-FFF2-40B4-BE49-F238E27FC236}">
                <a16:creationId xmlns:a16="http://schemas.microsoft.com/office/drawing/2014/main" id="{BDC39377-645B-4503-B62C-7180EA15B68D}"/>
              </a:ext>
            </a:extLst>
          </p:cNvPr>
          <p:cNvGrpSpPr/>
          <p:nvPr/>
        </p:nvGrpSpPr>
        <p:grpSpPr>
          <a:xfrm>
            <a:off x="5681887" y="3295956"/>
            <a:ext cx="432424" cy="432424"/>
            <a:chOff x="5664926" y="3703417"/>
            <a:chExt cx="565312" cy="565312"/>
          </a:xfrm>
        </p:grpSpPr>
        <p:sp>
          <p:nvSpPr>
            <p:cNvPr id="8" name="Oval 7">
              <a:extLst>
                <a:ext uri="{FF2B5EF4-FFF2-40B4-BE49-F238E27FC236}">
                  <a16:creationId xmlns:a16="http://schemas.microsoft.com/office/drawing/2014/main" id="{6AB647C3-34B8-4C50-BC98-79A4E40013A9}"/>
                </a:ext>
              </a:extLst>
            </p:cNvPr>
            <p:cNvSpPr/>
            <p:nvPr/>
          </p:nvSpPr>
          <p:spPr bwMode="auto">
            <a:xfrm>
              <a:off x="5664926" y="3703417"/>
              <a:ext cx="565312" cy="5653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defRPr/>
              </a:pPr>
              <a:endParaRPr lang="en-US" sz="1836">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 name="Cross 8">
              <a:extLst>
                <a:ext uri="{FF2B5EF4-FFF2-40B4-BE49-F238E27FC236}">
                  <a16:creationId xmlns:a16="http://schemas.microsoft.com/office/drawing/2014/main" id="{E9EABA72-1F56-46EB-B5BA-3C185F4C3372}"/>
                </a:ext>
              </a:extLst>
            </p:cNvPr>
            <p:cNvSpPr/>
            <p:nvPr/>
          </p:nvSpPr>
          <p:spPr bwMode="auto">
            <a:xfrm>
              <a:off x="5819751" y="3859854"/>
              <a:ext cx="252436" cy="252436"/>
            </a:xfrm>
            <a:prstGeom prst="plus">
              <a:avLst>
                <a:gd name="adj" fmla="val 4235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defRPr/>
              </a:pPr>
              <a:endParaRPr lang="en-US" sz="1836">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 name="Group 1">
            <a:extLst>
              <a:ext uri="{FF2B5EF4-FFF2-40B4-BE49-F238E27FC236}">
                <a16:creationId xmlns:a16="http://schemas.microsoft.com/office/drawing/2014/main" id="{E729E5A1-1F4F-42DF-A7AF-5C5F70BEC0C7}"/>
              </a:ext>
            </a:extLst>
          </p:cNvPr>
          <p:cNvGrpSpPr/>
          <p:nvPr/>
        </p:nvGrpSpPr>
        <p:grpSpPr>
          <a:xfrm>
            <a:off x="6344419" y="5069786"/>
            <a:ext cx="3770164" cy="188364"/>
            <a:chOff x="6464156" y="4515699"/>
            <a:chExt cx="4928766" cy="246249"/>
          </a:xfrm>
        </p:grpSpPr>
        <p:sp>
          <p:nvSpPr>
            <p:cNvPr id="10" name="Freeform: Shape 9">
              <a:extLst>
                <a:ext uri="{FF2B5EF4-FFF2-40B4-BE49-F238E27FC236}">
                  <a16:creationId xmlns:a16="http://schemas.microsoft.com/office/drawing/2014/main" id="{5E72D34D-133B-490A-B332-3436F7F92132}"/>
                </a:ext>
              </a:extLst>
            </p:cNvPr>
            <p:cNvSpPr/>
            <p:nvPr/>
          </p:nvSpPr>
          <p:spPr>
            <a:xfrm>
              <a:off x="10811031" y="4626625"/>
              <a:ext cx="31488" cy="31750"/>
            </a:xfrm>
            <a:custGeom>
              <a:avLst/>
              <a:gdLst>
                <a:gd name="connsiteX0" fmla="*/ 17554 w 31487"/>
                <a:gd name="connsiteY0" fmla="*/ 1230 h 31750"/>
                <a:gd name="connsiteX1" fmla="*/ 33731 w 31487"/>
                <a:gd name="connsiteY1" fmla="*/ 17700 h 31750"/>
                <a:gd name="connsiteX2" fmla="*/ 17397 w 31487"/>
                <a:gd name="connsiteY2" fmla="*/ 34012 h 31750"/>
                <a:gd name="connsiteX3" fmla="*/ 1220 w 31487"/>
                <a:gd name="connsiteY3" fmla="*/ 17621 h 31750"/>
                <a:gd name="connsiteX4" fmla="*/ 17475 w 31487"/>
                <a:gd name="connsiteY4" fmla="*/ 1230 h 31750"/>
                <a:gd name="connsiteX5" fmla="*/ 17554 w 31487"/>
                <a:gd name="connsiteY5" fmla="*/ 1230 h 3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87" h="31750">
                  <a:moveTo>
                    <a:pt x="17554" y="1230"/>
                  </a:moveTo>
                  <a:cubicBezTo>
                    <a:pt x="26532" y="1274"/>
                    <a:pt x="33774" y="8648"/>
                    <a:pt x="33731" y="17700"/>
                  </a:cubicBezTo>
                  <a:cubicBezTo>
                    <a:pt x="33687" y="26753"/>
                    <a:pt x="26374" y="34056"/>
                    <a:pt x="17397" y="34012"/>
                  </a:cubicBezTo>
                  <a:cubicBezTo>
                    <a:pt x="8450" y="33968"/>
                    <a:pt x="1220" y="26642"/>
                    <a:pt x="1220" y="17621"/>
                  </a:cubicBezTo>
                  <a:cubicBezTo>
                    <a:pt x="1220" y="8568"/>
                    <a:pt x="8497" y="1230"/>
                    <a:pt x="17475" y="1230"/>
                  </a:cubicBezTo>
                  <a:cubicBezTo>
                    <a:pt x="17503" y="1230"/>
                    <a:pt x="17526" y="1230"/>
                    <a:pt x="17554" y="1230"/>
                  </a:cubicBezTo>
                  <a:close/>
                </a:path>
              </a:pathLst>
            </a:custGeom>
            <a:solidFill>
              <a:schemeClr val="bg1"/>
            </a:solidFill>
            <a:ln w="3936" cap="flat">
              <a:noFill/>
              <a:prstDash val="solid"/>
              <a:miter/>
            </a:ln>
          </p:spPr>
          <p:txBody>
            <a:bodyPr rtlCol="0" anchor="ctr"/>
            <a:lstStyle/>
            <a:p>
              <a:pPr defTabSz="699447">
                <a:defRPr/>
              </a:pPr>
              <a:endParaRPr lang="en-US" sz="1377">
                <a:solidFill>
                  <a:srgbClr val="1A1A1A"/>
                </a:solidFill>
                <a:latin typeface="Segoe UI"/>
              </a:endParaRPr>
            </a:p>
          </p:txBody>
        </p:sp>
        <p:sp>
          <p:nvSpPr>
            <p:cNvPr id="11" name="Freeform: Shape 10">
              <a:extLst>
                <a:ext uri="{FF2B5EF4-FFF2-40B4-BE49-F238E27FC236}">
                  <a16:creationId xmlns:a16="http://schemas.microsoft.com/office/drawing/2014/main" id="{F1969FBA-E479-4864-88A2-63E789EB424B}"/>
                </a:ext>
              </a:extLst>
            </p:cNvPr>
            <p:cNvSpPr/>
            <p:nvPr/>
          </p:nvSpPr>
          <p:spPr>
            <a:xfrm>
              <a:off x="10666482" y="4594784"/>
              <a:ext cx="31488" cy="107156"/>
            </a:xfrm>
            <a:custGeom>
              <a:avLst/>
              <a:gdLst>
                <a:gd name="connsiteX0" fmla="*/ 30485 w 31487"/>
                <a:gd name="connsiteY0" fmla="*/ 17196 h 107156"/>
                <a:gd name="connsiteX1" fmla="*/ 30485 w 31487"/>
                <a:gd name="connsiteY1" fmla="*/ 16760 h 107156"/>
                <a:gd name="connsiteX2" fmla="*/ 16622 w 31487"/>
                <a:gd name="connsiteY2" fmla="*/ 1250 h 107156"/>
                <a:gd name="connsiteX3" fmla="*/ 1240 w 31487"/>
                <a:gd name="connsiteY3" fmla="*/ 15228 h 107156"/>
                <a:gd name="connsiteX4" fmla="*/ 1240 w 31487"/>
                <a:gd name="connsiteY4" fmla="*/ 16760 h 107156"/>
                <a:gd name="connsiteX5" fmla="*/ 1240 w 31487"/>
                <a:gd name="connsiteY5" fmla="*/ 17077 h 107156"/>
                <a:gd name="connsiteX6" fmla="*/ 1240 w 31487"/>
                <a:gd name="connsiteY6" fmla="*/ 17077 h 107156"/>
                <a:gd name="connsiteX7" fmla="*/ 1240 w 31487"/>
                <a:gd name="connsiteY7" fmla="*/ 91333 h 107156"/>
                <a:gd name="connsiteX8" fmla="*/ 1437 w 31487"/>
                <a:gd name="connsiteY8" fmla="*/ 91333 h 107156"/>
                <a:gd name="connsiteX9" fmla="*/ 15300 w 31487"/>
                <a:gd name="connsiteY9" fmla="*/ 106843 h 107156"/>
                <a:gd name="connsiteX10" fmla="*/ 30681 w 31487"/>
                <a:gd name="connsiteY10" fmla="*/ 92865 h 107156"/>
                <a:gd name="connsiteX11" fmla="*/ 30681 w 31487"/>
                <a:gd name="connsiteY11" fmla="*/ 91333 h 107156"/>
                <a:gd name="connsiteX12" fmla="*/ 30681 w 31487"/>
                <a:gd name="connsiteY12" fmla="*/ 91333 h 107156"/>
                <a:gd name="connsiteX13" fmla="*/ 30681 w 31487"/>
                <a:gd name="connsiteY13" fmla="*/ 17196 h 107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487" h="107156">
                  <a:moveTo>
                    <a:pt x="30485" y="17196"/>
                  </a:moveTo>
                  <a:lnTo>
                    <a:pt x="30485" y="16760"/>
                  </a:lnTo>
                  <a:cubicBezTo>
                    <a:pt x="30902" y="8616"/>
                    <a:pt x="24699" y="1675"/>
                    <a:pt x="16622" y="1250"/>
                  </a:cubicBezTo>
                  <a:cubicBezTo>
                    <a:pt x="8546" y="829"/>
                    <a:pt x="1658" y="7088"/>
                    <a:pt x="1240" y="15228"/>
                  </a:cubicBezTo>
                  <a:cubicBezTo>
                    <a:pt x="1213" y="15740"/>
                    <a:pt x="1213" y="16252"/>
                    <a:pt x="1240" y="16760"/>
                  </a:cubicBezTo>
                  <a:lnTo>
                    <a:pt x="1240" y="17077"/>
                  </a:lnTo>
                  <a:lnTo>
                    <a:pt x="1240" y="17077"/>
                  </a:lnTo>
                  <a:lnTo>
                    <a:pt x="1240" y="91333"/>
                  </a:lnTo>
                  <a:lnTo>
                    <a:pt x="1437" y="91333"/>
                  </a:lnTo>
                  <a:cubicBezTo>
                    <a:pt x="1020" y="99477"/>
                    <a:pt x="7223" y="106418"/>
                    <a:pt x="15300" y="106843"/>
                  </a:cubicBezTo>
                  <a:cubicBezTo>
                    <a:pt x="23376" y="107263"/>
                    <a:pt x="30264" y="101004"/>
                    <a:pt x="30681" y="92865"/>
                  </a:cubicBezTo>
                  <a:cubicBezTo>
                    <a:pt x="30709" y="92353"/>
                    <a:pt x="30709" y="91841"/>
                    <a:pt x="30681" y="91333"/>
                  </a:cubicBezTo>
                  <a:lnTo>
                    <a:pt x="30681" y="91333"/>
                  </a:lnTo>
                  <a:lnTo>
                    <a:pt x="30681" y="17196"/>
                  </a:lnTo>
                  <a:close/>
                </a:path>
              </a:pathLst>
            </a:custGeom>
            <a:solidFill>
              <a:schemeClr val="bg1"/>
            </a:solidFill>
            <a:ln w="3936" cap="flat">
              <a:noFill/>
              <a:prstDash val="solid"/>
              <a:miter/>
            </a:ln>
          </p:spPr>
          <p:txBody>
            <a:bodyPr rtlCol="0" anchor="ctr"/>
            <a:lstStyle/>
            <a:p>
              <a:pPr defTabSz="699447">
                <a:defRPr/>
              </a:pPr>
              <a:endParaRPr lang="en-US" sz="1377">
                <a:solidFill>
                  <a:srgbClr val="1A1A1A"/>
                </a:solidFill>
                <a:latin typeface="Segoe UI"/>
              </a:endParaRPr>
            </a:p>
          </p:txBody>
        </p:sp>
        <p:sp>
          <p:nvSpPr>
            <p:cNvPr id="12" name="Freeform: Shape 11">
              <a:extLst>
                <a:ext uri="{FF2B5EF4-FFF2-40B4-BE49-F238E27FC236}">
                  <a16:creationId xmlns:a16="http://schemas.microsoft.com/office/drawing/2014/main" id="{C017E808-0529-4740-AB5B-9743A0684A36}"/>
                </a:ext>
              </a:extLst>
            </p:cNvPr>
            <p:cNvSpPr/>
            <p:nvPr/>
          </p:nvSpPr>
          <p:spPr>
            <a:xfrm>
              <a:off x="10560547" y="4556291"/>
              <a:ext cx="90527" cy="142875"/>
            </a:xfrm>
            <a:custGeom>
              <a:avLst/>
              <a:gdLst>
                <a:gd name="connsiteX0" fmla="*/ 87102 w 90526"/>
                <a:gd name="connsiteY0" fmla="*/ 121253 h 142875"/>
                <a:gd name="connsiteX1" fmla="*/ 60259 w 90526"/>
                <a:gd name="connsiteY1" fmla="*/ 84741 h 142875"/>
                <a:gd name="connsiteX2" fmla="*/ 79467 w 90526"/>
                <a:gd name="connsiteY2" fmla="*/ 65651 h 142875"/>
                <a:gd name="connsiteX3" fmla="*/ 79467 w 90526"/>
                <a:gd name="connsiteY3" fmla="*/ 65651 h 142875"/>
                <a:gd name="connsiteX4" fmla="*/ 79010 w 90526"/>
                <a:gd name="connsiteY4" fmla="*/ 44553 h 142875"/>
                <a:gd name="connsiteX5" fmla="*/ 68800 w 90526"/>
                <a:gd name="connsiteY5" fmla="*/ 40410 h 142875"/>
                <a:gd name="connsiteX6" fmla="*/ 68800 w 90526"/>
                <a:gd name="connsiteY6" fmla="*/ 40410 h 142875"/>
                <a:gd name="connsiteX7" fmla="*/ 57858 w 90526"/>
                <a:gd name="connsiteY7" fmla="*/ 45331 h 142875"/>
                <a:gd name="connsiteX8" fmla="*/ 57858 w 90526"/>
                <a:gd name="connsiteY8" fmla="*/ 45331 h 142875"/>
                <a:gd name="connsiteX9" fmla="*/ 30582 w 90526"/>
                <a:gd name="connsiteY9" fmla="*/ 72279 h 142875"/>
                <a:gd name="connsiteX10" fmla="*/ 30582 w 90526"/>
                <a:gd name="connsiteY10" fmla="*/ 17470 h 142875"/>
                <a:gd name="connsiteX11" fmla="*/ 30582 w 90526"/>
                <a:gd name="connsiteY11" fmla="*/ 17470 h 142875"/>
                <a:gd name="connsiteX12" fmla="*/ 30582 w 90526"/>
                <a:gd name="connsiteY12" fmla="*/ 16637 h 142875"/>
                <a:gd name="connsiteX13" fmla="*/ 16834 w 90526"/>
                <a:gd name="connsiteY13" fmla="*/ 1250 h 142875"/>
                <a:gd name="connsiteX14" fmla="*/ 1574 w 90526"/>
                <a:gd name="connsiteY14" fmla="*/ 15113 h 142875"/>
                <a:gd name="connsiteX15" fmla="*/ 1574 w 90526"/>
                <a:gd name="connsiteY15" fmla="*/ 16637 h 142875"/>
                <a:gd name="connsiteX16" fmla="*/ 1574 w 90526"/>
                <a:gd name="connsiteY16" fmla="*/ 17153 h 142875"/>
                <a:gd name="connsiteX17" fmla="*/ 1220 w 90526"/>
                <a:gd name="connsiteY17" fmla="*/ 17153 h 142875"/>
                <a:gd name="connsiteX18" fmla="*/ 1220 w 90526"/>
                <a:gd name="connsiteY18" fmla="*/ 129627 h 142875"/>
                <a:gd name="connsiteX19" fmla="*/ 1574 w 90526"/>
                <a:gd name="connsiteY19" fmla="*/ 129627 h 142875"/>
                <a:gd name="connsiteX20" fmla="*/ 1574 w 90526"/>
                <a:gd name="connsiteY20" fmla="*/ 129905 h 142875"/>
                <a:gd name="connsiteX21" fmla="*/ 15606 w 90526"/>
                <a:gd name="connsiteY21" fmla="*/ 144887 h 142875"/>
                <a:gd name="connsiteX22" fmla="*/ 30464 w 90526"/>
                <a:gd name="connsiteY22" fmla="*/ 130739 h 142875"/>
                <a:gd name="connsiteX23" fmla="*/ 30661 w 90526"/>
                <a:gd name="connsiteY23" fmla="*/ 130739 h 142875"/>
                <a:gd name="connsiteX24" fmla="*/ 30661 w 90526"/>
                <a:gd name="connsiteY24" fmla="*/ 111331 h 142875"/>
                <a:gd name="connsiteX25" fmla="*/ 38100 w 90526"/>
                <a:gd name="connsiteY25" fmla="*/ 104346 h 142875"/>
                <a:gd name="connsiteX26" fmla="*/ 62424 w 90526"/>
                <a:gd name="connsiteY26" fmla="*/ 137128 h 142875"/>
                <a:gd name="connsiteX27" fmla="*/ 75137 w 90526"/>
                <a:gd name="connsiteY27" fmla="*/ 144669 h 142875"/>
                <a:gd name="connsiteX28" fmla="*/ 89826 w 90526"/>
                <a:gd name="connsiteY28" fmla="*/ 129401 h 142875"/>
                <a:gd name="connsiteX29" fmla="*/ 87457 w 90526"/>
                <a:gd name="connsiteY29" fmla="*/ 121491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0526" h="142875">
                  <a:moveTo>
                    <a:pt x="87102" y="121253"/>
                  </a:moveTo>
                  <a:lnTo>
                    <a:pt x="60259" y="84741"/>
                  </a:lnTo>
                  <a:lnTo>
                    <a:pt x="79467" y="65651"/>
                  </a:lnTo>
                  <a:lnTo>
                    <a:pt x="79467" y="65651"/>
                  </a:lnTo>
                  <a:cubicBezTo>
                    <a:pt x="85119" y="59698"/>
                    <a:pt x="84914" y="50252"/>
                    <a:pt x="79010" y="44553"/>
                  </a:cubicBezTo>
                  <a:cubicBezTo>
                    <a:pt x="76263" y="41898"/>
                    <a:pt x="72606" y="40418"/>
                    <a:pt x="68800" y="40410"/>
                  </a:cubicBezTo>
                  <a:lnTo>
                    <a:pt x="68800" y="40410"/>
                  </a:lnTo>
                  <a:cubicBezTo>
                    <a:pt x="64620" y="40382"/>
                    <a:pt x="60629" y="42176"/>
                    <a:pt x="57858" y="45331"/>
                  </a:cubicBezTo>
                  <a:lnTo>
                    <a:pt x="57858" y="45331"/>
                  </a:lnTo>
                  <a:lnTo>
                    <a:pt x="30582" y="72279"/>
                  </a:lnTo>
                  <a:lnTo>
                    <a:pt x="30582" y="17470"/>
                  </a:lnTo>
                  <a:lnTo>
                    <a:pt x="30582" y="17470"/>
                  </a:lnTo>
                  <a:cubicBezTo>
                    <a:pt x="30602" y="17193"/>
                    <a:pt x="30602" y="16915"/>
                    <a:pt x="30582" y="16637"/>
                  </a:cubicBezTo>
                  <a:cubicBezTo>
                    <a:pt x="30999" y="8561"/>
                    <a:pt x="24843" y="1671"/>
                    <a:pt x="16834" y="1250"/>
                  </a:cubicBezTo>
                  <a:cubicBezTo>
                    <a:pt x="8824" y="830"/>
                    <a:pt x="1991" y="7037"/>
                    <a:pt x="1574" y="15113"/>
                  </a:cubicBezTo>
                  <a:cubicBezTo>
                    <a:pt x="1546" y="15621"/>
                    <a:pt x="1546" y="16129"/>
                    <a:pt x="1574" y="16637"/>
                  </a:cubicBezTo>
                  <a:lnTo>
                    <a:pt x="1574" y="17153"/>
                  </a:lnTo>
                  <a:lnTo>
                    <a:pt x="1220" y="17153"/>
                  </a:lnTo>
                  <a:lnTo>
                    <a:pt x="1220" y="129627"/>
                  </a:lnTo>
                  <a:lnTo>
                    <a:pt x="1574" y="129627"/>
                  </a:lnTo>
                  <a:cubicBezTo>
                    <a:pt x="1554" y="129719"/>
                    <a:pt x="1554" y="129814"/>
                    <a:pt x="1574" y="129905"/>
                  </a:cubicBezTo>
                  <a:cubicBezTo>
                    <a:pt x="1346" y="137950"/>
                    <a:pt x="7628" y="144657"/>
                    <a:pt x="15606" y="144887"/>
                  </a:cubicBezTo>
                  <a:cubicBezTo>
                    <a:pt x="23584" y="145117"/>
                    <a:pt x="30236" y="138783"/>
                    <a:pt x="30464" y="130739"/>
                  </a:cubicBezTo>
                  <a:lnTo>
                    <a:pt x="30661" y="130739"/>
                  </a:lnTo>
                  <a:lnTo>
                    <a:pt x="30661" y="111331"/>
                  </a:lnTo>
                  <a:lnTo>
                    <a:pt x="38100" y="104346"/>
                  </a:lnTo>
                  <a:lnTo>
                    <a:pt x="62424" y="137128"/>
                  </a:lnTo>
                  <a:cubicBezTo>
                    <a:pt x="65006" y="141768"/>
                    <a:pt x="69863" y="144649"/>
                    <a:pt x="75137" y="144669"/>
                  </a:cubicBezTo>
                  <a:cubicBezTo>
                    <a:pt x="83375" y="144542"/>
                    <a:pt x="89952" y="137708"/>
                    <a:pt x="89826" y="129401"/>
                  </a:cubicBezTo>
                  <a:cubicBezTo>
                    <a:pt x="89783" y="126591"/>
                    <a:pt x="88964" y="123853"/>
                    <a:pt x="87457" y="121491"/>
                  </a:cubicBezTo>
                  <a:close/>
                </a:path>
              </a:pathLst>
            </a:custGeom>
            <a:solidFill>
              <a:schemeClr val="bg1"/>
            </a:solidFill>
            <a:ln w="3936" cap="flat">
              <a:noFill/>
              <a:prstDash val="solid"/>
              <a:miter/>
            </a:ln>
          </p:spPr>
          <p:txBody>
            <a:bodyPr rtlCol="0" anchor="ctr"/>
            <a:lstStyle/>
            <a:p>
              <a:pPr defTabSz="699447">
                <a:defRPr/>
              </a:pPr>
              <a:endParaRPr lang="en-US" sz="1377">
                <a:solidFill>
                  <a:srgbClr val="1A1A1A"/>
                </a:solidFill>
                <a:latin typeface="Segoe UI"/>
              </a:endParaRPr>
            </a:p>
          </p:txBody>
        </p:sp>
        <p:sp>
          <p:nvSpPr>
            <p:cNvPr id="13" name="Freeform: Shape 12">
              <a:extLst>
                <a:ext uri="{FF2B5EF4-FFF2-40B4-BE49-F238E27FC236}">
                  <a16:creationId xmlns:a16="http://schemas.microsoft.com/office/drawing/2014/main" id="{9F8F3F0B-FF94-40DD-8B0E-FD4AB21B7A01}"/>
                </a:ext>
              </a:extLst>
            </p:cNvPr>
            <p:cNvSpPr/>
            <p:nvPr/>
          </p:nvSpPr>
          <p:spPr>
            <a:xfrm>
              <a:off x="10717080" y="4556449"/>
              <a:ext cx="90527" cy="142875"/>
            </a:xfrm>
            <a:custGeom>
              <a:avLst/>
              <a:gdLst>
                <a:gd name="connsiteX0" fmla="*/ 86905 w 90526"/>
                <a:gd name="connsiteY0" fmla="*/ 121253 h 142875"/>
                <a:gd name="connsiteX1" fmla="*/ 87102 w 90526"/>
                <a:gd name="connsiteY1" fmla="*/ 121253 h 142875"/>
                <a:gd name="connsiteX2" fmla="*/ 60259 w 90526"/>
                <a:gd name="connsiteY2" fmla="*/ 84741 h 142875"/>
                <a:gd name="connsiteX3" fmla="*/ 79466 w 90526"/>
                <a:gd name="connsiteY3" fmla="*/ 65651 h 142875"/>
                <a:gd name="connsiteX4" fmla="*/ 79466 w 90526"/>
                <a:gd name="connsiteY4" fmla="*/ 65651 h 142875"/>
                <a:gd name="connsiteX5" fmla="*/ 79010 w 90526"/>
                <a:gd name="connsiteY5" fmla="*/ 44553 h 142875"/>
                <a:gd name="connsiteX6" fmla="*/ 68800 w 90526"/>
                <a:gd name="connsiteY6" fmla="*/ 40410 h 142875"/>
                <a:gd name="connsiteX7" fmla="*/ 68800 w 90526"/>
                <a:gd name="connsiteY7" fmla="*/ 40410 h 142875"/>
                <a:gd name="connsiteX8" fmla="*/ 57858 w 90526"/>
                <a:gd name="connsiteY8" fmla="*/ 45331 h 142875"/>
                <a:gd name="connsiteX9" fmla="*/ 57858 w 90526"/>
                <a:gd name="connsiteY9" fmla="*/ 45331 h 142875"/>
                <a:gd name="connsiteX10" fmla="*/ 30543 w 90526"/>
                <a:gd name="connsiteY10" fmla="*/ 72279 h 142875"/>
                <a:gd name="connsiteX11" fmla="*/ 30543 w 90526"/>
                <a:gd name="connsiteY11" fmla="*/ 17470 h 142875"/>
                <a:gd name="connsiteX12" fmla="*/ 30543 w 90526"/>
                <a:gd name="connsiteY12" fmla="*/ 17470 h 142875"/>
                <a:gd name="connsiteX13" fmla="*/ 30543 w 90526"/>
                <a:gd name="connsiteY13" fmla="*/ 16637 h 142875"/>
                <a:gd name="connsiteX14" fmla="*/ 16794 w 90526"/>
                <a:gd name="connsiteY14" fmla="*/ 1250 h 142875"/>
                <a:gd name="connsiteX15" fmla="*/ 1535 w 90526"/>
                <a:gd name="connsiteY15" fmla="*/ 15113 h 142875"/>
                <a:gd name="connsiteX16" fmla="*/ 1535 w 90526"/>
                <a:gd name="connsiteY16" fmla="*/ 16637 h 142875"/>
                <a:gd name="connsiteX17" fmla="*/ 1535 w 90526"/>
                <a:gd name="connsiteY17" fmla="*/ 17153 h 142875"/>
                <a:gd name="connsiteX18" fmla="*/ 1220 w 90526"/>
                <a:gd name="connsiteY18" fmla="*/ 17153 h 142875"/>
                <a:gd name="connsiteX19" fmla="*/ 1220 w 90526"/>
                <a:gd name="connsiteY19" fmla="*/ 129627 h 142875"/>
                <a:gd name="connsiteX20" fmla="*/ 1574 w 90526"/>
                <a:gd name="connsiteY20" fmla="*/ 129627 h 142875"/>
                <a:gd name="connsiteX21" fmla="*/ 1574 w 90526"/>
                <a:gd name="connsiteY21" fmla="*/ 129905 h 142875"/>
                <a:gd name="connsiteX22" fmla="*/ 16235 w 90526"/>
                <a:gd name="connsiteY22" fmla="*/ 144252 h 142875"/>
                <a:gd name="connsiteX23" fmla="*/ 30425 w 90526"/>
                <a:gd name="connsiteY23" fmla="*/ 130739 h 142875"/>
                <a:gd name="connsiteX24" fmla="*/ 30621 w 90526"/>
                <a:gd name="connsiteY24" fmla="*/ 130739 h 142875"/>
                <a:gd name="connsiteX25" fmla="*/ 30621 w 90526"/>
                <a:gd name="connsiteY25" fmla="*/ 111331 h 142875"/>
                <a:gd name="connsiteX26" fmla="*/ 38100 w 90526"/>
                <a:gd name="connsiteY26" fmla="*/ 104346 h 142875"/>
                <a:gd name="connsiteX27" fmla="*/ 62384 w 90526"/>
                <a:gd name="connsiteY27" fmla="*/ 137128 h 142875"/>
                <a:gd name="connsiteX28" fmla="*/ 82194 w 90526"/>
                <a:gd name="connsiteY28" fmla="*/ 143204 h 142875"/>
                <a:gd name="connsiteX29" fmla="*/ 89936 w 90526"/>
                <a:gd name="connsiteY29" fmla="*/ 129667 h 142875"/>
                <a:gd name="connsiteX30" fmla="*/ 86905 w 90526"/>
                <a:gd name="connsiteY30" fmla="*/ 121253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526" h="142875">
                  <a:moveTo>
                    <a:pt x="86905" y="121253"/>
                  </a:moveTo>
                  <a:lnTo>
                    <a:pt x="87102" y="121253"/>
                  </a:lnTo>
                  <a:lnTo>
                    <a:pt x="60259" y="84741"/>
                  </a:lnTo>
                  <a:lnTo>
                    <a:pt x="79466" y="65651"/>
                  </a:lnTo>
                  <a:lnTo>
                    <a:pt x="79466" y="65651"/>
                  </a:lnTo>
                  <a:cubicBezTo>
                    <a:pt x="85119" y="59698"/>
                    <a:pt x="84914" y="50252"/>
                    <a:pt x="79010" y="44553"/>
                  </a:cubicBezTo>
                  <a:cubicBezTo>
                    <a:pt x="76263" y="41898"/>
                    <a:pt x="72606" y="40418"/>
                    <a:pt x="68800" y="40410"/>
                  </a:cubicBezTo>
                  <a:lnTo>
                    <a:pt x="68800" y="40410"/>
                  </a:lnTo>
                  <a:cubicBezTo>
                    <a:pt x="64620" y="40390"/>
                    <a:pt x="60637" y="42184"/>
                    <a:pt x="57858" y="45331"/>
                  </a:cubicBezTo>
                  <a:lnTo>
                    <a:pt x="57858" y="45331"/>
                  </a:lnTo>
                  <a:lnTo>
                    <a:pt x="30543" y="72279"/>
                  </a:lnTo>
                  <a:lnTo>
                    <a:pt x="30543" y="17470"/>
                  </a:lnTo>
                  <a:lnTo>
                    <a:pt x="30543" y="17470"/>
                  </a:lnTo>
                  <a:lnTo>
                    <a:pt x="30543" y="16637"/>
                  </a:lnTo>
                  <a:cubicBezTo>
                    <a:pt x="30960" y="8561"/>
                    <a:pt x="24804" y="1671"/>
                    <a:pt x="16794" y="1250"/>
                  </a:cubicBezTo>
                  <a:cubicBezTo>
                    <a:pt x="8785" y="829"/>
                    <a:pt x="1952" y="7037"/>
                    <a:pt x="1535" y="15113"/>
                  </a:cubicBezTo>
                  <a:cubicBezTo>
                    <a:pt x="1507" y="15621"/>
                    <a:pt x="1507" y="16129"/>
                    <a:pt x="1535" y="16637"/>
                  </a:cubicBezTo>
                  <a:lnTo>
                    <a:pt x="1535" y="17153"/>
                  </a:lnTo>
                  <a:lnTo>
                    <a:pt x="1220" y="17153"/>
                  </a:lnTo>
                  <a:lnTo>
                    <a:pt x="1220" y="129627"/>
                  </a:lnTo>
                  <a:lnTo>
                    <a:pt x="1574" y="129627"/>
                  </a:lnTo>
                  <a:lnTo>
                    <a:pt x="1574" y="129905"/>
                  </a:lnTo>
                  <a:cubicBezTo>
                    <a:pt x="1692" y="137950"/>
                    <a:pt x="8257" y="144371"/>
                    <a:pt x="16235" y="144252"/>
                  </a:cubicBezTo>
                  <a:cubicBezTo>
                    <a:pt x="23722" y="144137"/>
                    <a:pt x="29885" y="138271"/>
                    <a:pt x="30425" y="130739"/>
                  </a:cubicBezTo>
                  <a:lnTo>
                    <a:pt x="30621" y="130739"/>
                  </a:lnTo>
                  <a:lnTo>
                    <a:pt x="30621" y="111331"/>
                  </a:lnTo>
                  <a:lnTo>
                    <a:pt x="38100" y="104346"/>
                  </a:lnTo>
                  <a:lnTo>
                    <a:pt x="62384" y="137128"/>
                  </a:lnTo>
                  <a:cubicBezTo>
                    <a:pt x="66191" y="144324"/>
                    <a:pt x="75058" y="147042"/>
                    <a:pt x="82194" y="143204"/>
                  </a:cubicBezTo>
                  <a:cubicBezTo>
                    <a:pt x="87126" y="140553"/>
                    <a:pt x="90129" y="135299"/>
                    <a:pt x="89936" y="129667"/>
                  </a:cubicBezTo>
                  <a:cubicBezTo>
                    <a:pt x="89794" y="126619"/>
                    <a:pt x="88736" y="123682"/>
                    <a:pt x="86905" y="121253"/>
                  </a:cubicBezTo>
                  <a:close/>
                </a:path>
              </a:pathLst>
            </a:custGeom>
            <a:solidFill>
              <a:schemeClr val="bg1"/>
            </a:solidFill>
            <a:ln w="3936" cap="flat">
              <a:noFill/>
              <a:prstDash val="solid"/>
              <a:miter/>
            </a:ln>
          </p:spPr>
          <p:txBody>
            <a:bodyPr rtlCol="0" anchor="ctr"/>
            <a:lstStyle/>
            <a:p>
              <a:pPr defTabSz="699447">
                <a:defRPr/>
              </a:pPr>
              <a:endParaRPr lang="en-US" sz="1377">
                <a:solidFill>
                  <a:srgbClr val="1A1A1A"/>
                </a:solidFill>
                <a:latin typeface="Segoe UI"/>
              </a:endParaRPr>
            </a:p>
          </p:txBody>
        </p:sp>
        <p:sp>
          <p:nvSpPr>
            <p:cNvPr id="14" name="Freeform: Shape 13">
              <a:extLst>
                <a:ext uri="{FF2B5EF4-FFF2-40B4-BE49-F238E27FC236}">
                  <a16:creationId xmlns:a16="http://schemas.microsoft.com/office/drawing/2014/main" id="{245E4712-B5C8-4A57-9B7F-C8E00D57C63B}"/>
                </a:ext>
              </a:extLst>
            </p:cNvPr>
            <p:cNvSpPr/>
            <p:nvPr/>
          </p:nvSpPr>
          <p:spPr>
            <a:xfrm>
              <a:off x="7083793" y="4520700"/>
              <a:ext cx="188926" cy="230188"/>
            </a:xfrm>
            <a:custGeom>
              <a:avLst/>
              <a:gdLst>
                <a:gd name="connsiteX0" fmla="*/ 1220 w 188925"/>
                <a:gd name="connsiteY0" fmla="*/ 186848 h 230187"/>
                <a:gd name="connsiteX1" fmla="*/ 1220 w 188925"/>
                <a:gd name="connsiteY1" fmla="*/ 46990 h 230187"/>
                <a:gd name="connsiteX2" fmla="*/ 123943 w 188925"/>
                <a:gd name="connsiteY2" fmla="*/ 1230 h 230187"/>
                <a:gd name="connsiteX3" fmla="*/ 190618 w 188925"/>
                <a:gd name="connsiteY3" fmla="*/ 22741 h 230187"/>
                <a:gd name="connsiteX4" fmla="*/ 190618 w 188925"/>
                <a:gd name="connsiteY4" fmla="*/ 211058 h 230187"/>
                <a:gd name="connsiteX5" fmla="*/ 123943 w 188925"/>
                <a:gd name="connsiteY5" fmla="*/ 231338 h 230187"/>
                <a:gd name="connsiteX6" fmla="*/ 1220 w 188925"/>
                <a:gd name="connsiteY6" fmla="*/ 186848 h 230187"/>
                <a:gd name="connsiteX7" fmla="*/ 123943 w 188925"/>
                <a:gd name="connsiteY7" fmla="*/ 201731 h 230187"/>
                <a:gd name="connsiteX8" fmla="*/ 123943 w 188925"/>
                <a:gd name="connsiteY8" fmla="*/ 38893 h 230187"/>
                <a:gd name="connsiteX9" fmla="*/ 43886 w 188925"/>
                <a:gd name="connsiteY9" fmla="*/ 57745 h 230187"/>
                <a:gd name="connsiteX10" fmla="*/ 43886 w 188925"/>
                <a:gd name="connsiteY10" fmla="*/ 168037 h 230187"/>
                <a:gd name="connsiteX11" fmla="*/ 1220 w 188925"/>
                <a:gd name="connsiteY11" fmla="*/ 186848 h 230187"/>
                <a:gd name="connsiteX12" fmla="*/ 1220 w 188925"/>
                <a:gd name="connsiteY12" fmla="*/ 186848 h 230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8925" h="230187">
                  <a:moveTo>
                    <a:pt x="1220" y="186848"/>
                  </a:moveTo>
                  <a:lnTo>
                    <a:pt x="1220" y="46990"/>
                  </a:lnTo>
                  <a:lnTo>
                    <a:pt x="123943" y="1230"/>
                  </a:lnTo>
                  <a:lnTo>
                    <a:pt x="190618" y="22741"/>
                  </a:lnTo>
                  <a:lnTo>
                    <a:pt x="190618" y="211058"/>
                  </a:lnTo>
                  <a:lnTo>
                    <a:pt x="123943" y="231338"/>
                  </a:lnTo>
                  <a:lnTo>
                    <a:pt x="1220" y="186848"/>
                  </a:lnTo>
                  <a:lnTo>
                    <a:pt x="123943" y="201731"/>
                  </a:lnTo>
                  <a:lnTo>
                    <a:pt x="123943" y="38893"/>
                  </a:lnTo>
                  <a:lnTo>
                    <a:pt x="43886" y="57745"/>
                  </a:lnTo>
                  <a:lnTo>
                    <a:pt x="43886" y="168037"/>
                  </a:lnTo>
                  <a:lnTo>
                    <a:pt x="1220" y="186848"/>
                  </a:lnTo>
                  <a:lnTo>
                    <a:pt x="1220" y="186848"/>
                  </a:lnTo>
                  <a:close/>
                </a:path>
              </a:pathLst>
            </a:custGeom>
            <a:solidFill>
              <a:schemeClr val="bg1"/>
            </a:solidFill>
            <a:ln w="3936" cap="flat">
              <a:noFill/>
              <a:prstDash val="solid"/>
              <a:miter/>
            </a:ln>
          </p:spPr>
          <p:txBody>
            <a:bodyPr rtlCol="0" anchor="ctr"/>
            <a:lstStyle/>
            <a:p>
              <a:pPr defTabSz="699447">
                <a:defRPr/>
              </a:pPr>
              <a:endParaRPr lang="en-US" sz="1377">
                <a:solidFill>
                  <a:srgbClr val="1A1A1A"/>
                </a:solidFill>
                <a:latin typeface="Segoe UI"/>
              </a:endParaRPr>
            </a:p>
          </p:txBody>
        </p:sp>
        <p:sp>
          <p:nvSpPr>
            <p:cNvPr id="17" name="Freeform: Shape 16">
              <a:extLst>
                <a:ext uri="{FF2B5EF4-FFF2-40B4-BE49-F238E27FC236}">
                  <a16:creationId xmlns:a16="http://schemas.microsoft.com/office/drawing/2014/main" id="{6D7602B4-2967-4F59-BFE0-212868E4DEC3}"/>
                </a:ext>
              </a:extLst>
            </p:cNvPr>
            <p:cNvSpPr/>
            <p:nvPr/>
          </p:nvSpPr>
          <p:spPr>
            <a:xfrm>
              <a:off x="8823532" y="4529679"/>
              <a:ext cx="224349" cy="230188"/>
            </a:xfrm>
            <a:custGeom>
              <a:avLst/>
              <a:gdLst>
                <a:gd name="connsiteX0" fmla="*/ 149307 w 224349"/>
                <a:gd name="connsiteY0" fmla="*/ 230426 h 230187"/>
                <a:gd name="connsiteX1" fmla="*/ 138995 w 224349"/>
                <a:gd name="connsiteY1" fmla="*/ 227330 h 230187"/>
                <a:gd name="connsiteX2" fmla="*/ 120969 w 224349"/>
                <a:gd name="connsiteY2" fmla="*/ 226259 h 230187"/>
                <a:gd name="connsiteX3" fmla="*/ 96723 w 224349"/>
                <a:gd name="connsiteY3" fmla="*/ 225227 h 230187"/>
                <a:gd name="connsiteX4" fmla="*/ 10644 w 224349"/>
                <a:gd name="connsiteY4" fmla="*/ 146249 h 230187"/>
                <a:gd name="connsiteX5" fmla="*/ 8086 w 224349"/>
                <a:gd name="connsiteY5" fmla="*/ 115570 h 230187"/>
                <a:gd name="connsiteX6" fmla="*/ 4976 w 224349"/>
                <a:gd name="connsiteY6" fmla="*/ 85447 h 230187"/>
                <a:gd name="connsiteX7" fmla="*/ 42250 w 224349"/>
                <a:gd name="connsiteY7" fmla="*/ 5001 h 230187"/>
                <a:gd name="connsiteX8" fmla="*/ 63740 w 224349"/>
                <a:gd name="connsiteY8" fmla="*/ 1230 h 230187"/>
                <a:gd name="connsiteX9" fmla="*/ 89520 w 224349"/>
                <a:gd name="connsiteY9" fmla="*/ 6945 h 230187"/>
                <a:gd name="connsiteX10" fmla="*/ 112191 w 224349"/>
                <a:gd name="connsiteY10" fmla="*/ 9565 h 230187"/>
                <a:gd name="connsiteX11" fmla="*/ 139507 w 224349"/>
                <a:gd name="connsiteY11" fmla="*/ 12144 h 230187"/>
                <a:gd name="connsiteX12" fmla="*/ 212165 w 224349"/>
                <a:gd name="connsiteY12" fmla="*/ 71398 h 230187"/>
                <a:gd name="connsiteX13" fmla="*/ 221965 w 224349"/>
                <a:gd name="connsiteY13" fmla="*/ 129620 h 230187"/>
                <a:gd name="connsiteX14" fmla="*/ 223500 w 224349"/>
                <a:gd name="connsiteY14" fmla="*/ 148828 h 230187"/>
                <a:gd name="connsiteX15" fmla="*/ 203820 w 224349"/>
                <a:gd name="connsiteY15" fmla="*/ 217964 h 230187"/>
                <a:gd name="connsiteX16" fmla="*/ 177528 w 224349"/>
                <a:gd name="connsiteY16" fmla="*/ 230942 h 230187"/>
                <a:gd name="connsiteX17" fmla="*/ 149701 w 224349"/>
                <a:gd name="connsiteY17" fmla="*/ 230426 h 230187"/>
                <a:gd name="connsiteX18" fmla="*/ 135374 w 224349"/>
                <a:gd name="connsiteY18" fmla="*/ 190421 h 230187"/>
                <a:gd name="connsiteX19" fmla="*/ 173002 w 224349"/>
                <a:gd name="connsiteY19" fmla="*/ 163910 h 230187"/>
                <a:gd name="connsiteX20" fmla="*/ 168357 w 224349"/>
                <a:gd name="connsiteY20" fmla="*/ 120253 h 230187"/>
                <a:gd name="connsiteX21" fmla="*/ 118371 w 224349"/>
                <a:gd name="connsiteY21" fmla="*/ 98425 h 230187"/>
                <a:gd name="connsiteX22" fmla="*/ 90032 w 224349"/>
                <a:gd name="connsiteY22" fmla="*/ 86995 h 230187"/>
                <a:gd name="connsiteX23" fmla="*/ 88851 w 224349"/>
                <a:gd name="connsiteY23" fmla="*/ 75267 h 230187"/>
                <a:gd name="connsiteX24" fmla="*/ 88851 w 224349"/>
                <a:gd name="connsiteY24" fmla="*/ 75267 h 230187"/>
                <a:gd name="connsiteX25" fmla="*/ 89001 w 224349"/>
                <a:gd name="connsiteY25" fmla="*/ 75089 h 230187"/>
                <a:gd name="connsiteX26" fmla="*/ 110137 w 224349"/>
                <a:gd name="connsiteY26" fmla="*/ 66239 h 230187"/>
                <a:gd name="connsiteX27" fmla="*/ 140522 w 224349"/>
                <a:gd name="connsiteY27" fmla="*/ 82868 h 230187"/>
                <a:gd name="connsiteX28" fmla="*/ 162682 w 224349"/>
                <a:gd name="connsiteY28" fmla="*/ 91718 h 230187"/>
                <a:gd name="connsiteX29" fmla="*/ 160635 w 224349"/>
                <a:gd name="connsiteY29" fmla="*/ 56356 h 230187"/>
                <a:gd name="connsiteX30" fmla="*/ 114230 w 224349"/>
                <a:gd name="connsiteY30" fmla="*/ 42347 h 230187"/>
                <a:gd name="connsiteX31" fmla="*/ 65779 w 224349"/>
                <a:gd name="connsiteY31" fmla="*/ 57428 h 230187"/>
                <a:gd name="connsiteX32" fmla="*/ 56018 w 224349"/>
                <a:gd name="connsiteY32" fmla="*/ 83384 h 230187"/>
                <a:gd name="connsiteX33" fmla="*/ 66290 w 224349"/>
                <a:gd name="connsiteY33" fmla="*/ 108863 h 230187"/>
                <a:gd name="connsiteX34" fmla="*/ 111160 w 224349"/>
                <a:gd name="connsiteY34" fmla="*/ 127556 h 230187"/>
                <a:gd name="connsiteX35" fmla="*/ 140522 w 224349"/>
                <a:gd name="connsiteY35" fmla="*/ 140057 h 230187"/>
                <a:gd name="connsiteX36" fmla="*/ 143632 w 224349"/>
                <a:gd name="connsiteY36" fmla="*/ 149384 h 230187"/>
                <a:gd name="connsiteX37" fmla="*/ 138987 w 224349"/>
                <a:gd name="connsiteY37" fmla="*/ 159782 h 230187"/>
                <a:gd name="connsiteX38" fmla="*/ 111672 w 224349"/>
                <a:gd name="connsiteY38" fmla="*/ 168116 h 230187"/>
                <a:gd name="connsiteX39" fmla="*/ 84356 w 224349"/>
                <a:gd name="connsiteY39" fmla="*/ 148273 h 230187"/>
                <a:gd name="connsiteX40" fmla="*/ 68376 w 224349"/>
                <a:gd name="connsiteY40" fmla="*/ 134779 h 230187"/>
                <a:gd name="connsiteX41" fmla="*/ 56018 w 224349"/>
                <a:gd name="connsiteY41" fmla="*/ 163354 h 230187"/>
                <a:gd name="connsiteX42" fmla="*/ 93094 w 224349"/>
                <a:gd name="connsiteY42" fmla="*/ 190381 h 230187"/>
                <a:gd name="connsiteX43" fmla="*/ 135878 w 224349"/>
                <a:gd name="connsiteY43" fmla="*/ 190381 h 230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24349" h="230187">
                  <a:moveTo>
                    <a:pt x="149307" y="230426"/>
                  </a:moveTo>
                  <a:cubicBezTo>
                    <a:pt x="146198" y="229394"/>
                    <a:pt x="141436" y="228362"/>
                    <a:pt x="138995" y="227330"/>
                  </a:cubicBezTo>
                  <a:cubicBezTo>
                    <a:pt x="136555" y="226298"/>
                    <a:pt x="132304" y="225743"/>
                    <a:pt x="120969" y="226259"/>
                  </a:cubicBezTo>
                  <a:cubicBezTo>
                    <a:pt x="112872" y="226759"/>
                    <a:pt x="104749" y="226413"/>
                    <a:pt x="96723" y="225227"/>
                  </a:cubicBezTo>
                  <a:cubicBezTo>
                    <a:pt x="55321" y="217853"/>
                    <a:pt x="21822" y="187119"/>
                    <a:pt x="10644" y="146249"/>
                  </a:cubicBezTo>
                  <a:cubicBezTo>
                    <a:pt x="8597" y="138311"/>
                    <a:pt x="8086" y="134342"/>
                    <a:pt x="8086" y="115570"/>
                  </a:cubicBezTo>
                  <a:cubicBezTo>
                    <a:pt x="8086" y="95290"/>
                    <a:pt x="7574" y="93742"/>
                    <a:pt x="4976" y="85447"/>
                  </a:cubicBezTo>
                  <a:cubicBezTo>
                    <a:pt x="-6761" y="52856"/>
                    <a:pt x="9924" y="16836"/>
                    <a:pt x="42250" y="5001"/>
                  </a:cubicBezTo>
                  <a:cubicBezTo>
                    <a:pt x="49138" y="2481"/>
                    <a:pt x="56411" y="1203"/>
                    <a:pt x="63740" y="1230"/>
                  </a:cubicBezTo>
                  <a:cubicBezTo>
                    <a:pt x="72627" y="1361"/>
                    <a:pt x="81397" y="3306"/>
                    <a:pt x="89520" y="6945"/>
                  </a:cubicBezTo>
                  <a:cubicBezTo>
                    <a:pt x="93653" y="9049"/>
                    <a:pt x="96211" y="9565"/>
                    <a:pt x="112191" y="9565"/>
                  </a:cubicBezTo>
                  <a:cubicBezTo>
                    <a:pt x="126636" y="9565"/>
                    <a:pt x="132304" y="10081"/>
                    <a:pt x="139507" y="12144"/>
                  </a:cubicBezTo>
                  <a:cubicBezTo>
                    <a:pt x="171325" y="19884"/>
                    <a:pt x="198007" y="41640"/>
                    <a:pt x="212165" y="71398"/>
                  </a:cubicBezTo>
                  <a:cubicBezTo>
                    <a:pt x="220902" y="89456"/>
                    <a:pt x="224303" y="109665"/>
                    <a:pt x="221965" y="129620"/>
                  </a:cubicBezTo>
                  <a:cubicBezTo>
                    <a:pt x="220942" y="141050"/>
                    <a:pt x="220942" y="142081"/>
                    <a:pt x="223500" y="148828"/>
                  </a:cubicBezTo>
                  <a:cubicBezTo>
                    <a:pt x="231766" y="173760"/>
                    <a:pt x="223941" y="201248"/>
                    <a:pt x="203820" y="217964"/>
                  </a:cubicBezTo>
                  <a:cubicBezTo>
                    <a:pt x="195889" y="223826"/>
                    <a:pt x="186986" y="228219"/>
                    <a:pt x="177528" y="230942"/>
                  </a:cubicBezTo>
                  <a:cubicBezTo>
                    <a:pt x="168310" y="232617"/>
                    <a:pt x="158852" y="232442"/>
                    <a:pt x="149701" y="230426"/>
                  </a:cubicBezTo>
                  <a:close/>
                  <a:moveTo>
                    <a:pt x="135374" y="190421"/>
                  </a:moveTo>
                  <a:cubicBezTo>
                    <a:pt x="152417" y="186769"/>
                    <a:pt x="167334" y="176371"/>
                    <a:pt x="173002" y="163910"/>
                  </a:cubicBezTo>
                  <a:cubicBezTo>
                    <a:pt x="180252" y="149729"/>
                    <a:pt x="178426" y="132560"/>
                    <a:pt x="168357" y="120253"/>
                  </a:cubicBezTo>
                  <a:cubicBezTo>
                    <a:pt x="160131" y="110887"/>
                    <a:pt x="147772" y="105688"/>
                    <a:pt x="118371" y="98425"/>
                  </a:cubicBezTo>
                  <a:cubicBezTo>
                    <a:pt x="98691" y="93742"/>
                    <a:pt x="94165" y="91678"/>
                    <a:pt x="90032" y="86995"/>
                  </a:cubicBezTo>
                  <a:cubicBezTo>
                    <a:pt x="86494" y="84086"/>
                    <a:pt x="85966" y="78835"/>
                    <a:pt x="88851" y="75267"/>
                  </a:cubicBezTo>
                  <a:cubicBezTo>
                    <a:pt x="88851" y="75267"/>
                    <a:pt x="88851" y="75267"/>
                    <a:pt x="88851" y="75267"/>
                  </a:cubicBezTo>
                  <a:lnTo>
                    <a:pt x="89001" y="75089"/>
                  </a:lnTo>
                  <a:cubicBezTo>
                    <a:pt x="92071" y="69890"/>
                    <a:pt x="99825" y="66755"/>
                    <a:pt x="110137" y="66239"/>
                  </a:cubicBezTo>
                  <a:cubicBezTo>
                    <a:pt x="125054" y="65207"/>
                    <a:pt x="131785" y="68858"/>
                    <a:pt x="140522" y="82868"/>
                  </a:cubicBezTo>
                  <a:cubicBezTo>
                    <a:pt x="147214" y="93266"/>
                    <a:pt x="153944" y="95885"/>
                    <a:pt x="162682" y="91718"/>
                  </a:cubicBezTo>
                  <a:cubicBezTo>
                    <a:pt x="174017" y="86003"/>
                    <a:pt x="172994" y="67270"/>
                    <a:pt x="160635" y="56356"/>
                  </a:cubicBezTo>
                  <a:cubicBezTo>
                    <a:pt x="148827" y="46514"/>
                    <a:pt x="135878" y="42347"/>
                    <a:pt x="114230" y="42347"/>
                  </a:cubicBezTo>
                  <a:cubicBezTo>
                    <a:pt x="91559" y="42347"/>
                    <a:pt x="76091" y="47030"/>
                    <a:pt x="65779" y="57428"/>
                  </a:cubicBezTo>
                  <a:cubicBezTo>
                    <a:pt x="57553" y="65723"/>
                    <a:pt x="56018" y="70406"/>
                    <a:pt x="56018" y="83384"/>
                  </a:cubicBezTo>
                  <a:cubicBezTo>
                    <a:pt x="56018" y="96361"/>
                    <a:pt x="57553" y="101045"/>
                    <a:pt x="66290" y="108863"/>
                  </a:cubicBezTo>
                  <a:cubicBezTo>
                    <a:pt x="75579" y="117713"/>
                    <a:pt x="83333" y="120769"/>
                    <a:pt x="111160" y="127556"/>
                  </a:cubicBezTo>
                  <a:cubicBezTo>
                    <a:pt x="130840" y="132239"/>
                    <a:pt x="135878" y="134858"/>
                    <a:pt x="140522" y="140057"/>
                  </a:cubicBezTo>
                  <a:cubicBezTo>
                    <a:pt x="142774" y="142609"/>
                    <a:pt x="143899" y="145979"/>
                    <a:pt x="143632" y="149384"/>
                  </a:cubicBezTo>
                  <a:cubicBezTo>
                    <a:pt x="144128" y="153452"/>
                    <a:pt x="142337" y="157460"/>
                    <a:pt x="138987" y="159782"/>
                  </a:cubicBezTo>
                  <a:cubicBezTo>
                    <a:pt x="132808" y="166013"/>
                    <a:pt x="123519" y="168632"/>
                    <a:pt x="111672" y="168116"/>
                  </a:cubicBezTo>
                  <a:cubicBezTo>
                    <a:pt x="97739" y="167085"/>
                    <a:pt x="91559" y="162917"/>
                    <a:pt x="84356" y="148273"/>
                  </a:cubicBezTo>
                  <a:cubicBezTo>
                    <a:pt x="79200" y="138430"/>
                    <a:pt x="75068" y="134779"/>
                    <a:pt x="68376" y="134779"/>
                  </a:cubicBezTo>
                  <a:cubicBezTo>
                    <a:pt x="53420" y="134779"/>
                    <a:pt x="48264" y="147241"/>
                    <a:pt x="56018" y="163354"/>
                  </a:cubicBezTo>
                  <a:cubicBezTo>
                    <a:pt x="62709" y="177403"/>
                    <a:pt x="76091" y="186730"/>
                    <a:pt x="93094" y="190381"/>
                  </a:cubicBezTo>
                  <a:cubicBezTo>
                    <a:pt x="107283" y="192445"/>
                    <a:pt x="121689" y="192445"/>
                    <a:pt x="135878" y="190381"/>
                  </a:cubicBezTo>
                  <a:close/>
                </a:path>
              </a:pathLst>
            </a:custGeom>
            <a:solidFill>
              <a:schemeClr val="bg1"/>
            </a:solidFill>
            <a:ln w="3936" cap="flat">
              <a:noFill/>
              <a:prstDash val="solid"/>
              <a:miter/>
            </a:ln>
          </p:spPr>
          <p:txBody>
            <a:bodyPr rtlCol="0" anchor="ctr"/>
            <a:lstStyle/>
            <a:p>
              <a:pPr defTabSz="699447">
                <a:defRPr/>
              </a:pPr>
              <a:endParaRPr lang="en-US" sz="1377">
                <a:solidFill>
                  <a:srgbClr val="1A1A1A"/>
                </a:solidFill>
                <a:latin typeface="Segoe UI"/>
              </a:endParaRPr>
            </a:p>
          </p:txBody>
        </p:sp>
        <p:sp>
          <p:nvSpPr>
            <p:cNvPr id="18" name="Freeform: Shape 17">
              <a:extLst>
                <a:ext uri="{FF2B5EF4-FFF2-40B4-BE49-F238E27FC236}">
                  <a16:creationId xmlns:a16="http://schemas.microsoft.com/office/drawing/2014/main" id="{3D8DBC84-4054-4A9E-ACA8-2F5389D92460}"/>
                </a:ext>
              </a:extLst>
            </p:cNvPr>
            <p:cNvSpPr/>
            <p:nvPr/>
          </p:nvSpPr>
          <p:spPr>
            <a:xfrm>
              <a:off x="6464156" y="4515699"/>
              <a:ext cx="240093" cy="242094"/>
            </a:xfrm>
            <a:custGeom>
              <a:avLst/>
              <a:gdLst>
                <a:gd name="connsiteX0" fmla="*/ 120322 w 240092"/>
                <a:gd name="connsiteY0" fmla="*/ 241339 h 242093"/>
                <a:gd name="connsiteX1" fmla="*/ 1220 w 240092"/>
                <a:gd name="connsiteY1" fmla="*/ 121324 h 242093"/>
                <a:gd name="connsiteX2" fmla="*/ 120243 w 240092"/>
                <a:gd name="connsiteY2" fmla="*/ 1230 h 242093"/>
                <a:gd name="connsiteX3" fmla="*/ 239345 w 240092"/>
                <a:gd name="connsiteY3" fmla="*/ 121245 h 242093"/>
                <a:gd name="connsiteX4" fmla="*/ 120322 w 240092"/>
                <a:gd name="connsiteY4" fmla="*/ 241339 h 242093"/>
                <a:gd name="connsiteX5" fmla="*/ 120322 w 240092"/>
                <a:gd name="connsiteY5" fmla="*/ 33258 h 242093"/>
                <a:gd name="connsiteX6" fmla="*/ 32983 w 240092"/>
                <a:gd name="connsiteY6" fmla="*/ 121324 h 242093"/>
                <a:gd name="connsiteX7" fmla="*/ 120322 w 240092"/>
                <a:gd name="connsiteY7" fmla="*/ 209391 h 242093"/>
                <a:gd name="connsiteX8" fmla="*/ 207660 w 240092"/>
                <a:gd name="connsiteY8" fmla="*/ 121324 h 242093"/>
                <a:gd name="connsiteX9" fmla="*/ 207660 w 240092"/>
                <a:gd name="connsiteY9" fmla="*/ 121245 h 242093"/>
                <a:gd name="connsiteX10" fmla="*/ 120322 w 240092"/>
                <a:gd name="connsiteY10" fmla="*/ 33258 h 24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0092" h="242093">
                  <a:moveTo>
                    <a:pt x="120322" y="241339"/>
                  </a:moveTo>
                  <a:cubicBezTo>
                    <a:pt x="54565" y="241361"/>
                    <a:pt x="1242" y="187629"/>
                    <a:pt x="1220" y="121324"/>
                  </a:cubicBezTo>
                  <a:cubicBezTo>
                    <a:pt x="1198" y="55020"/>
                    <a:pt x="54487" y="1252"/>
                    <a:pt x="120243" y="1230"/>
                  </a:cubicBezTo>
                  <a:cubicBezTo>
                    <a:pt x="185999" y="1208"/>
                    <a:pt x="239323" y="54941"/>
                    <a:pt x="239345" y="121245"/>
                  </a:cubicBezTo>
                  <a:cubicBezTo>
                    <a:pt x="239366" y="187549"/>
                    <a:pt x="186078" y="241318"/>
                    <a:pt x="120322" y="241339"/>
                  </a:cubicBezTo>
                  <a:moveTo>
                    <a:pt x="120322" y="33258"/>
                  </a:moveTo>
                  <a:cubicBezTo>
                    <a:pt x="72086" y="33258"/>
                    <a:pt x="32983" y="72687"/>
                    <a:pt x="32983" y="121324"/>
                  </a:cubicBezTo>
                  <a:cubicBezTo>
                    <a:pt x="32983" y="169962"/>
                    <a:pt x="72086" y="209391"/>
                    <a:pt x="120322" y="209391"/>
                  </a:cubicBezTo>
                  <a:cubicBezTo>
                    <a:pt x="168558" y="209391"/>
                    <a:pt x="207660" y="169962"/>
                    <a:pt x="207660" y="121324"/>
                  </a:cubicBezTo>
                  <a:lnTo>
                    <a:pt x="207660" y="121245"/>
                  </a:lnTo>
                  <a:cubicBezTo>
                    <a:pt x="207595" y="72647"/>
                    <a:pt x="168518" y="33280"/>
                    <a:pt x="120322" y="33258"/>
                  </a:cubicBezTo>
                </a:path>
              </a:pathLst>
            </a:custGeom>
            <a:solidFill>
              <a:schemeClr val="bg1"/>
            </a:solidFill>
            <a:ln w="3936" cap="flat">
              <a:noFill/>
              <a:prstDash val="solid"/>
              <a:miter/>
            </a:ln>
          </p:spPr>
          <p:txBody>
            <a:bodyPr rtlCol="0" anchor="ctr"/>
            <a:lstStyle/>
            <a:p>
              <a:pPr defTabSz="699447">
                <a:defRPr/>
              </a:pPr>
              <a:endParaRPr lang="en-US" sz="1377">
                <a:solidFill>
                  <a:srgbClr val="1A1A1A"/>
                </a:solidFill>
                <a:latin typeface="Segoe UI"/>
              </a:endParaRPr>
            </a:p>
          </p:txBody>
        </p:sp>
        <p:sp>
          <p:nvSpPr>
            <p:cNvPr id="19" name="Freeform: Shape 18">
              <a:extLst>
                <a:ext uri="{FF2B5EF4-FFF2-40B4-BE49-F238E27FC236}">
                  <a16:creationId xmlns:a16="http://schemas.microsoft.com/office/drawing/2014/main" id="{E3124FCD-A395-4064-8C15-0A4C79FCEC33}"/>
                </a:ext>
              </a:extLst>
            </p:cNvPr>
            <p:cNvSpPr/>
            <p:nvPr/>
          </p:nvSpPr>
          <p:spPr>
            <a:xfrm>
              <a:off x="6487969" y="4539710"/>
              <a:ext cx="192862" cy="194469"/>
            </a:xfrm>
            <a:custGeom>
              <a:avLst/>
              <a:gdLst>
                <a:gd name="connsiteX0" fmla="*/ 96509 w 192861"/>
                <a:gd name="connsiteY0" fmla="*/ 193318 h 194468"/>
                <a:gd name="connsiteX1" fmla="*/ 1220 w 192861"/>
                <a:gd name="connsiteY1" fmla="*/ 97313 h 194468"/>
                <a:gd name="connsiteX2" fmla="*/ 96430 w 192861"/>
                <a:gd name="connsiteY2" fmla="*/ 1230 h 194468"/>
                <a:gd name="connsiteX3" fmla="*/ 191720 w 192861"/>
                <a:gd name="connsiteY3" fmla="*/ 97234 h 194468"/>
                <a:gd name="connsiteX4" fmla="*/ 96509 w 192861"/>
                <a:gd name="connsiteY4" fmla="*/ 193318 h 194468"/>
                <a:gd name="connsiteX5" fmla="*/ 96509 w 192861"/>
                <a:gd name="connsiteY5" fmla="*/ 21232 h 194468"/>
                <a:gd name="connsiteX6" fmla="*/ 21136 w 192861"/>
                <a:gd name="connsiteY6" fmla="*/ 97313 h 194468"/>
                <a:gd name="connsiteX7" fmla="*/ 96588 w 192861"/>
                <a:gd name="connsiteY7" fmla="*/ 173315 h 194468"/>
                <a:gd name="connsiteX8" fmla="*/ 171961 w 192861"/>
                <a:gd name="connsiteY8" fmla="*/ 97234 h 194468"/>
                <a:gd name="connsiteX9" fmla="*/ 96509 w 192861"/>
                <a:gd name="connsiteY9" fmla="*/ 21232 h 19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2861" h="194468">
                  <a:moveTo>
                    <a:pt x="96509" y="193318"/>
                  </a:moveTo>
                  <a:cubicBezTo>
                    <a:pt x="43904" y="193339"/>
                    <a:pt x="1242" y="150357"/>
                    <a:pt x="1220" y="97313"/>
                  </a:cubicBezTo>
                  <a:cubicBezTo>
                    <a:pt x="1198" y="44270"/>
                    <a:pt x="43825" y="1252"/>
                    <a:pt x="96430" y="1230"/>
                  </a:cubicBezTo>
                  <a:cubicBezTo>
                    <a:pt x="149036" y="1208"/>
                    <a:pt x="191698" y="44191"/>
                    <a:pt x="191720" y="97234"/>
                  </a:cubicBezTo>
                  <a:cubicBezTo>
                    <a:pt x="191741" y="150278"/>
                    <a:pt x="149114" y="193296"/>
                    <a:pt x="96509" y="193318"/>
                  </a:cubicBezTo>
                  <a:moveTo>
                    <a:pt x="96509" y="21232"/>
                  </a:moveTo>
                  <a:cubicBezTo>
                    <a:pt x="54860" y="21254"/>
                    <a:pt x="21114" y="55317"/>
                    <a:pt x="21136" y="97313"/>
                  </a:cubicBezTo>
                  <a:cubicBezTo>
                    <a:pt x="21157" y="139310"/>
                    <a:pt x="54938" y="173337"/>
                    <a:pt x="96588" y="173315"/>
                  </a:cubicBezTo>
                  <a:cubicBezTo>
                    <a:pt x="138237" y="173293"/>
                    <a:pt x="171983" y="139231"/>
                    <a:pt x="171961" y="97234"/>
                  </a:cubicBezTo>
                  <a:cubicBezTo>
                    <a:pt x="171940" y="55238"/>
                    <a:pt x="138159" y="21211"/>
                    <a:pt x="96509" y="21232"/>
                  </a:cubicBezTo>
                </a:path>
              </a:pathLst>
            </a:custGeom>
            <a:solidFill>
              <a:schemeClr val="bg1"/>
            </a:solidFill>
            <a:ln w="3936" cap="flat">
              <a:noFill/>
              <a:prstDash val="solid"/>
              <a:miter/>
            </a:ln>
          </p:spPr>
          <p:txBody>
            <a:bodyPr rtlCol="0" anchor="ctr"/>
            <a:lstStyle/>
            <a:p>
              <a:pPr defTabSz="699447">
                <a:defRPr/>
              </a:pPr>
              <a:endParaRPr lang="en-US" sz="1377">
                <a:solidFill>
                  <a:srgbClr val="1A1A1A"/>
                </a:solidFill>
                <a:latin typeface="Segoe UI"/>
              </a:endParaRPr>
            </a:p>
          </p:txBody>
        </p:sp>
        <p:sp>
          <p:nvSpPr>
            <p:cNvPr id="20" name="Freeform: Shape 19">
              <a:extLst>
                <a:ext uri="{FF2B5EF4-FFF2-40B4-BE49-F238E27FC236}">
                  <a16:creationId xmlns:a16="http://schemas.microsoft.com/office/drawing/2014/main" id="{6B9CA8F0-5796-4DD7-B079-948E938BD079}"/>
                </a:ext>
              </a:extLst>
            </p:cNvPr>
            <p:cNvSpPr/>
            <p:nvPr/>
          </p:nvSpPr>
          <p:spPr>
            <a:xfrm>
              <a:off x="8232330" y="4535354"/>
              <a:ext cx="216477" cy="218281"/>
            </a:xfrm>
            <a:custGeom>
              <a:avLst/>
              <a:gdLst>
                <a:gd name="connsiteX0" fmla="*/ 110088 w 216477"/>
                <a:gd name="connsiteY0" fmla="*/ 1230 h 218281"/>
                <a:gd name="connsiteX1" fmla="*/ 1220 w 216477"/>
                <a:gd name="connsiteY1" fmla="*/ 111006 h 218281"/>
                <a:gd name="connsiteX2" fmla="*/ 110088 w 216477"/>
                <a:gd name="connsiteY2" fmla="*/ 220781 h 218281"/>
                <a:gd name="connsiteX3" fmla="*/ 218957 w 216477"/>
                <a:gd name="connsiteY3" fmla="*/ 111006 h 218281"/>
                <a:gd name="connsiteX4" fmla="*/ 218957 w 216477"/>
                <a:gd name="connsiteY4" fmla="*/ 110926 h 218281"/>
                <a:gd name="connsiteX5" fmla="*/ 110088 w 216477"/>
                <a:gd name="connsiteY5" fmla="*/ 1230 h 218281"/>
                <a:gd name="connsiteX6" fmla="*/ 189240 w 216477"/>
                <a:gd name="connsiteY6" fmla="*/ 64532 h 218281"/>
                <a:gd name="connsiteX7" fmla="*/ 158973 w 216477"/>
                <a:gd name="connsiteY7" fmla="*/ 64532 h 218281"/>
                <a:gd name="connsiteX8" fmla="*/ 149841 w 216477"/>
                <a:gd name="connsiteY8" fmla="*/ 35957 h 218281"/>
                <a:gd name="connsiteX9" fmla="*/ 144331 w 216477"/>
                <a:gd name="connsiteY9" fmla="*/ 25320 h 218281"/>
                <a:gd name="connsiteX10" fmla="*/ 189240 w 216477"/>
                <a:gd name="connsiteY10" fmla="*/ 64532 h 218281"/>
                <a:gd name="connsiteX11" fmla="*/ 201678 w 216477"/>
                <a:gd name="connsiteY11" fmla="*/ 110926 h 218281"/>
                <a:gd name="connsiteX12" fmla="*/ 198135 w 216477"/>
                <a:gd name="connsiteY12" fmla="*/ 136485 h 218281"/>
                <a:gd name="connsiteX13" fmla="*/ 162436 w 216477"/>
                <a:gd name="connsiteY13" fmla="*/ 136485 h 218281"/>
                <a:gd name="connsiteX14" fmla="*/ 163814 w 216477"/>
                <a:gd name="connsiteY14" fmla="*/ 110966 h 218281"/>
                <a:gd name="connsiteX15" fmla="*/ 162003 w 216477"/>
                <a:gd name="connsiteY15" fmla="*/ 81954 h 218281"/>
                <a:gd name="connsiteX16" fmla="*/ 197033 w 216477"/>
                <a:gd name="connsiteY16" fmla="*/ 81954 h 218281"/>
                <a:gd name="connsiteX17" fmla="*/ 201678 w 216477"/>
                <a:gd name="connsiteY17" fmla="*/ 110926 h 218281"/>
                <a:gd name="connsiteX18" fmla="*/ 110167 w 216477"/>
                <a:gd name="connsiteY18" fmla="*/ 203319 h 218281"/>
                <a:gd name="connsiteX19" fmla="*/ 86118 w 216477"/>
                <a:gd name="connsiteY19" fmla="*/ 178871 h 218281"/>
                <a:gd name="connsiteX20" fmla="*/ 78246 w 216477"/>
                <a:gd name="connsiteY20" fmla="*/ 153947 h 218281"/>
                <a:gd name="connsiteX21" fmla="*/ 142245 w 216477"/>
                <a:gd name="connsiteY21" fmla="*/ 153947 h 218281"/>
                <a:gd name="connsiteX22" fmla="*/ 134373 w 216477"/>
                <a:gd name="connsiteY22" fmla="*/ 178871 h 218281"/>
                <a:gd name="connsiteX23" fmla="*/ 110167 w 216477"/>
                <a:gd name="connsiteY23" fmla="*/ 203319 h 218281"/>
                <a:gd name="connsiteX24" fmla="*/ 75176 w 216477"/>
                <a:gd name="connsiteY24" fmla="*/ 136525 h 218281"/>
                <a:gd name="connsiteX25" fmla="*/ 75609 w 216477"/>
                <a:gd name="connsiteY25" fmla="*/ 82153 h 218281"/>
                <a:gd name="connsiteX26" fmla="*/ 144567 w 216477"/>
                <a:gd name="connsiteY26" fmla="*/ 82153 h 218281"/>
                <a:gd name="connsiteX27" fmla="*/ 145039 w 216477"/>
                <a:gd name="connsiteY27" fmla="*/ 136683 h 218281"/>
                <a:gd name="connsiteX28" fmla="*/ 18617 w 216477"/>
                <a:gd name="connsiteY28" fmla="*/ 111006 h 218281"/>
                <a:gd name="connsiteX29" fmla="*/ 23182 w 216477"/>
                <a:gd name="connsiteY29" fmla="*/ 82153 h 218281"/>
                <a:gd name="connsiteX30" fmla="*/ 58212 w 216477"/>
                <a:gd name="connsiteY30" fmla="*/ 82153 h 218281"/>
                <a:gd name="connsiteX31" fmla="*/ 56402 w 216477"/>
                <a:gd name="connsiteY31" fmla="*/ 111164 h 218281"/>
                <a:gd name="connsiteX32" fmla="*/ 57976 w 216477"/>
                <a:gd name="connsiteY32" fmla="*/ 136525 h 218281"/>
                <a:gd name="connsiteX33" fmla="*/ 22120 w 216477"/>
                <a:gd name="connsiteY33" fmla="*/ 136525 h 218281"/>
                <a:gd name="connsiteX34" fmla="*/ 18617 w 216477"/>
                <a:gd name="connsiteY34" fmla="*/ 111006 h 218281"/>
                <a:gd name="connsiteX35" fmla="*/ 110088 w 216477"/>
                <a:gd name="connsiteY35" fmla="*/ 18653 h 218281"/>
                <a:gd name="connsiteX36" fmla="*/ 134098 w 216477"/>
                <a:gd name="connsiteY36" fmla="*/ 43100 h 218281"/>
                <a:gd name="connsiteX37" fmla="*/ 141300 w 216477"/>
                <a:gd name="connsiteY37" fmla="*/ 64532 h 218281"/>
                <a:gd name="connsiteX38" fmla="*/ 78915 w 216477"/>
                <a:gd name="connsiteY38" fmla="*/ 64532 h 218281"/>
                <a:gd name="connsiteX39" fmla="*/ 86079 w 216477"/>
                <a:gd name="connsiteY39" fmla="*/ 43061 h 218281"/>
                <a:gd name="connsiteX40" fmla="*/ 110088 w 216477"/>
                <a:gd name="connsiteY40" fmla="*/ 18653 h 218281"/>
                <a:gd name="connsiteX41" fmla="*/ 75845 w 216477"/>
                <a:gd name="connsiteY41" fmla="*/ 25360 h 218281"/>
                <a:gd name="connsiteX42" fmla="*/ 70335 w 216477"/>
                <a:gd name="connsiteY42" fmla="*/ 35996 h 218281"/>
                <a:gd name="connsiteX43" fmla="*/ 61204 w 216477"/>
                <a:gd name="connsiteY43" fmla="*/ 64571 h 218281"/>
                <a:gd name="connsiteX44" fmla="*/ 30976 w 216477"/>
                <a:gd name="connsiteY44" fmla="*/ 64571 h 218281"/>
                <a:gd name="connsiteX45" fmla="*/ 75845 w 216477"/>
                <a:gd name="connsiteY45" fmla="*/ 25360 h 218281"/>
                <a:gd name="connsiteX46" fmla="*/ 29086 w 216477"/>
                <a:gd name="connsiteY46" fmla="*/ 153947 h 218281"/>
                <a:gd name="connsiteX47" fmla="*/ 60574 w 216477"/>
                <a:gd name="connsiteY47" fmla="*/ 153947 h 218281"/>
                <a:gd name="connsiteX48" fmla="*/ 70493 w 216477"/>
                <a:gd name="connsiteY48" fmla="*/ 186015 h 218281"/>
                <a:gd name="connsiteX49" fmla="*/ 75964 w 216477"/>
                <a:gd name="connsiteY49" fmla="*/ 196612 h 218281"/>
                <a:gd name="connsiteX50" fmla="*/ 29086 w 216477"/>
                <a:gd name="connsiteY50" fmla="*/ 153947 h 218281"/>
                <a:gd name="connsiteX51" fmla="*/ 144567 w 216477"/>
                <a:gd name="connsiteY51" fmla="*/ 196612 h 218281"/>
                <a:gd name="connsiteX52" fmla="*/ 150038 w 216477"/>
                <a:gd name="connsiteY52" fmla="*/ 185975 h 218281"/>
                <a:gd name="connsiteX53" fmla="*/ 159917 w 216477"/>
                <a:gd name="connsiteY53" fmla="*/ 153908 h 218281"/>
                <a:gd name="connsiteX54" fmla="*/ 191405 w 216477"/>
                <a:gd name="connsiteY54" fmla="*/ 153908 h 218281"/>
                <a:gd name="connsiteX55" fmla="*/ 144567 w 216477"/>
                <a:gd name="connsiteY55" fmla="*/ 196612 h 21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16477" h="218281">
                  <a:moveTo>
                    <a:pt x="110088" y="1230"/>
                  </a:moveTo>
                  <a:cubicBezTo>
                    <a:pt x="49962" y="1230"/>
                    <a:pt x="1220" y="50379"/>
                    <a:pt x="1220" y="111006"/>
                  </a:cubicBezTo>
                  <a:cubicBezTo>
                    <a:pt x="1220" y="171632"/>
                    <a:pt x="49962" y="220781"/>
                    <a:pt x="110088" y="220781"/>
                  </a:cubicBezTo>
                  <a:cubicBezTo>
                    <a:pt x="170215" y="220781"/>
                    <a:pt x="218957" y="171632"/>
                    <a:pt x="218957" y="111006"/>
                  </a:cubicBezTo>
                  <a:lnTo>
                    <a:pt x="218957" y="110926"/>
                  </a:lnTo>
                  <a:cubicBezTo>
                    <a:pt x="218827" y="50367"/>
                    <a:pt x="170148" y="1317"/>
                    <a:pt x="110088" y="1230"/>
                  </a:cubicBezTo>
                  <a:close/>
                  <a:moveTo>
                    <a:pt x="189240" y="64532"/>
                  </a:moveTo>
                  <a:lnTo>
                    <a:pt x="158973" y="64532"/>
                  </a:lnTo>
                  <a:cubicBezTo>
                    <a:pt x="156897" y="54721"/>
                    <a:pt x="153837" y="45144"/>
                    <a:pt x="149841" y="35957"/>
                  </a:cubicBezTo>
                  <a:cubicBezTo>
                    <a:pt x="148205" y="32309"/>
                    <a:pt x="146365" y="28757"/>
                    <a:pt x="144331" y="25320"/>
                  </a:cubicBezTo>
                  <a:cubicBezTo>
                    <a:pt x="163172" y="33051"/>
                    <a:pt x="178958" y="46835"/>
                    <a:pt x="189240" y="64532"/>
                  </a:cubicBezTo>
                  <a:close/>
                  <a:moveTo>
                    <a:pt x="201678" y="110926"/>
                  </a:moveTo>
                  <a:cubicBezTo>
                    <a:pt x="201694" y="119570"/>
                    <a:pt x="200501" y="128174"/>
                    <a:pt x="198135" y="136485"/>
                  </a:cubicBezTo>
                  <a:lnTo>
                    <a:pt x="162436" y="136485"/>
                  </a:lnTo>
                  <a:cubicBezTo>
                    <a:pt x="163358" y="128012"/>
                    <a:pt x="163818" y="119491"/>
                    <a:pt x="163814" y="110966"/>
                  </a:cubicBezTo>
                  <a:cubicBezTo>
                    <a:pt x="163819" y="101266"/>
                    <a:pt x="163214" y="91579"/>
                    <a:pt x="162003" y="81954"/>
                  </a:cubicBezTo>
                  <a:lnTo>
                    <a:pt x="197033" y="81954"/>
                  </a:lnTo>
                  <a:cubicBezTo>
                    <a:pt x="200121" y="91297"/>
                    <a:pt x="201690" y="101080"/>
                    <a:pt x="201678" y="110926"/>
                  </a:cubicBezTo>
                  <a:close/>
                  <a:moveTo>
                    <a:pt x="110167" y="203319"/>
                  </a:moveTo>
                  <a:cubicBezTo>
                    <a:pt x="101941" y="203319"/>
                    <a:pt x="92967" y="194191"/>
                    <a:pt x="86118" y="178871"/>
                  </a:cubicBezTo>
                  <a:cubicBezTo>
                    <a:pt x="82695" y="170842"/>
                    <a:pt x="80058" y="162496"/>
                    <a:pt x="78246" y="153947"/>
                  </a:cubicBezTo>
                  <a:lnTo>
                    <a:pt x="142245" y="153947"/>
                  </a:lnTo>
                  <a:cubicBezTo>
                    <a:pt x="140469" y="162504"/>
                    <a:pt x="137832" y="170854"/>
                    <a:pt x="134373" y="178871"/>
                  </a:cubicBezTo>
                  <a:cubicBezTo>
                    <a:pt x="127328" y="194151"/>
                    <a:pt x="118354" y="203319"/>
                    <a:pt x="110167" y="203319"/>
                  </a:cubicBezTo>
                  <a:close/>
                  <a:moveTo>
                    <a:pt x="75176" y="136525"/>
                  </a:moveTo>
                  <a:cubicBezTo>
                    <a:pt x="73060" y="118455"/>
                    <a:pt x="73205" y="100187"/>
                    <a:pt x="75609" y="82153"/>
                  </a:cubicBezTo>
                  <a:lnTo>
                    <a:pt x="144567" y="82153"/>
                  </a:lnTo>
                  <a:cubicBezTo>
                    <a:pt x="147022" y="100234"/>
                    <a:pt x="147181" y="118562"/>
                    <a:pt x="145039" y="136683"/>
                  </a:cubicBezTo>
                  <a:close/>
                  <a:moveTo>
                    <a:pt x="18617" y="111006"/>
                  </a:moveTo>
                  <a:cubicBezTo>
                    <a:pt x="18592" y="101203"/>
                    <a:pt x="20134" y="91460"/>
                    <a:pt x="23182" y="82153"/>
                  </a:cubicBezTo>
                  <a:lnTo>
                    <a:pt x="58212" y="82153"/>
                  </a:lnTo>
                  <a:cubicBezTo>
                    <a:pt x="57002" y="91777"/>
                    <a:pt x="56397" y="101465"/>
                    <a:pt x="56402" y="111164"/>
                  </a:cubicBezTo>
                  <a:cubicBezTo>
                    <a:pt x="56449" y="119642"/>
                    <a:pt x="56975" y="128107"/>
                    <a:pt x="57976" y="136525"/>
                  </a:cubicBezTo>
                  <a:lnTo>
                    <a:pt x="22120" y="136525"/>
                  </a:lnTo>
                  <a:cubicBezTo>
                    <a:pt x="19774" y="128226"/>
                    <a:pt x="18595" y="119634"/>
                    <a:pt x="18617" y="111006"/>
                  </a:cubicBezTo>
                  <a:close/>
                  <a:moveTo>
                    <a:pt x="110088" y="18653"/>
                  </a:moveTo>
                  <a:cubicBezTo>
                    <a:pt x="118275" y="18653"/>
                    <a:pt x="127249" y="27781"/>
                    <a:pt x="134098" y="43100"/>
                  </a:cubicBezTo>
                  <a:cubicBezTo>
                    <a:pt x="137122" y="50014"/>
                    <a:pt x="139532" y="57185"/>
                    <a:pt x="141300" y="64532"/>
                  </a:cubicBezTo>
                  <a:lnTo>
                    <a:pt x="78915" y="64532"/>
                  </a:lnTo>
                  <a:cubicBezTo>
                    <a:pt x="80654" y="57170"/>
                    <a:pt x="83051" y="49986"/>
                    <a:pt x="86079" y="43061"/>
                  </a:cubicBezTo>
                  <a:cubicBezTo>
                    <a:pt x="92927" y="27781"/>
                    <a:pt x="101901" y="18653"/>
                    <a:pt x="110088" y="18653"/>
                  </a:cubicBezTo>
                  <a:close/>
                  <a:moveTo>
                    <a:pt x="75845" y="25360"/>
                  </a:moveTo>
                  <a:cubicBezTo>
                    <a:pt x="73796" y="28789"/>
                    <a:pt x="71956" y="32341"/>
                    <a:pt x="70335" y="35996"/>
                  </a:cubicBezTo>
                  <a:cubicBezTo>
                    <a:pt x="66339" y="45184"/>
                    <a:pt x="63280" y="54760"/>
                    <a:pt x="61204" y="64571"/>
                  </a:cubicBezTo>
                  <a:lnTo>
                    <a:pt x="30976" y="64571"/>
                  </a:lnTo>
                  <a:cubicBezTo>
                    <a:pt x="41222" y="46859"/>
                    <a:pt x="57001" y="33071"/>
                    <a:pt x="75845" y="25360"/>
                  </a:cubicBezTo>
                  <a:close/>
                  <a:moveTo>
                    <a:pt x="29086" y="153947"/>
                  </a:moveTo>
                  <a:lnTo>
                    <a:pt x="60574" y="153947"/>
                  </a:lnTo>
                  <a:cubicBezTo>
                    <a:pt x="62701" y="164973"/>
                    <a:pt x="66027" y="175724"/>
                    <a:pt x="70493" y="186015"/>
                  </a:cubicBezTo>
                  <a:cubicBezTo>
                    <a:pt x="72093" y="189658"/>
                    <a:pt x="73920" y="193198"/>
                    <a:pt x="75964" y="196612"/>
                  </a:cubicBezTo>
                  <a:cubicBezTo>
                    <a:pt x="55842" y="188400"/>
                    <a:pt x="39240" y="173291"/>
                    <a:pt x="29086" y="153947"/>
                  </a:cubicBezTo>
                  <a:close/>
                  <a:moveTo>
                    <a:pt x="144567" y="196612"/>
                  </a:moveTo>
                  <a:cubicBezTo>
                    <a:pt x="146603" y="193183"/>
                    <a:pt x="148430" y="189630"/>
                    <a:pt x="150038" y="185975"/>
                  </a:cubicBezTo>
                  <a:cubicBezTo>
                    <a:pt x="154490" y="175684"/>
                    <a:pt x="157803" y="164929"/>
                    <a:pt x="159917" y="153908"/>
                  </a:cubicBezTo>
                  <a:lnTo>
                    <a:pt x="191405" y="153908"/>
                  </a:lnTo>
                  <a:cubicBezTo>
                    <a:pt x="181262" y="173255"/>
                    <a:pt x="164677" y="188376"/>
                    <a:pt x="144567" y="196612"/>
                  </a:cubicBezTo>
                  <a:close/>
                </a:path>
              </a:pathLst>
            </a:custGeom>
            <a:solidFill>
              <a:schemeClr val="bg1"/>
            </a:solidFill>
            <a:ln w="3936" cap="flat">
              <a:noFill/>
              <a:prstDash val="solid"/>
              <a:miter/>
            </a:ln>
          </p:spPr>
          <p:txBody>
            <a:bodyPr rtlCol="0" anchor="ctr"/>
            <a:lstStyle/>
            <a:p>
              <a:pPr defTabSz="699447">
                <a:defRPr/>
              </a:pPr>
              <a:endParaRPr lang="en-US" sz="1377">
                <a:solidFill>
                  <a:srgbClr val="1A1A1A"/>
                </a:solidFill>
                <a:latin typeface="Segoe UI"/>
              </a:endParaRPr>
            </a:p>
          </p:txBody>
        </p:sp>
        <p:sp>
          <p:nvSpPr>
            <p:cNvPr id="21" name="Freeform: Shape 20">
              <a:extLst>
                <a:ext uri="{FF2B5EF4-FFF2-40B4-BE49-F238E27FC236}">
                  <a16:creationId xmlns:a16="http://schemas.microsoft.com/office/drawing/2014/main" id="{CA3F498A-F62C-4170-A971-86DA43BBDED1}"/>
                </a:ext>
              </a:extLst>
            </p:cNvPr>
            <p:cNvSpPr/>
            <p:nvPr/>
          </p:nvSpPr>
          <p:spPr>
            <a:xfrm>
              <a:off x="9999516" y="4519032"/>
              <a:ext cx="216477" cy="218281"/>
            </a:xfrm>
            <a:custGeom>
              <a:avLst/>
              <a:gdLst>
                <a:gd name="connsiteX0" fmla="*/ 108750 w 216477"/>
                <a:gd name="connsiteY0" fmla="*/ 1230 h 218281"/>
                <a:gd name="connsiteX1" fmla="*/ 1220 w 216477"/>
                <a:gd name="connsiteY1" fmla="*/ 102274 h 218281"/>
                <a:gd name="connsiteX2" fmla="*/ 41327 w 216477"/>
                <a:gd name="connsiteY2" fmla="*/ 180935 h 218281"/>
                <a:gd name="connsiteX3" fmla="*/ 41327 w 216477"/>
                <a:gd name="connsiteY3" fmla="*/ 219472 h 218281"/>
                <a:gd name="connsiteX4" fmla="*/ 77931 w 216477"/>
                <a:gd name="connsiteY4" fmla="*/ 199072 h 218281"/>
                <a:gd name="connsiteX5" fmla="*/ 108789 w 216477"/>
                <a:gd name="connsiteY5" fmla="*/ 203279 h 218281"/>
                <a:gd name="connsiteX6" fmla="*/ 216280 w 216477"/>
                <a:gd name="connsiteY6" fmla="*/ 102195 h 218281"/>
                <a:gd name="connsiteX7" fmla="*/ 108750 w 216477"/>
                <a:gd name="connsiteY7" fmla="*/ 1230 h 218281"/>
                <a:gd name="connsiteX8" fmla="*/ 119377 w 216477"/>
                <a:gd name="connsiteY8" fmla="*/ 137279 h 218281"/>
                <a:gd name="connsiteX9" fmla="*/ 91825 w 216477"/>
                <a:gd name="connsiteY9" fmla="*/ 107632 h 218281"/>
                <a:gd name="connsiteX10" fmla="*/ 38415 w 216477"/>
                <a:gd name="connsiteY10" fmla="*/ 137279 h 218281"/>
                <a:gd name="connsiteX11" fmla="*/ 97178 w 216477"/>
                <a:gd name="connsiteY11" fmla="*/ 73977 h 218281"/>
                <a:gd name="connsiteX12" fmla="*/ 125242 w 216477"/>
                <a:gd name="connsiteY12" fmla="*/ 103584 h 218281"/>
                <a:gd name="connsiteX13" fmla="*/ 177983 w 216477"/>
                <a:gd name="connsiteY13" fmla="*/ 73938 h 21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6477" h="218281">
                  <a:moveTo>
                    <a:pt x="108750" y="1230"/>
                  </a:moveTo>
                  <a:cubicBezTo>
                    <a:pt x="49356" y="1230"/>
                    <a:pt x="1220" y="46474"/>
                    <a:pt x="1220" y="102274"/>
                  </a:cubicBezTo>
                  <a:cubicBezTo>
                    <a:pt x="1507" y="133413"/>
                    <a:pt x="16379" y="162580"/>
                    <a:pt x="41327" y="180935"/>
                  </a:cubicBezTo>
                  <a:lnTo>
                    <a:pt x="41327" y="219472"/>
                  </a:lnTo>
                  <a:lnTo>
                    <a:pt x="77931" y="199072"/>
                  </a:lnTo>
                  <a:cubicBezTo>
                    <a:pt x="87981" y="201878"/>
                    <a:pt x="98362" y="203295"/>
                    <a:pt x="108789" y="203279"/>
                  </a:cubicBezTo>
                  <a:cubicBezTo>
                    <a:pt x="168183" y="203279"/>
                    <a:pt x="216280" y="157996"/>
                    <a:pt x="216280" y="102195"/>
                  </a:cubicBezTo>
                  <a:cubicBezTo>
                    <a:pt x="216280" y="46394"/>
                    <a:pt x="168143" y="1190"/>
                    <a:pt x="108750" y="1230"/>
                  </a:cubicBezTo>
                  <a:close/>
                  <a:moveTo>
                    <a:pt x="119377" y="137279"/>
                  </a:moveTo>
                  <a:lnTo>
                    <a:pt x="91825" y="107632"/>
                  </a:lnTo>
                  <a:lnTo>
                    <a:pt x="38415" y="137279"/>
                  </a:lnTo>
                  <a:lnTo>
                    <a:pt x="97178" y="73977"/>
                  </a:lnTo>
                  <a:lnTo>
                    <a:pt x="125242" y="103584"/>
                  </a:lnTo>
                  <a:lnTo>
                    <a:pt x="177983" y="73938"/>
                  </a:lnTo>
                  <a:close/>
                </a:path>
              </a:pathLst>
            </a:custGeom>
            <a:solidFill>
              <a:schemeClr val="bg1"/>
            </a:solidFill>
            <a:ln w="3936" cap="flat">
              <a:noFill/>
              <a:prstDash val="solid"/>
              <a:miter/>
            </a:ln>
          </p:spPr>
          <p:txBody>
            <a:bodyPr rtlCol="0" anchor="ctr"/>
            <a:lstStyle/>
            <a:p>
              <a:pPr defTabSz="699447">
                <a:defRPr/>
              </a:pPr>
              <a:endParaRPr lang="en-US" sz="1377">
                <a:solidFill>
                  <a:srgbClr val="1A1A1A"/>
                </a:solidFill>
                <a:latin typeface="Segoe UI"/>
              </a:endParaRPr>
            </a:p>
          </p:txBody>
        </p:sp>
        <p:sp>
          <p:nvSpPr>
            <p:cNvPr id="22" name="Freeform: Shape 21">
              <a:extLst>
                <a:ext uri="{FF2B5EF4-FFF2-40B4-BE49-F238E27FC236}">
                  <a16:creationId xmlns:a16="http://schemas.microsoft.com/office/drawing/2014/main" id="{730BA54F-EEDE-48AF-BAE3-B6CF79669E7F}"/>
                </a:ext>
              </a:extLst>
            </p:cNvPr>
            <p:cNvSpPr/>
            <p:nvPr/>
          </p:nvSpPr>
          <p:spPr>
            <a:xfrm>
              <a:off x="9525341" y="4528506"/>
              <a:ext cx="94463" cy="206375"/>
            </a:xfrm>
            <a:custGeom>
              <a:avLst/>
              <a:gdLst>
                <a:gd name="connsiteX0" fmla="*/ 41551 w 94462"/>
                <a:gd name="connsiteY0" fmla="*/ 15540 h 206375"/>
                <a:gd name="connsiteX1" fmla="*/ 15409 w 94462"/>
                <a:gd name="connsiteY1" fmla="*/ 2292 h 206375"/>
                <a:gd name="connsiteX2" fmla="*/ 2192 w 94462"/>
                <a:gd name="connsiteY2" fmla="*/ 28399 h 206375"/>
                <a:gd name="connsiteX3" fmla="*/ 55484 w 94462"/>
                <a:gd name="connsiteY3" fmla="*/ 193697 h 206375"/>
                <a:gd name="connsiteX4" fmla="*/ 81253 w 94462"/>
                <a:gd name="connsiteY4" fmla="*/ 207369 h 206375"/>
                <a:gd name="connsiteX5" fmla="*/ 94808 w 94462"/>
                <a:gd name="connsiteY5" fmla="*/ 181386 h 206375"/>
                <a:gd name="connsiteX6" fmla="*/ 94647 w 94462"/>
                <a:gd name="connsiteY6" fmla="*/ 180878 h 206375"/>
                <a:gd name="connsiteX7" fmla="*/ 94647 w 94462"/>
                <a:gd name="connsiteY7" fmla="*/ 180878 h 206375"/>
                <a:gd name="connsiteX8" fmla="*/ 41394 w 94462"/>
                <a:gd name="connsiteY8" fmla="*/ 15540 h 20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462" h="206375">
                  <a:moveTo>
                    <a:pt x="41551" y="15540"/>
                  </a:moveTo>
                  <a:cubicBezTo>
                    <a:pt x="37962" y="4602"/>
                    <a:pt x="26256" y="-1327"/>
                    <a:pt x="15409" y="2292"/>
                  </a:cubicBezTo>
                  <a:cubicBezTo>
                    <a:pt x="4663" y="5884"/>
                    <a:pt x="-1229" y="17516"/>
                    <a:pt x="2192" y="28399"/>
                  </a:cubicBezTo>
                  <a:lnTo>
                    <a:pt x="55484" y="193697"/>
                  </a:lnTo>
                  <a:cubicBezTo>
                    <a:pt x="58857" y="204647"/>
                    <a:pt x="70394" y="210767"/>
                    <a:pt x="81253" y="207369"/>
                  </a:cubicBezTo>
                  <a:cubicBezTo>
                    <a:pt x="92112" y="203968"/>
                    <a:pt x="98182" y="192336"/>
                    <a:pt x="94808" y="181386"/>
                  </a:cubicBezTo>
                  <a:cubicBezTo>
                    <a:pt x="94757" y="181215"/>
                    <a:pt x="94702" y="181045"/>
                    <a:pt x="94647" y="180878"/>
                  </a:cubicBezTo>
                  <a:lnTo>
                    <a:pt x="94647" y="180878"/>
                  </a:lnTo>
                  <a:lnTo>
                    <a:pt x="41394" y="15540"/>
                  </a:lnTo>
                </a:path>
              </a:pathLst>
            </a:custGeom>
            <a:solidFill>
              <a:schemeClr val="bg1"/>
            </a:solidFill>
            <a:ln w="3936" cap="flat">
              <a:noFill/>
              <a:prstDash val="solid"/>
              <a:miter/>
            </a:ln>
          </p:spPr>
          <p:txBody>
            <a:bodyPr rtlCol="0" anchor="ctr"/>
            <a:lstStyle/>
            <a:p>
              <a:pPr defTabSz="699447">
                <a:defRPr/>
              </a:pPr>
              <a:endParaRPr lang="en-US" sz="1377">
                <a:solidFill>
                  <a:srgbClr val="1A1A1A"/>
                </a:solidFill>
                <a:latin typeface="Segoe UI"/>
              </a:endParaRPr>
            </a:p>
          </p:txBody>
        </p:sp>
        <p:sp>
          <p:nvSpPr>
            <p:cNvPr id="23" name="Freeform: Shape 22">
              <a:extLst>
                <a:ext uri="{FF2B5EF4-FFF2-40B4-BE49-F238E27FC236}">
                  <a16:creationId xmlns:a16="http://schemas.microsoft.com/office/drawing/2014/main" id="{6CCC38C2-A738-4CB9-BAFE-33C49412D806}"/>
                </a:ext>
              </a:extLst>
            </p:cNvPr>
            <p:cNvSpPr/>
            <p:nvPr/>
          </p:nvSpPr>
          <p:spPr>
            <a:xfrm>
              <a:off x="9442765" y="4555573"/>
              <a:ext cx="94463" cy="206375"/>
            </a:xfrm>
            <a:custGeom>
              <a:avLst/>
              <a:gdLst>
                <a:gd name="connsiteX0" fmla="*/ 41551 w 94462"/>
                <a:gd name="connsiteY0" fmla="*/ 15540 h 206375"/>
                <a:gd name="connsiteX1" fmla="*/ 15409 w 94462"/>
                <a:gd name="connsiteY1" fmla="*/ 2292 h 206375"/>
                <a:gd name="connsiteX2" fmla="*/ 2192 w 94462"/>
                <a:gd name="connsiteY2" fmla="*/ 28399 h 206375"/>
                <a:gd name="connsiteX3" fmla="*/ 2192 w 94462"/>
                <a:gd name="connsiteY3" fmla="*/ 28399 h 206375"/>
                <a:gd name="connsiteX4" fmla="*/ 55484 w 94462"/>
                <a:gd name="connsiteY4" fmla="*/ 193697 h 206375"/>
                <a:gd name="connsiteX5" fmla="*/ 80556 w 94462"/>
                <a:gd name="connsiteY5" fmla="*/ 206595 h 206375"/>
                <a:gd name="connsiteX6" fmla="*/ 94769 w 94462"/>
                <a:gd name="connsiteY6" fmla="*/ 181299 h 206375"/>
                <a:gd name="connsiteX7" fmla="*/ 94769 w 94462"/>
                <a:gd name="connsiteY7" fmla="*/ 181299 h 206375"/>
                <a:gd name="connsiteX8" fmla="*/ 94647 w 94462"/>
                <a:gd name="connsiteY8" fmla="*/ 180878 h 206375"/>
                <a:gd name="connsiteX9" fmla="*/ 41394 w 94462"/>
                <a:gd name="connsiteY9" fmla="*/ 15540 h 20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462" h="206375">
                  <a:moveTo>
                    <a:pt x="41551" y="15540"/>
                  </a:moveTo>
                  <a:cubicBezTo>
                    <a:pt x="37962" y="4602"/>
                    <a:pt x="26256" y="-1327"/>
                    <a:pt x="15409" y="2292"/>
                  </a:cubicBezTo>
                  <a:cubicBezTo>
                    <a:pt x="4663" y="5884"/>
                    <a:pt x="-1229" y="17516"/>
                    <a:pt x="2192" y="28399"/>
                  </a:cubicBezTo>
                  <a:lnTo>
                    <a:pt x="2192" y="28399"/>
                  </a:lnTo>
                  <a:lnTo>
                    <a:pt x="55484" y="193697"/>
                  </a:lnTo>
                  <a:cubicBezTo>
                    <a:pt x="59180" y="203972"/>
                    <a:pt x="70138" y="209608"/>
                    <a:pt x="80556" y="206595"/>
                  </a:cubicBezTo>
                  <a:cubicBezTo>
                    <a:pt x="91408" y="203567"/>
                    <a:pt x="97772" y="192241"/>
                    <a:pt x="94769" y="181299"/>
                  </a:cubicBezTo>
                  <a:cubicBezTo>
                    <a:pt x="94769" y="181299"/>
                    <a:pt x="94769" y="181299"/>
                    <a:pt x="94769" y="181299"/>
                  </a:cubicBezTo>
                  <a:cubicBezTo>
                    <a:pt x="94730" y="181160"/>
                    <a:pt x="94690" y="181017"/>
                    <a:pt x="94647" y="180878"/>
                  </a:cubicBezTo>
                  <a:lnTo>
                    <a:pt x="41394" y="15540"/>
                  </a:lnTo>
                </a:path>
              </a:pathLst>
            </a:custGeom>
            <a:solidFill>
              <a:schemeClr val="bg1"/>
            </a:solidFill>
            <a:ln w="3936" cap="flat">
              <a:noFill/>
              <a:prstDash val="solid"/>
              <a:miter/>
            </a:ln>
          </p:spPr>
          <p:txBody>
            <a:bodyPr rtlCol="0" anchor="ctr"/>
            <a:lstStyle/>
            <a:p>
              <a:pPr defTabSz="699447">
                <a:defRPr/>
              </a:pPr>
              <a:endParaRPr lang="en-US" sz="1377">
                <a:solidFill>
                  <a:srgbClr val="1A1A1A"/>
                </a:solidFill>
                <a:latin typeface="Segoe UI"/>
              </a:endParaRPr>
            </a:p>
          </p:txBody>
        </p:sp>
        <p:sp>
          <p:nvSpPr>
            <p:cNvPr id="24" name="Freeform: Shape 23">
              <a:extLst>
                <a:ext uri="{FF2B5EF4-FFF2-40B4-BE49-F238E27FC236}">
                  <a16:creationId xmlns:a16="http://schemas.microsoft.com/office/drawing/2014/main" id="{F5ED69DC-4C56-4859-AABB-D20EA8D77625}"/>
                </a:ext>
              </a:extLst>
            </p:cNvPr>
            <p:cNvSpPr/>
            <p:nvPr/>
          </p:nvSpPr>
          <p:spPr>
            <a:xfrm>
              <a:off x="9441727" y="4639110"/>
              <a:ext cx="204669" cy="95250"/>
            </a:xfrm>
            <a:custGeom>
              <a:avLst/>
              <a:gdLst>
                <a:gd name="connsiteX0" fmla="*/ 192234 w 204669"/>
                <a:gd name="connsiteY0" fmla="*/ 41897 h 95250"/>
                <a:gd name="connsiteX1" fmla="*/ 205373 w 204669"/>
                <a:gd name="connsiteY1" fmla="*/ 15537 h 95250"/>
                <a:gd name="connsiteX2" fmla="*/ 179482 w 204669"/>
                <a:gd name="connsiteY2" fmla="*/ 2210 h 95250"/>
                <a:gd name="connsiteX3" fmla="*/ 15550 w 204669"/>
                <a:gd name="connsiteY3" fmla="*/ 55947 h 95250"/>
                <a:gd name="connsiteX4" fmla="*/ 2226 w 204669"/>
                <a:gd name="connsiteY4" fmla="*/ 82200 h 95250"/>
                <a:gd name="connsiteX5" fmla="*/ 28263 w 204669"/>
                <a:gd name="connsiteY5" fmla="*/ 95634 h 95250"/>
                <a:gd name="connsiteX6" fmla="*/ 192234 w 204669"/>
                <a:gd name="connsiteY6" fmla="*/ 41897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669" h="95250">
                  <a:moveTo>
                    <a:pt x="192234" y="41897"/>
                  </a:moveTo>
                  <a:cubicBezTo>
                    <a:pt x="203082" y="38278"/>
                    <a:pt x="208962" y="26475"/>
                    <a:pt x="205373" y="15537"/>
                  </a:cubicBezTo>
                  <a:cubicBezTo>
                    <a:pt x="201811" y="4702"/>
                    <a:pt x="190274" y="-1239"/>
                    <a:pt x="179482" y="2210"/>
                  </a:cubicBezTo>
                  <a:lnTo>
                    <a:pt x="15550" y="55947"/>
                  </a:lnTo>
                  <a:cubicBezTo>
                    <a:pt x="4682" y="59487"/>
                    <a:pt x="-1284" y="71242"/>
                    <a:pt x="2226" y="82200"/>
                  </a:cubicBezTo>
                  <a:cubicBezTo>
                    <a:pt x="5737" y="93158"/>
                    <a:pt x="17396" y="99174"/>
                    <a:pt x="28263" y="95634"/>
                  </a:cubicBezTo>
                  <a:lnTo>
                    <a:pt x="192234" y="41897"/>
                  </a:lnTo>
                </a:path>
              </a:pathLst>
            </a:custGeom>
            <a:solidFill>
              <a:schemeClr val="bg1"/>
            </a:solidFill>
            <a:ln w="3936" cap="flat">
              <a:noFill/>
              <a:prstDash val="solid"/>
              <a:miter/>
            </a:ln>
          </p:spPr>
          <p:txBody>
            <a:bodyPr rtlCol="0" anchor="ctr"/>
            <a:lstStyle/>
            <a:p>
              <a:pPr defTabSz="699447">
                <a:defRPr/>
              </a:pPr>
              <a:endParaRPr lang="en-US" sz="1377">
                <a:solidFill>
                  <a:srgbClr val="1A1A1A"/>
                </a:solidFill>
                <a:latin typeface="Segoe UI"/>
              </a:endParaRPr>
            </a:p>
          </p:txBody>
        </p:sp>
        <p:sp>
          <p:nvSpPr>
            <p:cNvPr id="25" name="Freeform: Shape 24">
              <a:extLst>
                <a:ext uri="{FF2B5EF4-FFF2-40B4-BE49-F238E27FC236}">
                  <a16:creationId xmlns:a16="http://schemas.microsoft.com/office/drawing/2014/main" id="{BE90491C-B306-455C-91ED-D5D39D473F62}"/>
                </a:ext>
              </a:extLst>
            </p:cNvPr>
            <p:cNvSpPr/>
            <p:nvPr/>
          </p:nvSpPr>
          <p:spPr>
            <a:xfrm>
              <a:off x="9477468" y="4674102"/>
              <a:ext cx="51167" cy="51594"/>
            </a:xfrm>
            <a:custGeom>
              <a:avLst/>
              <a:gdLst>
                <a:gd name="connsiteX0" fmla="*/ 13972 w 51167"/>
                <a:gd name="connsiteY0" fmla="*/ 53578 h 51593"/>
                <a:gd name="connsiteX1" fmla="*/ 53332 w 51167"/>
                <a:gd name="connsiteY1" fmla="*/ 40719 h 51593"/>
                <a:gd name="connsiteX2" fmla="*/ 40579 w 51167"/>
                <a:gd name="connsiteY2" fmla="*/ 1230 h 51593"/>
                <a:gd name="connsiteX3" fmla="*/ 1220 w 51167"/>
                <a:gd name="connsiteY3" fmla="*/ 14049 h 51593"/>
                <a:gd name="connsiteX4" fmla="*/ 13972 w 51167"/>
                <a:gd name="connsiteY4" fmla="*/ 53737 h 51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67" h="51593">
                  <a:moveTo>
                    <a:pt x="13972" y="53578"/>
                  </a:moveTo>
                  <a:lnTo>
                    <a:pt x="53332" y="40719"/>
                  </a:lnTo>
                  <a:lnTo>
                    <a:pt x="40579" y="1230"/>
                  </a:lnTo>
                  <a:lnTo>
                    <a:pt x="1220" y="14049"/>
                  </a:lnTo>
                  <a:lnTo>
                    <a:pt x="13972" y="53737"/>
                  </a:lnTo>
                </a:path>
              </a:pathLst>
            </a:custGeom>
            <a:solidFill>
              <a:schemeClr val="bg1"/>
            </a:solidFill>
            <a:ln w="3936" cap="flat">
              <a:noFill/>
              <a:prstDash val="solid"/>
              <a:miter/>
            </a:ln>
          </p:spPr>
          <p:txBody>
            <a:bodyPr rtlCol="0" anchor="ctr"/>
            <a:lstStyle/>
            <a:p>
              <a:pPr defTabSz="699447">
                <a:defRPr/>
              </a:pPr>
              <a:endParaRPr lang="en-US" sz="1377">
                <a:solidFill>
                  <a:srgbClr val="1A1A1A"/>
                </a:solidFill>
                <a:latin typeface="Segoe UI"/>
              </a:endParaRPr>
            </a:p>
          </p:txBody>
        </p:sp>
        <p:sp>
          <p:nvSpPr>
            <p:cNvPr id="26" name="Freeform: Shape 25">
              <a:extLst>
                <a:ext uri="{FF2B5EF4-FFF2-40B4-BE49-F238E27FC236}">
                  <a16:creationId xmlns:a16="http://schemas.microsoft.com/office/drawing/2014/main" id="{9E506AF4-7BC2-492A-A69E-589B033CFE2D}"/>
                </a:ext>
              </a:extLst>
            </p:cNvPr>
            <p:cNvSpPr/>
            <p:nvPr/>
          </p:nvSpPr>
          <p:spPr>
            <a:xfrm>
              <a:off x="9560084" y="4646876"/>
              <a:ext cx="51167" cy="51594"/>
            </a:xfrm>
            <a:custGeom>
              <a:avLst/>
              <a:gdLst>
                <a:gd name="connsiteX0" fmla="*/ 13933 w 51167"/>
                <a:gd name="connsiteY0" fmla="*/ 53737 h 51593"/>
                <a:gd name="connsiteX1" fmla="*/ 53292 w 51167"/>
                <a:gd name="connsiteY1" fmla="*/ 40917 h 51593"/>
                <a:gd name="connsiteX2" fmla="*/ 40579 w 51167"/>
                <a:gd name="connsiteY2" fmla="*/ 1230 h 51593"/>
                <a:gd name="connsiteX3" fmla="*/ 1220 w 51167"/>
                <a:gd name="connsiteY3" fmla="*/ 14049 h 51593"/>
                <a:gd name="connsiteX4" fmla="*/ 13972 w 51167"/>
                <a:gd name="connsiteY4" fmla="*/ 53737 h 51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67" h="51593">
                  <a:moveTo>
                    <a:pt x="13933" y="53737"/>
                  </a:moveTo>
                  <a:lnTo>
                    <a:pt x="53292" y="40917"/>
                  </a:lnTo>
                  <a:lnTo>
                    <a:pt x="40579" y="1230"/>
                  </a:lnTo>
                  <a:lnTo>
                    <a:pt x="1220" y="14049"/>
                  </a:lnTo>
                  <a:lnTo>
                    <a:pt x="13972" y="53737"/>
                  </a:lnTo>
                </a:path>
              </a:pathLst>
            </a:custGeom>
            <a:solidFill>
              <a:schemeClr val="bg1"/>
            </a:solidFill>
            <a:ln w="3936" cap="flat">
              <a:noFill/>
              <a:prstDash val="solid"/>
              <a:miter/>
            </a:ln>
          </p:spPr>
          <p:txBody>
            <a:bodyPr rtlCol="0" anchor="ctr"/>
            <a:lstStyle/>
            <a:p>
              <a:pPr defTabSz="699447">
                <a:defRPr/>
              </a:pPr>
              <a:endParaRPr lang="en-US" sz="1377">
                <a:solidFill>
                  <a:srgbClr val="1A1A1A"/>
                </a:solidFill>
                <a:latin typeface="Segoe UI"/>
              </a:endParaRPr>
            </a:p>
          </p:txBody>
        </p:sp>
        <p:sp>
          <p:nvSpPr>
            <p:cNvPr id="27" name="Freeform: Shape 26">
              <a:extLst>
                <a:ext uri="{FF2B5EF4-FFF2-40B4-BE49-F238E27FC236}">
                  <a16:creationId xmlns:a16="http://schemas.microsoft.com/office/drawing/2014/main" id="{05484178-4E02-4257-93FB-C9513B74B54E}"/>
                </a:ext>
              </a:extLst>
            </p:cNvPr>
            <p:cNvSpPr/>
            <p:nvPr/>
          </p:nvSpPr>
          <p:spPr>
            <a:xfrm>
              <a:off x="9414772" y="4555731"/>
              <a:ext cx="204669" cy="95250"/>
            </a:xfrm>
            <a:custGeom>
              <a:avLst/>
              <a:gdLst>
                <a:gd name="connsiteX0" fmla="*/ 192346 w 204669"/>
                <a:gd name="connsiteY0" fmla="*/ 41933 h 95250"/>
                <a:gd name="connsiteX1" fmla="*/ 205669 w 204669"/>
                <a:gd name="connsiteY1" fmla="*/ 15679 h 95250"/>
                <a:gd name="connsiteX2" fmla="*/ 179633 w 204669"/>
                <a:gd name="connsiteY2" fmla="*/ 2245 h 95250"/>
                <a:gd name="connsiteX3" fmla="*/ 179633 w 204669"/>
                <a:gd name="connsiteY3" fmla="*/ 2245 h 95250"/>
                <a:gd name="connsiteX4" fmla="*/ 15661 w 204669"/>
                <a:gd name="connsiteY4" fmla="*/ 55982 h 95250"/>
                <a:gd name="connsiteX5" fmla="*/ 2192 w 204669"/>
                <a:gd name="connsiteY5" fmla="*/ 82168 h 95250"/>
                <a:gd name="connsiteX6" fmla="*/ 28162 w 204669"/>
                <a:gd name="connsiteY6" fmla="*/ 95753 h 95250"/>
                <a:gd name="connsiteX7" fmla="*/ 28413 w 204669"/>
                <a:gd name="connsiteY7" fmla="*/ 95669 h 95250"/>
                <a:gd name="connsiteX8" fmla="*/ 28413 w 204669"/>
                <a:gd name="connsiteY8" fmla="*/ 95669 h 95250"/>
                <a:gd name="connsiteX9" fmla="*/ 192346 w 204669"/>
                <a:gd name="connsiteY9" fmla="*/ 41933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4669" h="95250">
                  <a:moveTo>
                    <a:pt x="192346" y="41933"/>
                  </a:moveTo>
                  <a:cubicBezTo>
                    <a:pt x="203213" y="38392"/>
                    <a:pt x="209180" y="26637"/>
                    <a:pt x="205669" y="15679"/>
                  </a:cubicBezTo>
                  <a:cubicBezTo>
                    <a:pt x="202158" y="4721"/>
                    <a:pt x="190500" y="-1295"/>
                    <a:pt x="179633" y="2245"/>
                  </a:cubicBezTo>
                  <a:lnTo>
                    <a:pt x="179633" y="2245"/>
                  </a:lnTo>
                  <a:lnTo>
                    <a:pt x="15661" y="55982"/>
                  </a:lnTo>
                  <a:cubicBezTo>
                    <a:pt x="4770" y="59462"/>
                    <a:pt x="-1260" y="71186"/>
                    <a:pt x="2192" y="82168"/>
                  </a:cubicBezTo>
                  <a:cubicBezTo>
                    <a:pt x="5644" y="93149"/>
                    <a:pt x="17271" y="99233"/>
                    <a:pt x="28162" y="95753"/>
                  </a:cubicBezTo>
                  <a:cubicBezTo>
                    <a:pt x="28244" y="95725"/>
                    <a:pt x="28331" y="95697"/>
                    <a:pt x="28413" y="95669"/>
                  </a:cubicBezTo>
                  <a:lnTo>
                    <a:pt x="28413" y="95669"/>
                  </a:lnTo>
                  <a:lnTo>
                    <a:pt x="192346" y="41933"/>
                  </a:lnTo>
                </a:path>
              </a:pathLst>
            </a:custGeom>
            <a:solidFill>
              <a:schemeClr val="bg1"/>
            </a:solidFill>
            <a:ln w="3936" cap="flat">
              <a:noFill/>
              <a:prstDash val="solid"/>
              <a:miter/>
            </a:ln>
          </p:spPr>
          <p:txBody>
            <a:bodyPr rtlCol="0" anchor="ctr"/>
            <a:lstStyle/>
            <a:p>
              <a:pPr defTabSz="699447">
                <a:defRPr/>
              </a:pPr>
              <a:endParaRPr lang="en-US" sz="1377">
                <a:solidFill>
                  <a:srgbClr val="1A1A1A"/>
                </a:solidFill>
                <a:latin typeface="Segoe UI"/>
              </a:endParaRPr>
            </a:p>
          </p:txBody>
        </p:sp>
        <p:sp>
          <p:nvSpPr>
            <p:cNvPr id="28" name="Freeform: Shape 27">
              <a:extLst>
                <a:ext uri="{FF2B5EF4-FFF2-40B4-BE49-F238E27FC236}">
                  <a16:creationId xmlns:a16="http://schemas.microsoft.com/office/drawing/2014/main" id="{07EC2E6C-81A7-4368-94F4-413FF2A1DBD8}"/>
                </a:ext>
              </a:extLst>
            </p:cNvPr>
            <p:cNvSpPr/>
            <p:nvPr/>
          </p:nvSpPr>
          <p:spPr>
            <a:xfrm>
              <a:off x="9450822" y="4590837"/>
              <a:ext cx="51167" cy="51594"/>
            </a:xfrm>
            <a:custGeom>
              <a:avLst/>
              <a:gdLst>
                <a:gd name="connsiteX0" fmla="*/ 13776 w 51167"/>
                <a:gd name="connsiteY0" fmla="*/ 53578 h 51593"/>
                <a:gd name="connsiteX1" fmla="*/ 53135 w 51167"/>
                <a:gd name="connsiteY1" fmla="*/ 40719 h 51593"/>
                <a:gd name="connsiteX2" fmla="*/ 40383 w 51167"/>
                <a:gd name="connsiteY2" fmla="*/ 1230 h 51593"/>
                <a:gd name="connsiteX3" fmla="*/ 1220 w 51167"/>
                <a:gd name="connsiteY3" fmla="*/ 14049 h 51593"/>
                <a:gd name="connsiteX4" fmla="*/ 13933 w 51167"/>
                <a:gd name="connsiteY4" fmla="*/ 53737 h 51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67" h="51593">
                  <a:moveTo>
                    <a:pt x="13776" y="53578"/>
                  </a:moveTo>
                  <a:lnTo>
                    <a:pt x="53135" y="40719"/>
                  </a:lnTo>
                  <a:cubicBezTo>
                    <a:pt x="48333" y="25797"/>
                    <a:pt x="43846" y="11906"/>
                    <a:pt x="40383" y="1230"/>
                  </a:cubicBezTo>
                  <a:lnTo>
                    <a:pt x="1220" y="14049"/>
                  </a:lnTo>
                  <a:lnTo>
                    <a:pt x="13933" y="53737"/>
                  </a:lnTo>
                </a:path>
              </a:pathLst>
            </a:custGeom>
            <a:solidFill>
              <a:schemeClr val="bg1"/>
            </a:solidFill>
            <a:ln w="3936" cap="flat">
              <a:noFill/>
              <a:prstDash val="solid"/>
              <a:miter/>
            </a:ln>
          </p:spPr>
          <p:txBody>
            <a:bodyPr rtlCol="0" anchor="ctr"/>
            <a:lstStyle/>
            <a:p>
              <a:pPr defTabSz="699447">
                <a:defRPr/>
              </a:pPr>
              <a:endParaRPr lang="en-US" sz="1377">
                <a:solidFill>
                  <a:srgbClr val="1A1A1A"/>
                </a:solidFill>
                <a:latin typeface="Segoe UI"/>
              </a:endParaRPr>
            </a:p>
          </p:txBody>
        </p:sp>
        <p:sp>
          <p:nvSpPr>
            <p:cNvPr id="29" name="Freeform: Shape 28">
              <a:extLst>
                <a:ext uri="{FF2B5EF4-FFF2-40B4-BE49-F238E27FC236}">
                  <a16:creationId xmlns:a16="http://schemas.microsoft.com/office/drawing/2014/main" id="{07042AEC-EE0E-4D9D-90CC-D2F6EFB623FC}"/>
                </a:ext>
              </a:extLst>
            </p:cNvPr>
            <p:cNvSpPr/>
            <p:nvPr/>
          </p:nvSpPr>
          <p:spPr>
            <a:xfrm>
              <a:off x="9533201" y="4563771"/>
              <a:ext cx="51167" cy="51594"/>
            </a:xfrm>
            <a:custGeom>
              <a:avLst/>
              <a:gdLst>
                <a:gd name="connsiteX0" fmla="*/ 13972 w 51167"/>
                <a:gd name="connsiteY0" fmla="*/ 53737 h 51593"/>
                <a:gd name="connsiteX1" fmla="*/ 53332 w 51167"/>
                <a:gd name="connsiteY1" fmla="*/ 40917 h 51593"/>
                <a:gd name="connsiteX2" fmla="*/ 40579 w 51167"/>
                <a:gd name="connsiteY2" fmla="*/ 1230 h 51593"/>
                <a:gd name="connsiteX3" fmla="*/ 1220 w 51167"/>
                <a:gd name="connsiteY3" fmla="*/ 14089 h 51593"/>
                <a:gd name="connsiteX4" fmla="*/ 13972 w 51167"/>
                <a:gd name="connsiteY4" fmla="*/ 53776 h 51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67" h="51593">
                  <a:moveTo>
                    <a:pt x="13972" y="53737"/>
                  </a:moveTo>
                  <a:lnTo>
                    <a:pt x="53332" y="40917"/>
                  </a:lnTo>
                  <a:lnTo>
                    <a:pt x="40579" y="1230"/>
                  </a:lnTo>
                  <a:lnTo>
                    <a:pt x="1220" y="14089"/>
                  </a:lnTo>
                  <a:lnTo>
                    <a:pt x="13972" y="53776"/>
                  </a:lnTo>
                </a:path>
              </a:pathLst>
            </a:custGeom>
            <a:solidFill>
              <a:schemeClr val="bg1"/>
            </a:solidFill>
            <a:ln w="3936" cap="flat">
              <a:noFill/>
              <a:prstDash val="solid"/>
              <a:miter/>
            </a:ln>
          </p:spPr>
          <p:txBody>
            <a:bodyPr rtlCol="0" anchor="ctr"/>
            <a:lstStyle/>
            <a:p>
              <a:pPr defTabSz="699447">
                <a:defRPr/>
              </a:pPr>
              <a:endParaRPr lang="en-US" sz="1377">
                <a:solidFill>
                  <a:srgbClr val="1A1A1A"/>
                </a:solidFill>
                <a:latin typeface="Segoe UI"/>
              </a:endParaRPr>
            </a:p>
          </p:txBody>
        </p:sp>
        <p:sp>
          <p:nvSpPr>
            <p:cNvPr id="30" name="Freeform: Shape 29">
              <a:extLst>
                <a:ext uri="{FF2B5EF4-FFF2-40B4-BE49-F238E27FC236}">
                  <a16:creationId xmlns:a16="http://schemas.microsoft.com/office/drawing/2014/main" id="{41848D49-0E69-4B49-89F0-BA20508A996E}"/>
                </a:ext>
              </a:extLst>
            </p:cNvPr>
            <p:cNvSpPr/>
            <p:nvPr/>
          </p:nvSpPr>
          <p:spPr>
            <a:xfrm>
              <a:off x="7655962" y="4520660"/>
              <a:ext cx="133822" cy="230188"/>
            </a:xfrm>
            <a:custGeom>
              <a:avLst/>
              <a:gdLst>
                <a:gd name="connsiteX0" fmla="*/ 5746 w 133822"/>
                <a:gd name="connsiteY0" fmla="*/ 23534 h 230187"/>
                <a:gd name="connsiteX1" fmla="*/ 1220 w 133822"/>
                <a:gd name="connsiteY1" fmla="*/ 28932 h 230187"/>
                <a:gd name="connsiteX2" fmla="*/ 1220 w 133822"/>
                <a:gd name="connsiteY2" fmla="*/ 203120 h 230187"/>
                <a:gd name="connsiteX3" fmla="*/ 6219 w 133822"/>
                <a:gd name="connsiteY3" fmla="*/ 209073 h 230187"/>
                <a:gd name="connsiteX4" fmla="*/ 30188 w 133822"/>
                <a:gd name="connsiteY4" fmla="*/ 213042 h 230187"/>
                <a:gd name="connsiteX5" fmla="*/ 107766 w 133822"/>
                <a:gd name="connsiteY5" fmla="*/ 226655 h 230187"/>
                <a:gd name="connsiteX6" fmla="*/ 136380 w 133822"/>
                <a:gd name="connsiteY6" fmla="*/ 231417 h 230187"/>
                <a:gd name="connsiteX7" fmla="*/ 136380 w 133822"/>
                <a:gd name="connsiteY7" fmla="*/ 1230 h 230187"/>
                <a:gd name="connsiteX8" fmla="*/ 133153 w 133822"/>
                <a:gd name="connsiteY8" fmla="*/ 1468 h 230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822" h="230187">
                  <a:moveTo>
                    <a:pt x="5746" y="23534"/>
                  </a:moveTo>
                  <a:cubicBezTo>
                    <a:pt x="2479" y="24090"/>
                    <a:pt x="1220" y="25360"/>
                    <a:pt x="1220" y="28932"/>
                  </a:cubicBezTo>
                  <a:lnTo>
                    <a:pt x="1220" y="203120"/>
                  </a:lnTo>
                  <a:cubicBezTo>
                    <a:pt x="1220" y="207089"/>
                    <a:pt x="2676" y="208518"/>
                    <a:pt x="6219" y="209073"/>
                  </a:cubicBezTo>
                  <a:cubicBezTo>
                    <a:pt x="14090" y="210304"/>
                    <a:pt x="22199" y="211732"/>
                    <a:pt x="30188" y="213042"/>
                  </a:cubicBezTo>
                  <a:cubicBezTo>
                    <a:pt x="56059" y="217593"/>
                    <a:pt x="81919" y="222131"/>
                    <a:pt x="107766" y="226655"/>
                  </a:cubicBezTo>
                  <a:cubicBezTo>
                    <a:pt x="117134" y="228282"/>
                    <a:pt x="126541" y="229790"/>
                    <a:pt x="136380" y="231417"/>
                  </a:cubicBezTo>
                  <a:lnTo>
                    <a:pt x="136380" y="1230"/>
                  </a:lnTo>
                  <a:cubicBezTo>
                    <a:pt x="135302" y="1255"/>
                    <a:pt x="134224" y="1334"/>
                    <a:pt x="133153" y="1468"/>
                  </a:cubicBezTo>
                  <a:close/>
                </a:path>
              </a:pathLst>
            </a:custGeom>
            <a:solidFill>
              <a:schemeClr val="bg1"/>
            </a:solidFill>
            <a:ln w="3936" cap="flat">
              <a:noFill/>
              <a:prstDash val="solid"/>
              <a:miter/>
            </a:ln>
          </p:spPr>
          <p:txBody>
            <a:bodyPr rtlCol="0" anchor="ctr"/>
            <a:lstStyle/>
            <a:p>
              <a:pPr defTabSz="699447">
                <a:defRPr/>
              </a:pPr>
              <a:endParaRPr lang="en-US" sz="1377">
                <a:solidFill>
                  <a:srgbClr val="1A1A1A"/>
                </a:solidFill>
                <a:latin typeface="Segoe UI"/>
              </a:endParaRPr>
            </a:p>
          </p:txBody>
        </p:sp>
        <p:sp>
          <p:nvSpPr>
            <p:cNvPr id="31" name="Freeform: Shape 30">
              <a:extLst>
                <a:ext uri="{FF2B5EF4-FFF2-40B4-BE49-F238E27FC236}">
                  <a16:creationId xmlns:a16="http://schemas.microsoft.com/office/drawing/2014/main" id="{3C921B7A-907D-41D4-83DB-A36C2F240C7F}"/>
                </a:ext>
              </a:extLst>
            </p:cNvPr>
            <p:cNvSpPr/>
            <p:nvPr/>
          </p:nvSpPr>
          <p:spPr>
            <a:xfrm>
              <a:off x="7848386" y="4626863"/>
              <a:ext cx="43295" cy="63500"/>
            </a:xfrm>
            <a:custGeom>
              <a:avLst/>
              <a:gdLst>
                <a:gd name="connsiteX0" fmla="*/ 43929 w 43295"/>
                <a:gd name="connsiteY0" fmla="*/ 5557 h 63500"/>
                <a:gd name="connsiteX1" fmla="*/ 39639 w 43295"/>
                <a:gd name="connsiteY1" fmla="*/ 1231 h 63500"/>
                <a:gd name="connsiteX2" fmla="*/ 5554 w 43295"/>
                <a:gd name="connsiteY2" fmla="*/ 1231 h 63500"/>
                <a:gd name="connsiteX3" fmla="*/ 1224 w 43295"/>
                <a:gd name="connsiteY3" fmla="*/ 5994 h 63500"/>
                <a:gd name="connsiteX4" fmla="*/ 1224 w 43295"/>
                <a:gd name="connsiteY4" fmla="*/ 61040 h 63500"/>
                <a:gd name="connsiteX5" fmla="*/ 5790 w 43295"/>
                <a:gd name="connsiteY5" fmla="*/ 65564 h 63500"/>
                <a:gd name="connsiteX6" fmla="*/ 22715 w 43295"/>
                <a:gd name="connsiteY6" fmla="*/ 64453 h 63500"/>
                <a:gd name="connsiteX7" fmla="*/ 43851 w 43295"/>
                <a:gd name="connsiteY7" fmla="*/ 44371 h 63500"/>
                <a:gd name="connsiteX8" fmla="*/ 43929 w 43295"/>
                <a:gd name="connsiteY8" fmla="*/ 5557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295" h="63500">
                  <a:moveTo>
                    <a:pt x="43929" y="5557"/>
                  </a:moveTo>
                  <a:cubicBezTo>
                    <a:pt x="43929" y="2303"/>
                    <a:pt x="42709" y="1191"/>
                    <a:pt x="39639" y="1231"/>
                  </a:cubicBezTo>
                  <a:lnTo>
                    <a:pt x="5554" y="1231"/>
                  </a:lnTo>
                  <a:cubicBezTo>
                    <a:pt x="2090" y="1231"/>
                    <a:pt x="1146" y="2739"/>
                    <a:pt x="1224" y="5994"/>
                  </a:cubicBezTo>
                  <a:lnTo>
                    <a:pt x="1224" y="61040"/>
                  </a:lnTo>
                  <a:cubicBezTo>
                    <a:pt x="1224" y="64493"/>
                    <a:pt x="2405" y="65803"/>
                    <a:pt x="5790" y="65564"/>
                  </a:cubicBezTo>
                  <a:cubicBezTo>
                    <a:pt x="11418" y="65128"/>
                    <a:pt x="17126" y="65247"/>
                    <a:pt x="22715" y="64453"/>
                  </a:cubicBezTo>
                  <a:cubicBezTo>
                    <a:pt x="35073" y="62747"/>
                    <a:pt x="43732" y="54531"/>
                    <a:pt x="43851" y="44371"/>
                  </a:cubicBezTo>
                  <a:cubicBezTo>
                    <a:pt x="44047" y="31592"/>
                    <a:pt x="43811" y="18495"/>
                    <a:pt x="43929" y="5557"/>
                  </a:cubicBezTo>
                  <a:close/>
                </a:path>
              </a:pathLst>
            </a:custGeom>
            <a:solidFill>
              <a:schemeClr val="bg1"/>
            </a:solidFill>
            <a:ln w="3936" cap="flat">
              <a:noFill/>
              <a:prstDash val="solid"/>
              <a:miter/>
            </a:ln>
          </p:spPr>
          <p:txBody>
            <a:bodyPr rtlCol="0" anchor="ctr"/>
            <a:lstStyle/>
            <a:p>
              <a:pPr defTabSz="699447">
                <a:defRPr/>
              </a:pPr>
              <a:endParaRPr lang="en-US" sz="1377">
                <a:solidFill>
                  <a:srgbClr val="1A1A1A"/>
                </a:solidFill>
                <a:latin typeface="Segoe UI"/>
              </a:endParaRPr>
            </a:p>
          </p:txBody>
        </p:sp>
        <p:sp>
          <p:nvSpPr>
            <p:cNvPr id="32" name="Freeform: Shape 31">
              <a:extLst>
                <a:ext uri="{FF2B5EF4-FFF2-40B4-BE49-F238E27FC236}">
                  <a16:creationId xmlns:a16="http://schemas.microsoft.com/office/drawing/2014/main" id="{77548FBD-2225-433C-AE28-2B6AC58E24E2}"/>
                </a:ext>
              </a:extLst>
            </p:cNvPr>
            <p:cNvSpPr/>
            <p:nvPr/>
          </p:nvSpPr>
          <p:spPr>
            <a:xfrm>
              <a:off x="7848312" y="4572413"/>
              <a:ext cx="43295" cy="43656"/>
            </a:xfrm>
            <a:custGeom>
              <a:avLst/>
              <a:gdLst>
                <a:gd name="connsiteX0" fmla="*/ 22435 w 43295"/>
                <a:gd name="connsiteY0" fmla="*/ 44251 h 43656"/>
                <a:gd name="connsiteX1" fmla="*/ 43886 w 43295"/>
                <a:gd name="connsiteY1" fmla="*/ 22859 h 43656"/>
                <a:gd name="connsiteX2" fmla="*/ 22671 w 43295"/>
                <a:gd name="connsiteY2" fmla="*/ 1230 h 43656"/>
                <a:gd name="connsiteX3" fmla="*/ 1220 w 43295"/>
                <a:gd name="connsiteY3" fmla="*/ 22621 h 43656"/>
                <a:gd name="connsiteX4" fmla="*/ 22435 w 43295"/>
                <a:gd name="connsiteY4" fmla="*/ 44251 h 43656"/>
                <a:gd name="connsiteX5" fmla="*/ 22435 w 43295"/>
                <a:gd name="connsiteY5" fmla="*/ 44251 h 43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295" h="43656">
                  <a:moveTo>
                    <a:pt x="22435" y="44251"/>
                  </a:moveTo>
                  <a:cubicBezTo>
                    <a:pt x="34215" y="44316"/>
                    <a:pt x="43819" y="34739"/>
                    <a:pt x="43886" y="22859"/>
                  </a:cubicBezTo>
                  <a:cubicBezTo>
                    <a:pt x="43949" y="10980"/>
                    <a:pt x="34451" y="1296"/>
                    <a:pt x="22671" y="1230"/>
                  </a:cubicBezTo>
                  <a:cubicBezTo>
                    <a:pt x="10891" y="1164"/>
                    <a:pt x="1287" y="10741"/>
                    <a:pt x="1220" y="22621"/>
                  </a:cubicBezTo>
                  <a:cubicBezTo>
                    <a:pt x="1153" y="34501"/>
                    <a:pt x="10651" y="44185"/>
                    <a:pt x="22435" y="44251"/>
                  </a:cubicBezTo>
                  <a:cubicBezTo>
                    <a:pt x="22435" y="44251"/>
                    <a:pt x="22435" y="44251"/>
                    <a:pt x="22435" y="44251"/>
                  </a:cubicBezTo>
                  <a:close/>
                </a:path>
              </a:pathLst>
            </a:custGeom>
            <a:solidFill>
              <a:schemeClr val="bg1"/>
            </a:solidFill>
            <a:ln w="3936" cap="flat">
              <a:noFill/>
              <a:prstDash val="solid"/>
              <a:miter/>
            </a:ln>
          </p:spPr>
          <p:txBody>
            <a:bodyPr rtlCol="0" anchor="ctr"/>
            <a:lstStyle/>
            <a:p>
              <a:pPr defTabSz="699447">
                <a:defRPr/>
              </a:pPr>
              <a:endParaRPr lang="en-US" sz="1377">
                <a:solidFill>
                  <a:srgbClr val="1A1A1A"/>
                </a:solidFill>
                <a:latin typeface="Segoe UI"/>
              </a:endParaRPr>
            </a:p>
          </p:txBody>
        </p:sp>
        <p:sp>
          <p:nvSpPr>
            <p:cNvPr id="33" name="Freeform: Shape 32">
              <a:extLst>
                <a:ext uri="{FF2B5EF4-FFF2-40B4-BE49-F238E27FC236}">
                  <a16:creationId xmlns:a16="http://schemas.microsoft.com/office/drawing/2014/main" id="{771D8A94-2E75-440C-BEA5-C43897F44FE2}"/>
                </a:ext>
              </a:extLst>
            </p:cNvPr>
            <p:cNvSpPr/>
            <p:nvPr/>
          </p:nvSpPr>
          <p:spPr>
            <a:xfrm>
              <a:off x="7799623" y="4613784"/>
              <a:ext cx="39360" cy="95250"/>
            </a:xfrm>
            <a:custGeom>
              <a:avLst/>
              <a:gdLst>
                <a:gd name="connsiteX0" fmla="*/ 36881 w 39359"/>
                <a:gd name="connsiteY0" fmla="*/ 1253 h 95250"/>
                <a:gd name="connsiteX1" fmla="*/ 6653 w 39359"/>
                <a:gd name="connsiteY1" fmla="*/ 1253 h 95250"/>
                <a:gd name="connsiteX2" fmla="*/ 1221 w 39359"/>
                <a:gd name="connsiteY2" fmla="*/ 7007 h 95250"/>
                <a:gd name="connsiteX3" fmla="*/ 1221 w 39359"/>
                <a:gd name="connsiteY3" fmla="*/ 90113 h 95250"/>
                <a:gd name="connsiteX4" fmla="*/ 6377 w 39359"/>
                <a:gd name="connsiteY4" fmla="*/ 96146 h 95250"/>
                <a:gd name="connsiteX5" fmla="*/ 20507 w 39359"/>
                <a:gd name="connsiteY5" fmla="*/ 96146 h 95250"/>
                <a:gd name="connsiteX6" fmla="*/ 41801 w 39359"/>
                <a:gd name="connsiteY6" fmla="*/ 74238 h 95250"/>
                <a:gd name="connsiteX7" fmla="*/ 41801 w 39359"/>
                <a:gd name="connsiteY7" fmla="*/ 6372 h 95250"/>
                <a:gd name="connsiteX8" fmla="*/ 36881 w 39359"/>
                <a:gd name="connsiteY8" fmla="*/ 1253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59" h="95250">
                  <a:moveTo>
                    <a:pt x="36881" y="1253"/>
                  </a:moveTo>
                  <a:cubicBezTo>
                    <a:pt x="26805" y="1253"/>
                    <a:pt x="16729" y="1531"/>
                    <a:pt x="6653" y="1253"/>
                  </a:cubicBezTo>
                  <a:cubicBezTo>
                    <a:pt x="2166" y="1253"/>
                    <a:pt x="1182" y="2880"/>
                    <a:pt x="1221" y="7007"/>
                  </a:cubicBezTo>
                  <a:lnTo>
                    <a:pt x="1221" y="90113"/>
                  </a:lnTo>
                  <a:cubicBezTo>
                    <a:pt x="1221" y="94082"/>
                    <a:pt x="2874" y="95947"/>
                    <a:pt x="6377" y="96146"/>
                  </a:cubicBezTo>
                  <a:cubicBezTo>
                    <a:pt x="11077" y="96562"/>
                    <a:pt x="15808" y="96562"/>
                    <a:pt x="20507" y="96146"/>
                  </a:cubicBezTo>
                  <a:cubicBezTo>
                    <a:pt x="33653" y="94598"/>
                    <a:pt x="41761" y="86184"/>
                    <a:pt x="41801" y="74238"/>
                  </a:cubicBezTo>
                  <a:lnTo>
                    <a:pt x="41801" y="6372"/>
                  </a:lnTo>
                  <a:cubicBezTo>
                    <a:pt x="41919" y="2642"/>
                    <a:pt x="40777" y="1015"/>
                    <a:pt x="36881" y="1253"/>
                  </a:cubicBezTo>
                  <a:close/>
                </a:path>
              </a:pathLst>
            </a:custGeom>
            <a:solidFill>
              <a:schemeClr val="bg1"/>
            </a:solidFill>
            <a:ln w="3936" cap="flat">
              <a:noFill/>
              <a:prstDash val="solid"/>
              <a:miter/>
            </a:ln>
          </p:spPr>
          <p:txBody>
            <a:bodyPr rtlCol="0" anchor="ctr"/>
            <a:lstStyle/>
            <a:p>
              <a:pPr defTabSz="699447">
                <a:defRPr/>
              </a:pPr>
              <a:endParaRPr lang="en-US" sz="1377">
                <a:solidFill>
                  <a:srgbClr val="1A1A1A"/>
                </a:solidFill>
                <a:latin typeface="Segoe UI"/>
              </a:endParaRPr>
            </a:p>
          </p:txBody>
        </p:sp>
        <p:sp>
          <p:nvSpPr>
            <p:cNvPr id="34" name="Freeform: Shape 33">
              <a:extLst>
                <a:ext uri="{FF2B5EF4-FFF2-40B4-BE49-F238E27FC236}">
                  <a16:creationId xmlns:a16="http://schemas.microsoft.com/office/drawing/2014/main" id="{0420BA0F-AD7F-41AE-BB83-08BEC2DCBC77}"/>
                </a:ext>
              </a:extLst>
            </p:cNvPr>
            <p:cNvSpPr/>
            <p:nvPr/>
          </p:nvSpPr>
          <p:spPr>
            <a:xfrm>
              <a:off x="7799486" y="4559558"/>
              <a:ext cx="35424" cy="43656"/>
            </a:xfrm>
            <a:custGeom>
              <a:avLst/>
              <a:gdLst>
                <a:gd name="connsiteX0" fmla="*/ 1397 w 35423"/>
                <a:gd name="connsiteY0" fmla="*/ 34880 h 43656"/>
                <a:gd name="connsiteX1" fmla="*/ 5687 w 35423"/>
                <a:gd name="connsiteY1" fmla="*/ 41707 h 43656"/>
                <a:gd name="connsiteX2" fmla="*/ 34321 w 35423"/>
                <a:gd name="connsiteY2" fmla="*/ 32301 h 43656"/>
                <a:gd name="connsiteX3" fmla="*/ 35128 w 35423"/>
                <a:gd name="connsiteY3" fmla="*/ 14640 h 43656"/>
                <a:gd name="connsiteX4" fmla="*/ 15448 w 35423"/>
                <a:gd name="connsiteY4" fmla="*/ 1305 h 43656"/>
                <a:gd name="connsiteX5" fmla="*/ 12536 w 35423"/>
                <a:gd name="connsiteY5" fmla="*/ 1305 h 43656"/>
                <a:gd name="connsiteX6" fmla="*/ 1279 w 35423"/>
                <a:gd name="connsiteY6" fmla="*/ 13211 h 43656"/>
                <a:gd name="connsiteX7" fmla="*/ 1397 w 35423"/>
                <a:gd name="connsiteY7" fmla="*/ 34880 h 43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23" h="43656">
                  <a:moveTo>
                    <a:pt x="1397" y="34880"/>
                  </a:moveTo>
                  <a:cubicBezTo>
                    <a:pt x="1114" y="37877"/>
                    <a:pt x="2877" y="40687"/>
                    <a:pt x="5687" y="41707"/>
                  </a:cubicBezTo>
                  <a:cubicBezTo>
                    <a:pt x="16169" y="47082"/>
                    <a:pt x="28988" y="42871"/>
                    <a:pt x="34321" y="32301"/>
                  </a:cubicBezTo>
                  <a:cubicBezTo>
                    <a:pt x="37092" y="26804"/>
                    <a:pt x="37387" y="20371"/>
                    <a:pt x="35128" y="14640"/>
                  </a:cubicBezTo>
                  <a:cubicBezTo>
                    <a:pt x="32011" y="6457"/>
                    <a:pt x="24139" y="1123"/>
                    <a:pt x="15448" y="1305"/>
                  </a:cubicBezTo>
                  <a:cubicBezTo>
                    <a:pt x="14480" y="1205"/>
                    <a:pt x="13504" y="1205"/>
                    <a:pt x="12536" y="1305"/>
                  </a:cubicBezTo>
                  <a:cubicBezTo>
                    <a:pt x="3995" y="3130"/>
                    <a:pt x="728" y="4678"/>
                    <a:pt x="1279" y="13211"/>
                  </a:cubicBezTo>
                  <a:cubicBezTo>
                    <a:pt x="1696" y="20427"/>
                    <a:pt x="1735" y="27660"/>
                    <a:pt x="1397" y="34880"/>
                  </a:cubicBezTo>
                  <a:close/>
                </a:path>
              </a:pathLst>
            </a:custGeom>
            <a:solidFill>
              <a:schemeClr val="bg1"/>
            </a:solidFill>
            <a:ln w="3936" cap="flat">
              <a:noFill/>
              <a:prstDash val="solid"/>
              <a:miter/>
            </a:ln>
          </p:spPr>
          <p:txBody>
            <a:bodyPr rtlCol="0" anchor="ctr"/>
            <a:lstStyle/>
            <a:p>
              <a:pPr defTabSz="699447">
                <a:defRPr/>
              </a:pPr>
              <a:endParaRPr lang="en-US" sz="1377">
                <a:solidFill>
                  <a:srgbClr val="1A1A1A"/>
                </a:solidFill>
                <a:latin typeface="Segoe UI"/>
              </a:endParaRPr>
            </a:p>
          </p:txBody>
        </p:sp>
        <p:sp>
          <p:nvSpPr>
            <p:cNvPr id="35" name="Freeform: Shape 34">
              <a:extLst>
                <a:ext uri="{FF2B5EF4-FFF2-40B4-BE49-F238E27FC236}">
                  <a16:creationId xmlns:a16="http://schemas.microsoft.com/office/drawing/2014/main" id="{19FABA4A-A457-4F8C-9AE8-0C9475BA9103}"/>
                </a:ext>
              </a:extLst>
            </p:cNvPr>
            <p:cNvSpPr/>
            <p:nvPr/>
          </p:nvSpPr>
          <p:spPr>
            <a:xfrm>
              <a:off x="7690874" y="4589756"/>
              <a:ext cx="62975" cy="87313"/>
            </a:xfrm>
            <a:custGeom>
              <a:avLst/>
              <a:gdLst>
                <a:gd name="connsiteX0" fmla="*/ 63959 w 62975"/>
                <a:gd name="connsiteY0" fmla="*/ 1230 h 87312"/>
                <a:gd name="connsiteX1" fmla="*/ 58094 w 62975"/>
                <a:gd name="connsiteY1" fmla="*/ 1230 h 87312"/>
                <a:gd name="connsiteX2" fmla="*/ 12477 w 62975"/>
                <a:gd name="connsiteY2" fmla="*/ 4008 h 87312"/>
                <a:gd name="connsiteX3" fmla="*/ 1220 w 62975"/>
                <a:gd name="connsiteY3" fmla="*/ 16510 h 87312"/>
                <a:gd name="connsiteX4" fmla="*/ 4880 w 62975"/>
                <a:gd name="connsiteY4" fmla="*/ 20201 h 87312"/>
                <a:gd name="connsiteX5" fmla="*/ 18459 w 62975"/>
                <a:gd name="connsiteY5" fmla="*/ 19327 h 87312"/>
                <a:gd name="connsiteX6" fmla="*/ 24717 w 62975"/>
                <a:gd name="connsiteY6" fmla="*/ 25162 h 87312"/>
                <a:gd name="connsiteX7" fmla="*/ 24717 w 62975"/>
                <a:gd name="connsiteY7" fmla="*/ 81677 h 87312"/>
                <a:gd name="connsiteX8" fmla="*/ 24954 w 62975"/>
                <a:gd name="connsiteY8" fmla="*/ 86836 h 87312"/>
                <a:gd name="connsiteX9" fmla="*/ 35148 w 62975"/>
                <a:gd name="connsiteY9" fmla="*/ 87868 h 87312"/>
                <a:gd name="connsiteX10" fmla="*/ 40973 w 62975"/>
                <a:gd name="connsiteY10" fmla="*/ 82708 h 87312"/>
                <a:gd name="connsiteX11" fmla="*/ 40973 w 62975"/>
                <a:gd name="connsiteY11" fmla="*/ 23693 h 87312"/>
                <a:gd name="connsiteX12" fmla="*/ 46286 w 62975"/>
                <a:gd name="connsiteY12" fmla="*/ 18256 h 87312"/>
                <a:gd name="connsiteX13" fmla="*/ 64038 w 62975"/>
                <a:gd name="connsiteY13" fmla="*/ 17621 h 87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975" h="87312">
                  <a:moveTo>
                    <a:pt x="63959" y="1230"/>
                  </a:moveTo>
                  <a:lnTo>
                    <a:pt x="58094" y="1230"/>
                  </a:lnTo>
                  <a:cubicBezTo>
                    <a:pt x="42902" y="2143"/>
                    <a:pt x="27709" y="3373"/>
                    <a:pt x="12477" y="4008"/>
                  </a:cubicBezTo>
                  <a:cubicBezTo>
                    <a:pt x="-945" y="4603"/>
                    <a:pt x="1535" y="3572"/>
                    <a:pt x="1220" y="16510"/>
                  </a:cubicBezTo>
                  <a:cubicBezTo>
                    <a:pt x="1220" y="19208"/>
                    <a:pt x="2007" y="20478"/>
                    <a:pt x="4880" y="20201"/>
                  </a:cubicBezTo>
                  <a:cubicBezTo>
                    <a:pt x="9367" y="19843"/>
                    <a:pt x="13933" y="19804"/>
                    <a:pt x="18459" y="19327"/>
                  </a:cubicBezTo>
                  <a:cubicBezTo>
                    <a:pt x="22986" y="18851"/>
                    <a:pt x="24757" y="20161"/>
                    <a:pt x="24717" y="25162"/>
                  </a:cubicBezTo>
                  <a:cubicBezTo>
                    <a:pt x="24442" y="43973"/>
                    <a:pt x="24717" y="62825"/>
                    <a:pt x="24717" y="81677"/>
                  </a:cubicBezTo>
                  <a:cubicBezTo>
                    <a:pt x="24678" y="83400"/>
                    <a:pt x="24757" y="85124"/>
                    <a:pt x="24954" y="86836"/>
                  </a:cubicBezTo>
                  <a:cubicBezTo>
                    <a:pt x="28890" y="87193"/>
                    <a:pt x="31960" y="87392"/>
                    <a:pt x="35148" y="87868"/>
                  </a:cubicBezTo>
                  <a:cubicBezTo>
                    <a:pt x="40579" y="88622"/>
                    <a:pt x="40973" y="88384"/>
                    <a:pt x="40973" y="82708"/>
                  </a:cubicBezTo>
                  <a:lnTo>
                    <a:pt x="40973" y="23693"/>
                  </a:lnTo>
                  <a:cubicBezTo>
                    <a:pt x="40973" y="19724"/>
                    <a:pt x="42154" y="18177"/>
                    <a:pt x="46286" y="18256"/>
                  </a:cubicBezTo>
                  <a:cubicBezTo>
                    <a:pt x="52190" y="18256"/>
                    <a:pt x="58094" y="17859"/>
                    <a:pt x="64038" y="17621"/>
                  </a:cubicBezTo>
                  <a:close/>
                </a:path>
              </a:pathLst>
            </a:custGeom>
            <a:solidFill>
              <a:schemeClr val="bg1"/>
            </a:solidFill>
            <a:ln w="3936" cap="flat">
              <a:noFill/>
              <a:prstDash val="solid"/>
              <a:miter/>
            </a:ln>
          </p:spPr>
          <p:txBody>
            <a:bodyPr rtlCol="0" anchor="ctr"/>
            <a:lstStyle/>
            <a:p>
              <a:pPr defTabSz="699447">
                <a:defRPr/>
              </a:pPr>
              <a:endParaRPr lang="en-US" sz="1377">
                <a:solidFill>
                  <a:srgbClr val="1A1A1A"/>
                </a:solidFill>
                <a:latin typeface="Segoe UI"/>
              </a:endParaRPr>
            </a:p>
          </p:txBody>
        </p:sp>
        <p:sp>
          <p:nvSpPr>
            <p:cNvPr id="36" name="Freeform: Shape 35">
              <a:extLst>
                <a:ext uri="{FF2B5EF4-FFF2-40B4-BE49-F238E27FC236}">
                  <a16:creationId xmlns:a16="http://schemas.microsoft.com/office/drawing/2014/main" id="{B36C21E7-CD39-4780-9FB0-D9F597B4FC4F}"/>
                </a:ext>
              </a:extLst>
            </p:cNvPr>
            <p:cNvSpPr/>
            <p:nvPr/>
          </p:nvSpPr>
          <p:spPr>
            <a:xfrm>
              <a:off x="11289524" y="4577294"/>
              <a:ext cx="15744" cy="15875"/>
            </a:xfrm>
            <a:custGeom>
              <a:avLst/>
              <a:gdLst>
                <a:gd name="connsiteX0" fmla="*/ 1220 w 15743"/>
                <a:gd name="connsiteY0" fmla="*/ 1230 h 15875"/>
                <a:gd name="connsiteX1" fmla="*/ 16019 w 15743"/>
                <a:gd name="connsiteY1" fmla="*/ 1230 h 15875"/>
                <a:gd name="connsiteX2" fmla="*/ 16019 w 15743"/>
                <a:gd name="connsiteY2" fmla="*/ 16192 h 15875"/>
                <a:gd name="connsiteX3" fmla="*/ 1220 w 15743"/>
                <a:gd name="connsiteY3" fmla="*/ 16192 h 15875"/>
              </a:gdLst>
              <a:ahLst/>
              <a:cxnLst>
                <a:cxn ang="0">
                  <a:pos x="connsiteX0" y="connsiteY0"/>
                </a:cxn>
                <a:cxn ang="0">
                  <a:pos x="connsiteX1" y="connsiteY1"/>
                </a:cxn>
                <a:cxn ang="0">
                  <a:pos x="connsiteX2" y="connsiteY2"/>
                </a:cxn>
                <a:cxn ang="0">
                  <a:pos x="connsiteX3" y="connsiteY3"/>
                </a:cxn>
              </a:cxnLst>
              <a:rect l="l" t="t" r="r" b="b"/>
              <a:pathLst>
                <a:path w="15743" h="15875">
                  <a:moveTo>
                    <a:pt x="1220" y="1230"/>
                  </a:moveTo>
                  <a:lnTo>
                    <a:pt x="16019" y="1230"/>
                  </a:lnTo>
                  <a:lnTo>
                    <a:pt x="16019" y="16192"/>
                  </a:lnTo>
                  <a:lnTo>
                    <a:pt x="1220" y="16192"/>
                  </a:lnTo>
                  <a:close/>
                </a:path>
              </a:pathLst>
            </a:custGeom>
            <a:solidFill>
              <a:schemeClr val="bg1"/>
            </a:solidFill>
            <a:ln w="3936" cap="flat">
              <a:noFill/>
              <a:prstDash val="solid"/>
              <a:miter/>
            </a:ln>
          </p:spPr>
          <p:txBody>
            <a:bodyPr rtlCol="0" anchor="ctr"/>
            <a:lstStyle/>
            <a:p>
              <a:pPr defTabSz="699447">
                <a:defRPr/>
              </a:pPr>
              <a:endParaRPr lang="en-US" sz="1377">
                <a:solidFill>
                  <a:srgbClr val="1A1A1A"/>
                </a:solidFill>
                <a:latin typeface="Segoe UI"/>
              </a:endParaRPr>
            </a:p>
          </p:txBody>
        </p:sp>
        <p:sp>
          <p:nvSpPr>
            <p:cNvPr id="37" name="Freeform: Shape 36">
              <a:extLst>
                <a:ext uri="{FF2B5EF4-FFF2-40B4-BE49-F238E27FC236}">
                  <a16:creationId xmlns:a16="http://schemas.microsoft.com/office/drawing/2014/main" id="{B1FF0CF7-C1F2-4F0A-AE09-E779774C6CF9}"/>
                </a:ext>
              </a:extLst>
            </p:cNvPr>
            <p:cNvSpPr/>
            <p:nvPr/>
          </p:nvSpPr>
          <p:spPr>
            <a:xfrm>
              <a:off x="11200060" y="4515699"/>
              <a:ext cx="192862" cy="226219"/>
            </a:xfrm>
            <a:custGeom>
              <a:avLst/>
              <a:gdLst>
                <a:gd name="connsiteX0" fmla="*/ 152754 w 192861"/>
                <a:gd name="connsiteY0" fmla="*/ 1230 h 226218"/>
                <a:gd name="connsiteX1" fmla="*/ 43413 w 192861"/>
                <a:gd name="connsiteY1" fmla="*/ 1230 h 226218"/>
                <a:gd name="connsiteX2" fmla="*/ 1220 w 192861"/>
                <a:gd name="connsiteY2" fmla="*/ 43894 h 226218"/>
                <a:gd name="connsiteX3" fmla="*/ 1220 w 192861"/>
                <a:gd name="connsiteY3" fmla="*/ 154186 h 226218"/>
                <a:gd name="connsiteX4" fmla="*/ 43571 w 192861"/>
                <a:gd name="connsiteY4" fmla="*/ 196889 h 226218"/>
                <a:gd name="connsiteX5" fmla="*/ 79939 w 192861"/>
                <a:gd name="connsiteY5" fmla="*/ 196889 h 226218"/>
                <a:gd name="connsiteX6" fmla="*/ 98044 w 192861"/>
                <a:gd name="connsiteY6" fmla="*/ 226099 h 226218"/>
                <a:gd name="connsiteX7" fmla="*/ 116150 w 192861"/>
                <a:gd name="connsiteY7" fmla="*/ 196889 h 226218"/>
                <a:gd name="connsiteX8" fmla="*/ 152911 w 192861"/>
                <a:gd name="connsiteY8" fmla="*/ 196889 h 226218"/>
                <a:gd name="connsiteX9" fmla="*/ 195262 w 192861"/>
                <a:gd name="connsiteY9" fmla="*/ 154186 h 226218"/>
                <a:gd name="connsiteX10" fmla="*/ 195262 w 192861"/>
                <a:gd name="connsiteY10" fmla="*/ 154186 h 226218"/>
                <a:gd name="connsiteX11" fmla="*/ 195262 w 192861"/>
                <a:gd name="connsiteY11" fmla="*/ 43894 h 226218"/>
                <a:gd name="connsiteX12" fmla="*/ 152951 w 192861"/>
                <a:gd name="connsiteY12" fmla="*/ 1230 h 226218"/>
                <a:gd name="connsiteX13" fmla="*/ 59000 w 192861"/>
                <a:gd name="connsiteY13" fmla="*/ 77747 h 226218"/>
                <a:gd name="connsiteX14" fmla="*/ 74743 w 192861"/>
                <a:gd name="connsiteY14" fmla="*/ 77747 h 226218"/>
                <a:gd name="connsiteX15" fmla="*/ 74743 w 192861"/>
                <a:gd name="connsiteY15" fmla="*/ 62825 h 226218"/>
                <a:gd name="connsiteX16" fmla="*/ 59000 w 192861"/>
                <a:gd name="connsiteY16" fmla="*/ 62825 h 226218"/>
                <a:gd name="connsiteX17" fmla="*/ 59000 w 192861"/>
                <a:gd name="connsiteY17" fmla="*/ 46712 h 226218"/>
                <a:gd name="connsiteX18" fmla="*/ 74743 w 192861"/>
                <a:gd name="connsiteY18" fmla="*/ 46712 h 226218"/>
                <a:gd name="connsiteX19" fmla="*/ 74743 w 192861"/>
                <a:gd name="connsiteY19" fmla="*/ 30837 h 226218"/>
                <a:gd name="connsiteX20" fmla="*/ 90723 w 192861"/>
                <a:gd name="connsiteY20" fmla="*/ 30837 h 226218"/>
                <a:gd name="connsiteX21" fmla="*/ 90723 w 192861"/>
                <a:gd name="connsiteY21" fmla="*/ 46712 h 226218"/>
                <a:gd name="connsiteX22" fmla="*/ 105523 w 192861"/>
                <a:gd name="connsiteY22" fmla="*/ 46712 h 226218"/>
                <a:gd name="connsiteX23" fmla="*/ 105523 w 192861"/>
                <a:gd name="connsiteY23" fmla="*/ 30837 h 226218"/>
                <a:gd name="connsiteX24" fmla="*/ 121502 w 192861"/>
                <a:gd name="connsiteY24" fmla="*/ 30837 h 226218"/>
                <a:gd name="connsiteX25" fmla="*/ 121502 w 192861"/>
                <a:gd name="connsiteY25" fmla="*/ 46712 h 226218"/>
                <a:gd name="connsiteX26" fmla="*/ 137246 w 192861"/>
                <a:gd name="connsiteY26" fmla="*/ 46712 h 226218"/>
                <a:gd name="connsiteX27" fmla="*/ 137246 w 192861"/>
                <a:gd name="connsiteY27" fmla="*/ 62825 h 226218"/>
                <a:gd name="connsiteX28" fmla="*/ 121502 w 192861"/>
                <a:gd name="connsiteY28" fmla="*/ 62825 h 226218"/>
                <a:gd name="connsiteX29" fmla="*/ 121502 w 192861"/>
                <a:gd name="connsiteY29" fmla="*/ 77747 h 226218"/>
                <a:gd name="connsiteX30" fmla="*/ 137246 w 192861"/>
                <a:gd name="connsiteY30" fmla="*/ 77747 h 226218"/>
                <a:gd name="connsiteX31" fmla="*/ 137246 w 192861"/>
                <a:gd name="connsiteY31" fmla="*/ 94019 h 226218"/>
                <a:gd name="connsiteX32" fmla="*/ 121502 w 192861"/>
                <a:gd name="connsiteY32" fmla="*/ 94019 h 226218"/>
                <a:gd name="connsiteX33" fmla="*/ 121502 w 192861"/>
                <a:gd name="connsiteY33" fmla="*/ 109894 h 226218"/>
                <a:gd name="connsiteX34" fmla="*/ 105523 w 192861"/>
                <a:gd name="connsiteY34" fmla="*/ 109894 h 226218"/>
                <a:gd name="connsiteX35" fmla="*/ 105523 w 192861"/>
                <a:gd name="connsiteY35" fmla="*/ 94019 h 226218"/>
                <a:gd name="connsiteX36" fmla="*/ 90723 w 192861"/>
                <a:gd name="connsiteY36" fmla="*/ 94019 h 226218"/>
                <a:gd name="connsiteX37" fmla="*/ 90723 w 192861"/>
                <a:gd name="connsiteY37" fmla="*/ 109894 h 226218"/>
                <a:gd name="connsiteX38" fmla="*/ 74743 w 192861"/>
                <a:gd name="connsiteY38" fmla="*/ 109894 h 226218"/>
                <a:gd name="connsiteX39" fmla="*/ 74743 w 192861"/>
                <a:gd name="connsiteY39" fmla="*/ 94019 h 226218"/>
                <a:gd name="connsiteX40" fmla="*/ 59000 w 192861"/>
                <a:gd name="connsiteY40" fmla="*/ 94019 h 226218"/>
                <a:gd name="connsiteX41" fmla="*/ 171410 w 192861"/>
                <a:gd name="connsiteY41" fmla="*/ 127079 h 226218"/>
                <a:gd name="connsiteX42" fmla="*/ 100209 w 192861"/>
                <a:gd name="connsiteY42" fmla="*/ 167163 h 226218"/>
                <a:gd name="connsiteX43" fmla="*/ 96273 w 192861"/>
                <a:gd name="connsiteY43" fmla="*/ 167163 h 226218"/>
                <a:gd name="connsiteX44" fmla="*/ 24836 w 192861"/>
                <a:gd name="connsiteY44" fmla="*/ 127079 h 226218"/>
                <a:gd name="connsiteX45" fmla="*/ 23497 w 192861"/>
                <a:gd name="connsiteY45" fmla="*/ 121642 h 226218"/>
                <a:gd name="connsiteX46" fmla="*/ 26961 w 192861"/>
                <a:gd name="connsiteY46" fmla="*/ 115014 h 226218"/>
                <a:gd name="connsiteX47" fmla="*/ 30897 w 192861"/>
                <a:gd name="connsiteY47" fmla="*/ 113427 h 226218"/>
                <a:gd name="connsiteX48" fmla="*/ 43295 w 192861"/>
                <a:gd name="connsiteY48" fmla="*/ 121364 h 226218"/>
                <a:gd name="connsiteX49" fmla="*/ 138813 w 192861"/>
                <a:gd name="connsiteY49" fmla="*/ 135342 h 226218"/>
                <a:gd name="connsiteX50" fmla="*/ 152675 w 192861"/>
                <a:gd name="connsiteY50" fmla="*/ 121364 h 226218"/>
                <a:gd name="connsiteX51" fmla="*/ 165073 w 192861"/>
                <a:gd name="connsiteY51" fmla="*/ 113427 h 226218"/>
                <a:gd name="connsiteX52" fmla="*/ 169009 w 192861"/>
                <a:gd name="connsiteY52" fmla="*/ 115014 h 226218"/>
                <a:gd name="connsiteX53" fmla="*/ 172512 w 192861"/>
                <a:gd name="connsiteY53" fmla="*/ 121642 h 226218"/>
                <a:gd name="connsiteX54" fmla="*/ 171410 w 192861"/>
                <a:gd name="connsiteY54" fmla="*/ 127079 h 22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92861" h="226218">
                  <a:moveTo>
                    <a:pt x="152754" y="1230"/>
                  </a:moveTo>
                  <a:lnTo>
                    <a:pt x="43413" y="1230"/>
                  </a:lnTo>
                  <a:cubicBezTo>
                    <a:pt x="20093" y="1297"/>
                    <a:pt x="1220" y="20379"/>
                    <a:pt x="1220" y="43894"/>
                  </a:cubicBezTo>
                  <a:lnTo>
                    <a:pt x="1220" y="154186"/>
                  </a:lnTo>
                  <a:cubicBezTo>
                    <a:pt x="1220" y="177772"/>
                    <a:pt x="20179" y="196889"/>
                    <a:pt x="43571" y="196889"/>
                  </a:cubicBezTo>
                  <a:lnTo>
                    <a:pt x="79939" y="196889"/>
                  </a:lnTo>
                  <a:lnTo>
                    <a:pt x="98044" y="226099"/>
                  </a:lnTo>
                  <a:lnTo>
                    <a:pt x="116150" y="196889"/>
                  </a:lnTo>
                  <a:lnTo>
                    <a:pt x="152911" y="196889"/>
                  </a:lnTo>
                  <a:cubicBezTo>
                    <a:pt x="176303" y="196889"/>
                    <a:pt x="195262" y="177772"/>
                    <a:pt x="195262" y="154186"/>
                  </a:cubicBezTo>
                  <a:lnTo>
                    <a:pt x="195262" y="154186"/>
                  </a:lnTo>
                  <a:lnTo>
                    <a:pt x="195262" y="43894"/>
                  </a:lnTo>
                  <a:cubicBezTo>
                    <a:pt x="195262" y="20332"/>
                    <a:pt x="176318" y="1230"/>
                    <a:pt x="152951" y="1230"/>
                  </a:cubicBezTo>
                  <a:close/>
                  <a:moveTo>
                    <a:pt x="59000" y="77747"/>
                  </a:moveTo>
                  <a:lnTo>
                    <a:pt x="74743" y="77747"/>
                  </a:lnTo>
                  <a:lnTo>
                    <a:pt x="74743" y="62825"/>
                  </a:lnTo>
                  <a:lnTo>
                    <a:pt x="59000" y="62825"/>
                  </a:lnTo>
                  <a:lnTo>
                    <a:pt x="59000" y="46712"/>
                  </a:lnTo>
                  <a:lnTo>
                    <a:pt x="74743" y="46712"/>
                  </a:lnTo>
                  <a:lnTo>
                    <a:pt x="74743" y="30837"/>
                  </a:lnTo>
                  <a:lnTo>
                    <a:pt x="90723" y="30837"/>
                  </a:lnTo>
                  <a:lnTo>
                    <a:pt x="90723" y="46712"/>
                  </a:lnTo>
                  <a:lnTo>
                    <a:pt x="105523" y="46712"/>
                  </a:lnTo>
                  <a:lnTo>
                    <a:pt x="105523" y="30837"/>
                  </a:lnTo>
                  <a:lnTo>
                    <a:pt x="121502" y="30837"/>
                  </a:lnTo>
                  <a:lnTo>
                    <a:pt x="121502" y="46712"/>
                  </a:lnTo>
                  <a:lnTo>
                    <a:pt x="137246" y="46712"/>
                  </a:lnTo>
                  <a:lnTo>
                    <a:pt x="137246" y="62825"/>
                  </a:lnTo>
                  <a:lnTo>
                    <a:pt x="121502" y="62825"/>
                  </a:lnTo>
                  <a:lnTo>
                    <a:pt x="121502" y="77747"/>
                  </a:lnTo>
                  <a:lnTo>
                    <a:pt x="137246" y="77747"/>
                  </a:lnTo>
                  <a:lnTo>
                    <a:pt x="137246" y="94019"/>
                  </a:lnTo>
                  <a:lnTo>
                    <a:pt x="121502" y="94019"/>
                  </a:lnTo>
                  <a:lnTo>
                    <a:pt x="121502" y="109894"/>
                  </a:lnTo>
                  <a:lnTo>
                    <a:pt x="105523" y="109894"/>
                  </a:lnTo>
                  <a:lnTo>
                    <a:pt x="105523" y="94019"/>
                  </a:lnTo>
                  <a:lnTo>
                    <a:pt x="90723" y="94019"/>
                  </a:lnTo>
                  <a:lnTo>
                    <a:pt x="90723" y="109894"/>
                  </a:lnTo>
                  <a:lnTo>
                    <a:pt x="74743" y="109894"/>
                  </a:lnTo>
                  <a:lnTo>
                    <a:pt x="74743" y="94019"/>
                  </a:lnTo>
                  <a:lnTo>
                    <a:pt x="59000" y="94019"/>
                  </a:lnTo>
                  <a:close/>
                  <a:moveTo>
                    <a:pt x="171410" y="127079"/>
                  </a:moveTo>
                  <a:cubicBezTo>
                    <a:pt x="156371" y="152189"/>
                    <a:pt x="129300" y="167429"/>
                    <a:pt x="100209" y="167163"/>
                  </a:cubicBezTo>
                  <a:lnTo>
                    <a:pt x="96273" y="167163"/>
                  </a:lnTo>
                  <a:cubicBezTo>
                    <a:pt x="67100" y="167501"/>
                    <a:pt x="39930" y="152253"/>
                    <a:pt x="24836" y="127079"/>
                  </a:cubicBezTo>
                  <a:cubicBezTo>
                    <a:pt x="24017" y="125380"/>
                    <a:pt x="23560" y="123527"/>
                    <a:pt x="23497" y="121642"/>
                  </a:cubicBezTo>
                  <a:cubicBezTo>
                    <a:pt x="23482" y="118987"/>
                    <a:pt x="24780" y="116502"/>
                    <a:pt x="26961" y="115014"/>
                  </a:cubicBezTo>
                  <a:cubicBezTo>
                    <a:pt x="28138" y="114196"/>
                    <a:pt x="29484" y="113653"/>
                    <a:pt x="30897" y="113427"/>
                  </a:cubicBezTo>
                  <a:cubicBezTo>
                    <a:pt x="36958" y="112792"/>
                    <a:pt x="40422" y="116760"/>
                    <a:pt x="43295" y="121364"/>
                  </a:cubicBezTo>
                  <a:cubicBezTo>
                    <a:pt x="65844" y="151820"/>
                    <a:pt x="108608" y="158079"/>
                    <a:pt x="138813" y="135342"/>
                  </a:cubicBezTo>
                  <a:cubicBezTo>
                    <a:pt x="144075" y="131377"/>
                    <a:pt x="148747" y="126670"/>
                    <a:pt x="152675" y="121364"/>
                  </a:cubicBezTo>
                  <a:cubicBezTo>
                    <a:pt x="155548" y="116840"/>
                    <a:pt x="159170" y="112871"/>
                    <a:pt x="165073" y="113427"/>
                  </a:cubicBezTo>
                  <a:cubicBezTo>
                    <a:pt x="166487" y="113653"/>
                    <a:pt x="167833" y="114196"/>
                    <a:pt x="169009" y="115014"/>
                  </a:cubicBezTo>
                  <a:cubicBezTo>
                    <a:pt x="171280" y="116419"/>
                    <a:pt x="172623" y="118955"/>
                    <a:pt x="172512" y="121642"/>
                  </a:cubicBezTo>
                  <a:cubicBezTo>
                    <a:pt x="172607" y="123519"/>
                    <a:pt x="172225" y="125388"/>
                    <a:pt x="171410" y="127079"/>
                  </a:cubicBezTo>
                  <a:close/>
                </a:path>
              </a:pathLst>
            </a:custGeom>
            <a:solidFill>
              <a:schemeClr val="bg1"/>
            </a:solidFill>
            <a:ln w="3936" cap="flat">
              <a:noFill/>
              <a:prstDash val="solid"/>
              <a:miter/>
            </a:ln>
          </p:spPr>
          <p:txBody>
            <a:bodyPr rtlCol="0" anchor="ctr"/>
            <a:lstStyle/>
            <a:p>
              <a:pPr defTabSz="699447">
                <a:defRPr/>
              </a:pPr>
              <a:endParaRPr lang="en-US" sz="1377">
                <a:solidFill>
                  <a:srgbClr val="1A1A1A"/>
                </a:solidFill>
                <a:latin typeface="Segoe UI"/>
              </a:endParaRPr>
            </a:p>
          </p:txBody>
        </p:sp>
      </p:grpSp>
      <p:grpSp>
        <p:nvGrpSpPr>
          <p:cNvPr id="3" name="Group 2">
            <a:extLst>
              <a:ext uri="{FF2B5EF4-FFF2-40B4-BE49-F238E27FC236}">
                <a16:creationId xmlns:a16="http://schemas.microsoft.com/office/drawing/2014/main" id="{B7184E71-96D8-4354-A49B-32C9DE4FAE7E}"/>
              </a:ext>
            </a:extLst>
          </p:cNvPr>
          <p:cNvGrpSpPr/>
          <p:nvPr/>
        </p:nvGrpSpPr>
        <p:grpSpPr>
          <a:xfrm>
            <a:off x="1467686" y="4489849"/>
            <a:ext cx="3319996" cy="627656"/>
            <a:chOff x="443390" y="4581115"/>
            <a:chExt cx="2933958" cy="518892"/>
          </a:xfrm>
        </p:grpSpPr>
        <p:sp>
          <p:nvSpPr>
            <p:cNvPr id="48" name="TextBox 47">
              <a:extLst>
                <a:ext uri="{FF2B5EF4-FFF2-40B4-BE49-F238E27FC236}">
                  <a16:creationId xmlns:a16="http://schemas.microsoft.com/office/drawing/2014/main" id="{E3C5AB7C-0EDF-49CB-B5D8-B3855E470DBA}"/>
                </a:ext>
              </a:extLst>
            </p:cNvPr>
            <p:cNvSpPr txBox="1"/>
            <p:nvPr/>
          </p:nvSpPr>
          <p:spPr>
            <a:xfrm>
              <a:off x="443390" y="4901483"/>
              <a:ext cx="731520" cy="198524"/>
            </a:xfrm>
            <a:prstGeom prst="rect">
              <a:avLst/>
            </a:prstGeom>
            <a:noFill/>
          </p:spPr>
          <p:txBody>
            <a:bodyPr wrap="square" lIns="0" tIns="0" rIns="0" bIns="0" rtlCol="0">
              <a:spAutoFit/>
            </a:bodyPr>
            <a:lstStyle/>
            <a:p>
              <a:pPr algn="ctr" defTabSz="534767">
                <a:spcBef>
                  <a:spcPts val="688"/>
                </a:spcBef>
                <a:spcAft>
                  <a:spcPts val="688"/>
                </a:spcAft>
                <a:defRPr/>
              </a:pPr>
              <a:r>
                <a:rPr lang="en-US" sz="765" kern="0" dirty="0">
                  <a:ln w="3175">
                    <a:noFill/>
                  </a:ln>
                  <a:solidFill>
                    <a:srgbClr val="0078D4"/>
                  </a:solidFill>
                  <a:latin typeface="Segoe UI" panose="020B0502040204020203" pitchFamily="34" charset="0"/>
                  <a:cs typeface="Segoe UI" panose="020B0502040204020203" pitchFamily="34" charset="0"/>
                </a:rPr>
                <a:t>Vision</a:t>
              </a:r>
              <a:br>
                <a:rPr lang="en-US" sz="765" kern="0" dirty="0">
                  <a:ln w="3175">
                    <a:noFill/>
                  </a:ln>
                  <a:solidFill>
                    <a:srgbClr val="0078D4"/>
                  </a:solidFill>
                  <a:latin typeface="Segoe UI" panose="020B0502040204020203" pitchFamily="34" charset="0"/>
                  <a:cs typeface="Segoe UI" panose="020B0502040204020203" pitchFamily="34" charset="0"/>
                </a:rPr>
              </a:br>
              <a:r>
                <a:rPr lang="zh-CN" altLang="en-US" sz="765" kern="0" dirty="0">
                  <a:ln w="3175">
                    <a:noFill/>
                  </a:ln>
                  <a:solidFill>
                    <a:srgbClr val="0078D4"/>
                  </a:solidFill>
                  <a:latin typeface="Segoe UI" panose="020B0502040204020203" pitchFamily="34" charset="0"/>
                  <a:ea typeface="宋体" panose="02010600030101010101" pitchFamily="2" charset="-122"/>
                  <a:cs typeface="Segoe UI" panose="020B0502040204020203" pitchFamily="34" charset="0"/>
                </a:rPr>
                <a:t>视觉</a:t>
              </a:r>
              <a:endParaRPr lang="en-US" sz="765" kern="0" dirty="0">
                <a:ln w="3175">
                  <a:noFill/>
                </a:ln>
                <a:solidFill>
                  <a:srgbClr val="0078D4"/>
                </a:solidFill>
                <a:latin typeface="Segoe UI" panose="020B0502040204020203" pitchFamily="34" charset="0"/>
                <a:cs typeface="Segoe UI" panose="020B0502040204020203" pitchFamily="34" charset="0"/>
              </a:endParaRPr>
            </a:p>
          </p:txBody>
        </p:sp>
        <p:sp>
          <p:nvSpPr>
            <p:cNvPr id="49" name="TextBox 48">
              <a:extLst>
                <a:ext uri="{FF2B5EF4-FFF2-40B4-BE49-F238E27FC236}">
                  <a16:creationId xmlns:a16="http://schemas.microsoft.com/office/drawing/2014/main" id="{E9B17924-FE05-411F-86CD-E5A70504017B}"/>
                </a:ext>
              </a:extLst>
            </p:cNvPr>
            <p:cNvSpPr txBox="1"/>
            <p:nvPr/>
          </p:nvSpPr>
          <p:spPr>
            <a:xfrm>
              <a:off x="1177536" y="4901483"/>
              <a:ext cx="731520" cy="198524"/>
            </a:xfrm>
            <a:prstGeom prst="rect">
              <a:avLst/>
            </a:prstGeom>
            <a:noFill/>
          </p:spPr>
          <p:txBody>
            <a:bodyPr wrap="square" lIns="0" tIns="0" rIns="0" bIns="0" rtlCol="0">
              <a:spAutoFit/>
            </a:bodyPr>
            <a:lstStyle/>
            <a:p>
              <a:pPr algn="ctr" defTabSz="534767">
                <a:spcBef>
                  <a:spcPts val="688"/>
                </a:spcBef>
                <a:spcAft>
                  <a:spcPts val="688"/>
                </a:spcAft>
                <a:defRPr/>
              </a:pPr>
              <a:r>
                <a:rPr lang="en-US" sz="765" kern="0" dirty="0">
                  <a:ln w="3175">
                    <a:noFill/>
                  </a:ln>
                  <a:solidFill>
                    <a:srgbClr val="0078D4"/>
                  </a:solidFill>
                  <a:latin typeface="Segoe UI" panose="020B0502040204020203" pitchFamily="34" charset="0"/>
                  <a:cs typeface="Segoe UI" panose="020B0502040204020203" pitchFamily="34" charset="0"/>
                </a:rPr>
                <a:t>Speech</a:t>
              </a:r>
              <a:br>
                <a:rPr lang="en-US" sz="765" kern="0" dirty="0">
                  <a:ln w="3175">
                    <a:noFill/>
                  </a:ln>
                  <a:solidFill>
                    <a:srgbClr val="0078D4"/>
                  </a:solidFill>
                  <a:latin typeface="Segoe UI" panose="020B0502040204020203" pitchFamily="34" charset="0"/>
                  <a:cs typeface="Segoe UI" panose="020B0502040204020203" pitchFamily="34" charset="0"/>
                </a:rPr>
              </a:br>
              <a:r>
                <a:rPr lang="zh-CN" altLang="en-US" sz="765" kern="0" dirty="0">
                  <a:ln w="3175">
                    <a:noFill/>
                  </a:ln>
                  <a:solidFill>
                    <a:srgbClr val="0078D4"/>
                  </a:solidFill>
                  <a:latin typeface="Segoe UI" panose="020B0502040204020203" pitchFamily="34" charset="0"/>
                  <a:ea typeface="宋体" panose="02010600030101010101" pitchFamily="2" charset="-122"/>
                  <a:cs typeface="Segoe UI" panose="020B0502040204020203" pitchFamily="34" charset="0"/>
                </a:rPr>
                <a:t>语音</a:t>
              </a:r>
              <a:endParaRPr lang="en-US" sz="765" kern="0" dirty="0">
                <a:ln w="3175">
                  <a:noFill/>
                </a:ln>
                <a:solidFill>
                  <a:srgbClr val="0078D4"/>
                </a:solidFill>
                <a:latin typeface="Segoe UI" panose="020B0502040204020203" pitchFamily="34" charset="0"/>
                <a:cs typeface="Segoe UI" panose="020B0502040204020203" pitchFamily="34" charset="0"/>
              </a:endParaRPr>
            </a:p>
          </p:txBody>
        </p:sp>
        <p:sp>
          <p:nvSpPr>
            <p:cNvPr id="53" name="TextBox 52">
              <a:extLst>
                <a:ext uri="{FF2B5EF4-FFF2-40B4-BE49-F238E27FC236}">
                  <a16:creationId xmlns:a16="http://schemas.microsoft.com/office/drawing/2014/main" id="{74D4ED90-0971-4C14-8298-3DEDFDB4BCB8}"/>
                </a:ext>
              </a:extLst>
            </p:cNvPr>
            <p:cNvSpPr txBox="1"/>
            <p:nvPr/>
          </p:nvSpPr>
          <p:spPr>
            <a:xfrm>
              <a:off x="1911682" y="4901483"/>
              <a:ext cx="731520" cy="198524"/>
            </a:xfrm>
            <a:prstGeom prst="rect">
              <a:avLst/>
            </a:prstGeom>
            <a:noFill/>
          </p:spPr>
          <p:txBody>
            <a:bodyPr wrap="square" lIns="0" tIns="0" rIns="0" bIns="0" rtlCol="0">
              <a:spAutoFit/>
            </a:bodyPr>
            <a:lstStyle/>
            <a:p>
              <a:pPr algn="ctr" defTabSz="534767">
                <a:spcBef>
                  <a:spcPts val="688"/>
                </a:spcBef>
                <a:spcAft>
                  <a:spcPts val="688"/>
                </a:spcAft>
                <a:defRPr/>
              </a:pPr>
              <a:r>
                <a:rPr lang="en-US" sz="765" kern="0" dirty="0">
                  <a:ln w="3175">
                    <a:noFill/>
                  </a:ln>
                  <a:solidFill>
                    <a:srgbClr val="0078D4"/>
                  </a:solidFill>
                  <a:latin typeface="Segoe UI" panose="020B0502040204020203" pitchFamily="34" charset="0"/>
                  <a:cs typeface="Segoe UI" panose="020B0502040204020203" pitchFamily="34" charset="0"/>
                </a:rPr>
                <a:t>Language</a:t>
              </a:r>
              <a:br>
                <a:rPr lang="en-US" sz="765" kern="0" dirty="0">
                  <a:ln w="3175">
                    <a:noFill/>
                  </a:ln>
                  <a:solidFill>
                    <a:srgbClr val="0078D4"/>
                  </a:solidFill>
                  <a:latin typeface="Segoe UI" panose="020B0502040204020203" pitchFamily="34" charset="0"/>
                  <a:cs typeface="Segoe UI" panose="020B0502040204020203" pitchFamily="34" charset="0"/>
                </a:rPr>
              </a:br>
              <a:r>
                <a:rPr lang="zh-CN" altLang="en-US" sz="765" kern="0" dirty="0">
                  <a:ln w="3175">
                    <a:noFill/>
                  </a:ln>
                  <a:solidFill>
                    <a:srgbClr val="0078D4"/>
                  </a:solidFill>
                  <a:latin typeface="Segoe UI" panose="020B0502040204020203" pitchFamily="34" charset="0"/>
                  <a:ea typeface="宋体" panose="02010600030101010101" pitchFamily="2" charset="-122"/>
                  <a:cs typeface="Segoe UI" panose="020B0502040204020203" pitchFamily="34" charset="0"/>
                </a:rPr>
                <a:t>语言</a:t>
              </a:r>
              <a:endParaRPr lang="en-US" sz="765" kern="0" dirty="0">
                <a:ln w="3175">
                  <a:noFill/>
                </a:ln>
                <a:solidFill>
                  <a:srgbClr val="0078D4"/>
                </a:solidFill>
                <a:latin typeface="Segoe UI" panose="020B0502040204020203" pitchFamily="34" charset="0"/>
                <a:cs typeface="Segoe UI" panose="020B0502040204020203" pitchFamily="34" charset="0"/>
              </a:endParaRPr>
            </a:p>
          </p:txBody>
        </p:sp>
        <p:sp>
          <p:nvSpPr>
            <p:cNvPr id="54" name="TextBox 53">
              <a:extLst>
                <a:ext uri="{FF2B5EF4-FFF2-40B4-BE49-F238E27FC236}">
                  <a16:creationId xmlns:a16="http://schemas.microsoft.com/office/drawing/2014/main" id="{20D18215-032E-41EA-B176-D6CB316AA03A}"/>
                </a:ext>
              </a:extLst>
            </p:cNvPr>
            <p:cNvSpPr txBox="1"/>
            <p:nvPr/>
          </p:nvSpPr>
          <p:spPr>
            <a:xfrm>
              <a:off x="2645828" y="4901483"/>
              <a:ext cx="731520" cy="198524"/>
            </a:xfrm>
            <a:prstGeom prst="rect">
              <a:avLst/>
            </a:prstGeom>
            <a:noFill/>
          </p:spPr>
          <p:txBody>
            <a:bodyPr wrap="square" lIns="0" tIns="0" rIns="0" bIns="0" rtlCol="0">
              <a:spAutoFit/>
            </a:bodyPr>
            <a:lstStyle/>
            <a:p>
              <a:pPr algn="ctr" defTabSz="534767">
                <a:spcBef>
                  <a:spcPts val="688"/>
                </a:spcBef>
                <a:spcAft>
                  <a:spcPts val="688"/>
                </a:spcAft>
                <a:defRPr/>
              </a:pPr>
              <a:r>
                <a:rPr lang="en-US" sz="765" kern="0" dirty="0">
                  <a:ln w="3175">
                    <a:noFill/>
                  </a:ln>
                  <a:solidFill>
                    <a:srgbClr val="0078D4"/>
                  </a:solidFill>
                  <a:latin typeface="Segoe UI" panose="020B0502040204020203" pitchFamily="34" charset="0"/>
                  <a:cs typeface="Segoe UI" panose="020B0502040204020203" pitchFamily="34" charset="0"/>
                </a:rPr>
                <a:t>Search</a:t>
              </a:r>
              <a:br>
                <a:rPr lang="en-US" sz="765" kern="0" dirty="0">
                  <a:ln w="3175">
                    <a:noFill/>
                  </a:ln>
                  <a:solidFill>
                    <a:srgbClr val="0078D4"/>
                  </a:solidFill>
                  <a:latin typeface="Segoe UI" panose="020B0502040204020203" pitchFamily="34" charset="0"/>
                  <a:cs typeface="Segoe UI" panose="020B0502040204020203" pitchFamily="34" charset="0"/>
                </a:rPr>
              </a:br>
              <a:r>
                <a:rPr lang="zh-CN" altLang="en-US" sz="765" kern="0" dirty="0">
                  <a:ln w="3175">
                    <a:noFill/>
                  </a:ln>
                  <a:solidFill>
                    <a:srgbClr val="0078D4"/>
                  </a:solidFill>
                  <a:latin typeface="Segoe UI" panose="020B0502040204020203" pitchFamily="34" charset="0"/>
                  <a:ea typeface="宋体" panose="02010600030101010101" pitchFamily="2" charset="-122"/>
                  <a:cs typeface="Segoe UI" panose="020B0502040204020203" pitchFamily="34" charset="0"/>
                </a:rPr>
                <a:t>搜索</a:t>
              </a:r>
              <a:endParaRPr lang="en-US" sz="765" kern="0" dirty="0">
                <a:ln w="3175">
                  <a:noFill/>
                </a:ln>
                <a:solidFill>
                  <a:srgbClr val="0078D4"/>
                </a:solidFill>
                <a:latin typeface="Segoe UI" panose="020B0502040204020203" pitchFamily="34" charset="0"/>
                <a:cs typeface="Segoe UI" panose="020B0502040204020203" pitchFamily="34" charset="0"/>
              </a:endParaRPr>
            </a:p>
          </p:txBody>
        </p:sp>
        <p:sp>
          <p:nvSpPr>
            <p:cNvPr id="55" name="Graphic 569">
              <a:extLst>
                <a:ext uri="{FF2B5EF4-FFF2-40B4-BE49-F238E27FC236}">
                  <a16:creationId xmlns:a16="http://schemas.microsoft.com/office/drawing/2014/main" id="{02EA2870-A6A4-4F8F-9BBE-79E3443E0BDA}"/>
                </a:ext>
              </a:extLst>
            </p:cNvPr>
            <p:cNvSpPr/>
            <p:nvPr/>
          </p:nvSpPr>
          <p:spPr>
            <a:xfrm>
              <a:off x="2120493" y="4581115"/>
              <a:ext cx="313899" cy="282509"/>
            </a:xfrm>
            <a:custGeom>
              <a:avLst/>
              <a:gdLst>
                <a:gd name="connsiteX0" fmla="*/ 5886 w 313899"/>
                <a:gd name="connsiteY0" fmla="*/ 177745 h 282508"/>
                <a:gd name="connsiteX1" fmla="*/ 73374 w 313899"/>
                <a:gd name="connsiteY1" fmla="*/ 5886 h 282508"/>
                <a:gd name="connsiteX2" fmla="*/ 134192 w 313899"/>
                <a:gd name="connsiteY2" fmla="*/ 177745 h 282508"/>
                <a:gd name="connsiteX3" fmla="*/ 27859 w 313899"/>
                <a:gd name="connsiteY3" fmla="*/ 121636 h 282508"/>
                <a:gd name="connsiteX4" fmla="*/ 114181 w 313899"/>
                <a:gd name="connsiteY4" fmla="*/ 121636 h 282508"/>
                <a:gd name="connsiteX5" fmla="*/ 247980 w 313899"/>
                <a:gd name="connsiteY5" fmla="*/ 276623 h 282508"/>
                <a:gd name="connsiteX6" fmla="*/ 311153 w 313899"/>
                <a:gd name="connsiteY6" fmla="*/ 218160 h 282508"/>
                <a:gd name="connsiteX7" fmla="*/ 196187 w 313899"/>
                <a:gd name="connsiteY7" fmla="*/ 195794 h 282508"/>
                <a:gd name="connsiteX8" fmla="*/ 205996 w 313899"/>
                <a:gd name="connsiteY8" fmla="*/ 258574 h 282508"/>
                <a:gd name="connsiteX9" fmla="*/ 272308 w 313899"/>
                <a:gd name="connsiteY9" fmla="*/ 164012 h 282508"/>
                <a:gd name="connsiteX10" fmla="*/ 219729 w 313899"/>
                <a:gd name="connsiteY10" fmla="*/ 92992 h 282508"/>
                <a:gd name="connsiteX11" fmla="*/ 228754 w 313899"/>
                <a:gd name="connsiteY11" fmla="*/ 249942 h 282508"/>
                <a:gd name="connsiteX12" fmla="*/ 164405 w 313899"/>
                <a:gd name="connsiteY12" fmla="*/ 131837 h 282508"/>
                <a:gd name="connsiteX13" fmla="*/ 301736 w 313899"/>
                <a:gd name="connsiteY13" fmla="*/ 125559 h 282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899" h="282508">
                  <a:moveTo>
                    <a:pt x="5886" y="177745"/>
                  </a:moveTo>
                  <a:lnTo>
                    <a:pt x="73374" y="5886"/>
                  </a:lnTo>
                  <a:lnTo>
                    <a:pt x="134192" y="177745"/>
                  </a:lnTo>
                  <a:moveTo>
                    <a:pt x="27859" y="121636"/>
                  </a:moveTo>
                  <a:lnTo>
                    <a:pt x="114181" y="121636"/>
                  </a:lnTo>
                  <a:moveTo>
                    <a:pt x="247980" y="276623"/>
                  </a:moveTo>
                  <a:cubicBezTo>
                    <a:pt x="276231" y="275054"/>
                    <a:pt x="314684" y="258182"/>
                    <a:pt x="311153" y="218160"/>
                  </a:cubicBezTo>
                  <a:cubicBezTo>
                    <a:pt x="308406" y="185200"/>
                    <a:pt x="238563" y="176568"/>
                    <a:pt x="196187" y="195794"/>
                  </a:cubicBezTo>
                  <a:cubicBezTo>
                    <a:pt x="156165" y="213843"/>
                    <a:pt x="153026" y="269953"/>
                    <a:pt x="205996" y="258574"/>
                  </a:cubicBezTo>
                  <a:cubicBezTo>
                    <a:pt x="271915" y="244449"/>
                    <a:pt x="272308" y="164012"/>
                    <a:pt x="272308" y="164012"/>
                  </a:cubicBezTo>
                  <a:moveTo>
                    <a:pt x="219729" y="92992"/>
                  </a:moveTo>
                  <a:cubicBezTo>
                    <a:pt x="219729" y="92992"/>
                    <a:pt x="207958" y="216198"/>
                    <a:pt x="228754" y="249942"/>
                  </a:cubicBezTo>
                  <a:moveTo>
                    <a:pt x="164405" y="131837"/>
                  </a:moveTo>
                  <a:cubicBezTo>
                    <a:pt x="164405" y="131837"/>
                    <a:pt x="237386" y="140862"/>
                    <a:pt x="301736" y="125559"/>
                  </a:cubicBezTo>
                </a:path>
              </a:pathLst>
            </a:custGeom>
            <a:noFill/>
            <a:ln w="19050" cap="flat">
              <a:solidFill>
                <a:schemeClr val="accent1"/>
              </a:solidFill>
              <a:prstDash val="solid"/>
              <a:miter/>
            </a:ln>
          </p:spPr>
          <p:txBody>
            <a:bodyPr rtlCol="0" anchor="ctr"/>
            <a:lstStyle/>
            <a:p>
              <a:pPr defTabSz="699447">
                <a:defRPr/>
              </a:pPr>
              <a:endParaRPr lang="en-US" sz="1377">
                <a:solidFill>
                  <a:srgbClr val="1A1A1A"/>
                </a:solidFill>
                <a:latin typeface="Segoe UI"/>
              </a:endParaRPr>
            </a:p>
          </p:txBody>
        </p:sp>
        <p:sp>
          <p:nvSpPr>
            <p:cNvPr id="56" name="Rounded Rectangular Callout 243">
              <a:extLst>
                <a:ext uri="{FF2B5EF4-FFF2-40B4-BE49-F238E27FC236}">
                  <a16:creationId xmlns:a16="http://schemas.microsoft.com/office/drawing/2014/main" id="{481C0F2F-8136-4C69-BF7B-5B2ACA5483A2}"/>
                </a:ext>
              </a:extLst>
            </p:cNvPr>
            <p:cNvSpPr/>
            <p:nvPr/>
          </p:nvSpPr>
          <p:spPr bwMode="auto">
            <a:xfrm>
              <a:off x="1419605" y="4639496"/>
              <a:ext cx="247382" cy="165746"/>
            </a:xfrm>
            <a:prstGeom prst="wedgeRoundRectCallout">
              <a:avLst>
                <a:gd name="adj1" fmla="val 30853"/>
                <a:gd name="adj2" fmla="val 79643"/>
                <a:gd name="adj3" fmla="val 16667"/>
              </a:avLst>
            </a:prstGeom>
            <a:solidFill>
              <a:schemeClr val="bg1"/>
            </a:solidFill>
            <a:ln w="15875" cap="flat" cmpd="sng" algn="ctr">
              <a:solidFill>
                <a:schemeClr val="accent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713271" fontAlgn="base">
                <a:lnSpc>
                  <a:spcPct val="90000"/>
                </a:lnSpc>
                <a:spcBef>
                  <a:spcPct val="0"/>
                </a:spcBef>
                <a:spcAft>
                  <a:spcPct val="0"/>
                </a:spcAft>
                <a:defRPr/>
              </a:pPr>
              <a:r>
                <a:rPr lang="en-US" sz="1071" kern="0">
                  <a:solidFill>
                    <a:srgbClr val="0078D4"/>
                  </a:solidFill>
                  <a:latin typeface="Segoe UI"/>
                  <a:ea typeface="Segoe UI" pitchFamily="34" charset="0"/>
                  <a:cs typeface="Segoe UI" pitchFamily="34" charset="0"/>
                </a:rPr>
                <a:t>…</a:t>
              </a:r>
            </a:p>
          </p:txBody>
        </p:sp>
        <p:grpSp>
          <p:nvGrpSpPr>
            <p:cNvPr id="57" name="Group 56">
              <a:extLst>
                <a:ext uri="{FF2B5EF4-FFF2-40B4-BE49-F238E27FC236}">
                  <a16:creationId xmlns:a16="http://schemas.microsoft.com/office/drawing/2014/main" id="{EB64CAD3-B9F8-42F7-A127-C4B2419A4D56}"/>
                </a:ext>
              </a:extLst>
            </p:cNvPr>
            <p:cNvGrpSpPr/>
            <p:nvPr/>
          </p:nvGrpSpPr>
          <p:grpSpPr>
            <a:xfrm>
              <a:off x="2871084" y="4581865"/>
              <a:ext cx="281008" cy="281008"/>
              <a:chOff x="6511270" y="2828232"/>
              <a:chExt cx="281008" cy="281008"/>
            </a:xfrm>
          </p:grpSpPr>
          <p:sp>
            <p:nvSpPr>
              <p:cNvPr id="62" name="Oval 61">
                <a:extLst>
                  <a:ext uri="{FF2B5EF4-FFF2-40B4-BE49-F238E27FC236}">
                    <a16:creationId xmlns:a16="http://schemas.microsoft.com/office/drawing/2014/main" id="{838CCEC9-4C12-4086-B771-DA031DF631D4}"/>
                  </a:ext>
                </a:extLst>
              </p:cNvPr>
              <p:cNvSpPr/>
              <p:nvPr/>
            </p:nvSpPr>
            <p:spPr bwMode="auto">
              <a:xfrm>
                <a:off x="6618108" y="2845707"/>
                <a:ext cx="154168" cy="15416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fontAlgn="base">
                  <a:spcBef>
                    <a:spcPct val="0"/>
                  </a:spcBef>
                  <a:spcAft>
                    <a:spcPct val="0"/>
                  </a:spcAft>
                  <a:defRPr/>
                </a:pPr>
                <a:endParaRPr lang="en-US" sz="153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Freeform: Shape 62">
                <a:extLst>
                  <a:ext uri="{FF2B5EF4-FFF2-40B4-BE49-F238E27FC236}">
                    <a16:creationId xmlns:a16="http://schemas.microsoft.com/office/drawing/2014/main" id="{C5A61F0A-6991-42BC-B127-35380544743D}"/>
                  </a:ext>
                </a:extLst>
              </p:cNvPr>
              <p:cNvSpPr/>
              <p:nvPr/>
            </p:nvSpPr>
            <p:spPr>
              <a:xfrm flipH="1">
                <a:off x="6511270" y="2828232"/>
                <a:ext cx="281008" cy="281008"/>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chemeClr val="accent1"/>
              </a:solidFill>
              <a:ln w="9525" cap="flat">
                <a:noFill/>
                <a:prstDash val="solid"/>
                <a:miter/>
              </a:ln>
            </p:spPr>
            <p:txBody>
              <a:bodyPr/>
              <a:lstStyle/>
              <a:p>
                <a:pPr defTabSz="699422">
                  <a:defRPr/>
                </a:pPr>
                <a:endParaRPr lang="en-US" sz="1350">
                  <a:solidFill>
                    <a:srgbClr val="1A1A1A"/>
                  </a:solidFill>
                  <a:latin typeface="Segoe UI"/>
                </a:endParaRPr>
              </a:p>
            </p:txBody>
          </p:sp>
        </p:grpSp>
        <p:grpSp>
          <p:nvGrpSpPr>
            <p:cNvPr id="58" name="Group 57">
              <a:extLst>
                <a:ext uri="{FF2B5EF4-FFF2-40B4-BE49-F238E27FC236}">
                  <a16:creationId xmlns:a16="http://schemas.microsoft.com/office/drawing/2014/main" id="{2B7E307F-2653-47B7-BFAC-159A0A62951F}"/>
                </a:ext>
              </a:extLst>
            </p:cNvPr>
            <p:cNvGrpSpPr/>
            <p:nvPr/>
          </p:nvGrpSpPr>
          <p:grpSpPr>
            <a:xfrm>
              <a:off x="638429" y="4627644"/>
              <a:ext cx="341442" cy="189450"/>
              <a:chOff x="6827151" y="1675311"/>
              <a:chExt cx="341442" cy="189450"/>
            </a:xfrm>
          </p:grpSpPr>
          <p:sp>
            <p:nvSpPr>
              <p:cNvPr id="59" name="eye_2">
                <a:extLst>
                  <a:ext uri="{FF2B5EF4-FFF2-40B4-BE49-F238E27FC236}">
                    <a16:creationId xmlns:a16="http://schemas.microsoft.com/office/drawing/2014/main" id="{6A38CDD1-021A-4168-8C08-3EC1F3EDE6E4}"/>
                  </a:ext>
                </a:extLst>
              </p:cNvPr>
              <p:cNvSpPr>
                <a:spLocks noChangeAspect="1" noEditPoints="1"/>
              </p:cNvSpPr>
              <p:nvPr/>
            </p:nvSpPr>
            <p:spPr bwMode="auto">
              <a:xfrm>
                <a:off x="6827151" y="1675311"/>
                <a:ext cx="341442" cy="189450"/>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solidFill>
                <a:schemeClr val="bg1"/>
              </a:solidFill>
              <a:ln w="28575" cap="flat">
                <a:solidFill>
                  <a:schemeClr val="accent1"/>
                </a:solidFill>
                <a:prstDash val="solid"/>
                <a:miter lim="800000"/>
                <a:headEnd/>
                <a:tailEnd/>
              </a:ln>
            </p:spPr>
            <p:txBody>
              <a:bodyPr vert="horz" wrap="square" lIns="69945" tIns="34973" rIns="69945" bIns="34973" numCol="1" anchor="t" anchorCtr="0" compatLnSpc="1">
                <a:prstTxWarp prst="textNoShape">
                  <a:avLst/>
                </a:prstTxWarp>
              </a:bodyPr>
              <a:lstStyle/>
              <a:p>
                <a:pPr defTabSz="699447">
                  <a:defRPr/>
                </a:pPr>
                <a:endParaRPr lang="en-US" sz="1377">
                  <a:solidFill>
                    <a:srgbClr val="1A1A1A"/>
                  </a:solidFill>
                  <a:latin typeface="Segoe UI"/>
                </a:endParaRPr>
              </a:p>
            </p:txBody>
          </p:sp>
          <p:sp>
            <p:nvSpPr>
              <p:cNvPr id="60" name="Oval 59">
                <a:extLst>
                  <a:ext uri="{FF2B5EF4-FFF2-40B4-BE49-F238E27FC236}">
                    <a16:creationId xmlns:a16="http://schemas.microsoft.com/office/drawing/2014/main" id="{96DB4F44-CB76-49DC-A234-1003D895D466}"/>
                  </a:ext>
                </a:extLst>
              </p:cNvPr>
              <p:cNvSpPr/>
              <p:nvPr/>
            </p:nvSpPr>
            <p:spPr bwMode="auto">
              <a:xfrm>
                <a:off x="6909426" y="1681590"/>
                <a:ext cx="176892" cy="176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fontAlgn="base">
                  <a:spcBef>
                    <a:spcPct val="0"/>
                  </a:spcBef>
                  <a:spcAft>
                    <a:spcPct val="0"/>
                  </a:spcAft>
                  <a:defRPr/>
                </a:pPr>
                <a:endParaRPr lang="en-US" sz="153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eye_2">
                <a:extLst>
                  <a:ext uri="{FF2B5EF4-FFF2-40B4-BE49-F238E27FC236}">
                    <a16:creationId xmlns:a16="http://schemas.microsoft.com/office/drawing/2014/main" id="{B1F9A6DB-96F8-4ECA-A0CF-3F6BB6666B22}"/>
                  </a:ext>
                </a:extLst>
              </p:cNvPr>
              <p:cNvSpPr>
                <a:spLocks noChangeAspect="1" noEditPoints="1"/>
              </p:cNvSpPr>
              <p:nvPr/>
            </p:nvSpPr>
            <p:spPr bwMode="auto">
              <a:xfrm>
                <a:off x="6827151" y="1675311"/>
                <a:ext cx="341442" cy="189450"/>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solidFill>
                <a:schemeClr val="bg1"/>
              </a:solidFill>
              <a:ln w="12700" cap="flat">
                <a:noFill/>
                <a:prstDash val="solid"/>
                <a:miter lim="800000"/>
                <a:headEnd/>
                <a:tailEnd/>
              </a:ln>
            </p:spPr>
            <p:txBody>
              <a:bodyPr vert="horz" wrap="square" lIns="69945" tIns="34973" rIns="69945" bIns="34973" numCol="1" anchor="t" anchorCtr="0" compatLnSpc="1">
                <a:prstTxWarp prst="textNoShape">
                  <a:avLst/>
                </a:prstTxWarp>
              </a:bodyPr>
              <a:lstStyle/>
              <a:p>
                <a:pPr defTabSz="699447">
                  <a:defRPr/>
                </a:pPr>
                <a:endParaRPr lang="en-US" sz="1377">
                  <a:solidFill>
                    <a:srgbClr val="1A1A1A"/>
                  </a:solidFill>
                  <a:latin typeface="Segoe UI"/>
                </a:endParaRPr>
              </a:p>
            </p:txBody>
          </p:sp>
        </p:grpSp>
      </p:grpSp>
      <p:sp>
        <p:nvSpPr>
          <p:cNvPr id="64" name="文本框 63">
            <a:extLst>
              <a:ext uri="{FF2B5EF4-FFF2-40B4-BE49-F238E27FC236}">
                <a16:creationId xmlns:a16="http://schemas.microsoft.com/office/drawing/2014/main" id="{4D249BCA-1EB9-4EBC-8B2C-8FF61F500FCB}"/>
              </a:ext>
            </a:extLst>
          </p:cNvPr>
          <p:cNvSpPr txBox="1"/>
          <p:nvPr/>
        </p:nvSpPr>
        <p:spPr>
          <a:xfrm>
            <a:off x="1534105" y="5657792"/>
            <a:ext cx="2356414" cy="313932"/>
          </a:xfrm>
          <a:prstGeom prst="rect">
            <a:avLst/>
          </a:prstGeom>
          <a:noFill/>
        </p:spPr>
        <p:txBody>
          <a:bodyPr wrap="none" lIns="0" tIns="0" rIns="0" bIns="0" rtlCol="0">
            <a:spAutoFit/>
          </a:bodyPr>
          <a:lstStyle/>
          <a:p>
            <a:pPr defTabSz="932597"/>
            <a:r>
              <a:rPr lang="en-US" altLang="zh-CN" sz="2040" dirty="0">
                <a:solidFill>
                  <a:srgbClr val="0070C0"/>
                </a:solidFill>
                <a:latin typeface="Calibri" panose="020F0502020204030204"/>
                <a:ea typeface="宋体" panose="02010600030101010101" pitchFamily="2" charset="-122"/>
              </a:rPr>
              <a:t>68</a:t>
            </a:r>
            <a:r>
              <a:rPr lang="zh-CN" altLang="en-US" sz="2040" dirty="0">
                <a:solidFill>
                  <a:srgbClr val="0070C0"/>
                </a:solidFill>
                <a:latin typeface="Calibri" panose="020F0502020204030204"/>
                <a:ea typeface="宋体" panose="02010600030101010101" pitchFamily="2" charset="-122"/>
              </a:rPr>
              <a:t>种语言的支持能力</a:t>
            </a:r>
          </a:p>
        </p:txBody>
      </p:sp>
    </p:spTree>
    <p:extLst>
      <p:ext uri="{BB962C8B-B14F-4D97-AF65-F5344CB8AC3E}">
        <p14:creationId xmlns:p14="http://schemas.microsoft.com/office/powerpoint/2010/main" val="1577403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4"/>
                                        </p:tgtEl>
                                        <p:attrNameLst>
                                          <p:attrName>style.visibility</p:attrName>
                                        </p:attrNameLst>
                                      </p:cBhvr>
                                      <p:to>
                                        <p:strVal val="visible"/>
                                      </p:to>
                                    </p:set>
                                    <p:anim calcmode="lin" valueType="num">
                                      <p:cBhvr additive="base">
                                        <p:cTn id="7" dur="500" fill="hold"/>
                                        <p:tgtEl>
                                          <p:spTgt spid="64"/>
                                        </p:tgtEl>
                                        <p:attrNameLst>
                                          <p:attrName>ppt_x</p:attrName>
                                        </p:attrNameLst>
                                      </p:cBhvr>
                                      <p:tavLst>
                                        <p:tav tm="0">
                                          <p:val>
                                            <p:strVal val="#ppt_x"/>
                                          </p:val>
                                        </p:tav>
                                        <p:tav tm="100000">
                                          <p:val>
                                            <p:strVal val="#ppt_x"/>
                                          </p:val>
                                        </p:tav>
                                      </p:tavLst>
                                    </p:anim>
                                    <p:anim calcmode="lin" valueType="num">
                                      <p:cBhvr additive="base">
                                        <p:cTn id="8" dur="500" fill="hold"/>
                                        <p:tgtEl>
                                          <p:spTgt spid="6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1858770" y="432102"/>
            <a:ext cx="4422658" cy="927945"/>
          </a:xfrm>
        </p:spPr>
        <p:txBody>
          <a:bodyPr>
            <a:normAutofit/>
          </a:bodyPr>
          <a:lstStyle/>
          <a:p>
            <a:r>
              <a:rPr lang="zh-CN" altLang="en-US" sz="4080" dirty="0">
                <a:gradFill>
                  <a:gsLst>
                    <a:gs pos="1250">
                      <a:srgbClr val="1A1A1A"/>
                    </a:gs>
                    <a:gs pos="100000">
                      <a:srgbClr val="1A1A1A"/>
                    </a:gs>
                  </a:gsLst>
                  <a:lin ang="5400000" scaled="0"/>
                </a:gradFill>
                <a:latin typeface="微软雅黑" panose="020B0503020204020204" pitchFamily="34" charset="-122"/>
                <a:ea typeface="微软雅黑" panose="020B0503020204020204" pitchFamily="34" charset="-122"/>
              </a:rPr>
              <a:t>微软</a:t>
            </a:r>
            <a:r>
              <a:rPr lang="en-US" sz="4080" dirty="0" err="1">
                <a:gradFill>
                  <a:gsLst>
                    <a:gs pos="1250">
                      <a:srgbClr val="1A1A1A"/>
                    </a:gs>
                    <a:gs pos="100000">
                      <a:srgbClr val="1A1A1A"/>
                    </a:gs>
                  </a:gsLst>
                  <a:lin ang="5400000" scaled="0"/>
                </a:gradFill>
                <a:latin typeface="微软雅黑" panose="020B0503020204020204" pitchFamily="34" charset="-122"/>
                <a:ea typeface="微软雅黑" panose="020B0503020204020204" pitchFamily="34" charset="-122"/>
              </a:rPr>
              <a:t>认知服务</a:t>
            </a:r>
            <a:endParaRPr lang="en-US" sz="4080" dirty="0">
              <a:latin typeface="微软雅黑" panose="020B0503020204020204" pitchFamily="34" charset="-122"/>
              <a:ea typeface="微软雅黑" panose="020B0503020204020204" pitchFamily="34" charset="-122"/>
            </a:endParaRPr>
          </a:p>
        </p:txBody>
      </p:sp>
      <p:sp>
        <p:nvSpPr>
          <p:cNvPr id="47" name="Rectangle 46">
            <a:extLst>
              <a:ext uri="{FF2B5EF4-FFF2-40B4-BE49-F238E27FC236}">
                <a16:creationId xmlns:a16="http://schemas.microsoft.com/office/drawing/2014/main" id="{B53708F5-547B-4EF4-A71B-E40E27BF099F}"/>
              </a:ext>
            </a:extLst>
          </p:cNvPr>
          <p:cNvSpPr/>
          <p:nvPr/>
        </p:nvSpPr>
        <p:spPr>
          <a:xfrm>
            <a:off x="5271562" y="2636111"/>
            <a:ext cx="1707472" cy="350330"/>
          </a:xfrm>
          <a:prstGeom prst="rect">
            <a:avLst/>
          </a:prstGeom>
        </p:spPr>
        <p:txBody>
          <a:bodyPr wrap="square" lIns="139891">
            <a:spAutoFit/>
          </a:bodyPr>
          <a:lstStyle/>
          <a:p>
            <a:pPr defTabSz="699422">
              <a:defRPr/>
            </a:pPr>
            <a:r>
              <a:rPr lang="en-US" sz="1632">
                <a:gradFill>
                  <a:gsLst>
                    <a:gs pos="2917">
                      <a:srgbClr val="5B9BD5"/>
                    </a:gs>
                    <a:gs pos="100000">
                      <a:srgbClr val="5B9BD5"/>
                    </a:gs>
                  </a:gsLst>
                  <a:lin ang="5400000" scaled="0"/>
                </a:gradFill>
                <a:latin typeface="微软雅黑" panose="020B0503020204020204" pitchFamily="34" charset="-122"/>
                <a:ea typeface="微软雅黑" panose="020B0503020204020204" pitchFamily="34" charset="-122"/>
                <a:cs typeface="Segoe UI Semibold" panose="020B0702040204020203" pitchFamily="34" charset="0"/>
              </a:rPr>
              <a:t>定制化训练</a:t>
            </a:r>
          </a:p>
        </p:txBody>
      </p:sp>
      <p:sp>
        <p:nvSpPr>
          <p:cNvPr id="49" name="Freeform 96" title="Icon of a gear with a wrench">
            <a:extLst>
              <a:ext uri="{FF2B5EF4-FFF2-40B4-BE49-F238E27FC236}">
                <a16:creationId xmlns:a16="http://schemas.microsoft.com/office/drawing/2014/main" id="{177E1FF3-2113-4DFE-A1D2-0AF384271914}"/>
              </a:ext>
            </a:extLst>
          </p:cNvPr>
          <p:cNvSpPr>
            <a:spLocks noChangeAspect="1" noEditPoints="1"/>
          </p:cNvSpPr>
          <p:nvPr/>
        </p:nvSpPr>
        <p:spPr bwMode="auto">
          <a:xfrm>
            <a:off x="5016830" y="2633392"/>
            <a:ext cx="254732" cy="234547"/>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9945" tIns="34973" rIns="69945" bIns="34973" numCol="1" anchor="t" anchorCtr="0" compatLnSpc="1">
            <a:prstTxWarp prst="textNoShape">
              <a:avLst/>
            </a:prstTxWarp>
          </a:bodyPr>
          <a:lstStyle/>
          <a:p>
            <a:pPr defTabSz="699422">
              <a:defRPr/>
            </a:pPr>
            <a:endParaRPr lang="en-US" sz="1632">
              <a:gradFill>
                <a:gsLst>
                  <a:gs pos="0">
                    <a:srgbClr val="505050"/>
                  </a:gs>
                  <a:gs pos="100000">
                    <a:srgbClr val="505050"/>
                  </a:gs>
                </a:gsLst>
              </a:gradFill>
              <a:latin typeface="微软雅黑" panose="020B0503020204020204" pitchFamily="34" charset="-122"/>
              <a:ea typeface="微软雅黑" panose="020B0503020204020204" pitchFamily="34" charset="-122"/>
            </a:endParaRPr>
          </a:p>
        </p:txBody>
      </p:sp>
      <p:sp>
        <p:nvSpPr>
          <p:cNvPr id="22" name="Rectangle 21">
            <a:extLst>
              <a:ext uri="{FF2B5EF4-FFF2-40B4-BE49-F238E27FC236}">
                <a16:creationId xmlns:a16="http://schemas.microsoft.com/office/drawing/2014/main" id="{11851462-21A4-41BE-BA7C-CC3B0EC3352B}"/>
              </a:ext>
            </a:extLst>
          </p:cNvPr>
          <p:cNvSpPr/>
          <p:nvPr/>
        </p:nvSpPr>
        <p:spPr>
          <a:xfrm>
            <a:off x="5271562" y="2960520"/>
            <a:ext cx="1036536" cy="1789512"/>
          </a:xfrm>
          <a:prstGeom prst="rect">
            <a:avLst/>
          </a:prstGeom>
        </p:spPr>
        <p:txBody>
          <a:bodyPr wrap="none" lIns="139891">
            <a:spAutoFit/>
          </a:bodyPr>
          <a:lstStyle/>
          <a:p>
            <a:pPr defTabSz="699422">
              <a:lnSpc>
                <a:spcPct val="150000"/>
              </a:lnSpc>
              <a:defRPr/>
            </a:pPr>
            <a:r>
              <a:rPr lang="en-US" sz="1224">
                <a:gradFill>
                  <a:gsLst>
                    <a:gs pos="2917">
                      <a:srgbClr val="5B9BD5"/>
                    </a:gs>
                    <a:gs pos="100000">
                      <a:srgbClr val="5B9BD5"/>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定制化视觉</a:t>
            </a:r>
          </a:p>
          <a:p>
            <a:pPr defTabSz="699422">
              <a:lnSpc>
                <a:spcPct val="150000"/>
              </a:lnSpc>
              <a:defRPr/>
            </a:pPr>
            <a:r>
              <a:rPr lang="en-US" sz="1224">
                <a:gradFill>
                  <a:gsLst>
                    <a:gs pos="2917">
                      <a:srgbClr val="5B9BD5"/>
                    </a:gs>
                    <a:gs pos="100000">
                      <a:srgbClr val="5B9BD5"/>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定制化语音</a:t>
            </a:r>
          </a:p>
          <a:p>
            <a:pPr defTabSz="699422">
              <a:lnSpc>
                <a:spcPct val="150000"/>
              </a:lnSpc>
              <a:defRPr/>
            </a:pPr>
            <a:r>
              <a:rPr lang="en-US" sz="1224">
                <a:gradFill>
                  <a:gsLst>
                    <a:gs pos="2917">
                      <a:srgbClr val="5B9BD5"/>
                    </a:gs>
                    <a:gs pos="100000">
                      <a:srgbClr val="5B9BD5"/>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定制化声音</a:t>
            </a:r>
          </a:p>
          <a:p>
            <a:pPr defTabSz="699422">
              <a:lnSpc>
                <a:spcPct val="150000"/>
              </a:lnSpc>
              <a:defRPr/>
            </a:pPr>
            <a:r>
              <a:rPr lang="en-US" sz="1224">
                <a:gradFill>
                  <a:gsLst>
                    <a:gs pos="2917">
                      <a:srgbClr val="5B9BD5"/>
                    </a:gs>
                    <a:gs pos="100000">
                      <a:srgbClr val="5B9BD5"/>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定制化语言</a:t>
            </a:r>
          </a:p>
          <a:p>
            <a:pPr defTabSz="699422">
              <a:lnSpc>
                <a:spcPct val="150000"/>
              </a:lnSpc>
              <a:defRPr/>
            </a:pPr>
            <a:r>
              <a:rPr lang="en-US" sz="1224">
                <a:gradFill>
                  <a:gsLst>
                    <a:gs pos="2917">
                      <a:srgbClr val="5B9BD5"/>
                    </a:gs>
                    <a:gs pos="100000">
                      <a:srgbClr val="5B9BD5"/>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定制化搜索</a:t>
            </a:r>
          </a:p>
          <a:p>
            <a:pPr defTabSz="699422">
              <a:lnSpc>
                <a:spcPct val="150000"/>
              </a:lnSpc>
              <a:defRPr/>
            </a:pPr>
            <a:r>
              <a:rPr lang="en-US" sz="1224">
                <a:gradFill>
                  <a:gsLst>
                    <a:gs pos="2917">
                      <a:srgbClr val="5B9BD5"/>
                    </a:gs>
                    <a:gs pos="100000">
                      <a:srgbClr val="5B9BD5"/>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定制化翻译</a:t>
            </a:r>
          </a:p>
        </p:txBody>
      </p:sp>
      <p:sp>
        <p:nvSpPr>
          <p:cNvPr id="4" name="Rectangle 3">
            <a:extLst>
              <a:ext uri="{FF2B5EF4-FFF2-40B4-BE49-F238E27FC236}">
                <a16:creationId xmlns:a16="http://schemas.microsoft.com/office/drawing/2014/main" id="{A16FC13B-E3F8-4B7E-8543-9DEAFC1DEFE1}"/>
              </a:ext>
            </a:extLst>
          </p:cNvPr>
          <p:cNvSpPr/>
          <p:nvPr/>
        </p:nvSpPr>
        <p:spPr bwMode="auto">
          <a:xfrm>
            <a:off x="2112170" y="2177349"/>
            <a:ext cx="2958360" cy="4213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699422">
              <a:defRPr/>
            </a:pPr>
            <a:r>
              <a:rPr lang="zh-CN" altLang="en-US" sz="1836" b="1">
                <a:gradFill>
                  <a:gsLst>
                    <a:gs pos="2917">
                      <a:srgbClr val="0078D4"/>
                    </a:gs>
                    <a:gs pos="100000">
                      <a:srgbClr val="0078D4"/>
                    </a:gs>
                  </a:gsLst>
                  <a:lin ang="5400000" scaled="0"/>
                </a:gradFill>
                <a:latin typeface="微软雅黑" panose="020B0503020204020204" pitchFamily="34" charset="-122"/>
                <a:ea typeface="微软雅黑" panose="020B0503020204020204" pitchFamily="34" charset="-122"/>
                <a:cs typeface="Segoe UI Semibold" panose="020B0702040204020203" pitchFamily="34" charset="0"/>
              </a:rPr>
              <a:t>广泛</a:t>
            </a:r>
            <a:r>
              <a:rPr lang="en-US" sz="1836" b="1">
                <a:gradFill>
                  <a:gsLst>
                    <a:gs pos="2917">
                      <a:srgbClr val="0078D4"/>
                    </a:gs>
                    <a:gs pos="100000">
                      <a:srgbClr val="0078D4"/>
                    </a:gs>
                  </a:gsLst>
                  <a:lin ang="5400000" scaled="0"/>
                </a:gradFill>
                <a:latin typeface="微软雅黑" panose="020B0503020204020204" pitchFamily="34" charset="-122"/>
                <a:ea typeface="微软雅黑" panose="020B0503020204020204" pitchFamily="34" charset="-122"/>
                <a:cs typeface="Segoe UI Semibold" panose="020B0702040204020203" pitchFamily="34" charset="0"/>
              </a:rPr>
              <a:t>服务</a:t>
            </a:r>
            <a:endParaRPr lang="en-US" sz="1836">
              <a:gradFill>
                <a:gsLst>
                  <a:gs pos="2917">
                    <a:srgbClr val="0078D4"/>
                  </a:gs>
                  <a:gs pos="100000">
                    <a:srgbClr val="0078D4"/>
                  </a:gs>
                </a:gsLst>
                <a:lin ang="5400000" scaled="0"/>
              </a:gradFill>
              <a:latin typeface="微软雅黑" panose="020B0503020204020204" pitchFamily="34" charset="-122"/>
              <a:ea typeface="微软雅黑" panose="020B0503020204020204" pitchFamily="34" charset="-122"/>
              <a:cs typeface="Segoe UI Semibold" panose="020B0702040204020203" pitchFamily="34" charset="0"/>
            </a:endParaRPr>
          </a:p>
        </p:txBody>
      </p:sp>
      <p:sp>
        <p:nvSpPr>
          <p:cNvPr id="31" name="Rectangle 30">
            <a:extLst>
              <a:ext uri="{FF2B5EF4-FFF2-40B4-BE49-F238E27FC236}">
                <a16:creationId xmlns:a16="http://schemas.microsoft.com/office/drawing/2014/main" id="{535C30F4-B427-4A83-ACED-8561921D6F0E}"/>
              </a:ext>
            </a:extLst>
          </p:cNvPr>
          <p:cNvSpPr/>
          <p:nvPr/>
        </p:nvSpPr>
        <p:spPr bwMode="auto">
          <a:xfrm>
            <a:off x="5102334" y="2177349"/>
            <a:ext cx="1703362" cy="4213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699422">
              <a:defRPr/>
            </a:pPr>
            <a:r>
              <a:rPr lang="en-US" sz="1836" b="1" dirty="0" err="1">
                <a:gradFill>
                  <a:gsLst>
                    <a:gs pos="2917">
                      <a:srgbClr val="0078D4"/>
                    </a:gs>
                    <a:gs pos="100000">
                      <a:srgbClr val="0078D4"/>
                    </a:gs>
                  </a:gsLst>
                  <a:lin ang="5400000" scaled="0"/>
                </a:gradFill>
                <a:latin typeface="微软雅黑" panose="020B0503020204020204" pitchFamily="34" charset="-122"/>
                <a:ea typeface="微软雅黑" panose="020B0503020204020204" pitchFamily="34" charset="-122"/>
                <a:cs typeface="Segoe UI Semibold" panose="020B0702040204020203" pitchFamily="34" charset="0"/>
              </a:rPr>
              <a:t>任何场景</a:t>
            </a:r>
            <a:endParaRPr lang="en-US" sz="1836" dirty="0">
              <a:gradFill>
                <a:gsLst>
                  <a:gs pos="2917">
                    <a:srgbClr val="0078D4"/>
                  </a:gs>
                  <a:gs pos="100000">
                    <a:srgbClr val="0078D4"/>
                  </a:gs>
                </a:gsLst>
                <a:lin ang="5400000" scaled="0"/>
              </a:gradFill>
              <a:latin typeface="微软雅黑" panose="020B0503020204020204" pitchFamily="34" charset="-122"/>
              <a:ea typeface="微软雅黑" panose="020B0503020204020204" pitchFamily="34" charset="-122"/>
              <a:cs typeface="Segoe UI Semibold" panose="020B0702040204020203" pitchFamily="34" charset="0"/>
            </a:endParaRPr>
          </a:p>
        </p:txBody>
      </p:sp>
      <p:sp>
        <p:nvSpPr>
          <p:cNvPr id="32" name="Rectangle 31">
            <a:extLst>
              <a:ext uri="{FF2B5EF4-FFF2-40B4-BE49-F238E27FC236}">
                <a16:creationId xmlns:a16="http://schemas.microsoft.com/office/drawing/2014/main" id="{9C7DEE79-D2F6-4A47-BBB6-3A79637C3952}"/>
              </a:ext>
            </a:extLst>
          </p:cNvPr>
          <p:cNvSpPr/>
          <p:nvPr/>
        </p:nvSpPr>
        <p:spPr bwMode="auto">
          <a:xfrm>
            <a:off x="8112879" y="2161214"/>
            <a:ext cx="2958360" cy="4213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699422">
              <a:defRPr/>
            </a:pPr>
            <a:r>
              <a:rPr lang="en-US" sz="1836" b="1" dirty="0" err="1">
                <a:gradFill>
                  <a:gsLst>
                    <a:gs pos="2917">
                      <a:srgbClr val="0078D4"/>
                    </a:gs>
                    <a:gs pos="100000">
                      <a:srgbClr val="0078D4"/>
                    </a:gs>
                  </a:gsLst>
                  <a:lin ang="5400000" scaled="0"/>
                </a:gradFill>
                <a:latin typeface="微软雅黑" panose="020B0503020204020204" pitchFamily="34" charset="-122"/>
                <a:ea typeface="微软雅黑" panose="020B0503020204020204" pitchFamily="34" charset="-122"/>
                <a:cs typeface="Segoe UI Semibold" panose="020B0702040204020203" pitchFamily="34" charset="0"/>
              </a:rPr>
              <a:t>任何位置</a:t>
            </a:r>
            <a:endParaRPr lang="en-US" sz="1836" dirty="0">
              <a:gradFill>
                <a:gsLst>
                  <a:gs pos="2917">
                    <a:srgbClr val="0078D4"/>
                  </a:gs>
                  <a:gs pos="100000">
                    <a:srgbClr val="0078D4"/>
                  </a:gs>
                </a:gsLst>
                <a:lin ang="5400000" scaled="0"/>
              </a:gradFill>
              <a:latin typeface="微软雅黑" panose="020B0503020204020204" pitchFamily="34" charset="-122"/>
              <a:ea typeface="微软雅黑" panose="020B0503020204020204" pitchFamily="34" charset="-122"/>
              <a:cs typeface="Segoe UI Semibold" panose="020B0702040204020203" pitchFamily="34" charset="0"/>
            </a:endParaRPr>
          </a:p>
        </p:txBody>
      </p:sp>
      <p:sp>
        <p:nvSpPr>
          <p:cNvPr id="39" name="Rectangle 38">
            <a:extLst>
              <a:ext uri="{FF2B5EF4-FFF2-40B4-BE49-F238E27FC236}">
                <a16:creationId xmlns:a16="http://schemas.microsoft.com/office/drawing/2014/main" id="{8F753E49-0402-4AB6-A3EE-5F92B59BDBA0}"/>
              </a:ext>
            </a:extLst>
          </p:cNvPr>
          <p:cNvSpPr/>
          <p:nvPr/>
        </p:nvSpPr>
        <p:spPr>
          <a:xfrm>
            <a:off x="2347368" y="2636111"/>
            <a:ext cx="663775" cy="350330"/>
          </a:xfrm>
          <a:prstGeom prst="rect">
            <a:avLst/>
          </a:prstGeom>
        </p:spPr>
        <p:txBody>
          <a:bodyPr wrap="none" lIns="139891">
            <a:spAutoFit/>
          </a:bodyPr>
          <a:lstStyle/>
          <a:p>
            <a:pPr defTabSz="699422">
              <a:defRPr/>
            </a:pPr>
            <a:r>
              <a:rPr lang="en-US" sz="1632">
                <a:gradFill>
                  <a:gsLst>
                    <a:gs pos="2917">
                      <a:srgbClr val="5B9BD5"/>
                    </a:gs>
                    <a:gs pos="100000">
                      <a:srgbClr val="5B9BD5"/>
                    </a:gs>
                  </a:gsLst>
                  <a:lin ang="5400000" scaled="0"/>
                </a:gradFill>
                <a:latin typeface="微软雅黑" panose="020B0503020204020204" pitchFamily="34" charset="-122"/>
                <a:ea typeface="微软雅黑" panose="020B0503020204020204" pitchFamily="34" charset="-122"/>
                <a:cs typeface="Segoe UI Semibold" panose="020B0702040204020203" pitchFamily="34" charset="0"/>
              </a:rPr>
              <a:t>认知</a:t>
            </a:r>
          </a:p>
        </p:txBody>
      </p:sp>
      <p:sp>
        <p:nvSpPr>
          <p:cNvPr id="41" name="brain_3" title="Icon of a brain">
            <a:extLst>
              <a:ext uri="{FF2B5EF4-FFF2-40B4-BE49-F238E27FC236}">
                <a16:creationId xmlns:a16="http://schemas.microsoft.com/office/drawing/2014/main" id="{4BD9052B-1B6E-48BF-B644-7D5798B4C3A7}"/>
              </a:ext>
            </a:extLst>
          </p:cNvPr>
          <p:cNvSpPr>
            <a:spLocks noChangeAspect="1" noEditPoints="1"/>
          </p:cNvSpPr>
          <p:nvPr/>
        </p:nvSpPr>
        <p:spPr bwMode="auto">
          <a:xfrm>
            <a:off x="2112172" y="2634084"/>
            <a:ext cx="216841" cy="233162"/>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9945" tIns="34973" rIns="69945" bIns="34973" numCol="1" anchor="t" anchorCtr="0" compatLnSpc="1">
            <a:prstTxWarp prst="textNoShape">
              <a:avLst/>
            </a:prstTxWarp>
          </a:bodyPr>
          <a:lstStyle/>
          <a:p>
            <a:pPr defTabSz="699422">
              <a:defRPr/>
            </a:pPr>
            <a:endParaRPr lang="en-US" sz="1632">
              <a:solidFill>
                <a:srgbClr val="1A1A1A"/>
              </a:solidFill>
              <a:latin typeface="微软雅黑" panose="020B0503020204020204" pitchFamily="34" charset="-122"/>
              <a:ea typeface="微软雅黑" panose="020B0503020204020204" pitchFamily="34" charset="-122"/>
            </a:endParaRPr>
          </a:p>
        </p:txBody>
      </p:sp>
      <p:sp>
        <p:nvSpPr>
          <p:cNvPr id="53" name="Rectangle 52">
            <a:extLst>
              <a:ext uri="{FF2B5EF4-FFF2-40B4-BE49-F238E27FC236}">
                <a16:creationId xmlns:a16="http://schemas.microsoft.com/office/drawing/2014/main" id="{C9EEF777-618B-4CAE-9EDF-4E7426366A3E}"/>
              </a:ext>
            </a:extLst>
          </p:cNvPr>
          <p:cNvSpPr/>
          <p:nvPr/>
        </p:nvSpPr>
        <p:spPr>
          <a:xfrm>
            <a:off x="2347368" y="2960518"/>
            <a:ext cx="555871" cy="1501310"/>
          </a:xfrm>
          <a:prstGeom prst="rect">
            <a:avLst/>
          </a:prstGeom>
        </p:spPr>
        <p:txBody>
          <a:bodyPr wrap="none" lIns="139891">
            <a:spAutoFit/>
          </a:bodyPr>
          <a:lstStyle/>
          <a:p>
            <a:pPr defTabSz="699422">
              <a:lnSpc>
                <a:spcPct val="150000"/>
              </a:lnSpc>
              <a:defRPr/>
            </a:pPr>
            <a:r>
              <a:rPr lang="en-US" sz="1224">
                <a:gradFill>
                  <a:gsLst>
                    <a:gs pos="2917">
                      <a:srgbClr val="5B9BD5"/>
                    </a:gs>
                    <a:gs pos="100000">
                      <a:srgbClr val="5B9BD5"/>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视觉</a:t>
            </a:r>
          </a:p>
          <a:p>
            <a:pPr defTabSz="699422">
              <a:lnSpc>
                <a:spcPct val="150000"/>
              </a:lnSpc>
              <a:defRPr/>
            </a:pPr>
            <a:r>
              <a:rPr lang="en-US" sz="1224">
                <a:gradFill>
                  <a:gsLst>
                    <a:gs pos="2917">
                      <a:srgbClr val="5B9BD5"/>
                    </a:gs>
                    <a:gs pos="100000">
                      <a:srgbClr val="5B9BD5"/>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语音</a:t>
            </a:r>
          </a:p>
          <a:p>
            <a:pPr defTabSz="699422">
              <a:lnSpc>
                <a:spcPct val="150000"/>
              </a:lnSpc>
              <a:defRPr/>
            </a:pPr>
            <a:r>
              <a:rPr lang="en-US" sz="1224">
                <a:gradFill>
                  <a:gsLst>
                    <a:gs pos="2917">
                      <a:srgbClr val="5B9BD5"/>
                    </a:gs>
                    <a:gs pos="100000">
                      <a:srgbClr val="5B9BD5"/>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语言</a:t>
            </a:r>
          </a:p>
          <a:p>
            <a:pPr defTabSz="699422">
              <a:lnSpc>
                <a:spcPct val="150000"/>
              </a:lnSpc>
              <a:defRPr/>
            </a:pPr>
            <a:r>
              <a:rPr lang="en-US" sz="1224">
                <a:gradFill>
                  <a:gsLst>
                    <a:gs pos="2917">
                      <a:srgbClr val="5B9BD5"/>
                    </a:gs>
                    <a:gs pos="100000">
                      <a:srgbClr val="5B9BD5"/>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知识</a:t>
            </a:r>
          </a:p>
          <a:p>
            <a:pPr defTabSz="699422">
              <a:lnSpc>
                <a:spcPct val="150000"/>
              </a:lnSpc>
              <a:defRPr/>
            </a:pPr>
            <a:r>
              <a:rPr lang="en-US" sz="1224">
                <a:gradFill>
                  <a:gsLst>
                    <a:gs pos="2917">
                      <a:srgbClr val="5B9BD5"/>
                    </a:gs>
                    <a:gs pos="100000">
                      <a:srgbClr val="5B9BD5"/>
                    </a:gs>
                  </a:gsLst>
                  <a:lin ang="5400000" scaled="0"/>
                </a:gradFill>
                <a:latin typeface="微软雅黑" panose="020B0503020204020204" pitchFamily="34" charset="-122"/>
                <a:ea typeface="微软雅黑" panose="020B0503020204020204" pitchFamily="34" charset="-122"/>
                <a:cs typeface="Segoe UI" panose="020B0502040204020203" pitchFamily="34" charset="0"/>
              </a:rPr>
              <a:t>搜索</a:t>
            </a:r>
          </a:p>
        </p:txBody>
      </p:sp>
      <p:sp>
        <p:nvSpPr>
          <p:cNvPr id="48" name="Rectangle 47">
            <a:extLst>
              <a:ext uri="{FF2B5EF4-FFF2-40B4-BE49-F238E27FC236}">
                <a16:creationId xmlns:a16="http://schemas.microsoft.com/office/drawing/2014/main" id="{45577CAF-7D4A-4455-97FB-398B8883441E}"/>
              </a:ext>
            </a:extLst>
          </p:cNvPr>
          <p:cNvSpPr/>
          <p:nvPr/>
        </p:nvSpPr>
        <p:spPr>
          <a:xfrm>
            <a:off x="8411575" y="2636111"/>
            <a:ext cx="449602" cy="350330"/>
          </a:xfrm>
          <a:prstGeom prst="rect">
            <a:avLst/>
          </a:prstGeom>
        </p:spPr>
        <p:txBody>
          <a:bodyPr wrap="none" lIns="139891">
            <a:spAutoFit/>
          </a:bodyPr>
          <a:lstStyle/>
          <a:p>
            <a:pPr defTabSz="699422">
              <a:defRPr/>
            </a:pPr>
            <a:r>
              <a:rPr lang="en-US" sz="1632">
                <a:gradFill>
                  <a:gsLst>
                    <a:gs pos="2917">
                      <a:srgbClr val="5B9BD5"/>
                    </a:gs>
                    <a:gs pos="100000">
                      <a:srgbClr val="5B9BD5"/>
                    </a:gs>
                  </a:gsLst>
                  <a:lin ang="5400000" scaled="0"/>
                </a:gradFill>
                <a:latin typeface="微软雅黑" panose="020B0503020204020204" pitchFamily="34" charset="-122"/>
                <a:ea typeface="微软雅黑" panose="020B0503020204020204" pitchFamily="34" charset="-122"/>
                <a:cs typeface="Segoe UI Semibold" panose="020B0702040204020203" pitchFamily="34" charset="0"/>
              </a:rPr>
              <a:t>云</a:t>
            </a:r>
          </a:p>
        </p:txBody>
      </p:sp>
      <p:sp>
        <p:nvSpPr>
          <p:cNvPr id="57" name="Rectangle 56">
            <a:extLst>
              <a:ext uri="{FF2B5EF4-FFF2-40B4-BE49-F238E27FC236}">
                <a16:creationId xmlns:a16="http://schemas.microsoft.com/office/drawing/2014/main" id="{79DCBDEB-EAE2-4CC4-A653-1849FDDD6024}"/>
              </a:ext>
            </a:extLst>
          </p:cNvPr>
          <p:cNvSpPr/>
          <p:nvPr/>
        </p:nvSpPr>
        <p:spPr>
          <a:xfrm>
            <a:off x="8411573" y="3147100"/>
            <a:ext cx="1092123" cy="350330"/>
          </a:xfrm>
          <a:prstGeom prst="rect">
            <a:avLst/>
          </a:prstGeom>
        </p:spPr>
        <p:txBody>
          <a:bodyPr wrap="none" lIns="139891">
            <a:spAutoFit/>
          </a:bodyPr>
          <a:lstStyle/>
          <a:p>
            <a:pPr defTabSz="699422">
              <a:defRPr/>
            </a:pPr>
            <a:r>
              <a:rPr lang="en-US" sz="1632">
                <a:gradFill>
                  <a:gsLst>
                    <a:gs pos="2917">
                      <a:srgbClr val="5B9BD5"/>
                    </a:gs>
                    <a:gs pos="100000">
                      <a:srgbClr val="5B9BD5"/>
                    </a:gs>
                  </a:gsLst>
                  <a:lin ang="5400000" scaled="0"/>
                </a:gradFill>
                <a:latin typeface="微软雅黑" panose="020B0503020204020204" pitchFamily="34" charset="-122"/>
                <a:ea typeface="微软雅黑" panose="020B0503020204020204" pitchFamily="34" charset="-122"/>
                <a:cs typeface="Segoe UI Semibold" panose="020B0702040204020203" pitchFamily="34" charset="0"/>
              </a:rPr>
              <a:t>本地环境</a:t>
            </a:r>
          </a:p>
        </p:txBody>
      </p:sp>
      <p:sp>
        <p:nvSpPr>
          <p:cNvPr id="58" name="Rectangle 57">
            <a:extLst>
              <a:ext uri="{FF2B5EF4-FFF2-40B4-BE49-F238E27FC236}">
                <a16:creationId xmlns:a16="http://schemas.microsoft.com/office/drawing/2014/main" id="{1E57F8E6-0B26-4A60-944B-32846C73A906}"/>
              </a:ext>
            </a:extLst>
          </p:cNvPr>
          <p:cNvSpPr/>
          <p:nvPr/>
        </p:nvSpPr>
        <p:spPr>
          <a:xfrm>
            <a:off x="8411573" y="3658089"/>
            <a:ext cx="1092123" cy="350330"/>
          </a:xfrm>
          <a:prstGeom prst="rect">
            <a:avLst/>
          </a:prstGeom>
        </p:spPr>
        <p:txBody>
          <a:bodyPr wrap="none" lIns="139891">
            <a:spAutoFit/>
          </a:bodyPr>
          <a:lstStyle/>
          <a:p>
            <a:pPr defTabSz="699422">
              <a:defRPr/>
            </a:pPr>
            <a:r>
              <a:rPr lang="en-US" sz="1632">
                <a:gradFill>
                  <a:gsLst>
                    <a:gs pos="2917">
                      <a:srgbClr val="5B9BD5"/>
                    </a:gs>
                    <a:gs pos="100000">
                      <a:srgbClr val="5B9BD5"/>
                    </a:gs>
                  </a:gsLst>
                  <a:lin ang="5400000" scaled="0"/>
                </a:gradFill>
                <a:latin typeface="微软雅黑" panose="020B0503020204020204" pitchFamily="34" charset="-122"/>
                <a:ea typeface="微软雅黑" panose="020B0503020204020204" pitchFamily="34" charset="-122"/>
                <a:cs typeface="Segoe UI Semibold" panose="020B0702040204020203" pitchFamily="34" charset="0"/>
              </a:rPr>
              <a:t>移动设备</a:t>
            </a:r>
          </a:p>
        </p:txBody>
      </p:sp>
      <p:sp>
        <p:nvSpPr>
          <p:cNvPr id="59" name="Rectangle 58">
            <a:extLst>
              <a:ext uri="{FF2B5EF4-FFF2-40B4-BE49-F238E27FC236}">
                <a16:creationId xmlns:a16="http://schemas.microsoft.com/office/drawing/2014/main" id="{3C43B593-9293-49F7-908F-494754865B67}"/>
              </a:ext>
            </a:extLst>
          </p:cNvPr>
          <p:cNvSpPr/>
          <p:nvPr/>
        </p:nvSpPr>
        <p:spPr>
          <a:xfrm>
            <a:off x="8411575" y="4169078"/>
            <a:ext cx="877950" cy="350330"/>
          </a:xfrm>
          <a:prstGeom prst="rect">
            <a:avLst/>
          </a:prstGeom>
        </p:spPr>
        <p:txBody>
          <a:bodyPr wrap="none" lIns="139891">
            <a:spAutoFit/>
          </a:bodyPr>
          <a:lstStyle/>
          <a:p>
            <a:pPr defTabSz="699422">
              <a:defRPr/>
            </a:pPr>
            <a:r>
              <a:rPr lang="en-US" sz="1632">
                <a:gradFill>
                  <a:gsLst>
                    <a:gs pos="2917">
                      <a:srgbClr val="5B9BD5"/>
                    </a:gs>
                    <a:gs pos="100000">
                      <a:srgbClr val="5B9BD5"/>
                    </a:gs>
                  </a:gsLst>
                  <a:lin ang="5400000" scaled="0"/>
                </a:gradFill>
                <a:latin typeface="微软雅黑" panose="020B0503020204020204" pitchFamily="34" charset="-122"/>
                <a:ea typeface="微软雅黑" panose="020B0503020204020204" pitchFamily="34" charset="-122"/>
                <a:cs typeface="Segoe UI Semibold" panose="020B0702040204020203" pitchFamily="34" charset="0"/>
              </a:rPr>
              <a:t>物联网</a:t>
            </a:r>
          </a:p>
        </p:txBody>
      </p:sp>
      <p:sp>
        <p:nvSpPr>
          <p:cNvPr id="60" name="Freeform: Shape 59">
            <a:extLst>
              <a:ext uri="{FF2B5EF4-FFF2-40B4-BE49-F238E27FC236}">
                <a16:creationId xmlns:a16="http://schemas.microsoft.com/office/drawing/2014/main" id="{6170FB6A-CB5C-418A-BEC2-2A386555004A}"/>
              </a:ext>
            </a:extLst>
          </p:cNvPr>
          <p:cNvSpPr/>
          <p:nvPr/>
        </p:nvSpPr>
        <p:spPr bwMode="auto">
          <a:xfrm flipV="1">
            <a:off x="8112880" y="2665446"/>
            <a:ext cx="309184" cy="17043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9945" tIns="34973" rIns="69945" bIns="34973" numCol="1" anchor="t" anchorCtr="0" compatLnSpc="1">
            <a:prstTxWarp prst="textNoShape">
              <a:avLst/>
            </a:prstTxWarp>
          </a:bodyPr>
          <a:lstStyle/>
          <a:p>
            <a:pPr defTabSz="699422">
              <a:defRPr/>
            </a:pPr>
            <a:endParaRPr lang="en-US" sz="1632">
              <a:gradFill>
                <a:gsLst>
                  <a:gs pos="0">
                    <a:srgbClr val="505050"/>
                  </a:gs>
                  <a:gs pos="100000">
                    <a:srgbClr val="505050"/>
                  </a:gs>
                </a:gsLst>
              </a:gradFill>
              <a:latin typeface="微软雅黑" panose="020B0503020204020204" pitchFamily="34" charset="-122"/>
              <a:ea typeface="微软雅黑" panose="020B0503020204020204" pitchFamily="34" charset="-122"/>
            </a:endParaRPr>
          </a:p>
        </p:txBody>
      </p:sp>
      <p:sp>
        <p:nvSpPr>
          <p:cNvPr id="61" name="IoT">
            <a:extLst>
              <a:ext uri="{FF2B5EF4-FFF2-40B4-BE49-F238E27FC236}">
                <a16:creationId xmlns:a16="http://schemas.microsoft.com/office/drawing/2014/main" id="{6F236E1C-6CC3-4589-8D0B-DA6CCAF2E585}"/>
              </a:ext>
            </a:extLst>
          </p:cNvPr>
          <p:cNvSpPr>
            <a:spLocks noChangeAspect="1" noEditPoints="1"/>
          </p:cNvSpPr>
          <p:nvPr/>
        </p:nvSpPr>
        <p:spPr bwMode="auto">
          <a:xfrm>
            <a:off x="8115532" y="4150561"/>
            <a:ext cx="279781" cy="280230"/>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9945" tIns="34973" rIns="69945" bIns="34973" numCol="1" anchor="t" anchorCtr="0" compatLnSpc="1">
            <a:prstTxWarp prst="textNoShape">
              <a:avLst/>
            </a:prstTxWarp>
          </a:bodyPr>
          <a:lstStyle/>
          <a:p>
            <a:pPr defTabSz="699422">
              <a:defRPr/>
            </a:pPr>
            <a:endParaRPr lang="en-US" sz="1632">
              <a:gradFill>
                <a:gsLst>
                  <a:gs pos="0">
                    <a:srgbClr val="505050"/>
                  </a:gs>
                  <a:gs pos="100000">
                    <a:srgbClr val="505050"/>
                  </a:gs>
                </a:gsLst>
              </a:gradFill>
              <a:latin typeface="微软雅黑" panose="020B0503020204020204" pitchFamily="34" charset="-122"/>
              <a:ea typeface="微软雅黑" panose="020B0503020204020204" pitchFamily="34" charset="-122"/>
            </a:endParaRPr>
          </a:p>
        </p:txBody>
      </p:sp>
      <p:sp>
        <p:nvSpPr>
          <p:cNvPr id="62" name="UniversalApp_E8CC">
            <a:extLst>
              <a:ext uri="{FF2B5EF4-FFF2-40B4-BE49-F238E27FC236}">
                <a16:creationId xmlns:a16="http://schemas.microsoft.com/office/drawing/2014/main" id="{940B36BF-455A-4E84-BD61-8D728F07DA47}"/>
              </a:ext>
            </a:extLst>
          </p:cNvPr>
          <p:cNvSpPr>
            <a:spLocks noChangeAspect="1" noEditPoints="1"/>
          </p:cNvSpPr>
          <p:nvPr/>
        </p:nvSpPr>
        <p:spPr bwMode="auto">
          <a:xfrm>
            <a:off x="8112879" y="3688210"/>
            <a:ext cx="279781" cy="205308"/>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9945" tIns="34973" rIns="69945" bIns="34973" numCol="1" anchor="t" anchorCtr="0" compatLnSpc="1">
            <a:prstTxWarp prst="textNoShape">
              <a:avLst/>
            </a:prstTxWarp>
          </a:bodyPr>
          <a:lstStyle/>
          <a:p>
            <a:pPr defTabSz="699422">
              <a:defRPr/>
            </a:pPr>
            <a:endParaRPr lang="en-US" sz="1632">
              <a:gradFill>
                <a:gsLst>
                  <a:gs pos="0">
                    <a:srgbClr val="505050"/>
                  </a:gs>
                  <a:gs pos="100000">
                    <a:srgbClr val="505050"/>
                  </a:gs>
                </a:gsLst>
              </a:gradFill>
              <a:latin typeface="微软雅黑" panose="020B0503020204020204" pitchFamily="34" charset="-122"/>
              <a:ea typeface="微软雅黑" panose="020B0503020204020204" pitchFamily="34" charset="-122"/>
            </a:endParaRPr>
          </a:p>
        </p:txBody>
      </p:sp>
      <p:cxnSp>
        <p:nvCxnSpPr>
          <p:cNvPr id="63" name="Straight Arrow Connector 62">
            <a:extLst>
              <a:ext uri="{FF2B5EF4-FFF2-40B4-BE49-F238E27FC236}">
                <a16:creationId xmlns:a16="http://schemas.microsoft.com/office/drawing/2014/main" id="{826F148C-6763-4273-A11C-177E7D1091E6}"/>
              </a:ext>
            </a:extLst>
          </p:cNvPr>
          <p:cNvCxnSpPr>
            <a:cxnSpLocks/>
          </p:cNvCxnSpPr>
          <p:nvPr/>
        </p:nvCxnSpPr>
        <p:spPr>
          <a:xfrm>
            <a:off x="3536337" y="2301460"/>
            <a:ext cx="1293987" cy="0"/>
          </a:xfrm>
          <a:prstGeom prst="straightConnector1">
            <a:avLst/>
          </a:prstGeom>
          <a:ln w="19050">
            <a:solidFill>
              <a:schemeClr val="accent2"/>
            </a:solidFill>
            <a:tailEnd type="arrow" w="med" len="sm"/>
          </a:ln>
        </p:spPr>
        <p:style>
          <a:lnRef idx="1">
            <a:schemeClr val="accent1"/>
          </a:lnRef>
          <a:fillRef idx="0">
            <a:schemeClr val="accent1"/>
          </a:fillRef>
          <a:effectRef idx="0">
            <a:schemeClr val="accent1"/>
          </a:effectRef>
          <a:fontRef idx="minor">
            <a:schemeClr val="tx1"/>
          </a:fontRef>
        </p:style>
      </p:cxnSp>
      <p:sp>
        <p:nvSpPr>
          <p:cNvPr id="65" name="building_5">
            <a:extLst>
              <a:ext uri="{FF2B5EF4-FFF2-40B4-BE49-F238E27FC236}">
                <a16:creationId xmlns:a16="http://schemas.microsoft.com/office/drawing/2014/main" id="{4974A8B0-BA8A-43E3-9698-E55CFEE333FC}"/>
              </a:ext>
            </a:extLst>
          </p:cNvPr>
          <p:cNvSpPr>
            <a:spLocks noChangeAspect="1" noEditPoints="1"/>
          </p:cNvSpPr>
          <p:nvPr/>
        </p:nvSpPr>
        <p:spPr bwMode="auto">
          <a:xfrm>
            <a:off x="8123967" y="3088076"/>
            <a:ext cx="257607" cy="279781"/>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9945" tIns="34973" rIns="69945" bIns="34973" numCol="1" anchor="t" anchorCtr="0" compatLnSpc="1">
            <a:prstTxWarp prst="textNoShape">
              <a:avLst/>
            </a:prstTxWarp>
          </a:bodyPr>
          <a:lstStyle/>
          <a:p>
            <a:pPr defTabSz="699422">
              <a:defRPr/>
            </a:pPr>
            <a:endParaRPr lang="en-US" sz="1632">
              <a:solidFill>
                <a:srgbClr val="1A1A1A"/>
              </a:solidFill>
              <a:latin typeface="微软雅黑" panose="020B0503020204020204" pitchFamily="34" charset="-122"/>
              <a:ea typeface="微软雅黑" panose="020B0503020204020204" pitchFamily="34" charset="-122"/>
            </a:endParaRPr>
          </a:p>
        </p:txBody>
      </p:sp>
      <p:cxnSp>
        <p:nvCxnSpPr>
          <p:cNvPr id="66" name="Straight Arrow Connector 65">
            <a:extLst>
              <a:ext uri="{FF2B5EF4-FFF2-40B4-BE49-F238E27FC236}">
                <a16:creationId xmlns:a16="http://schemas.microsoft.com/office/drawing/2014/main" id="{0B532BD3-F073-4ED8-8A38-E684752DE4E0}"/>
              </a:ext>
            </a:extLst>
          </p:cNvPr>
          <p:cNvCxnSpPr>
            <a:cxnSpLocks/>
          </p:cNvCxnSpPr>
          <p:nvPr/>
        </p:nvCxnSpPr>
        <p:spPr>
          <a:xfrm>
            <a:off x="6415586" y="2301460"/>
            <a:ext cx="1398905" cy="0"/>
          </a:xfrm>
          <a:prstGeom prst="straightConnector1">
            <a:avLst/>
          </a:prstGeom>
          <a:ln w="19050">
            <a:solidFill>
              <a:schemeClr val="accent2"/>
            </a:solidFill>
            <a:tailEnd type="arrow"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0452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350"/>
                                        <p:tgtEl>
                                          <p:spTgt spid="4"/>
                                        </p:tgtEl>
                                      </p:cBhvr>
                                    </p:animEffect>
                                  </p:childTnLst>
                                </p:cTn>
                              </p:par>
                              <p:par>
                                <p:cTn id="8" presetID="35" presetClass="path" presetSubtype="0" decel="100000" fill="hold" grpId="1" nodeType="withEffect">
                                  <p:stCondLst>
                                    <p:cond delay="0"/>
                                  </p:stCondLst>
                                  <p:childTnLst>
                                    <p:animMotion origin="layout" path="M -3.75E-6 1.11111E-6 L -0.04856 1.11111E-6 " pathEditMode="relative" rAng="0" ptsTypes="AA">
                                      <p:cBhvr>
                                        <p:cTn id="9" dur="500" spd="-100000" fill="hold"/>
                                        <p:tgtEl>
                                          <p:spTgt spid="4"/>
                                        </p:tgtEl>
                                        <p:attrNameLst>
                                          <p:attrName>ppt_x</p:attrName>
                                          <p:attrName>ppt_y</p:attrName>
                                        </p:attrNameLst>
                                      </p:cBhvr>
                                      <p:rCtr x="-2435" y="0"/>
                                    </p:animMotion>
                                  </p:childTnLst>
                                </p:cTn>
                              </p:par>
                              <p:par>
                                <p:cTn id="10" presetID="10" presetClass="entr" presetSubtype="0" fill="hold" nodeType="withEffect">
                                  <p:stCondLst>
                                    <p:cond delay="100"/>
                                  </p:stCondLst>
                                  <p:childTnLst>
                                    <p:set>
                                      <p:cBhvr>
                                        <p:cTn id="11" dur="1" fill="hold">
                                          <p:stCondLst>
                                            <p:cond delay="0"/>
                                          </p:stCondLst>
                                        </p:cTn>
                                        <p:tgtEl>
                                          <p:spTgt spid="63"/>
                                        </p:tgtEl>
                                        <p:attrNameLst>
                                          <p:attrName>style.visibility</p:attrName>
                                        </p:attrNameLst>
                                      </p:cBhvr>
                                      <p:to>
                                        <p:strVal val="visible"/>
                                      </p:to>
                                    </p:set>
                                    <p:animEffect transition="in" filter="fade">
                                      <p:cBhvr>
                                        <p:cTn id="12" dur="350"/>
                                        <p:tgtEl>
                                          <p:spTgt spid="63"/>
                                        </p:tgtEl>
                                      </p:cBhvr>
                                    </p:animEffect>
                                  </p:childTnLst>
                                </p:cTn>
                              </p:par>
                              <p:par>
                                <p:cTn id="13" presetID="35" presetClass="path" presetSubtype="0" decel="100000" fill="hold" nodeType="withEffect">
                                  <p:stCondLst>
                                    <p:cond delay="100"/>
                                  </p:stCondLst>
                                  <p:childTnLst>
                                    <p:animMotion origin="layout" path="M 4.58333E-6 -3.7037E-6 L -0.04857 -3.7037E-6 " pathEditMode="relative" rAng="0" ptsTypes="AA">
                                      <p:cBhvr>
                                        <p:cTn id="14" dur="500" spd="-100000" fill="hold"/>
                                        <p:tgtEl>
                                          <p:spTgt spid="63"/>
                                        </p:tgtEl>
                                        <p:attrNameLst>
                                          <p:attrName>ppt_x</p:attrName>
                                          <p:attrName>ppt_y</p:attrName>
                                        </p:attrNameLst>
                                      </p:cBhvr>
                                      <p:rCtr x="-2435" y="0"/>
                                    </p:animMotion>
                                  </p:childTnLst>
                                </p:cTn>
                              </p:par>
                              <p:par>
                                <p:cTn id="15" presetID="10" presetClass="entr" presetSubtype="0" fill="hold" grpId="0" nodeType="withEffect">
                                  <p:stCondLst>
                                    <p:cond delay="10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350"/>
                                        <p:tgtEl>
                                          <p:spTgt spid="31"/>
                                        </p:tgtEl>
                                      </p:cBhvr>
                                    </p:animEffect>
                                  </p:childTnLst>
                                </p:cTn>
                              </p:par>
                              <p:par>
                                <p:cTn id="18" presetID="35" presetClass="path" presetSubtype="0" decel="100000" fill="hold" grpId="1" nodeType="withEffect">
                                  <p:stCondLst>
                                    <p:cond delay="100"/>
                                  </p:stCondLst>
                                  <p:childTnLst>
                                    <p:animMotion origin="layout" path="M -1.45833E-6 1.48148E-6 L -0.04857 1.48148E-6 " pathEditMode="relative" rAng="0" ptsTypes="AA">
                                      <p:cBhvr>
                                        <p:cTn id="19" dur="500" spd="-100000" fill="hold"/>
                                        <p:tgtEl>
                                          <p:spTgt spid="31"/>
                                        </p:tgtEl>
                                        <p:attrNameLst>
                                          <p:attrName>ppt_x</p:attrName>
                                          <p:attrName>ppt_y</p:attrName>
                                        </p:attrNameLst>
                                      </p:cBhvr>
                                      <p:rCtr x="-2435" y="0"/>
                                    </p:animMotion>
                                  </p:childTnLst>
                                </p:cTn>
                              </p:par>
                              <p:par>
                                <p:cTn id="20" presetID="10" presetClass="entr" presetSubtype="0" fill="hold" nodeType="withEffect">
                                  <p:stCondLst>
                                    <p:cond delay="200"/>
                                  </p:stCondLst>
                                  <p:childTnLst>
                                    <p:set>
                                      <p:cBhvr>
                                        <p:cTn id="21" dur="1" fill="hold">
                                          <p:stCondLst>
                                            <p:cond delay="0"/>
                                          </p:stCondLst>
                                        </p:cTn>
                                        <p:tgtEl>
                                          <p:spTgt spid="66"/>
                                        </p:tgtEl>
                                        <p:attrNameLst>
                                          <p:attrName>style.visibility</p:attrName>
                                        </p:attrNameLst>
                                      </p:cBhvr>
                                      <p:to>
                                        <p:strVal val="visible"/>
                                      </p:to>
                                    </p:set>
                                    <p:animEffect transition="in" filter="fade">
                                      <p:cBhvr>
                                        <p:cTn id="22" dur="350"/>
                                        <p:tgtEl>
                                          <p:spTgt spid="66"/>
                                        </p:tgtEl>
                                      </p:cBhvr>
                                    </p:animEffect>
                                  </p:childTnLst>
                                </p:cTn>
                              </p:par>
                              <p:par>
                                <p:cTn id="23" presetID="35" presetClass="path" presetSubtype="0" decel="100000" fill="hold" nodeType="withEffect">
                                  <p:stCondLst>
                                    <p:cond delay="200"/>
                                  </p:stCondLst>
                                  <p:childTnLst>
                                    <p:animMotion origin="layout" path="M -2.08333E-6 -4.81481E-6 L -0.04857 -4.81481E-6 " pathEditMode="relative" rAng="0" ptsTypes="AA">
                                      <p:cBhvr>
                                        <p:cTn id="24" dur="500" spd="-100000" fill="hold"/>
                                        <p:tgtEl>
                                          <p:spTgt spid="66"/>
                                        </p:tgtEl>
                                        <p:attrNameLst>
                                          <p:attrName>ppt_x</p:attrName>
                                          <p:attrName>ppt_y</p:attrName>
                                        </p:attrNameLst>
                                      </p:cBhvr>
                                      <p:rCtr x="-2435" y="0"/>
                                    </p:animMotion>
                                  </p:childTnLst>
                                </p:cTn>
                              </p:par>
                              <p:par>
                                <p:cTn id="25" presetID="10" presetClass="entr" presetSubtype="0" fill="hold" grpId="0" nodeType="withEffect">
                                  <p:stCondLst>
                                    <p:cond delay="200"/>
                                  </p:stCondLst>
                                  <p:childTnLst>
                                    <p:set>
                                      <p:cBhvr>
                                        <p:cTn id="26" dur="1" fill="hold">
                                          <p:stCondLst>
                                            <p:cond delay="0"/>
                                          </p:stCondLst>
                                        </p:cTn>
                                        <p:tgtEl>
                                          <p:spTgt spid="32"/>
                                        </p:tgtEl>
                                        <p:attrNameLst>
                                          <p:attrName>style.visibility</p:attrName>
                                        </p:attrNameLst>
                                      </p:cBhvr>
                                      <p:to>
                                        <p:strVal val="visible"/>
                                      </p:to>
                                    </p:set>
                                    <p:animEffect transition="in" filter="fade">
                                      <p:cBhvr>
                                        <p:cTn id="27" dur="350"/>
                                        <p:tgtEl>
                                          <p:spTgt spid="32"/>
                                        </p:tgtEl>
                                      </p:cBhvr>
                                    </p:animEffect>
                                  </p:childTnLst>
                                </p:cTn>
                              </p:par>
                              <p:par>
                                <p:cTn id="28" presetID="35" presetClass="path" presetSubtype="0" decel="100000" fill="hold" grpId="1" nodeType="withEffect">
                                  <p:stCondLst>
                                    <p:cond delay="200"/>
                                  </p:stCondLst>
                                  <p:childTnLst>
                                    <p:animMotion origin="layout" path="M -1.45833E-6 1.48148E-6 L -0.04857 1.48148E-6 " pathEditMode="relative" rAng="0" ptsTypes="AA">
                                      <p:cBhvr>
                                        <p:cTn id="29" dur="500" spd="-100000" fill="hold"/>
                                        <p:tgtEl>
                                          <p:spTgt spid="32"/>
                                        </p:tgtEl>
                                        <p:attrNameLst>
                                          <p:attrName>ppt_x</p:attrName>
                                          <p:attrName>ppt_y</p:attrName>
                                        </p:attrNameLst>
                                      </p:cBhvr>
                                      <p:rCtr x="-2435" y="0"/>
                                    </p:animMotion>
                                  </p:childTnLst>
                                </p:cTn>
                              </p:par>
                              <p:par>
                                <p:cTn id="30" presetID="10" presetClass="entr" presetSubtype="0" fill="hold" grpId="0"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par>
                                <p:cTn id="33" presetID="42" presetClass="path" presetSubtype="0" decel="100000" fill="hold" grpId="1" nodeType="withEffect">
                                  <p:stCondLst>
                                    <p:cond delay="0"/>
                                  </p:stCondLst>
                                  <p:childTnLst>
                                    <p:animMotion origin="layout" path="M 0 0 L 0 0.02569 " pathEditMode="relative" rAng="0" ptsTypes="AA">
                                      <p:cBhvr>
                                        <p:cTn id="34" dur="500" spd="-100000" fill="hold"/>
                                        <p:tgtEl>
                                          <p:spTgt spid="17"/>
                                        </p:tgtEl>
                                        <p:attrNameLst>
                                          <p:attrName>ppt_x</p:attrName>
                                          <p:attrName>ppt_y</p:attrName>
                                        </p:attrNameLst>
                                      </p:cBhvr>
                                      <p:rCtr x="0" y="1273"/>
                                    </p:animMotion>
                                  </p:childTnLst>
                                </p:cTn>
                              </p:par>
                              <p:par>
                                <p:cTn id="35" presetID="10" presetClass="entr" presetSubtype="0" fill="hold" grpId="0" nodeType="withEffect">
                                  <p:stCondLst>
                                    <p:cond delay="0"/>
                                  </p:stCondLst>
                                  <p:childTnLst>
                                    <p:set>
                                      <p:cBhvr>
                                        <p:cTn id="36" dur="1" fill="hold">
                                          <p:stCondLst>
                                            <p:cond delay="0"/>
                                          </p:stCondLst>
                                        </p:cTn>
                                        <p:tgtEl>
                                          <p:spTgt spid="41"/>
                                        </p:tgtEl>
                                        <p:attrNameLst>
                                          <p:attrName>style.visibility</p:attrName>
                                        </p:attrNameLst>
                                      </p:cBhvr>
                                      <p:to>
                                        <p:strVal val="visible"/>
                                      </p:to>
                                    </p:set>
                                    <p:animEffect transition="in" filter="fade">
                                      <p:cBhvr>
                                        <p:cTn id="37" dur="500"/>
                                        <p:tgtEl>
                                          <p:spTgt spid="41"/>
                                        </p:tgtEl>
                                      </p:cBhvr>
                                    </p:animEffect>
                                  </p:childTnLst>
                                </p:cTn>
                              </p:par>
                              <p:par>
                                <p:cTn id="38" presetID="64" presetClass="path" presetSubtype="0" decel="100000" fill="hold" grpId="1" nodeType="withEffect">
                                  <p:stCondLst>
                                    <p:cond delay="0"/>
                                  </p:stCondLst>
                                  <p:childTnLst>
                                    <p:animMotion origin="layout" path="M -3.33333E-6 4.44444E-6 L -3.33333E-6 -0.02477 " pathEditMode="relative" rAng="0" ptsTypes="AA">
                                      <p:cBhvr>
                                        <p:cTn id="39" dur="500" spd="-100000" fill="hold"/>
                                        <p:tgtEl>
                                          <p:spTgt spid="41"/>
                                        </p:tgtEl>
                                        <p:attrNameLst>
                                          <p:attrName>ppt_x</p:attrName>
                                          <p:attrName>ppt_y</p:attrName>
                                        </p:attrNameLst>
                                      </p:cBhvr>
                                      <p:rCtr x="0" y="-1250"/>
                                    </p:animMotion>
                                  </p:childTnLst>
                                </p:cTn>
                              </p:par>
                              <p:par>
                                <p:cTn id="40" presetID="10" presetClass="entr" presetSubtype="0" fill="hold" grpId="0" nodeType="withEffect">
                                  <p:stCondLst>
                                    <p:cond delay="0"/>
                                  </p:stCondLst>
                                  <p:childTnLst>
                                    <p:set>
                                      <p:cBhvr>
                                        <p:cTn id="41" dur="1" fill="hold">
                                          <p:stCondLst>
                                            <p:cond delay="0"/>
                                          </p:stCondLst>
                                        </p:cTn>
                                        <p:tgtEl>
                                          <p:spTgt spid="39"/>
                                        </p:tgtEl>
                                        <p:attrNameLst>
                                          <p:attrName>style.visibility</p:attrName>
                                        </p:attrNameLst>
                                      </p:cBhvr>
                                      <p:to>
                                        <p:strVal val="visible"/>
                                      </p:to>
                                    </p:set>
                                    <p:animEffect transition="in" filter="fade">
                                      <p:cBhvr>
                                        <p:cTn id="42" dur="500"/>
                                        <p:tgtEl>
                                          <p:spTgt spid="39"/>
                                        </p:tgtEl>
                                      </p:cBhvr>
                                    </p:animEffect>
                                  </p:childTnLst>
                                </p:cTn>
                              </p:par>
                              <p:par>
                                <p:cTn id="43" presetID="64" presetClass="path" presetSubtype="0" decel="100000" fill="hold" grpId="1" nodeType="withEffect">
                                  <p:stCondLst>
                                    <p:cond delay="0"/>
                                  </p:stCondLst>
                                  <p:childTnLst>
                                    <p:animMotion origin="layout" path="M -3.33333E-6 4.44444E-6 L -3.33333E-6 -0.02477 " pathEditMode="relative" rAng="0" ptsTypes="AA">
                                      <p:cBhvr>
                                        <p:cTn id="44" dur="500" spd="-100000" fill="hold"/>
                                        <p:tgtEl>
                                          <p:spTgt spid="39"/>
                                        </p:tgtEl>
                                        <p:attrNameLst>
                                          <p:attrName>ppt_x</p:attrName>
                                          <p:attrName>ppt_y</p:attrName>
                                        </p:attrNameLst>
                                      </p:cBhvr>
                                      <p:rCtr x="0" y="-1250"/>
                                    </p:animMotion>
                                  </p:childTnLst>
                                </p:cTn>
                              </p:par>
                              <p:par>
                                <p:cTn id="45" presetID="10" presetClass="entr" presetSubtype="0" fill="hold" grpId="0" nodeType="withEffect">
                                  <p:stCondLst>
                                    <p:cond delay="0"/>
                                  </p:stCondLst>
                                  <p:childTnLst>
                                    <p:set>
                                      <p:cBhvr>
                                        <p:cTn id="46" dur="1" fill="hold">
                                          <p:stCondLst>
                                            <p:cond delay="0"/>
                                          </p:stCondLst>
                                        </p:cTn>
                                        <p:tgtEl>
                                          <p:spTgt spid="53"/>
                                        </p:tgtEl>
                                        <p:attrNameLst>
                                          <p:attrName>style.visibility</p:attrName>
                                        </p:attrNameLst>
                                      </p:cBhvr>
                                      <p:to>
                                        <p:strVal val="visible"/>
                                      </p:to>
                                    </p:set>
                                    <p:animEffect transition="in" filter="fade">
                                      <p:cBhvr>
                                        <p:cTn id="47" dur="500"/>
                                        <p:tgtEl>
                                          <p:spTgt spid="53"/>
                                        </p:tgtEl>
                                      </p:cBhvr>
                                    </p:animEffect>
                                  </p:childTnLst>
                                </p:cTn>
                              </p:par>
                              <p:par>
                                <p:cTn id="48" presetID="64" presetClass="path" presetSubtype="0" decel="100000" fill="hold" grpId="1" nodeType="withEffect">
                                  <p:stCondLst>
                                    <p:cond delay="0"/>
                                  </p:stCondLst>
                                  <p:childTnLst>
                                    <p:animMotion origin="layout" path="M -3.33333E-6 4.44444E-6 L -3.33333E-6 -0.02477 " pathEditMode="relative" rAng="0" ptsTypes="AA">
                                      <p:cBhvr>
                                        <p:cTn id="49" dur="500" spd="-100000" fill="hold"/>
                                        <p:tgtEl>
                                          <p:spTgt spid="53"/>
                                        </p:tgtEl>
                                        <p:attrNameLst>
                                          <p:attrName>ppt_x</p:attrName>
                                          <p:attrName>ppt_y</p:attrName>
                                        </p:attrNameLst>
                                      </p:cBhvr>
                                      <p:rCtr x="0" y="-1250"/>
                                    </p:animMotion>
                                  </p:childTnLst>
                                </p:cTn>
                              </p:par>
                              <p:par>
                                <p:cTn id="50" presetID="10" presetClass="entr" presetSubtype="0" fill="hold" grpId="0" nodeType="withEffect">
                                  <p:stCondLst>
                                    <p:cond delay="100"/>
                                  </p:stCondLst>
                                  <p:childTnLst>
                                    <p:set>
                                      <p:cBhvr>
                                        <p:cTn id="51" dur="1" fill="hold">
                                          <p:stCondLst>
                                            <p:cond delay="0"/>
                                          </p:stCondLst>
                                        </p:cTn>
                                        <p:tgtEl>
                                          <p:spTgt spid="49"/>
                                        </p:tgtEl>
                                        <p:attrNameLst>
                                          <p:attrName>style.visibility</p:attrName>
                                        </p:attrNameLst>
                                      </p:cBhvr>
                                      <p:to>
                                        <p:strVal val="visible"/>
                                      </p:to>
                                    </p:set>
                                    <p:animEffect transition="in" filter="fade">
                                      <p:cBhvr>
                                        <p:cTn id="52" dur="500"/>
                                        <p:tgtEl>
                                          <p:spTgt spid="49"/>
                                        </p:tgtEl>
                                      </p:cBhvr>
                                    </p:animEffect>
                                  </p:childTnLst>
                                </p:cTn>
                              </p:par>
                              <p:par>
                                <p:cTn id="53" presetID="64" presetClass="path" presetSubtype="0" decel="100000" fill="hold" grpId="1" nodeType="withEffect">
                                  <p:stCondLst>
                                    <p:cond delay="100"/>
                                  </p:stCondLst>
                                  <p:childTnLst>
                                    <p:animMotion origin="layout" path="M 2.70833E-6 -1.48148E-6 L 2.70833E-6 -0.02477 " pathEditMode="relative" rAng="0" ptsTypes="AA">
                                      <p:cBhvr>
                                        <p:cTn id="54" dur="500" spd="-100000" fill="hold"/>
                                        <p:tgtEl>
                                          <p:spTgt spid="49"/>
                                        </p:tgtEl>
                                        <p:attrNameLst>
                                          <p:attrName>ppt_x</p:attrName>
                                          <p:attrName>ppt_y</p:attrName>
                                        </p:attrNameLst>
                                      </p:cBhvr>
                                      <p:rCtr x="0" y="-1250"/>
                                    </p:animMotion>
                                  </p:childTnLst>
                                </p:cTn>
                              </p:par>
                              <p:par>
                                <p:cTn id="55" presetID="10" presetClass="entr" presetSubtype="0" fill="hold" grpId="0" nodeType="withEffect">
                                  <p:stCondLst>
                                    <p:cond delay="100"/>
                                  </p:stCondLst>
                                  <p:childTnLst>
                                    <p:set>
                                      <p:cBhvr>
                                        <p:cTn id="56" dur="1" fill="hold">
                                          <p:stCondLst>
                                            <p:cond delay="0"/>
                                          </p:stCondLst>
                                        </p:cTn>
                                        <p:tgtEl>
                                          <p:spTgt spid="47"/>
                                        </p:tgtEl>
                                        <p:attrNameLst>
                                          <p:attrName>style.visibility</p:attrName>
                                        </p:attrNameLst>
                                      </p:cBhvr>
                                      <p:to>
                                        <p:strVal val="visible"/>
                                      </p:to>
                                    </p:set>
                                    <p:animEffect transition="in" filter="fade">
                                      <p:cBhvr>
                                        <p:cTn id="57" dur="500"/>
                                        <p:tgtEl>
                                          <p:spTgt spid="47"/>
                                        </p:tgtEl>
                                      </p:cBhvr>
                                    </p:animEffect>
                                  </p:childTnLst>
                                </p:cTn>
                              </p:par>
                              <p:par>
                                <p:cTn id="58" presetID="64" presetClass="path" presetSubtype="0" decel="100000" fill="hold" grpId="1" nodeType="withEffect">
                                  <p:stCondLst>
                                    <p:cond delay="100"/>
                                  </p:stCondLst>
                                  <p:childTnLst>
                                    <p:animMotion origin="layout" path="M 4.375E-6 7.40741E-7 L 4.375E-6 -0.02477 " pathEditMode="relative" rAng="0" ptsTypes="AA">
                                      <p:cBhvr>
                                        <p:cTn id="59" dur="500" spd="-100000" fill="hold"/>
                                        <p:tgtEl>
                                          <p:spTgt spid="47"/>
                                        </p:tgtEl>
                                        <p:attrNameLst>
                                          <p:attrName>ppt_x</p:attrName>
                                          <p:attrName>ppt_y</p:attrName>
                                        </p:attrNameLst>
                                      </p:cBhvr>
                                      <p:rCtr x="0" y="-1250"/>
                                    </p:animMotion>
                                  </p:childTnLst>
                                </p:cTn>
                              </p:par>
                              <p:par>
                                <p:cTn id="60" presetID="10" presetClass="entr" presetSubtype="0" fill="hold" grpId="0" nodeType="withEffect">
                                  <p:stCondLst>
                                    <p:cond delay="100"/>
                                  </p:stCondLst>
                                  <p:childTnLst>
                                    <p:set>
                                      <p:cBhvr>
                                        <p:cTn id="61" dur="1" fill="hold">
                                          <p:stCondLst>
                                            <p:cond delay="0"/>
                                          </p:stCondLst>
                                        </p:cTn>
                                        <p:tgtEl>
                                          <p:spTgt spid="22"/>
                                        </p:tgtEl>
                                        <p:attrNameLst>
                                          <p:attrName>style.visibility</p:attrName>
                                        </p:attrNameLst>
                                      </p:cBhvr>
                                      <p:to>
                                        <p:strVal val="visible"/>
                                      </p:to>
                                    </p:set>
                                    <p:animEffect transition="in" filter="fade">
                                      <p:cBhvr>
                                        <p:cTn id="62" dur="500"/>
                                        <p:tgtEl>
                                          <p:spTgt spid="22"/>
                                        </p:tgtEl>
                                      </p:cBhvr>
                                    </p:animEffect>
                                  </p:childTnLst>
                                </p:cTn>
                              </p:par>
                              <p:par>
                                <p:cTn id="63" presetID="64" presetClass="path" presetSubtype="0" decel="100000" fill="hold" grpId="1" nodeType="withEffect">
                                  <p:stCondLst>
                                    <p:cond delay="100"/>
                                  </p:stCondLst>
                                  <p:childTnLst>
                                    <p:animMotion origin="layout" path="M 4.58333E-6 3.33333E-6 L 4.58333E-6 -0.02477 " pathEditMode="relative" rAng="0" ptsTypes="AA">
                                      <p:cBhvr>
                                        <p:cTn id="64" dur="500" spd="-100000" fill="hold"/>
                                        <p:tgtEl>
                                          <p:spTgt spid="22"/>
                                        </p:tgtEl>
                                        <p:attrNameLst>
                                          <p:attrName>ppt_x</p:attrName>
                                          <p:attrName>ppt_y</p:attrName>
                                        </p:attrNameLst>
                                      </p:cBhvr>
                                      <p:rCtr x="0" y="-1250"/>
                                    </p:animMotion>
                                  </p:childTnLst>
                                </p:cTn>
                              </p:par>
                              <p:par>
                                <p:cTn id="65" presetID="10" presetClass="entr" presetSubtype="0" fill="hold" grpId="0" nodeType="withEffect">
                                  <p:stCondLst>
                                    <p:cond delay="200"/>
                                  </p:stCondLst>
                                  <p:childTnLst>
                                    <p:set>
                                      <p:cBhvr>
                                        <p:cTn id="66" dur="1" fill="hold">
                                          <p:stCondLst>
                                            <p:cond delay="0"/>
                                          </p:stCondLst>
                                        </p:cTn>
                                        <p:tgtEl>
                                          <p:spTgt spid="60"/>
                                        </p:tgtEl>
                                        <p:attrNameLst>
                                          <p:attrName>style.visibility</p:attrName>
                                        </p:attrNameLst>
                                      </p:cBhvr>
                                      <p:to>
                                        <p:strVal val="visible"/>
                                      </p:to>
                                    </p:set>
                                    <p:animEffect transition="in" filter="fade">
                                      <p:cBhvr>
                                        <p:cTn id="67" dur="500"/>
                                        <p:tgtEl>
                                          <p:spTgt spid="60"/>
                                        </p:tgtEl>
                                      </p:cBhvr>
                                    </p:animEffect>
                                  </p:childTnLst>
                                </p:cTn>
                              </p:par>
                              <p:par>
                                <p:cTn id="68" presetID="64" presetClass="path" presetSubtype="0" decel="100000" fill="hold" grpId="1" nodeType="withEffect">
                                  <p:stCondLst>
                                    <p:cond delay="200"/>
                                  </p:stCondLst>
                                  <p:childTnLst>
                                    <p:animMotion origin="layout" path="M 3.95833E-6 -1.85185E-6 L 3.95833E-6 -0.02477 " pathEditMode="relative" rAng="0" ptsTypes="AA">
                                      <p:cBhvr>
                                        <p:cTn id="69" dur="500" spd="-100000" fill="hold"/>
                                        <p:tgtEl>
                                          <p:spTgt spid="60"/>
                                        </p:tgtEl>
                                        <p:attrNameLst>
                                          <p:attrName>ppt_x</p:attrName>
                                          <p:attrName>ppt_y</p:attrName>
                                        </p:attrNameLst>
                                      </p:cBhvr>
                                      <p:rCtr x="0" y="-1250"/>
                                    </p:animMotion>
                                  </p:childTnLst>
                                </p:cTn>
                              </p:par>
                              <p:par>
                                <p:cTn id="70" presetID="10" presetClass="entr" presetSubtype="0" fill="hold" grpId="0" nodeType="withEffect">
                                  <p:stCondLst>
                                    <p:cond delay="200"/>
                                  </p:stCondLst>
                                  <p:childTnLst>
                                    <p:set>
                                      <p:cBhvr>
                                        <p:cTn id="71" dur="1" fill="hold">
                                          <p:stCondLst>
                                            <p:cond delay="0"/>
                                          </p:stCondLst>
                                        </p:cTn>
                                        <p:tgtEl>
                                          <p:spTgt spid="48"/>
                                        </p:tgtEl>
                                        <p:attrNameLst>
                                          <p:attrName>style.visibility</p:attrName>
                                        </p:attrNameLst>
                                      </p:cBhvr>
                                      <p:to>
                                        <p:strVal val="visible"/>
                                      </p:to>
                                    </p:set>
                                    <p:animEffect transition="in" filter="fade">
                                      <p:cBhvr>
                                        <p:cTn id="72" dur="500"/>
                                        <p:tgtEl>
                                          <p:spTgt spid="48"/>
                                        </p:tgtEl>
                                      </p:cBhvr>
                                    </p:animEffect>
                                  </p:childTnLst>
                                </p:cTn>
                              </p:par>
                              <p:par>
                                <p:cTn id="73" presetID="64" presetClass="path" presetSubtype="0" decel="100000" fill="hold" grpId="1" nodeType="withEffect">
                                  <p:stCondLst>
                                    <p:cond delay="200"/>
                                  </p:stCondLst>
                                  <p:childTnLst>
                                    <p:animMotion origin="layout" path="M -4.79167E-6 3.7037E-7 L -4.79167E-6 -0.02477 " pathEditMode="relative" rAng="0" ptsTypes="AA">
                                      <p:cBhvr>
                                        <p:cTn id="74" dur="500" spd="-100000" fill="hold"/>
                                        <p:tgtEl>
                                          <p:spTgt spid="48"/>
                                        </p:tgtEl>
                                        <p:attrNameLst>
                                          <p:attrName>ppt_x</p:attrName>
                                          <p:attrName>ppt_y</p:attrName>
                                        </p:attrNameLst>
                                      </p:cBhvr>
                                      <p:rCtr x="0" y="-1250"/>
                                    </p:animMotion>
                                  </p:childTnLst>
                                </p:cTn>
                              </p:par>
                              <p:par>
                                <p:cTn id="75" presetID="10" presetClass="entr" presetSubtype="0" fill="hold" grpId="0" nodeType="withEffect">
                                  <p:stCondLst>
                                    <p:cond delay="200"/>
                                  </p:stCondLst>
                                  <p:childTnLst>
                                    <p:set>
                                      <p:cBhvr>
                                        <p:cTn id="76" dur="1" fill="hold">
                                          <p:stCondLst>
                                            <p:cond delay="0"/>
                                          </p:stCondLst>
                                        </p:cTn>
                                        <p:tgtEl>
                                          <p:spTgt spid="65"/>
                                        </p:tgtEl>
                                        <p:attrNameLst>
                                          <p:attrName>style.visibility</p:attrName>
                                        </p:attrNameLst>
                                      </p:cBhvr>
                                      <p:to>
                                        <p:strVal val="visible"/>
                                      </p:to>
                                    </p:set>
                                    <p:animEffect transition="in" filter="fade">
                                      <p:cBhvr>
                                        <p:cTn id="77" dur="500"/>
                                        <p:tgtEl>
                                          <p:spTgt spid="65"/>
                                        </p:tgtEl>
                                      </p:cBhvr>
                                    </p:animEffect>
                                  </p:childTnLst>
                                </p:cTn>
                              </p:par>
                              <p:par>
                                <p:cTn id="78" presetID="64" presetClass="path" presetSubtype="0" decel="100000" fill="hold" grpId="1" nodeType="withEffect">
                                  <p:stCondLst>
                                    <p:cond delay="200"/>
                                  </p:stCondLst>
                                  <p:childTnLst>
                                    <p:animMotion origin="layout" path="M -3.54167E-6 -4.07407E-6 L -3.54167E-6 -0.02476 " pathEditMode="relative" rAng="0" ptsTypes="AA">
                                      <p:cBhvr>
                                        <p:cTn id="79" dur="500" spd="-100000" fill="hold"/>
                                        <p:tgtEl>
                                          <p:spTgt spid="65"/>
                                        </p:tgtEl>
                                        <p:attrNameLst>
                                          <p:attrName>ppt_x</p:attrName>
                                          <p:attrName>ppt_y</p:attrName>
                                        </p:attrNameLst>
                                      </p:cBhvr>
                                      <p:rCtr x="0" y="-1250"/>
                                    </p:animMotion>
                                  </p:childTnLst>
                                </p:cTn>
                              </p:par>
                              <p:par>
                                <p:cTn id="80" presetID="10" presetClass="entr" presetSubtype="0" fill="hold" grpId="0" nodeType="withEffect">
                                  <p:stCondLst>
                                    <p:cond delay="200"/>
                                  </p:stCondLst>
                                  <p:childTnLst>
                                    <p:set>
                                      <p:cBhvr>
                                        <p:cTn id="81" dur="1" fill="hold">
                                          <p:stCondLst>
                                            <p:cond delay="0"/>
                                          </p:stCondLst>
                                        </p:cTn>
                                        <p:tgtEl>
                                          <p:spTgt spid="57"/>
                                        </p:tgtEl>
                                        <p:attrNameLst>
                                          <p:attrName>style.visibility</p:attrName>
                                        </p:attrNameLst>
                                      </p:cBhvr>
                                      <p:to>
                                        <p:strVal val="visible"/>
                                      </p:to>
                                    </p:set>
                                    <p:animEffect transition="in" filter="fade">
                                      <p:cBhvr>
                                        <p:cTn id="82" dur="500"/>
                                        <p:tgtEl>
                                          <p:spTgt spid="57"/>
                                        </p:tgtEl>
                                      </p:cBhvr>
                                    </p:animEffect>
                                  </p:childTnLst>
                                </p:cTn>
                              </p:par>
                              <p:par>
                                <p:cTn id="83" presetID="64" presetClass="path" presetSubtype="0" decel="100000" fill="hold" grpId="1" nodeType="withEffect">
                                  <p:stCondLst>
                                    <p:cond delay="200"/>
                                  </p:stCondLst>
                                  <p:childTnLst>
                                    <p:animMotion origin="layout" path="M -4.58333E-6 -3.33333E-6 L -4.58333E-6 -0.02477 " pathEditMode="relative" rAng="0" ptsTypes="AA">
                                      <p:cBhvr>
                                        <p:cTn id="84" dur="500" spd="-100000" fill="hold"/>
                                        <p:tgtEl>
                                          <p:spTgt spid="57"/>
                                        </p:tgtEl>
                                        <p:attrNameLst>
                                          <p:attrName>ppt_x</p:attrName>
                                          <p:attrName>ppt_y</p:attrName>
                                        </p:attrNameLst>
                                      </p:cBhvr>
                                      <p:rCtr x="0" y="-1250"/>
                                    </p:animMotion>
                                  </p:childTnLst>
                                </p:cTn>
                              </p:par>
                              <p:par>
                                <p:cTn id="85" presetID="10" presetClass="entr" presetSubtype="0" fill="hold" grpId="0" nodeType="withEffect">
                                  <p:stCondLst>
                                    <p:cond delay="200"/>
                                  </p:stCondLst>
                                  <p:childTnLst>
                                    <p:set>
                                      <p:cBhvr>
                                        <p:cTn id="86" dur="1" fill="hold">
                                          <p:stCondLst>
                                            <p:cond delay="0"/>
                                          </p:stCondLst>
                                        </p:cTn>
                                        <p:tgtEl>
                                          <p:spTgt spid="62"/>
                                        </p:tgtEl>
                                        <p:attrNameLst>
                                          <p:attrName>style.visibility</p:attrName>
                                        </p:attrNameLst>
                                      </p:cBhvr>
                                      <p:to>
                                        <p:strVal val="visible"/>
                                      </p:to>
                                    </p:set>
                                    <p:animEffect transition="in" filter="fade">
                                      <p:cBhvr>
                                        <p:cTn id="87" dur="500"/>
                                        <p:tgtEl>
                                          <p:spTgt spid="62"/>
                                        </p:tgtEl>
                                      </p:cBhvr>
                                    </p:animEffect>
                                  </p:childTnLst>
                                </p:cTn>
                              </p:par>
                              <p:par>
                                <p:cTn id="88" presetID="64" presetClass="path" presetSubtype="0" decel="100000" fill="hold" grpId="1" nodeType="withEffect">
                                  <p:stCondLst>
                                    <p:cond delay="200"/>
                                  </p:stCondLst>
                                  <p:childTnLst>
                                    <p:animMotion origin="layout" path="M -3.54167E-6 0 L -3.54167E-6 -0.02477 " pathEditMode="relative" rAng="0" ptsTypes="AA">
                                      <p:cBhvr>
                                        <p:cTn id="89" dur="500" spd="-100000" fill="hold"/>
                                        <p:tgtEl>
                                          <p:spTgt spid="62"/>
                                        </p:tgtEl>
                                        <p:attrNameLst>
                                          <p:attrName>ppt_x</p:attrName>
                                          <p:attrName>ppt_y</p:attrName>
                                        </p:attrNameLst>
                                      </p:cBhvr>
                                      <p:rCtr x="0" y="-1250"/>
                                    </p:animMotion>
                                  </p:childTnLst>
                                </p:cTn>
                              </p:par>
                              <p:par>
                                <p:cTn id="90" presetID="10" presetClass="entr" presetSubtype="0" fill="hold" grpId="0" nodeType="withEffect">
                                  <p:stCondLst>
                                    <p:cond delay="200"/>
                                  </p:stCondLst>
                                  <p:childTnLst>
                                    <p:set>
                                      <p:cBhvr>
                                        <p:cTn id="91" dur="1" fill="hold">
                                          <p:stCondLst>
                                            <p:cond delay="0"/>
                                          </p:stCondLst>
                                        </p:cTn>
                                        <p:tgtEl>
                                          <p:spTgt spid="58"/>
                                        </p:tgtEl>
                                        <p:attrNameLst>
                                          <p:attrName>style.visibility</p:attrName>
                                        </p:attrNameLst>
                                      </p:cBhvr>
                                      <p:to>
                                        <p:strVal val="visible"/>
                                      </p:to>
                                    </p:set>
                                    <p:animEffect transition="in" filter="fade">
                                      <p:cBhvr>
                                        <p:cTn id="92" dur="500"/>
                                        <p:tgtEl>
                                          <p:spTgt spid="58"/>
                                        </p:tgtEl>
                                      </p:cBhvr>
                                    </p:animEffect>
                                  </p:childTnLst>
                                </p:cTn>
                              </p:par>
                              <p:par>
                                <p:cTn id="93" presetID="64" presetClass="path" presetSubtype="0" decel="100000" fill="hold" grpId="1" nodeType="withEffect">
                                  <p:stCondLst>
                                    <p:cond delay="200"/>
                                  </p:stCondLst>
                                  <p:childTnLst>
                                    <p:animMotion origin="layout" path="M 1.11022E-16 2.96296E-6 L 1.11022E-16 -0.02477 " pathEditMode="relative" rAng="0" ptsTypes="AA">
                                      <p:cBhvr>
                                        <p:cTn id="94" dur="500" spd="-100000" fill="hold"/>
                                        <p:tgtEl>
                                          <p:spTgt spid="58"/>
                                        </p:tgtEl>
                                        <p:attrNameLst>
                                          <p:attrName>ppt_x</p:attrName>
                                          <p:attrName>ppt_y</p:attrName>
                                        </p:attrNameLst>
                                      </p:cBhvr>
                                      <p:rCtr x="0" y="-1250"/>
                                    </p:animMotion>
                                  </p:childTnLst>
                                </p:cTn>
                              </p:par>
                              <p:par>
                                <p:cTn id="95" presetID="10" presetClass="entr" presetSubtype="0" fill="hold" grpId="0" nodeType="withEffect">
                                  <p:stCondLst>
                                    <p:cond delay="200"/>
                                  </p:stCondLst>
                                  <p:childTnLst>
                                    <p:set>
                                      <p:cBhvr>
                                        <p:cTn id="96" dur="1" fill="hold">
                                          <p:stCondLst>
                                            <p:cond delay="0"/>
                                          </p:stCondLst>
                                        </p:cTn>
                                        <p:tgtEl>
                                          <p:spTgt spid="61"/>
                                        </p:tgtEl>
                                        <p:attrNameLst>
                                          <p:attrName>style.visibility</p:attrName>
                                        </p:attrNameLst>
                                      </p:cBhvr>
                                      <p:to>
                                        <p:strVal val="visible"/>
                                      </p:to>
                                    </p:set>
                                    <p:animEffect transition="in" filter="fade">
                                      <p:cBhvr>
                                        <p:cTn id="97" dur="500"/>
                                        <p:tgtEl>
                                          <p:spTgt spid="61"/>
                                        </p:tgtEl>
                                      </p:cBhvr>
                                    </p:animEffect>
                                  </p:childTnLst>
                                </p:cTn>
                              </p:par>
                              <p:par>
                                <p:cTn id="98" presetID="64" presetClass="path" presetSubtype="0" decel="100000" fill="hold" grpId="1" nodeType="withEffect">
                                  <p:stCondLst>
                                    <p:cond delay="200"/>
                                  </p:stCondLst>
                                  <p:childTnLst>
                                    <p:animMotion origin="layout" path="M -3.95833E-6 -3.7037E-7 L -3.95833E-6 -0.02477 " pathEditMode="relative" rAng="0" ptsTypes="AA">
                                      <p:cBhvr>
                                        <p:cTn id="99" dur="500" spd="-100000" fill="hold"/>
                                        <p:tgtEl>
                                          <p:spTgt spid="61"/>
                                        </p:tgtEl>
                                        <p:attrNameLst>
                                          <p:attrName>ppt_x</p:attrName>
                                          <p:attrName>ppt_y</p:attrName>
                                        </p:attrNameLst>
                                      </p:cBhvr>
                                      <p:rCtr x="0" y="-1250"/>
                                    </p:animMotion>
                                  </p:childTnLst>
                                </p:cTn>
                              </p:par>
                              <p:par>
                                <p:cTn id="100" presetID="10" presetClass="entr" presetSubtype="0" fill="hold" grpId="0" nodeType="withEffect">
                                  <p:stCondLst>
                                    <p:cond delay="200"/>
                                  </p:stCondLst>
                                  <p:childTnLst>
                                    <p:set>
                                      <p:cBhvr>
                                        <p:cTn id="101" dur="1" fill="hold">
                                          <p:stCondLst>
                                            <p:cond delay="0"/>
                                          </p:stCondLst>
                                        </p:cTn>
                                        <p:tgtEl>
                                          <p:spTgt spid="59"/>
                                        </p:tgtEl>
                                        <p:attrNameLst>
                                          <p:attrName>style.visibility</p:attrName>
                                        </p:attrNameLst>
                                      </p:cBhvr>
                                      <p:to>
                                        <p:strVal val="visible"/>
                                      </p:to>
                                    </p:set>
                                    <p:animEffect transition="in" filter="fade">
                                      <p:cBhvr>
                                        <p:cTn id="102" dur="500"/>
                                        <p:tgtEl>
                                          <p:spTgt spid="59"/>
                                        </p:tgtEl>
                                      </p:cBhvr>
                                    </p:animEffect>
                                  </p:childTnLst>
                                </p:cTn>
                              </p:par>
                              <p:par>
                                <p:cTn id="103" presetID="64" presetClass="path" presetSubtype="0" decel="100000" fill="hold" grpId="1" nodeType="withEffect">
                                  <p:stCondLst>
                                    <p:cond delay="200"/>
                                  </p:stCondLst>
                                  <p:childTnLst>
                                    <p:animMotion origin="layout" path="M 1.66667E-6 7.40741E-7 L 1.66667E-6 -0.02477 " pathEditMode="relative" rAng="0" ptsTypes="AA">
                                      <p:cBhvr>
                                        <p:cTn id="104" dur="500" spd="-100000" fill="hold"/>
                                        <p:tgtEl>
                                          <p:spTgt spid="59"/>
                                        </p:tgtEl>
                                        <p:attrNameLst>
                                          <p:attrName>ppt_x</p:attrName>
                                          <p:attrName>ppt_y</p:attrName>
                                        </p:attrNameLst>
                                      </p:cBhvr>
                                      <p:rCtr x="0" y="-125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47" grpId="0"/>
      <p:bldP spid="47" grpId="1"/>
      <p:bldP spid="49" grpId="0" animBg="1"/>
      <p:bldP spid="49" grpId="1" animBg="1"/>
      <p:bldP spid="22" grpId="0"/>
      <p:bldP spid="22" grpId="1"/>
      <p:bldP spid="4" grpId="0"/>
      <p:bldP spid="4" grpId="1"/>
      <p:bldP spid="31" grpId="0"/>
      <p:bldP spid="31" grpId="1"/>
      <p:bldP spid="32" grpId="0"/>
      <p:bldP spid="32" grpId="1"/>
      <p:bldP spid="39" grpId="0"/>
      <p:bldP spid="39" grpId="1"/>
      <p:bldP spid="41" grpId="0" animBg="1"/>
      <p:bldP spid="41" grpId="1" animBg="1"/>
      <p:bldP spid="53" grpId="0"/>
      <p:bldP spid="53" grpId="1"/>
      <p:bldP spid="48" grpId="0"/>
      <p:bldP spid="48" grpId="1"/>
      <p:bldP spid="57" grpId="0"/>
      <p:bldP spid="57" grpId="1"/>
      <p:bldP spid="58" grpId="0"/>
      <p:bldP spid="58" grpId="1"/>
      <p:bldP spid="59" grpId="0"/>
      <p:bldP spid="59" grpId="1"/>
      <p:bldP spid="60" grpId="0" animBg="1"/>
      <p:bldP spid="60" grpId="1" animBg="1"/>
      <p:bldP spid="61" grpId="0" animBg="1"/>
      <p:bldP spid="61" grpId="1" animBg="1"/>
      <p:bldP spid="62" grpId="0" animBg="1"/>
      <p:bldP spid="62" grpId="1" animBg="1"/>
      <p:bldP spid="65" grpId="0" animBg="1"/>
      <p:bldP spid="65"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517A7-CE8B-F54A-8722-59CE46C762FF}"/>
              </a:ext>
            </a:extLst>
          </p:cNvPr>
          <p:cNvSpPr>
            <a:spLocks noGrp="1"/>
          </p:cNvSpPr>
          <p:nvPr>
            <p:ph type="title"/>
          </p:nvPr>
        </p:nvSpPr>
        <p:spPr>
          <a:xfrm>
            <a:off x="437382" y="378664"/>
            <a:ext cx="11561710" cy="773112"/>
          </a:xfrm>
        </p:spPr>
        <p:txBody>
          <a:bodyPr/>
          <a:lstStyle/>
          <a:p>
            <a:pPr algn="ctr"/>
            <a:r>
              <a:rPr lang="en-US" sz="4080" dirty="0">
                <a:solidFill>
                  <a:schemeClr val="tx1"/>
                </a:solidFill>
                <a:latin typeface="微软雅黑" panose="020B0503020204020204" pitchFamily="34" charset="-122"/>
                <a:ea typeface="微软雅黑" panose="020B0503020204020204" pitchFamily="34" charset="-122"/>
              </a:rPr>
              <a:t>Azure</a:t>
            </a:r>
            <a:r>
              <a:rPr lang="zh-CN" altLang="en-US" sz="4080" dirty="0">
                <a:solidFill>
                  <a:schemeClr val="tx1"/>
                </a:solidFill>
                <a:latin typeface="微软雅黑" panose="020B0503020204020204" pitchFamily="34" charset="-122"/>
                <a:ea typeface="微软雅黑" panose="020B0503020204020204" pitchFamily="34" charset="-122"/>
              </a:rPr>
              <a:t>认知服务</a:t>
            </a:r>
            <a:br>
              <a:rPr lang="en-US" altLang="zh-CN" dirty="0">
                <a:solidFill>
                  <a:schemeClr val="tx1"/>
                </a:solidFill>
              </a:rPr>
            </a:br>
            <a:r>
              <a:rPr lang="en-US" sz="2448" b="1" dirty="0">
                <a:solidFill>
                  <a:schemeClr val="tx2"/>
                </a:solidFill>
              </a:rPr>
              <a:t>Translation enhancements</a:t>
            </a:r>
            <a:endParaRPr lang="en-US" b="1" dirty="0">
              <a:solidFill>
                <a:schemeClr val="tx2"/>
              </a:solidFill>
            </a:endParaRPr>
          </a:p>
        </p:txBody>
      </p:sp>
      <p:sp>
        <p:nvSpPr>
          <p:cNvPr id="4" name="Rectangle 3">
            <a:extLst>
              <a:ext uri="{FF2B5EF4-FFF2-40B4-BE49-F238E27FC236}">
                <a16:creationId xmlns:a16="http://schemas.microsoft.com/office/drawing/2014/main" id="{8477E32D-60E6-44B0-BC95-643D4D0D2D2F}"/>
              </a:ext>
            </a:extLst>
          </p:cNvPr>
          <p:cNvSpPr/>
          <p:nvPr/>
        </p:nvSpPr>
        <p:spPr>
          <a:xfrm>
            <a:off x="5014451" y="4624066"/>
            <a:ext cx="6306305" cy="1222386"/>
          </a:xfrm>
          <a:prstGeom prst="rect">
            <a:avLst/>
          </a:prstGeom>
        </p:spPr>
        <p:txBody>
          <a:bodyPr wrap="square">
            <a:spAutoFit/>
          </a:bodyPr>
          <a:lstStyle/>
          <a:p>
            <a:pPr defTabSz="932597"/>
            <a:r>
              <a:rPr lang="en-US" sz="1836">
                <a:solidFill>
                  <a:prstClr val="black"/>
                </a:solidFill>
                <a:latin typeface="Calibri" panose="020F0502020204030204" pitchFamily="34" charset="0"/>
                <a:ea typeface="Calibri" panose="020F0502020204030204" pitchFamily="34" charset="0"/>
              </a:rPr>
              <a:t>Bayer helped team USA win four consecutive individual Olympic gold medals in women's gymnastics. She herself won five medals in this year’s Olympics, which further confirms that she is the best gymnast of her generation, and possibly of all time.</a:t>
            </a:r>
            <a:endParaRPr lang="en-US" sz="1836">
              <a:solidFill>
                <a:prstClr val="black"/>
              </a:solidFill>
              <a:latin typeface="Calibri" panose="020F0502020204030204"/>
            </a:endParaRPr>
          </a:p>
        </p:txBody>
      </p:sp>
      <p:sp>
        <p:nvSpPr>
          <p:cNvPr id="5" name="Rectangle 4">
            <a:extLst>
              <a:ext uri="{FF2B5EF4-FFF2-40B4-BE49-F238E27FC236}">
                <a16:creationId xmlns:a16="http://schemas.microsoft.com/office/drawing/2014/main" id="{8B317B7C-781C-4BA4-85B6-565EE4BB89F3}"/>
              </a:ext>
            </a:extLst>
          </p:cNvPr>
          <p:cNvSpPr/>
          <p:nvPr/>
        </p:nvSpPr>
        <p:spPr>
          <a:xfrm>
            <a:off x="5014451" y="2417791"/>
            <a:ext cx="6217356" cy="1246721"/>
          </a:xfrm>
          <a:prstGeom prst="rect">
            <a:avLst/>
          </a:prstGeom>
        </p:spPr>
        <p:txBody>
          <a:bodyPr wrap="square">
            <a:spAutoFit/>
          </a:bodyPr>
          <a:lstStyle/>
          <a:p>
            <a:pPr defTabSz="932597"/>
            <a:r>
              <a:rPr lang="en-US" sz="1836">
                <a:solidFill>
                  <a:prstClr val="black"/>
                </a:solidFill>
                <a:latin typeface="Calibri" panose="020F0502020204030204" pitchFamily="34" charset="0"/>
              </a:rPr>
              <a:t>Byers helped the U.S. team achieve a four-run individual all-around in Olympic women's gymnastics, and she personally won five medals at the Games, further confirming that she is the best gymnast of her generation and possibly of all time.</a:t>
            </a:r>
          </a:p>
        </p:txBody>
      </p:sp>
      <p:sp>
        <p:nvSpPr>
          <p:cNvPr id="6" name="Left Bracket 5">
            <a:extLst>
              <a:ext uri="{FF2B5EF4-FFF2-40B4-BE49-F238E27FC236}">
                <a16:creationId xmlns:a16="http://schemas.microsoft.com/office/drawing/2014/main" id="{674BD854-FC73-40D8-A30B-9A06F3B7CC63}"/>
              </a:ext>
            </a:extLst>
          </p:cNvPr>
          <p:cNvSpPr/>
          <p:nvPr/>
        </p:nvSpPr>
        <p:spPr>
          <a:xfrm>
            <a:off x="4585147" y="3029902"/>
            <a:ext cx="185612" cy="2206277"/>
          </a:xfrm>
          <a:prstGeom prst="leftBracket">
            <a:avLst>
              <a:gd name="adj" fmla="val 92465"/>
            </a:avLst>
          </a:prstGeom>
          <a:ln w="12700">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a:solidFill>
                <a:prstClr val="black"/>
              </a:solidFill>
              <a:latin typeface="Calibri" panose="020F0502020204030204"/>
            </a:endParaRPr>
          </a:p>
        </p:txBody>
      </p:sp>
      <p:sp>
        <p:nvSpPr>
          <p:cNvPr id="12" name="Rectangle 11">
            <a:extLst>
              <a:ext uri="{FF2B5EF4-FFF2-40B4-BE49-F238E27FC236}">
                <a16:creationId xmlns:a16="http://schemas.microsoft.com/office/drawing/2014/main" id="{DB7EF11E-79DF-5E42-BA29-88CE8421B5CA}"/>
              </a:ext>
            </a:extLst>
          </p:cNvPr>
          <p:cNvSpPr/>
          <p:nvPr/>
        </p:nvSpPr>
        <p:spPr>
          <a:xfrm>
            <a:off x="367932" y="3168803"/>
            <a:ext cx="3631238" cy="1822995"/>
          </a:xfrm>
          <a:prstGeom prst="rect">
            <a:avLst/>
          </a:prstGeom>
        </p:spPr>
        <p:txBody>
          <a:bodyPr wrap="square">
            <a:spAutoFit/>
          </a:bodyPr>
          <a:lstStyle/>
          <a:p>
            <a:pPr defTabSz="932597"/>
            <a:r>
              <a:rPr lang="en-US" sz="1836">
                <a:solidFill>
                  <a:prstClr val="black"/>
                </a:solidFill>
                <a:latin typeface="Calibri" panose="020F0502020204030204"/>
              </a:rPr>
              <a:t>拜尔斯帮助美国队在奥运会女子体操个人全能上实现了四连冠，她个人在本届奥运会上共夺得五枚奖牌，进一步印证了她是这一代，也可能是有史以来，最优秀的体操队员。</a:t>
            </a:r>
          </a:p>
        </p:txBody>
      </p:sp>
      <p:cxnSp>
        <p:nvCxnSpPr>
          <p:cNvPr id="15" name="Straight Connector 14">
            <a:extLst>
              <a:ext uri="{FF2B5EF4-FFF2-40B4-BE49-F238E27FC236}">
                <a16:creationId xmlns:a16="http://schemas.microsoft.com/office/drawing/2014/main" id="{0A142EB1-91D7-FC41-97DA-C3D71B990910}"/>
              </a:ext>
            </a:extLst>
          </p:cNvPr>
          <p:cNvCxnSpPr>
            <a:stCxn id="6" idx="1"/>
          </p:cNvCxnSpPr>
          <p:nvPr/>
        </p:nvCxnSpPr>
        <p:spPr>
          <a:xfrm flipH="1" flipV="1">
            <a:off x="4149024" y="4128712"/>
            <a:ext cx="436123" cy="4328"/>
          </a:xfrm>
          <a:prstGeom prst="line">
            <a:avLst/>
          </a:prstGeom>
          <a:ln w="12700">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96059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type="lt">
                                    <p:tmAbs val="20"/>
                                  </p:iterate>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iterate type="lt">
                                    <p:tmAbs val="20"/>
                                  </p:iterate>
                                  <p:childTnLst>
                                    <p:set>
                                      <p:cBhvr>
                                        <p:cTn id="8"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D8F5AD0-E7E4-4293-A8C1-B537B6F30ECE}"/>
              </a:ext>
            </a:extLst>
          </p:cNvPr>
          <p:cNvSpPr/>
          <p:nvPr/>
        </p:nvSpPr>
        <p:spPr>
          <a:xfrm>
            <a:off x="367932" y="3168803"/>
            <a:ext cx="3631238" cy="1822995"/>
          </a:xfrm>
          <a:prstGeom prst="rect">
            <a:avLst/>
          </a:prstGeom>
        </p:spPr>
        <p:txBody>
          <a:bodyPr wrap="square">
            <a:spAutoFit/>
          </a:bodyPr>
          <a:lstStyle/>
          <a:p>
            <a:pPr defTabSz="932597"/>
            <a:r>
              <a:rPr lang="en-US" sz="1836">
                <a:solidFill>
                  <a:prstClr val="black"/>
                </a:solidFill>
                <a:latin typeface="Calibri" panose="020F0502020204030204"/>
              </a:rPr>
              <a:t>拜尔斯帮助美国队在奥运会女子体操个人全能上实现了四连冠，她个人在本届奥运会上共夺得五枚奖牌，进一步印证了她是这一代，也可能是有史以来，最优秀的体操队员。</a:t>
            </a:r>
          </a:p>
        </p:txBody>
      </p:sp>
      <p:sp>
        <p:nvSpPr>
          <p:cNvPr id="5" name="Rectangle 4">
            <a:extLst>
              <a:ext uri="{FF2B5EF4-FFF2-40B4-BE49-F238E27FC236}">
                <a16:creationId xmlns:a16="http://schemas.microsoft.com/office/drawing/2014/main" id="{8B317B7C-781C-4BA4-85B6-565EE4BB89F3}"/>
              </a:ext>
            </a:extLst>
          </p:cNvPr>
          <p:cNvSpPr/>
          <p:nvPr/>
        </p:nvSpPr>
        <p:spPr>
          <a:xfrm>
            <a:off x="5014451" y="2417791"/>
            <a:ext cx="6098300" cy="1246721"/>
          </a:xfrm>
          <a:prstGeom prst="rect">
            <a:avLst/>
          </a:prstGeom>
        </p:spPr>
        <p:txBody>
          <a:bodyPr wrap="square">
            <a:spAutoFit/>
          </a:bodyPr>
          <a:lstStyle/>
          <a:p>
            <a:pPr defTabSz="932597"/>
            <a:r>
              <a:rPr lang="en-US" sz="1836">
                <a:solidFill>
                  <a:srgbClr val="44546A"/>
                </a:solidFill>
                <a:latin typeface="Calibri" panose="020F0502020204030204" pitchFamily="34" charset="0"/>
              </a:rPr>
              <a:t>Byers helped the U.S. team achieve a four-run individual all-around in Olympic women's gymnastics, and she personally won five medals at the Games, further confirming that she is the best gymnast of her generation and possibly of all time.</a:t>
            </a:r>
          </a:p>
        </p:txBody>
      </p:sp>
      <p:sp>
        <p:nvSpPr>
          <p:cNvPr id="9" name="Left Bracket 8">
            <a:extLst>
              <a:ext uri="{FF2B5EF4-FFF2-40B4-BE49-F238E27FC236}">
                <a16:creationId xmlns:a16="http://schemas.microsoft.com/office/drawing/2014/main" id="{DEC6A261-F909-FC44-A04A-2A89D6139937}"/>
              </a:ext>
            </a:extLst>
          </p:cNvPr>
          <p:cNvSpPr/>
          <p:nvPr/>
        </p:nvSpPr>
        <p:spPr>
          <a:xfrm>
            <a:off x="4585147" y="3029902"/>
            <a:ext cx="185612" cy="2206277"/>
          </a:xfrm>
          <a:prstGeom prst="leftBracket">
            <a:avLst>
              <a:gd name="adj" fmla="val 92465"/>
            </a:avLst>
          </a:prstGeom>
          <a:ln w="12700">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a:solidFill>
                <a:prstClr val="black"/>
              </a:solidFill>
              <a:latin typeface="Calibri" panose="020F0502020204030204"/>
            </a:endParaRPr>
          </a:p>
        </p:txBody>
      </p:sp>
      <p:cxnSp>
        <p:nvCxnSpPr>
          <p:cNvPr id="11" name="Straight Connector 10">
            <a:extLst>
              <a:ext uri="{FF2B5EF4-FFF2-40B4-BE49-F238E27FC236}">
                <a16:creationId xmlns:a16="http://schemas.microsoft.com/office/drawing/2014/main" id="{39ABA111-E636-974E-8FEA-DA36E5D56C54}"/>
              </a:ext>
            </a:extLst>
          </p:cNvPr>
          <p:cNvCxnSpPr>
            <a:stCxn id="9" idx="1"/>
          </p:cNvCxnSpPr>
          <p:nvPr/>
        </p:nvCxnSpPr>
        <p:spPr>
          <a:xfrm flipH="1" flipV="1">
            <a:off x="4149024" y="4128712"/>
            <a:ext cx="436123" cy="4328"/>
          </a:xfrm>
          <a:prstGeom prst="line">
            <a:avLst/>
          </a:prstGeom>
          <a:ln w="12700">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3EE8B8FA-6AA8-6B42-8A08-95CE91651921}"/>
              </a:ext>
            </a:extLst>
          </p:cNvPr>
          <p:cNvSpPr/>
          <p:nvPr/>
        </p:nvSpPr>
        <p:spPr>
          <a:xfrm>
            <a:off x="5014451" y="4624066"/>
            <a:ext cx="6306305" cy="1222386"/>
          </a:xfrm>
          <a:prstGeom prst="rect">
            <a:avLst/>
          </a:prstGeom>
        </p:spPr>
        <p:txBody>
          <a:bodyPr wrap="square">
            <a:spAutoFit/>
          </a:bodyPr>
          <a:lstStyle/>
          <a:p>
            <a:pPr defTabSz="932597"/>
            <a:r>
              <a:rPr lang="en-US" sz="1836">
                <a:solidFill>
                  <a:srgbClr val="A5A5A5">
                    <a:lumMod val="60000"/>
                    <a:lumOff val="40000"/>
                  </a:srgbClr>
                </a:solidFill>
                <a:latin typeface="Calibri" panose="020F0502020204030204" pitchFamily="34" charset="0"/>
                <a:ea typeface="Calibri" panose="020F0502020204030204" pitchFamily="34" charset="0"/>
              </a:rPr>
              <a:t>Bayer helped team USA win four consecutive individual Olympic gold medals in women's gymnastics. She herself won five medals in this year’s Olympics, which further confirms that she is the best gymnast of her generation, and possibly of all time.</a:t>
            </a:r>
            <a:endParaRPr lang="en-US" sz="1836">
              <a:solidFill>
                <a:srgbClr val="A5A5A5">
                  <a:lumMod val="60000"/>
                  <a:lumOff val="40000"/>
                </a:srgbClr>
              </a:solidFill>
              <a:latin typeface="Calibri" panose="020F0502020204030204"/>
            </a:endParaRPr>
          </a:p>
        </p:txBody>
      </p:sp>
      <p:sp>
        <p:nvSpPr>
          <p:cNvPr id="10" name="Title 1">
            <a:extLst>
              <a:ext uri="{FF2B5EF4-FFF2-40B4-BE49-F238E27FC236}">
                <a16:creationId xmlns:a16="http://schemas.microsoft.com/office/drawing/2014/main" id="{98D7C458-B81D-4278-ADF1-DE9834D9C388}"/>
              </a:ext>
            </a:extLst>
          </p:cNvPr>
          <p:cNvSpPr txBox="1">
            <a:spLocks/>
          </p:cNvSpPr>
          <p:nvPr/>
        </p:nvSpPr>
        <p:spPr>
          <a:xfrm>
            <a:off x="437382" y="378664"/>
            <a:ext cx="11561710" cy="773112"/>
          </a:xfrm>
          <a:prstGeom prst="rect">
            <a:avLst/>
          </a:prstGeom>
        </p:spPr>
        <p:txBody>
          <a:bodyPr vert="horz" wrap="square" lIns="0" tIns="167869" rIns="0" bIns="0" rtlCol="0" anchor="t">
            <a:no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algn="ctr" defTabSz="932563"/>
            <a:r>
              <a:rPr lang="fr-FR" sz="3672" spc="-150" dirty="0">
                <a:solidFill>
                  <a:prstClr val="black"/>
                </a:solidFill>
                <a:latin typeface="微软雅黑" panose="020B0503020204020204" pitchFamily="34" charset="-122"/>
                <a:ea typeface="微软雅黑" panose="020B0503020204020204" pitchFamily="34" charset="-122"/>
              </a:rPr>
              <a:t>Azure</a:t>
            </a:r>
            <a:r>
              <a:rPr lang="zh-CN" altLang="en-US" sz="4080" spc="-150" dirty="0">
                <a:solidFill>
                  <a:prstClr val="black"/>
                </a:solidFill>
                <a:latin typeface="微软雅黑" panose="020B0503020204020204" pitchFamily="34" charset="-122"/>
                <a:ea typeface="微软雅黑" panose="020B0503020204020204" pitchFamily="34" charset="-122"/>
              </a:rPr>
              <a:t>认知服务</a:t>
            </a:r>
            <a:br>
              <a:rPr lang="fr-FR" sz="3672" spc="-150" dirty="0">
                <a:solidFill>
                  <a:prstClr val="black"/>
                </a:solidFill>
                <a:latin typeface="微软雅黑" panose="020B0503020204020204" pitchFamily="34" charset="-122"/>
                <a:ea typeface="微软雅黑" panose="020B0503020204020204" pitchFamily="34" charset="-122"/>
              </a:rPr>
            </a:br>
            <a:r>
              <a:rPr lang="fr-FR" sz="2040" spc="-150" dirty="0">
                <a:solidFill>
                  <a:srgbClr val="44546A"/>
                </a:solidFill>
                <a:latin typeface="微软雅黑" panose="020B0503020204020204" pitchFamily="34" charset="-122"/>
                <a:ea typeface="微软雅黑" panose="020B0503020204020204" pitchFamily="34" charset="-122"/>
              </a:rPr>
              <a:t>Translation enhancements</a:t>
            </a:r>
            <a:endParaRPr lang="fr-FR" sz="3672" spc="-150" dirty="0">
              <a:solidFill>
                <a:srgbClr val="44546A"/>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33594041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517A7-CE8B-F54A-8722-59CE46C762FF}"/>
              </a:ext>
            </a:extLst>
          </p:cNvPr>
          <p:cNvSpPr>
            <a:spLocks noGrp="1"/>
          </p:cNvSpPr>
          <p:nvPr>
            <p:ph type="title"/>
          </p:nvPr>
        </p:nvSpPr>
        <p:spPr>
          <a:xfrm>
            <a:off x="437382" y="378664"/>
            <a:ext cx="11561710" cy="773112"/>
          </a:xfrm>
        </p:spPr>
        <p:txBody>
          <a:bodyPr/>
          <a:lstStyle/>
          <a:p>
            <a:pPr algn="ctr"/>
            <a:r>
              <a:rPr lang="en-US" sz="4080" dirty="0">
                <a:solidFill>
                  <a:schemeClr val="tx1"/>
                </a:solidFill>
              </a:rPr>
              <a:t>Azure</a:t>
            </a:r>
            <a:r>
              <a:rPr lang="zh-CN" altLang="en-US" sz="4080" dirty="0">
                <a:solidFill>
                  <a:schemeClr val="tx1"/>
                </a:solidFill>
              </a:rPr>
              <a:t>认知服务</a:t>
            </a:r>
            <a:br>
              <a:rPr lang="en-US" dirty="0">
                <a:solidFill>
                  <a:schemeClr val="tx1"/>
                </a:solidFill>
              </a:rPr>
            </a:br>
            <a:r>
              <a:rPr lang="en-US" sz="2448" b="1" dirty="0">
                <a:solidFill>
                  <a:schemeClr val="tx2"/>
                </a:solidFill>
              </a:rPr>
              <a:t>Industry leading neural text to speech</a:t>
            </a:r>
            <a:endParaRPr lang="en-US" b="1" dirty="0">
              <a:solidFill>
                <a:schemeClr val="tx2"/>
              </a:solidFill>
            </a:endParaRPr>
          </a:p>
        </p:txBody>
      </p:sp>
      <p:sp>
        <p:nvSpPr>
          <p:cNvPr id="8" name="Rectangle 7">
            <a:extLst>
              <a:ext uri="{FF2B5EF4-FFF2-40B4-BE49-F238E27FC236}">
                <a16:creationId xmlns:a16="http://schemas.microsoft.com/office/drawing/2014/main" id="{6EB0931C-646F-2C41-B435-7A8ABB0F5F0C}"/>
              </a:ext>
            </a:extLst>
          </p:cNvPr>
          <p:cNvSpPr/>
          <p:nvPr/>
        </p:nvSpPr>
        <p:spPr bwMode="auto">
          <a:xfrm>
            <a:off x="3668038" y="5216069"/>
            <a:ext cx="2705638" cy="60135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a:solidFill>
                  <a:srgbClr val="44546A"/>
                </a:solidFill>
                <a:latin typeface="Calibri Light" panose="020F0302020204030204"/>
                <a:ea typeface="Segoe UI" pitchFamily="34" charset="0"/>
                <a:cs typeface="Segoe UI" pitchFamily="34" charset="0"/>
              </a:rPr>
              <a:t>Sample 1</a:t>
            </a:r>
          </a:p>
        </p:txBody>
      </p:sp>
      <p:sp>
        <p:nvSpPr>
          <p:cNvPr id="10" name="Rectangle 9">
            <a:extLst>
              <a:ext uri="{FF2B5EF4-FFF2-40B4-BE49-F238E27FC236}">
                <a16:creationId xmlns:a16="http://schemas.microsoft.com/office/drawing/2014/main" id="{E3784E6F-DB42-2E42-83C6-C49A92704D64}"/>
              </a:ext>
            </a:extLst>
          </p:cNvPr>
          <p:cNvSpPr/>
          <p:nvPr/>
        </p:nvSpPr>
        <p:spPr bwMode="auto">
          <a:xfrm>
            <a:off x="6062799" y="5214248"/>
            <a:ext cx="2705638" cy="60135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a:solidFill>
                  <a:srgbClr val="44546A"/>
                </a:solidFill>
                <a:latin typeface="Calibri Light" panose="020F0302020204030204"/>
                <a:ea typeface="Segoe UI" pitchFamily="34" charset="0"/>
                <a:cs typeface="Segoe UI" pitchFamily="34" charset="0"/>
              </a:rPr>
              <a:t>Sample 2</a:t>
            </a:r>
          </a:p>
        </p:txBody>
      </p:sp>
      <p:sp>
        <p:nvSpPr>
          <p:cNvPr id="77" name="Rectangle 76">
            <a:extLst>
              <a:ext uri="{FF2B5EF4-FFF2-40B4-BE49-F238E27FC236}">
                <a16:creationId xmlns:a16="http://schemas.microsoft.com/office/drawing/2014/main" id="{2BC32FBD-4E8C-694E-B36F-AFFC6D2A77F3}"/>
              </a:ext>
            </a:extLst>
          </p:cNvPr>
          <p:cNvSpPr/>
          <p:nvPr/>
        </p:nvSpPr>
        <p:spPr>
          <a:xfrm>
            <a:off x="3245564" y="2535337"/>
            <a:ext cx="5945346" cy="1222386"/>
          </a:xfrm>
          <a:prstGeom prst="rect">
            <a:avLst/>
          </a:prstGeom>
        </p:spPr>
        <p:txBody>
          <a:bodyPr wrap="square">
            <a:spAutoFit/>
          </a:bodyPr>
          <a:lstStyle/>
          <a:p>
            <a:pPr defTabSz="932597"/>
            <a:r>
              <a:rPr lang="en-US" sz="1836">
                <a:solidFill>
                  <a:prstClr val="black"/>
                </a:solidFill>
                <a:latin typeface="Calibri" panose="020F0502020204030204" pitchFamily="34" charset="0"/>
              </a:rPr>
              <a:t>Byers helped the U.S. team achieve a four-run individual all-around in Olympic women's gymnastics, and she personally won five medals at the Games, further confirming that she is the best gymnast of her generation and possibly of all time.</a:t>
            </a:r>
          </a:p>
        </p:txBody>
      </p:sp>
      <p:sp>
        <p:nvSpPr>
          <p:cNvPr id="64" name="Rectangle 63">
            <a:extLst>
              <a:ext uri="{FF2B5EF4-FFF2-40B4-BE49-F238E27FC236}">
                <a16:creationId xmlns:a16="http://schemas.microsoft.com/office/drawing/2014/main" id="{E9D8257B-52D6-3F4B-A1D4-B6F762CB8E59}"/>
              </a:ext>
            </a:extLst>
          </p:cNvPr>
          <p:cNvSpPr/>
          <p:nvPr/>
        </p:nvSpPr>
        <p:spPr>
          <a:xfrm>
            <a:off x="883" y="6281975"/>
            <a:ext cx="12434711" cy="712549"/>
          </a:xfrm>
          <a:prstGeom prst="rect">
            <a:avLst/>
          </a:prstGeom>
          <a:solidFill>
            <a:srgbClr val="F7F7F7"/>
          </a:solidFill>
          <a:ln>
            <a:noFill/>
          </a:ln>
        </p:spPr>
        <p:txBody>
          <a:bodyPr wrap="square" anchor="ctr">
            <a:noAutofit/>
          </a:bodyPr>
          <a:lstStyle/>
          <a:p>
            <a:pPr algn="ctr" defTabSz="932597">
              <a:lnSpc>
                <a:spcPct val="90000"/>
              </a:lnSpc>
              <a:spcAft>
                <a:spcPts val="612"/>
              </a:spcAft>
              <a:defRPr/>
            </a:pPr>
            <a:r>
              <a:rPr lang="en-US" sz="1632">
                <a:solidFill>
                  <a:srgbClr val="44546A"/>
                </a:solidFill>
                <a:latin typeface="Calibri" panose="020F0502020204030204"/>
              </a:rPr>
              <a:t>Sign up for access today </a:t>
            </a:r>
            <a:r>
              <a:rPr lang="en-US" sz="1836">
                <a:solidFill>
                  <a:prstClr val="black"/>
                </a:solidFill>
                <a:latin typeface="Calibri" panose="020F0502020204030204"/>
              </a:rPr>
              <a:t>aka.ms/</a:t>
            </a:r>
            <a:r>
              <a:rPr lang="en-US" sz="1836" err="1">
                <a:solidFill>
                  <a:prstClr val="black"/>
                </a:solidFill>
                <a:latin typeface="Calibri" panose="020F0502020204030204"/>
              </a:rPr>
              <a:t>tryneuraltts</a:t>
            </a:r>
            <a:endParaRPr lang="en-US" sz="1632">
              <a:solidFill>
                <a:srgbClr val="44546A"/>
              </a:solidFill>
              <a:latin typeface="Calibri" panose="020F0502020204030204"/>
            </a:endParaRPr>
          </a:p>
        </p:txBody>
      </p:sp>
      <p:grpSp>
        <p:nvGrpSpPr>
          <p:cNvPr id="206" name="Group 205">
            <a:extLst>
              <a:ext uri="{FF2B5EF4-FFF2-40B4-BE49-F238E27FC236}">
                <a16:creationId xmlns:a16="http://schemas.microsoft.com/office/drawing/2014/main" id="{AD7D3568-7C2D-0843-9778-784EE1D9FAE2}"/>
              </a:ext>
            </a:extLst>
          </p:cNvPr>
          <p:cNvGrpSpPr/>
          <p:nvPr/>
        </p:nvGrpSpPr>
        <p:grpSpPr>
          <a:xfrm>
            <a:off x="4752755" y="4467176"/>
            <a:ext cx="448888" cy="806983"/>
            <a:chOff x="1280629" y="3804612"/>
            <a:chExt cx="921718" cy="1662738"/>
          </a:xfrm>
        </p:grpSpPr>
        <p:sp>
          <p:nvSpPr>
            <p:cNvPr id="207" name="Freeform 206">
              <a:extLst>
                <a:ext uri="{FF2B5EF4-FFF2-40B4-BE49-F238E27FC236}">
                  <a16:creationId xmlns:a16="http://schemas.microsoft.com/office/drawing/2014/main" id="{017E5B78-0B91-1E48-AFA4-95FD8686D7C9}"/>
                </a:ext>
              </a:extLst>
            </p:cNvPr>
            <p:cNvSpPr/>
            <p:nvPr/>
          </p:nvSpPr>
          <p:spPr bwMode="auto">
            <a:xfrm rot="5400000">
              <a:off x="1084489" y="4097592"/>
              <a:ext cx="1313998" cy="728037"/>
            </a:xfrm>
            <a:custGeom>
              <a:avLst/>
              <a:gdLst>
                <a:gd name="connsiteX0" fmla="*/ 0 w 1313998"/>
                <a:gd name="connsiteY0" fmla="*/ 364019 h 728037"/>
                <a:gd name="connsiteX1" fmla="*/ 354928 w 1313998"/>
                <a:gd name="connsiteY1" fmla="*/ 0 h 728037"/>
                <a:gd name="connsiteX2" fmla="*/ 959070 w 1313998"/>
                <a:gd name="connsiteY2" fmla="*/ 0 h 728037"/>
                <a:gd name="connsiteX3" fmla="*/ 1313998 w 1313998"/>
                <a:gd name="connsiteY3" fmla="*/ 364019 h 728037"/>
                <a:gd name="connsiteX4" fmla="*/ 959070 w 1313998"/>
                <a:gd name="connsiteY4" fmla="*/ 728037 h 728037"/>
                <a:gd name="connsiteX5" fmla="*/ 354928 w 1313998"/>
                <a:gd name="connsiteY5" fmla="*/ 728037 h 728037"/>
                <a:gd name="connsiteX6" fmla="*/ 0 w 1313998"/>
                <a:gd name="connsiteY6" fmla="*/ 364019 h 728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998" h="728037">
                  <a:moveTo>
                    <a:pt x="0" y="364019"/>
                  </a:moveTo>
                  <a:cubicBezTo>
                    <a:pt x="0" y="162966"/>
                    <a:pt x="158926" y="0"/>
                    <a:pt x="354928" y="0"/>
                  </a:cubicBezTo>
                  <a:lnTo>
                    <a:pt x="959070" y="0"/>
                  </a:lnTo>
                  <a:cubicBezTo>
                    <a:pt x="1155072" y="0"/>
                    <a:pt x="1313998" y="162966"/>
                    <a:pt x="1313998" y="364019"/>
                  </a:cubicBezTo>
                  <a:cubicBezTo>
                    <a:pt x="1313998" y="565071"/>
                    <a:pt x="1155072" y="728037"/>
                    <a:pt x="959070" y="728037"/>
                  </a:cubicBezTo>
                  <a:lnTo>
                    <a:pt x="354928" y="728037"/>
                  </a:lnTo>
                  <a:cubicBezTo>
                    <a:pt x="158926" y="728037"/>
                    <a:pt x="0" y="565071"/>
                    <a:pt x="0" y="364019"/>
                  </a:cubicBezTo>
                  <a:close/>
                </a:path>
              </a:pathLst>
            </a:custGeom>
            <a:noFill/>
            <a:ln w="12700" cap="rnd">
              <a:solidFill>
                <a:schemeClr val="tx2"/>
              </a:solidFill>
              <a:miter lim="800000"/>
              <a:headEnd/>
              <a:tailEnd/>
            </a:ln>
            <a:effectLst/>
          </p:spPr>
          <p:txBody>
            <a:bodyPr wrap="square" lIns="93260" tIns="46630" rIns="93260" bIns="46630" numCol="1" spcCol="0" rtlCol="0" fromWordArt="0" anchor="ctr" anchorCtr="0" forceAA="0" compatLnSpc="1"/>
            <a:lstStyle/>
            <a:p>
              <a:pPr defTabSz="932597"/>
              <a:endParaRPr lang="en-US" sz="1836">
                <a:solidFill>
                  <a:prstClr val="black"/>
                </a:solidFill>
                <a:latin typeface="Arial" charset="0"/>
                <a:ea typeface="Arial" charset="0"/>
                <a:cs typeface="Arial" charset="0"/>
              </a:endParaRPr>
            </a:p>
          </p:txBody>
        </p:sp>
        <p:sp>
          <p:nvSpPr>
            <p:cNvPr id="208" name="Freeform 207">
              <a:extLst>
                <a:ext uri="{FF2B5EF4-FFF2-40B4-BE49-F238E27FC236}">
                  <a16:creationId xmlns:a16="http://schemas.microsoft.com/office/drawing/2014/main" id="{3B93F40F-A100-ED4D-B034-C1C5B7036EE5}"/>
                </a:ext>
              </a:extLst>
            </p:cNvPr>
            <p:cNvSpPr/>
            <p:nvPr/>
          </p:nvSpPr>
          <p:spPr bwMode="auto">
            <a:xfrm rot="5400000">
              <a:off x="1358723" y="4370708"/>
              <a:ext cx="765530" cy="921718"/>
            </a:xfrm>
            <a:custGeom>
              <a:avLst/>
              <a:gdLst>
                <a:gd name="connsiteX0" fmla="*/ 0 w 1313998"/>
                <a:gd name="connsiteY0" fmla="*/ 364019 h 728037"/>
                <a:gd name="connsiteX1" fmla="*/ 354928 w 1313998"/>
                <a:gd name="connsiteY1" fmla="*/ 0 h 728037"/>
                <a:gd name="connsiteX2" fmla="*/ 959070 w 1313998"/>
                <a:gd name="connsiteY2" fmla="*/ 0 h 728037"/>
                <a:gd name="connsiteX3" fmla="*/ 1313998 w 1313998"/>
                <a:gd name="connsiteY3" fmla="*/ 364019 h 728037"/>
                <a:gd name="connsiteX4" fmla="*/ 959070 w 1313998"/>
                <a:gd name="connsiteY4" fmla="*/ 728037 h 728037"/>
                <a:gd name="connsiteX5" fmla="*/ 354928 w 1313998"/>
                <a:gd name="connsiteY5" fmla="*/ 728037 h 728037"/>
                <a:gd name="connsiteX6" fmla="*/ 0 w 1313998"/>
                <a:gd name="connsiteY6" fmla="*/ 364019 h 728037"/>
                <a:gd name="connsiteX0" fmla="*/ 0 w 1313998"/>
                <a:gd name="connsiteY0" fmla="*/ 364019 h 728037"/>
                <a:gd name="connsiteX1" fmla="*/ 354928 w 1313998"/>
                <a:gd name="connsiteY1" fmla="*/ 0 h 728037"/>
                <a:gd name="connsiteX2" fmla="*/ 959070 w 1313998"/>
                <a:gd name="connsiteY2" fmla="*/ 0 h 728037"/>
                <a:gd name="connsiteX3" fmla="*/ 1313998 w 1313998"/>
                <a:gd name="connsiteY3" fmla="*/ 364019 h 728037"/>
                <a:gd name="connsiteX4" fmla="*/ 959070 w 1313998"/>
                <a:gd name="connsiteY4" fmla="*/ 728037 h 728037"/>
                <a:gd name="connsiteX5" fmla="*/ 354928 w 1313998"/>
                <a:gd name="connsiteY5" fmla="*/ 728037 h 728037"/>
                <a:gd name="connsiteX6" fmla="*/ 72475 w 1313998"/>
                <a:gd name="connsiteY6" fmla="*/ 436494 h 728037"/>
                <a:gd name="connsiteX0" fmla="*/ 0 w 1313998"/>
                <a:gd name="connsiteY0" fmla="*/ 364019 h 728037"/>
                <a:gd name="connsiteX1" fmla="*/ 354928 w 1313998"/>
                <a:gd name="connsiteY1" fmla="*/ 0 h 728037"/>
                <a:gd name="connsiteX2" fmla="*/ 959070 w 1313998"/>
                <a:gd name="connsiteY2" fmla="*/ 0 h 728037"/>
                <a:gd name="connsiteX3" fmla="*/ 1313998 w 1313998"/>
                <a:gd name="connsiteY3" fmla="*/ 364019 h 728037"/>
                <a:gd name="connsiteX4" fmla="*/ 959070 w 1313998"/>
                <a:gd name="connsiteY4" fmla="*/ 728037 h 728037"/>
                <a:gd name="connsiteX5" fmla="*/ 354928 w 1313998"/>
                <a:gd name="connsiteY5" fmla="*/ 728037 h 728037"/>
                <a:gd name="connsiteX0" fmla="*/ 0 w 959070"/>
                <a:gd name="connsiteY0" fmla="*/ 0 h 728037"/>
                <a:gd name="connsiteX1" fmla="*/ 604142 w 959070"/>
                <a:gd name="connsiteY1" fmla="*/ 0 h 728037"/>
                <a:gd name="connsiteX2" fmla="*/ 959070 w 959070"/>
                <a:gd name="connsiteY2" fmla="*/ 364019 h 728037"/>
                <a:gd name="connsiteX3" fmla="*/ 604142 w 959070"/>
                <a:gd name="connsiteY3" fmla="*/ 728037 h 728037"/>
                <a:gd name="connsiteX4" fmla="*/ 0 w 959070"/>
                <a:gd name="connsiteY4" fmla="*/ 728037 h 728037"/>
                <a:gd name="connsiteX0" fmla="*/ 0 w 959070"/>
                <a:gd name="connsiteY0" fmla="*/ 0 h 728037"/>
                <a:gd name="connsiteX1" fmla="*/ 354333 w 959070"/>
                <a:gd name="connsiteY1" fmla="*/ 2518 h 728037"/>
                <a:gd name="connsiteX2" fmla="*/ 604142 w 959070"/>
                <a:gd name="connsiteY2" fmla="*/ 0 h 728037"/>
                <a:gd name="connsiteX3" fmla="*/ 959070 w 959070"/>
                <a:gd name="connsiteY3" fmla="*/ 364019 h 728037"/>
                <a:gd name="connsiteX4" fmla="*/ 604142 w 959070"/>
                <a:gd name="connsiteY4" fmla="*/ 728037 h 728037"/>
                <a:gd name="connsiteX5" fmla="*/ 0 w 959070"/>
                <a:gd name="connsiteY5" fmla="*/ 728037 h 728037"/>
                <a:gd name="connsiteX0" fmla="*/ 354333 w 959070"/>
                <a:gd name="connsiteY0" fmla="*/ 2518 h 728037"/>
                <a:gd name="connsiteX1" fmla="*/ 604142 w 959070"/>
                <a:gd name="connsiteY1" fmla="*/ 0 h 728037"/>
                <a:gd name="connsiteX2" fmla="*/ 959070 w 959070"/>
                <a:gd name="connsiteY2" fmla="*/ 364019 h 728037"/>
                <a:gd name="connsiteX3" fmla="*/ 604142 w 959070"/>
                <a:gd name="connsiteY3" fmla="*/ 728037 h 728037"/>
                <a:gd name="connsiteX4" fmla="*/ 0 w 959070"/>
                <a:gd name="connsiteY4" fmla="*/ 728037 h 728037"/>
                <a:gd name="connsiteX0" fmla="*/ 2021 w 606758"/>
                <a:gd name="connsiteY0" fmla="*/ 2518 h 730553"/>
                <a:gd name="connsiteX1" fmla="*/ 251830 w 606758"/>
                <a:gd name="connsiteY1" fmla="*/ 0 h 730553"/>
                <a:gd name="connsiteX2" fmla="*/ 606758 w 606758"/>
                <a:gd name="connsiteY2" fmla="*/ 364019 h 730553"/>
                <a:gd name="connsiteX3" fmla="*/ 251830 w 606758"/>
                <a:gd name="connsiteY3" fmla="*/ 728037 h 730553"/>
                <a:gd name="connsiteX4" fmla="*/ 0 w 606758"/>
                <a:gd name="connsiteY4" fmla="*/ 730553 h 7305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758" h="730553">
                  <a:moveTo>
                    <a:pt x="2021" y="2518"/>
                  </a:moveTo>
                  <a:lnTo>
                    <a:pt x="251830" y="0"/>
                  </a:lnTo>
                  <a:cubicBezTo>
                    <a:pt x="447832" y="0"/>
                    <a:pt x="606758" y="162966"/>
                    <a:pt x="606758" y="364019"/>
                  </a:cubicBezTo>
                  <a:cubicBezTo>
                    <a:pt x="606758" y="565071"/>
                    <a:pt x="447832" y="728037"/>
                    <a:pt x="251830" y="728037"/>
                  </a:cubicBezTo>
                  <a:lnTo>
                    <a:pt x="0" y="730553"/>
                  </a:lnTo>
                </a:path>
              </a:pathLst>
            </a:custGeom>
            <a:noFill/>
            <a:ln w="12700" cap="rnd">
              <a:solidFill>
                <a:schemeClr val="tx2"/>
              </a:solidFill>
              <a:miter lim="800000"/>
              <a:headEnd/>
              <a:tailEnd/>
            </a:ln>
            <a:effectLst/>
          </p:spPr>
          <p:txBody>
            <a:bodyPr wrap="square" lIns="93260" tIns="46630" rIns="93260" bIns="46630" numCol="1" spcCol="0" rtlCol="0" fromWordArt="0" anchor="ctr" anchorCtr="0" forceAA="0" compatLnSpc="1"/>
            <a:lstStyle/>
            <a:p>
              <a:pPr defTabSz="932597"/>
              <a:endParaRPr lang="en-US" sz="1836">
                <a:solidFill>
                  <a:prstClr val="black"/>
                </a:solidFill>
                <a:latin typeface="Arial" charset="0"/>
                <a:ea typeface="Arial" charset="0"/>
                <a:cs typeface="Arial" charset="0"/>
              </a:endParaRPr>
            </a:p>
          </p:txBody>
        </p:sp>
        <p:cxnSp>
          <p:nvCxnSpPr>
            <p:cNvPr id="209" name="Straight Connector 208">
              <a:extLst>
                <a:ext uri="{FF2B5EF4-FFF2-40B4-BE49-F238E27FC236}">
                  <a16:creationId xmlns:a16="http://schemas.microsoft.com/office/drawing/2014/main" id="{9BDC13C9-BA8A-1E40-9242-C6E28FF3AB81}"/>
                </a:ext>
              </a:extLst>
            </p:cNvPr>
            <p:cNvCxnSpPr/>
            <p:nvPr/>
          </p:nvCxnSpPr>
          <p:spPr>
            <a:xfrm>
              <a:off x="1376363" y="4464050"/>
              <a:ext cx="73025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10" name="Group 209">
              <a:extLst>
                <a:ext uri="{FF2B5EF4-FFF2-40B4-BE49-F238E27FC236}">
                  <a16:creationId xmlns:a16="http://schemas.microsoft.com/office/drawing/2014/main" id="{F7A18522-F241-AB4C-9E04-8257D25359AE}"/>
                </a:ext>
              </a:extLst>
            </p:cNvPr>
            <p:cNvGrpSpPr/>
            <p:nvPr/>
          </p:nvGrpSpPr>
          <p:grpSpPr>
            <a:xfrm>
              <a:off x="1282701" y="4543425"/>
              <a:ext cx="917575" cy="0"/>
              <a:chOff x="1279525" y="4543425"/>
              <a:chExt cx="917575" cy="0"/>
            </a:xfrm>
          </p:grpSpPr>
          <p:cxnSp>
            <p:nvCxnSpPr>
              <p:cNvPr id="220" name="Straight Connector 219">
                <a:extLst>
                  <a:ext uri="{FF2B5EF4-FFF2-40B4-BE49-F238E27FC236}">
                    <a16:creationId xmlns:a16="http://schemas.microsoft.com/office/drawing/2014/main" id="{8C0D8B95-616E-D446-A74E-7395A123E6D4}"/>
                  </a:ext>
                </a:extLst>
              </p:cNvPr>
              <p:cNvCxnSpPr/>
              <p:nvPr/>
            </p:nvCxnSpPr>
            <p:spPr>
              <a:xfrm>
                <a:off x="1279525" y="4543425"/>
                <a:ext cx="920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60AD66FB-4DD6-C34F-B266-39B6729C6B2E}"/>
                  </a:ext>
                </a:extLst>
              </p:cNvPr>
              <p:cNvCxnSpPr/>
              <p:nvPr/>
            </p:nvCxnSpPr>
            <p:spPr>
              <a:xfrm>
                <a:off x="2105025" y="4543425"/>
                <a:ext cx="920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1" name="Group 210">
              <a:extLst>
                <a:ext uri="{FF2B5EF4-FFF2-40B4-BE49-F238E27FC236}">
                  <a16:creationId xmlns:a16="http://schemas.microsoft.com/office/drawing/2014/main" id="{A352C3A4-EA4D-0142-8AB0-4D44C0163371}"/>
                </a:ext>
              </a:extLst>
            </p:cNvPr>
            <p:cNvGrpSpPr/>
            <p:nvPr/>
          </p:nvGrpSpPr>
          <p:grpSpPr>
            <a:xfrm>
              <a:off x="1377951" y="4070350"/>
              <a:ext cx="727075" cy="244475"/>
              <a:chOff x="1371600" y="4070350"/>
              <a:chExt cx="727075" cy="244475"/>
            </a:xfrm>
          </p:grpSpPr>
          <p:cxnSp>
            <p:nvCxnSpPr>
              <p:cNvPr id="214" name="Straight Connector 213">
                <a:extLst>
                  <a:ext uri="{FF2B5EF4-FFF2-40B4-BE49-F238E27FC236}">
                    <a16:creationId xmlns:a16="http://schemas.microsoft.com/office/drawing/2014/main" id="{BCAE379A-C331-734D-BA43-28515D4EDE8B}"/>
                  </a:ext>
                </a:extLst>
              </p:cNvPr>
              <p:cNvCxnSpPr/>
              <p:nvPr/>
            </p:nvCxnSpPr>
            <p:spPr>
              <a:xfrm>
                <a:off x="1879600" y="4314825"/>
                <a:ext cx="2190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40DF66DD-9CBA-524E-9456-85DF0D2DDC52}"/>
                  </a:ext>
                </a:extLst>
              </p:cNvPr>
              <p:cNvCxnSpPr/>
              <p:nvPr/>
            </p:nvCxnSpPr>
            <p:spPr>
              <a:xfrm>
                <a:off x="1879600" y="4191000"/>
                <a:ext cx="2190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AA5E8788-FF55-524B-AF9A-2723DEA81987}"/>
                  </a:ext>
                </a:extLst>
              </p:cNvPr>
              <p:cNvCxnSpPr/>
              <p:nvPr/>
            </p:nvCxnSpPr>
            <p:spPr>
              <a:xfrm>
                <a:off x="1876425" y="4070350"/>
                <a:ext cx="21590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5CD595DD-C364-5343-B699-F5BA842914AF}"/>
                  </a:ext>
                </a:extLst>
              </p:cNvPr>
              <p:cNvCxnSpPr/>
              <p:nvPr/>
            </p:nvCxnSpPr>
            <p:spPr>
              <a:xfrm>
                <a:off x="1371600" y="4314825"/>
                <a:ext cx="2190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6A715063-D1FC-2B4A-B6E9-520FD6845BB4}"/>
                  </a:ext>
                </a:extLst>
              </p:cNvPr>
              <p:cNvCxnSpPr/>
              <p:nvPr/>
            </p:nvCxnSpPr>
            <p:spPr>
              <a:xfrm>
                <a:off x="1371600" y="4191000"/>
                <a:ext cx="2190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6F9AB3F5-941D-844E-B6DD-2A232DE30668}"/>
                  </a:ext>
                </a:extLst>
              </p:cNvPr>
              <p:cNvCxnSpPr/>
              <p:nvPr/>
            </p:nvCxnSpPr>
            <p:spPr>
              <a:xfrm>
                <a:off x="1377950" y="4070350"/>
                <a:ext cx="21590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2" name="Straight Connector 211">
              <a:extLst>
                <a:ext uri="{FF2B5EF4-FFF2-40B4-BE49-F238E27FC236}">
                  <a16:creationId xmlns:a16="http://schemas.microsoft.com/office/drawing/2014/main" id="{2D9590E8-FD11-DB4B-A213-52CF5ED22018}"/>
                </a:ext>
              </a:extLst>
            </p:cNvPr>
            <p:cNvCxnSpPr/>
            <p:nvPr/>
          </p:nvCxnSpPr>
          <p:spPr>
            <a:xfrm>
              <a:off x="1741488" y="5214332"/>
              <a:ext cx="1" cy="25301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952D2647-775B-CE44-BD7D-F3ADBDD16059}"/>
                </a:ext>
              </a:extLst>
            </p:cNvPr>
            <p:cNvCxnSpPr/>
            <p:nvPr/>
          </p:nvCxnSpPr>
          <p:spPr>
            <a:xfrm>
              <a:off x="1511301" y="5464175"/>
              <a:ext cx="4603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8" name="Group 237">
            <a:extLst>
              <a:ext uri="{FF2B5EF4-FFF2-40B4-BE49-F238E27FC236}">
                <a16:creationId xmlns:a16="http://schemas.microsoft.com/office/drawing/2014/main" id="{F127C73D-D532-6E42-B358-47ED697C8EB0}"/>
              </a:ext>
            </a:extLst>
          </p:cNvPr>
          <p:cNvGrpSpPr/>
          <p:nvPr/>
        </p:nvGrpSpPr>
        <p:grpSpPr>
          <a:xfrm>
            <a:off x="4482543" y="4132499"/>
            <a:ext cx="982001" cy="982001"/>
            <a:chOff x="6788592" y="4051838"/>
            <a:chExt cx="962833" cy="962833"/>
          </a:xfrm>
        </p:grpSpPr>
        <p:sp>
          <p:nvSpPr>
            <p:cNvPr id="239" name="Arc 238">
              <a:extLst>
                <a:ext uri="{FF2B5EF4-FFF2-40B4-BE49-F238E27FC236}">
                  <a16:creationId xmlns:a16="http://schemas.microsoft.com/office/drawing/2014/main" id="{FE7C963E-D731-B240-8A84-160BAAC6B05B}"/>
                </a:ext>
              </a:extLst>
            </p:cNvPr>
            <p:cNvSpPr/>
            <p:nvPr/>
          </p:nvSpPr>
          <p:spPr>
            <a:xfrm>
              <a:off x="6957187" y="4251028"/>
              <a:ext cx="625642" cy="625642"/>
            </a:xfrm>
            <a:prstGeom prst="arc">
              <a:avLst>
                <a:gd name="adj1" fmla="val 13083931"/>
                <a:gd name="adj2" fmla="val 19321324"/>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a:solidFill>
                  <a:prstClr val="black"/>
                </a:solidFill>
                <a:latin typeface="Calibri" panose="020F0502020204030204"/>
              </a:endParaRPr>
            </a:p>
          </p:txBody>
        </p:sp>
        <p:sp>
          <p:nvSpPr>
            <p:cNvPr id="240" name="Arc 239">
              <a:extLst>
                <a:ext uri="{FF2B5EF4-FFF2-40B4-BE49-F238E27FC236}">
                  <a16:creationId xmlns:a16="http://schemas.microsoft.com/office/drawing/2014/main" id="{3BAA2F35-7AA5-2948-B405-D3FDD77C90E5}"/>
                </a:ext>
              </a:extLst>
            </p:cNvPr>
            <p:cNvSpPr/>
            <p:nvPr/>
          </p:nvSpPr>
          <p:spPr>
            <a:xfrm>
              <a:off x="6863746" y="4157587"/>
              <a:ext cx="812524" cy="812524"/>
            </a:xfrm>
            <a:prstGeom prst="arc">
              <a:avLst>
                <a:gd name="adj1" fmla="val 13191016"/>
                <a:gd name="adj2" fmla="val 19225168"/>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a:solidFill>
                  <a:prstClr val="black"/>
                </a:solidFill>
                <a:latin typeface="Calibri" panose="020F0502020204030204"/>
              </a:endParaRPr>
            </a:p>
          </p:txBody>
        </p:sp>
        <p:sp>
          <p:nvSpPr>
            <p:cNvPr id="241" name="Arc 240">
              <a:extLst>
                <a:ext uri="{FF2B5EF4-FFF2-40B4-BE49-F238E27FC236}">
                  <a16:creationId xmlns:a16="http://schemas.microsoft.com/office/drawing/2014/main" id="{75F46B0D-BA3E-6944-A1D5-E8634E74E442}"/>
                </a:ext>
              </a:extLst>
            </p:cNvPr>
            <p:cNvSpPr/>
            <p:nvPr/>
          </p:nvSpPr>
          <p:spPr>
            <a:xfrm>
              <a:off x="6788592" y="4051838"/>
              <a:ext cx="962833" cy="962833"/>
            </a:xfrm>
            <a:prstGeom prst="arc">
              <a:avLst>
                <a:gd name="adj1" fmla="val 13089174"/>
                <a:gd name="adj2" fmla="val 19331542"/>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a:solidFill>
                  <a:prstClr val="black"/>
                </a:solidFill>
                <a:latin typeface="Calibri" panose="020F0502020204030204"/>
              </a:endParaRPr>
            </a:p>
          </p:txBody>
        </p:sp>
      </p:grpSp>
      <p:grpSp>
        <p:nvGrpSpPr>
          <p:cNvPr id="242" name="Group 241">
            <a:extLst>
              <a:ext uri="{FF2B5EF4-FFF2-40B4-BE49-F238E27FC236}">
                <a16:creationId xmlns:a16="http://schemas.microsoft.com/office/drawing/2014/main" id="{6B95E058-94F9-184A-B448-9F8454C57DF5}"/>
              </a:ext>
            </a:extLst>
          </p:cNvPr>
          <p:cNvGrpSpPr/>
          <p:nvPr/>
        </p:nvGrpSpPr>
        <p:grpSpPr>
          <a:xfrm>
            <a:off x="4752668" y="4467176"/>
            <a:ext cx="448888" cy="806983"/>
            <a:chOff x="1280629" y="3804612"/>
            <a:chExt cx="921718" cy="1662738"/>
          </a:xfrm>
          <a:solidFill>
            <a:schemeClr val="tx2"/>
          </a:solidFill>
        </p:grpSpPr>
        <p:sp>
          <p:nvSpPr>
            <p:cNvPr id="243" name="Freeform 242">
              <a:extLst>
                <a:ext uri="{FF2B5EF4-FFF2-40B4-BE49-F238E27FC236}">
                  <a16:creationId xmlns:a16="http://schemas.microsoft.com/office/drawing/2014/main" id="{099F372B-E257-0F44-A5C1-5ADE0CA46662}"/>
                </a:ext>
              </a:extLst>
            </p:cNvPr>
            <p:cNvSpPr/>
            <p:nvPr/>
          </p:nvSpPr>
          <p:spPr bwMode="auto">
            <a:xfrm rot="5400000">
              <a:off x="1084489" y="4097592"/>
              <a:ext cx="1313998" cy="728037"/>
            </a:xfrm>
            <a:custGeom>
              <a:avLst/>
              <a:gdLst>
                <a:gd name="connsiteX0" fmla="*/ 0 w 1313998"/>
                <a:gd name="connsiteY0" fmla="*/ 364019 h 728037"/>
                <a:gd name="connsiteX1" fmla="*/ 354928 w 1313998"/>
                <a:gd name="connsiteY1" fmla="*/ 0 h 728037"/>
                <a:gd name="connsiteX2" fmla="*/ 959070 w 1313998"/>
                <a:gd name="connsiteY2" fmla="*/ 0 h 728037"/>
                <a:gd name="connsiteX3" fmla="*/ 1313998 w 1313998"/>
                <a:gd name="connsiteY3" fmla="*/ 364019 h 728037"/>
                <a:gd name="connsiteX4" fmla="*/ 959070 w 1313998"/>
                <a:gd name="connsiteY4" fmla="*/ 728037 h 728037"/>
                <a:gd name="connsiteX5" fmla="*/ 354928 w 1313998"/>
                <a:gd name="connsiteY5" fmla="*/ 728037 h 728037"/>
                <a:gd name="connsiteX6" fmla="*/ 0 w 1313998"/>
                <a:gd name="connsiteY6" fmla="*/ 364019 h 728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998" h="728037">
                  <a:moveTo>
                    <a:pt x="0" y="364019"/>
                  </a:moveTo>
                  <a:cubicBezTo>
                    <a:pt x="0" y="162966"/>
                    <a:pt x="158926" y="0"/>
                    <a:pt x="354928" y="0"/>
                  </a:cubicBezTo>
                  <a:lnTo>
                    <a:pt x="959070" y="0"/>
                  </a:lnTo>
                  <a:cubicBezTo>
                    <a:pt x="1155072" y="0"/>
                    <a:pt x="1313998" y="162966"/>
                    <a:pt x="1313998" y="364019"/>
                  </a:cubicBezTo>
                  <a:cubicBezTo>
                    <a:pt x="1313998" y="565071"/>
                    <a:pt x="1155072" y="728037"/>
                    <a:pt x="959070" y="728037"/>
                  </a:cubicBezTo>
                  <a:lnTo>
                    <a:pt x="354928" y="728037"/>
                  </a:lnTo>
                  <a:cubicBezTo>
                    <a:pt x="158926" y="728037"/>
                    <a:pt x="0" y="565071"/>
                    <a:pt x="0" y="364019"/>
                  </a:cubicBezTo>
                  <a:close/>
                </a:path>
              </a:pathLst>
            </a:custGeom>
            <a:grpFill/>
            <a:ln w="12700" cap="rnd">
              <a:solidFill>
                <a:schemeClr val="bg1"/>
              </a:solidFill>
              <a:miter lim="800000"/>
              <a:headEnd/>
              <a:tailEnd/>
            </a:ln>
            <a:effectLst/>
          </p:spPr>
          <p:txBody>
            <a:bodyPr wrap="square" lIns="93260" tIns="46630" rIns="93260" bIns="46630" numCol="1" spcCol="0" rtlCol="0" fromWordArt="0" anchor="ctr" anchorCtr="0" forceAA="0" compatLnSpc="1"/>
            <a:lstStyle/>
            <a:p>
              <a:pPr defTabSz="932597"/>
              <a:endParaRPr lang="en-US" sz="1836">
                <a:solidFill>
                  <a:prstClr val="black"/>
                </a:solidFill>
                <a:latin typeface="Arial" charset="0"/>
                <a:ea typeface="Arial" charset="0"/>
                <a:cs typeface="Arial" charset="0"/>
              </a:endParaRPr>
            </a:p>
          </p:txBody>
        </p:sp>
        <p:sp>
          <p:nvSpPr>
            <p:cNvPr id="244" name="Freeform 243">
              <a:extLst>
                <a:ext uri="{FF2B5EF4-FFF2-40B4-BE49-F238E27FC236}">
                  <a16:creationId xmlns:a16="http://schemas.microsoft.com/office/drawing/2014/main" id="{ADD9584A-24F7-E944-BAAA-EA72054A49E6}"/>
                </a:ext>
              </a:extLst>
            </p:cNvPr>
            <p:cNvSpPr/>
            <p:nvPr/>
          </p:nvSpPr>
          <p:spPr bwMode="auto">
            <a:xfrm rot="5400000">
              <a:off x="1358723" y="4370708"/>
              <a:ext cx="765530" cy="921718"/>
            </a:xfrm>
            <a:custGeom>
              <a:avLst/>
              <a:gdLst>
                <a:gd name="connsiteX0" fmla="*/ 0 w 1313998"/>
                <a:gd name="connsiteY0" fmla="*/ 364019 h 728037"/>
                <a:gd name="connsiteX1" fmla="*/ 354928 w 1313998"/>
                <a:gd name="connsiteY1" fmla="*/ 0 h 728037"/>
                <a:gd name="connsiteX2" fmla="*/ 959070 w 1313998"/>
                <a:gd name="connsiteY2" fmla="*/ 0 h 728037"/>
                <a:gd name="connsiteX3" fmla="*/ 1313998 w 1313998"/>
                <a:gd name="connsiteY3" fmla="*/ 364019 h 728037"/>
                <a:gd name="connsiteX4" fmla="*/ 959070 w 1313998"/>
                <a:gd name="connsiteY4" fmla="*/ 728037 h 728037"/>
                <a:gd name="connsiteX5" fmla="*/ 354928 w 1313998"/>
                <a:gd name="connsiteY5" fmla="*/ 728037 h 728037"/>
                <a:gd name="connsiteX6" fmla="*/ 0 w 1313998"/>
                <a:gd name="connsiteY6" fmla="*/ 364019 h 728037"/>
                <a:gd name="connsiteX0" fmla="*/ 0 w 1313998"/>
                <a:gd name="connsiteY0" fmla="*/ 364019 h 728037"/>
                <a:gd name="connsiteX1" fmla="*/ 354928 w 1313998"/>
                <a:gd name="connsiteY1" fmla="*/ 0 h 728037"/>
                <a:gd name="connsiteX2" fmla="*/ 959070 w 1313998"/>
                <a:gd name="connsiteY2" fmla="*/ 0 h 728037"/>
                <a:gd name="connsiteX3" fmla="*/ 1313998 w 1313998"/>
                <a:gd name="connsiteY3" fmla="*/ 364019 h 728037"/>
                <a:gd name="connsiteX4" fmla="*/ 959070 w 1313998"/>
                <a:gd name="connsiteY4" fmla="*/ 728037 h 728037"/>
                <a:gd name="connsiteX5" fmla="*/ 354928 w 1313998"/>
                <a:gd name="connsiteY5" fmla="*/ 728037 h 728037"/>
                <a:gd name="connsiteX6" fmla="*/ 72475 w 1313998"/>
                <a:gd name="connsiteY6" fmla="*/ 436494 h 728037"/>
                <a:gd name="connsiteX0" fmla="*/ 0 w 1313998"/>
                <a:gd name="connsiteY0" fmla="*/ 364019 h 728037"/>
                <a:gd name="connsiteX1" fmla="*/ 354928 w 1313998"/>
                <a:gd name="connsiteY1" fmla="*/ 0 h 728037"/>
                <a:gd name="connsiteX2" fmla="*/ 959070 w 1313998"/>
                <a:gd name="connsiteY2" fmla="*/ 0 h 728037"/>
                <a:gd name="connsiteX3" fmla="*/ 1313998 w 1313998"/>
                <a:gd name="connsiteY3" fmla="*/ 364019 h 728037"/>
                <a:gd name="connsiteX4" fmla="*/ 959070 w 1313998"/>
                <a:gd name="connsiteY4" fmla="*/ 728037 h 728037"/>
                <a:gd name="connsiteX5" fmla="*/ 354928 w 1313998"/>
                <a:gd name="connsiteY5" fmla="*/ 728037 h 728037"/>
                <a:gd name="connsiteX0" fmla="*/ 0 w 959070"/>
                <a:gd name="connsiteY0" fmla="*/ 0 h 728037"/>
                <a:gd name="connsiteX1" fmla="*/ 604142 w 959070"/>
                <a:gd name="connsiteY1" fmla="*/ 0 h 728037"/>
                <a:gd name="connsiteX2" fmla="*/ 959070 w 959070"/>
                <a:gd name="connsiteY2" fmla="*/ 364019 h 728037"/>
                <a:gd name="connsiteX3" fmla="*/ 604142 w 959070"/>
                <a:gd name="connsiteY3" fmla="*/ 728037 h 728037"/>
                <a:gd name="connsiteX4" fmla="*/ 0 w 959070"/>
                <a:gd name="connsiteY4" fmla="*/ 728037 h 728037"/>
                <a:gd name="connsiteX0" fmla="*/ 0 w 959070"/>
                <a:gd name="connsiteY0" fmla="*/ 0 h 728037"/>
                <a:gd name="connsiteX1" fmla="*/ 354333 w 959070"/>
                <a:gd name="connsiteY1" fmla="*/ 2518 h 728037"/>
                <a:gd name="connsiteX2" fmla="*/ 604142 w 959070"/>
                <a:gd name="connsiteY2" fmla="*/ 0 h 728037"/>
                <a:gd name="connsiteX3" fmla="*/ 959070 w 959070"/>
                <a:gd name="connsiteY3" fmla="*/ 364019 h 728037"/>
                <a:gd name="connsiteX4" fmla="*/ 604142 w 959070"/>
                <a:gd name="connsiteY4" fmla="*/ 728037 h 728037"/>
                <a:gd name="connsiteX5" fmla="*/ 0 w 959070"/>
                <a:gd name="connsiteY5" fmla="*/ 728037 h 728037"/>
                <a:gd name="connsiteX0" fmla="*/ 354333 w 959070"/>
                <a:gd name="connsiteY0" fmla="*/ 2518 h 728037"/>
                <a:gd name="connsiteX1" fmla="*/ 604142 w 959070"/>
                <a:gd name="connsiteY1" fmla="*/ 0 h 728037"/>
                <a:gd name="connsiteX2" fmla="*/ 959070 w 959070"/>
                <a:gd name="connsiteY2" fmla="*/ 364019 h 728037"/>
                <a:gd name="connsiteX3" fmla="*/ 604142 w 959070"/>
                <a:gd name="connsiteY3" fmla="*/ 728037 h 728037"/>
                <a:gd name="connsiteX4" fmla="*/ 0 w 959070"/>
                <a:gd name="connsiteY4" fmla="*/ 728037 h 728037"/>
                <a:gd name="connsiteX0" fmla="*/ 2021 w 606758"/>
                <a:gd name="connsiteY0" fmla="*/ 2518 h 730553"/>
                <a:gd name="connsiteX1" fmla="*/ 251830 w 606758"/>
                <a:gd name="connsiteY1" fmla="*/ 0 h 730553"/>
                <a:gd name="connsiteX2" fmla="*/ 606758 w 606758"/>
                <a:gd name="connsiteY2" fmla="*/ 364019 h 730553"/>
                <a:gd name="connsiteX3" fmla="*/ 251830 w 606758"/>
                <a:gd name="connsiteY3" fmla="*/ 728037 h 730553"/>
                <a:gd name="connsiteX4" fmla="*/ 0 w 606758"/>
                <a:gd name="connsiteY4" fmla="*/ 730553 h 7305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758" h="730553">
                  <a:moveTo>
                    <a:pt x="2021" y="2518"/>
                  </a:moveTo>
                  <a:lnTo>
                    <a:pt x="251830" y="0"/>
                  </a:lnTo>
                  <a:cubicBezTo>
                    <a:pt x="447832" y="0"/>
                    <a:pt x="606758" y="162966"/>
                    <a:pt x="606758" y="364019"/>
                  </a:cubicBezTo>
                  <a:cubicBezTo>
                    <a:pt x="606758" y="565071"/>
                    <a:pt x="447832" y="728037"/>
                    <a:pt x="251830" y="728037"/>
                  </a:cubicBezTo>
                  <a:lnTo>
                    <a:pt x="0" y="730553"/>
                  </a:lnTo>
                </a:path>
              </a:pathLst>
            </a:custGeom>
            <a:noFill/>
            <a:ln w="12700" cap="rnd">
              <a:solidFill>
                <a:schemeClr val="tx2"/>
              </a:solidFill>
              <a:miter lim="800000"/>
              <a:headEnd/>
              <a:tailEnd/>
            </a:ln>
            <a:effectLst/>
          </p:spPr>
          <p:txBody>
            <a:bodyPr wrap="square" lIns="93260" tIns="46630" rIns="93260" bIns="46630" numCol="1" spcCol="0" rtlCol="0" fromWordArt="0" anchor="ctr" anchorCtr="0" forceAA="0" compatLnSpc="1"/>
            <a:lstStyle/>
            <a:p>
              <a:pPr defTabSz="932597"/>
              <a:endParaRPr lang="en-US" sz="1836">
                <a:solidFill>
                  <a:prstClr val="black"/>
                </a:solidFill>
                <a:latin typeface="Arial" charset="0"/>
                <a:ea typeface="Arial" charset="0"/>
                <a:cs typeface="Arial" charset="0"/>
              </a:endParaRPr>
            </a:p>
          </p:txBody>
        </p:sp>
        <p:cxnSp>
          <p:nvCxnSpPr>
            <p:cNvPr id="245" name="Straight Connector 244">
              <a:extLst>
                <a:ext uri="{FF2B5EF4-FFF2-40B4-BE49-F238E27FC236}">
                  <a16:creationId xmlns:a16="http://schemas.microsoft.com/office/drawing/2014/main" id="{007E67B2-D0A7-D74C-9E69-61CD4D30EC88}"/>
                </a:ext>
              </a:extLst>
            </p:cNvPr>
            <p:cNvCxnSpPr/>
            <p:nvPr/>
          </p:nvCxnSpPr>
          <p:spPr>
            <a:xfrm>
              <a:off x="1376363" y="4464050"/>
              <a:ext cx="730250" cy="0"/>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46" name="Group 245">
              <a:extLst>
                <a:ext uri="{FF2B5EF4-FFF2-40B4-BE49-F238E27FC236}">
                  <a16:creationId xmlns:a16="http://schemas.microsoft.com/office/drawing/2014/main" id="{C026A1FE-C430-2E45-9379-6CD045146CB6}"/>
                </a:ext>
              </a:extLst>
            </p:cNvPr>
            <p:cNvGrpSpPr/>
            <p:nvPr/>
          </p:nvGrpSpPr>
          <p:grpSpPr>
            <a:xfrm>
              <a:off x="1282701" y="4543425"/>
              <a:ext cx="917575" cy="0"/>
              <a:chOff x="1279525" y="4543425"/>
              <a:chExt cx="917575" cy="0"/>
            </a:xfrm>
            <a:grpFill/>
          </p:grpSpPr>
          <p:cxnSp>
            <p:nvCxnSpPr>
              <p:cNvPr id="256" name="Straight Connector 255">
                <a:extLst>
                  <a:ext uri="{FF2B5EF4-FFF2-40B4-BE49-F238E27FC236}">
                    <a16:creationId xmlns:a16="http://schemas.microsoft.com/office/drawing/2014/main" id="{29F61AD7-75EF-7742-9ED2-583A9E30FAB8}"/>
                  </a:ext>
                </a:extLst>
              </p:cNvPr>
              <p:cNvCxnSpPr/>
              <p:nvPr/>
            </p:nvCxnSpPr>
            <p:spPr>
              <a:xfrm>
                <a:off x="1279525" y="4543425"/>
                <a:ext cx="92075" cy="0"/>
              </a:xfrm>
              <a:prstGeom prst="line">
                <a:avLst/>
              </a:prstGeom>
              <a:grpFill/>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E564B59E-EE1A-A34B-93D7-BD3FC1C8E0F8}"/>
                  </a:ext>
                </a:extLst>
              </p:cNvPr>
              <p:cNvCxnSpPr/>
              <p:nvPr/>
            </p:nvCxnSpPr>
            <p:spPr>
              <a:xfrm>
                <a:off x="2105025" y="4543425"/>
                <a:ext cx="92075" cy="0"/>
              </a:xfrm>
              <a:prstGeom prst="line">
                <a:avLst/>
              </a:prstGeom>
              <a:grpFill/>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47" name="Group 246">
              <a:extLst>
                <a:ext uri="{FF2B5EF4-FFF2-40B4-BE49-F238E27FC236}">
                  <a16:creationId xmlns:a16="http://schemas.microsoft.com/office/drawing/2014/main" id="{2640D975-9B5E-2A48-8F9C-3BB2A731421A}"/>
                </a:ext>
              </a:extLst>
            </p:cNvPr>
            <p:cNvGrpSpPr/>
            <p:nvPr/>
          </p:nvGrpSpPr>
          <p:grpSpPr>
            <a:xfrm>
              <a:off x="1377951" y="4070350"/>
              <a:ext cx="727075" cy="244475"/>
              <a:chOff x="1371600" y="4070350"/>
              <a:chExt cx="727075" cy="244475"/>
            </a:xfrm>
            <a:grpFill/>
          </p:grpSpPr>
          <p:cxnSp>
            <p:nvCxnSpPr>
              <p:cNvPr id="250" name="Straight Connector 249">
                <a:extLst>
                  <a:ext uri="{FF2B5EF4-FFF2-40B4-BE49-F238E27FC236}">
                    <a16:creationId xmlns:a16="http://schemas.microsoft.com/office/drawing/2014/main" id="{EC4C98F7-705F-F04F-AF5D-B951666F049A}"/>
                  </a:ext>
                </a:extLst>
              </p:cNvPr>
              <p:cNvCxnSpPr/>
              <p:nvPr/>
            </p:nvCxnSpPr>
            <p:spPr>
              <a:xfrm>
                <a:off x="1879600" y="4314825"/>
                <a:ext cx="219075" cy="0"/>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0AC94879-9278-514A-8C4A-AD14902FB210}"/>
                  </a:ext>
                </a:extLst>
              </p:cNvPr>
              <p:cNvCxnSpPr/>
              <p:nvPr/>
            </p:nvCxnSpPr>
            <p:spPr>
              <a:xfrm>
                <a:off x="1879600" y="4191000"/>
                <a:ext cx="219075" cy="0"/>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84ADF3D9-F9DA-464D-893F-057D08F28B43}"/>
                  </a:ext>
                </a:extLst>
              </p:cNvPr>
              <p:cNvCxnSpPr/>
              <p:nvPr/>
            </p:nvCxnSpPr>
            <p:spPr>
              <a:xfrm>
                <a:off x="1876425" y="4070350"/>
                <a:ext cx="215900" cy="0"/>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0773F37B-FCFF-5D4A-AF97-C8ACB460A01A}"/>
                  </a:ext>
                </a:extLst>
              </p:cNvPr>
              <p:cNvCxnSpPr/>
              <p:nvPr/>
            </p:nvCxnSpPr>
            <p:spPr>
              <a:xfrm>
                <a:off x="1371600" y="4314825"/>
                <a:ext cx="219075" cy="0"/>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C241F722-A55E-C446-BB96-06E447C87476}"/>
                  </a:ext>
                </a:extLst>
              </p:cNvPr>
              <p:cNvCxnSpPr/>
              <p:nvPr/>
            </p:nvCxnSpPr>
            <p:spPr>
              <a:xfrm>
                <a:off x="1371600" y="4191000"/>
                <a:ext cx="219075" cy="0"/>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D028F4F6-0DBF-DD4E-8F8E-C81255A02D8C}"/>
                  </a:ext>
                </a:extLst>
              </p:cNvPr>
              <p:cNvCxnSpPr/>
              <p:nvPr/>
            </p:nvCxnSpPr>
            <p:spPr>
              <a:xfrm>
                <a:off x="1377950" y="4070350"/>
                <a:ext cx="215900" cy="0"/>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48" name="Straight Connector 247">
              <a:extLst>
                <a:ext uri="{FF2B5EF4-FFF2-40B4-BE49-F238E27FC236}">
                  <a16:creationId xmlns:a16="http://schemas.microsoft.com/office/drawing/2014/main" id="{534B74FA-AABA-9240-B164-5F776BE4F8E9}"/>
                </a:ext>
              </a:extLst>
            </p:cNvPr>
            <p:cNvCxnSpPr/>
            <p:nvPr/>
          </p:nvCxnSpPr>
          <p:spPr>
            <a:xfrm>
              <a:off x="1741488" y="5214332"/>
              <a:ext cx="1" cy="253018"/>
            </a:xfrm>
            <a:prstGeom prst="line">
              <a:avLst/>
            </a:prstGeom>
            <a:grpFill/>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04F5F2A3-AE10-CF4A-A17B-56F269BCAC6B}"/>
                </a:ext>
              </a:extLst>
            </p:cNvPr>
            <p:cNvCxnSpPr/>
            <p:nvPr/>
          </p:nvCxnSpPr>
          <p:spPr>
            <a:xfrm>
              <a:off x="1511301" y="5464175"/>
              <a:ext cx="460375" cy="0"/>
            </a:xfrm>
            <a:prstGeom prst="line">
              <a:avLst/>
            </a:prstGeom>
            <a:grpFill/>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F193B88A-623D-8C4F-9F01-4B7DF84CC05C}"/>
              </a:ext>
            </a:extLst>
          </p:cNvPr>
          <p:cNvGrpSpPr/>
          <p:nvPr/>
        </p:nvGrpSpPr>
        <p:grpSpPr>
          <a:xfrm>
            <a:off x="4752668" y="4467176"/>
            <a:ext cx="448888" cy="806983"/>
            <a:chOff x="1280629" y="3804612"/>
            <a:chExt cx="921718" cy="1662738"/>
          </a:xfrm>
        </p:grpSpPr>
        <p:sp>
          <p:nvSpPr>
            <p:cNvPr id="128" name="Freeform 127">
              <a:extLst>
                <a:ext uri="{FF2B5EF4-FFF2-40B4-BE49-F238E27FC236}">
                  <a16:creationId xmlns:a16="http://schemas.microsoft.com/office/drawing/2014/main" id="{3FAA555F-2C6A-0A45-B479-072818E4F628}"/>
                </a:ext>
              </a:extLst>
            </p:cNvPr>
            <p:cNvSpPr/>
            <p:nvPr/>
          </p:nvSpPr>
          <p:spPr bwMode="auto">
            <a:xfrm rot="5400000">
              <a:off x="1084489" y="4097592"/>
              <a:ext cx="1313998" cy="728037"/>
            </a:xfrm>
            <a:custGeom>
              <a:avLst/>
              <a:gdLst>
                <a:gd name="connsiteX0" fmla="*/ 0 w 1313998"/>
                <a:gd name="connsiteY0" fmla="*/ 364019 h 728037"/>
                <a:gd name="connsiteX1" fmla="*/ 354928 w 1313998"/>
                <a:gd name="connsiteY1" fmla="*/ 0 h 728037"/>
                <a:gd name="connsiteX2" fmla="*/ 959070 w 1313998"/>
                <a:gd name="connsiteY2" fmla="*/ 0 h 728037"/>
                <a:gd name="connsiteX3" fmla="*/ 1313998 w 1313998"/>
                <a:gd name="connsiteY3" fmla="*/ 364019 h 728037"/>
                <a:gd name="connsiteX4" fmla="*/ 959070 w 1313998"/>
                <a:gd name="connsiteY4" fmla="*/ 728037 h 728037"/>
                <a:gd name="connsiteX5" fmla="*/ 354928 w 1313998"/>
                <a:gd name="connsiteY5" fmla="*/ 728037 h 728037"/>
                <a:gd name="connsiteX6" fmla="*/ 0 w 1313998"/>
                <a:gd name="connsiteY6" fmla="*/ 364019 h 728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998" h="728037">
                  <a:moveTo>
                    <a:pt x="0" y="364019"/>
                  </a:moveTo>
                  <a:cubicBezTo>
                    <a:pt x="0" y="162966"/>
                    <a:pt x="158926" y="0"/>
                    <a:pt x="354928" y="0"/>
                  </a:cubicBezTo>
                  <a:lnTo>
                    <a:pt x="959070" y="0"/>
                  </a:lnTo>
                  <a:cubicBezTo>
                    <a:pt x="1155072" y="0"/>
                    <a:pt x="1313998" y="162966"/>
                    <a:pt x="1313998" y="364019"/>
                  </a:cubicBezTo>
                  <a:cubicBezTo>
                    <a:pt x="1313998" y="565071"/>
                    <a:pt x="1155072" y="728037"/>
                    <a:pt x="959070" y="728037"/>
                  </a:cubicBezTo>
                  <a:lnTo>
                    <a:pt x="354928" y="728037"/>
                  </a:lnTo>
                  <a:cubicBezTo>
                    <a:pt x="158926" y="728037"/>
                    <a:pt x="0" y="565071"/>
                    <a:pt x="0" y="364019"/>
                  </a:cubicBezTo>
                  <a:close/>
                </a:path>
              </a:pathLst>
            </a:custGeom>
            <a:noFill/>
            <a:ln w="12700" cap="rnd">
              <a:solidFill>
                <a:schemeClr val="tx2"/>
              </a:solidFill>
              <a:miter lim="800000"/>
              <a:headEnd/>
              <a:tailEnd/>
            </a:ln>
            <a:effectLst/>
          </p:spPr>
          <p:txBody>
            <a:bodyPr wrap="square" lIns="93260" tIns="46630" rIns="93260" bIns="46630" numCol="1" spcCol="0" rtlCol="0" fromWordArt="0" anchor="ctr" anchorCtr="0" forceAA="0" compatLnSpc="1"/>
            <a:lstStyle/>
            <a:p>
              <a:pPr defTabSz="932597"/>
              <a:endParaRPr lang="en-US" sz="1836">
                <a:solidFill>
                  <a:prstClr val="black"/>
                </a:solidFill>
                <a:latin typeface="Arial" charset="0"/>
                <a:ea typeface="Arial" charset="0"/>
                <a:cs typeface="Arial" charset="0"/>
              </a:endParaRPr>
            </a:p>
          </p:txBody>
        </p:sp>
        <p:sp>
          <p:nvSpPr>
            <p:cNvPr id="129" name="Freeform 128">
              <a:extLst>
                <a:ext uri="{FF2B5EF4-FFF2-40B4-BE49-F238E27FC236}">
                  <a16:creationId xmlns:a16="http://schemas.microsoft.com/office/drawing/2014/main" id="{2D339D6F-7D86-6C43-A159-26FC0E6EA334}"/>
                </a:ext>
              </a:extLst>
            </p:cNvPr>
            <p:cNvSpPr/>
            <p:nvPr/>
          </p:nvSpPr>
          <p:spPr bwMode="auto">
            <a:xfrm rot="5400000">
              <a:off x="1358723" y="4370708"/>
              <a:ext cx="765530" cy="921718"/>
            </a:xfrm>
            <a:custGeom>
              <a:avLst/>
              <a:gdLst>
                <a:gd name="connsiteX0" fmla="*/ 0 w 1313998"/>
                <a:gd name="connsiteY0" fmla="*/ 364019 h 728037"/>
                <a:gd name="connsiteX1" fmla="*/ 354928 w 1313998"/>
                <a:gd name="connsiteY1" fmla="*/ 0 h 728037"/>
                <a:gd name="connsiteX2" fmla="*/ 959070 w 1313998"/>
                <a:gd name="connsiteY2" fmla="*/ 0 h 728037"/>
                <a:gd name="connsiteX3" fmla="*/ 1313998 w 1313998"/>
                <a:gd name="connsiteY3" fmla="*/ 364019 h 728037"/>
                <a:gd name="connsiteX4" fmla="*/ 959070 w 1313998"/>
                <a:gd name="connsiteY4" fmla="*/ 728037 h 728037"/>
                <a:gd name="connsiteX5" fmla="*/ 354928 w 1313998"/>
                <a:gd name="connsiteY5" fmla="*/ 728037 h 728037"/>
                <a:gd name="connsiteX6" fmla="*/ 0 w 1313998"/>
                <a:gd name="connsiteY6" fmla="*/ 364019 h 728037"/>
                <a:gd name="connsiteX0" fmla="*/ 0 w 1313998"/>
                <a:gd name="connsiteY0" fmla="*/ 364019 h 728037"/>
                <a:gd name="connsiteX1" fmla="*/ 354928 w 1313998"/>
                <a:gd name="connsiteY1" fmla="*/ 0 h 728037"/>
                <a:gd name="connsiteX2" fmla="*/ 959070 w 1313998"/>
                <a:gd name="connsiteY2" fmla="*/ 0 h 728037"/>
                <a:gd name="connsiteX3" fmla="*/ 1313998 w 1313998"/>
                <a:gd name="connsiteY3" fmla="*/ 364019 h 728037"/>
                <a:gd name="connsiteX4" fmla="*/ 959070 w 1313998"/>
                <a:gd name="connsiteY4" fmla="*/ 728037 h 728037"/>
                <a:gd name="connsiteX5" fmla="*/ 354928 w 1313998"/>
                <a:gd name="connsiteY5" fmla="*/ 728037 h 728037"/>
                <a:gd name="connsiteX6" fmla="*/ 72475 w 1313998"/>
                <a:gd name="connsiteY6" fmla="*/ 436494 h 728037"/>
                <a:gd name="connsiteX0" fmla="*/ 0 w 1313998"/>
                <a:gd name="connsiteY0" fmla="*/ 364019 h 728037"/>
                <a:gd name="connsiteX1" fmla="*/ 354928 w 1313998"/>
                <a:gd name="connsiteY1" fmla="*/ 0 h 728037"/>
                <a:gd name="connsiteX2" fmla="*/ 959070 w 1313998"/>
                <a:gd name="connsiteY2" fmla="*/ 0 h 728037"/>
                <a:gd name="connsiteX3" fmla="*/ 1313998 w 1313998"/>
                <a:gd name="connsiteY3" fmla="*/ 364019 h 728037"/>
                <a:gd name="connsiteX4" fmla="*/ 959070 w 1313998"/>
                <a:gd name="connsiteY4" fmla="*/ 728037 h 728037"/>
                <a:gd name="connsiteX5" fmla="*/ 354928 w 1313998"/>
                <a:gd name="connsiteY5" fmla="*/ 728037 h 728037"/>
                <a:gd name="connsiteX0" fmla="*/ 0 w 959070"/>
                <a:gd name="connsiteY0" fmla="*/ 0 h 728037"/>
                <a:gd name="connsiteX1" fmla="*/ 604142 w 959070"/>
                <a:gd name="connsiteY1" fmla="*/ 0 h 728037"/>
                <a:gd name="connsiteX2" fmla="*/ 959070 w 959070"/>
                <a:gd name="connsiteY2" fmla="*/ 364019 h 728037"/>
                <a:gd name="connsiteX3" fmla="*/ 604142 w 959070"/>
                <a:gd name="connsiteY3" fmla="*/ 728037 h 728037"/>
                <a:gd name="connsiteX4" fmla="*/ 0 w 959070"/>
                <a:gd name="connsiteY4" fmla="*/ 728037 h 728037"/>
                <a:gd name="connsiteX0" fmla="*/ 0 w 959070"/>
                <a:gd name="connsiteY0" fmla="*/ 0 h 728037"/>
                <a:gd name="connsiteX1" fmla="*/ 354333 w 959070"/>
                <a:gd name="connsiteY1" fmla="*/ 2518 h 728037"/>
                <a:gd name="connsiteX2" fmla="*/ 604142 w 959070"/>
                <a:gd name="connsiteY2" fmla="*/ 0 h 728037"/>
                <a:gd name="connsiteX3" fmla="*/ 959070 w 959070"/>
                <a:gd name="connsiteY3" fmla="*/ 364019 h 728037"/>
                <a:gd name="connsiteX4" fmla="*/ 604142 w 959070"/>
                <a:gd name="connsiteY4" fmla="*/ 728037 h 728037"/>
                <a:gd name="connsiteX5" fmla="*/ 0 w 959070"/>
                <a:gd name="connsiteY5" fmla="*/ 728037 h 728037"/>
                <a:gd name="connsiteX0" fmla="*/ 354333 w 959070"/>
                <a:gd name="connsiteY0" fmla="*/ 2518 h 728037"/>
                <a:gd name="connsiteX1" fmla="*/ 604142 w 959070"/>
                <a:gd name="connsiteY1" fmla="*/ 0 h 728037"/>
                <a:gd name="connsiteX2" fmla="*/ 959070 w 959070"/>
                <a:gd name="connsiteY2" fmla="*/ 364019 h 728037"/>
                <a:gd name="connsiteX3" fmla="*/ 604142 w 959070"/>
                <a:gd name="connsiteY3" fmla="*/ 728037 h 728037"/>
                <a:gd name="connsiteX4" fmla="*/ 0 w 959070"/>
                <a:gd name="connsiteY4" fmla="*/ 728037 h 728037"/>
                <a:gd name="connsiteX0" fmla="*/ 2021 w 606758"/>
                <a:gd name="connsiteY0" fmla="*/ 2518 h 730553"/>
                <a:gd name="connsiteX1" fmla="*/ 251830 w 606758"/>
                <a:gd name="connsiteY1" fmla="*/ 0 h 730553"/>
                <a:gd name="connsiteX2" fmla="*/ 606758 w 606758"/>
                <a:gd name="connsiteY2" fmla="*/ 364019 h 730553"/>
                <a:gd name="connsiteX3" fmla="*/ 251830 w 606758"/>
                <a:gd name="connsiteY3" fmla="*/ 728037 h 730553"/>
                <a:gd name="connsiteX4" fmla="*/ 0 w 606758"/>
                <a:gd name="connsiteY4" fmla="*/ 730553 h 7305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758" h="730553">
                  <a:moveTo>
                    <a:pt x="2021" y="2518"/>
                  </a:moveTo>
                  <a:lnTo>
                    <a:pt x="251830" y="0"/>
                  </a:lnTo>
                  <a:cubicBezTo>
                    <a:pt x="447832" y="0"/>
                    <a:pt x="606758" y="162966"/>
                    <a:pt x="606758" y="364019"/>
                  </a:cubicBezTo>
                  <a:cubicBezTo>
                    <a:pt x="606758" y="565071"/>
                    <a:pt x="447832" y="728037"/>
                    <a:pt x="251830" y="728037"/>
                  </a:cubicBezTo>
                  <a:lnTo>
                    <a:pt x="0" y="730553"/>
                  </a:lnTo>
                </a:path>
              </a:pathLst>
            </a:custGeom>
            <a:noFill/>
            <a:ln w="12700" cap="rnd">
              <a:solidFill>
                <a:schemeClr val="tx2"/>
              </a:solidFill>
              <a:miter lim="800000"/>
              <a:headEnd/>
              <a:tailEnd/>
            </a:ln>
            <a:effectLst/>
          </p:spPr>
          <p:txBody>
            <a:bodyPr wrap="square" lIns="93260" tIns="46630" rIns="93260" bIns="46630" numCol="1" spcCol="0" rtlCol="0" fromWordArt="0" anchor="ctr" anchorCtr="0" forceAA="0" compatLnSpc="1"/>
            <a:lstStyle/>
            <a:p>
              <a:pPr defTabSz="932597"/>
              <a:endParaRPr lang="en-US" sz="1836">
                <a:solidFill>
                  <a:prstClr val="black"/>
                </a:solidFill>
                <a:latin typeface="Arial" charset="0"/>
                <a:ea typeface="Arial" charset="0"/>
                <a:cs typeface="Arial" charset="0"/>
              </a:endParaRPr>
            </a:p>
          </p:txBody>
        </p:sp>
        <p:cxnSp>
          <p:nvCxnSpPr>
            <p:cNvPr id="130" name="Straight Connector 129">
              <a:extLst>
                <a:ext uri="{FF2B5EF4-FFF2-40B4-BE49-F238E27FC236}">
                  <a16:creationId xmlns:a16="http://schemas.microsoft.com/office/drawing/2014/main" id="{A2EA34A6-DD09-D641-BAB6-9A697EE78644}"/>
                </a:ext>
              </a:extLst>
            </p:cNvPr>
            <p:cNvCxnSpPr/>
            <p:nvPr/>
          </p:nvCxnSpPr>
          <p:spPr>
            <a:xfrm>
              <a:off x="1376363" y="4464050"/>
              <a:ext cx="73025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AFD919AD-B64C-4E4F-9F93-F20D385673B9}"/>
                </a:ext>
              </a:extLst>
            </p:cNvPr>
            <p:cNvGrpSpPr/>
            <p:nvPr/>
          </p:nvGrpSpPr>
          <p:grpSpPr>
            <a:xfrm>
              <a:off x="1282701" y="4543425"/>
              <a:ext cx="917575" cy="0"/>
              <a:chOff x="1279525" y="4543425"/>
              <a:chExt cx="917575" cy="0"/>
            </a:xfrm>
          </p:grpSpPr>
          <p:cxnSp>
            <p:nvCxnSpPr>
              <p:cNvPr id="141" name="Straight Connector 140">
                <a:extLst>
                  <a:ext uri="{FF2B5EF4-FFF2-40B4-BE49-F238E27FC236}">
                    <a16:creationId xmlns:a16="http://schemas.microsoft.com/office/drawing/2014/main" id="{9F1228E1-370D-7740-9BE5-F7F2A43AE063}"/>
                  </a:ext>
                </a:extLst>
              </p:cNvPr>
              <p:cNvCxnSpPr/>
              <p:nvPr/>
            </p:nvCxnSpPr>
            <p:spPr>
              <a:xfrm>
                <a:off x="1279525" y="4543425"/>
                <a:ext cx="920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AA553D76-7E62-9940-B404-14A233CB76CD}"/>
                  </a:ext>
                </a:extLst>
              </p:cNvPr>
              <p:cNvCxnSpPr/>
              <p:nvPr/>
            </p:nvCxnSpPr>
            <p:spPr>
              <a:xfrm>
                <a:off x="2105025" y="4543425"/>
                <a:ext cx="920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2" name="Group 131">
              <a:extLst>
                <a:ext uri="{FF2B5EF4-FFF2-40B4-BE49-F238E27FC236}">
                  <a16:creationId xmlns:a16="http://schemas.microsoft.com/office/drawing/2014/main" id="{F4212C25-B65A-7548-B0E5-07B96DB7C555}"/>
                </a:ext>
              </a:extLst>
            </p:cNvPr>
            <p:cNvGrpSpPr/>
            <p:nvPr/>
          </p:nvGrpSpPr>
          <p:grpSpPr>
            <a:xfrm>
              <a:off x="1377951" y="4070350"/>
              <a:ext cx="727075" cy="244475"/>
              <a:chOff x="1371600" y="4070350"/>
              <a:chExt cx="727075" cy="244475"/>
            </a:xfrm>
          </p:grpSpPr>
          <p:cxnSp>
            <p:nvCxnSpPr>
              <p:cNvPr id="135" name="Straight Connector 134">
                <a:extLst>
                  <a:ext uri="{FF2B5EF4-FFF2-40B4-BE49-F238E27FC236}">
                    <a16:creationId xmlns:a16="http://schemas.microsoft.com/office/drawing/2014/main" id="{36C88463-2B7D-8246-A2A0-F3136684612A}"/>
                  </a:ext>
                </a:extLst>
              </p:cNvPr>
              <p:cNvCxnSpPr/>
              <p:nvPr/>
            </p:nvCxnSpPr>
            <p:spPr>
              <a:xfrm>
                <a:off x="1879600" y="4314825"/>
                <a:ext cx="2190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1B9F153-791F-084A-913C-6DA67CEE0FE4}"/>
                  </a:ext>
                </a:extLst>
              </p:cNvPr>
              <p:cNvCxnSpPr/>
              <p:nvPr/>
            </p:nvCxnSpPr>
            <p:spPr>
              <a:xfrm>
                <a:off x="1879600" y="4191000"/>
                <a:ext cx="2190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0E66AD5-1F57-3B42-A454-3244FF470B24}"/>
                  </a:ext>
                </a:extLst>
              </p:cNvPr>
              <p:cNvCxnSpPr/>
              <p:nvPr/>
            </p:nvCxnSpPr>
            <p:spPr>
              <a:xfrm>
                <a:off x="1876425" y="4070350"/>
                <a:ext cx="21590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AA964E5-40C1-1D4E-93BC-177F8E83C236}"/>
                  </a:ext>
                </a:extLst>
              </p:cNvPr>
              <p:cNvCxnSpPr/>
              <p:nvPr/>
            </p:nvCxnSpPr>
            <p:spPr>
              <a:xfrm>
                <a:off x="1371600" y="4314825"/>
                <a:ext cx="2190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775329EF-F6B1-9241-A004-2DAB966B4C83}"/>
                  </a:ext>
                </a:extLst>
              </p:cNvPr>
              <p:cNvCxnSpPr/>
              <p:nvPr/>
            </p:nvCxnSpPr>
            <p:spPr>
              <a:xfrm>
                <a:off x="1371600" y="4191000"/>
                <a:ext cx="2190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AB875945-459C-4341-BD47-243F193718F4}"/>
                  </a:ext>
                </a:extLst>
              </p:cNvPr>
              <p:cNvCxnSpPr/>
              <p:nvPr/>
            </p:nvCxnSpPr>
            <p:spPr>
              <a:xfrm>
                <a:off x="1377950" y="4070350"/>
                <a:ext cx="21590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33" name="Straight Connector 132">
              <a:extLst>
                <a:ext uri="{FF2B5EF4-FFF2-40B4-BE49-F238E27FC236}">
                  <a16:creationId xmlns:a16="http://schemas.microsoft.com/office/drawing/2014/main" id="{5A41A1E9-52E4-1C4D-913D-042FBEF172BB}"/>
                </a:ext>
              </a:extLst>
            </p:cNvPr>
            <p:cNvCxnSpPr/>
            <p:nvPr/>
          </p:nvCxnSpPr>
          <p:spPr>
            <a:xfrm>
              <a:off x="1741488" y="5214332"/>
              <a:ext cx="1" cy="25301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54A28E5A-F8FB-8E40-AA1E-0FB85F6707F8}"/>
                </a:ext>
              </a:extLst>
            </p:cNvPr>
            <p:cNvCxnSpPr/>
            <p:nvPr/>
          </p:nvCxnSpPr>
          <p:spPr>
            <a:xfrm>
              <a:off x="1511301" y="5464175"/>
              <a:ext cx="4603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9" name="Group 278">
            <a:extLst>
              <a:ext uri="{FF2B5EF4-FFF2-40B4-BE49-F238E27FC236}">
                <a16:creationId xmlns:a16="http://schemas.microsoft.com/office/drawing/2014/main" id="{22259966-BC0B-094B-8423-543C67042CA7}"/>
              </a:ext>
            </a:extLst>
          </p:cNvPr>
          <p:cNvGrpSpPr/>
          <p:nvPr/>
        </p:nvGrpSpPr>
        <p:grpSpPr>
          <a:xfrm>
            <a:off x="7195504" y="4467176"/>
            <a:ext cx="448888" cy="806983"/>
            <a:chOff x="1280629" y="3804612"/>
            <a:chExt cx="921718" cy="1662738"/>
          </a:xfrm>
        </p:grpSpPr>
        <p:sp>
          <p:nvSpPr>
            <p:cNvPr id="280" name="Freeform 279">
              <a:extLst>
                <a:ext uri="{FF2B5EF4-FFF2-40B4-BE49-F238E27FC236}">
                  <a16:creationId xmlns:a16="http://schemas.microsoft.com/office/drawing/2014/main" id="{8C21BD22-D89D-1C41-9C8A-106715A6D237}"/>
                </a:ext>
              </a:extLst>
            </p:cNvPr>
            <p:cNvSpPr/>
            <p:nvPr/>
          </p:nvSpPr>
          <p:spPr bwMode="auto">
            <a:xfrm rot="5400000">
              <a:off x="1084489" y="4097592"/>
              <a:ext cx="1313998" cy="728037"/>
            </a:xfrm>
            <a:custGeom>
              <a:avLst/>
              <a:gdLst>
                <a:gd name="connsiteX0" fmla="*/ 0 w 1313998"/>
                <a:gd name="connsiteY0" fmla="*/ 364019 h 728037"/>
                <a:gd name="connsiteX1" fmla="*/ 354928 w 1313998"/>
                <a:gd name="connsiteY1" fmla="*/ 0 h 728037"/>
                <a:gd name="connsiteX2" fmla="*/ 959070 w 1313998"/>
                <a:gd name="connsiteY2" fmla="*/ 0 h 728037"/>
                <a:gd name="connsiteX3" fmla="*/ 1313998 w 1313998"/>
                <a:gd name="connsiteY3" fmla="*/ 364019 h 728037"/>
                <a:gd name="connsiteX4" fmla="*/ 959070 w 1313998"/>
                <a:gd name="connsiteY4" fmla="*/ 728037 h 728037"/>
                <a:gd name="connsiteX5" fmla="*/ 354928 w 1313998"/>
                <a:gd name="connsiteY5" fmla="*/ 728037 h 728037"/>
                <a:gd name="connsiteX6" fmla="*/ 0 w 1313998"/>
                <a:gd name="connsiteY6" fmla="*/ 364019 h 728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998" h="728037">
                  <a:moveTo>
                    <a:pt x="0" y="364019"/>
                  </a:moveTo>
                  <a:cubicBezTo>
                    <a:pt x="0" y="162966"/>
                    <a:pt x="158926" y="0"/>
                    <a:pt x="354928" y="0"/>
                  </a:cubicBezTo>
                  <a:lnTo>
                    <a:pt x="959070" y="0"/>
                  </a:lnTo>
                  <a:cubicBezTo>
                    <a:pt x="1155072" y="0"/>
                    <a:pt x="1313998" y="162966"/>
                    <a:pt x="1313998" y="364019"/>
                  </a:cubicBezTo>
                  <a:cubicBezTo>
                    <a:pt x="1313998" y="565071"/>
                    <a:pt x="1155072" y="728037"/>
                    <a:pt x="959070" y="728037"/>
                  </a:cubicBezTo>
                  <a:lnTo>
                    <a:pt x="354928" y="728037"/>
                  </a:lnTo>
                  <a:cubicBezTo>
                    <a:pt x="158926" y="728037"/>
                    <a:pt x="0" y="565071"/>
                    <a:pt x="0" y="364019"/>
                  </a:cubicBezTo>
                  <a:close/>
                </a:path>
              </a:pathLst>
            </a:custGeom>
            <a:noFill/>
            <a:ln w="12700" cap="rnd">
              <a:solidFill>
                <a:schemeClr val="tx2"/>
              </a:solidFill>
              <a:miter lim="800000"/>
              <a:headEnd/>
              <a:tailEnd/>
            </a:ln>
            <a:effectLst/>
          </p:spPr>
          <p:txBody>
            <a:bodyPr wrap="square" lIns="93260" tIns="46630" rIns="93260" bIns="46630" numCol="1" spcCol="0" rtlCol="0" fromWordArt="0" anchor="ctr" anchorCtr="0" forceAA="0" compatLnSpc="1"/>
            <a:lstStyle/>
            <a:p>
              <a:pPr defTabSz="932597"/>
              <a:endParaRPr lang="en-US" sz="1836">
                <a:solidFill>
                  <a:prstClr val="black"/>
                </a:solidFill>
                <a:latin typeface="Arial" charset="0"/>
                <a:ea typeface="Arial" charset="0"/>
                <a:cs typeface="Arial" charset="0"/>
              </a:endParaRPr>
            </a:p>
          </p:txBody>
        </p:sp>
        <p:sp>
          <p:nvSpPr>
            <p:cNvPr id="281" name="Freeform 280">
              <a:extLst>
                <a:ext uri="{FF2B5EF4-FFF2-40B4-BE49-F238E27FC236}">
                  <a16:creationId xmlns:a16="http://schemas.microsoft.com/office/drawing/2014/main" id="{80C13E90-B74A-AB4D-A8AB-FD51034D1A6C}"/>
                </a:ext>
              </a:extLst>
            </p:cNvPr>
            <p:cNvSpPr/>
            <p:nvPr/>
          </p:nvSpPr>
          <p:spPr bwMode="auto">
            <a:xfrm rot="5400000">
              <a:off x="1358723" y="4370708"/>
              <a:ext cx="765530" cy="921718"/>
            </a:xfrm>
            <a:custGeom>
              <a:avLst/>
              <a:gdLst>
                <a:gd name="connsiteX0" fmla="*/ 0 w 1313998"/>
                <a:gd name="connsiteY0" fmla="*/ 364019 h 728037"/>
                <a:gd name="connsiteX1" fmla="*/ 354928 w 1313998"/>
                <a:gd name="connsiteY1" fmla="*/ 0 h 728037"/>
                <a:gd name="connsiteX2" fmla="*/ 959070 w 1313998"/>
                <a:gd name="connsiteY2" fmla="*/ 0 h 728037"/>
                <a:gd name="connsiteX3" fmla="*/ 1313998 w 1313998"/>
                <a:gd name="connsiteY3" fmla="*/ 364019 h 728037"/>
                <a:gd name="connsiteX4" fmla="*/ 959070 w 1313998"/>
                <a:gd name="connsiteY4" fmla="*/ 728037 h 728037"/>
                <a:gd name="connsiteX5" fmla="*/ 354928 w 1313998"/>
                <a:gd name="connsiteY5" fmla="*/ 728037 h 728037"/>
                <a:gd name="connsiteX6" fmla="*/ 0 w 1313998"/>
                <a:gd name="connsiteY6" fmla="*/ 364019 h 728037"/>
                <a:gd name="connsiteX0" fmla="*/ 0 w 1313998"/>
                <a:gd name="connsiteY0" fmla="*/ 364019 h 728037"/>
                <a:gd name="connsiteX1" fmla="*/ 354928 w 1313998"/>
                <a:gd name="connsiteY1" fmla="*/ 0 h 728037"/>
                <a:gd name="connsiteX2" fmla="*/ 959070 w 1313998"/>
                <a:gd name="connsiteY2" fmla="*/ 0 h 728037"/>
                <a:gd name="connsiteX3" fmla="*/ 1313998 w 1313998"/>
                <a:gd name="connsiteY3" fmla="*/ 364019 h 728037"/>
                <a:gd name="connsiteX4" fmla="*/ 959070 w 1313998"/>
                <a:gd name="connsiteY4" fmla="*/ 728037 h 728037"/>
                <a:gd name="connsiteX5" fmla="*/ 354928 w 1313998"/>
                <a:gd name="connsiteY5" fmla="*/ 728037 h 728037"/>
                <a:gd name="connsiteX6" fmla="*/ 72475 w 1313998"/>
                <a:gd name="connsiteY6" fmla="*/ 436494 h 728037"/>
                <a:gd name="connsiteX0" fmla="*/ 0 w 1313998"/>
                <a:gd name="connsiteY0" fmla="*/ 364019 h 728037"/>
                <a:gd name="connsiteX1" fmla="*/ 354928 w 1313998"/>
                <a:gd name="connsiteY1" fmla="*/ 0 h 728037"/>
                <a:gd name="connsiteX2" fmla="*/ 959070 w 1313998"/>
                <a:gd name="connsiteY2" fmla="*/ 0 h 728037"/>
                <a:gd name="connsiteX3" fmla="*/ 1313998 w 1313998"/>
                <a:gd name="connsiteY3" fmla="*/ 364019 h 728037"/>
                <a:gd name="connsiteX4" fmla="*/ 959070 w 1313998"/>
                <a:gd name="connsiteY4" fmla="*/ 728037 h 728037"/>
                <a:gd name="connsiteX5" fmla="*/ 354928 w 1313998"/>
                <a:gd name="connsiteY5" fmla="*/ 728037 h 728037"/>
                <a:gd name="connsiteX0" fmla="*/ 0 w 959070"/>
                <a:gd name="connsiteY0" fmla="*/ 0 h 728037"/>
                <a:gd name="connsiteX1" fmla="*/ 604142 w 959070"/>
                <a:gd name="connsiteY1" fmla="*/ 0 h 728037"/>
                <a:gd name="connsiteX2" fmla="*/ 959070 w 959070"/>
                <a:gd name="connsiteY2" fmla="*/ 364019 h 728037"/>
                <a:gd name="connsiteX3" fmla="*/ 604142 w 959070"/>
                <a:gd name="connsiteY3" fmla="*/ 728037 h 728037"/>
                <a:gd name="connsiteX4" fmla="*/ 0 w 959070"/>
                <a:gd name="connsiteY4" fmla="*/ 728037 h 728037"/>
                <a:gd name="connsiteX0" fmla="*/ 0 w 959070"/>
                <a:gd name="connsiteY0" fmla="*/ 0 h 728037"/>
                <a:gd name="connsiteX1" fmla="*/ 354333 w 959070"/>
                <a:gd name="connsiteY1" fmla="*/ 2518 h 728037"/>
                <a:gd name="connsiteX2" fmla="*/ 604142 w 959070"/>
                <a:gd name="connsiteY2" fmla="*/ 0 h 728037"/>
                <a:gd name="connsiteX3" fmla="*/ 959070 w 959070"/>
                <a:gd name="connsiteY3" fmla="*/ 364019 h 728037"/>
                <a:gd name="connsiteX4" fmla="*/ 604142 w 959070"/>
                <a:gd name="connsiteY4" fmla="*/ 728037 h 728037"/>
                <a:gd name="connsiteX5" fmla="*/ 0 w 959070"/>
                <a:gd name="connsiteY5" fmla="*/ 728037 h 728037"/>
                <a:gd name="connsiteX0" fmla="*/ 354333 w 959070"/>
                <a:gd name="connsiteY0" fmla="*/ 2518 h 728037"/>
                <a:gd name="connsiteX1" fmla="*/ 604142 w 959070"/>
                <a:gd name="connsiteY1" fmla="*/ 0 h 728037"/>
                <a:gd name="connsiteX2" fmla="*/ 959070 w 959070"/>
                <a:gd name="connsiteY2" fmla="*/ 364019 h 728037"/>
                <a:gd name="connsiteX3" fmla="*/ 604142 w 959070"/>
                <a:gd name="connsiteY3" fmla="*/ 728037 h 728037"/>
                <a:gd name="connsiteX4" fmla="*/ 0 w 959070"/>
                <a:gd name="connsiteY4" fmla="*/ 728037 h 728037"/>
                <a:gd name="connsiteX0" fmla="*/ 2021 w 606758"/>
                <a:gd name="connsiteY0" fmla="*/ 2518 h 730553"/>
                <a:gd name="connsiteX1" fmla="*/ 251830 w 606758"/>
                <a:gd name="connsiteY1" fmla="*/ 0 h 730553"/>
                <a:gd name="connsiteX2" fmla="*/ 606758 w 606758"/>
                <a:gd name="connsiteY2" fmla="*/ 364019 h 730553"/>
                <a:gd name="connsiteX3" fmla="*/ 251830 w 606758"/>
                <a:gd name="connsiteY3" fmla="*/ 728037 h 730553"/>
                <a:gd name="connsiteX4" fmla="*/ 0 w 606758"/>
                <a:gd name="connsiteY4" fmla="*/ 730553 h 7305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758" h="730553">
                  <a:moveTo>
                    <a:pt x="2021" y="2518"/>
                  </a:moveTo>
                  <a:lnTo>
                    <a:pt x="251830" y="0"/>
                  </a:lnTo>
                  <a:cubicBezTo>
                    <a:pt x="447832" y="0"/>
                    <a:pt x="606758" y="162966"/>
                    <a:pt x="606758" y="364019"/>
                  </a:cubicBezTo>
                  <a:cubicBezTo>
                    <a:pt x="606758" y="565071"/>
                    <a:pt x="447832" y="728037"/>
                    <a:pt x="251830" y="728037"/>
                  </a:cubicBezTo>
                  <a:lnTo>
                    <a:pt x="0" y="730553"/>
                  </a:lnTo>
                </a:path>
              </a:pathLst>
            </a:custGeom>
            <a:noFill/>
            <a:ln w="12700" cap="rnd">
              <a:solidFill>
                <a:schemeClr val="tx2"/>
              </a:solidFill>
              <a:miter lim="800000"/>
              <a:headEnd/>
              <a:tailEnd/>
            </a:ln>
            <a:effectLst/>
          </p:spPr>
          <p:txBody>
            <a:bodyPr wrap="square" lIns="93260" tIns="46630" rIns="93260" bIns="46630" numCol="1" spcCol="0" rtlCol="0" fromWordArt="0" anchor="ctr" anchorCtr="0" forceAA="0" compatLnSpc="1"/>
            <a:lstStyle/>
            <a:p>
              <a:pPr defTabSz="932597"/>
              <a:endParaRPr lang="en-US" sz="1836">
                <a:solidFill>
                  <a:prstClr val="black"/>
                </a:solidFill>
                <a:latin typeface="Arial" charset="0"/>
                <a:ea typeface="Arial" charset="0"/>
                <a:cs typeface="Arial" charset="0"/>
              </a:endParaRPr>
            </a:p>
          </p:txBody>
        </p:sp>
        <p:cxnSp>
          <p:nvCxnSpPr>
            <p:cNvPr id="282" name="Straight Connector 281">
              <a:extLst>
                <a:ext uri="{FF2B5EF4-FFF2-40B4-BE49-F238E27FC236}">
                  <a16:creationId xmlns:a16="http://schemas.microsoft.com/office/drawing/2014/main" id="{A70B666C-FBF5-4A4F-826B-2B7A07BB311B}"/>
                </a:ext>
              </a:extLst>
            </p:cNvPr>
            <p:cNvCxnSpPr/>
            <p:nvPr/>
          </p:nvCxnSpPr>
          <p:spPr>
            <a:xfrm>
              <a:off x="1376363" y="4464050"/>
              <a:ext cx="73025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83" name="Group 282">
              <a:extLst>
                <a:ext uri="{FF2B5EF4-FFF2-40B4-BE49-F238E27FC236}">
                  <a16:creationId xmlns:a16="http://schemas.microsoft.com/office/drawing/2014/main" id="{B0CDCDD0-AA4B-6C4D-9B5E-FB883736D5E6}"/>
                </a:ext>
              </a:extLst>
            </p:cNvPr>
            <p:cNvGrpSpPr/>
            <p:nvPr/>
          </p:nvGrpSpPr>
          <p:grpSpPr>
            <a:xfrm>
              <a:off x="1282701" y="4543425"/>
              <a:ext cx="917575" cy="0"/>
              <a:chOff x="1279525" y="4543425"/>
              <a:chExt cx="917575" cy="0"/>
            </a:xfrm>
          </p:grpSpPr>
          <p:cxnSp>
            <p:nvCxnSpPr>
              <p:cNvPr id="293" name="Straight Connector 292">
                <a:extLst>
                  <a:ext uri="{FF2B5EF4-FFF2-40B4-BE49-F238E27FC236}">
                    <a16:creationId xmlns:a16="http://schemas.microsoft.com/office/drawing/2014/main" id="{F38EB063-D166-8245-9118-6F30260F2734}"/>
                  </a:ext>
                </a:extLst>
              </p:cNvPr>
              <p:cNvCxnSpPr/>
              <p:nvPr/>
            </p:nvCxnSpPr>
            <p:spPr>
              <a:xfrm>
                <a:off x="1279525" y="4543425"/>
                <a:ext cx="920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6662A627-8618-F444-B908-C546F43F4B41}"/>
                  </a:ext>
                </a:extLst>
              </p:cNvPr>
              <p:cNvCxnSpPr/>
              <p:nvPr/>
            </p:nvCxnSpPr>
            <p:spPr>
              <a:xfrm>
                <a:off x="2105025" y="4543425"/>
                <a:ext cx="920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84" name="Group 283">
              <a:extLst>
                <a:ext uri="{FF2B5EF4-FFF2-40B4-BE49-F238E27FC236}">
                  <a16:creationId xmlns:a16="http://schemas.microsoft.com/office/drawing/2014/main" id="{A215F53C-6DA5-0446-803E-CF7851E1D300}"/>
                </a:ext>
              </a:extLst>
            </p:cNvPr>
            <p:cNvGrpSpPr/>
            <p:nvPr/>
          </p:nvGrpSpPr>
          <p:grpSpPr>
            <a:xfrm>
              <a:off x="1377951" y="4070350"/>
              <a:ext cx="727075" cy="244475"/>
              <a:chOff x="1371600" y="4070350"/>
              <a:chExt cx="727075" cy="244475"/>
            </a:xfrm>
          </p:grpSpPr>
          <p:cxnSp>
            <p:nvCxnSpPr>
              <p:cNvPr id="287" name="Straight Connector 286">
                <a:extLst>
                  <a:ext uri="{FF2B5EF4-FFF2-40B4-BE49-F238E27FC236}">
                    <a16:creationId xmlns:a16="http://schemas.microsoft.com/office/drawing/2014/main" id="{A2F8B867-0464-0342-92AC-F0B810894321}"/>
                  </a:ext>
                </a:extLst>
              </p:cNvPr>
              <p:cNvCxnSpPr/>
              <p:nvPr/>
            </p:nvCxnSpPr>
            <p:spPr>
              <a:xfrm>
                <a:off x="1879600" y="4314825"/>
                <a:ext cx="2190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1B6897F9-95BD-C144-B322-9B2049307B94}"/>
                  </a:ext>
                </a:extLst>
              </p:cNvPr>
              <p:cNvCxnSpPr/>
              <p:nvPr/>
            </p:nvCxnSpPr>
            <p:spPr>
              <a:xfrm>
                <a:off x="1879600" y="4191000"/>
                <a:ext cx="2190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3DF1DCFE-D13B-3D4B-B24E-D9C6A5CD3C34}"/>
                  </a:ext>
                </a:extLst>
              </p:cNvPr>
              <p:cNvCxnSpPr/>
              <p:nvPr/>
            </p:nvCxnSpPr>
            <p:spPr>
              <a:xfrm>
                <a:off x="1876425" y="4070350"/>
                <a:ext cx="21590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37734818-8E8B-B448-9F80-C5C7AB578ADC}"/>
                  </a:ext>
                </a:extLst>
              </p:cNvPr>
              <p:cNvCxnSpPr/>
              <p:nvPr/>
            </p:nvCxnSpPr>
            <p:spPr>
              <a:xfrm>
                <a:off x="1371600" y="4314825"/>
                <a:ext cx="2190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D4388F67-B7EA-2A45-8B16-0B79C42A7AE7}"/>
                  </a:ext>
                </a:extLst>
              </p:cNvPr>
              <p:cNvCxnSpPr/>
              <p:nvPr/>
            </p:nvCxnSpPr>
            <p:spPr>
              <a:xfrm>
                <a:off x="1371600" y="4191000"/>
                <a:ext cx="2190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2" name="Straight Connector 291">
                <a:extLst>
                  <a:ext uri="{FF2B5EF4-FFF2-40B4-BE49-F238E27FC236}">
                    <a16:creationId xmlns:a16="http://schemas.microsoft.com/office/drawing/2014/main" id="{0522B46F-F1E2-534E-A71E-6ED81BD421C8}"/>
                  </a:ext>
                </a:extLst>
              </p:cNvPr>
              <p:cNvCxnSpPr/>
              <p:nvPr/>
            </p:nvCxnSpPr>
            <p:spPr>
              <a:xfrm>
                <a:off x="1377950" y="4070350"/>
                <a:ext cx="21590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85" name="Straight Connector 284">
              <a:extLst>
                <a:ext uri="{FF2B5EF4-FFF2-40B4-BE49-F238E27FC236}">
                  <a16:creationId xmlns:a16="http://schemas.microsoft.com/office/drawing/2014/main" id="{659391DC-33F0-1F40-A520-F4877488BB62}"/>
                </a:ext>
              </a:extLst>
            </p:cNvPr>
            <p:cNvCxnSpPr/>
            <p:nvPr/>
          </p:nvCxnSpPr>
          <p:spPr>
            <a:xfrm>
              <a:off x="1741488" y="5214332"/>
              <a:ext cx="1" cy="25301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id="{E9F79565-7893-9A47-B1CB-68E73D925D2F}"/>
                </a:ext>
              </a:extLst>
            </p:cNvPr>
            <p:cNvCxnSpPr/>
            <p:nvPr/>
          </p:nvCxnSpPr>
          <p:spPr>
            <a:xfrm>
              <a:off x="1511301" y="5464175"/>
              <a:ext cx="4603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95" name="Group 294">
            <a:extLst>
              <a:ext uri="{FF2B5EF4-FFF2-40B4-BE49-F238E27FC236}">
                <a16:creationId xmlns:a16="http://schemas.microsoft.com/office/drawing/2014/main" id="{80AD4380-465C-E540-AE10-C245D7EF24DB}"/>
              </a:ext>
            </a:extLst>
          </p:cNvPr>
          <p:cNvGrpSpPr/>
          <p:nvPr/>
        </p:nvGrpSpPr>
        <p:grpSpPr>
          <a:xfrm>
            <a:off x="6925291" y="4132499"/>
            <a:ext cx="982001" cy="982001"/>
            <a:chOff x="6788592" y="4051838"/>
            <a:chExt cx="962833" cy="962833"/>
          </a:xfrm>
        </p:grpSpPr>
        <p:sp>
          <p:nvSpPr>
            <p:cNvPr id="296" name="Arc 295">
              <a:extLst>
                <a:ext uri="{FF2B5EF4-FFF2-40B4-BE49-F238E27FC236}">
                  <a16:creationId xmlns:a16="http://schemas.microsoft.com/office/drawing/2014/main" id="{9513A8AD-4A91-E34B-A46A-8ED0C40C2773}"/>
                </a:ext>
              </a:extLst>
            </p:cNvPr>
            <p:cNvSpPr/>
            <p:nvPr/>
          </p:nvSpPr>
          <p:spPr>
            <a:xfrm>
              <a:off x="6957187" y="4251028"/>
              <a:ext cx="625642" cy="625642"/>
            </a:xfrm>
            <a:prstGeom prst="arc">
              <a:avLst>
                <a:gd name="adj1" fmla="val 13083931"/>
                <a:gd name="adj2" fmla="val 19321324"/>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a:solidFill>
                  <a:prstClr val="black"/>
                </a:solidFill>
                <a:latin typeface="Calibri" panose="020F0502020204030204"/>
              </a:endParaRPr>
            </a:p>
          </p:txBody>
        </p:sp>
        <p:sp>
          <p:nvSpPr>
            <p:cNvPr id="297" name="Arc 296">
              <a:extLst>
                <a:ext uri="{FF2B5EF4-FFF2-40B4-BE49-F238E27FC236}">
                  <a16:creationId xmlns:a16="http://schemas.microsoft.com/office/drawing/2014/main" id="{3D1DFFEF-824F-E54D-B4FC-0B45D9FC09CE}"/>
                </a:ext>
              </a:extLst>
            </p:cNvPr>
            <p:cNvSpPr/>
            <p:nvPr/>
          </p:nvSpPr>
          <p:spPr>
            <a:xfrm>
              <a:off x="6863746" y="4157587"/>
              <a:ext cx="812524" cy="812524"/>
            </a:xfrm>
            <a:prstGeom prst="arc">
              <a:avLst>
                <a:gd name="adj1" fmla="val 13191016"/>
                <a:gd name="adj2" fmla="val 19225168"/>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a:solidFill>
                  <a:prstClr val="black"/>
                </a:solidFill>
                <a:latin typeface="Calibri" panose="020F0502020204030204"/>
              </a:endParaRPr>
            </a:p>
          </p:txBody>
        </p:sp>
        <p:sp>
          <p:nvSpPr>
            <p:cNvPr id="298" name="Arc 297">
              <a:extLst>
                <a:ext uri="{FF2B5EF4-FFF2-40B4-BE49-F238E27FC236}">
                  <a16:creationId xmlns:a16="http://schemas.microsoft.com/office/drawing/2014/main" id="{8FA8FCCF-8A34-D948-83E7-A1FEAD15F6AC}"/>
                </a:ext>
              </a:extLst>
            </p:cNvPr>
            <p:cNvSpPr/>
            <p:nvPr/>
          </p:nvSpPr>
          <p:spPr>
            <a:xfrm>
              <a:off x="6788592" y="4051838"/>
              <a:ext cx="962833" cy="962833"/>
            </a:xfrm>
            <a:prstGeom prst="arc">
              <a:avLst>
                <a:gd name="adj1" fmla="val 13089174"/>
                <a:gd name="adj2" fmla="val 19331542"/>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a:solidFill>
                  <a:prstClr val="black"/>
                </a:solidFill>
                <a:latin typeface="Calibri" panose="020F0502020204030204"/>
              </a:endParaRPr>
            </a:p>
          </p:txBody>
        </p:sp>
      </p:grpSp>
      <p:grpSp>
        <p:nvGrpSpPr>
          <p:cNvPr id="299" name="Group 298">
            <a:extLst>
              <a:ext uri="{FF2B5EF4-FFF2-40B4-BE49-F238E27FC236}">
                <a16:creationId xmlns:a16="http://schemas.microsoft.com/office/drawing/2014/main" id="{60EC7D8C-25A5-BF4F-9791-7FCBBD82277D}"/>
              </a:ext>
            </a:extLst>
          </p:cNvPr>
          <p:cNvGrpSpPr/>
          <p:nvPr/>
        </p:nvGrpSpPr>
        <p:grpSpPr>
          <a:xfrm>
            <a:off x="7195416" y="4467176"/>
            <a:ext cx="448888" cy="806983"/>
            <a:chOff x="1280629" y="3804612"/>
            <a:chExt cx="921718" cy="1662738"/>
          </a:xfrm>
          <a:solidFill>
            <a:schemeClr val="tx2"/>
          </a:solidFill>
        </p:grpSpPr>
        <p:sp>
          <p:nvSpPr>
            <p:cNvPr id="300" name="Freeform 299">
              <a:extLst>
                <a:ext uri="{FF2B5EF4-FFF2-40B4-BE49-F238E27FC236}">
                  <a16:creationId xmlns:a16="http://schemas.microsoft.com/office/drawing/2014/main" id="{556C7E6A-B0F8-BC46-858B-52719284C2F8}"/>
                </a:ext>
              </a:extLst>
            </p:cNvPr>
            <p:cNvSpPr/>
            <p:nvPr/>
          </p:nvSpPr>
          <p:spPr bwMode="auto">
            <a:xfrm rot="5400000">
              <a:off x="1084489" y="4097592"/>
              <a:ext cx="1313998" cy="728037"/>
            </a:xfrm>
            <a:custGeom>
              <a:avLst/>
              <a:gdLst>
                <a:gd name="connsiteX0" fmla="*/ 0 w 1313998"/>
                <a:gd name="connsiteY0" fmla="*/ 364019 h 728037"/>
                <a:gd name="connsiteX1" fmla="*/ 354928 w 1313998"/>
                <a:gd name="connsiteY1" fmla="*/ 0 h 728037"/>
                <a:gd name="connsiteX2" fmla="*/ 959070 w 1313998"/>
                <a:gd name="connsiteY2" fmla="*/ 0 h 728037"/>
                <a:gd name="connsiteX3" fmla="*/ 1313998 w 1313998"/>
                <a:gd name="connsiteY3" fmla="*/ 364019 h 728037"/>
                <a:gd name="connsiteX4" fmla="*/ 959070 w 1313998"/>
                <a:gd name="connsiteY4" fmla="*/ 728037 h 728037"/>
                <a:gd name="connsiteX5" fmla="*/ 354928 w 1313998"/>
                <a:gd name="connsiteY5" fmla="*/ 728037 h 728037"/>
                <a:gd name="connsiteX6" fmla="*/ 0 w 1313998"/>
                <a:gd name="connsiteY6" fmla="*/ 364019 h 728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998" h="728037">
                  <a:moveTo>
                    <a:pt x="0" y="364019"/>
                  </a:moveTo>
                  <a:cubicBezTo>
                    <a:pt x="0" y="162966"/>
                    <a:pt x="158926" y="0"/>
                    <a:pt x="354928" y="0"/>
                  </a:cubicBezTo>
                  <a:lnTo>
                    <a:pt x="959070" y="0"/>
                  </a:lnTo>
                  <a:cubicBezTo>
                    <a:pt x="1155072" y="0"/>
                    <a:pt x="1313998" y="162966"/>
                    <a:pt x="1313998" y="364019"/>
                  </a:cubicBezTo>
                  <a:cubicBezTo>
                    <a:pt x="1313998" y="565071"/>
                    <a:pt x="1155072" y="728037"/>
                    <a:pt x="959070" y="728037"/>
                  </a:cubicBezTo>
                  <a:lnTo>
                    <a:pt x="354928" y="728037"/>
                  </a:lnTo>
                  <a:cubicBezTo>
                    <a:pt x="158926" y="728037"/>
                    <a:pt x="0" y="565071"/>
                    <a:pt x="0" y="364019"/>
                  </a:cubicBezTo>
                  <a:close/>
                </a:path>
              </a:pathLst>
            </a:custGeom>
            <a:grpFill/>
            <a:ln w="12700" cap="rnd">
              <a:solidFill>
                <a:schemeClr val="bg1"/>
              </a:solidFill>
              <a:miter lim="800000"/>
              <a:headEnd/>
              <a:tailEnd/>
            </a:ln>
            <a:effectLst/>
          </p:spPr>
          <p:txBody>
            <a:bodyPr wrap="square" lIns="93260" tIns="46630" rIns="93260" bIns="46630" numCol="1" spcCol="0" rtlCol="0" fromWordArt="0" anchor="ctr" anchorCtr="0" forceAA="0" compatLnSpc="1"/>
            <a:lstStyle/>
            <a:p>
              <a:pPr defTabSz="932597"/>
              <a:endParaRPr lang="en-US" sz="1836">
                <a:solidFill>
                  <a:prstClr val="black"/>
                </a:solidFill>
                <a:latin typeface="Arial" charset="0"/>
                <a:ea typeface="Arial" charset="0"/>
                <a:cs typeface="Arial" charset="0"/>
              </a:endParaRPr>
            </a:p>
          </p:txBody>
        </p:sp>
        <p:sp>
          <p:nvSpPr>
            <p:cNvPr id="301" name="Freeform 300">
              <a:extLst>
                <a:ext uri="{FF2B5EF4-FFF2-40B4-BE49-F238E27FC236}">
                  <a16:creationId xmlns:a16="http://schemas.microsoft.com/office/drawing/2014/main" id="{199EB089-B2DE-B349-A7C0-0D3FE9A6622C}"/>
                </a:ext>
              </a:extLst>
            </p:cNvPr>
            <p:cNvSpPr/>
            <p:nvPr/>
          </p:nvSpPr>
          <p:spPr bwMode="auto">
            <a:xfrm rot="5400000">
              <a:off x="1358723" y="4370708"/>
              <a:ext cx="765530" cy="921718"/>
            </a:xfrm>
            <a:custGeom>
              <a:avLst/>
              <a:gdLst>
                <a:gd name="connsiteX0" fmla="*/ 0 w 1313998"/>
                <a:gd name="connsiteY0" fmla="*/ 364019 h 728037"/>
                <a:gd name="connsiteX1" fmla="*/ 354928 w 1313998"/>
                <a:gd name="connsiteY1" fmla="*/ 0 h 728037"/>
                <a:gd name="connsiteX2" fmla="*/ 959070 w 1313998"/>
                <a:gd name="connsiteY2" fmla="*/ 0 h 728037"/>
                <a:gd name="connsiteX3" fmla="*/ 1313998 w 1313998"/>
                <a:gd name="connsiteY3" fmla="*/ 364019 h 728037"/>
                <a:gd name="connsiteX4" fmla="*/ 959070 w 1313998"/>
                <a:gd name="connsiteY4" fmla="*/ 728037 h 728037"/>
                <a:gd name="connsiteX5" fmla="*/ 354928 w 1313998"/>
                <a:gd name="connsiteY5" fmla="*/ 728037 h 728037"/>
                <a:gd name="connsiteX6" fmla="*/ 0 w 1313998"/>
                <a:gd name="connsiteY6" fmla="*/ 364019 h 728037"/>
                <a:gd name="connsiteX0" fmla="*/ 0 w 1313998"/>
                <a:gd name="connsiteY0" fmla="*/ 364019 h 728037"/>
                <a:gd name="connsiteX1" fmla="*/ 354928 w 1313998"/>
                <a:gd name="connsiteY1" fmla="*/ 0 h 728037"/>
                <a:gd name="connsiteX2" fmla="*/ 959070 w 1313998"/>
                <a:gd name="connsiteY2" fmla="*/ 0 h 728037"/>
                <a:gd name="connsiteX3" fmla="*/ 1313998 w 1313998"/>
                <a:gd name="connsiteY3" fmla="*/ 364019 h 728037"/>
                <a:gd name="connsiteX4" fmla="*/ 959070 w 1313998"/>
                <a:gd name="connsiteY4" fmla="*/ 728037 h 728037"/>
                <a:gd name="connsiteX5" fmla="*/ 354928 w 1313998"/>
                <a:gd name="connsiteY5" fmla="*/ 728037 h 728037"/>
                <a:gd name="connsiteX6" fmla="*/ 72475 w 1313998"/>
                <a:gd name="connsiteY6" fmla="*/ 436494 h 728037"/>
                <a:gd name="connsiteX0" fmla="*/ 0 w 1313998"/>
                <a:gd name="connsiteY0" fmla="*/ 364019 h 728037"/>
                <a:gd name="connsiteX1" fmla="*/ 354928 w 1313998"/>
                <a:gd name="connsiteY1" fmla="*/ 0 h 728037"/>
                <a:gd name="connsiteX2" fmla="*/ 959070 w 1313998"/>
                <a:gd name="connsiteY2" fmla="*/ 0 h 728037"/>
                <a:gd name="connsiteX3" fmla="*/ 1313998 w 1313998"/>
                <a:gd name="connsiteY3" fmla="*/ 364019 h 728037"/>
                <a:gd name="connsiteX4" fmla="*/ 959070 w 1313998"/>
                <a:gd name="connsiteY4" fmla="*/ 728037 h 728037"/>
                <a:gd name="connsiteX5" fmla="*/ 354928 w 1313998"/>
                <a:gd name="connsiteY5" fmla="*/ 728037 h 728037"/>
                <a:gd name="connsiteX0" fmla="*/ 0 w 959070"/>
                <a:gd name="connsiteY0" fmla="*/ 0 h 728037"/>
                <a:gd name="connsiteX1" fmla="*/ 604142 w 959070"/>
                <a:gd name="connsiteY1" fmla="*/ 0 h 728037"/>
                <a:gd name="connsiteX2" fmla="*/ 959070 w 959070"/>
                <a:gd name="connsiteY2" fmla="*/ 364019 h 728037"/>
                <a:gd name="connsiteX3" fmla="*/ 604142 w 959070"/>
                <a:gd name="connsiteY3" fmla="*/ 728037 h 728037"/>
                <a:gd name="connsiteX4" fmla="*/ 0 w 959070"/>
                <a:gd name="connsiteY4" fmla="*/ 728037 h 728037"/>
                <a:gd name="connsiteX0" fmla="*/ 0 w 959070"/>
                <a:gd name="connsiteY0" fmla="*/ 0 h 728037"/>
                <a:gd name="connsiteX1" fmla="*/ 354333 w 959070"/>
                <a:gd name="connsiteY1" fmla="*/ 2518 h 728037"/>
                <a:gd name="connsiteX2" fmla="*/ 604142 w 959070"/>
                <a:gd name="connsiteY2" fmla="*/ 0 h 728037"/>
                <a:gd name="connsiteX3" fmla="*/ 959070 w 959070"/>
                <a:gd name="connsiteY3" fmla="*/ 364019 h 728037"/>
                <a:gd name="connsiteX4" fmla="*/ 604142 w 959070"/>
                <a:gd name="connsiteY4" fmla="*/ 728037 h 728037"/>
                <a:gd name="connsiteX5" fmla="*/ 0 w 959070"/>
                <a:gd name="connsiteY5" fmla="*/ 728037 h 728037"/>
                <a:gd name="connsiteX0" fmla="*/ 354333 w 959070"/>
                <a:gd name="connsiteY0" fmla="*/ 2518 h 728037"/>
                <a:gd name="connsiteX1" fmla="*/ 604142 w 959070"/>
                <a:gd name="connsiteY1" fmla="*/ 0 h 728037"/>
                <a:gd name="connsiteX2" fmla="*/ 959070 w 959070"/>
                <a:gd name="connsiteY2" fmla="*/ 364019 h 728037"/>
                <a:gd name="connsiteX3" fmla="*/ 604142 w 959070"/>
                <a:gd name="connsiteY3" fmla="*/ 728037 h 728037"/>
                <a:gd name="connsiteX4" fmla="*/ 0 w 959070"/>
                <a:gd name="connsiteY4" fmla="*/ 728037 h 728037"/>
                <a:gd name="connsiteX0" fmla="*/ 2021 w 606758"/>
                <a:gd name="connsiteY0" fmla="*/ 2518 h 730553"/>
                <a:gd name="connsiteX1" fmla="*/ 251830 w 606758"/>
                <a:gd name="connsiteY1" fmla="*/ 0 h 730553"/>
                <a:gd name="connsiteX2" fmla="*/ 606758 w 606758"/>
                <a:gd name="connsiteY2" fmla="*/ 364019 h 730553"/>
                <a:gd name="connsiteX3" fmla="*/ 251830 w 606758"/>
                <a:gd name="connsiteY3" fmla="*/ 728037 h 730553"/>
                <a:gd name="connsiteX4" fmla="*/ 0 w 606758"/>
                <a:gd name="connsiteY4" fmla="*/ 730553 h 7305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758" h="730553">
                  <a:moveTo>
                    <a:pt x="2021" y="2518"/>
                  </a:moveTo>
                  <a:lnTo>
                    <a:pt x="251830" y="0"/>
                  </a:lnTo>
                  <a:cubicBezTo>
                    <a:pt x="447832" y="0"/>
                    <a:pt x="606758" y="162966"/>
                    <a:pt x="606758" y="364019"/>
                  </a:cubicBezTo>
                  <a:cubicBezTo>
                    <a:pt x="606758" y="565071"/>
                    <a:pt x="447832" y="728037"/>
                    <a:pt x="251830" y="728037"/>
                  </a:cubicBezTo>
                  <a:lnTo>
                    <a:pt x="0" y="730553"/>
                  </a:lnTo>
                </a:path>
              </a:pathLst>
            </a:custGeom>
            <a:noFill/>
            <a:ln w="12700" cap="rnd">
              <a:solidFill>
                <a:schemeClr val="tx2"/>
              </a:solidFill>
              <a:miter lim="800000"/>
              <a:headEnd/>
              <a:tailEnd/>
            </a:ln>
            <a:effectLst/>
          </p:spPr>
          <p:txBody>
            <a:bodyPr wrap="square" lIns="93260" tIns="46630" rIns="93260" bIns="46630" numCol="1" spcCol="0" rtlCol="0" fromWordArt="0" anchor="ctr" anchorCtr="0" forceAA="0" compatLnSpc="1"/>
            <a:lstStyle/>
            <a:p>
              <a:pPr defTabSz="932597"/>
              <a:endParaRPr lang="en-US" sz="1836">
                <a:solidFill>
                  <a:prstClr val="black"/>
                </a:solidFill>
                <a:latin typeface="Arial" charset="0"/>
                <a:ea typeface="Arial" charset="0"/>
                <a:cs typeface="Arial" charset="0"/>
              </a:endParaRPr>
            </a:p>
          </p:txBody>
        </p:sp>
        <p:cxnSp>
          <p:nvCxnSpPr>
            <p:cNvPr id="302" name="Straight Connector 301">
              <a:extLst>
                <a:ext uri="{FF2B5EF4-FFF2-40B4-BE49-F238E27FC236}">
                  <a16:creationId xmlns:a16="http://schemas.microsoft.com/office/drawing/2014/main" id="{A1F95BCD-6C53-EA47-AE40-5B4F3D9FB023}"/>
                </a:ext>
              </a:extLst>
            </p:cNvPr>
            <p:cNvCxnSpPr/>
            <p:nvPr/>
          </p:nvCxnSpPr>
          <p:spPr>
            <a:xfrm>
              <a:off x="1376363" y="4464050"/>
              <a:ext cx="730250" cy="0"/>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03" name="Group 302">
              <a:extLst>
                <a:ext uri="{FF2B5EF4-FFF2-40B4-BE49-F238E27FC236}">
                  <a16:creationId xmlns:a16="http://schemas.microsoft.com/office/drawing/2014/main" id="{87CBF5D6-6930-014A-A652-254AFF09464D}"/>
                </a:ext>
              </a:extLst>
            </p:cNvPr>
            <p:cNvGrpSpPr/>
            <p:nvPr/>
          </p:nvGrpSpPr>
          <p:grpSpPr>
            <a:xfrm>
              <a:off x="1282701" y="4543425"/>
              <a:ext cx="917575" cy="0"/>
              <a:chOff x="1279525" y="4543425"/>
              <a:chExt cx="917575" cy="0"/>
            </a:xfrm>
            <a:grpFill/>
          </p:grpSpPr>
          <p:cxnSp>
            <p:nvCxnSpPr>
              <p:cNvPr id="313" name="Straight Connector 312">
                <a:extLst>
                  <a:ext uri="{FF2B5EF4-FFF2-40B4-BE49-F238E27FC236}">
                    <a16:creationId xmlns:a16="http://schemas.microsoft.com/office/drawing/2014/main" id="{BD6E1BDF-DA5C-1A40-BDD9-19E060A97039}"/>
                  </a:ext>
                </a:extLst>
              </p:cNvPr>
              <p:cNvCxnSpPr/>
              <p:nvPr/>
            </p:nvCxnSpPr>
            <p:spPr>
              <a:xfrm>
                <a:off x="1279525" y="4543425"/>
                <a:ext cx="92075" cy="0"/>
              </a:xfrm>
              <a:prstGeom prst="line">
                <a:avLst/>
              </a:prstGeom>
              <a:grpFill/>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a16="http://schemas.microsoft.com/office/drawing/2014/main" id="{CD5B314C-A624-FE45-9481-BBE5EE706AE3}"/>
                  </a:ext>
                </a:extLst>
              </p:cNvPr>
              <p:cNvCxnSpPr/>
              <p:nvPr/>
            </p:nvCxnSpPr>
            <p:spPr>
              <a:xfrm>
                <a:off x="2105025" y="4543425"/>
                <a:ext cx="92075" cy="0"/>
              </a:xfrm>
              <a:prstGeom prst="line">
                <a:avLst/>
              </a:prstGeom>
              <a:grpFill/>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4" name="Group 303">
              <a:extLst>
                <a:ext uri="{FF2B5EF4-FFF2-40B4-BE49-F238E27FC236}">
                  <a16:creationId xmlns:a16="http://schemas.microsoft.com/office/drawing/2014/main" id="{E4B3386E-95E1-4C4D-941D-5C7BF15B91B9}"/>
                </a:ext>
              </a:extLst>
            </p:cNvPr>
            <p:cNvGrpSpPr/>
            <p:nvPr/>
          </p:nvGrpSpPr>
          <p:grpSpPr>
            <a:xfrm>
              <a:off x="1377951" y="4070350"/>
              <a:ext cx="727075" cy="244475"/>
              <a:chOff x="1371600" y="4070350"/>
              <a:chExt cx="727075" cy="244475"/>
            </a:xfrm>
            <a:grpFill/>
          </p:grpSpPr>
          <p:cxnSp>
            <p:nvCxnSpPr>
              <p:cNvPr id="307" name="Straight Connector 306">
                <a:extLst>
                  <a:ext uri="{FF2B5EF4-FFF2-40B4-BE49-F238E27FC236}">
                    <a16:creationId xmlns:a16="http://schemas.microsoft.com/office/drawing/2014/main" id="{8072F700-2999-9142-8E1A-934E599E167E}"/>
                  </a:ext>
                </a:extLst>
              </p:cNvPr>
              <p:cNvCxnSpPr/>
              <p:nvPr/>
            </p:nvCxnSpPr>
            <p:spPr>
              <a:xfrm>
                <a:off x="1879600" y="4314825"/>
                <a:ext cx="219075" cy="0"/>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8" name="Straight Connector 307">
                <a:extLst>
                  <a:ext uri="{FF2B5EF4-FFF2-40B4-BE49-F238E27FC236}">
                    <a16:creationId xmlns:a16="http://schemas.microsoft.com/office/drawing/2014/main" id="{0E8685B5-B669-9C4B-B1AF-B5961AE0E2E4}"/>
                  </a:ext>
                </a:extLst>
              </p:cNvPr>
              <p:cNvCxnSpPr/>
              <p:nvPr/>
            </p:nvCxnSpPr>
            <p:spPr>
              <a:xfrm>
                <a:off x="1879600" y="4191000"/>
                <a:ext cx="219075" cy="0"/>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a16="http://schemas.microsoft.com/office/drawing/2014/main" id="{4B778715-B807-C64B-8F5F-EF240BDAEF95}"/>
                  </a:ext>
                </a:extLst>
              </p:cNvPr>
              <p:cNvCxnSpPr/>
              <p:nvPr/>
            </p:nvCxnSpPr>
            <p:spPr>
              <a:xfrm>
                <a:off x="1876425" y="4070350"/>
                <a:ext cx="215900" cy="0"/>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a:extLst>
                  <a:ext uri="{FF2B5EF4-FFF2-40B4-BE49-F238E27FC236}">
                    <a16:creationId xmlns:a16="http://schemas.microsoft.com/office/drawing/2014/main" id="{F4B7042C-9689-8B4F-A199-840414850766}"/>
                  </a:ext>
                </a:extLst>
              </p:cNvPr>
              <p:cNvCxnSpPr/>
              <p:nvPr/>
            </p:nvCxnSpPr>
            <p:spPr>
              <a:xfrm>
                <a:off x="1371600" y="4314825"/>
                <a:ext cx="219075" cy="0"/>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Straight Connector 310">
                <a:extLst>
                  <a:ext uri="{FF2B5EF4-FFF2-40B4-BE49-F238E27FC236}">
                    <a16:creationId xmlns:a16="http://schemas.microsoft.com/office/drawing/2014/main" id="{93C5B2B6-A2B7-A54E-A1D3-E7A0681EEECB}"/>
                  </a:ext>
                </a:extLst>
              </p:cNvPr>
              <p:cNvCxnSpPr/>
              <p:nvPr/>
            </p:nvCxnSpPr>
            <p:spPr>
              <a:xfrm>
                <a:off x="1371600" y="4191000"/>
                <a:ext cx="219075" cy="0"/>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13D93C3E-88DE-FF45-AFB1-525224BCBC66}"/>
                  </a:ext>
                </a:extLst>
              </p:cNvPr>
              <p:cNvCxnSpPr/>
              <p:nvPr/>
            </p:nvCxnSpPr>
            <p:spPr>
              <a:xfrm>
                <a:off x="1377950" y="4070350"/>
                <a:ext cx="215900" cy="0"/>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305" name="Straight Connector 304">
              <a:extLst>
                <a:ext uri="{FF2B5EF4-FFF2-40B4-BE49-F238E27FC236}">
                  <a16:creationId xmlns:a16="http://schemas.microsoft.com/office/drawing/2014/main" id="{C2EE9DBE-995C-444C-811D-A7246DFB40FF}"/>
                </a:ext>
              </a:extLst>
            </p:cNvPr>
            <p:cNvCxnSpPr/>
            <p:nvPr/>
          </p:nvCxnSpPr>
          <p:spPr>
            <a:xfrm>
              <a:off x="1741488" y="5214332"/>
              <a:ext cx="1" cy="253018"/>
            </a:xfrm>
            <a:prstGeom prst="line">
              <a:avLst/>
            </a:prstGeom>
            <a:grpFill/>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6" name="Straight Connector 305">
              <a:extLst>
                <a:ext uri="{FF2B5EF4-FFF2-40B4-BE49-F238E27FC236}">
                  <a16:creationId xmlns:a16="http://schemas.microsoft.com/office/drawing/2014/main" id="{D0AC6303-97CF-E842-968B-32585A23FF03}"/>
                </a:ext>
              </a:extLst>
            </p:cNvPr>
            <p:cNvCxnSpPr/>
            <p:nvPr/>
          </p:nvCxnSpPr>
          <p:spPr>
            <a:xfrm>
              <a:off x="1511301" y="5464175"/>
              <a:ext cx="460375" cy="0"/>
            </a:xfrm>
            <a:prstGeom prst="line">
              <a:avLst/>
            </a:prstGeom>
            <a:grpFill/>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5" name="Group 314">
            <a:extLst>
              <a:ext uri="{FF2B5EF4-FFF2-40B4-BE49-F238E27FC236}">
                <a16:creationId xmlns:a16="http://schemas.microsoft.com/office/drawing/2014/main" id="{8D94BDF9-CDF2-4C43-B26A-2E6C2B922101}"/>
              </a:ext>
            </a:extLst>
          </p:cNvPr>
          <p:cNvGrpSpPr/>
          <p:nvPr/>
        </p:nvGrpSpPr>
        <p:grpSpPr>
          <a:xfrm>
            <a:off x="7195416" y="4467176"/>
            <a:ext cx="448888" cy="806983"/>
            <a:chOff x="1280629" y="3804612"/>
            <a:chExt cx="921718" cy="1662738"/>
          </a:xfrm>
        </p:grpSpPr>
        <p:sp>
          <p:nvSpPr>
            <p:cNvPr id="316" name="Freeform 315">
              <a:extLst>
                <a:ext uri="{FF2B5EF4-FFF2-40B4-BE49-F238E27FC236}">
                  <a16:creationId xmlns:a16="http://schemas.microsoft.com/office/drawing/2014/main" id="{713AA67A-ACCE-BB41-B257-A0AABCC69AA9}"/>
                </a:ext>
              </a:extLst>
            </p:cNvPr>
            <p:cNvSpPr/>
            <p:nvPr/>
          </p:nvSpPr>
          <p:spPr bwMode="auto">
            <a:xfrm rot="5400000">
              <a:off x="1084489" y="4097592"/>
              <a:ext cx="1313998" cy="728037"/>
            </a:xfrm>
            <a:custGeom>
              <a:avLst/>
              <a:gdLst>
                <a:gd name="connsiteX0" fmla="*/ 0 w 1313998"/>
                <a:gd name="connsiteY0" fmla="*/ 364019 h 728037"/>
                <a:gd name="connsiteX1" fmla="*/ 354928 w 1313998"/>
                <a:gd name="connsiteY1" fmla="*/ 0 h 728037"/>
                <a:gd name="connsiteX2" fmla="*/ 959070 w 1313998"/>
                <a:gd name="connsiteY2" fmla="*/ 0 h 728037"/>
                <a:gd name="connsiteX3" fmla="*/ 1313998 w 1313998"/>
                <a:gd name="connsiteY3" fmla="*/ 364019 h 728037"/>
                <a:gd name="connsiteX4" fmla="*/ 959070 w 1313998"/>
                <a:gd name="connsiteY4" fmla="*/ 728037 h 728037"/>
                <a:gd name="connsiteX5" fmla="*/ 354928 w 1313998"/>
                <a:gd name="connsiteY5" fmla="*/ 728037 h 728037"/>
                <a:gd name="connsiteX6" fmla="*/ 0 w 1313998"/>
                <a:gd name="connsiteY6" fmla="*/ 364019 h 728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998" h="728037">
                  <a:moveTo>
                    <a:pt x="0" y="364019"/>
                  </a:moveTo>
                  <a:cubicBezTo>
                    <a:pt x="0" y="162966"/>
                    <a:pt x="158926" y="0"/>
                    <a:pt x="354928" y="0"/>
                  </a:cubicBezTo>
                  <a:lnTo>
                    <a:pt x="959070" y="0"/>
                  </a:lnTo>
                  <a:cubicBezTo>
                    <a:pt x="1155072" y="0"/>
                    <a:pt x="1313998" y="162966"/>
                    <a:pt x="1313998" y="364019"/>
                  </a:cubicBezTo>
                  <a:cubicBezTo>
                    <a:pt x="1313998" y="565071"/>
                    <a:pt x="1155072" y="728037"/>
                    <a:pt x="959070" y="728037"/>
                  </a:cubicBezTo>
                  <a:lnTo>
                    <a:pt x="354928" y="728037"/>
                  </a:lnTo>
                  <a:cubicBezTo>
                    <a:pt x="158926" y="728037"/>
                    <a:pt x="0" y="565071"/>
                    <a:pt x="0" y="364019"/>
                  </a:cubicBezTo>
                  <a:close/>
                </a:path>
              </a:pathLst>
            </a:custGeom>
            <a:noFill/>
            <a:ln w="12700" cap="rnd">
              <a:solidFill>
                <a:schemeClr val="tx2"/>
              </a:solidFill>
              <a:miter lim="800000"/>
              <a:headEnd/>
              <a:tailEnd/>
            </a:ln>
            <a:effectLst/>
          </p:spPr>
          <p:txBody>
            <a:bodyPr wrap="square" lIns="93260" tIns="46630" rIns="93260" bIns="46630" numCol="1" spcCol="0" rtlCol="0" fromWordArt="0" anchor="ctr" anchorCtr="0" forceAA="0" compatLnSpc="1"/>
            <a:lstStyle/>
            <a:p>
              <a:pPr defTabSz="932597"/>
              <a:endParaRPr lang="en-US" sz="1836">
                <a:solidFill>
                  <a:prstClr val="black"/>
                </a:solidFill>
                <a:latin typeface="Arial" charset="0"/>
                <a:ea typeface="Arial" charset="0"/>
                <a:cs typeface="Arial" charset="0"/>
              </a:endParaRPr>
            </a:p>
          </p:txBody>
        </p:sp>
        <p:sp>
          <p:nvSpPr>
            <p:cNvPr id="317" name="Freeform 316">
              <a:extLst>
                <a:ext uri="{FF2B5EF4-FFF2-40B4-BE49-F238E27FC236}">
                  <a16:creationId xmlns:a16="http://schemas.microsoft.com/office/drawing/2014/main" id="{6038B34C-01CB-7047-8739-8EADC0273B12}"/>
                </a:ext>
              </a:extLst>
            </p:cNvPr>
            <p:cNvSpPr/>
            <p:nvPr/>
          </p:nvSpPr>
          <p:spPr bwMode="auto">
            <a:xfrm rot="5400000">
              <a:off x="1358723" y="4370708"/>
              <a:ext cx="765530" cy="921718"/>
            </a:xfrm>
            <a:custGeom>
              <a:avLst/>
              <a:gdLst>
                <a:gd name="connsiteX0" fmla="*/ 0 w 1313998"/>
                <a:gd name="connsiteY0" fmla="*/ 364019 h 728037"/>
                <a:gd name="connsiteX1" fmla="*/ 354928 w 1313998"/>
                <a:gd name="connsiteY1" fmla="*/ 0 h 728037"/>
                <a:gd name="connsiteX2" fmla="*/ 959070 w 1313998"/>
                <a:gd name="connsiteY2" fmla="*/ 0 h 728037"/>
                <a:gd name="connsiteX3" fmla="*/ 1313998 w 1313998"/>
                <a:gd name="connsiteY3" fmla="*/ 364019 h 728037"/>
                <a:gd name="connsiteX4" fmla="*/ 959070 w 1313998"/>
                <a:gd name="connsiteY4" fmla="*/ 728037 h 728037"/>
                <a:gd name="connsiteX5" fmla="*/ 354928 w 1313998"/>
                <a:gd name="connsiteY5" fmla="*/ 728037 h 728037"/>
                <a:gd name="connsiteX6" fmla="*/ 0 w 1313998"/>
                <a:gd name="connsiteY6" fmla="*/ 364019 h 728037"/>
                <a:gd name="connsiteX0" fmla="*/ 0 w 1313998"/>
                <a:gd name="connsiteY0" fmla="*/ 364019 h 728037"/>
                <a:gd name="connsiteX1" fmla="*/ 354928 w 1313998"/>
                <a:gd name="connsiteY1" fmla="*/ 0 h 728037"/>
                <a:gd name="connsiteX2" fmla="*/ 959070 w 1313998"/>
                <a:gd name="connsiteY2" fmla="*/ 0 h 728037"/>
                <a:gd name="connsiteX3" fmla="*/ 1313998 w 1313998"/>
                <a:gd name="connsiteY3" fmla="*/ 364019 h 728037"/>
                <a:gd name="connsiteX4" fmla="*/ 959070 w 1313998"/>
                <a:gd name="connsiteY4" fmla="*/ 728037 h 728037"/>
                <a:gd name="connsiteX5" fmla="*/ 354928 w 1313998"/>
                <a:gd name="connsiteY5" fmla="*/ 728037 h 728037"/>
                <a:gd name="connsiteX6" fmla="*/ 72475 w 1313998"/>
                <a:gd name="connsiteY6" fmla="*/ 436494 h 728037"/>
                <a:gd name="connsiteX0" fmla="*/ 0 w 1313998"/>
                <a:gd name="connsiteY0" fmla="*/ 364019 h 728037"/>
                <a:gd name="connsiteX1" fmla="*/ 354928 w 1313998"/>
                <a:gd name="connsiteY1" fmla="*/ 0 h 728037"/>
                <a:gd name="connsiteX2" fmla="*/ 959070 w 1313998"/>
                <a:gd name="connsiteY2" fmla="*/ 0 h 728037"/>
                <a:gd name="connsiteX3" fmla="*/ 1313998 w 1313998"/>
                <a:gd name="connsiteY3" fmla="*/ 364019 h 728037"/>
                <a:gd name="connsiteX4" fmla="*/ 959070 w 1313998"/>
                <a:gd name="connsiteY4" fmla="*/ 728037 h 728037"/>
                <a:gd name="connsiteX5" fmla="*/ 354928 w 1313998"/>
                <a:gd name="connsiteY5" fmla="*/ 728037 h 728037"/>
                <a:gd name="connsiteX0" fmla="*/ 0 w 959070"/>
                <a:gd name="connsiteY0" fmla="*/ 0 h 728037"/>
                <a:gd name="connsiteX1" fmla="*/ 604142 w 959070"/>
                <a:gd name="connsiteY1" fmla="*/ 0 h 728037"/>
                <a:gd name="connsiteX2" fmla="*/ 959070 w 959070"/>
                <a:gd name="connsiteY2" fmla="*/ 364019 h 728037"/>
                <a:gd name="connsiteX3" fmla="*/ 604142 w 959070"/>
                <a:gd name="connsiteY3" fmla="*/ 728037 h 728037"/>
                <a:gd name="connsiteX4" fmla="*/ 0 w 959070"/>
                <a:gd name="connsiteY4" fmla="*/ 728037 h 728037"/>
                <a:gd name="connsiteX0" fmla="*/ 0 w 959070"/>
                <a:gd name="connsiteY0" fmla="*/ 0 h 728037"/>
                <a:gd name="connsiteX1" fmla="*/ 354333 w 959070"/>
                <a:gd name="connsiteY1" fmla="*/ 2518 h 728037"/>
                <a:gd name="connsiteX2" fmla="*/ 604142 w 959070"/>
                <a:gd name="connsiteY2" fmla="*/ 0 h 728037"/>
                <a:gd name="connsiteX3" fmla="*/ 959070 w 959070"/>
                <a:gd name="connsiteY3" fmla="*/ 364019 h 728037"/>
                <a:gd name="connsiteX4" fmla="*/ 604142 w 959070"/>
                <a:gd name="connsiteY4" fmla="*/ 728037 h 728037"/>
                <a:gd name="connsiteX5" fmla="*/ 0 w 959070"/>
                <a:gd name="connsiteY5" fmla="*/ 728037 h 728037"/>
                <a:gd name="connsiteX0" fmla="*/ 354333 w 959070"/>
                <a:gd name="connsiteY0" fmla="*/ 2518 h 728037"/>
                <a:gd name="connsiteX1" fmla="*/ 604142 w 959070"/>
                <a:gd name="connsiteY1" fmla="*/ 0 h 728037"/>
                <a:gd name="connsiteX2" fmla="*/ 959070 w 959070"/>
                <a:gd name="connsiteY2" fmla="*/ 364019 h 728037"/>
                <a:gd name="connsiteX3" fmla="*/ 604142 w 959070"/>
                <a:gd name="connsiteY3" fmla="*/ 728037 h 728037"/>
                <a:gd name="connsiteX4" fmla="*/ 0 w 959070"/>
                <a:gd name="connsiteY4" fmla="*/ 728037 h 728037"/>
                <a:gd name="connsiteX0" fmla="*/ 2021 w 606758"/>
                <a:gd name="connsiteY0" fmla="*/ 2518 h 730553"/>
                <a:gd name="connsiteX1" fmla="*/ 251830 w 606758"/>
                <a:gd name="connsiteY1" fmla="*/ 0 h 730553"/>
                <a:gd name="connsiteX2" fmla="*/ 606758 w 606758"/>
                <a:gd name="connsiteY2" fmla="*/ 364019 h 730553"/>
                <a:gd name="connsiteX3" fmla="*/ 251830 w 606758"/>
                <a:gd name="connsiteY3" fmla="*/ 728037 h 730553"/>
                <a:gd name="connsiteX4" fmla="*/ 0 w 606758"/>
                <a:gd name="connsiteY4" fmla="*/ 730553 h 7305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758" h="730553">
                  <a:moveTo>
                    <a:pt x="2021" y="2518"/>
                  </a:moveTo>
                  <a:lnTo>
                    <a:pt x="251830" y="0"/>
                  </a:lnTo>
                  <a:cubicBezTo>
                    <a:pt x="447832" y="0"/>
                    <a:pt x="606758" y="162966"/>
                    <a:pt x="606758" y="364019"/>
                  </a:cubicBezTo>
                  <a:cubicBezTo>
                    <a:pt x="606758" y="565071"/>
                    <a:pt x="447832" y="728037"/>
                    <a:pt x="251830" y="728037"/>
                  </a:cubicBezTo>
                  <a:lnTo>
                    <a:pt x="0" y="730553"/>
                  </a:lnTo>
                </a:path>
              </a:pathLst>
            </a:custGeom>
            <a:noFill/>
            <a:ln w="12700" cap="rnd">
              <a:solidFill>
                <a:schemeClr val="tx2"/>
              </a:solidFill>
              <a:miter lim="800000"/>
              <a:headEnd/>
              <a:tailEnd/>
            </a:ln>
            <a:effectLst/>
          </p:spPr>
          <p:txBody>
            <a:bodyPr wrap="square" lIns="93260" tIns="46630" rIns="93260" bIns="46630" numCol="1" spcCol="0" rtlCol="0" fromWordArt="0" anchor="ctr" anchorCtr="0" forceAA="0" compatLnSpc="1"/>
            <a:lstStyle/>
            <a:p>
              <a:pPr defTabSz="932597"/>
              <a:endParaRPr lang="en-US" sz="1836">
                <a:solidFill>
                  <a:prstClr val="black"/>
                </a:solidFill>
                <a:latin typeface="Arial" charset="0"/>
                <a:ea typeface="Arial" charset="0"/>
                <a:cs typeface="Arial" charset="0"/>
              </a:endParaRPr>
            </a:p>
          </p:txBody>
        </p:sp>
        <p:cxnSp>
          <p:nvCxnSpPr>
            <p:cNvPr id="318" name="Straight Connector 317">
              <a:extLst>
                <a:ext uri="{FF2B5EF4-FFF2-40B4-BE49-F238E27FC236}">
                  <a16:creationId xmlns:a16="http://schemas.microsoft.com/office/drawing/2014/main" id="{618AFA50-1F6A-8E40-AF85-1204A5748F1A}"/>
                </a:ext>
              </a:extLst>
            </p:cNvPr>
            <p:cNvCxnSpPr/>
            <p:nvPr/>
          </p:nvCxnSpPr>
          <p:spPr>
            <a:xfrm>
              <a:off x="1376363" y="4464050"/>
              <a:ext cx="73025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19" name="Group 318">
              <a:extLst>
                <a:ext uri="{FF2B5EF4-FFF2-40B4-BE49-F238E27FC236}">
                  <a16:creationId xmlns:a16="http://schemas.microsoft.com/office/drawing/2014/main" id="{72E8B2D6-D4F9-804B-9A6C-58A60789EAAE}"/>
                </a:ext>
              </a:extLst>
            </p:cNvPr>
            <p:cNvGrpSpPr/>
            <p:nvPr/>
          </p:nvGrpSpPr>
          <p:grpSpPr>
            <a:xfrm>
              <a:off x="1282701" y="4543425"/>
              <a:ext cx="917575" cy="0"/>
              <a:chOff x="1279525" y="4543425"/>
              <a:chExt cx="917575" cy="0"/>
            </a:xfrm>
          </p:grpSpPr>
          <p:cxnSp>
            <p:nvCxnSpPr>
              <p:cNvPr id="329" name="Straight Connector 328">
                <a:extLst>
                  <a:ext uri="{FF2B5EF4-FFF2-40B4-BE49-F238E27FC236}">
                    <a16:creationId xmlns:a16="http://schemas.microsoft.com/office/drawing/2014/main" id="{E0AD0683-B6BC-9641-8E30-564D110852E2}"/>
                  </a:ext>
                </a:extLst>
              </p:cNvPr>
              <p:cNvCxnSpPr/>
              <p:nvPr/>
            </p:nvCxnSpPr>
            <p:spPr>
              <a:xfrm>
                <a:off x="1279525" y="4543425"/>
                <a:ext cx="920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0" name="Straight Connector 329">
                <a:extLst>
                  <a:ext uri="{FF2B5EF4-FFF2-40B4-BE49-F238E27FC236}">
                    <a16:creationId xmlns:a16="http://schemas.microsoft.com/office/drawing/2014/main" id="{B1B792FC-DF83-5942-839A-86A58631E108}"/>
                  </a:ext>
                </a:extLst>
              </p:cNvPr>
              <p:cNvCxnSpPr/>
              <p:nvPr/>
            </p:nvCxnSpPr>
            <p:spPr>
              <a:xfrm>
                <a:off x="2105025" y="4543425"/>
                <a:ext cx="920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20" name="Group 319">
              <a:extLst>
                <a:ext uri="{FF2B5EF4-FFF2-40B4-BE49-F238E27FC236}">
                  <a16:creationId xmlns:a16="http://schemas.microsoft.com/office/drawing/2014/main" id="{A1D0814B-1F7D-B146-A169-B47250217294}"/>
                </a:ext>
              </a:extLst>
            </p:cNvPr>
            <p:cNvGrpSpPr/>
            <p:nvPr/>
          </p:nvGrpSpPr>
          <p:grpSpPr>
            <a:xfrm>
              <a:off x="1377951" y="4070350"/>
              <a:ext cx="727075" cy="244475"/>
              <a:chOff x="1371600" y="4070350"/>
              <a:chExt cx="727075" cy="244475"/>
            </a:xfrm>
          </p:grpSpPr>
          <p:cxnSp>
            <p:nvCxnSpPr>
              <p:cNvPr id="323" name="Straight Connector 322">
                <a:extLst>
                  <a:ext uri="{FF2B5EF4-FFF2-40B4-BE49-F238E27FC236}">
                    <a16:creationId xmlns:a16="http://schemas.microsoft.com/office/drawing/2014/main" id="{883FC7F0-C25D-5C4E-A94F-61854408D69B}"/>
                  </a:ext>
                </a:extLst>
              </p:cNvPr>
              <p:cNvCxnSpPr/>
              <p:nvPr/>
            </p:nvCxnSpPr>
            <p:spPr>
              <a:xfrm>
                <a:off x="1879600" y="4314825"/>
                <a:ext cx="2190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51907E1D-996C-C140-A174-EF44913AD1FF}"/>
                  </a:ext>
                </a:extLst>
              </p:cNvPr>
              <p:cNvCxnSpPr/>
              <p:nvPr/>
            </p:nvCxnSpPr>
            <p:spPr>
              <a:xfrm>
                <a:off x="1879600" y="4191000"/>
                <a:ext cx="2190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5" name="Straight Connector 324">
                <a:extLst>
                  <a:ext uri="{FF2B5EF4-FFF2-40B4-BE49-F238E27FC236}">
                    <a16:creationId xmlns:a16="http://schemas.microsoft.com/office/drawing/2014/main" id="{D424BB51-4072-4942-BE04-98945CB39A01}"/>
                  </a:ext>
                </a:extLst>
              </p:cNvPr>
              <p:cNvCxnSpPr/>
              <p:nvPr/>
            </p:nvCxnSpPr>
            <p:spPr>
              <a:xfrm>
                <a:off x="1876425" y="4070350"/>
                <a:ext cx="21590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27EFC32C-EC56-C04E-A0C0-D58090F8C6ED}"/>
                  </a:ext>
                </a:extLst>
              </p:cNvPr>
              <p:cNvCxnSpPr/>
              <p:nvPr/>
            </p:nvCxnSpPr>
            <p:spPr>
              <a:xfrm>
                <a:off x="1371600" y="4314825"/>
                <a:ext cx="2190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7" name="Straight Connector 326">
                <a:extLst>
                  <a:ext uri="{FF2B5EF4-FFF2-40B4-BE49-F238E27FC236}">
                    <a16:creationId xmlns:a16="http://schemas.microsoft.com/office/drawing/2014/main" id="{DF663815-6C44-8848-81A8-BF46BF5586E5}"/>
                  </a:ext>
                </a:extLst>
              </p:cNvPr>
              <p:cNvCxnSpPr/>
              <p:nvPr/>
            </p:nvCxnSpPr>
            <p:spPr>
              <a:xfrm>
                <a:off x="1371600" y="4191000"/>
                <a:ext cx="2190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8" name="Straight Connector 327">
                <a:extLst>
                  <a:ext uri="{FF2B5EF4-FFF2-40B4-BE49-F238E27FC236}">
                    <a16:creationId xmlns:a16="http://schemas.microsoft.com/office/drawing/2014/main" id="{0354D9C8-C2E0-E84C-8D71-32427758EFE9}"/>
                  </a:ext>
                </a:extLst>
              </p:cNvPr>
              <p:cNvCxnSpPr/>
              <p:nvPr/>
            </p:nvCxnSpPr>
            <p:spPr>
              <a:xfrm>
                <a:off x="1377950" y="4070350"/>
                <a:ext cx="21590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321" name="Straight Connector 320">
              <a:extLst>
                <a:ext uri="{FF2B5EF4-FFF2-40B4-BE49-F238E27FC236}">
                  <a16:creationId xmlns:a16="http://schemas.microsoft.com/office/drawing/2014/main" id="{E96B315F-4CAB-D649-B1DF-0D4ACA72D336}"/>
                </a:ext>
              </a:extLst>
            </p:cNvPr>
            <p:cNvCxnSpPr/>
            <p:nvPr/>
          </p:nvCxnSpPr>
          <p:spPr>
            <a:xfrm>
              <a:off x="1741488" y="5214332"/>
              <a:ext cx="1" cy="25301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3005EA46-3174-C24C-BB68-88A2EF9B749F}"/>
                </a:ext>
              </a:extLst>
            </p:cNvPr>
            <p:cNvCxnSpPr/>
            <p:nvPr/>
          </p:nvCxnSpPr>
          <p:spPr>
            <a:xfrm>
              <a:off x="1511301" y="5464175"/>
              <a:ext cx="4603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12230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xmlns:a16="http://schemas.microsoft.com/office/drawing/2014/main" xmlns:p14="http://schemas.microsoft.com/office/powerpoint/2010/main">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206"/>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242"/>
                                        </p:tgtEl>
                                        <p:attrNameLst>
                                          <p:attrName>style.visibility</p:attrName>
                                        </p:attrNameLst>
                                      </p:cBhvr>
                                      <p:to>
                                        <p:strVal val="visible"/>
                                      </p:to>
                                    </p:set>
                                  </p:childTnLst>
                                  <p:subTnLst>
                                    <p:audio>
                                      <p:cMediaNode>
                                        <p:cTn display="0" masterRel="sameClick">
                                          <p:stCondLst>
                                            <p:cond evt="begin" delay="0">
                                              <p:tn val="7"/>
                                            </p:cond>
                                          </p:stCondLst>
                                          <p:endCondLst>
                                            <p:cond evt="onStopAudio" delay="0">
                                              <p:tgtEl>
                                                <p:sldTgt/>
                                              </p:tgtEl>
                                            </p:cond>
                                          </p:endCondLst>
                                        </p:cTn>
                                        <p:tgtEl>
                                          <p:sndTgt r:embed="rId3" name="Eva-Byers.wav"/>
                                        </p:tgtEl>
                                      </p:cMediaNode>
                                    </p:audio>
                                  </p:subTnLst>
                                </p:cTn>
                              </p:par>
                              <p:par>
                                <p:cTn id="9" presetID="22" presetClass="entr" presetSubtype="1" repeatCount="15000" fill="hold" nodeType="withEffect">
                                  <p:stCondLst>
                                    <p:cond delay="0"/>
                                  </p:stCondLst>
                                  <p:childTnLst>
                                    <p:set>
                                      <p:cBhvr>
                                        <p:cTn id="10" dur="1" fill="hold">
                                          <p:stCondLst>
                                            <p:cond delay="0"/>
                                          </p:stCondLst>
                                        </p:cTn>
                                        <p:tgtEl>
                                          <p:spTgt spid="238"/>
                                        </p:tgtEl>
                                        <p:attrNameLst>
                                          <p:attrName>style.visibility</p:attrName>
                                        </p:attrNameLst>
                                      </p:cBhvr>
                                      <p:to>
                                        <p:strVal val="visible"/>
                                      </p:to>
                                    </p:set>
                                    <p:animEffect transition="in" filter="wipe(up)">
                                      <p:cBhvr>
                                        <p:cTn id="11" dur="1000"/>
                                        <p:tgtEl>
                                          <p:spTgt spid="238"/>
                                        </p:tgtEl>
                                      </p:cBhvr>
                                    </p:animEffect>
                                  </p:childTnLst>
                                </p:cTn>
                              </p:par>
                            </p:childTnLst>
                          </p:cTn>
                        </p:par>
                        <p:par>
                          <p:cTn id="12" fill="hold">
                            <p:stCondLst>
                              <p:cond delay="15000"/>
                            </p:stCondLst>
                            <p:childTnLst>
                              <p:par>
                                <p:cTn id="13" presetID="1" presetClass="exit" presetSubtype="0" fill="hold" nodeType="afterEffect">
                                  <p:stCondLst>
                                    <p:cond delay="0"/>
                                  </p:stCondLst>
                                  <p:childTnLst>
                                    <p:set>
                                      <p:cBhvr>
                                        <p:cTn id="14" dur="1" fill="hold">
                                          <p:stCondLst>
                                            <p:cond delay="0"/>
                                          </p:stCondLst>
                                        </p:cTn>
                                        <p:tgtEl>
                                          <p:spTgt spid="238"/>
                                        </p:tgtEl>
                                        <p:attrNameLst>
                                          <p:attrName>style.visibility</p:attrName>
                                        </p:attrNameLst>
                                      </p:cBhvr>
                                      <p:to>
                                        <p:strVal val="hidden"/>
                                      </p:to>
                                    </p:set>
                                  </p:childTnLst>
                                </p:cTn>
                              </p:par>
                            </p:childTnLst>
                          </p:cTn>
                        </p:par>
                        <p:par>
                          <p:cTn id="15" fill="hold">
                            <p:stCondLst>
                              <p:cond delay="15000"/>
                            </p:stCondLst>
                            <p:childTnLst>
                              <p:par>
                                <p:cTn id="16" presetID="1" presetClass="exit" presetSubtype="0" fill="hold" nodeType="afterEffect">
                                  <p:stCondLst>
                                    <p:cond delay="0"/>
                                  </p:stCondLst>
                                  <p:childTnLst>
                                    <p:set>
                                      <p:cBhvr>
                                        <p:cTn id="17" dur="1" fill="hold">
                                          <p:stCondLst>
                                            <p:cond delay="0"/>
                                          </p:stCondLst>
                                        </p:cTn>
                                        <p:tgtEl>
                                          <p:spTgt spid="242"/>
                                        </p:tgtEl>
                                        <p:attrNameLst>
                                          <p:attrName>style.visibility</p:attrName>
                                        </p:attrNameLst>
                                      </p:cBhvr>
                                      <p:to>
                                        <p:strVal val="hidden"/>
                                      </p:to>
                                    </p:set>
                                  </p:childTnLst>
                                </p:cTn>
                              </p:par>
                              <p:par>
                                <p:cTn id="18" presetID="1" presetClass="entr" presetSubtype="0" fill="hold" nodeType="withEffect">
                                  <p:stCondLst>
                                    <p:cond delay="0"/>
                                  </p:stCondLst>
                                  <p:childTnLst>
                                    <p:set>
                                      <p:cBhvr>
                                        <p:cTn id="19" dur="1" fill="hold">
                                          <p:stCondLst>
                                            <p:cond delay="0"/>
                                          </p:stCondLst>
                                        </p:cTn>
                                        <p:tgtEl>
                                          <p:spTgt spid="127"/>
                                        </p:tgtEl>
                                        <p:attrNameLst>
                                          <p:attrName>style.visibility</p:attrName>
                                        </p:attrNameLst>
                                      </p:cBhvr>
                                      <p:to>
                                        <p:strVal val="visible"/>
                                      </p:to>
                                    </p:set>
                                  </p:childTnLst>
                                </p:cTn>
                              </p:par>
                            </p:childTnLst>
                          </p:cTn>
                        </p:par>
                        <p:par>
                          <p:cTn id="20" fill="hold">
                            <p:stCondLst>
                              <p:cond delay="15000"/>
                            </p:stCondLst>
                            <p:childTnLst>
                              <p:par>
                                <p:cTn id="21" presetID="1" presetClass="exit" presetSubtype="0" fill="hold" nodeType="afterEffect">
                                  <p:stCondLst>
                                    <p:cond delay="0"/>
                                  </p:stCondLst>
                                  <p:childTnLst>
                                    <p:set>
                                      <p:cBhvr>
                                        <p:cTn id="22" dur="1" fill="hold">
                                          <p:stCondLst>
                                            <p:cond delay="0"/>
                                          </p:stCondLst>
                                        </p:cTn>
                                        <p:tgtEl>
                                          <p:spTgt spid="127"/>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12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nodeType="clickEffect">
                                  <p:stCondLst>
                                    <p:cond delay="0"/>
                                  </p:stCondLst>
                                  <p:childTnLst>
                                    <p:set>
                                      <p:cBhvr>
                                        <p:cTn id="28" dur="1" fill="hold">
                                          <p:stCondLst>
                                            <p:cond delay="0"/>
                                          </p:stCondLst>
                                        </p:cTn>
                                        <p:tgtEl>
                                          <p:spTgt spid="279"/>
                                        </p:tgtEl>
                                        <p:attrNameLst>
                                          <p:attrName>style.visibility</p:attrName>
                                        </p:attrNameLst>
                                      </p:cBhvr>
                                      <p:to>
                                        <p:strVal val="hidden"/>
                                      </p:to>
                                    </p:set>
                                  </p:childTnLst>
                                </p:cTn>
                              </p:par>
                              <p:par>
                                <p:cTn id="29" presetID="1" presetClass="entr" presetSubtype="0" fill="hold" nodeType="withEffect">
                                  <p:stCondLst>
                                    <p:cond delay="0"/>
                                  </p:stCondLst>
                                  <p:childTnLst>
                                    <p:set>
                                      <p:cBhvr>
                                        <p:cTn id="30" dur="1" fill="hold">
                                          <p:stCondLst>
                                            <p:cond delay="0"/>
                                          </p:stCondLst>
                                        </p:cTn>
                                        <p:tgtEl>
                                          <p:spTgt spid="299"/>
                                        </p:tgtEl>
                                        <p:attrNameLst>
                                          <p:attrName>style.visibility</p:attrName>
                                        </p:attrNameLst>
                                      </p:cBhvr>
                                      <p:to>
                                        <p:strVal val="visible"/>
                                      </p:to>
                                    </p:set>
                                  </p:childTnLst>
                                  <p:subTnLst>
                                    <p:audio>
                                      <p:cMediaNode>
                                        <p:cTn display="0" masterRel="sameClick">
                                          <p:stCondLst>
                                            <p:cond evt="begin" delay="0">
                                              <p:tn val="29"/>
                                            </p:cond>
                                          </p:stCondLst>
                                          <p:endCondLst>
                                            <p:cond evt="onStopAudio" delay="0">
                                              <p:tgtEl>
                                                <p:sldTgt/>
                                              </p:tgtEl>
                                            </p:cond>
                                          </p:endCondLst>
                                        </p:cTn>
                                        <p:tgtEl>
                                          <p:sndTgt r:embed="rId4" name="Guy-Byers.wav"/>
                                        </p:tgtEl>
                                      </p:cMediaNode>
                                    </p:audio>
                                  </p:subTnLst>
                                </p:cTn>
                              </p:par>
                              <p:par>
                                <p:cTn id="31" presetID="22" presetClass="entr" presetSubtype="1" repeatCount="12000" fill="hold" nodeType="withEffect">
                                  <p:stCondLst>
                                    <p:cond delay="0"/>
                                  </p:stCondLst>
                                  <p:endCondLst>
                                    <p:cond evt="onNext" delay="0">
                                      <p:tgtEl>
                                        <p:sldTgt/>
                                      </p:tgtEl>
                                    </p:cond>
                                  </p:endCondLst>
                                  <p:childTnLst>
                                    <p:set>
                                      <p:cBhvr>
                                        <p:cTn id="32" dur="1" fill="hold">
                                          <p:stCondLst>
                                            <p:cond delay="0"/>
                                          </p:stCondLst>
                                        </p:cTn>
                                        <p:tgtEl>
                                          <p:spTgt spid="295"/>
                                        </p:tgtEl>
                                        <p:attrNameLst>
                                          <p:attrName>style.visibility</p:attrName>
                                        </p:attrNameLst>
                                      </p:cBhvr>
                                      <p:to>
                                        <p:strVal val="visible"/>
                                      </p:to>
                                    </p:set>
                                    <p:animEffect transition="in" filter="wipe(up)">
                                      <p:cBhvr>
                                        <p:cTn id="33" dur="1000"/>
                                        <p:tgtEl>
                                          <p:spTgt spid="295"/>
                                        </p:tgtEl>
                                      </p:cBhvr>
                                    </p:animEffect>
                                  </p:childTnLst>
                                </p:cTn>
                              </p:par>
                            </p:childTnLst>
                          </p:cTn>
                        </p:par>
                      </p:childTnLst>
                    </p:cTn>
                  </p:par>
                  <p:par>
                    <p:cTn id="34" fill="hold">
                      <p:stCondLst>
                        <p:cond delay="indefinite"/>
                      </p:stCondLst>
                      <p:childTnLst>
                        <p:par>
                          <p:cTn id="35" fill="hold">
                            <p:stCondLst>
                              <p:cond delay="0"/>
                            </p:stCondLst>
                            <p:childTnLst>
                              <p:par>
                                <p:cTn id="36" presetID="1" presetClass="exit" presetSubtype="0" fill="hold" nodeType="clickEffect">
                                  <p:stCondLst>
                                    <p:cond delay="0"/>
                                  </p:stCondLst>
                                  <p:childTnLst>
                                    <p:set>
                                      <p:cBhvr>
                                        <p:cTn id="37" dur="1" fill="hold">
                                          <p:stCondLst>
                                            <p:cond delay="0"/>
                                          </p:stCondLst>
                                        </p:cTn>
                                        <p:tgtEl>
                                          <p:spTgt spid="295"/>
                                        </p:tgtEl>
                                        <p:attrNameLst>
                                          <p:attrName>style.visibility</p:attrName>
                                        </p:attrNameLst>
                                      </p:cBhvr>
                                      <p:to>
                                        <p:strVal val="hidden"/>
                                      </p:to>
                                    </p:set>
                                  </p:childTnLst>
                                </p:cTn>
                              </p:par>
                            </p:childTnLst>
                          </p:cTn>
                        </p:par>
                        <p:par>
                          <p:cTn id="38" fill="hold">
                            <p:stCondLst>
                              <p:cond delay="0"/>
                            </p:stCondLst>
                            <p:childTnLst>
                              <p:par>
                                <p:cTn id="39" presetID="1" presetClass="exit" presetSubtype="0" fill="hold" nodeType="afterEffect">
                                  <p:stCondLst>
                                    <p:cond delay="0"/>
                                  </p:stCondLst>
                                  <p:childTnLst>
                                    <p:set>
                                      <p:cBhvr>
                                        <p:cTn id="40" dur="1" fill="hold">
                                          <p:stCondLst>
                                            <p:cond delay="0"/>
                                          </p:stCondLst>
                                        </p:cTn>
                                        <p:tgtEl>
                                          <p:spTgt spid="299"/>
                                        </p:tgtEl>
                                        <p:attrNameLst>
                                          <p:attrName>style.visibility</p:attrName>
                                        </p:attrNameLst>
                                      </p:cBhvr>
                                      <p:to>
                                        <p:strVal val="hidden"/>
                                      </p:to>
                                    </p:set>
                                  </p:childTnLst>
                                </p:cTn>
                              </p:par>
                              <p:par>
                                <p:cTn id="41" presetID="1" presetClass="entr" presetSubtype="0" fill="hold" nodeType="withEffect">
                                  <p:stCondLst>
                                    <p:cond delay="0"/>
                                  </p:stCondLst>
                                  <p:childTnLst>
                                    <p:set>
                                      <p:cBhvr>
                                        <p:cTn id="42" dur="1" fill="hold">
                                          <p:stCondLst>
                                            <p:cond delay="0"/>
                                          </p:stCondLst>
                                        </p:cTn>
                                        <p:tgtEl>
                                          <p:spTgt spid="31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nodeType="clickEffect">
                                  <p:stCondLst>
                                    <p:cond delay="0"/>
                                  </p:stCondLst>
                                  <p:childTnLst>
                                    <p:set>
                                      <p:cBhvr>
                                        <p:cTn id="46" dur="1" fill="hold">
                                          <p:stCondLst>
                                            <p:cond delay="0"/>
                                          </p:stCondLst>
                                        </p:cTn>
                                        <p:tgtEl>
                                          <p:spTgt spid="315"/>
                                        </p:tgtEl>
                                        <p:attrNameLst>
                                          <p:attrName>style.visibility</p:attrName>
                                        </p:attrNameLst>
                                      </p:cBhvr>
                                      <p:to>
                                        <p:strVal val="hidden"/>
                                      </p:to>
                                    </p:set>
                                  </p:childTnLst>
                                </p:cTn>
                              </p:par>
                              <p:par>
                                <p:cTn id="47" presetID="1" presetClass="entr" presetSubtype="0" fill="hold" nodeType="withEffect">
                                  <p:stCondLst>
                                    <p:cond delay="0"/>
                                  </p:stCondLst>
                                  <p:childTnLst>
                                    <p:set>
                                      <p:cBhvr>
                                        <p:cTn id="48" dur="1" fill="hold">
                                          <p:stCondLst>
                                            <p:cond delay="0"/>
                                          </p:stCondLst>
                                        </p:cTn>
                                        <p:tgtEl>
                                          <p:spTgt spid="315"/>
                                        </p:tgtEl>
                                        <p:attrNameLst>
                                          <p:attrName>style.visibility</p:attrName>
                                        </p:attrNameLst>
                                      </p:cBhvr>
                                      <p:to>
                                        <p:strVal val="visible"/>
                                      </p:to>
                                    </p:set>
                                  </p:childTnLst>
                                </p:cTn>
                              </p:par>
                            </p:childTnLst>
                          </p:cTn>
                        </p:par>
                        <p:par>
                          <p:cTn id="49" fill="hold">
                            <p:stCondLst>
                              <p:cond delay="0"/>
                            </p:stCondLst>
                            <p:childTnLst>
                              <p:par>
                                <p:cTn id="50" presetID="2" presetClass="entr" presetSubtype="4" fill="hold" grpId="0" nodeType="afterEffect">
                                  <p:stCondLst>
                                    <p:cond delay="0"/>
                                  </p:stCondLst>
                                  <p:childTnLst>
                                    <p:set>
                                      <p:cBhvr>
                                        <p:cTn id="51" dur="1" fill="hold">
                                          <p:stCondLst>
                                            <p:cond delay="0"/>
                                          </p:stCondLst>
                                        </p:cTn>
                                        <p:tgtEl>
                                          <p:spTgt spid="64"/>
                                        </p:tgtEl>
                                        <p:attrNameLst>
                                          <p:attrName>style.visibility</p:attrName>
                                        </p:attrNameLst>
                                      </p:cBhvr>
                                      <p:to>
                                        <p:strVal val="visible"/>
                                      </p:to>
                                    </p:set>
                                    <p:anim calcmode="lin" valueType="num">
                                      <p:cBhvr additive="base">
                                        <p:cTn id="52" dur="500" fill="hold"/>
                                        <p:tgtEl>
                                          <p:spTgt spid="64"/>
                                        </p:tgtEl>
                                        <p:attrNameLst>
                                          <p:attrName>ppt_x</p:attrName>
                                        </p:attrNameLst>
                                      </p:cBhvr>
                                      <p:tavLst>
                                        <p:tav tm="0">
                                          <p:val>
                                            <p:strVal val="#ppt_x"/>
                                          </p:val>
                                        </p:tav>
                                        <p:tav tm="100000">
                                          <p:val>
                                            <p:strVal val="#ppt_x"/>
                                          </p:val>
                                        </p:tav>
                                      </p:tavLst>
                                    </p:anim>
                                    <p:anim calcmode="lin" valueType="num">
                                      <p:cBhvr additive="base">
                                        <p:cTn id="53" dur="500" fill="hold"/>
                                        <p:tgtEl>
                                          <p:spTgt spid="6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a:extLst>
              <a:ext uri="{FF2B5EF4-FFF2-40B4-BE49-F238E27FC236}">
                <a16:creationId xmlns:a16="http://schemas.microsoft.com/office/drawing/2014/main" id="{91275225-1454-7445-BF95-7CAE3E9492A9}"/>
              </a:ext>
            </a:extLst>
          </p:cNvPr>
          <p:cNvSpPr/>
          <p:nvPr/>
        </p:nvSpPr>
        <p:spPr bwMode="auto">
          <a:xfrm>
            <a:off x="6403344" y="1496582"/>
            <a:ext cx="4105641" cy="3696413"/>
          </a:xfrm>
          <a:prstGeom prst="rect">
            <a:avLst/>
          </a:prstGeom>
          <a:solidFill>
            <a:srgbClr val="0078D4"/>
          </a:solidFill>
          <a:ln w="10795" cap="flat" cmpd="sng" algn="ctr">
            <a:noFill/>
            <a:prstDash val="solid"/>
          </a:ln>
          <a:effectLst/>
        </p:spPr>
        <p:txBody>
          <a:bodyPr vert="horz" wrap="square" lIns="0" tIns="35674" rIns="0" bIns="35674" numCol="1" rtlCol="0" anchor="ctr" anchorCtr="0" compatLnSpc="1">
            <a:prstTxWarp prst="textNoShape">
              <a:avLst/>
            </a:prstTxWarp>
          </a:bodyPr>
          <a:lstStyle/>
          <a:p>
            <a:pPr algn="ctr" defTabSz="713271" fontAlgn="base">
              <a:lnSpc>
                <a:spcPct val="90000"/>
              </a:lnSpc>
              <a:spcBef>
                <a:spcPts val="459"/>
              </a:spcBef>
              <a:defRPr/>
            </a:pPr>
            <a:endParaRPr lang="en-US" sz="1530" kern="0" dirty="0">
              <a:noFill/>
              <a:latin typeface="Segoe UI Semilight"/>
            </a:endParaRPr>
          </a:p>
        </p:txBody>
      </p:sp>
      <p:sp>
        <p:nvSpPr>
          <p:cNvPr id="3" name="Title 2">
            <a:extLst>
              <a:ext uri="{FF2B5EF4-FFF2-40B4-BE49-F238E27FC236}">
                <a16:creationId xmlns:a16="http://schemas.microsoft.com/office/drawing/2014/main" id="{C8D76978-87A0-6D43-A06D-9CE81F187751}"/>
              </a:ext>
            </a:extLst>
          </p:cNvPr>
          <p:cNvSpPr>
            <a:spLocks noGrp="1"/>
          </p:cNvSpPr>
          <p:nvPr>
            <p:ph type="title"/>
          </p:nvPr>
        </p:nvSpPr>
        <p:spPr>
          <a:xfrm>
            <a:off x="1920704" y="221699"/>
            <a:ext cx="7425640" cy="1075935"/>
          </a:xfrm>
        </p:spPr>
        <p:txBody>
          <a:bodyPr/>
          <a:lstStyle/>
          <a:p>
            <a:r>
              <a:rPr lang="en-US" sz="4080" dirty="0">
                <a:latin typeface="微软雅黑" panose="020B0503020204020204" pitchFamily="34" charset="-122"/>
                <a:ea typeface="微软雅黑" panose="020B0503020204020204" pitchFamily="34" charset="-122"/>
              </a:rPr>
              <a:t>Azure</a:t>
            </a:r>
            <a:r>
              <a:rPr lang="zh-CN" altLang="en-US" sz="4080" dirty="0">
                <a:latin typeface="微软雅黑" panose="020B0503020204020204" pitchFamily="34" charset="-122"/>
                <a:ea typeface="微软雅黑" panose="020B0503020204020204" pitchFamily="34" charset="-122"/>
              </a:rPr>
              <a:t>上的机器学习</a:t>
            </a:r>
            <a:r>
              <a:rPr lang="en-US" altLang="zh-CN" sz="4080" dirty="0">
                <a:latin typeface="微软雅黑" panose="020B0503020204020204" pitchFamily="34" charset="-122"/>
                <a:ea typeface="微软雅黑" panose="020B0503020204020204" pitchFamily="34" charset="-122"/>
              </a:rPr>
              <a:t>/</a:t>
            </a:r>
            <a:r>
              <a:rPr lang="zh-CN" altLang="en-US" sz="4080" dirty="0">
                <a:latin typeface="微软雅黑" panose="020B0503020204020204" pitchFamily="34" charset="-122"/>
                <a:ea typeface="微软雅黑" panose="020B0503020204020204" pitchFamily="34" charset="-122"/>
              </a:rPr>
              <a:t>深度学习</a:t>
            </a:r>
            <a:br>
              <a:rPr lang="en-US" sz="4080" dirty="0">
                <a:latin typeface="微软雅黑" panose="020B0503020204020204" pitchFamily="34" charset="-122"/>
                <a:ea typeface="微软雅黑" panose="020B0503020204020204" pitchFamily="34" charset="-122"/>
              </a:rPr>
            </a:br>
            <a:endParaRPr lang="en-US" sz="4080" dirty="0">
              <a:latin typeface="微软雅黑" panose="020B0503020204020204" pitchFamily="34" charset="-122"/>
              <a:ea typeface="微软雅黑" panose="020B0503020204020204" pitchFamily="34" charset="-122"/>
            </a:endParaRPr>
          </a:p>
        </p:txBody>
      </p:sp>
      <p:grpSp>
        <p:nvGrpSpPr>
          <p:cNvPr id="18" name="Group 17">
            <a:extLst>
              <a:ext uri="{FF2B5EF4-FFF2-40B4-BE49-F238E27FC236}">
                <a16:creationId xmlns:a16="http://schemas.microsoft.com/office/drawing/2014/main" id="{E13F797C-BD80-CB4C-BA18-1757FD7467AC}"/>
              </a:ext>
            </a:extLst>
          </p:cNvPr>
          <p:cNvGrpSpPr/>
          <p:nvPr/>
        </p:nvGrpSpPr>
        <p:grpSpPr>
          <a:xfrm>
            <a:off x="6405337" y="4636419"/>
            <a:ext cx="1370927" cy="603837"/>
            <a:chOff x="6390930" y="5706791"/>
            <a:chExt cx="1792224" cy="789401"/>
          </a:xfrm>
        </p:grpSpPr>
        <p:sp>
          <p:nvSpPr>
            <p:cNvPr id="153" name="Rectangle 152">
              <a:extLst>
                <a:ext uri="{FF2B5EF4-FFF2-40B4-BE49-F238E27FC236}">
                  <a16:creationId xmlns:a16="http://schemas.microsoft.com/office/drawing/2014/main" id="{0AC1024E-96D8-FF4F-96EB-4882858CEC0F}"/>
                </a:ext>
              </a:extLst>
            </p:cNvPr>
            <p:cNvSpPr/>
            <p:nvPr/>
          </p:nvSpPr>
          <p:spPr>
            <a:xfrm>
              <a:off x="6390930" y="6173027"/>
              <a:ext cx="1792224" cy="323165"/>
            </a:xfrm>
            <a:prstGeom prst="rect">
              <a:avLst/>
            </a:prstGeom>
            <a:noFill/>
            <a:ln>
              <a:noFill/>
            </a:ln>
          </p:spPr>
          <p:txBody>
            <a:bodyPr wrap="square" lIns="0" tIns="0" rIns="0" bIns="139891" rtlCol="0" anchor="b" anchorCtr="0">
              <a:spAutoFit/>
            </a:bodyPr>
            <a:lstStyle/>
            <a:p>
              <a:pPr algn="ctr" defTabSz="685274">
                <a:lnSpc>
                  <a:spcPct val="90000"/>
                </a:lnSpc>
                <a:spcAft>
                  <a:spcPts val="450"/>
                </a:spcAft>
                <a:defRPr/>
              </a:pPr>
              <a:r>
                <a:rPr lang="en-US" sz="765" kern="0" dirty="0">
                  <a:solidFill>
                    <a:prstClr val="white"/>
                  </a:solidFill>
                  <a:latin typeface="Segoe UI Semibold" panose="020B0702040204020203" pitchFamily="34" charset="0"/>
                  <a:cs typeface="Segoe UI Semibold" panose="020B0702040204020203" pitchFamily="34" charset="0"/>
                  <a:sym typeface="Wingdings" panose="05000000000000000000" pitchFamily="2" charset="2"/>
                </a:rPr>
                <a:t>On-premises</a:t>
              </a:r>
              <a:endParaRPr lang="en-US" sz="765" kern="0" dirty="0">
                <a:solidFill>
                  <a:prstClr val="white"/>
                </a:solidFill>
                <a:latin typeface="Segoe UI Semibold" panose="020B0702040204020203" pitchFamily="34" charset="0"/>
                <a:cs typeface="Segoe UI Semibold" panose="020B0702040204020203" pitchFamily="34" charset="0"/>
              </a:endParaRPr>
            </a:p>
          </p:txBody>
        </p:sp>
        <p:grpSp>
          <p:nvGrpSpPr>
            <p:cNvPr id="156" name="Group 155">
              <a:extLst>
                <a:ext uri="{FF2B5EF4-FFF2-40B4-BE49-F238E27FC236}">
                  <a16:creationId xmlns:a16="http://schemas.microsoft.com/office/drawing/2014/main" id="{99933DD7-E853-5F44-84E3-DCD205894CB8}"/>
                </a:ext>
              </a:extLst>
            </p:cNvPr>
            <p:cNvGrpSpPr>
              <a:grpSpLocks noChangeAspect="1"/>
            </p:cNvGrpSpPr>
            <p:nvPr/>
          </p:nvGrpSpPr>
          <p:grpSpPr>
            <a:xfrm>
              <a:off x="7105677" y="5706791"/>
              <a:ext cx="362730" cy="251137"/>
              <a:chOff x="7896551" y="5563079"/>
              <a:chExt cx="584179" cy="404459"/>
            </a:xfrm>
          </p:grpSpPr>
          <p:cxnSp>
            <p:nvCxnSpPr>
              <p:cNvPr id="157" name="Straight Connector 156">
                <a:extLst>
                  <a:ext uri="{FF2B5EF4-FFF2-40B4-BE49-F238E27FC236}">
                    <a16:creationId xmlns:a16="http://schemas.microsoft.com/office/drawing/2014/main" id="{D11314FB-C5F5-914F-AC57-70EB8AB0F27E}"/>
                  </a:ext>
                </a:extLst>
              </p:cNvPr>
              <p:cNvCxnSpPr>
                <a:cxnSpLocks/>
              </p:cNvCxnSpPr>
              <p:nvPr/>
            </p:nvCxnSpPr>
            <p:spPr>
              <a:xfrm>
                <a:off x="7896551" y="5967538"/>
                <a:ext cx="584179" cy="0"/>
              </a:xfrm>
              <a:prstGeom prst="line">
                <a:avLst/>
              </a:prstGeom>
              <a:noFill/>
              <a:ln w="12700" cap="flat" cmpd="sng" algn="ctr">
                <a:solidFill>
                  <a:schemeClr val="bg1"/>
                </a:solidFill>
                <a:prstDash val="solid"/>
                <a:miter lim="800000"/>
                <a:headEnd type="none"/>
                <a:tailEnd type="none"/>
              </a:ln>
              <a:effectLst/>
            </p:spPr>
          </p:cxnSp>
          <p:sp>
            <p:nvSpPr>
              <p:cNvPr id="158" name="Rectangle 157">
                <a:extLst>
                  <a:ext uri="{FF2B5EF4-FFF2-40B4-BE49-F238E27FC236}">
                    <a16:creationId xmlns:a16="http://schemas.microsoft.com/office/drawing/2014/main" id="{31E80645-A2EA-E04A-A155-51EF4AB5D0F2}"/>
                  </a:ext>
                </a:extLst>
              </p:cNvPr>
              <p:cNvSpPr/>
              <p:nvPr/>
            </p:nvSpPr>
            <p:spPr bwMode="auto">
              <a:xfrm>
                <a:off x="7931557" y="5679653"/>
                <a:ext cx="306060" cy="287885"/>
              </a:xfrm>
              <a:prstGeom prst="rect">
                <a:avLst/>
              </a:prstGeom>
              <a:noFill/>
              <a:ln w="1270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defRPr/>
                </a:pPr>
                <a:endParaRPr lang="en-US" sz="765" kern="0">
                  <a:solidFill>
                    <a:srgbClr val="FFFFFF"/>
                  </a:solidFill>
                  <a:latin typeface="Segoe UI Semibold"/>
                  <a:ea typeface="Segoe UI" pitchFamily="34" charset="0"/>
                  <a:cs typeface="Segoe UI" pitchFamily="34" charset="0"/>
                </a:endParaRPr>
              </a:p>
            </p:txBody>
          </p:sp>
          <p:sp>
            <p:nvSpPr>
              <p:cNvPr id="159" name="Rectangle 158">
                <a:extLst>
                  <a:ext uri="{FF2B5EF4-FFF2-40B4-BE49-F238E27FC236}">
                    <a16:creationId xmlns:a16="http://schemas.microsoft.com/office/drawing/2014/main" id="{7EA63235-F1CE-F143-B3F4-4A6059544E2B}"/>
                  </a:ext>
                </a:extLst>
              </p:cNvPr>
              <p:cNvSpPr/>
              <p:nvPr/>
            </p:nvSpPr>
            <p:spPr bwMode="auto">
              <a:xfrm>
                <a:off x="8034487" y="5872016"/>
                <a:ext cx="100200" cy="95522"/>
              </a:xfrm>
              <a:prstGeom prst="rect">
                <a:avLst/>
              </a:prstGeom>
              <a:noFill/>
              <a:ln w="1270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defRPr/>
                </a:pPr>
                <a:endParaRPr lang="en-US" sz="765" kern="0">
                  <a:solidFill>
                    <a:srgbClr val="FFFFFF"/>
                  </a:solidFill>
                  <a:latin typeface="Segoe UI Semibold"/>
                  <a:ea typeface="Segoe UI" pitchFamily="34" charset="0"/>
                  <a:cs typeface="Segoe UI" pitchFamily="34" charset="0"/>
                </a:endParaRPr>
              </a:p>
            </p:txBody>
          </p:sp>
          <p:sp>
            <p:nvSpPr>
              <p:cNvPr id="160" name="Freeform: Shape 142">
                <a:extLst>
                  <a:ext uri="{FF2B5EF4-FFF2-40B4-BE49-F238E27FC236}">
                    <a16:creationId xmlns:a16="http://schemas.microsoft.com/office/drawing/2014/main" id="{9E1D27C6-A954-8B4B-B642-1F41B4C01B43}"/>
                  </a:ext>
                </a:extLst>
              </p:cNvPr>
              <p:cNvSpPr/>
              <p:nvPr/>
            </p:nvSpPr>
            <p:spPr bwMode="auto">
              <a:xfrm>
                <a:off x="8152304" y="5563079"/>
                <a:ext cx="292222" cy="404459"/>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noFill/>
              <a:ln w="1270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defRPr/>
                </a:pPr>
                <a:endParaRPr lang="en-US" sz="765" kern="0">
                  <a:solidFill>
                    <a:srgbClr val="FFFFFF"/>
                  </a:solidFill>
                  <a:latin typeface="Segoe UI Semibold"/>
                  <a:ea typeface="Segoe UI" pitchFamily="34" charset="0"/>
                  <a:cs typeface="Segoe UI" pitchFamily="34" charset="0"/>
                </a:endParaRPr>
              </a:p>
            </p:txBody>
          </p:sp>
          <p:sp>
            <p:nvSpPr>
              <p:cNvPr id="161" name="Freeform: Shape 143">
                <a:extLst>
                  <a:ext uri="{FF2B5EF4-FFF2-40B4-BE49-F238E27FC236}">
                    <a16:creationId xmlns:a16="http://schemas.microsoft.com/office/drawing/2014/main" id="{406C76CB-C24C-774B-807B-84CA197092FB}"/>
                  </a:ext>
                </a:extLst>
              </p:cNvPr>
              <p:cNvSpPr/>
              <p:nvPr/>
            </p:nvSpPr>
            <p:spPr bwMode="auto">
              <a:xfrm>
                <a:off x="8275765" y="5872016"/>
                <a:ext cx="70975" cy="95522"/>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noFill/>
              <a:ln w="1270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defRPr/>
                </a:pPr>
                <a:endParaRPr lang="en-US" sz="765" kern="0">
                  <a:solidFill>
                    <a:srgbClr val="FFFFFF"/>
                  </a:solidFill>
                  <a:latin typeface="Segoe UI Semibold"/>
                  <a:ea typeface="Segoe UI" pitchFamily="34" charset="0"/>
                  <a:cs typeface="Segoe UI" pitchFamily="34" charset="0"/>
                </a:endParaRPr>
              </a:p>
            </p:txBody>
          </p:sp>
        </p:grpSp>
      </p:grpSp>
      <p:grpSp>
        <p:nvGrpSpPr>
          <p:cNvPr id="19" name="Group 18">
            <a:extLst>
              <a:ext uri="{FF2B5EF4-FFF2-40B4-BE49-F238E27FC236}">
                <a16:creationId xmlns:a16="http://schemas.microsoft.com/office/drawing/2014/main" id="{D4B2B468-1B87-094A-B934-5C1558853951}"/>
              </a:ext>
            </a:extLst>
          </p:cNvPr>
          <p:cNvGrpSpPr/>
          <p:nvPr/>
        </p:nvGrpSpPr>
        <p:grpSpPr>
          <a:xfrm>
            <a:off x="7752745" y="4642275"/>
            <a:ext cx="1370927" cy="597981"/>
            <a:chOff x="8152408" y="5714447"/>
            <a:chExt cx="1792224" cy="781745"/>
          </a:xfrm>
        </p:grpSpPr>
        <p:sp>
          <p:nvSpPr>
            <p:cNvPr id="155" name="Rectangle 154">
              <a:extLst>
                <a:ext uri="{FF2B5EF4-FFF2-40B4-BE49-F238E27FC236}">
                  <a16:creationId xmlns:a16="http://schemas.microsoft.com/office/drawing/2014/main" id="{99CF0999-4488-2149-B151-21ADB0A8FEBB}"/>
                </a:ext>
              </a:extLst>
            </p:cNvPr>
            <p:cNvSpPr/>
            <p:nvPr/>
          </p:nvSpPr>
          <p:spPr>
            <a:xfrm>
              <a:off x="8152408" y="6173027"/>
              <a:ext cx="1792224" cy="323165"/>
            </a:xfrm>
            <a:prstGeom prst="rect">
              <a:avLst/>
            </a:prstGeom>
            <a:noFill/>
            <a:ln>
              <a:noFill/>
            </a:ln>
          </p:spPr>
          <p:txBody>
            <a:bodyPr wrap="square" lIns="0" tIns="0" rIns="0" bIns="139891" rtlCol="0" anchor="b" anchorCtr="0">
              <a:spAutoFit/>
            </a:bodyPr>
            <a:lstStyle/>
            <a:p>
              <a:pPr algn="ctr" defTabSz="685274">
                <a:lnSpc>
                  <a:spcPct val="90000"/>
                </a:lnSpc>
                <a:spcAft>
                  <a:spcPts val="450"/>
                </a:spcAft>
                <a:defRPr/>
              </a:pPr>
              <a:r>
                <a:rPr lang="en-US" sz="765" kern="0" dirty="0">
                  <a:solidFill>
                    <a:prstClr val="white"/>
                  </a:solidFill>
                  <a:latin typeface="Segoe UI Semibold" panose="020B0702040204020203" pitchFamily="34" charset="0"/>
                  <a:cs typeface="Segoe UI Semibold" panose="020B0702040204020203" pitchFamily="34" charset="0"/>
                  <a:sym typeface="Wingdings" panose="05000000000000000000" pitchFamily="2" charset="2"/>
                </a:rPr>
                <a:t>Cloud</a:t>
              </a:r>
              <a:endParaRPr lang="en-US" sz="765" kern="0" dirty="0">
                <a:solidFill>
                  <a:prstClr val="white"/>
                </a:solidFill>
                <a:latin typeface="Segoe UI Semibold" panose="020B0702040204020203" pitchFamily="34" charset="0"/>
                <a:cs typeface="Segoe UI Semibold" panose="020B0702040204020203" pitchFamily="34" charset="0"/>
              </a:endParaRPr>
            </a:p>
          </p:txBody>
        </p:sp>
        <p:sp>
          <p:nvSpPr>
            <p:cNvPr id="162" name="Freeform 128">
              <a:extLst>
                <a:ext uri="{FF2B5EF4-FFF2-40B4-BE49-F238E27FC236}">
                  <a16:creationId xmlns:a16="http://schemas.microsoft.com/office/drawing/2014/main" id="{10724302-EC36-B942-9C86-554F95F539FF}"/>
                </a:ext>
              </a:extLst>
            </p:cNvPr>
            <p:cNvSpPr>
              <a:spLocks noChangeAspect="1"/>
            </p:cNvSpPr>
            <p:nvPr/>
          </p:nvSpPr>
          <p:spPr bwMode="auto">
            <a:xfrm>
              <a:off x="8837904" y="5714447"/>
              <a:ext cx="421232" cy="23582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chemeClr val="bg1"/>
              </a:solidFill>
              <a:miter lim="800000"/>
            </a:ln>
          </p:spPr>
          <p:txBody>
            <a:bodyPr vert="horz" wrap="square" lIns="69945" tIns="34973" rIns="69945" bIns="34973" numCol="1" anchor="t" anchorCtr="0" compatLnSpc="1">
              <a:prstTxWarp prst="textNoShape">
                <a:avLst/>
              </a:prstTxWarp>
            </a:bodyPr>
            <a:lstStyle/>
            <a:p>
              <a:pPr defTabSz="699447">
                <a:lnSpc>
                  <a:spcPct val="90000"/>
                </a:lnSpc>
                <a:defRPr/>
              </a:pPr>
              <a:endParaRPr lang="en-US" sz="765" kern="0" dirty="0">
                <a:solidFill>
                  <a:srgbClr val="333333"/>
                </a:solidFill>
                <a:latin typeface="Segoe UI Semibold"/>
              </a:endParaRPr>
            </a:p>
          </p:txBody>
        </p:sp>
      </p:grpSp>
      <p:grpSp>
        <p:nvGrpSpPr>
          <p:cNvPr id="20" name="Group 19">
            <a:extLst>
              <a:ext uri="{FF2B5EF4-FFF2-40B4-BE49-F238E27FC236}">
                <a16:creationId xmlns:a16="http://schemas.microsoft.com/office/drawing/2014/main" id="{504DCDA3-4151-3245-B3D5-4FD4A784F1DA}"/>
              </a:ext>
            </a:extLst>
          </p:cNvPr>
          <p:cNvGrpSpPr/>
          <p:nvPr/>
        </p:nvGrpSpPr>
        <p:grpSpPr>
          <a:xfrm>
            <a:off x="9140050" y="4620131"/>
            <a:ext cx="1370927" cy="620122"/>
            <a:chOff x="9966044" y="5685501"/>
            <a:chExt cx="1792224" cy="810691"/>
          </a:xfrm>
        </p:grpSpPr>
        <p:sp>
          <p:nvSpPr>
            <p:cNvPr id="154" name="Rectangle 153">
              <a:extLst>
                <a:ext uri="{FF2B5EF4-FFF2-40B4-BE49-F238E27FC236}">
                  <a16:creationId xmlns:a16="http://schemas.microsoft.com/office/drawing/2014/main" id="{45FEFDF5-1EA9-B64E-BCFE-06DFA4F57DCA}"/>
                </a:ext>
              </a:extLst>
            </p:cNvPr>
            <p:cNvSpPr/>
            <p:nvPr/>
          </p:nvSpPr>
          <p:spPr>
            <a:xfrm>
              <a:off x="9966044" y="6173027"/>
              <a:ext cx="1792224" cy="323165"/>
            </a:xfrm>
            <a:prstGeom prst="rect">
              <a:avLst/>
            </a:prstGeom>
            <a:noFill/>
            <a:ln>
              <a:noFill/>
            </a:ln>
          </p:spPr>
          <p:txBody>
            <a:bodyPr wrap="square" lIns="0" tIns="0" rIns="0" bIns="139891" rtlCol="0" anchor="b" anchorCtr="0">
              <a:spAutoFit/>
            </a:bodyPr>
            <a:lstStyle/>
            <a:p>
              <a:pPr algn="ctr" defTabSz="685274">
                <a:lnSpc>
                  <a:spcPct val="90000"/>
                </a:lnSpc>
                <a:spcAft>
                  <a:spcPts val="450"/>
                </a:spcAft>
                <a:defRPr/>
              </a:pPr>
              <a:r>
                <a:rPr lang="en-US" sz="765" kern="0" dirty="0">
                  <a:solidFill>
                    <a:prstClr val="white"/>
                  </a:solidFill>
                  <a:latin typeface="Segoe UI Semibold" panose="020B0702040204020203" pitchFamily="34" charset="0"/>
                  <a:cs typeface="Segoe UI Semibold" panose="020B0702040204020203" pitchFamily="34" charset="0"/>
                  <a:sym typeface="Wingdings" panose="05000000000000000000" pitchFamily="2" charset="2"/>
                </a:rPr>
                <a:t>Edge</a:t>
              </a:r>
              <a:endParaRPr lang="en-US" sz="765" kern="0" dirty="0">
                <a:solidFill>
                  <a:prstClr val="white"/>
                </a:solidFill>
                <a:latin typeface="Segoe UI Semibold" panose="020B0702040204020203" pitchFamily="34" charset="0"/>
                <a:cs typeface="Segoe UI Semibold" panose="020B0702040204020203" pitchFamily="34" charset="0"/>
              </a:endParaRPr>
            </a:p>
          </p:txBody>
        </p:sp>
        <p:grpSp>
          <p:nvGrpSpPr>
            <p:cNvPr id="163" name="Group 162">
              <a:extLst>
                <a:ext uri="{FF2B5EF4-FFF2-40B4-BE49-F238E27FC236}">
                  <a16:creationId xmlns:a16="http://schemas.microsoft.com/office/drawing/2014/main" id="{93A39D66-A98E-454E-A7B8-423BD46258EA}"/>
                </a:ext>
              </a:extLst>
            </p:cNvPr>
            <p:cNvGrpSpPr>
              <a:grpSpLocks noChangeAspect="1"/>
            </p:cNvGrpSpPr>
            <p:nvPr/>
          </p:nvGrpSpPr>
          <p:grpSpPr>
            <a:xfrm>
              <a:off x="10734642" y="5685501"/>
              <a:ext cx="255029" cy="251184"/>
              <a:chOff x="10973910" y="5531191"/>
              <a:chExt cx="410726" cy="404534"/>
            </a:xfrm>
          </p:grpSpPr>
          <p:grpSp>
            <p:nvGrpSpPr>
              <p:cNvPr id="164" name="Group 163">
                <a:extLst>
                  <a:ext uri="{FF2B5EF4-FFF2-40B4-BE49-F238E27FC236}">
                    <a16:creationId xmlns:a16="http://schemas.microsoft.com/office/drawing/2014/main" id="{562FBAAE-1DF5-9A47-87EA-CDCE00B31B49}"/>
                  </a:ext>
                </a:extLst>
              </p:cNvPr>
              <p:cNvGrpSpPr/>
              <p:nvPr/>
            </p:nvGrpSpPr>
            <p:grpSpPr>
              <a:xfrm flipH="1">
                <a:off x="10973910" y="5531191"/>
                <a:ext cx="394710" cy="393062"/>
                <a:chOff x="7855882" y="2876917"/>
                <a:chExt cx="186983" cy="188103"/>
              </a:xfrm>
              <a:noFill/>
            </p:grpSpPr>
            <p:sp>
              <p:nvSpPr>
                <p:cNvPr id="196" name="Freeform 99">
                  <a:extLst>
                    <a:ext uri="{FF2B5EF4-FFF2-40B4-BE49-F238E27FC236}">
                      <a16:creationId xmlns:a16="http://schemas.microsoft.com/office/drawing/2014/main" id="{56B14BD3-D3D1-1D44-9A1B-F7F3D8BB6511}"/>
                    </a:ext>
                  </a:extLst>
                </p:cNvPr>
                <p:cNvSpPr>
                  <a:spLocks/>
                </p:cNvSpPr>
                <p:nvPr/>
              </p:nvSpPr>
              <p:spPr bwMode="auto">
                <a:xfrm>
                  <a:off x="7855882" y="2951934"/>
                  <a:ext cx="111966" cy="113086"/>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2700" cap="flat">
                  <a:solidFill>
                    <a:schemeClr val="bg1"/>
                  </a:solidFill>
                  <a:prstDash val="solid"/>
                  <a:miter lim="800000"/>
                  <a:headEnd/>
                  <a:tailEnd/>
                </a:ln>
              </p:spPr>
              <p:txBody>
                <a:bodyPr vert="horz" wrap="square" lIns="55397" tIns="27699" rIns="55397" bIns="27699" numCol="1" anchor="t" anchorCtr="0" compatLnSpc="1">
                  <a:prstTxWarp prst="textNoShape">
                    <a:avLst/>
                  </a:prstTxWarp>
                </a:bodyPr>
                <a:lstStyle/>
                <a:p>
                  <a:pPr defTabSz="685537">
                    <a:lnSpc>
                      <a:spcPct val="90000"/>
                    </a:lnSpc>
                    <a:defRPr/>
                  </a:pPr>
                  <a:endParaRPr lang="en-US" sz="765" kern="0">
                    <a:solidFill>
                      <a:srgbClr val="FFFFFF"/>
                    </a:solidFill>
                    <a:latin typeface="Segoe UI Semibold"/>
                  </a:endParaRPr>
                </a:p>
              </p:txBody>
            </p:sp>
            <p:sp>
              <p:nvSpPr>
                <p:cNvPr id="197" name="Freeform 100">
                  <a:extLst>
                    <a:ext uri="{FF2B5EF4-FFF2-40B4-BE49-F238E27FC236}">
                      <a16:creationId xmlns:a16="http://schemas.microsoft.com/office/drawing/2014/main" id="{2D11C9B2-B311-7449-BD5F-2C73EA01FAC2}"/>
                    </a:ext>
                  </a:extLst>
                </p:cNvPr>
                <p:cNvSpPr>
                  <a:spLocks/>
                </p:cNvSpPr>
                <p:nvPr/>
              </p:nvSpPr>
              <p:spPr bwMode="auto">
                <a:xfrm>
                  <a:off x="7855882" y="2916105"/>
                  <a:ext cx="150035" cy="148915"/>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2700" cap="flat">
                  <a:solidFill>
                    <a:schemeClr val="bg1"/>
                  </a:solidFill>
                  <a:prstDash val="solid"/>
                  <a:miter lim="800000"/>
                  <a:headEnd/>
                  <a:tailEnd/>
                </a:ln>
              </p:spPr>
              <p:txBody>
                <a:bodyPr vert="horz" wrap="square" lIns="55397" tIns="27699" rIns="55397" bIns="27699" numCol="1" anchor="t" anchorCtr="0" compatLnSpc="1">
                  <a:prstTxWarp prst="textNoShape">
                    <a:avLst/>
                  </a:prstTxWarp>
                </a:bodyPr>
                <a:lstStyle/>
                <a:p>
                  <a:pPr defTabSz="685537">
                    <a:lnSpc>
                      <a:spcPct val="90000"/>
                    </a:lnSpc>
                    <a:defRPr/>
                  </a:pPr>
                  <a:endParaRPr lang="en-US" sz="765" kern="0">
                    <a:solidFill>
                      <a:srgbClr val="FFFFFF"/>
                    </a:solidFill>
                    <a:latin typeface="Segoe UI Semibold"/>
                  </a:endParaRPr>
                </a:p>
              </p:txBody>
            </p:sp>
            <p:sp>
              <p:nvSpPr>
                <p:cNvPr id="207" name="Freeform 101">
                  <a:extLst>
                    <a:ext uri="{FF2B5EF4-FFF2-40B4-BE49-F238E27FC236}">
                      <a16:creationId xmlns:a16="http://schemas.microsoft.com/office/drawing/2014/main" id="{84219B1C-6D17-BA4F-95DF-D44EAF52180B}"/>
                    </a:ext>
                  </a:extLst>
                </p:cNvPr>
                <p:cNvSpPr>
                  <a:spLocks/>
                </p:cNvSpPr>
                <p:nvPr/>
              </p:nvSpPr>
              <p:spPr bwMode="auto">
                <a:xfrm>
                  <a:off x="7855882" y="2876917"/>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2700" cap="flat">
                  <a:solidFill>
                    <a:schemeClr val="bg1"/>
                  </a:solidFill>
                  <a:prstDash val="solid"/>
                  <a:miter lim="800000"/>
                  <a:headEnd/>
                  <a:tailEnd/>
                </a:ln>
              </p:spPr>
              <p:txBody>
                <a:bodyPr vert="horz" wrap="square" lIns="55397" tIns="27699" rIns="55397" bIns="27699" numCol="1" anchor="t" anchorCtr="0" compatLnSpc="1">
                  <a:prstTxWarp prst="textNoShape">
                    <a:avLst/>
                  </a:prstTxWarp>
                </a:bodyPr>
                <a:lstStyle/>
                <a:p>
                  <a:pPr defTabSz="685537">
                    <a:lnSpc>
                      <a:spcPct val="90000"/>
                    </a:lnSpc>
                    <a:defRPr/>
                  </a:pPr>
                  <a:endParaRPr lang="en-US" sz="765" kern="0">
                    <a:solidFill>
                      <a:srgbClr val="FFFFFF"/>
                    </a:solidFill>
                    <a:latin typeface="Segoe UI Semibold"/>
                  </a:endParaRPr>
                </a:p>
              </p:txBody>
            </p:sp>
          </p:grpSp>
          <p:sp>
            <p:nvSpPr>
              <p:cNvPr id="165" name="Oval 164">
                <a:extLst>
                  <a:ext uri="{FF2B5EF4-FFF2-40B4-BE49-F238E27FC236}">
                    <a16:creationId xmlns:a16="http://schemas.microsoft.com/office/drawing/2014/main" id="{A95847A1-7F65-2147-B645-8F517DFC893E}"/>
                  </a:ext>
                </a:extLst>
              </p:cNvPr>
              <p:cNvSpPr/>
              <p:nvPr/>
            </p:nvSpPr>
            <p:spPr bwMode="auto">
              <a:xfrm>
                <a:off x="11264610" y="5816912"/>
                <a:ext cx="120026" cy="118813"/>
              </a:xfrm>
              <a:prstGeom prst="ellipse">
                <a:avLst/>
              </a:prstGeom>
              <a:noFill/>
              <a:ln w="1270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defRPr/>
                </a:pPr>
                <a:endParaRPr lang="en-US" sz="765" kern="0">
                  <a:solidFill>
                    <a:srgbClr val="FFFFFF"/>
                  </a:solidFill>
                  <a:latin typeface="Segoe UI Semibold"/>
                  <a:ea typeface="Segoe UI" pitchFamily="34" charset="0"/>
                  <a:cs typeface="Segoe UI" pitchFamily="34" charset="0"/>
                </a:endParaRPr>
              </a:p>
            </p:txBody>
          </p:sp>
        </p:grpSp>
      </p:grpSp>
      <p:grpSp>
        <p:nvGrpSpPr>
          <p:cNvPr id="4" name="Group 3">
            <a:extLst>
              <a:ext uri="{FF2B5EF4-FFF2-40B4-BE49-F238E27FC236}">
                <a16:creationId xmlns:a16="http://schemas.microsoft.com/office/drawing/2014/main" id="{6F6387B9-2254-304C-AEFA-627BF06A4F2A}"/>
              </a:ext>
            </a:extLst>
          </p:cNvPr>
          <p:cNvGrpSpPr/>
          <p:nvPr/>
        </p:nvGrpSpPr>
        <p:grpSpPr>
          <a:xfrm>
            <a:off x="6405337" y="1712707"/>
            <a:ext cx="1021201" cy="588732"/>
            <a:chOff x="6390930" y="1884599"/>
            <a:chExt cx="1335024" cy="769655"/>
          </a:xfrm>
        </p:grpSpPr>
        <p:sp>
          <p:nvSpPr>
            <p:cNvPr id="212" name="TextBox 211">
              <a:extLst>
                <a:ext uri="{FF2B5EF4-FFF2-40B4-BE49-F238E27FC236}">
                  <a16:creationId xmlns:a16="http://schemas.microsoft.com/office/drawing/2014/main" id="{DF677CA8-DC16-3645-A68A-5B47D5058DE0}"/>
                </a:ext>
              </a:extLst>
            </p:cNvPr>
            <p:cNvSpPr txBox="1"/>
            <p:nvPr/>
          </p:nvSpPr>
          <p:spPr>
            <a:xfrm>
              <a:off x="6390930" y="2331089"/>
              <a:ext cx="1335024" cy="323165"/>
            </a:xfrm>
            <a:prstGeom prst="rect">
              <a:avLst/>
            </a:prstGeom>
            <a:noFill/>
            <a:ln>
              <a:noFill/>
            </a:ln>
          </p:spPr>
          <p:txBody>
            <a:bodyPr wrap="square" lIns="0" tIns="0" rIns="0" bIns="139891" rtlCol="0" anchor="b" anchorCtr="0">
              <a:spAutoFit/>
            </a:bodyPr>
            <a:lstStyle/>
            <a:p>
              <a:pPr algn="ctr" defTabSz="685274">
                <a:lnSpc>
                  <a:spcPct val="90000"/>
                </a:lnSpc>
                <a:spcAft>
                  <a:spcPts val="450"/>
                </a:spcAft>
                <a:defRPr/>
              </a:pPr>
              <a:r>
                <a:rPr lang="en-US" sz="765" kern="0" dirty="0">
                  <a:solidFill>
                    <a:prstClr val="white"/>
                  </a:solidFill>
                  <a:latin typeface="Segoe UI Semibold" panose="020B0702040204020203" pitchFamily="34" charset="0"/>
                  <a:cs typeface="Segoe UI Semibold" panose="020B0702040204020203" pitchFamily="34" charset="0"/>
                </a:rPr>
                <a:t>Vision</a:t>
              </a:r>
            </a:p>
          </p:txBody>
        </p:sp>
        <p:sp>
          <p:nvSpPr>
            <p:cNvPr id="213" name="Eye" title="Icon of an eye">
              <a:extLst>
                <a:ext uri="{FF2B5EF4-FFF2-40B4-BE49-F238E27FC236}">
                  <a16:creationId xmlns:a16="http://schemas.microsoft.com/office/drawing/2014/main" id="{7584025D-62D3-6240-9F88-70F4B2A41B53}"/>
                </a:ext>
              </a:extLst>
            </p:cNvPr>
            <p:cNvSpPr>
              <a:spLocks noChangeAspect="1" noEditPoints="1"/>
            </p:cNvSpPr>
            <p:nvPr/>
          </p:nvSpPr>
          <p:spPr bwMode="auto">
            <a:xfrm>
              <a:off x="6871406" y="1884599"/>
              <a:ext cx="374073" cy="206533"/>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9945" tIns="34973" rIns="69945" bIns="34973" numCol="1" anchor="t" anchorCtr="0" compatLnSpc="1">
              <a:prstTxWarp prst="textNoShape">
                <a:avLst/>
              </a:prstTxWarp>
            </a:bodyPr>
            <a:lstStyle/>
            <a:p>
              <a:pPr defTabSz="699447">
                <a:defRPr/>
              </a:pPr>
              <a:endParaRPr lang="en-US" sz="1377" kern="0">
                <a:gradFill>
                  <a:gsLst>
                    <a:gs pos="0">
                      <a:srgbClr val="505050"/>
                    </a:gs>
                    <a:gs pos="100000">
                      <a:srgbClr val="505050"/>
                    </a:gs>
                  </a:gsLst>
                </a:gradFill>
                <a:latin typeface="Segoe UI"/>
              </a:endParaRPr>
            </a:p>
          </p:txBody>
        </p:sp>
      </p:grpSp>
      <p:grpSp>
        <p:nvGrpSpPr>
          <p:cNvPr id="6" name="Group 5">
            <a:extLst>
              <a:ext uri="{FF2B5EF4-FFF2-40B4-BE49-F238E27FC236}">
                <a16:creationId xmlns:a16="http://schemas.microsoft.com/office/drawing/2014/main" id="{B045CB5B-B952-1F4A-9B91-89BE37AFC2C4}"/>
              </a:ext>
            </a:extLst>
          </p:cNvPr>
          <p:cNvGrpSpPr/>
          <p:nvPr/>
        </p:nvGrpSpPr>
        <p:grpSpPr>
          <a:xfrm>
            <a:off x="8461630" y="1679213"/>
            <a:ext cx="1021201" cy="622225"/>
            <a:chOff x="9079140" y="1840814"/>
            <a:chExt cx="1335024" cy="813440"/>
          </a:xfrm>
          <a:solidFill>
            <a:schemeClr val="bg1"/>
          </a:solidFill>
        </p:grpSpPr>
        <p:sp>
          <p:nvSpPr>
            <p:cNvPr id="209" name="TextBox 208">
              <a:extLst>
                <a:ext uri="{FF2B5EF4-FFF2-40B4-BE49-F238E27FC236}">
                  <a16:creationId xmlns:a16="http://schemas.microsoft.com/office/drawing/2014/main" id="{0449D244-1463-B14F-9B11-67EA0CDEB99E}"/>
                </a:ext>
              </a:extLst>
            </p:cNvPr>
            <p:cNvSpPr txBox="1"/>
            <p:nvPr/>
          </p:nvSpPr>
          <p:spPr>
            <a:xfrm>
              <a:off x="9079140" y="2331089"/>
              <a:ext cx="1335024" cy="323165"/>
            </a:xfrm>
            <a:prstGeom prst="rect">
              <a:avLst/>
            </a:prstGeom>
            <a:noFill/>
            <a:ln>
              <a:noFill/>
            </a:ln>
          </p:spPr>
          <p:txBody>
            <a:bodyPr wrap="square" lIns="0" tIns="0" rIns="0" bIns="139891" rtlCol="0" anchor="b" anchorCtr="0">
              <a:spAutoFit/>
            </a:bodyPr>
            <a:lstStyle/>
            <a:p>
              <a:pPr algn="ctr" defTabSz="685274">
                <a:lnSpc>
                  <a:spcPct val="90000"/>
                </a:lnSpc>
                <a:spcAft>
                  <a:spcPts val="450"/>
                </a:spcAft>
                <a:defRPr/>
              </a:pPr>
              <a:r>
                <a:rPr lang="en-US" sz="765" kern="0" dirty="0">
                  <a:solidFill>
                    <a:prstClr val="white"/>
                  </a:solidFill>
                  <a:latin typeface="Segoe UI Semibold" panose="020B0702040204020203" pitchFamily="34" charset="0"/>
                  <a:cs typeface="Segoe UI Semibold" panose="020B0702040204020203" pitchFamily="34" charset="0"/>
                </a:rPr>
                <a:t>Language</a:t>
              </a:r>
            </a:p>
          </p:txBody>
        </p:sp>
        <p:sp>
          <p:nvSpPr>
            <p:cNvPr id="214" name="Characters_E8C1" title="Icon of the letter A and a letter in another language">
              <a:extLst>
                <a:ext uri="{FF2B5EF4-FFF2-40B4-BE49-F238E27FC236}">
                  <a16:creationId xmlns:a16="http://schemas.microsoft.com/office/drawing/2014/main" id="{05A47A4F-38C1-BA42-A386-893056271CDD}"/>
                </a:ext>
              </a:extLst>
            </p:cNvPr>
            <p:cNvSpPr>
              <a:spLocks noChangeAspect="1" noEditPoints="1"/>
            </p:cNvSpPr>
            <p:nvPr/>
          </p:nvSpPr>
          <p:spPr bwMode="auto">
            <a:xfrm>
              <a:off x="9604094" y="1840814"/>
              <a:ext cx="285116" cy="294102"/>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grpFill/>
            <a:ln w="635" cap="sq">
              <a:noFill/>
            </a:ln>
          </p:spPr>
          <p:txBody>
            <a:bodyPr vert="horz" wrap="square" lIns="69945" tIns="34973" rIns="69945" bIns="34973" numCol="1" anchor="t" anchorCtr="0" compatLnSpc="1">
              <a:prstTxWarp prst="textNoShape">
                <a:avLst/>
              </a:prstTxWarp>
            </a:bodyPr>
            <a:lstStyle/>
            <a:p>
              <a:pPr defTabSz="699447">
                <a:defRPr/>
              </a:pPr>
              <a:endParaRPr lang="en-US" sz="1377" kern="0">
                <a:solidFill>
                  <a:srgbClr val="1A1A1A"/>
                </a:solidFill>
                <a:latin typeface="Segoe UI"/>
              </a:endParaRPr>
            </a:p>
          </p:txBody>
        </p:sp>
      </p:grpSp>
      <p:grpSp>
        <p:nvGrpSpPr>
          <p:cNvPr id="7" name="Group 6">
            <a:extLst>
              <a:ext uri="{FF2B5EF4-FFF2-40B4-BE49-F238E27FC236}">
                <a16:creationId xmlns:a16="http://schemas.microsoft.com/office/drawing/2014/main" id="{381F9186-EF64-AE47-9A83-9550124CD830}"/>
              </a:ext>
            </a:extLst>
          </p:cNvPr>
          <p:cNvGrpSpPr/>
          <p:nvPr/>
        </p:nvGrpSpPr>
        <p:grpSpPr>
          <a:xfrm>
            <a:off x="9489776" y="1686595"/>
            <a:ext cx="1021201" cy="614843"/>
            <a:chOff x="10423244" y="1850465"/>
            <a:chExt cx="1335024" cy="803789"/>
          </a:xfrm>
        </p:grpSpPr>
        <p:sp>
          <p:nvSpPr>
            <p:cNvPr id="211" name="TextBox 210">
              <a:extLst>
                <a:ext uri="{FF2B5EF4-FFF2-40B4-BE49-F238E27FC236}">
                  <a16:creationId xmlns:a16="http://schemas.microsoft.com/office/drawing/2014/main" id="{00D6B47B-EDAA-5644-9578-4F3271CEE5C0}"/>
                </a:ext>
              </a:extLst>
            </p:cNvPr>
            <p:cNvSpPr txBox="1"/>
            <p:nvPr/>
          </p:nvSpPr>
          <p:spPr>
            <a:xfrm>
              <a:off x="10423244" y="2331089"/>
              <a:ext cx="1335024" cy="323165"/>
            </a:xfrm>
            <a:prstGeom prst="rect">
              <a:avLst/>
            </a:prstGeom>
            <a:noFill/>
            <a:ln>
              <a:noFill/>
            </a:ln>
          </p:spPr>
          <p:txBody>
            <a:bodyPr wrap="square" lIns="0" tIns="0" rIns="0" bIns="139891" rtlCol="0" anchor="b" anchorCtr="0">
              <a:spAutoFit/>
            </a:bodyPr>
            <a:lstStyle/>
            <a:p>
              <a:pPr algn="ctr" defTabSz="685274">
                <a:lnSpc>
                  <a:spcPct val="90000"/>
                </a:lnSpc>
                <a:spcAft>
                  <a:spcPts val="450"/>
                </a:spcAft>
                <a:defRPr/>
              </a:pPr>
              <a:r>
                <a:rPr lang="en-US" sz="765" kern="0" dirty="0">
                  <a:solidFill>
                    <a:prstClr val="white"/>
                  </a:solidFill>
                  <a:latin typeface="Segoe UI Semibold" panose="020B0702040204020203" pitchFamily="34" charset="0"/>
                  <a:cs typeface="Segoe UI Semibold" panose="020B0702040204020203" pitchFamily="34" charset="0"/>
                </a:rPr>
                <a:t>Search</a:t>
              </a:r>
            </a:p>
          </p:txBody>
        </p:sp>
        <p:sp>
          <p:nvSpPr>
            <p:cNvPr id="215" name="magnify" title="Icon of a magnifying glass">
              <a:extLst>
                <a:ext uri="{FF2B5EF4-FFF2-40B4-BE49-F238E27FC236}">
                  <a16:creationId xmlns:a16="http://schemas.microsoft.com/office/drawing/2014/main" id="{F3F742DA-5606-1F42-81A5-BDC33BBF65D4}"/>
                </a:ext>
              </a:extLst>
            </p:cNvPr>
            <p:cNvSpPr>
              <a:spLocks noChangeAspect="1" noEditPoints="1"/>
            </p:cNvSpPr>
            <p:nvPr/>
          </p:nvSpPr>
          <p:spPr bwMode="auto">
            <a:xfrm flipH="1">
              <a:off x="10950679" y="1850465"/>
              <a:ext cx="280155" cy="27480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9945" tIns="34973" rIns="69945" bIns="34973" numCol="1" anchor="t" anchorCtr="0" compatLnSpc="1">
              <a:prstTxWarp prst="textNoShape">
                <a:avLst/>
              </a:prstTxWarp>
            </a:bodyPr>
            <a:lstStyle/>
            <a:p>
              <a:pPr defTabSz="699447">
                <a:defRPr/>
              </a:pPr>
              <a:endParaRPr lang="en-US" sz="1377" kern="0">
                <a:gradFill>
                  <a:gsLst>
                    <a:gs pos="0">
                      <a:srgbClr val="505050"/>
                    </a:gs>
                    <a:gs pos="100000">
                      <a:srgbClr val="505050"/>
                    </a:gs>
                  </a:gsLst>
                </a:gradFill>
                <a:latin typeface="Segoe UI"/>
              </a:endParaRPr>
            </a:p>
          </p:txBody>
        </p:sp>
      </p:grpSp>
      <p:grpSp>
        <p:nvGrpSpPr>
          <p:cNvPr id="13" name="Group 12">
            <a:extLst>
              <a:ext uri="{FF2B5EF4-FFF2-40B4-BE49-F238E27FC236}">
                <a16:creationId xmlns:a16="http://schemas.microsoft.com/office/drawing/2014/main" id="{194D3FB8-D75B-EA4A-97D6-045BA1F242DA}"/>
              </a:ext>
            </a:extLst>
          </p:cNvPr>
          <p:cNvGrpSpPr/>
          <p:nvPr/>
        </p:nvGrpSpPr>
        <p:grpSpPr>
          <a:xfrm>
            <a:off x="7752745" y="3116699"/>
            <a:ext cx="1370927" cy="642796"/>
            <a:chOff x="8152408" y="3720051"/>
            <a:chExt cx="1792224" cy="840332"/>
          </a:xfrm>
          <a:solidFill>
            <a:schemeClr val="accent1"/>
          </a:solidFill>
        </p:grpSpPr>
        <p:sp>
          <p:nvSpPr>
            <p:cNvPr id="151" name="TextBox 150">
              <a:extLst>
                <a:ext uri="{FF2B5EF4-FFF2-40B4-BE49-F238E27FC236}">
                  <a16:creationId xmlns:a16="http://schemas.microsoft.com/office/drawing/2014/main" id="{DD3321EB-B22C-0643-9C64-4D85B9922521}"/>
                </a:ext>
              </a:extLst>
            </p:cNvPr>
            <p:cNvSpPr txBox="1"/>
            <p:nvPr/>
          </p:nvSpPr>
          <p:spPr>
            <a:xfrm>
              <a:off x="8152408" y="4237218"/>
              <a:ext cx="1792224" cy="323165"/>
            </a:xfrm>
            <a:prstGeom prst="rect">
              <a:avLst/>
            </a:prstGeom>
            <a:noFill/>
            <a:ln>
              <a:noFill/>
            </a:ln>
          </p:spPr>
          <p:txBody>
            <a:bodyPr wrap="square" lIns="0" tIns="0" rIns="0" bIns="139891"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23423">
                        <a:schemeClr val="tx1"/>
                      </a:gs>
                      <a:gs pos="66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pPr defTabSz="685274">
                <a:spcAft>
                  <a:spcPts val="450"/>
                </a:spcAft>
                <a:defRPr/>
              </a:pPr>
              <a:r>
                <a:rPr lang="en-US" sz="765" kern="0" dirty="0">
                  <a:solidFill>
                    <a:prstClr val="white"/>
                  </a:solidFill>
                </a:rPr>
                <a:t>Azure Machine Learning</a:t>
              </a:r>
            </a:p>
          </p:txBody>
        </p:sp>
        <p:grpSp>
          <p:nvGrpSpPr>
            <p:cNvPr id="255" name="Group 254">
              <a:extLst>
                <a:ext uri="{FF2B5EF4-FFF2-40B4-BE49-F238E27FC236}">
                  <a16:creationId xmlns:a16="http://schemas.microsoft.com/office/drawing/2014/main" id="{6863CAFB-D0B3-6741-B323-B37FC99A559A}"/>
                </a:ext>
              </a:extLst>
            </p:cNvPr>
            <p:cNvGrpSpPr/>
            <p:nvPr/>
          </p:nvGrpSpPr>
          <p:grpSpPr>
            <a:xfrm>
              <a:off x="8871318" y="3720051"/>
              <a:ext cx="320174" cy="342357"/>
              <a:chOff x="8882196" y="3721867"/>
              <a:chExt cx="285941" cy="305752"/>
            </a:xfrm>
            <a:grpFill/>
          </p:grpSpPr>
          <p:sp>
            <p:nvSpPr>
              <p:cNvPr id="256" name="Rectangle 255">
                <a:extLst>
                  <a:ext uri="{FF2B5EF4-FFF2-40B4-BE49-F238E27FC236}">
                    <a16:creationId xmlns:a16="http://schemas.microsoft.com/office/drawing/2014/main" id="{AC72E121-B59A-5F4E-9960-5DC8E3340DA4}"/>
                  </a:ext>
                </a:extLst>
              </p:cNvPr>
              <p:cNvSpPr/>
              <p:nvPr/>
            </p:nvSpPr>
            <p:spPr bwMode="auto">
              <a:xfrm>
                <a:off x="8901347" y="3950022"/>
                <a:ext cx="247639" cy="77597"/>
              </a:xfrm>
              <a:prstGeom prst="rect">
                <a:avLst/>
              </a:prstGeom>
              <a:grp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fontAlgn="base">
                  <a:spcBef>
                    <a:spcPct val="0"/>
                  </a:spcBef>
                  <a:spcAft>
                    <a:spcPct val="0"/>
                  </a:spcAft>
                  <a:defRPr/>
                </a:pPr>
                <a:endParaRPr lang="en-US" sz="15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8" name="Freeform 123">
                <a:extLst>
                  <a:ext uri="{FF2B5EF4-FFF2-40B4-BE49-F238E27FC236}">
                    <a16:creationId xmlns:a16="http://schemas.microsoft.com/office/drawing/2014/main" id="{4116B27E-38AB-FD40-A7AB-EC9C05BD58D4}"/>
                  </a:ext>
                </a:extLst>
              </p:cNvPr>
              <p:cNvSpPr/>
              <p:nvPr/>
            </p:nvSpPr>
            <p:spPr bwMode="auto">
              <a:xfrm>
                <a:off x="8882196" y="3721867"/>
                <a:ext cx="180942" cy="305752"/>
              </a:xfrm>
              <a:custGeom>
                <a:avLst/>
                <a:gdLst>
                  <a:gd name="connsiteX0" fmla="*/ 1641764 w 2847109"/>
                  <a:gd name="connsiteY0" fmla="*/ 0 h 4810991"/>
                  <a:gd name="connsiteX1" fmla="*/ 2847109 w 2847109"/>
                  <a:gd name="connsiteY1" fmla="*/ 0 h 4810991"/>
                  <a:gd name="connsiteX2" fmla="*/ 2847109 w 2847109"/>
                  <a:gd name="connsiteY2" fmla="*/ 1797627 h 4810991"/>
                  <a:gd name="connsiteX3" fmla="*/ 290946 w 2847109"/>
                  <a:gd name="connsiteY3" fmla="*/ 4810991 h 4810991"/>
                  <a:gd name="connsiteX4" fmla="*/ 0 w 2847109"/>
                  <a:gd name="connsiteY4" fmla="*/ 3647209 h 4810991"/>
                  <a:gd name="connsiteX5" fmla="*/ 1662546 w 2847109"/>
                  <a:gd name="connsiteY5" fmla="*/ 1787236 h 4810991"/>
                  <a:gd name="connsiteX6" fmla="*/ 1641764 w 2847109"/>
                  <a:gd name="connsiteY6" fmla="*/ 0 h 481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7109" h="4810991">
                    <a:moveTo>
                      <a:pt x="1641764" y="0"/>
                    </a:moveTo>
                    <a:lnTo>
                      <a:pt x="2847109" y="0"/>
                    </a:lnTo>
                    <a:lnTo>
                      <a:pt x="2847109" y="1797627"/>
                    </a:lnTo>
                    <a:lnTo>
                      <a:pt x="290946" y="4810991"/>
                    </a:lnTo>
                    <a:lnTo>
                      <a:pt x="0" y="3647209"/>
                    </a:lnTo>
                    <a:lnTo>
                      <a:pt x="1662546" y="1787236"/>
                    </a:lnTo>
                    <a:lnTo>
                      <a:pt x="1641764" y="0"/>
                    </a:lnTo>
                    <a:close/>
                  </a:path>
                </a:pathLst>
              </a:custGeom>
              <a:grp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fontAlgn="base">
                  <a:spcBef>
                    <a:spcPct val="0"/>
                  </a:spcBef>
                  <a:spcAft>
                    <a:spcPct val="0"/>
                  </a:spcAft>
                  <a:defRPr/>
                </a:pPr>
                <a:endParaRPr lang="en-US" sz="153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9" name="Freeform 124">
                <a:extLst>
                  <a:ext uri="{FF2B5EF4-FFF2-40B4-BE49-F238E27FC236}">
                    <a16:creationId xmlns:a16="http://schemas.microsoft.com/office/drawing/2014/main" id="{E2000085-6C0F-BD41-A34E-695D702C5787}"/>
                  </a:ext>
                </a:extLst>
              </p:cNvPr>
              <p:cNvSpPr/>
              <p:nvPr/>
            </p:nvSpPr>
            <p:spPr bwMode="auto">
              <a:xfrm>
                <a:off x="9035402" y="3857904"/>
                <a:ext cx="132735" cy="169715"/>
              </a:xfrm>
              <a:custGeom>
                <a:avLst/>
                <a:gdLst>
                  <a:gd name="connsiteX0" fmla="*/ 0 w 2088573"/>
                  <a:gd name="connsiteY0" fmla="*/ 883227 h 2670464"/>
                  <a:gd name="connsiteX1" fmla="*/ 737755 w 2088573"/>
                  <a:gd name="connsiteY1" fmla="*/ 0 h 2670464"/>
                  <a:gd name="connsiteX2" fmla="*/ 2088573 w 2088573"/>
                  <a:gd name="connsiteY2" fmla="*/ 1517073 h 2670464"/>
                  <a:gd name="connsiteX3" fmla="*/ 1797627 w 2088573"/>
                  <a:gd name="connsiteY3" fmla="*/ 2670464 h 2670464"/>
                  <a:gd name="connsiteX4" fmla="*/ 0 w 2088573"/>
                  <a:gd name="connsiteY4" fmla="*/ 883227 h 2670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8573" h="2670464">
                    <a:moveTo>
                      <a:pt x="0" y="883227"/>
                    </a:moveTo>
                    <a:lnTo>
                      <a:pt x="737755" y="0"/>
                    </a:lnTo>
                    <a:lnTo>
                      <a:pt x="2088573" y="1517073"/>
                    </a:lnTo>
                    <a:lnTo>
                      <a:pt x="1797627" y="2670464"/>
                    </a:lnTo>
                    <a:lnTo>
                      <a:pt x="0" y="883227"/>
                    </a:lnTo>
                    <a:close/>
                  </a:path>
                </a:pathLst>
              </a:custGeom>
              <a:grp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fontAlgn="base">
                  <a:spcBef>
                    <a:spcPct val="0"/>
                  </a:spcBef>
                  <a:spcAft>
                    <a:spcPct val="0"/>
                  </a:spcAft>
                  <a:defRPr/>
                </a:pPr>
                <a:endParaRPr lang="en-US" sz="153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1" name="Group 10">
            <a:extLst>
              <a:ext uri="{FF2B5EF4-FFF2-40B4-BE49-F238E27FC236}">
                <a16:creationId xmlns:a16="http://schemas.microsoft.com/office/drawing/2014/main" id="{10F1B6E4-1EAE-D443-9C09-0C446FE99753}"/>
              </a:ext>
            </a:extLst>
          </p:cNvPr>
          <p:cNvGrpSpPr/>
          <p:nvPr/>
        </p:nvGrpSpPr>
        <p:grpSpPr>
          <a:xfrm>
            <a:off x="9489776" y="2372207"/>
            <a:ext cx="1021201" cy="662061"/>
            <a:chOff x="10423244" y="2746771"/>
            <a:chExt cx="1335024" cy="865517"/>
          </a:xfrm>
        </p:grpSpPr>
        <p:sp>
          <p:nvSpPr>
            <p:cNvPr id="122" name="TextBox 121">
              <a:extLst>
                <a:ext uri="{FF2B5EF4-FFF2-40B4-BE49-F238E27FC236}">
                  <a16:creationId xmlns:a16="http://schemas.microsoft.com/office/drawing/2014/main" id="{C5133FAA-F46C-FA49-A3C6-4B813B0867BF}"/>
                </a:ext>
              </a:extLst>
            </p:cNvPr>
            <p:cNvSpPr txBox="1"/>
            <p:nvPr/>
          </p:nvSpPr>
          <p:spPr>
            <a:xfrm>
              <a:off x="10423244" y="3289123"/>
              <a:ext cx="1335024" cy="323165"/>
            </a:xfrm>
            <a:prstGeom prst="rect">
              <a:avLst/>
            </a:prstGeom>
            <a:noFill/>
            <a:ln>
              <a:noFill/>
            </a:ln>
          </p:spPr>
          <p:txBody>
            <a:bodyPr wrap="square" lIns="0" tIns="0" rIns="0" bIns="139891"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23423">
                        <a:schemeClr val="tx1"/>
                      </a:gs>
                      <a:gs pos="66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pPr defTabSz="685274">
                <a:spcAft>
                  <a:spcPts val="450"/>
                </a:spcAft>
                <a:defRPr/>
              </a:pPr>
              <a:r>
                <a:rPr lang="en-US" sz="765" kern="0" dirty="0" err="1">
                  <a:solidFill>
                    <a:prstClr val="white"/>
                  </a:solidFill>
                </a:rPr>
                <a:t>Onnx</a:t>
              </a:r>
              <a:endParaRPr lang="en-US" sz="765" kern="0" dirty="0">
                <a:solidFill>
                  <a:prstClr val="white"/>
                </a:solidFill>
              </a:endParaRPr>
            </a:p>
          </p:txBody>
        </p:sp>
        <p:pic>
          <p:nvPicPr>
            <p:cNvPr id="260" name="Picture 259">
              <a:extLst>
                <a:ext uri="{FF2B5EF4-FFF2-40B4-BE49-F238E27FC236}">
                  <a16:creationId xmlns:a16="http://schemas.microsoft.com/office/drawing/2014/main" id="{A95E800E-075B-6D4C-A01F-AE0EEE7CBB16}"/>
                </a:ext>
              </a:extLst>
            </p:cNvPr>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10881414" y="2746771"/>
              <a:ext cx="411480" cy="393055"/>
            </a:xfrm>
            <a:prstGeom prst="rect">
              <a:avLst/>
            </a:prstGeom>
            <a:ln>
              <a:noFill/>
            </a:ln>
          </p:spPr>
        </p:pic>
      </p:grpSp>
      <p:grpSp>
        <p:nvGrpSpPr>
          <p:cNvPr id="5" name="Group 4">
            <a:extLst>
              <a:ext uri="{FF2B5EF4-FFF2-40B4-BE49-F238E27FC236}">
                <a16:creationId xmlns:a16="http://schemas.microsoft.com/office/drawing/2014/main" id="{12D3C21C-A356-FF4A-93CF-D54AF1E196BA}"/>
              </a:ext>
            </a:extLst>
          </p:cNvPr>
          <p:cNvGrpSpPr/>
          <p:nvPr/>
        </p:nvGrpSpPr>
        <p:grpSpPr>
          <a:xfrm>
            <a:off x="7433483" y="1686595"/>
            <a:ext cx="1021201" cy="614843"/>
            <a:chOff x="7735035" y="1850465"/>
            <a:chExt cx="1335024" cy="803789"/>
          </a:xfrm>
        </p:grpSpPr>
        <p:sp>
          <p:nvSpPr>
            <p:cNvPr id="210" name="TextBox 209">
              <a:extLst>
                <a:ext uri="{FF2B5EF4-FFF2-40B4-BE49-F238E27FC236}">
                  <a16:creationId xmlns:a16="http://schemas.microsoft.com/office/drawing/2014/main" id="{8F66E92A-CFC8-0F48-B9E4-5ECB291639B0}"/>
                </a:ext>
              </a:extLst>
            </p:cNvPr>
            <p:cNvSpPr txBox="1"/>
            <p:nvPr/>
          </p:nvSpPr>
          <p:spPr>
            <a:xfrm>
              <a:off x="7735035" y="2331089"/>
              <a:ext cx="1335024" cy="323165"/>
            </a:xfrm>
            <a:prstGeom prst="rect">
              <a:avLst/>
            </a:prstGeom>
            <a:noFill/>
            <a:ln>
              <a:noFill/>
            </a:ln>
          </p:spPr>
          <p:txBody>
            <a:bodyPr wrap="square" lIns="0" tIns="0" rIns="0" bIns="139891" rtlCol="0" anchor="b" anchorCtr="0">
              <a:spAutoFit/>
            </a:bodyPr>
            <a:lstStyle/>
            <a:p>
              <a:pPr algn="ctr" defTabSz="685274">
                <a:lnSpc>
                  <a:spcPct val="90000"/>
                </a:lnSpc>
                <a:spcAft>
                  <a:spcPts val="450"/>
                </a:spcAft>
                <a:defRPr/>
              </a:pPr>
              <a:r>
                <a:rPr lang="en-US" sz="765" kern="0" dirty="0">
                  <a:solidFill>
                    <a:prstClr val="white"/>
                  </a:solidFill>
                  <a:latin typeface="Segoe UI Semibold" panose="020B0702040204020203" pitchFamily="34" charset="0"/>
                  <a:cs typeface="Segoe UI Semibold" panose="020B0702040204020203" pitchFamily="34" charset="0"/>
                </a:rPr>
                <a:t>Speech</a:t>
              </a:r>
            </a:p>
          </p:txBody>
        </p:sp>
        <p:sp>
          <p:nvSpPr>
            <p:cNvPr id="261" name="Microsoft_E720" title="Icon of a microphone">
              <a:extLst>
                <a:ext uri="{FF2B5EF4-FFF2-40B4-BE49-F238E27FC236}">
                  <a16:creationId xmlns:a16="http://schemas.microsoft.com/office/drawing/2014/main" id="{AA57AF3D-7FF6-7843-A2B5-BAB354E54894}"/>
                </a:ext>
              </a:extLst>
            </p:cNvPr>
            <p:cNvSpPr>
              <a:spLocks noChangeAspect="1" noEditPoints="1"/>
            </p:cNvSpPr>
            <p:nvPr/>
          </p:nvSpPr>
          <p:spPr bwMode="auto">
            <a:xfrm>
              <a:off x="8310991" y="1850465"/>
              <a:ext cx="183112" cy="274801"/>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9945" tIns="34973" rIns="69945" bIns="34973" numCol="1" anchor="t" anchorCtr="0" compatLnSpc="1">
              <a:prstTxWarp prst="textNoShape">
                <a:avLst/>
              </a:prstTxWarp>
            </a:bodyPr>
            <a:lstStyle/>
            <a:p>
              <a:pPr defTabSz="699447">
                <a:defRPr/>
              </a:pPr>
              <a:endParaRPr lang="en-US" sz="1377" kern="0">
                <a:gradFill>
                  <a:gsLst>
                    <a:gs pos="0">
                      <a:srgbClr val="505050"/>
                    </a:gs>
                    <a:gs pos="100000">
                      <a:srgbClr val="505050"/>
                    </a:gs>
                  </a:gsLst>
                </a:gradFill>
                <a:latin typeface="Segoe UI"/>
              </a:endParaRPr>
            </a:p>
          </p:txBody>
        </p:sp>
      </p:grpSp>
      <p:sp>
        <p:nvSpPr>
          <p:cNvPr id="275" name="Rectangle 274">
            <a:extLst>
              <a:ext uri="{FF2B5EF4-FFF2-40B4-BE49-F238E27FC236}">
                <a16:creationId xmlns:a16="http://schemas.microsoft.com/office/drawing/2014/main" id="{926D6FA0-7912-2140-816D-303D79305E67}"/>
              </a:ext>
            </a:extLst>
          </p:cNvPr>
          <p:cNvSpPr/>
          <p:nvPr/>
        </p:nvSpPr>
        <p:spPr bwMode="auto">
          <a:xfrm>
            <a:off x="2080582" y="2413292"/>
            <a:ext cx="4101319" cy="38505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713271" fontAlgn="base">
              <a:lnSpc>
                <a:spcPct val="90000"/>
              </a:lnSpc>
              <a:spcBef>
                <a:spcPts val="306"/>
              </a:spcBef>
              <a:spcAft>
                <a:spcPct val="0"/>
              </a:spcAft>
              <a:defRPr/>
            </a:pPr>
            <a:r>
              <a:rPr lang="en-US" sz="1377" b="1" kern="0" dirty="0">
                <a:solidFill>
                  <a:prstClr val="black"/>
                </a:solidFill>
                <a:latin typeface="Segoe UI Semibold"/>
                <a:ea typeface="Segoe UI" pitchFamily="34" charset="0"/>
                <a:cs typeface="Segoe UI" pitchFamily="34" charset="0"/>
              </a:rPr>
              <a:t>Popular frameworks </a:t>
            </a:r>
            <a:r>
              <a:rPr lang="zh-CN" altLang="en-US" sz="1377" b="1" kern="0" dirty="0">
                <a:solidFill>
                  <a:prstClr val="black"/>
                </a:solidFill>
                <a:latin typeface="Segoe UI Semibold"/>
                <a:ea typeface="Segoe UI" pitchFamily="34" charset="0"/>
                <a:cs typeface="Segoe UI" pitchFamily="34" charset="0"/>
              </a:rPr>
              <a:t>主流框架</a:t>
            </a:r>
            <a:endParaRPr lang="en-US" sz="1377" b="1" kern="0" dirty="0">
              <a:solidFill>
                <a:prstClr val="black"/>
              </a:solidFill>
              <a:latin typeface="Segoe UI Semibold"/>
              <a:ea typeface="Segoe UI" pitchFamily="34" charset="0"/>
              <a:cs typeface="Segoe UI" pitchFamily="34" charset="0"/>
            </a:endParaRPr>
          </a:p>
          <a:p>
            <a:pPr defTabSz="713271" fontAlgn="base">
              <a:lnSpc>
                <a:spcPct val="90000"/>
              </a:lnSpc>
              <a:spcBef>
                <a:spcPts val="306"/>
              </a:spcBef>
              <a:spcAft>
                <a:spcPct val="0"/>
              </a:spcAft>
              <a:defRPr/>
            </a:pPr>
            <a:r>
              <a:rPr lang="en-US" sz="1071" kern="0" dirty="0">
                <a:solidFill>
                  <a:prstClr val="black"/>
                </a:solidFill>
                <a:latin typeface="Segoe UI"/>
                <a:cs typeface="Segoe UI" pitchFamily="34" charset="0"/>
              </a:rPr>
              <a:t>To build advanced deep learning solutions </a:t>
            </a:r>
            <a:r>
              <a:rPr lang="zh-CN" altLang="en-US" sz="1071" kern="0" dirty="0">
                <a:solidFill>
                  <a:prstClr val="black"/>
                </a:solidFill>
                <a:latin typeface="Segoe UI"/>
                <a:ea typeface="宋体" panose="02010600030101010101" pitchFamily="2" charset="-122"/>
                <a:cs typeface="Segoe UI" pitchFamily="34" charset="0"/>
              </a:rPr>
              <a:t>构建深度学习应用</a:t>
            </a:r>
            <a:r>
              <a:rPr lang="en-US" sz="1071" kern="0" dirty="0">
                <a:solidFill>
                  <a:prstClr val="black"/>
                </a:solidFill>
                <a:latin typeface="Segoe UI"/>
                <a:cs typeface="Segoe UI" pitchFamily="34" charset="0"/>
              </a:rPr>
              <a:t> </a:t>
            </a:r>
          </a:p>
        </p:txBody>
      </p:sp>
      <p:sp>
        <p:nvSpPr>
          <p:cNvPr id="276" name="Rectangle 275">
            <a:extLst>
              <a:ext uri="{FF2B5EF4-FFF2-40B4-BE49-F238E27FC236}">
                <a16:creationId xmlns:a16="http://schemas.microsoft.com/office/drawing/2014/main" id="{72333DA3-603B-4340-8739-6F5A8FF03D1D}"/>
              </a:ext>
            </a:extLst>
          </p:cNvPr>
          <p:cNvSpPr/>
          <p:nvPr/>
        </p:nvSpPr>
        <p:spPr bwMode="auto">
          <a:xfrm>
            <a:off x="2080582" y="3152782"/>
            <a:ext cx="4101319" cy="38505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713271" fontAlgn="base">
              <a:lnSpc>
                <a:spcPct val="90000"/>
              </a:lnSpc>
              <a:spcBef>
                <a:spcPts val="306"/>
              </a:spcBef>
              <a:spcAft>
                <a:spcPct val="0"/>
              </a:spcAft>
              <a:defRPr/>
            </a:pPr>
            <a:r>
              <a:rPr lang="en-US" sz="1377" b="1" kern="0" dirty="0">
                <a:solidFill>
                  <a:prstClr val="black"/>
                </a:solidFill>
                <a:latin typeface="Segoe UI Semibold"/>
                <a:ea typeface="Segoe UI" pitchFamily="34" charset="0"/>
                <a:cs typeface="Segoe UI" pitchFamily="34" charset="0"/>
              </a:rPr>
              <a:t>Productive services </a:t>
            </a:r>
            <a:r>
              <a:rPr lang="zh-CN" altLang="en-US" sz="1377" b="1" kern="0" dirty="0">
                <a:solidFill>
                  <a:prstClr val="black"/>
                </a:solidFill>
                <a:latin typeface="Segoe UI Semibold"/>
                <a:ea typeface="Segoe UI" pitchFamily="34" charset="0"/>
                <a:cs typeface="Segoe UI" pitchFamily="34" charset="0"/>
              </a:rPr>
              <a:t>预测性服务</a:t>
            </a:r>
            <a:endParaRPr lang="en-US" sz="1377" b="1" kern="0" dirty="0">
              <a:solidFill>
                <a:prstClr val="black"/>
              </a:solidFill>
              <a:latin typeface="Segoe UI Semibold"/>
              <a:ea typeface="Segoe UI" pitchFamily="34" charset="0"/>
              <a:cs typeface="Segoe UI" pitchFamily="34" charset="0"/>
            </a:endParaRPr>
          </a:p>
          <a:p>
            <a:pPr defTabSz="713271" fontAlgn="base">
              <a:lnSpc>
                <a:spcPct val="90000"/>
              </a:lnSpc>
              <a:spcBef>
                <a:spcPts val="306"/>
              </a:spcBef>
              <a:spcAft>
                <a:spcPct val="0"/>
              </a:spcAft>
              <a:defRPr/>
            </a:pPr>
            <a:r>
              <a:rPr lang="en-US" sz="1071" kern="0" dirty="0">
                <a:solidFill>
                  <a:prstClr val="black"/>
                </a:solidFill>
                <a:latin typeface="Segoe UI"/>
                <a:cs typeface="Segoe UI" pitchFamily="34" charset="0"/>
              </a:rPr>
              <a:t>To empower data science and development teams </a:t>
            </a:r>
            <a:r>
              <a:rPr lang="zh-CN" altLang="en-US" sz="1071" kern="0" dirty="0">
                <a:solidFill>
                  <a:prstClr val="black"/>
                </a:solidFill>
                <a:latin typeface="Segoe UI"/>
                <a:ea typeface="宋体" panose="02010600030101010101" pitchFamily="2" charset="-122"/>
                <a:cs typeface="Segoe UI" pitchFamily="34" charset="0"/>
              </a:rPr>
              <a:t>赋能数据团队</a:t>
            </a:r>
            <a:endParaRPr lang="en-US" sz="1071" kern="0" dirty="0">
              <a:solidFill>
                <a:prstClr val="black"/>
              </a:solidFill>
              <a:latin typeface="Segoe UI"/>
              <a:cs typeface="Segoe UI" pitchFamily="34" charset="0"/>
            </a:endParaRPr>
          </a:p>
        </p:txBody>
      </p:sp>
      <p:sp>
        <p:nvSpPr>
          <p:cNvPr id="277" name="Rectangle 276">
            <a:extLst>
              <a:ext uri="{FF2B5EF4-FFF2-40B4-BE49-F238E27FC236}">
                <a16:creationId xmlns:a16="http://schemas.microsoft.com/office/drawing/2014/main" id="{7C8B18A6-857E-9448-8521-6FB2F38ACBA0}"/>
              </a:ext>
            </a:extLst>
          </p:cNvPr>
          <p:cNvSpPr/>
          <p:nvPr/>
        </p:nvSpPr>
        <p:spPr bwMode="auto">
          <a:xfrm>
            <a:off x="2080582" y="4631763"/>
            <a:ext cx="4101319" cy="38505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713271" fontAlgn="base">
              <a:lnSpc>
                <a:spcPct val="90000"/>
              </a:lnSpc>
              <a:spcBef>
                <a:spcPts val="306"/>
              </a:spcBef>
              <a:spcAft>
                <a:spcPct val="0"/>
              </a:spcAft>
              <a:defRPr/>
            </a:pPr>
            <a:r>
              <a:rPr lang="en-US" sz="1377" b="1" kern="0" dirty="0">
                <a:solidFill>
                  <a:prstClr val="black"/>
                </a:solidFill>
                <a:latin typeface="Segoe UI Semibold"/>
                <a:ea typeface="Segoe UI" pitchFamily="34" charset="0"/>
                <a:cs typeface="Segoe UI" pitchFamily="34" charset="0"/>
              </a:rPr>
              <a:t>Flexible deployment </a:t>
            </a:r>
            <a:r>
              <a:rPr lang="zh-CN" altLang="en-US" sz="1377" b="1" kern="0" dirty="0">
                <a:solidFill>
                  <a:prstClr val="black"/>
                </a:solidFill>
                <a:latin typeface="Segoe UI Semibold"/>
                <a:ea typeface="Segoe UI" pitchFamily="34" charset="0"/>
                <a:cs typeface="Segoe UI" pitchFamily="34" charset="0"/>
              </a:rPr>
              <a:t>灵活的部署方式</a:t>
            </a:r>
            <a:endParaRPr lang="en-US" sz="1377" b="1" kern="0" dirty="0">
              <a:solidFill>
                <a:prstClr val="black"/>
              </a:solidFill>
              <a:latin typeface="Segoe UI Semibold"/>
              <a:ea typeface="Segoe UI" pitchFamily="34" charset="0"/>
              <a:cs typeface="Segoe UI" pitchFamily="34" charset="0"/>
            </a:endParaRPr>
          </a:p>
          <a:p>
            <a:pPr defTabSz="713271" fontAlgn="base">
              <a:lnSpc>
                <a:spcPct val="90000"/>
              </a:lnSpc>
              <a:spcBef>
                <a:spcPts val="306"/>
              </a:spcBef>
              <a:spcAft>
                <a:spcPct val="0"/>
              </a:spcAft>
              <a:defRPr/>
            </a:pPr>
            <a:r>
              <a:rPr lang="en-US" sz="1071" kern="0" dirty="0">
                <a:solidFill>
                  <a:prstClr val="black"/>
                </a:solidFill>
                <a:latin typeface="Segoe UI"/>
                <a:cs typeface="Segoe UI" pitchFamily="34" charset="0"/>
              </a:rPr>
              <a:t>To deploy, manage models on intelligent cloud &amp; edge </a:t>
            </a:r>
            <a:r>
              <a:rPr lang="zh-CN" altLang="en-US" sz="1071" kern="0" dirty="0">
                <a:solidFill>
                  <a:prstClr val="black"/>
                </a:solidFill>
                <a:latin typeface="Segoe UI"/>
                <a:ea typeface="宋体" panose="02010600030101010101" pitchFamily="2" charset="-122"/>
                <a:cs typeface="Segoe UI" pitchFamily="34" charset="0"/>
              </a:rPr>
              <a:t>无处不在</a:t>
            </a:r>
            <a:endParaRPr lang="en-US" sz="1071" kern="0" dirty="0">
              <a:solidFill>
                <a:prstClr val="black"/>
              </a:solidFill>
              <a:latin typeface="Segoe UI"/>
              <a:cs typeface="Segoe UI" pitchFamily="34" charset="0"/>
            </a:endParaRPr>
          </a:p>
        </p:txBody>
      </p:sp>
      <p:grpSp>
        <p:nvGrpSpPr>
          <p:cNvPr id="21" name="Group 20">
            <a:extLst>
              <a:ext uri="{FF2B5EF4-FFF2-40B4-BE49-F238E27FC236}">
                <a16:creationId xmlns:a16="http://schemas.microsoft.com/office/drawing/2014/main" id="{19CA89BB-541C-5345-99F3-30D145B9A3DD}"/>
              </a:ext>
            </a:extLst>
          </p:cNvPr>
          <p:cNvGrpSpPr/>
          <p:nvPr/>
        </p:nvGrpSpPr>
        <p:grpSpPr>
          <a:xfrm>
            <a:off x="2080582" y="2236072"/>
            <a:ext cx="8428403" cy="2218472"/>
            <a:chOff x="737143" y="2568801"/>
            <a:chExt cx="11018520" cy="2900226"/>
          </a:xfrm>
        </p:grpSpPr>
        <p:cxnSp>
          <p:nvCxnSpPr>
            <p:cNvPr id="278" name="Straight Connector 277">
              <a:extLst>
                <a:ext uri="{FF2B5EF4-FFF2-40B4-BE49-F238E27FC236}">
                  <a16:creationId xmlns:a16="http://schemas.microsoft.com/office/drawing/2014/main" id="{E12DB09D-2FCF-0547-B37E-CB11B920460D}"/>
                </a:ext>
              </a:extLst>
            </p:cNvPr>
            <p:cNvCxnSpPr>
              <a:cxnSpLocks/>
            </p:cNvCxnSpPr>
            <p:nvPr/>
          </p:nvCxnSpPr>
          <p:spPr>
            <a:xfrm>
              <a:off x="737143" y="2568801"/>
              <a:ext cx="11018520" cy="0"/>
            </a:xfrm>
            <a:prstGeom prst="line">
              <a:avLst/>
            </a:prstGeom>
            <a:noFill/>
            <a:ln w="15875" cap="rnd" cmpd="sng" algn="ctr">
              <a:solidFill>
                <a:sysClr val="window" lastClr="FFFFFF">
                  <a:lumMod val="85000"/>
                </a:sysClr>
              </a:solidFill>
              <a:prstDash val="solid"/>
              <a:headEnd type="none"/>
              <a:tailEnd type="none"/>
            </a:ln>
            <a:effectLst/>
          </p:spPr>
        </p:cxnSp>
        <p:cxnSp>
          <p:nvCxnSpPr>
            <p:cNvPr id="279" name="Straight Connector 278">
              <a:extLst>
                <a:ext uri="{FF2B5EF4-FFF2-40B4-BE49-F238E27FC236}">
                  <a16:creationId xmlns:a16="http://schemas.microsoft.com/office/drawing/2014/main" id="{162F47A0-ACC9-F749-B43D-6C454F80763A}"/>
                </a:ext>
              </a:extLst>
            </p:cNvPr>
            <p:cNvCxnSpPr>
              <a:cxnSpLocks/>
            </p:cNvCxnSpPr>
            <p:nvPr/>
          </p:nvCxnSpPr>
          <p:spPr>
            <a:xfrm>
              <a:off x="737143" y="3535543"/>
              <a:ext cx="11018520" cy="0"/>
            </a:xfrm>
            <a:prstGeom prst="line">
              <a:avLst/>
            </a:prstGeom>
            <a:noFill/>
            <a:ln w="15875" cap="rnd" cmpd="sng" algn="ctr">
              <a:solidFill>
                <a:sysClr val="window" lastClr="FFFFFF">
                  <a:lumMod val="85000"/>
                </a:sysClr>
              </a:solidFill>
              <a:prstDash val="solid"/>
              <a:headEnd type="none"/>
              <a:tailEnd type="none"/>
            </a:ln>
            <a:effectLst/>
          </p:spPr>
        </p:cxnSp>
        <p:cxnSp>
          <p:nvCxnSpPr>
            <p:cNvPr id="281" name="Straight Connector 280">
              <a:extLst>
                <a:ext uri="{FF2B5EF4-FFF2-40B4-BE49-F238E27FC236}">
                  <a16:creationId xmlns:a16="http://schemas.microsoft.com/office/drawing/2014/main" id="{1F4E4510-BE80-FC48-AE91-BEAAD3928178}"/>
                </a:ext>
              </a:extLst>
            </p:cNvPr>
            <p:cNvCxnSpPr>
              <a:cxnSpLocks/>
            </p:cNvCxnSpPr>
            <p:nvPr/>
          </p:nvCxnSpPr>
          <p:spPr>
            <a:xfrm>
              <a:off x="737143" y="5469027"/>
              <a:ext cx="11018520" cy="0"/>
            </a:xfrm>
            <a:prstGeom prst="line">
              <a:avLst/>
            </a:prstGeom>
            <a:noFill/>
            <a:ln w="15875" cap="rnd" cmpd="sng" algn="ctr">
              <a:solidFill>
                <a:sysClr val="window" lastClr="FFFFFF">
                  <a:lumMod val="85000"/>
                </a:sysClr>
              </a:solidFill>
              <a:prstDash val="solid"/>
              <a:headEnd type="none"/>
              <a:tailEnd type="none"/>
            </a:ln>
            <a:effectLst/>
          </p:spPr>
        </p:cxnSp>
        <p:cxnSp>
          <p:nvCxnSpPr>
            <p:cNvPr id="280" name="Straight Connector 279">
              <a:extLst>
                <a:ext uri="{FF2B5EF4-FFF2-40B4-BE49-F238E27FC236}">
                  <a16:creationId xmlns:a16="http://schemas.microsoft.com/office/drawing/2014/main" id="{FBEC53E3-9CDA-C744-A4ED-C9532EC850FB}"/>
                </a:ext>
              </a:extLst>
            </p:cNvPr>
            <p:cNvCxnSpPr>
              <a:cxnSpLocks/>
            </p:cNvCxnSpPr>
            <p:nvPr/>
          </p:nvCxnSpPr>
          <p:spPr>
            <a:xfrm>
              <a:off x="737143" y="4502285"/>
              <a:ext cx="11018520" cy="0"/>
            </a:xfrm>
            <a:prstGeom prst="line">
              <a:avLst/>
            </a:prstGeom>
            <a:noFill/>
            <a:ln w="15875" cap="rnd" cmpd="sng" algn="ctr">
              <a:solidFill>
                <a:sysClr val="window" lastClr="FFFFFF">
                  <a:lumMod val="85000"/>
                </a:sysClr>
              </a:solidFill>
              <a:prstDash val="solid"/>
              <a:headEnd type="none"/>
              <a:tailEnd type="none"/>
            </a:ln>
            <a:effectLst/>
          </p:spPr>
        </p:cxnSp>
      </p:grpSp>
      <p:sp>
        <p:nvSpPr>
          <p:cNvPr id="282" name="Rectangle 281">
            <a:extLst>
              <a:ext uri="{FF2B5EF4-FFF2-40B4-BE49-F238E27FC236}">
                <a16:creationId xmlns:a16="http://schemas.microsoft.com/office/drawing/2014/main" id="{166088FF-4653-3840-A08B-6997897E6541}"/>
              </a:ext>
            </a:extLst>
          </p:cNvPr>
          <p:cNvSpPr/>
          <p:nvPr/>
        </p:nvSpPr>
        <p:spPr bwMode="auto">
          <a:xfrm>
            <a:off x="2080582" y="1673801"/>
            <a:ext cx="4101319" cy="38505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713271" fontAlgn="base">
              <a:lnSpc>
                <a:spcPct val="90000"/>
              </a:lnSpc>
              <a:spcBef>
                <a:spcPts val="306"/>
              </a:spcBef>
              <a:spcAft>
                <a:spcPct val="0"/>
              </a:spcAft>
              <a:defRPr/>
            </a:pPr>
            <a:r>
              <a:rPr lang="en-US" sz="1377" b="1" kern="0" dirty="0">
                <a:solidFill>
                  <a:prstClr val="black"/>
                </a:solidFill>
                <a:latin typeface="Segoe UI Semibold"/>
                <a:ea typeface="Segoe UI" pitchFamily="34" charset="0"/>
                <a:cs typeface="Segoe UI" pitchFamily="34" charset="0"/>
              </a:rPr>
              <a:t>Sophisticated pretrained models </a:t>
            </a:r>
            <a:r>
              <a:rPr lang="zh-CN" altLang="en-US" sz="1377" b="1" kern="0" dirty="0">
                <a:solidFill>
                  <a:prstClr val="black"/>
                </a:solidFill>
                <a:latin typeface="Segoe UI Semibold"/>
                <a:ea typeface="Segoe UI" pitchFamily="34" charset="0"/>
                <a:cs typeface="Segoe UI" pitchFamily="34" charset="0"/>
              </a:rPr>
              <a:t>预训练模型</a:t>
            </a:r>
            <a:endParaRPr lang="en-US" sz="1377" b="1" kern="0" dirty="0">
              <a:solidFill>
                <a:prstClr val="black"/>
              </a:solidFill>
              <a:latin typeface="Segoe UI Semibold"/>
              <a:ea typeface="Segoe UI" pitchFamily="34" charset="0"/>
              <a:cs typeface="Segoe UI" pitchFamily="34" charset="0"/>
            </a:endParaRPr>
          </a:p>
          <a:p>
            <a:pPr defTabSz="713271" fontAlgn="base">
              <a:lnSpc>
                <a:spcPct val="90000"/>
              </a:lnSpc>
              <a:spcBef>
                <a:spcPts val="306"/>
              </a:spcBef>
              <a:spcAft>
                <a:spcPct val="0"/>
              </a:spcAft>
              <a:defRPr/>
            </a:pPr>
            <a:r>
              <a:rPr lang="en-US" sz="1071" kern="0" dirty="0">
                <a:solidFill>
                  <a:prstClr val="black"/>
                </a:solidFill>
                <a:latin typeface="Segoe UI"/>
                <a:cs typeface="Segoe UI" pitchFamily="34" charset="0"/>
              </a:rPr>
              <a:t>To simplify solution development </a:t>
            </a:r>
            <a:r>
              <a:rPr lang="zh-CN" altLang="en-US" sz="1071" kern="0" dirty="0">
                <a:solidFill>
                  <a:prstClr val="black"/>
                </a:solidFill>
                <a:latin typeface="Segoe UI"/>
                <a:ea typeface="宋体" panose="02010600030101010101" pitchFamily="2" charset="-122"/>
                <a:cs typeface="Segoe UI" pitchFamily="34" charset="0"/>
              </a:rPr>
              <a:t>简化解决方案开发</a:t>
            </a:r>
            <a:endParaRPr lang="en-US" sz="1071" kern="0" dirty="0">
              <a:solidFill>
                <a:prstClr val="black"/>
              </a:solidFill>
              <a:latin typeface="Segoe UI"/>
              <a:cs typeface="Segoe UI" pitchFamily="34" charset="0"/>
            </a:endParaRPr>
          </a:p>
        </p:txBody>
      </p:sp>
      <p:sp>
        <p:nvSpPr>
          <p:cNvPr id="283" name="Rectangle 282">
            <a:extLst>
              <a:ext uri="{FF2B5EF4-FFF2-40B4-BE49-F238E27FC236}">
                <a16:creationId xmlns:a16="http://schemas.microsoft.com/office/drawing/2014/main" id="{597BF0DF-B7A5-354E-A726-1CA8A094077B}"/>
              </a:ext>
            </a:extLst>
          </p:cNvPr>
          <p:cNvSpPr/>
          <p:nvPr/>
        </p:nvSpPr>
        <p:spPr bwMode="auto">
          <a:xfrm>
            <a:off x="2080582" y="3892273"/>
            <a:ext cx="4101319" cy="38505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713271" fontAlgn="base">
              <a:lnSpc>
                <a:spcPct val="90000"/>
              </a:lnSpc>
              <a:spcBef>
                <a:spcPts val="306"/>
              </a:spcBef>
              <a:spcAft>
                <a:spcPct val="0"/>
              </a:spcAft>
              <a:defRPr/>
            </a:pPr>
            <a:r>
              <a:rPr lang="en-US" sz="1377" b="1" kern="0" dirty="0">
                <a:solidFill>
                  <a:prstClr val="black"/>
                </a:solidFill>
                <a:latin typeface="Segoe UI Semibold"/>
                <a:ea typeface="Segoe UI" pitchFamily="34" charset="0"/>
                <a:cs typeface="Segoe UI" pitchFamily="34" charset="0"/>
              </a:rPr>
              <a:t>Powerful infrastructure </a:t>
            </a:r>
            <a:r>
              <a:rPr lang="zh-CN" altLang="en-US" sz="1377" b="1" kern="0" dirty="0">
                <a:solidFill>
                  <a:prstClr val="black"/>
                </a:solidFill>
                <a:latin typeface="Segoe UI Semibold"/>
                <a:ea typeface="Segoe UI" pitchFamily="34" charset="0"/>
                <a:cs typeface="Segoe UI" pitchFamily="34" charset="0"/>
              </a:rPr>
              <a:t>强大的基础设施</a:t>
            </a:r>
            <a:endParaRPr lang="en-US" sz="1377" b="1" kern="0" dirty="0">
              <a:solidFill>
                <a:prstClr val="black"/>
              </a:solidFill>
              <a:latin typeface="Segoe UI Semibold"/>
              <a:ea typeface="Segoe UI" pitchFamily="34" charset="0"/>
              <a:cs typeface="Segoe UI" pitchFamily="34" charset="0"/>
            </a:endParaRPr>
          </a:p>
          <a:p>
            <a:pPr defTabSz="713271" fontAlgn="base">
              <a:lnSpc>
                <a:spcPct val="90000"/>
              </a:lnSpc>
              <a:spcBef>
                <a:spcPts val="306"/>
              </a:spcBef>
              <a:spcAft>
                <a:spcPct val="0"/>
              </a:spcAft>
              <a:defRPr/>
            </a:pPr>
            <a:r>
              <a:rPr lang="en-US" sz="1071" kern="0" dirty="0">
                <a:solidFill>
                  <a:prstClr val="black"/>
                </a:solidFill>
                <a:latin typeface="Segoe UI"/>
                <a:cs typeface="Segoe UI" pitchFamily="34" charset="0"/>
              </a:rPr>
              <a:t>To accelerate deep learning </a:t>
            </a:r>
            <a:r>
              <a:rPr lang="zh-CN" altLang="en-US" sz="1071" kern="0" dirty="0">
                <a:solidFill>
                  <a:prstClr val="black"/>
                </a:solidFill>
                <a:latin typeface="Segoe UI"/>
                <a:ea typeface="宋体" panose="02010600030101010101" pitchFamily="2" charset="-122"/>
                <a:cs typeface="Segoe UI" pitchFamily="34" charset="0"/>
              </a:rPr>
              <a:t>加速深度学习</a:t>
            </a:r>
            <a:endParaRPr lang="en-US" sz="1071" kern="0" dirty="0">
              <a:solidFill>
                <a:prstClr val="black"/>
              </a:solidFill>
              <a:latin typeface="Segoe UI"/>
              <a:cs typeface="Segoe UI" pitchFamily="34" charset="0"/>
            </a:endParaRPr>
          </a:p>
        </p:txBody>
      </p:sp>
      <p:grpSp>
        <p:nvGrpSpPr>
          <p:cNvPr id="10" name="Group 9">
            <a:extLst>
              <a:ext uri="{FF2B5EF4-FFF2-40B4-BE49-F238E27FC236}">
                <a16:creationId xmlns:a16="http://schemas.microsoft.com/office/drawing/2014/main" id="{742AF957-8C60-8744-9CDC-3CA75E5F14ED}"/>
              </a:ext>
            </a:extLst>
          </p:cNvPr>
          <p:cNvGrpSpPr/>
          <p:nvPr/>
        </p:nvGrpSpPr>
        <p:grpSpPr>
          <a:xfrm>
            <a:off x="8461630" y="2391127"/>
            <a:ext cx="1021201" cy="643142"/>
            <a:chOff x="9079140" y="2771503"/>
            <a:chExt cx="1335024" cy="840785"/>
          </a:xfrm>
        </p:grpSpPr>
        <p:sp>
          <p:nvSpPr>
            <p:cNvPr id="120" name="TextBox 119">
              <a:extLst>
                <a:ext uri="{FF2B5EF4-FFF2-40B4-BE49-F238E27FC236}">
                  <a16:creationId xmlns:a16="http://schemas.microsoft.com/office/drawing/2014/main" id="{84E3C0F9-86B1-2548-9183-B0AC2F0E112E}"/>
                </a:ext>
              </a:extLst>
            </p:cNvPr>
            <p:cNvSpPr txBox="1"/>
            <p:nvPr/>
          </p:nvSpPr>
          <p:spPr>
            <a:xfrm>
              <a:off x="9079140" y="3289123"/>
              <a:ext cx="1335024" cy="323165"/>
            </a:xfrm>
            <a:prstGeom prst="rect">
              <a:avLst/>
            </a:prstGeom>
            <a:noFill/>
            <a:ln>
              <a:noFill/>
            </a:ln>
          </p:spPr>
          <p:txBody>
            <a:bodyPr wrap="square" lIns="0" tIns="0" rIns="0" bIns="139891"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23423">
                        <a:schemeClr val="tx1"/>
                      </a:gs>
                      <a:gs pos="66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pPr defTabSz="685274">
                <a:spcAft>
                  <a:spcPts val="450"/>
                </a:spcAft>
                <a:defRPr/>
              </a:pPr>
              <a:r>
                <a:rPr lang="en-US" sz="765" kern="0" dirty="0" err="1">
                  <a:solidFill>
                    <a:prstClr val="white"/>
                  </a:solidFill>
                </a:rPr>
                <a:t>Keras</a:t>
              </a:r>
              <a:endParaRPr lang="en-US" sz="765" kern="0" dirty="0">
                <a:solidFill>
                  <a:prstClr val="white"/>
                </a:solidFill>
              </a:endParaRPr>
            </a:p>
          </p:txBody>
        </p:sp>
        <p:grpSp>
          <p:nvGrpSpPr>
            <p:cNvPr id="284" name="Group 283">
              <a:extLst>
                <a:ext uri="{FF2B5EF4-FFF2-40B4-BE49-F238E27FC236}">
                  <a16:creationId xmlns:a16="http://schemas.microsoft.com/office/drawing/2014/main" id="{CFD78586-5570-9340-9AFF-41F40C57BD61}"/>
                </a:ext>
              </a:extLst>
            </p:cNvPr>
            <p:cNvGrpSpPr/>
            <p:nvPr/>
          </p:nvGrpSpPr>
          <p:grpSpPr>
            <a:xfrm>
              <a:off x="9586407" y="2771503"/>
              <a:ext cx="343590" cy="343590"/>
              <a:chOff x="9545621" y="2776629"/>
              <a:chExt cx="396021" cy="396021"/>
            </a:xfrm>
          </p:grpSpPr>
          <p:pic>
            <p:nvPicPr>
              <p:cNvPr id="285" name="Picture 284">
                <a:extLst>
                  <a:ext uri="{FF2B5EF4-FFF2-40B4-BE49-F238E27FC236}">
                    <a16:creationId xmlns:a16="http://schemas.microsoft.com/office/drawing/2014/main" id="{1D14E232-7E3E-F841-AB03-B52FE4D47F5C}"/>
                  </a:ext>
                </a:extLst>
              </p:cNvPr>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9562726" y="2793735"/>
                <a:ext cx="361808" cy="361807"/>
              </a:xfrm>
              <a:prstGeom prst="rect">
                <a:avLst/>
              </a:prstGeom>
              <a:ln>
                <a:solidFill>
                  <a:schemeClr val="bg1"/>
                </a:solidFill>
              </a:ln>
            </p:spPr>
          </p:pic>
          <p:sp>
            <p:nvSpPr>
              <p:cNvPr id="286" name="Rectangle 285">
                <a:extLst>
                  <a:ext uri="{FF2B5EF4-FFF2-40B4-BE49-F238E27FC236}">
                    <a16:creationId xmlns:a16="http://schemas.microsoft.com/office/drawing/2014/main" id="{F3055544-6C5C-EC41-85F9-E949938A80CF}"/>
                  </a:ext>
                </a:extLst>
              </p:cNvPr>
              <p:cNvSpPr/>
              <p:nvPr/>
            </p:nvSpPr>
            <p:spPr bwMode="auto">
              <a:xfrm>
                <a:off x="9545621" y="2776629"/>
                <a:ext cx="396021" cy="396021"/>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defRPr/>
                </a:pPr>
                <a:endParaRPr lang="en-US" sz="1836"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5" name="Group 14">
            <a:extLst>
              <a:ext uri="{FF2B5EF4-FFF2-40B4-BE49-F238E27FC236}">
                <a16:creationId xmlns:a16="http://schemas.microsoft.com/office/drawing/2014/main" id="{F86F67F1-973B-1D41-B148-531C4230B0F0}"/>
              </a:ext>
            </a:extLst>
          </p:cNvPr>
          <p:cNvGrpSpPr/>
          <p:nvPr/>
        </p:nvGrpSpPr>
        <p:grpSpPr>
          <a:xfrm>
            <a:off x="6678512" y="3890213"/>
            <a:ext cx="824577" cy="625006"/>
            <a:chOff x="6748055" y="4731271"/>
            <a:chExt cx="1077976" cy="817076"/>
          </a:xfrm>
        </p:grpSpPr>
        <p:sp>
          <p:nvSpPr>
            <p:cNvPr id="221" name="chip">
              <a:extLst>
                <a:ext uri="{FF2B5EF4-FFF2-40B4-BE49-F238E27FC236}">
                  <a16:creationId xmlns:a16="http://schemas.microsoft.com/office/drawing/2014/main" id="{FC622DCD-4F8C-AE4E-9B1A-9532E66D3171}"/>
                </a:ext>
              </a:extLst>
            </p:cNvPr>
            <p:cNvSpPr>
              <a:spLocks noChangeAspect="1" noEditPoints="1"/>
            </p:cNvSpPr>
            <p:nvPr/>
          </p:nvSpPr>
          <p:spPr bwMode="auto">
            <a:xfrm>
              <a:off x="7140998" y="4731271"/>
              <a:ext cx="292091" cy="298125"/>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2700" cap="sq">
              <a:solidFill>
                <a:schemeClr val="bg1"/>
              </a:solidFill>
              <a:prstDash val="solid"/>
              <a:miter lim="800000"/>
              <a:headEnd/>
              <a:tailEnd/>
            </a:ln>
          </p:spPr>
          <p:txBody>
            <a:bodyPr vert="horz" wrap="square" lIns="68570" tIns="34285" rIns="68570" bIns="34285" numCol="1" anchor="t" anchorCtr="0" compatLnSpc="1">
              <a:prstTxWarp prst="textNoShape">
                <a:avLst/>
              </a:prstTxWarp>
            </a:bodyPr>
            <a:lstStyle/>
            <a:p>
              <a:pPr defTabSz="699422">
                <a:defRPr/>
              </a:pPr>
              <a:endParaRPr lang="en-US" sz="1350" kern="0">
                <a:solidFill>
                  <a:srgbClr val="0078D4"/>
                </a:solidFill>
                <a:latin typeface="Segoe UI Semilight"/>
              </a:endParaRPr>
            </a:p>
          </p:txBody>
        </p:sp>
        <p:sp>
          <p:nvSpPr>
            <p:cNvPr id="287" name="TextBox 286">
              <a:extLst>
                <a:ext uri="{FF2B5EF4-FFF2-40B4-BE49-F238E27FC236}">
                  <a16:creationId xmlns:a16="http://schemas.microsoft.com/office/drawing/2014/main" id="{701EBD50-21FA-074F-9EF2-55B6E628E21A}"/>
                </a:ext>
              </a:extLst>
            </p:cNvPr>
            <p:cNvSpPr txBox="1"/>
            <p:nvPr/>
          </p:nvSpPr>
          <p:spPr>
            <a:xfrm>
              <a:off x="6748055" y="5225182"/>
              <a:ext cx="1077976" cy="323165"/>
            </a:xfrm>
            <a:prstGeom prst="rect">
              <a:avLst/>
            </a:prstGeom>
            <a:noFill/>
            <a:ln>
              <a:noFill/>
            </a:ln>
          </p:spPr>
          <p:txBody>
            <a:bodyPr wrap="square" lIns="0" tIns="0" rIns="0" bIns="139891"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defTabSz="685274">
                <a:spcAft>
                  <a:spcPts val="450"/>
                </a:spcAft>
                <a:defRPr/>
              </a:pPr>
              <a:r>
                <a:rPr lang="en-US" sz="765" kern="0" dirty="0">
                  <a:solidFill>
                    <a:prstClr val="white"/>
                  </a:solidFill>
                </a:rPr>
                <a:t>CPU</a:t>
              </a:r>
            </a:p>
          </p:txBody>
        </p:sp>
      </p:grpSp>
      <p:grpSp>
        <p:nvGrpSpPr>
          <p:cNvPr id="16" name="Group 15">
            <a:extLst>
              <a:ext uri="{FF2B5EF4-FFF2-40B4-BE49-F238E27FC236}">
                <a16:creationId xmlns:a16="http://schemas.microsoft.com/office/drawing/2014/main" id="{8CD832A4-C90F-2845-BC7A-53DFD062D3E9}"/>
              </a:ext>
            </a:extLst>
          </p:cNvPr>
          <p:cNvGrpSpPr/>
          <p:nvPr/>
        </p:nvGrpSpPr>
        <p:grpSpPr>
          <a:xfrm>
            <a:off x="7756314" y="3924248"/>
            <a:ext cx="1363788" cy="590972"/>
            <a:chOff x="8157075" y="4775764"/>
            <a:chExt cx="1782890" cy="772583"/>
          </a:xfrm>
        </p:grpSpPr>
        <p:grpSp>
          <p:nvGrpSpPr>
            <p:cNvPr id="262" name="Group 261">
              <a:extLst>
                <a:ext uri="{FF2B5EF4-FFF2-40B4-BE49-F238E27FC236}">
                  <a16:creationId xmlns:a16="http://schemas.microsoft.com/office/drawing/2014/main" id="{10F3DE04-CC45-C34B-8C1D-A2AAFC185215}"/>
                </a:ext>
              </a:extLst>
            </p:cNvPr>
            <p:cNvGrpSpPr>
              <a:grpSpLocks noChangeAspect="1"/>
            </p:cNvGrpSpPr>
            <p:nvPr/>
          </p:nvGrpSpPr>
          <p:grpSpPr>
            <a:xfrm>
              <a:off x="8893889" y="4775764"/>
              <a:ext cx="309263" cy="197305"/>
              <a:chOff x="5842028" y="2023300"/>
              <a:chExt cx="518306" cy="330673"/>
            </a:xfrm>
          </p:grpSpPr>
          <p:sp>
            <p:nvSpPr>
              <p:cNvPr id="263" name="Rectangle: Single Corner Rounded 196">
                <a:extLst>
                  <a:ext uri="{FF2B5EF4-FFF2-40B4-BE49-F238E27FC236}">
                    <a16:creationId xmlns:a16="http://schemas.microsoft.com/office/drawing/2014/main" id="{EE66782E-81B0-C144-B23C-BAB92A7E7C5A}"/>
                  </a:ext>
                </a:extLst>
              </p:cNvPr>
              <p:cNvSpPr/>
              <p:nvPr/>
            </p:nvSpPr>
            <p:spPr bwMode="auto">
              <a:xfrm>
                <a:off x="5842028" y="2023300"/>
                <a:ext cx="518306" cy="284908"/>
              </a:xfrm>
              <a:prstGeom prst="round1Rect">
                <a:avLst>
                  <a:gd name="adj" fmla="val 19322"/>
                </a:avLst>
              </a:prstGeom>
              <a:noFill/>
              <a:ln w="12700" cap="sq">
                <a:solidFill>
                  <a:schemeClr val="bg1"/>
                </a:solidFill>
                <a:prstDash val="solid"/>
                <a:miter lim="800000"/>
                <a:headEnd/>
                <a:tailEnd/>
              </a:ln>
            </p:spPr>
            <p:txBody>
              <a:bodyPr rot="0" spcFirstLastPara="0" vertOverflow="overflow" horzOverflow="overflow" vert="horz" wrap="square" lIns="68570" tIns="34285" rIns="68570" bIns="34285" numCol="1" spcCol="0" rtlCol="0" fromWordArt="0" anchor="t" anchorCtr="0" forceAA="0" compatLnSpc="1">
                <a:prstTxWarp prst="textNoShape">
                  <a:avLst/>
                </a:prstTxWarp>
                <a:noAutofit/>
              </a:bodyPr>
              <a:lstStyle/>
              <a:p>
                <a:pPr defTabSz="699422">
                  <a:defRPr/>
                </a:pPr>
                <a:endParaRPr lang="en-US" sz="1350" kern="0">
                  <a:solidFill>
                    <a:srgbClr val="0078D4"/>
                  </a:solidFill>
                  <a:latin typeface="Segoe UI Semilight"/>
                </a:endParaRPr>
              </a:p>
            </p:txBody>
          </p:sp>
          <p:grpSp>
            <p:nvGrpSpPr>
              <p:cNvPr id="264" name="Group 263">
                <a:extLst>
                  <a:ext uri="{FF2B5EF4-FFF2-40B4-BE49-F238E27FC236}">
                    <a16:creationId xmlns:a16="http://schemas.microsoft.com/office/drawing/2014/main" id="{BCAC08F4-86D7-F44F-8930-0C588A10F01C}"/>
                  </a:ext>
                </a:extLst>
              </p:cNvPr>
              <p:cNvGrpSpPr/>
              <p:nvPr/>
            </p:nvGrpSpPr>
            <p:grpSpPr>
              <a:xfrm>
                <a:off x="5886781" y="2308208"/>
                <a:ext cx="423110" cy="45765"/>
                <a:chOff x="2805041" y="5363936"/>
                <a:chExt cx="937405" cy="125178"/>
              </a:xfrm>
            </p:grpSpPr>
            <p:grpSp>
              <p:nvGrpSpPr>
                <p:cNvPr id="267" name="Group 266">
                  <a:extLst>
                    <a:ext uri="{FF2B5EF4-FFF2-40B4-BE49-F238E27FC236}">
                      <a16:creationId xmlns:a16="http://schemas.microsoft.com/office/drawing/2014/main" id="{42A6862B-160D-7349-A420-558A6D6D44FF}"/>
                    </a:ext>
                  </a:extLst>
                </p:cNvPr>
                <p:cNvGrpSpPr/>
                <p:nvPr/>
              </p:nvGrpSpPr>
              <p:grpSpPr>
                <a:xfrm>
                  <a:off x="2805041" y="5363936"/>
                  <a:ext cx="304800" cy="125178"/>
                  <a:chOff x="685111" y="5810249"/>
                  <a:chExt cx="304800" cy="356348"/>
                </a:xfrm>
              </p:grpSpPr>
              <p:cxnSp>
                <p:nvCxnSpPr>
                  <p:cNvPr id="272" name="Straight Connector 271">
                    <a:extLst>
                      <a:ext uri="{FF2B5EF4-FFF2-40B4-BE49-F238E27FC236}">
                        <a16:creationId xmlns:a16="http://schemas.microsoft.com/office/drawing/2014/main" id="{1F5CEA1A-B376-E049-B054-B1778E04BF39}"/>
                      </a:ext>
                    </a:extLst>
                  </p:cNvPr>
                  <p:cNvCxnSpPr/>
                  <p:nvPr/>
                </p:nvCxnSpPr>
                <p:spPr>
                  <a:xfrm>
                    <a:off x="685111" y="5810249"/>
                    <a:ext cx="0" cy="356348"/>
                  </a:xfrm>
                  <a:prstGeom prst="line">
                    <a:avLst/>
                  </a:prstGeom>
                  <a:noFill/>
                  <a:ln w="12700" cap="sq">
                    <a:solidFill>
                      <a:schemeClr val="bg1"/>
                    </a:solidFill>
                    <a:prstDash val="solid"/>
                    <a:miter lim="800000"/>
                    <a:headEnd/>
                    <a:tailEnd/>
                  </a:ln>
                </p:spPr>
              </p:cxnSp>
              <p:cxnSp>
                <p:nvCxnSpPr>
                  <p:cNvPr id="273" name="Straight Connector 272">
                    <a:extLst>
                      <a:ext uri="{FF2B5EF4-FFF2-40B4-BE49-F238E27FC236}">
                        <a16:creationId xmlns:a16="http://schemas.microsoft.com/office/drawing/2014/main" id="{8FAF2115-83C3-3E4A-A085-095FB490B793}"/>
                      </a:ext>
                    </a:extLst>
                  </p:cNvPr>
                  <p:cNvCxnSpPr/>
                  <p:nvPr/>
                </p:nvCxnSpPr>
                <p:spPr>
                  <a:xfrm>
                    <a:off x="837511" y="5810249"/>
                    <a:ext cx="0" cy="356348"/>
                  </a:xfrm>
                  <a:prstGeom prst="line">
                    <a:avLst/>
                  </a:prstGeom>
                  <a:noFill/>
                  <a:ln w="12700" cap="sq">
                    <a:solidFill>
                      <a:schemeClr val="bg1"/>
                    </a:solidFill>
                    <a:prstDash val="solid"/>
                    <a:miter lim="800000"/>
                    <a:headEnd/>
                    <a:tailEnd/>
                  </a:ln>
                </p:spPr>
              </p:cxnSp>
              <p:cxnSp>
                <p:nvCxnSpPr>
                  <p:cNvPr id="274" name="Straight Connector 273">
                    <a:extLst>
                      <a:ext uri="{FF2B5EF4-FFF2-40B4-BE49-F238E27FC236}">
                        <a16:creationId xmlns:a16="http://schemas.microsoft.com/office/drawing/2014/main" id="{BA53DAB1-B056-5C4A-A1EC-ED75407BF003}"/>
                      </a:ext>
                    </a:extLst>
                  </p:cNvPr>
                  <p:cNvCxnSpPr/>
                  <p:nvPr/>
                </p:nvCxnSpPr>
                <p:spPr>
                  <a:xfrm>
                    <a:off x="989911" y="5810249"/>
                    <a:ext cx="0" cy="356348"/>
                  </a:xfrm>
                  <a:prstGeom prst="line">
                    <a:avLst/>
                  </a:prstGeom>
                  <a:noFill/>
                  <a:ln w="12700" cap="sq">
                    <a:solidFill>
                      <a:schemeClr val="bg1"/>
                    </a:solidFill>
                    <a:prstDash val="solid"/>
                    <a:miter lim="800000"/>
                    <a:headEnd/>
                    <a:tailEnd/>
                  </a:ln>
                </p:spPr>
              </p:cxnSp>
            </p:grpSp>
            <p:grpSp>
              <p:nvGrpSpPr>
                <p:cNvPr id="268" name="Group 267">
                  <a:extLst>
                    <a:ext uri="{FF2B5EF4-FFF2-40B4-BE49-F238E27FC236}">
                      <a16:creationId xmlns:a16="http://schemas.microsoft.com/office/drawing/2014/main" id="{A1864219-D74D-C243-BD43-AFD38F85BE14}"/>
                    </a:ext>
                  </a:extLst>
                </p:cNvPr>
                <p:cNvGrpSpPr/>
                <p:nvPr/>
              </p:nvGrpSpPr>
              <p:grpSpPr>
                <a:xfrm>
                  <a:off x="3437646" y="5363936"/>
                  <a:ext cx="304800" cy="125178"/>
                  <a:chOff x="685111" y="5810249"/>
                  <a:chExt cx="304800" cy="356348"/>
                </a:xfrm>
              </p:grpSpPr>
              <p:cxnSp>
                <p:nvCxnSpPr>
                  <p:cNvPr id="269" name="Straight Connector 268">
                    <a:extLst>
                      <a:ext uri="{FF2B5EF4-FFF2-40B4-BE49-F238E27FC236}">
                        <a16:creationId xmlns:a16="http://schemas.microsoft.com/office/drawing/2014/main" id="{4EC39D24-7878-AC42-B9D4-C8C977F846FE}"/>
                      </a:ext>
                    </a:extLst>
                  </p:cNvPr>
                  <p:cNvCxnSpPr/>
                  <p:nvPr/>
                </p:nvCxnSpPr>
                <p:spPr>
                  <a:xfrm>
                    <a:off x="685111" y="5810249"/>
                    <a:ext cx="0" cy="356348"/>
                  </a:xfrm>
                  <a:prstGeom prst="line">
                    <a:avLst/>
                  </a:prstGeom>
                  <a:noFill/>
                  <a:ln w="12700" cap="sq">
                    <a:solidFill>
                      <a:schemeClr val="bg1"/>
                    </a:solidFill>
                    <a:prstDash val="solid"/>
                    <a:miter lim="800000"/>
                    <a:headEnd/>
                    <a:tailEnd/>
                  </a:ln>
                </p:spPr>
              </p:cxnSp>
              <p:cxnSp>
                <p:nvCxnSpPr>
                  <p:cNvPr id="270" name="Straight Connector 269">
                    <a:extLst>
                      <a:ext uri="{FF2B5EF4-FFF2-40B4-BE49-F238E27FC236}">
                        <a16:creationId xmlns:a16="http://schemas.microsoft.com/office/drawing/2014/main" id="{CC53575F-8A51-5244-A034-E824D588D596}"/>
                      </a:ext>
                    </a:extLst>
                  </p:cNvPr>
                  <p:cNvCxnSpPr/>
                  <p:nvPr/>
                </p:nvCxnSpPr>
                <p:spPr>
                  <a:xfrm>
                    <a:off x="837511" y="5810249"/>
                    <a:ext cx="0" cy="356348"/>
                  </a:xfrm>
                  <a:prstGeom prst="line">
                    <a:avLst/>
                  </a:prstGeom>
                  <a:noFill/>
                  <a:ln w="12700" cap="sq">
                    <a:solidFill>
                      <a:schemeClr val="bg1"/>
                    </a:solidFill>
                    <a:prstDash val="solid"/>
                    <a:miter lim="800000"/>
                    <a:headEnd/>
                    <a:tailEnd/>
                  </a:ln>
                </p:spPr>
              </p:cxnSp>
              <p:cxnSp>
                <p:nvCxnSpPr>
                  <p:cNvPr id="271" name="Straight Connector 270">
                    <a:extLst>
                      <a:ext uri="{FF2B5EF4-FFF2-40B4-BE49-F238E27FC236}">
                        <a16:creationId xmlns:a16="http://schemas.microsoft.com/office/drawing/2014/main" id="{E732F3E9-1AF9-C043-8668-4C8CDEECBAC0}"/>
                      </a:ext>
                    </a:extLst>
                  </p:cNvPr>
                  <p:cNvCxnSpPr/>
                  <p:nvPr/>
                </p:nvCxnSpPr>
                <p:spPr>
                  <a:xfrm>
                    <a:off x="989911" y="5810249"/>
                    <a:ext cx="0" cy="356348"/>
                  </a:xfrm>
                  <a:prstGeom prst="line">
                    <a:avLst/>
                  </a:prstGeom>
                  <a:noFill/>
                  <a:ln w="12700" cap="sq">
                    <a:solidFill>
                      <a:schemeClr val="bg1"/>
                    </a:solidFill>
                    <a:prstDash val="solid"/>
                    <a:miter lim="800000"/>
                    <a:headEnd/>
                    <a:tailEnd/>
                  </a:ln>
                </p:spPr>
              </p:cxnSp>
            </p:grpSp>
          </p:grpSp>
          <p:sp>
            <p:nvSpPr>
              <p:cNvPr id="265" name="Oval 264">
                <a:extLst>
                  <a:ext uri="{FF2B5EF4-FFF2-40B4-BE49-F238E27FC236}">
                    <a16:creationId xmlns:a16="http://schemas.microsoft.com/office/drawing/2014/main" id="{FD70C012-185A-944C-A9A6-EE68336820B2}"/>
                  </a:ext>
                </a:extLst>
              </p:cNvPr>
              <p:cNvSpPr/>
              <p:nvPr/>
            </p:nvSpPr>
            <p:spPr bwMode="auto">
              <a:xfrm>
                <a:off x="6135172" y="2083744"/>
                <a:ext cx="158117" cy="164020"/>
              </a:xfrm>
              <a:prstGeom prst="ellipse">
                <a:avLst/>
              </a:prstGeom>
              <a:noFill/>
              <a:ln w="12700" cap="sq">
                <a:solidFill>
                  <a:schemeClr val="bg1"/>
                </a:solidFill>
                <a:prstDash val="solid"/>
                <a:miter lim="800000"/>
                <a:headEnd/>
                <a:tailEnd/>
              </a:ln>
            </p:spPr>
            <p:txBody>
              <a:bodyPr rot="0" spcFirstLastPara="0" vertOverflow="overflow" horzOverflow="overflow" vert="horz" wrap="square" lIns="68570" tIns="34285" rIns="68570" bIns="34285" numCol="1" spcCol="0" rtlCol="0" fromWordArt="0" anchor="t" anchorCtr="0" forceAA="0" compatLnSpc="1">
                <a:prstTxWarp prst="textNoShape">
                  <a:avLst/>
                </a:prstTxWarp>
                <a:noAutofit/>
              </a:bodyPr>
              <a:lstStyle/>
              <a:p>
                <a:pPr defTabSz="699422">
                  <a:defRPr/>
                </a:pPr>
                <a:endParaRPr lang="en-US" sz="1350" kern="0">
                  <a:solidFill>
                    <a:srgbClr val="0078D4"/>
                  </a:solidFill>
                  <a:latin typeface="Segoe UI Semilight"/>
                </a:endParaRPr>
              </a:p>
            </p:txBody>
          </p:sp>
          <p:sp>
            <p:nvSpPr>
              <p:cNvPr id="266" name="Rectangle 265">
                <a:extLst>
                  <a:ext uri="{FF2B5EF4-FFF2-40B4-BE49-F238E27FC236}">
                    <a16:creationId xmlns:a16="http://schemas.microsoft.com/office/drawing/2014/main" id="{FEA65EE4-3B13-FA48-AFD6-BB512F422556}"/>
                  </a:ext>
                </a:extLst>
              </p:cNvPr>
              <p:cNvSpPr/>
              <p:nvPr/>
            </p:nvSpPr>
            <p:spPr bwMode="auto">
              <a:xfrm>
                <a:off x="5911951" y="2129519"/>
                <a:ext cx="156176" cy="80034"/>
              </a:xfrm>
              <a:prstGeom prst="rect">
                <a:avLst/>
              </a:prstGeom>
              <a:noFill/>
              <a:ln w="12700" cap="sq">
                <a:solidFill>
                  <a:schemeClr val="bg1"/>
                </a:solidFill>
                <a:prstDash val="solid"/>
                <a:miter lim="800000"/>
                <a:headEnd/>
                <a:tailEnd/>
              </a:ln>
            </p:spPr>
            <p:txBody>
              <a:bodyPr rot="0" spcFirstLastPara="0" vertOverflow="overflow" horzOverflow="overflow" vert="horz" wrap="square" lIns="68570" tIns="34285" rIns="68570" bIns="34285" numCol="1" spcCol="0" rtlCol="0" fromWordArt="0" anchor="t" anchorCtr="0" forceAA="0" compatLnSpc="1">
                <a:prstTxWarp prst="textNoShape">
                  <a:avLst/>
                </a:prstTxWarp>
                <a:noAutofit/>
              </a:bodyPr>
              <a:lstStyle/>
              <a:p>
                <a:pPr defTabSz="699422">
                  <a:defRPr/>
                </a:pPr>
                <a:endParaRPr lang="en-US" sz="1350" kern="0">
                  <a:solidFill>
                    <a:srgbClr val="0078D4"/>
                  </a:solidFill>
                  <a:latin typeface="Segoe UI Semilight"/>
                </a:endParaRPr>
              </a:p>
            </p:txBody>
          </p:sp>
        </p:grpSp>
        <p:sp>
          <p:nvSpPr>
            <p:cNvPr id="288" name="TextBox 287">
              <a:extLst>
                <a:ext uri="{FF2B5EF4-FFF2-40B4-BE49-F238E27FC236}">
                  <a16:creationId xmlns:a16="http://schemas.microsoft.com/office/drawing/2014/main" id="{047083C2-66F0-F541-8503-6A9A17B9BAD2}"/>
                </a:ext>
              </a:extLst>
            </p:cNvPr>
            <p:cNvSpPr txBox="1"/>
            <p:nvPr/>
          </p:nvSpPr>
          <p:spPr>
            <a:xfrm>
              <a:off x="8157075" y="5225182"/>
              <a:ext cx="1782890" cy="323165"/>
            </a:xfrm>
            <a:prstGeom prst="rect">
              <a:avLst/>
            </a:prstGeom>
            <a:noFill/>
            <a:ln>
              <a:noFill/>
            </a:ln>
          </p:spPr>
          <p:txBody>
            <a:bodyPr wrap="square" lIns="0" tIns="0" rIns="0" bIns="139891"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defTabSz="685274">
                <a:spcAft>
                  <a:spcPts val="450"/>
                </a:spcAft>
                <a:defRPr/>
              </a:pPr>
              <a:r>
                <a:rPr lang="en-US" sz="765" kern="0">
                  <a:solidFill>
                    <a:prstClr val="white"/>
                  </a:solidFill>
                </a:rPr>
                <a:t>GPU</a:t>
              </a:r>
            </a:p>
          </p:txBody>
        </p:sp>
      </p:grpSp>
      <p:grpSp>
        <p:nvGrpSpPr>
          <p:cNvPr id="17" name="Group 16">
            <a:extLst>
              <a:ext uri="{FF2B5EF4-FFF2-40B4-BE49-F238E27FC236}">
                <a16:creationId xmlns:a16="http://schemas.microsoft.com/office/drawing/2014/main" id="{75F72EA7-0725-194C-927F-100B0EBCC3CA}"/>
              </a:ext>
            </a:extLst>
          </p:cNvPr>
          <p:cNvGrpSpPr/>
          <p:nvPr/>
        </p:nvGrpSpPr>
        <p:grpSpPr>
          <a:xfrm>
            <a:off x="9678864" y="3885687"/>
            <a:ext cx="293301" cy="629533"/>
            <a:chOff x="10670439" y="4725354"/>
            <a:chExt cx="383435" cy="822993"/>
          </a:xfrm>
        </p:grpSpPr>
        <p:grpSp>
          <p:nvGrpSpPr>
            <p:cNvPr id="222" name="Group 221">
              <a:extLst>
                <a:ext uri="{FF2B5EF4-FFF2-40B4-BE49-F238E27FC236}">
                  <a16:creationId xmlns:a16="http://schemas.microsoft.com/office/drawing/2014/main" id="{5EB9C99A-0689-D140-A785-38BD3AD2948D}"/>
                </a:ext>
              </a:extLst>
            </p:cNvPr>
            <p:cNvGrpSpPr>
              <a:grpSpLocks noChangeAspect="1"/>
            </p:cNvGrpSpPr>
            <p:nvPr/>
          </p:nvGrpSpPr>
          <p:grpSpPr>
            <a:xfrm>
              <a:off x="10713094" y="4725354"/>
              <a:ext cx="298125" cy="298125"/>
              <a:chOff x="10035278" y="3218678"/>
              <a:chExt cx="247374" cy="247374"/>
            </a:xfrm>
          </p:grpSpPr>
          <p:grpSp>
            <p:nvGrpSpPr>
              <p:cNvPr id="224" name="Group 223">
                <a:extLst>
                  <a:ext uri="{FF2B5EF4-FFF2-40B4-BE49-F238E27FC236}">
                    <a16:creationId xmlns:a16="http://schemas.microsoft.com/office/drawing/2014/main" id="{324F5CB7-B73E-C046-AA14-F61659279341}"/>
                  </a:ext>
                </a:extLst>
              </p:cNvPr>
              <p:cNvGrpSpPr/>
              <p:nvPr/>
            </p:nvGrpSpPr>
            <p:grpSpPr>
              <a:xfrm>
                <a:off x="10035278" y="3218678"/>
                <a:ext cx="247374" cy="247374"/>
                <a:chOff x="3485441" y="4505566"/>
                <a:chExt cx="712494" cy="712494"/>
              </a:xfrm>
            </p:grpSpPr>
            <p:sp>
              <p:nvSpPr>
                <p:cNvPr id="226" name="Rectangle 225">
                  <a:extLst>
                    <a:ext uri="{FF2B5EF4-FFF2-40B4-BE49-F238E27FC236}">
                      <a16:creationId xmlns:a16="http://schemas.microsoft.com/office/drawing/2014/main" id="{43820664-4011-7E4B-8EAE-3A6B205F774D}"/>
                    </a:ext>
                  </a:extLst>
                </p:cNvPr>
                <p:cNvSpPr/>
                <p:nvPr/>
              </p:nvSpPr>
              <p:spPr bwMode="auto">
                <a:xfrm>
                  <a:off x="3565593" y="4585718"/>
                  <a:ext cx="552190" cy="552190"/>
                </a:xfrm>
                <a:prstGeom prst="rect">
                  <a:avLst/>
                </a:prstGeom>
                <a:noFill/>
                <a:ln w="1270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fontAlgn="base">
                    <a:spcBef>
                      <a:spcPct val="0"/>
                    </a:spcBef>
                    <a:spcAft>
                      <a:spcPct val="0"/>
                    </a:spcAft>
                    <a:defRPr/>
                  </a:pPr>
                  <a:endParaRPr lang="en-US" sz="1530" kern="0">
                    <a:solidFill>
                      <a:srgbClr val="0078D4"/>
                    </a:solidFill>
                    <a:latin typeface="Segoe UI"/>
                    <a:ea typeface="Segoe UI" pitchFamily="34" charset="0"/>
                    <a:cs typeface="Segoe UI" pitchFamily="34" charset="0"/>
                  </a:endParaRPr>
                </a:p>
              </p:txBody>
            </p:sp>
            <p:grpSp>
              <p:nvGrpSpPr>
                <p:cNvPr id="227" name="Group 226">
                  <a:extLst>
                    <a:ext uri="{FF2B5EF4-FFF2-40B4-BE49-F238E27FC236}">
                      <a16:creationId xmlns:a16="http://schemas.microsoft.com/office/drawing/2014/main" id="{4E2395B3-919C-FB49-978F-E59013C8E211}"/>
                    </a:ext>
                  </a:extLst>
                </p:cNvPr>
                <p:cNvGrpSpPr/>
                <p:nvPr/>
              </p:nvGrpSpPr>
              <p:grpSpPr>
                <a:xfrm>
                  <a:off x="3485441" y="4677750"/>
                  <a:ext cx="712494" cy="368126"/>
                  <a:chOff x="3485441" y="4677750"/>
                  <a:chExt cx="712494" cy="368126"/>
                </a:xfrm>
              </p:grpSpPr>
              <p:grpSp>
                <p:nvGrpSpPr>
                  <p:cNvPr id="239" name="Group 238">
                    <a:extLst>
                      <a:ext uri="{FF2B5EF4-FFF2-40B4-BE49-F238E27FC236}">
                        <a16:creationId xmlns:a16="http://schemas.microsoft.com/office/drawing/2014/main" id="{61066AD5-5D73-EC47-B85D-3EF72E5F24AE}"/>
                      </a:ext>
                    </a:extLst>
                  </p:cNvPr>
                  <p:cNvGrpSpPr/>
                  <p:nvPr/>
                </p:nvGrpSpPr>
                <p:grpSpPr>
                  <a:xfrm>
                    <a:off x="4117783" y="4677750"/>
                    <a:ext cx="80152" cy="368126"/>
                    <a:chOff x="4117783" y="4677750"/>
                    <a:chExt cx="129006" cy="368126"/>
                  </a:xfrm>
                </p:grpSpPr>
                <p:cxnSp>
                  <p:nvCxnSpPr>
                    <p:cNvPr id="251" name="Straight Connector 250">
                      <a:extLst>
                        <a:ext uri="{FF2B5EF4-FFF2-40B4-BE49-F238E27FC236}">
                          <a16:creationId xmlns:a16="http://schemas.microsoft.com/office/drawing/2014/main" id="{EE83690D-9242-2A4E-BA92-F925C9ECAAD7}"/>
                        </a:ext>
                      </a:extLst>
                    </p:cNvPr>
                    <p:cNvCxnSpPr/>
                    <p:nvPr/>
                  </p:nvCxnSpPr>
                  <p:spPr>
                    <a:xfrm>
                      <a:off x="4117783" y="4677750"/>
                      <a:ext cx="129006" cy="0"/>
                    </a:xfrm>
                    <a:prstGeom prst="line">
                      <a:avLst/>
                    </a:prstGeom>
                    <a:noFill/>
                    <a:ln w="12700" cap="flat" cmpd="sng" algn="ctr">
                      <a:solidFill>
                        <a:schemeClr val="bg1"/>
                      </a:solidFill>
                      <a:prstDash val="solid"/>
                      <a:headEnd type="none" w="lg" len="med"/>
                      <a:tailEnd type="none" w="lg" len="med"/>
                    </a:ln>
                    <a:effectLst/>
                  </p:spPr>
                </p:cxnSp>
                <p:cxnSp>
                  <p:nvCxnSpPr>
                    <p:cNvPr id="252" name="Straight Connector 251">
                      <a:extLst>
                        <a:ext uri="{FF2B5EF4-FFF2-40B4-BE49-F238E27FC236}">
                          <a16:creationId xmlns:a16="http://schemas.microsoft.com/office/drawing/2014/main" id="{003A6DD0-D052-8A41-9FCA-0F61E77C2F89}"/>
                        </a:ext>
                      </a:extLst>
                    </p:cNvPr>
                    <p:cNvCxnSpPr/>
                    <p:nvPr/>
                  </p:nvCxnSpPr>
                  <p:spPr>
                    <a:xfrm>
                      <a:off x="4117783" y="4769781"/>
                      <a:ext cx="129006" cy="0"/>
                    </a:xfrm>
                    <a:prstGeom prst="line">
                      <a:avLst/>
                    </a:prstGeom>
                    <a:noFill/>
                    <a:ln w="12700" cap="flat" cmpd="sng" algn="ctr">
                      <a:solidFill>
                        <a:schemeClr val="bg1"/>
                      </a:solidFill>
                      <a:prstDash val="solid"/>
                      <a:headEnd type="none" w="lg" len="med"/>
                      <a:tailEnd type="none" w="lg" len="med"/>
                    </a:ln>
                    <a:effectLst/>
                  </p:spPr>
                </p:cxnSp>
                <p:cxnSp>
                  <p:nvCxnSpPr>
                    <p:cNvPr id="253" name="Straight Connector 252">
                      <a:extLst>
                        <a:ext uri="{FF2B5EF4-FFF2-40B4-BE49-F238E27FC236}">
                          <a16:creationId xmlns:a16="http://schemas.microsoft.com/office/drawing/2014/main" id="{E2812766-227F-B940-9E32-11EAAC18DE2A}"/>
                        </a:ext>
                      </a:extLst>
                    </p:cNvPr>
                    <p:cNvCxnSpPr/>
                    <p:nvPr/>
                  </p:nvCxnSpPr>
                  <p:spPr>
                    <a:xfrm>
                      <a:off x="4117783" y="4953845"/>
                      <a:ext cx="129006" cy="0"/>
                    </a:xfrm>
                    <a:prstGeom prst="line">
                      <a:avLst/>
                    </a:prstGeom>
                    <a:noFill/>
                    <a:ln w="12700" cap="flat" cmpd="sng" algn="ctr">
                      <a:solidFill>
                        <a:schemeClr val="bg1"/>
                      </a:solidFill>
                      <a:prstDash val="solid"/>
                      <a:headEnd type="none" w="lg" len="med"/>
                      <a:tailEnd type="none" w="lg" len="med"/>
                    </a:ln>
                    <a:effectLst/>
                  </p:spPr>
                </p:cxnSp>
                <p:cxnSp>
                  <p:nvCxnSpPr>
                    <p:cNvPr id="254" name="Straight Connector 253">
                      <a:extLst>
                        <a:ext uri="{FF2B5EF4-FFF2-40B4-BE49-F238E27FC236}">
                          <a16:creationId xmlns:a16="http://schemas.microsoft.com/office/drawing/2014/main" id="{70DD21D4-8EB4-6A4F-A3B1-8416C7D1D6A1}"/>
                        </a:ext>
                      </a:extLst>
                    </p:cNvPr>
                    <p:cNvCxnSpPr/>
                    <p:nvPr/>
                  </p:nvCxnSpPr>
                  <p:spPr>
                    <a:xfrm>
                      <a:off x="4117783" y="5045876"/>
                      <a:ext cx="129006" cy="0"/>
                    </a:xfrm>
                    <a:prstGeom prst="line">
                      <a:avLst/>
                    </a:prstGeom>
                    <a:noFill/>
                    <a:ln w="12700" cap="flat" cmpd="sng" algn="ctr">
                      <a:solidFill>
                        <a:schemeClr val="bg1"/>
                      </a:solidFill>
                      <a:prstDash val="solid"/>
                      <a:headEnd type="none" w="lg" len="med"/>
                      <a:tailEnd type="none" w="lg" len="med"/>
                    </a:ln>
                    <a:effectLst/>
                  </p:spPr>
                </p:cxnSp>
              </p:grpSp>
              <p:grpSp>
                <p:nvGrpSpPr>
                  <p:cNvPr id="246" name="Group 245">
                    <a:extLst>
                      <a:ext uri="{FF2B5EF4-FFF2-40B4-BE49-F238E27FC236}">
                        <a16:creationId xmlns:a16="http://schemas.microsoft.com/office/drawing/2014/main" id="{2C4DF166-0CAC-6449-B881-27BC9889225F}"/>
                      </a:ext>
                    </a:extLst>
                  </p:cNvPr>
                  <p:cNvGrpSpPr/>
                  <p:nvPr/>
                </p:nvGrpSpPr>
                <p:grpSpPr>
                  <a:xfrm>
                    <a:off x="3485441" y="4677750"/>
                    <a:ext cx="80152" cy="368126"/>
                    <a:chOff x="4117783" y="4677750"/>
                    <a:chExt cx="129006" cy="368126"/>
                  </a:xfrm>
                </p:grpSpPr>
                <p:cxnSp>
                  <p:nvCxnSpPr>
                    <p:cNvPr id="247" name="Straight Connector 246">
                      <a:extLst>
                        <a:ext uri="{FF2B5EF4-FFF2-40B4-BE49-F238E27FC236}">
                          <a16:creationId xmlns:a16="http://schemas.microsoft.com/office/drawing/2014/main" id="{FBAD56CD-6742-CE43-8CE3-3C7FD4A72BD6}"/>
                        </a:ext>
                      </a:extLst>
                    </p:cNvPr>
                    <p:cNvCxnSpPr/>
                    <p:nvPr/>
                  </p:nvCxnSpPr>
                  <p:spPr>
                    <a:xfrm>
                      <a:off x="4117783" y="4677750"/>
                      <a:ext cx="129006" cy="0"/>
                    </a:xfrm>
                    <a:prstGeom prst="line">
                      <a:avLst/>
                    </a:prstGeom>
                    <a:noFill/>
                    <a:ln w="12700" cap="flat" cmpd="sng" algn="ctr">
                      <a:solidFill>
                        <a:schemeClr val="bg1"/>
                      </a:solidFill>
                      <a:prstDash val="solid"/>
                      <a:headEnd type="none" w="lg" len="med"/>
                      <a:tailEnd type="none" w="lg" len="med"/>
                    </a:ln>
                    <a:effectLst/>
                  </p:spPr>
                </p:cxnSp>
                <p:cxnSp>
                  <p:nvCxnSpPr>
                    <p:cNvPr id="248" name="Straight Connector 247">
                      <a:extLst>
                        <a:ext uri="{FF2B5EF4-FFF2-40B4-BE49-F238E27FC236}">
                          <a16:creationId xmlns:a16="http://schemas.microsoft.com/office/drawing/2014/main" id="{CF3EEB42-41C8-D047-9795-A68F9F183C7E}"/>
                        </a:ext>
                      </a:extLst>
                    </p:cNvPr>
                    <p:cNvCxnSpPr/>
                    <p:nvPr/>
                  </p:nvCxnSpPr>
                  <p:spPr>
                    <a:xfrm>
                      <a:off x="4117783" y="4769781"/>
                      <a:ext cx="129006" cy="0"/>
                    </a:xfrm>
                    <a:prstGeom prst="line">
                      <a:avLst/>
                    </a:prstGeom>
                    <a:noFill/>
                    <a:ln w="12700" cap="flat" cmpd="sng" algn="ctr">
                      <a:solidFill>
                        <a:schemeClr val="bg1"/>
                      </a:solidFill>
                      <a:prstDash val="solid"/>
                      <a:headEnd type="none" w="lg" len="med"/>
                      <a:tailEnd type="none" w="lg" len="med"/>
                    </a:ln>
                    <a:effectLst/>
                  </p:spPr>
                </p:cxnSp>
                <p:cxnSp>
                  <p:nvCxnSpPr>
                    <p:cNvPr id="249" name="Straight Connector 248">
                      <a:extLst>
                        <a:ext uri="{FF2B5EF4-FFF2-40B4-BE49-F238E27FC236}">
                          <a16:creationId xmlns:a16="http://schemas.microsoft.com/office/drawing/2014/main" id="{B2A25D62-0DB3-314D-A129-74051CB0F86E}"/>
                        </a:ext>
                      </a:extLst>
                    </p:cNvPr>
                    <p:cNvCxnSpPr/>
                    <p:nvPr/>
                  </p:nvCxnSpPr>
                  <p:spPr>
                    <a:xfrm>
                      <a:off x="4117783" y="4953845"/>
                      <a:ext cx="129006" cy="0"/>
                    </a:xfrm>
                    <a:prstGeom prst="line">
                      <a:avLst/>
                    </a:prstGeom>
                    <a:noFill/>
                    <a:ln w="12700" cap="flat" cmpd="sng" algn="ctr">
                      <a:solidFill>
                        <a:schemeClr val="bg1"/>
                      </a:solidFill>
                      <a:prstDash val="solid"/>
                      <a:headEnd type="none" w="lg" len="med"/>
                      <a:tailEnd type="none" w="lg" len="med"/>
                    </a:ln>
                    <a:effectLst/>
                  </p:spPr>
                </p:cxnSp>
                <p:cxnSp>
                  <p:nvCxnSpPr>
                    <p:cNvPr id="250" name="Straight Connector 249">
                      <a:extLst>
                        <a:ext uri="{FF2B5EF4-FFF2-40B4-BE49-F238E27FC236}">
                          <a16:creationId xmlns:a16="http://schemas.microsoft.com/office/drawing/2014/main" id="{66560672-B124-E84A-BB65-D64DA4DEF36F}"/>
                        </a:ext>
                      </a:extLst>
                    </p:cNvPr>
                    <p:cNvCxnSpPr/>
                    <p:nvPr/>
                  </p:nvCxnSpPr>
                  <p:spPr>
                    <a:xfrm>
                      <a:off x="4117783" y="5045876"/>
                      <a:ext cx="129006" cy="0"/>
                    </a:xfrm>
                    <a:prstGeom prst="line">
                      <a:avLst/>
                    </a:prstGeom>
                    <a:noFill/>
                    <a:ln w="12700" cap="flat" cmpd="sng" algn="ctr">
                      <a:solidFill>
                        <a:schemeClr val="bg1"/>
                      </a:solidFill>
                      <a:prstDash val="solid"/>
                      <a:headEnd type="none" w="lg" len="med"/>
                      <a:tailEnd type="none" w="lg" len="med"/>
                    </a:ln>
                    <a:effectLst/>
                  </p:spPr>
                </p:cxnSp>
              </p:grpSp>
            </p:grpSp>
            <p:grpSp>
              <p:nvGrpSpPr>
                <p:cNvPr id="228" name="Group 227">
                  <a:extLst>
                    <a:ext uri="{FF2B5EF4-FFF2-40B4-BE49-F238E27FC236}">
                      <a16:creationId xmlns:a16="http://schemas.microsoft.com/office/drawing/2014/main" id="{45794A02-CDAA-8E49-941F-163FBD14EA1F}"/>
                    </a:ext>
                  </a:extLst>
                </p:cNvPr>
                <p:cNvGrpSpPr/>
                <p:nvPr/>
              </p:nvGrpSpPr>
              <p:grpSpPr>
                <a:xfrm rot="5400000">
                  <a:off x="3480396" y="4677750"/>
                  <a:ext cx="712494" cy="368126"/>
                  <a:chOff x="3485441" y="4677750"/>
                  <a:chExt cx="712494" cy="368126"/>
                </a:xfrm>
              </p:grpSpPr>
              <p:grpSp>
                <p:nvGrpSpPr>
                  <p:cNvPr id="229" name="Group 228">
                    <a:extLst>
                      <a:ext uri="{FF2B5EF4-FFF2-40B4-BE49-F238E27FC236}">
                        <a16:creationId xmlns:a16="http://schemas.microsoft.com/office/drawing/2014/main" id="{5EA2047D-313C-8C43-93F4-1E516341B0AE}"/>
                      </a:ext>
                    </a:extLst>
                  </p:cNvPr>
                  <p:cNvGrpSpPr/>
                  <p:nvPr/>
                </p:nvGrpSpPr>
                <p:grpSpPr>
                  <a:xfrm>
                    <a:off x="4117783" y="4677750"/>
                    <a:ext cx="80152" cy="368126"/>
                    <a:chOff x="4117783" y="4677750"/>
                    <a:chExt cx="129006" cy="368126"/>
                  </a:xfrm>
                </p:grpSpPr>
                <p:cxnSp>
                  <p:nvCxnSpPr>
                    <p:cNvPr id="235" name="Straight Connector 234">
                      <a:extLst>
                        <a:ext uri="{FF2B5EF4-FFF2-40B4-BE49-F238E27FC236}">
                          <a16:creationId xmlns:a16="http://schemas.microsoft.com/office/drawing/2014/main" id="{FB3B905B-0C2F-D442-BE28-C70858909A1A}"/>
                        </a:ext>
                      </a:extLst>
                    </p:cNvPr>
                    <p:cNvCxnSpPr/>
                    <p:nvPr/>
                  </p:nvCxnSpPr>
                  <p:spPr>
                    <a:xfrm>
                      <a:off x="4117783" y="4677750"/>
                      <a:ext cx="129006" cy="0"/>
                    </a:xfrm>
                    <a:prstGeom prst="line">
                      <a:avLst/>
                    </a:prstGeom>
                    <a:noFill/>
                    <a:ln w="12700" cap="flat" cmpd="sng" algn="ctr">
                      <a:solidFill>
                        <a:schemeClr val="bg1"/>
                      </a:solidFill>
                      <a:prstDash val="solid"/>
                      <a:headEnd type="none" w="lg" len="med"/>
                      <a:tailEnd type="none" w="lg" len="med"/>
                    </a:ln>
                    <a:effectLst/>
                  </p:spPr>
                </p:cxnSp>
                <p:cxnSp>
                  <p:nvCxnSpPr>
                    <p:cNvPr id="236" name="Straight Connector 235">
                      <a:extLst>
                        <a:ext uri="{FF2B5EF4-FFF2-40B4-BE49-F238E27FC236}">
                          <a16:creationId xmlns:a16="http://schemas.microsoft.com/office/drawing/2014/main" id="{AE683454-A7A4-F044-BCB6-34580C98A856}"/>
                        </a:ext>
                      </a:extLst>
                    </p:cNvPr>
                    <p:cNvCxnSpPr/>
                    <p:nvPr/>
                  </p:nvCxnSpPr>
                  <p:spPr>
                    <a:xfrm>
                      <a:off x="4117783" y="4769781"/>
                      <a:ext cx="129006" cy="0"/>
                    </a:xfrm>
                    <a:prstGeom prst="line">
                      <a:avLst/>
                    </a:prstGeom>
                    <a:noFill/>
                    <a:ln w="12700" cap="flat" cmpd="sng" algn="ctr">
                      <a:solidFill>
                        <a:schemeClr val="bg1"/>
                      </a:solidFill>
                      <a:prstDash val="solid"/>
                      <a:headEnd type="none" w="lg" len="med"/>
                      <a:tailEnd type="none" w="lg" len="med"/>
                    </a:ln>
                    <a:effectLst/>
                  </p:spPr>
                </p:cxnSp>
                <p:cxnSp>
                  <p:nvCxnSpPr>
                    <p:cNvPr id="237" name="Straight Connector 236">
                      <a:extLst>
                        <a:ext uri="{FF2B5EF4-FFF2-40B4-BE49-F238E27FC236}">
                          <a16:creationId xmlns:a16="http://schemas.microsoft.com/office/drawing/2014/main" id="{15BE36F2-C5CE-AD4E-A54E-C5A00F59FB10}"/>
                        </a:ext>
                      </a:extLst>
                    </p:cNvPr>
                    <p:cNvCxnSpPr/>
                    <p:nvPr/>
                  </p:nvCxnSpPr>
                  <p:spPr>
                    <a:xfrm>
                      <a:off x="4117783" y="4953845"/>
                      <a:ext cx="129006" cy="0"/>
                    </a:xfrm>
                    <a:prstGeom prst="line">
                      <a:avLst/>
                    </a:prstGeom>
                    <a:noFill/>
                    <a:ln w="12700" cap="flat" cmpd="sng" algn="ctr">
                      <a:solidFill>
                        <a:schemeClr val="bg1"/>
                      </a:solidFill>
                      <a:prstDash val="solid"/>
                      <a:headEnd type="none" w="lg" len="med"/>
                      <a:tailEnd type="none" w="lg" len="med"/>
                    </a:ln>
                    <a:effectLst/>
                  </p:spPr>
                </p:cxnSp>
                <p:cxnSp>
                  <p:nvCxnSpPr>
                    <p:cNvPr id="238" name="Straight Connector 237">
                      <a:extLst>
                        <a:ext uri="{FF2B5EF4-FFF2-40B4-BE49-F238E27FC236}">
                          <a16:creationId xmlns:a16="http://schemas.microsoft.com/office/drawing/2014/main" id="{FD9B78B6-1625-8149-AC65-6899F5582DBD}"/>
                        </a:ext>
                      </a:extLst>
                    </p:cNvPr>
                    <p:cNvCxnSpPr/>
                    <p:nvPr/>
                  </p:nvCxnSpPr>
                  <p:spPr>
                    <a:xfrm>
                      <a:off x="4117783" y="5045876"/>
                      <a:ext cx="129006" cy="0"/>
                    </a:xfrm>
                    <a:prstGeom prst="line">
                      <a:avLst/>
                    </a:prstGeom>
                    <a:noFill/>
                    <a:ln w="12700" cap="flat" cmpd="sng" algn="ctr">
                      <a:solidFill>
                        <a:schemeClr val="bg1"/>
                      </a:solidFill>
                      <a:prstDash val="solid"/>
                      <a:headEnd type="none" w="lg" len="med"/>
                      <a:tailEnd type="none" w="lg" len="med"/>
                    </a:ln>
                    <a:effectLst/>
                  </p:spPr>
                </p:cxnSp>
              </p:grpSp>
              <p:grpSp>
                <p:nvGrpSpPr>
                  <p:cNvPr id="230" name="Group 229">
                    <a:extLst>
                      <a:ext uri="{FF2B5EF4-FFF2-40B4-BE49-F238E27FC236}">
                        <a16:creationId xmlns:a16="http://schemas.microsoft.com/office/drawing/2014/main" id="{8A54DEA8-7F53-3F45-8D2D-898A94D8A5ED}"/>
                      </a:ext>
                    </a:extLst>
                  </p:cNvPr>
                  <p:cNvGrpSpPr/>
                  <p:nvPr/>
                </p:nvGrpSpPr>
                <p:grpSpPr>
                  <a:xfrm>
                    <a:off x="3485441" y="4677750"/>
                    <a:ext cx="80152" cy="368126"/>
                    <a:chOff x="4117783" y="4677750"/>
                    <a:chExt cx="129006" cy="368126"/>
                  </a:xfrm>
                </p:grpSpPr>
                <p:cxnSp>
                  <p:nvCxnSpPr>
                    <p:cNvPr id="231" name="Straight Connector 230">
                      <a:extLst>
                        <a:ext uri="{FF2B5EF4-FFF2-40B4-BE49-F238E27FC236}">
                          <a16:creationId xmlns:a16="http://schemas.microsoft.com/office/drawing/2014/main" id="{8066BD76-FD57-9641-B9E0-5489317C7CE5}"/>
                        </a:ext>
                      </a:extLst>
                    </p:cNvPr>
                    <p:cNvCxnSpPr/>
                    <p:nvPr/>
                  </p:nvCxnSpPr>
                  <p:spPr>
                    <a:xfrm>
                      <a:off x="4117783" y="4677750"/>
                      <a:ext cx="129006" cy="0"/>
                    </a:xfrm>
                    <a:prstGeom prst="line">
                      <a:avLst/>
                    </a:prstGeom>
                    <a:noFill/>
                    <a:ln w="12700" cap="flat" cmpd="sng" algn="ctr">
                      <a:solidFill>
                        <a:schemeClr val="bg1"/>
                      </a:solidFill>
                      <a:prstDash val="solid"/>
                      <a:headEnd type="none" w="lg" len="med"/>
                      <a:tailEnd type="none" w="lg" len="med"/>
                    </a:ln>
                    <a:effectLst/>
                  </p:spPr>
                </p:cxnSp>
                <p:cxnSp>
                  <p:nvCxnSpPr>
                    <p:cNvPr id="232" name="Straight Connector 231">
                      <a:extLst>
                        <a:ext uri="{FF2B5EF4-FFF2-40B4-BE49-F238E27FC236}">
                          <a16:creationId xmlns:a16="http://schemas.microsoft.com/office/drawing/2014/main" id="{2F88172B-2EF2-3040-9441-CC688B826354}"/>
                        </a:ext>
                      </a:extLst>
                    </p:cNvPr>
                    <p:cNvCxnSpPr/>
                    <p:nvPr/>
                  </p:nvCxnSpPr>
                  <p:spPr>
                    <a:xfrm>
                      <a:off x="4117783" y="4769781"/>
                      <a:ext cx="129006" cy="0"/>
                    </a:xfrm>
                    <a:prstGeom prst="line">
                      <a:avLst/>
                    </a:prstGeom>
                    <a:noFill/>
                    <a:ln w="12700" cap="flat" cmpd="sng" algn="ctr">
                      <a:solidFill>
                        <a:schemeClr val="bg1"/>
                      </a:solidFill>
                      <a:prstDash val="solid"/>
                      <a:headEnd type="none" w="lg" len="med"/>
                      <a:tailEnd type="none" w="lg" len="med"/>
                    </a:ln>
                    <a:effectLst/>
                  </p:spPr>
                </p:cxnSp>
                <p:cxnSp>
                  <p:nvCxnSpPr>
                    <p:cNvPr id="233" name="Straight Connector 232">
                      <a:extLst>
                        <a:ext uri="{FF2B5EF4-FFF2-40B4-BE49-F238E27FC236}">
                          <a16:creationId xmlns:a16="http://schemas.microsoft.com/office/drawing/2014/main" id="{191EB531-702B-764F-8A0B-FEA6C2CD105B}"/>
                        </a:ext>
                      </a:extLst>
                    </p:cNvPr>
                    <p:cNvCxnSpPr/>
                    <p:nvPr/>
                  </p:nvCxnSpPr>
                  <p:spPr>
                    <a:xfrm>
                      <a:off x="4117783" y="4953845"/>
                      <a:ext cx="129006" cy="0"/>
                    </a:xfrm>
                    <a:prstGeom prst="line">
                      <a:avLst/>
                    </a:prstGeom>
                    <a:noFill/>
                    <a:ln w="12700" cap="flat" cmpd="sng" algn="ctr">
                      <a:solidFill>
                        <a:schemeClr val="bg1"/>
                      </a:solidFill>
                      <a:prstDash val="solid"/>
                      <a:headEnd type="none" w="lg" len="med"/>
                      <a:tailEnd type="none" w="lg" len="med"/>
                    </a:ln>
                    <a:effectLst/>
                  </p:spPr>
                </p:cxnSp>
                <p:cxnSp>
                  <p:nvCxnSpPr>
                    <p:cNvPr id="234" name="Straight Connector 233">
                      <a:extLst>
                        <a:ext uri="{FF2B5EF4-FFF2-40B4-BE49-F238E27FC236}">
                          <a16:creationId xmlns:a16="http://schemas.microsoft.com/office/drawing/2014/main" id="{481D3B61-C633-F642-A8B8-7C31CD5EEFB5}"/>
                        </a:ext>
                      </a:extLst>
                    </p:cNvPr>
                    <p:cNvCxnSpPr/>
                    <p:nvPr/>
                  </p:nvCxnSpPr>
                  <p:spPr>
                    <a:xfrm>
                      <a:off x="4117783" y="5045876"/>
                      <a:ext cx="129006" cy="0"/>
                    </a:xfrm>
                    <a:prstGeom prst="line">
                      <a:avLst/>
                    </a:prstGeom>
                    <a:noFill/>
                    <a:ln w="12700" cap="flat" cmpd="sng" algn="ctr">
                      <a:solidFill>
                        <a:schemeClr val="bg1"/>
                      </a:solidFill>
                      <a:prstDash val="solid"/>
                      <a:headEnd type="none" w="lg" len="med"/>
                      <a:tailEnd type="none" w="lg" len="med"/>
                    </a:ln>
                    <a:effectLst/>
                  </p:spPr>
                </p:cxnSp>
              </p:grpSp>
            </p:grpSp>
          </p:grpSp>
          <p:sp>
            <p:nvSpPr>
              <p:cNvPr id="225" name="Freeform: Shape 520">
                <a:extLst>
                  <a:ext uri="{FF2B5EF4-FFF2-40B4-BE49-F238E27FC236}">
                    <a16:creationId xmlns:a16="http://schemas.microsoft.com/office/drawing/2014/main" id="{6911DE6C-F9DC-2E4F-BCC7-C25C8BC78AD2}"/>
                  </a:ext>
                </a:extLst>
              </p:cNvPr>
              <p:cNvSpPr/>
              <p:nvPr/>
            </p:nvSpPr>
            <p:spPr bwMode="auto">
              <a:xfrm>
                <a:off x="10124345" y="3293573"/>
                <a:ext cx="71612" cy="91319"/>
              </a:xfrm>
              <a:custGeom>
                <a:avLst/>
                <a:gdLst>
                  <a:gd name="connsiteX0" fmla="*/ 699778 w 974972"/>
                  <a:gd name="connsiteY0" fmla="*/ 0 h 1504393"/>
                  <a:gd name="connsiteX1" fmla="*/ 502371 w 974972"/>
                  <a:gd name="connsiteY1" fmla="*/ 571355 h 1504393"/>
                  <a:gd name="connsiteX2" fmla="*/ 597565 w 974972"/>
                  <a:gd name="connsiteY2" fmla="*/ 571355 h 1504393"/>
                  <a:gd name="connsiteX3" fmla="*/ 629015 w 974972"/>
                  <a:gd name="connsiteY3" fmla="*/ 571355 h 1504393"/>
                  <a:gd name="connsiteX4" fmla="*/ 974972 w 974972"/>
                  <a:gd name="connsiteY4" fmla="*/ 571355 h 1504393"/>
                  <a:gd name="connsiteX5" fmla="*/ 275193 w 974972"/>
                  <a:gd name="connsiteY5" fmla="*/ 1504393 h 1504393"/>
                  <a:gd name="connsiteX6" fmla="*/ 472601 w 974972"/>
                  <a:gd name="connsiteY6" fmla="*/ 933038 h 1504393"/>
                  <a:gd name="connsiteX7" fmla="*/ 377407 w 974972"/>
                  <a:gd name="connsiteY7" fmla="*/ 933038 h 1504393"/>
                  <a:gd name="connsiteX8" fmla="*/ 349889 w 974972"/>
                  <a:gd name="connsiteY8" fmla="*/ 933038 h 1504393"/>
                  <a:gd name="connsiteX9" fmla="*/ 0 w 974972"/>
                  <a:gd name="connsiteY9" fmla="*/ 933038 h 1504393"/>
                  <a:gd name="connsiteX10" fmla="*/ 699778 w 974972"/>
                  <a:gd name="connsiteY10" fmla="*/ 0 h 150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4972" h="1504393">
                    <a:moveTo>
                      <a:pt x="699778" y="0"/>
                    </a:moveTo>
                    <a:lnTo>
                      <a:pt x="502371" y="571355"/>
                    </a:lnTo>
                    <a:lnTo>
                      <a:pt x="597565" y="571355"/>
                    </a:lnTo>
                    <a:lnTo>
                      <a:pt x="629015" y="571355"/>
                    </a:lnTo>
                    <a:lnTo>
                      <a:pt x="974972" y="571355"/>
                    </a:lnTo>
                    <a:lnTo>
                      <a:pt x="275193" y="1504393"/>
                    </a:lnTo>
                    <a:lnTo>
                      <a:pt x="472601" y="933038"/>
                    </a:lnTo>
                    <a:lnTo>
                      <a:pt x="377407" y="933038"/>
                    </a:lnTo>
                    <a:lnTo>
                      <a:pt x="349889" y="933038"/>
                    </a:lnTo>
                    <a:lnTo>
                      <a:pt x="0" y="933038"/>
                    </a:lnTo>
                    <a:lnTo>
                      <a:pt x="699778" y="0"/>
                    </a:lnTo>
                    <a:close/>
                  </a:path>
                </a:pathLst>
              </a:custGeom>
              <a:noFill/>
              <a:ln w="1270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defRPr/>
                </a:pPr>
                <a:endParaRPr lang="en-US" sz="1836" kern="0">
                  <a:solidFill>
                    <a:srgbClr val="0078D4"/>
                  </a:solidFill>
                  <a:latin typeface="Segoe UI"/>
                  <a:cs typeface="Segoe UI" pitchFamily="34" charset="0"/>
                </a:endParaRPr>
              </a:p>
            </p:txBody>
          </p:sp>
        </p:grpSp>
        <p:sp>
          <p:nvSpPr>
            <p:cNvPr id="289" name="TextBox 288">
              <a:extLst>
                <a:ext uri="{FF2B5EF4-FFF2-40B4-BE49-F238E27FC236}">
                  <a16:creationId xmlns:a16="http://schemas.microsoft.com/office/drawing/2014/main" id="{696FB692-0959-9248-A447-E9E618A2A945}"/>
                </a:ext>
              </a:extLst>
            </p:cNvPr>
            <p:cNvSpPr txBox="1"/>
            <p:nvPr/>
          </p:nvSpPr>
          <p:spPr>
            <a:xfrm>
              <a:off x="10670439" y="5225182"/>
              <a:ext cx="383435" cy="323165"/>
            </a:xfrm>
            <a:prstGeom prst="rect">
              <a:avLst/>
            </a:prstGeom>
            <a:noFill/>
            <a:ln>
              <a:noFill/>
            </a:ln>
          </p:spPr>
          <p:txBody>
            <a:bodyPr wrap="square" lIns="0" tIns="0" rIns="0" bIns="139891"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defTabSz="685274">
                <a:spcAft>
                  <a:spcPts val="450"/>
                </a:spcAft>
                <a:defRPr/>
              </a:pPr>
              <a:r>
                <a:rPr lang="en-US" sz="765" kern="0" dirty="0">
                  <a:solidFill>
                    <a:prstClr val="white"/>
                  </a:solidFill>
                </a:rPr>
                <a:t>FPGA</a:t>
              </a:r>
            </a:p>
          </p:txBody>
        </p:sp>
      </p:grpSp>
      <p:grpSp>
        <p:nvGrpSpPr>
          <p:cNvPr id="12" name="Group 11">
            <a:extLst>
              <a:ext uri="{FF2B5EF4-FFF2-40B4-BE49-F238E27FC236}">
                <a16:creationId xmlns:a16="http://schemas.microsoft.com/office/drawing/2014/main" id="{DFA9504D-A4CB-A949-8A0B-BFCDBB16A667}"/>
              </a:ext>
            </a:extLst>
          </p:cNvPr>
          <p:cNvGrpSpPr/>
          <p:nvPr/>
        </p:nvGrpSpPr>
        <p:grpSpPr>
          <a:xfrm>
            <a:off x="6405337" y="3122885"/>
            <a:ext cx="1370927" cy="636611"/>
            <a:chOff x="6390930" y="3728137"/>
            <a:chExt cx="1792224" cy="832246"/>
          </a:xfrm>
          <a:solidFill>
            <a:schemeClr val="accent1"/>
          </a:solidFill>
        </p:grpSpPr>
        <p:sp>
          <p:nvSpPr>
            <p:cNvPr id="149" name="TextBox 148">
              <a:extLst>
                <a:ext uri="{FF2B5EF4-FFF2-40B4-BE49-F238E27FC236}">
                  <a16:creationId xmlns:a16="http://schemas.microsoft.com/office/drawing/2014/main" id="{7B2E1386-1CEA-6A45-ADBB-8DBF1D8DE03D}"/>
                </a:ext>
              </a:extLst>
            </p:cNvPr>
            <p:cNvSpPr txBox="1"/>
            <p:nvPr/>
          </p:nvSpPr>
          <p:spPr>
            <a:xfrm>
              <a:off x="6390930" y="4237218"/>
              <a:ext cx="1792224" cy="323165"/>
            </a:xfrm>
            <a:prstGeom prst="rect">
              <a:avLst/>
            </a:prstGeom>
            <a:noFill/>
            <a:ln>
              <a:noFill/>
            </a:ln>
          </p:spPr>
          <p:txBody>
            <a:bodyPr wrap="square" lIns="0" tIns="0" rIns="0" bIns="139891"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23423">
                        <a:schemeClr val="tx1"/>
                      </a:gs>
                      <a:gs pos="66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pPr defTabSz="685274">
                <a:spcAft>
                  <a:spcPts val="450"/>
                </a:spcAft>
                <a:defRPr/>
              </a:pPr>
              <a:r>
                <a:rPr lang="en-US" sz="765" kern="0" dirty="0">
                  <a:solidFill>
                    <a:prstClr val="white"/>
                  </a:solidFill>
                </a:rPr>
                <a:t>Azure Databricks</a:t>
              </a:r>
            </a:p>
          </p:txBody>
        </p:sp>
        <p:grpSp>
          <p:nvGrpSpPr>
            <p:cNvPr id="290" name="Group 289">
              <a:extLst>
                <a:ext uri="{FF2B5EF4-FFF2-40B4-BE49-F238E27FC236}">
                  <a16:creationId xmlns:a16="http://schemas.microsoft.com/office/drawing/2014/main" id="{D5BF6D50-B243-BD40-A516-45F2A73E612F}"/>
                </a:ext>
              </a:extLst>
            </p:cNvPr>
            <p:cNvGrpSpPr/>
            <p:nvPr/>
          </p:nvGrpSpPr>
          <p:grpSpPr>
            <a:xfrm>
              <a:off x="7126482" y="3728137"/>
              <a:ext cx="312189" cy="318206"/>
              <a:chOff x="7158422" y="1607015"/>
              <a:chExt cx="2726357" cy="2778898"/>
            </a:xfrm>
            <a:grpFill/>
          </p:grpSpPr>
          <p:sp>
            <p:nvSpPr>
              <p:cNvPr id="291" name="Freeform 290">
                <a:extLst>
                  <a:ext uri="{FF2B5EF4-FFF2-40B4-BE49-F238E27FC236}">
                    <a16:creationId xmlns:a16="http://schemas.microsoft.com/office/drawing/2014/main" id="{6226F594-328B-0E43-A9A4-624EF8E1350D}"/>
                  </a:ext>
                </a:extLst>
              </p:cNvPr>
              <p:cNvSpPr/>
              <p:nvPr/>
            </p:nvSpPr>
            <p:spPr bwMode="auto">
              <a:xfrm>
                <a:off x="7158422" y="2971802"/>
                <a:ext cx="2726357" cy="1414111"/>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grpFill/>
              <a:ln w="12700" cap="flat">
                <a:solidFill>
                  <a:schemeClr val="bg1"/>
                </a:solidFill>
                <a:bevel/>
                <a:headEnd/>
                <a:tailEnd/>
              </a:ln>
              <a:effectLst/>
            </p:spPr>
            <p:txBody>
              <a:bodyPr rot="0" spcFirstLastPara="0" vertOverflow="overflow" horzOverflow="overflow" vert="horz" wrap="square" lIns="69945" tIns="34973" rIns="69945" bIns="34973" numCol="1" spcCol="0" rtlCol="0" fromWordArt="0" anchor="ctr" anchorCtr="0" forceAA="0" compatLnSpc="1">
                <a:prstTxWarp prst="textNoShape">
                  <a:avLst/>
                </a:prstTxWarp>
                <a:noAutofit/>
              </a:bodyPr>
              <a:lstStyle/>
              <a:p>
                <a:pPr defTabSz="699447">
                  <a:defRPr/>
                </a:pPr>
                <a:endParaRPr lang="en-US" sz="1377">
                  <a:solidFill>
                    <a:prstClr val="black"/>
                  </a:solidFill>
                  <a:latin typeface="Arial" charset="0"/>
                  <a:ea typeface="Arial" charset="0"/>
                  <a:cs typeface="Arial" charset="0"/>
                </a:endParaRPr>
              </a:p>
            </p:txBody>
          </p:sp>
          <p:sp>
            <p:nvSpPr>
              <p:cNvPr id="292" name="Diamond 291">
                <a:extLst>
                  <a:ext uri="{FF2B5EF4-FFF2-40B4-BE49-F238E27FC236}">
                    <a16:creationId xmlns:a16="http://schemas.microsoft.com/office/drawing/2014/main" id="{EE111209-32C4-5A44-9944-9383E91F1E3C}"/>
                  </a:ext>
                </a:extLst>
              </p:cNvPr>
              <p:cNvSpPr/>
              <p:nvPr/>
            </p:nvSpPr>
            <p:spPr bwMode="auto">
              <a:xfrm>
                <a:off x="7158422" y="2521415"/>
                <a:ext cx="2726357" cy="1414112"/>
              </a:xfrm>
              <a:prstGeom prst="diamond">
                <a:avLst/>
              </a:prstGeom>
              <a:grpFill/>
              <a:ln w="12700" cap="flat">
                <a:solidFill>
                  <a:schemeClr val="bg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defRPr/>
                </a:pPr>
                <a:endParaRPr lang="en-US" sz="1836">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93" name="Freeform 292">
                <a:extLst>
                  <a:ext uri="{FF2B5EF4-FFF2-40B4-BE49-F238E27FC236}">
                    <a16:creationId xmlns:a16="http://schemas.microsoft.com/office/drawing/2014/main" id="{7971452A-32CC-BB4E-9C50-BC7DABC15AFB}"/>
                  </a:ext>
                </a:extLst>
              </p:cNvPr>
              <p:cNvSpPr/>
              <p:nvPr/>
            </p:nvSpPr>
            <p:spPr bwMode="auto">
              <a:xfrm>
                <a:off x="7158422" y="2057402"/>
                <a:ext cx="2726357" cy="1414113"/>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grpFill/>
              <a:ln w="12700" cap="flat">
                <a:solidFill>
                  <a:schemeClr val="bg1"/>
                </a:solidFill>
                <a:bevel/>
                <a:headEnd/>
                <a:tailEnd/>
              </a:ln>
              <a:effectLst/>
            </p:spPr>
            <p:txBody>
              <a:bodyPr rot="0" spcFirstLastPara="0" vertOverflow="overflow" horzOverflow="overflow" vert="horz" wrap="square" lIns="69945" tIns="34973" rIns="69945" bIns="34973" numCol="1" spcCol="0" rtlCol="0" fromWordArt="0" anchor="ctr" anchorCtr="0" forceAA="0" compatLnSpc="1">
                <a:prstTxWarp prst="textNoShape">
                  <a:avLst/>
                </a:prstTxWarp>
                <a:noAutofit/>
              </a:bodyPr>
              <a:lstStyle/>
              <a:p>
                <a:pPr defTabSz="699447">
                  <a:defRPr/>
                </a:pPr>
                <a:endParaRPr lang="en-US" sz="1377">
                  <a:solidFill>
                    <a:prstClr val="black"/>
                  </a:solidFill>
                  <a:latin typeface="Arial" charset="0"/>
                  <a:ea typeface="Arial" charset="0"/>
                  <a:cs typeface="Arial" charset="0"/>
                </a:endParaRPr>
              </a:p>
            </p:txBody>
          </p:sp>
          <p:sp>
            <p:nvSpPr>
              <p:cNvPr id="294" name="Diamond 293">
                <a:extLst>
                  <a:ext uri="{FF2B5EF4-FFF2-40B4-BE49-F238E27FC236}">
                    <a16:creationId xmlns:a16="http://schemas.microsoft.com/office/drawing/2014/main" id="{1A385706-222C-EB41-8A8C-A56D2C66E2F8}"/>
                  </a:ext>
                </a:extLst>
              </p:cNvPr>
              <p:cNvSpPr/>
              <p:nvPr/>
            </p:nvSpPr>
            <p:spPr bwMode="auto">
              <a:xfrm>
                <a:off x="7158422" y="1607015"/>
                <a:ext cx="2726357" cy="1414112"/>
              </a:xfrm>
              <a:prstGeom prst="diamond">
                <a:avLst/>
              </a:prstGeom>
              <a:grpFill/>
              <a:ln w="12700" cap="flat">
                <a:solidFill>
                  <a:schemeClr val="bg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defRPr/>
                </a:pPr>
                <a:endParaRPr lang="en-US" sz="1836">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14" name="Group 13">
            <a:extLst>
              <a:ext uri="{FF2B5EF4-FFF2-40B4-BE49-F238E27FC236}">
                <a16:creationId xmlns:a16="http://schemas.microsoft.com/office/drawing/2014/main" id="{04E37559-B4ED-2D47-BC86-37B23677E950}"/>
              </a:ext>
            </a:extLst>
          </p:cNvPr>
          <p:cNvGrpSpPr/>
          <p:nvPr/>
        </p:nvGrpSpPr>
        <p:grpSpPr>
          <a:xfrm>
            <a:off x="9140050" y="3118842"/>
            <a:ext cx="1370927" cy="640653"/>
            <a:chOff x="9966044" y="3722853"/>
            <a:chExt cx="1792224" cy="837530"/>
          </a:xfrm>
          <a:noFill/>
        </p:grpSpPr>
        <p:sp>
          <p:nvSpPr>
            <p:cNvPr id="150" name="TextBox 149">
              <a:extLst>
                <a:ext uri="{FF2B5EF4-FFF2-40B4-BE49-F238E27FC236}">
                  <a16:creationId xmlns:a16="http://schemas.microsoft.com/office/drawing/2014/main" id="{63ABDF00-39B5-C640-B6D0-17BB8539DEDD}"/>
                </a:ext>
              </a:extLst>
            </p:cNvPr>
            <p:cNvSpPr txBox="1"/>
            <p:nvPr/>
          </p:nvSpPr>
          <p:spPr>
            <a:xfrm>
              <a:off x="9966044" y="4237218"/>
              <a:ext cx="1792224" cy="323165"/>
            </a:xfrm>
            <a:prstGeom prst="rect">
              <a:avLst/>
            </a:prstGeom>
            <a:grpFill/>
            <a:ln>
              <a:noFill/>
            </a:ln>
          </p:spPr>
          <p:txBody>
            <a:bodyPr wrap="square" lIns="0" tIns="0" rIns="0" bIns="139891"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23423">
                        <a:schemeClr val="tx1"/>
                      </a:gs>
                      <a:gs pos="66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pPr defTabSz="685274">
                <a:spcAft>
                  <a:spcPts val="450"/>
                </a:spcAft>
                <a:defRPr/>
              </a:pPr>
              <a:r>
                <a:rPr lang="en-US" sz="765" kern="0" dirty="0">
                  <a:solidFill>
                    <a:prstClr val="white"/>
                  </a:solidFill>
                </a:rPr>
                <a:t>Machine Learning VMs</a:t>
              </a:r>
            </a:p>
          </p:txBody>
        </p:sp>
        <p:grpSp>
          <p:nvGrpSpPr>
            <p:cNvPr id="295" name="Group 294">
              <a:extLst>
                <a:ext uri="{FF2B5EF4-FFF2-40B4-BE49-F238E27FC236}">
                  <a16:creationId xmlns:a16="http://schemas.microsoft.com/office/drawing/2014/main" id="{5288CD1C-7D59-254A-87A8-A16BA49C7BF8}"/>
                </a:ext>
              </a:extLst>
            </p:cNvPr>
            <p:cNvGrpSpPr/>
            <p:nvPr/>
          </p:nvGrpSpPr>
          <p:grpSpPr>
            <a:xfrm>
              <a:off x="10635207" y="3722853"/>
              <a:ext cx="460699" cy="348263"/>
              <a:chOff x="7669747" y="4810232"/>
              <a:chExt cx="520064" cy="393139"/>
            </a:xfrm>
            <a:grpFill/>
          </p:grpSpPr>
          <p:grpSp>
            <p:nvGrpSpPr>
              <p:cNvPr id="296" name="Group 4">
                <a:extLst>
                  <a:ext uri="{FF2B5EF4-FFF2-40B4-BE49-F238E27FC236}">
                    <a16:creationId xmlns:a16="http://schemas.microsoft.com/office/drawing/2014/main" id="{50607B76-8389-D34D-B362-B8204E01E996}"/>
                  </a:ext>
                </a:extLst>
              </p:cNvPr>
              <p:cNvGrpSpPr>
                <a:grpSpLocks noChangeAspect="1"/>
              </p:cNvGrpSpPr>
              <p:nvPr/>
            </p:nvGrpSpPr>
            <p:grpSpPr bwMode="auto">
              <a:xfrm>
                <a:off x="7669747" y="4810232"/>
                <a:ext cx="520064" cy="393139"/>
                <a:chOff x="3728" y="2083"/>
                <a:chExt cx="245" cy="174"/>
              </a:xfrm>
              <a:grpFill/>
            </p:grpSpPr>
            <p:sp>
              <p:nvSpPr>
                <p:cNvPr id="302" name="Rectangle 301">
                  <a:extLst>
                    <a:ext uri="{FF2B5EF4-FFF2-40B4-BE49-F238E27FC236}">
                      <a16:creationId xmlns:a16="http://schemas.microsoft.com/office/drawing/2014/main" id="{54F7AD1C-BE1F-914B-8F72-FA0B69F2138A}"/>
                    </a:ext>
                  </a:extLst>
                </p:cNvPr>
                <p:cNvSpPr>
                  <a:spLocks noChangeArrowheads="1"/>
                </p:cNvSpPr>
                <p:nvPr/>
              </p:nvSpPr>
              <p:spPr bwMode="auto">
                <a:xfrm>
                  <a:off x="3728" y="2083"/>
                  <a:ext cx="245" cy="138"/>
                </a:xfrm>
                <a:prstGeom prst="rect">
                  <a:avLst/>
                </a:prstGeom>
                <a:grpFill/>
                <a:ln w="12700" cap="rnd">
                  <a:solidFill>
                    <a:schemeClr val="bg1"/>
                  </a:solidFill>
                  <a:prstDash val="solid"/>
                  <a:miter lim="800000"/>
                  <a:headEnd/>
                  <a:tailEnd/>
                </a:ln>
              </p:spPr>
              <p:txBody>
                <a:bodyPr vert="horz" wrap="square" lIns="69945" tIns="34973" rIns="69945" bIns="34973" numCol="1" anchor="t" anchorCtr="0" compatLnSpc="1">
                  <a:prstTxWarp prst="textNoShape">
                    <a:avLst/>
                  </a:prstTxWarp>
                </a:bodyPr>
                <a:lstStyle/>
                <a:p>
                  <a:pPr defTabSz="713478">
                    <a:defRPr/>
                  </a:pPr>
                  <a:endParaRPr lang="en-US" sz="1377" dirty="0">
                    <a:solidFill>
                      <a:srgbClr val="505050"/>
                    </a:solidFill>
                    <a:latin typeface="Segoe UI Semilight"/>
                  </a:endParaRPr>
                </a:p>
              </p:txBody>
            </p:sp>
            <p:sp>
              <p:nvSpPr>
                <p:cNvPr id="305" name="Line 7">
                  <a:extLst>
                    <a:ext uri="{FF2B5EF4-FFF2-40B4-BE49-F238E27FC236}">
                      <a16:creationId xmlns:a16="http://schemas.microsoft.com/office/drawing/2014/main" id="{9D404E83-8C23-0B41-9097-884E8EE81265}"/>
                    </a:ext>
                  </a:extLst>
                </p:cNvPr>
                <p:cNvSpPr>
                  <a:spLocks noChangeShapeType="1"/>
                </p:cNvSpPr>
                <p:nvPr/>
              </p:nvSpPr>
              <p:spPr bwMode="auto">
                <a:xfrm>
                  <a:off x="3850" y="2221"/>
                  <a:ext cx="0" cy="36"/>
                </a:xfrm>
                <a:prstGeom prst="line">
                  <a:avLst/>
                </a:prstGeom>
                <a:grpFill/>
                <a:ln w="12700" cap="rnd">
                  <a:solidFill>
                    <a:schemeClr val="bg1"/>
                  </a:solidFill>
                  <a:prstDash val="solid"/>
                  <a:miter lim="800000"/>
                  <a:headEnd/>
                  <a:tailEnd/>
                </a:ln>
              </p:spPr>
              <p:txBody>
                <a:bodyPr vert="horz" wrap="square" lIns="69945" tIns="34973" rIns="69945" bIns="34973" numCol="1" anchor="t" anchorCtr="0" compatLnSpc="1">
                  <a:prstTxWarp prst="textNoShape">
                    <a:avLst/>
                  </a:prstTxWarp>
                </a:bodyPr>
                <a:lstStyle/>
                <a:p>
                  <a:pPr defTabSz="713478">
                    <a:defRPr/>
                  </a:pPr>
                  <a:endParaRPr lang="en-US" sz="1377">
                    <a:solidFill>
                      <a:srgbClr val="505050"/>
                    </a:solidFill>
                    <a:latin typeface="Segoe UI Semilight"/>
                  </a:endParaRPr>
                </a:p>
              </p:txBody>
            </p:sp>
            <p:sp>
              <p:nvSpPr>
                <p:cNvPr id="306" name="Line 8">
                  <a:extLst>
                    <a:ext uri="{FF2B5EF4-FFF2-40B4-BE49-F238E27FC236}">
                      <a16:creationId xmlns:a16="http://schemas.microsoft.com/office/drawing/2014/main" id="{F736E313-65A3-7048-A750-5BC309C32A27}"/>
                    </a:ext>
                  </a:extLst>
                </p:cNvPr>
                <p:cNvSpPr>
                  <a:spLocks noChangeShapeType="1"/>
                </p:cNvSpPr>
                <p:nvPr/>
              </p:nvSpPr>
              <p:spPr bwMode="auto">
                <a:xfrm>
                  <a:off x="3808" y="2257"/>
                  <a:ext cx="86" cy="0"/>
                </a:xfrm>
                <a:prstGeom prst="line">
                  <a:avLst/>
                </a:prstGeom>
                <a:grpFill/>
                <a:ln w="12700" cap="rnd">
                  <a:solidFill>
                    <a:schemeClr val="bg1"/>
                  </a:solidFill>
                  <a:prstDash val="solid"/>
                  <a:miter lim="800000"/>
                  <a:headEnd/>
                  <a:tailEnd/>
                </a:ln>
              </p:spPr>
              <p:txBody>
                <a:bodyPr vert="horz" wrap="square" lIns="69945" tIns="34973" rIns="69945" bIns="34973" numCol="1" anchor="t" anchorCtr="0" compatLnSpc="1">
                  <a:prstTxWarp prst="textNoShape">
                    <a:avLst/>
                  </a:prstTxWarp>
                </a:bodyPr>
                <a:lstStyle/>
                <a:p>
                  <a:pPr defTabSz="713478">
                    <a:defRPr/>
                  </a:pPr>
                  <a:endParaRPr lang="en-US" sz="1377">
                    <a:solidFill>
                      <a:srgbClr val="505050"/>
                    </a:solidFill>
                    <a:latin typeface="Segoe UI Semilight"/>
                  </a:endParaRPr>
                </a:p>
              </p:txBody>
            </p:sp>
          </p:grpSp>
          <p:grpSp>
            <p:nvGrpSpPr>
              <p:cNvPr id="297" name="Group 296">
                <a:extLst>
                  <a:ext uri="{FF2B5EF4-FFF2-40B4-BE49-F238E27FC236}">
                    <a16:creationId xmlns:a16="http://schemas.microsoft.com/office/drawing/2014/main" id="{AC1E6C89-AD28-3240-96CE-C77EADD7E7C7}"/>
                  </a:ext>
                </a:extLst>
              </p:cNvPr>
              <p:cNvGrpSpPr/>
              <p:nvPr/>
            </p:nvGrpSpPr>
            <p:grpSpPr>
              <a:xfrm>
                <a:off x="7857378" y="4871216"/>
                <a:ext cx="164327" cy="180784"/>
                <a:chOff x="5834040" y="2879832"/>
                <a:chExt cx="279258" cy="307228"/>
              </a:xfrm>
              <a:grpFill/>
            </p:grpSpPr>
            <p:sp>
              <p:nvSpPr>
                <p:cNvPr id="298" name="Freeform: Shape 843">
                  <a:extLst>
                    <a:ext uri="{FF2B5EF4-FFF2-40B4-BE49-F238E27FC236}">
                      <a16:creationId xmlns:a16="http://schemas.microsoft.com/office/drawing/2014/main" id="{8A946836-FC5D-C24F-A9E8-9E0F387B0FA4}"/>
                    </a:ext>
                  </a:extLst>
                </p:cNvPr>
                <p:cNvSpPr/>
                <p:nvPr/>
              </p:nvSpPr>
              <p:spPr bwMode="auto">
                <a:xfrm>
                  <a:off x="5834040" y="2879832"/>
                  <a:ext cx="279258" cy="307228"/>
                </a:xfrm>
                <a:custGeom>
                  <a:avLst/>
                  <a:gdLst>
                    <a:gd name="connsiteX0" fmla="*/ 139628 w 279256"/>
                    <a:gd name="connsiteY0" fmla="*/ 0 h 307228"/>
                    <a:gd name="connsiteX1" fmla="*/ 279256 w 279256"/>
                    <a:gd name="connsiteY1" fmla="*/ 76617 h 307228"/>
                    <a:gd name="connsiteX2" fmla="*/ 279256 w 279256"/>
                    <a:gd name="connsiteY2" fmla="*/ 230611 h 307228"/>
                    <a:gd name="connsiteX3" fmla="*/ 139628 w 279256"/>
                    <a:gd name="connsiteY3" fmla="*/ 307228 h 307228"/>
                    <a:gd name="connsiteX4" fmla="*/ 0 w 279256"/>
                    <a:gd name="connsiteY4" fmla="*/ 230611 h 307228"/>
                    <a:gd name="connsiteX5" fmla="*/ 0 w 279256"/>
                    <a:gd name="connsiteY5" fmla="*/ 76617 h 307228"/>
                    <a:gd name="connsiteX6" fmla="*/ 139628 w 279256"/>
                    <a:gd name="connsiteY6" fmla="*/ 0 h 30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256" h="307228">
                      <a:moveTo>
                        <a:pt x="139628" y="0"/>
                      </a:moveTo>
                      <a:lnTo>
                        <a:pt x="279256" y="76617"/>
                      </a:lnTo>
                      <a:lnTo>
                        <a:pt x="279256" y="230611"/>
                      </a:lnTo>
                      <a:lnTo>
                        <a:pt x="139628" y="307228"/>
                      </a:lnTo>
                      <a:lnTo>
                        <a:pt x="0" y="230611"/>
                      </a:lnTo>
                      <a:lnTo>
                        <a:pt x="0" y="76617"/>
                      </a:lnTo>
                      <a:lnTo>
                        <a:pt x="139628" y="0"/>
                      </a:lnTo>
                      <a:close/>
                    </a:path>
                  </a:pathLst>
                </a:custGeom>
                <a:grpFill/>
                <a:ln w="127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defRPr/>
                  </a:pPr>
                  <a:endParaRPr lang="en-US" sz="1836"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99" name="Straight Connector 298">
                  <a:extLst>
                    <a:ext uri="{FF2B5EF4-FFF2-40B4-BE49-F238E27FC236}">
                      <a16:creationId xmlns:a16="http://schemas.microsoft.com/office/drawing/2014/main" id="{2E78CA29-6693-294C-B6FC-B3E2BA38D9DC}"/>
                    </a:ext>
                  </a:extLst>
                </p:cNvPr>
                <p:cNvCxnSpPr>
                  <a:cxnSpLocks/>
                </p:cNvCxnSpPr>
                <p:nvPr/>
              </p:nvCxnSpPr>
              <p:spPr>
                <a:xfrm>
                  <a:off x="5834046" y="2956449"/>
                  <a:ext cx="139620" cy="76997"/>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0" name="Straight Connector 299">
                  <a:extLst>
                    <a:ext uri="{FF2B5EF4-FFF2-40B4-BE49-F238E27FC236}">
                      <a16:creationId xmlns:a16="http://schemas.microsoft.com/office/drawing/2014/main" id="{376DEABD-0FF5-BE4D-974B-07C7753BC635}"/>
                    </a:ext>
                  </a:extLst>
                </p:cNvPr>
                <p:cNvCxnSpPr>
                  <a:cxnSpLocks/>
                </p:cNvCxnSpPr>
                <p:nvPr/>
              </p:nvCxnSpPr>
              <p:spPr>
                <a:xfrm flipV="1">
                  <a:off x="5973659" y="2956449"/>
                  <a:ext cx="139630" cy="76997"/>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1" name="Straight Connector 300">
                  <a:extLst>
                    <a:ext uri="{FF2B5EF4-FFF2-40B4-BE49-F238E27FC236}">
                      <a16:creationId xmlns:a16="http://schemas.microsoft.com/office/drawing/2014/main" id="{0DC376FD-3D46-934A-A998-D1A768A75E8A}"/>
                    </a:ext>
                  </a:extLst>
                </p:cNvPr>
                <p:cNvCxnSpPr>
                  <a:cxnSpLocks/>
                </p:cNvCxnSpPr>
                <p:nvPr/>
              </p:nvCxnSpPr>
              <p:spPr>
                <a:xfrm flipV="1">
                  <a:off x="5973664" y="3033446"/>
                  <a:ext cx="0" cy="153614"/>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9" name="Group 8">
            <a:extLst>
              <a:ext uri="{FF2B5EF4-FFF2-40B4-BE49-F238E27FC236}">
                <a16:creationId xmlns:a16="http://schemas.microsoft.com/office/drawing/2014/main" id="{EDC38483-50EF-5F4A-9B58-51FC96B7AB59}"/>
              </a:ext>
            </a:extLst>
          </p:cNvPr>
          <p:cNvGrpSpPr/>
          <p:nvPr/>
        </p:nvGrpSpPr>
        <p:grpSpPr>
          <a:xfrm>
            <a:off x="7433483" y="2396144"/>
            <a:ext cx="1021201" cy="638123"/>
            <a:chOff x="7735035" y="2778064"/>
            <a:chExt cx="1335024" cy="834224"/>
          </a:xfrm>
        </p:grpSpPr>
        <p:sp>
          <p:nvSpPr>
            <p:cNvPr id="119" name="TextBox 118">
              <a:extLst>
                <a:ext uri="{FF2B5EF4-FFF2-40B4-BE49-F238E27FC236}">
                  <a16:creationId xmlns:a16="http://schemas.microsoft.com/office/drawing/2014/main" id="{D9634028-7DA3-2340-88F8-88EF4128783E}"/>
                </a:ext>
              </a:extLst>
            </p:cNvPr>
            <p:cNvSpPr txBox="1"/>
            <p:nvPr/>
          </p:nvSpPr>
          <p:spPr>
            <a:xfrm>
              <a:off x="7735035" y="3289123"/>
              <a:ext cx="1335024" cy="323165"/>
            </a:xfrm>
            <a:prstGeom prst="rect">
              <a:avLst/>
            </a:prstGeom>
            <a:noFill/>
          </p:spPr>
          <p:txBody>
            <a:bodyPr wrap="square" lIns="0" tIns="0" rIns="0" bIns="139891"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23423">
                        <a:schemeClr val="tx1"/>
                      </a:gs>
                      <a:gs pos="66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pPr defTabSz="685274">
                <a:spcAft>
                  <a:spcPts val="450"/>
                </a:spcAft>
                <a:defRPr/>
              </a:pPr>
              <a:r>
                <a:rPr lang="en-US" sz="765" kern="0" dirty="0">
                  <a:solidFill>
                    <a:prstClr val="white"/>
                  </a:solidFill>
                </a:rPr>
                <a:t>TensorFlow</a:t>
              </a:r>
            </a:p>
          </p:txBody>
        </p:sp>
        <p:pic>
          <p:nvPicPr>
            <p:cNvPr id="307" name="Picture 306">
              <a:extLst>
                <a:ext uri="{FF2B5EF4-FFF2-40B4-BE49-F238E27FC236}">
                  <a16:creationId xmlns:a16="http://schemas.microsoft.com/office/drawing/2014/main" id="{295C752F-5298-1549-A7D1-696AFAAEA53E}"/>
                </a:ext>
              </a:extLst>
            </p:cNvPr>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8249783" y="2778064"/>
              <a:ext cx="305528" cy="330469"/>
            </a:xfrm>
            <a:prstGeom prst="rect">
              <a:avLst/>
            </a:prstGeom>
          </p:spPr>
        </p:pic>
      </p:grpSp>
      <p:grpSp>
        <p:nvGrpSpPr>
          <p:cNvPr id="8" name="Group 7">
            <a:extLst>
              <a:ext uri="{FF2B5EF4-FFF2-40B4-BE49-F238E27FC236}">
                <a16:creationId xmlns:a16="http://schemas.microsoft.com/office/drawing/2014/main" id="{18AB22A4-FD9C-BD40-8B67-BAD04A401666}"/>
              </a:ext>
            </a:extLst>
          </p:cNvPr>
          <p:cNvGrpSpPr/>
          <p:nvPr/>
        </p:nvGrpSpPr>
        <p:grpSpPr>
          <a:xfrm>
            <a:off x="6405337" y="2400131"/>
            <a:ext cx="1021201" cy="634136"/>
            <a:chOff x="6390930" y="2783278"/>
            <a:chExt cx="1335024" cy="829010"/>
          </a:xfrm>
        </p:grpSpPr>
        <p:sp>
          <p:nvSpPr>
            <p:cNvPr id="121" name="TextBox 120">
              <a:extLst>
                <a:ext uri="{FF2B5EF4-FFF2-40B4-BE49-F238E27FC236}">
                  <a16:creationId xmlns:a16="http://schemas.microsoft.com/office/drawing/2014/main" id="{3303308D-C1A7-1F40-999C-9671B61AC1F0}"/>
                </a:ext>
              </a:extLst>
            </p:cNvPr>
            <p:cNvSpPr txBox="1"/>
            <p:nvPr/>
          </p:nvSpPr>
          <p:spPr>
            <a:xfrm>
              <a:off x="6390930" y="3289123"/>
              <a:ext cx="1335024" cy="323165"/>
            </a:xfrm>
            <a:prstGeom prst="rect">
              <a:avLst/>
            </a:prstGeom>
            <a:noFill/>
          </p:spPr>
          <p:txBody>
            <a:bodyPr wrap="square" lIns="0" tIns="0" rIns="0" bIns="139891"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23423">
                        <a:schemeClr val="tx1"/>
                      </a:gs>
                      <a:gs pos="66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pPr defTabSz="685274">
                <a:spcAft>
                  <a:spcPts val="450"/>
                </a:spcAft>
                <a:defRPr/>
              </a:pPr>
              <a:r>
                <a:rPr lang="en-US" sz="765" kern="0" dirty="0" err="1">
                  <a:solidFill>
                    <a:prstClr val="white"/>
                  </a:solidFill>
                </a:rPr>
                <a:t>Pytorch</a:t>
              </a:r>
              <a:endParaRPr lang="en-US" sz="765" kern="0" dirty="0">
                <a:solidFill>
                  <a:prstClr val="white"/>
                </a:solidFill>
              </a:endParaRPr>
            </a:p>
          </p:txBody>
        </p:sp>
        <p:pic>
          <p:nvPicPr>
            <p:cNvPr id="308" name="Picture 307">
              <a:extLst>
                <a:ext uri="{FF2B5EF4-FFF2-40B4-BE49-F238E27FC236}">
                  <a16:creationId xmlns:a16="http://schemas.microsoft.com/office/drawing/2014/main" id="{9CAD1DFA-0BC9-2B41-9AD6-AA017CB1E7DD}"/>
                </a:ext>
              </a:extLst>
            </p:cNvPr>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6924752" y="2783278"/>
              <a:ext cx="265796" cy="320040"/>
            </a:xfrm>
            <a:prstGeom prst="rect">
              <a:avLst/>
            </a:prstGeom>
          </p:spPr>
        </p:pic>
      </p:grpSp>
    </p:spTree>
    <p:extLst>
      <p:ext uri="{BB962C8B-B14F-4D97-AF65-F5344CB8AC3E}">
        <p14:creationId xmlns:p14="http://schemas.microsoft.com/office/powerpoint/2010/main" val="79984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left)">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8"/>
                                        </p:tgtEl>
                                        <p:attrNameLst>
                                          <p:attrName>style.visibility</p:attrName>
                                        </p:attrNameLst>
                                      </p:cBhvr>
                                      <p:to>
                                        <p:strVal val="visible"/>
                                      </p:to>
                                    </p:set>
                                    <p:animEffect transition="in" filter="fade">
                                      <p:cBhvr>
                                        <p:cTn id="10" dur="1000"/>
                                        <p:tgtEl>
                                          <p:spTgt spid="118"/>
                                        </p:tgtEl>
                                      </p:cBhvr>
                                    </p:animEffect>
                                  </p:childTnLst>
                                </p:cTn>
                              </p:par>
                            </p:childTnLst>
                          </p:cTn>
                        </p:par>
                        <p:par>
                          <p:cTn id="11" fill="hold">
                            <p:stCondLst>
                              <p:cond delay="1000"/>
                            </p:stCondLst>
                            <p:childTnLst>
                              <p:par>
                                <p:cTn id="12" presetID="10" presetClass="entr" presetSubtype="0"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350"/>
                                        <p:tgtEl>
                                          <p:spTgt spid="4"/>
                                        </p:tgtEl>
                                      </p:cBhvr>
                                    </p:animEffect>
                                  </p:childTnLst>
                                </p:cTn>
                              </p:par>
                              <p:par>
                                <p:cTn id="15" presetID="63" presetClass="path" presetSubtype="0" decel="100000" fill="hold" nodeType="withEffect">
                                  <p:stCondLst>
                                    <p:cond delay="0"/>
                                  </p:stCondLst>
                                  <p:childTnLst>
                                    <p:animMotion origin="layout" path="M -4.58333E-6 -2.22222E-6 L -0.00052 0.07107 " pathEditMode="relative" rAng="0" ptsTypes="AA">
                                      <p:cBhvr>
                                        <p:cTn id="16" dur="500" spd="-100000" fill="hold"/>
                                        <p:tgtEl>
                                          <p:spTgt spid="4"/>
                                        </p:tgtEl>
                                        <p:attrNameLst>
                                          <p:attrName>ppt_x</p:attrName>
                                          <p:attrName>ppt_y</p:attrName>
                                        </p:attrNameLst>
                                      </p:cBhvr>
                                      <p:rCtr x="-26" y="3542"/>
                                    </p:animMotion>
                                  </p:childTnLst>
                                </p:cTn>
                              </p:par>
                              <p:par>
                                <p:cTn id="17" presetID="10" presetClass="entr" presetSubtype="0" fill="hold" nodeType="withEffect">
                                  <p:stCondLst>
                                    <p:cond delay="10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350"/>
                                        <p:tgtEl>
                                          <p:spTgt spid="5"/>
                                        </p:tgtEl>
                                      </p:cBhvr>
                                    </p:animEffect>
                                  </p:childTnLst>
                                </p:cTn>
                              </p:par>
                              <p:par>
                                <p:cTn id="20" presetID="63" presetClass="path" presetSubtype="0" decel="100000" fill="hold" nodeType="withEffect">
                                  <p:stCondLst>
                                    <p:cond delay="100"/>
                                  </p:stCondLst>
                                  <p:childTnLst>
                                    <p:animMotion origin="layout" path="M -4.58333E-6 -2.22222E-6 L -0.00052 0.07107 " pathEditMode="relative" rAng="0" ptsTypes="AA">
                                      <p:cBhvr>
                                        <p:cTn id="21" dur="500" spd="-100000" fill="hold"/>
                                        <p:tgtEl>
                                          <p:spTgt spid="5"/>
                                        </p:tgtEl>
                                        <p:attrNameLst>
                                          <p:attrName>ppt_x</p:attrName>
                                          <p:attrName>ppt_y</p:attrName>
                                        </p:attrNameLst>
                                      </p:cBhvr>
                                      <p:rCtr x="-26" y="3542"/>
                                    </p:animMotion>
                                  </p:childTnLst>
                                </p:cTn>
                              </p:par>
                              <p:par>
                                <p:cTn id="22" presetID="10" presetClass="entr" presetSubtype="0" fill="hold" nodeType="withEffect">
                                  <p:stCondLst>
                                    <p:cond delay="20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350"/>
                                        <p:tgtEl>
                                          <p:spTgt spid="6"/>
                                        </p:tgtEl>
                                      </p:cBhvr>
                                    </p:animEffect>
                                  </p:childTnLst>
                                </p:cTn>
                              </p:par>
                              <p:par>
                                <p:cTn id="25" presetID="63" presetClass="path" presetSubtype="0" decel="100000" fill="hold" nodeType="withEffect">
                                  <p:stCondLst>
                                    <p:cond delay="200"/>
                                  </p:stCondLst>
                                  <p:childTnLst>
                                    <p:animMotion origin="layout" path="M -4.58333E-6 -2.22222E-6 L -0.00052 0.07107 " pathEditMode="relative" rAng="0" ptsTypes="AA">
                                      <p:cBhvr>
                                        <p:cTn id="26" dur="500" spd="-100000" fill="hold"/>
                                        <p:tgtEl>
                                          <p:spTgt spid="6"/>
                                        </p:tgtEl>
                                        <p:attrNameLst>
                                          <p:attrName>ppt_x</p:attrName>
                                          <p:attrName>ppt_y</p:attrName>
                                        </p:attrNameLst>
                                      </p:cBhvr>
                                      <p:rCtr x="-26" y="3542"/>
                                    </p:animMotion>
                                  </p:childTnLst>
                                </p:cTn>
                              </p:par>
                              <p:par>
                                <p:cTn id="27" presetID="10" presetClass="entr" presetSubtype="0" fill="hold" nodeType="withEffect">
                                  <p:stCondLst>
                                    <p:cond delay="3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350"/>
                                        <p:tgtEl>
                                          <p:spTgt spid="7"/>
                                        </p:tgtEl>
                                      </p:cBhvr>
                                    </p:animEffect>
                                  </p:childTnLst>
                                </p:cTn>
                              </p:par>
                              <p:par>
                                <p:cTn id="30" presetID="63" presetClass="path" presetSubtype="0" decel="100000" fill="hold" nodeType="withEffect">
                                  <p:stCondLst>
                                    <p:cond delay="300"/>
                                  </p:stCondLst>
                                  <p:childTnLst>
                                    <p:animMotion origin="layout" path="M -4.58333E-6 -2.22222E-6 L -0.00052 0.07107 " pathEditMode="relative" rAng="0" ptsTypes="AA">
                                      <p:cBhvr>
                                        <p:cTn id="31" dur="500" spd="-100000" fill="hold"/>
                                        <p:tgtEl>
                                          <p:spTgt spid="7"/>
                                        </p:tgtEl>
                                        <p:attrNameLst>
                                          <p:attrName>ppt_x</p:attrName>
                                          <p:attrName>ppt_y</p:attrName>
                                        </p:attrNameLst>
                                      </p:cBhvr>
                                      <p:rCtr x="-26" y="3542"/>
                                    </p:animMotion>
                                  </p:childTnLst>
                                </p:cTn>
                              </p:par>
                            </p:childTnLst>
                          </p:cTn>
                        </p:par>
                        <p:par>
                          <p:cTn id="32" fill="hold">
                            <p:stCondLst>
                              <p:cond delay="1800"/>
                            </p:stCondLst>
                            <p:childTnLst>
                              <p:par>
                                <p:cTn id="33" presetID="10" presetClass="entr" presetSubtype="0" fill="hold" nodeType="after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350"/>
                                        <p:tgtEl>
                                          <p:spTgt spid="8"/>
                                        </p:tgtEl>
                                      </p:cBhvr>
                                    </p:animEffect>
                                  </p:childTnLst>
                                </p:cTn>
                              </p:par>
                              <p:par>
                                <p:cTn id="36" presetID="63" presetClass="path" presetSubtype="0" decel="100000" fill="hold" nodeType="withEffect">
                                  <p:stCondLst>
                                    <p:cond delay="0"/>
                                  </p:stCondLst>
                                  <p:childTnLst>
                                    <p:animMotion origin="layout" path="M -4.58333E-6 -2.22222E-6 L -0.00052 0.07107 " pathEditMode="relative" rAng="0" ptsTypes="AA">
                                      <p:cBhvr>
                                        <p:cTn id="37" dur="500" spd="-100000" fill="hold"/>
                                        <p:tgtEl>
                                          <p:spTgt spid="8"/>
                                        </p:tgtEl>
                                        <p:attrNameLst>
                                          <p:attrName>ppt_x</p:attrName>
                                          <p:attrName>ppt_y</p:attrName>
                                        </p:attrNameLst>
                                      </p:cBhvr>
                                      <p:rCtr x="-26" y="3542"/>
                                    </p:animMotion>
                                  </p:childTnLst>
                                </p:cTn>
                              </p:par>
                              <p:par>
                                <p:cTn id="38" presetID="10" presetClass="entr" presetSubtype="0" fill="hold" nodeType="withEffect">
                                  <p:stCondLst>
                                    <p:cond delay="100"/>
                                  </p:stCondLst>
                                  <p:childTnLst>
                                    <p:set>
                                      <p:cBhvr>
                                        <p:cTn id="39" dur="1" fill="hold">
                                          <p:stCondLst>
                                            <p:cond delay="0"/>
                                          </p:stCondLst>
                                        </p:cTn>
                                        <p:tgtEl>
                                          <p:spTgt spid="9"/>
                                        </p:tgtEl>
                                        <p:attrNameLst>
                                          <p:attrName>style.visibility</p:attrName>
                                        </p:attrNameLst>
                                      </p:cBhvr>
                                      <p:to>
                                        <p:strVal val="visible"/>
                                      </p:to>
                                    </p:set>
                                    <p:animEffect transition="in" filter="fade">
                                      <p:cBhvr>
                                        <p:cTn id="40" dur="350"/>
                                        <p:tgtEl>
                                          <p:spTgt spid="9"/>
                                        </p:tgtEl>
                                      </p:cBhvr>
                                    </p:animEffect>
                                  </p:childTnLst>
                                </p:cTn>
                              </p:par>
                              <p:par>
                                <p:cTn id="41" presetID="63" presetClass="path" presetSubtype="0" decel="100000" fill="hold" nodeType="withEffect">
                                  <p:stCondLst>
                                    <p:cond delay="100"/>
                                  </p:stCondLst>
                                  <p:childTnLst>
                                    <p:animMotion origin="layout" path="M -4.58333E-6 -2.22222E-6 L -0.00052 0.07107 " pathEditMode="relative" rAng="0" ptsTypes="AA">
                                      <p:cBhvr>
                                        <p:cTn id="42" dur="500" spd="-100000" fill="hold"/>
                                        <p:tgtEl>
                                          <p:spTgt spid="9"/>
                                        </p:tgtEl>
                                        <p:attrNameLst>
                                          <p:attrName>ppt_x</p:attrName>
                                          <p:attrName>ppt_y</p:attrName>
                                        </p:attrNameLst>
                                      </p:cBhvr>
                                      <p:rCtr x="-26" y="3542"/>
                                    </p:animMotion>
                                  </p:childTnLst>
                                </p:cTn>
                              </p:par>
                              <p:par>
                                <p:cTn id="43" presetID="10" presetClass="entr" presetSubtype="0" fill="hold" nodeType="withEffect">
                                  <p:stCondLst>
                                    <p:cond delay="200"/>
                                  </p:stCondLst>
                                  <p:childTnLst>
                                    <p:set>
                                      <p:cBhvr>
                                        <p:cTn id="44" dur="1" fill="hold">
                                          <p:stCondLst>
                                            <p:cond delay="0"/>
                                          </p:stCondLst>
                                        </p:cTn>
                                        <p:tgtEl>
                                          <p:spTgt spid="10"/>
                                        </p:tgtEl>
                                        <p:attrNameLst>
                                          <p:attrName>style.visibility</p:attrName>
                                        </p:attrNameLst>
                                      </p:cBhvr>
                                      <p:to>
                                        <p:strVal val="visible"/>
                                      </p:to>
                                    </p:set>
                                    <p:animEffect transition="in" filter="fade">
                                      <p:cBhvr>
                                        <p:cTn id="45" dur="350"/>
                                        <p:tgtEl>
                                          <p:spTgt spid="10"/>
                                        </p:tgtEl>
                                      </p:cBhvr>
                                    </p:animEffect>
                                  </p:childTnLst>
                                </p:cTn>
                              </p:par>
                              <p:par>
                                <p:cTn id="46" presetID="63" presetClass="path" presetSubtype="0" decel="100000" fill="hold" nodeType="withEffect">
                                  <p:stCondLst>
                                    <p:cond delay="200"/>
                                  </p:stCondLst>
                                  <p:childTnLst>
                                    <p:animMotion origin="layout" path="M -4.58333E-6 -2.22222E-6 L -0.00052 0.07107 " pathEditMode="relative" rAng="0" ptsTypes="AA">
                                      <p:cBhvr>
                                        <p:cTn id="47" dur="500" spd="-100000" fill="hold"/>
                                        <p:tgtEl>
                                          <p:spTgt spid="10"/>
                                        </p:tgtEl>
                                        <p:attrNameLst>
                                          <p:attrName>ppt_x</p:attrName>
                                          <p:attrName>ppt_y</p:attrName>
                                        </p:attrNameLst>
                                      </p:cBhvr>
                                      <p:rCtr x="-26" y="3542"/>
                                    </p:animMotion>
                                  </p:childTnLst>
                                </p:cTn>
                              </p:par>
                              <p:par>
                                <p:cTn id="48" presetID="10" presetClass="entr" presetSubtype="0" fill="hold" nodeType="withEffect">
                                  <p:stCondLst>
                                    <p:cond delay="300"/>
                                  </p:stCondLst>
                                  <p:childTnLst>
                                    <p:set>
                                      <p:cBhvr>
                                        <p:cTn id="49" dur="1" fill="hold">
                                          <p:stCondLst>
                                            <p:cond delay="0"/>
                                          </p:stCondLst>
                                        </p:cTn>
                                        <p:tgtEl>
                                          <p:spTgt spid="11"/>
                                        </p:tgtEl>
                                        <p:attrNameLst>
                                          <p:attrName>style.visibility</p:attrName>
                                        </p:attrNameLst>
                                      </p:cBhvr>
                                      <p:to>
                                        <p:strVal val="visible"/>
                                      </p:to>
                                    </p:set>
                                    <p:animEffect transition="in" filter="fade">
                                      <p:cBhvr>
                                        <p:cTn id="50" dur="350"/>
                                        <p:tgtEl>
                                          <p:spTgt spid="11"/>
                                        </p:tgtEl>
                                      </p:cBhvr>
                                    </p:animEffect>
                                  </p:childTnLst>
                                </p:cTn>
                              </p:par>
                              <p:par>
                                <p:cTn id="51" presetID="63" presetClass="path" presetSubtype="0" decel="100000" fill="hold" nodeType="withEffect">
                                  <p:stCondLst>
                                    <p:cond delay="300"/>
                                  </p:stCondLst>
                                  <p:childTnLst>
                                    <p:animMotion origin="layout" path="M -4.58333E-6 -2.22222E-6 L -0.00052 0.07107 " pathEditMode="relative" rAng="0" ptsTypes="AA">
                                      <p:cBhvr>
                                        <p:cTn id="52" dur="500" spd="-100000" fill="hold"/>
                                        <p:tgtEl>
                                          <p:spTgt spid="11"/>
                                        </p:tgtEl>
                                        <p:attrNameLst>
                                          <p:attrName>ppt_x</p:attrName>
                                          <p:attrName>ppt_y</p:attrName>
                                        </p:attrNameLst>
                                      </p:cBhvr>
                                      <p:rCtr x="-26" y="3542"/>
                                    </p:animMotion>
                                  </p:childTnLst>
                                </p:cTn>
                              </p:par>
                            </p:childTnLst>
                          </p:cTn>
                        </p:par>
                        <p:par>
                          <p:cTn id="53" fill="hold">
                            <p:stCondLst>
                              <p:cond delay="2600"/>
                            </p:stCondLst>
                            <p:childTnLst>
                              <p:par>
                                <p:cTn id="54" presetID="10" presetClass="entr" presetSubtype="0" fill="hold" nodeType="afterEffect">
                                  <p:stCondLst>
                                    <p:cond delay="0"/>
                                  </p:stCondLst>
                                  <p:childTnLst>
                                    <p:set>
                                      <p:cBhvr>
                                        <p:cTn id="55" dur="1" fill="hold">
                                          <p:stCondLst>
                                            <p:cond delay="0"/>
                                          </p:stCondLst>
                                        </p:cTn>
                                        <p:tgtEl>
                                          <p:spTgt spid="12"/>
                                        </p:tgtEl>
                                        <p:attrNameLst>
                                          <p:attrName>style.visibility</p:attrName>
                                        </p:attrNameLst>
                                      </p:cBhvr>
                                      <p:to>
                                        <p:strVal val="visible"/>
                                      </p:to>
                                    </p:set>
                                    <p:animEffect transition="in" filter="fade">
                                      <p:cBhvr>
                                        <p:cTn id="56" dur="350"/>
                                        <p:tgtEl>
                                          <p:spTgt spid="12"/>
                                        </p:tgtEl>
                                      </p:cBhvr>
                                    </p:animEffect>
                                  </p:childTnLst>
                                </p:cTn>
                              </p:par>
                              <p:par>
                                <p:cTn id="57" presetID="63" presetClass="path" presetSubtype="0" decel="100000" fill="hold" nodeType="withEffect">
                                  <p:stCondLst>
                                    <p:cond delay="0"/>
                                  </p:stCondLst>
                                  <p:childTnLst>
                                    <p:animMotion origin="layout" path="M -4.58333E-6 -2.22222E-6 L -0.00052 0.07107 " pathEditMode="relative" rAng="0" ptsTypes="AA">
                                      <p:cBhvr>
                                        <p:cTn id="58" dur="500" spd="-100000" fill="hold"/>
                                        <p:tgtEl>
                                          <p:spTgt spid="12"/>
                                        </p:tgtEl>
                                        <p:attrNameLst>
                                          <p:attrName>ppt_x</p:attrName>
                                          <p:attrName>ppt_y</p:attrName>
                                        </p:attrNameLst>
                                      </p:cBhvr>
                                      <p:rCtr x="-26" y="3542"/>
                                    </p:animMotion>
                                  </p:childTnLst>
                                </p:cTn>
                              </p:par>
                              <p:par>
                                <p:cTn id="59" presetID="10" presetClass="entr" presetSubtype="0" fill="hold" nodeType="withEffect">
                                  <p:stCondLst>
                                    <p:cond delay="100"/>
                                  </p:stCondLst>
                                  <p:childTnLst>
                                    <p:set>
                                      <p:cBhvr>
                                        <p:cTn id="60" dur="1" fill="hold">
                                          <p:stCondLst>
                                            <p:cond delay="0"/>
                                          </p:stCondLst>
                                        </p:cTn>
                                        <p:tgtEl>
                                          <p:spTgt spid="13"/>
                                        </p:tgtEl>
                                        <p:attrNameLst>
                                          <p:attrName>style.visibility</p:attrName>
                                        </p:attrNameLst>
                                      </p:cBhvr>
                                      <p:to>
                                        <p:strVal val="visible"/>
                                      </p:to>
                                    </p:set>
                                    <p:animEffect transition="in" filter="fade">
                                      <p:cBhvr>
                                        <p:cTn id="61" dur="350"/>
                                        <p:tgtEl>
                                          <p:spTgt spid="13"/>
                                        </p:tgtEl>
                                      </p:cBhvr>
                                    </p:animEffect>
                                  </p:childTnLst>
                                </p:cTn>
                              </p:par>
                              <p:par>
                                <p:cTn id="62" presetID="63" presetClass="path" presetSubtype="0" decel="100000" fill="hold" nodeType="withEffect">
                                  <p:stCondLst>
                                    <p:cond delay="100"/>
                                  </p:stCondLst>
                                  <p:childTnLst>
                                    <p:animMotion origin="layout" path="M -4.58333E-6 -2.22222E-6 L -0.00052 0.07107 " pathEditMode="relative" rAng="0" ptsTypes="AA">
                                      <p:cBhvr>
                                        <p:cTn id="63" dur="500" spd="-100000" fill="hold"/>
                                        <p:tgtEl>
                                          <p:spTgt spid="13"/>
                                        </p:tgtEl>
                                        <p:attrNameLst>
                                          <p:attrName>ppt_x</p:attrName>
                                          <p:attrName>ppt_y</p:attrName>
                                        </p:attrNameLst>
                                      </p:cBhvr>
                                      <p:rCtr x="-26" y="3542"/>
                                    </p:animMotion>
                                  </p:childTnLst>
                                </p:cTn>
                              </p:par>
                              <p:par>
                                <p:cTn id="64" presetID="10" presetClass="entr" presetSubtype="0" fill="hold" nodeType="withEffect">
                                  <p:stCondLst>
                                    <p:cond delay="200"/>
                                  </p:stCondLst>
                                  <p:childTnLst>
                                    <p:set>
                                      <p:cBhvr>
                                        <p:cTn id="65" dur="1" fill="hold">
                                          <p:stCondLst>
                                            <p:cond delay="0"/>
                                          </p:stCondLst>
                                        </p:cTn>
                                        <p:tgtEl>
                                          <p:spTgt spid="14"/>
                                        </p:tgtEl>
                                        <p:attrNameLst>
                                          <p:attrName>style.visibility</p:attrName>
                                        </p:attrNameLst>
                                      </p:cBhvr>
                                      <p:to>
                                        <p:strVal val="visible"/>
                                      </p:to>
                                    </p:set>
                                    <p:animEffect transition="in" filter="fade">
                                      <p:cBhvr>
                                        <p:cTn id="66" dur="350"/>
                                        <p:tgtEl>
                                          <p:spTgt spid="14"/>
                                        </p:tgtEl>
                                      </p:cBhvr>
                                    </p:animEffect>
                                  </p:childTnLst>
                                </p:cTn>
                              </p:par>
                              <p:par>
                                <p:cTn id="67" presetID="63" presetClass="path" presetSubtype="0" decel="100000" fill="hold" nodeType="withEffect">
                                  <p:stCondLst>
                                    <p:cond delay="200"/>
                                  </p:stCondLst>
                                  <p:childTnLst>
                                    <p:animMotion origin="layout" path="M -4.58333E-6 -2.22222E-6 L -0.00052 0.07107 " pathEditMode="relative" rAng="0" ptsTypes="AA">
                                      <p:cBhvr>
                                        <p:cTn id="68" dur="500" spd="-100000" fill="hold"/>
                                        <p:tgtEl>
                                          <p:spTgt spid="14"/>
                                        </p:tgtEl>
                                        <p:attrNameLst>
                                          <p:attrName>ppt_x</p:attrName>
                                          <p:attrName>ppt_y</p:attrName>
                                        </p:attrNameLst>
                                      </p:cBhvr>
                                      <p:rCtr x="-26" y="3542"/>
                                    </p:animMotion>
                                  </p:childTnLst>
                                </p:cTn>
                              </p:par>
                            </p:childTnLst>
                          </p:cTn>
                        </p:par>
                        <p:par>
                          <p:cTn id="69" fill="hold">
                            <p:stCondLst>
                              <p:cond delay="3300"/>
                            </p:stCondLst>
                            <p:childTnLst>
                              <p:par>
                                <p:cTn id="70" presetID="10" presetClass="entr" presetSubtype="0" fill="hold" nodeType="afterEffect">
                                  <p:stCondLst>
                                    <p:cond delay="0"/>
                                  </p:stCondLst>
                                  <p:childTnLst>
                                    <p:set>
                                      <p:cBhvr>
                                        <p:cTn id="71" dur="1" fill="hold">
                                          <p:stCondLst>
                                            <p:cond delay="0"/>
                                          </p:stCondLst>
                                        </p:cTn>
                                        <p:tgtEl>
                                          <p:spTgt spid="15"/>
                                        </p:tgtEl>
                                        <p:attrNameLst>
                                          <p:attrName>style.visibility</p:attrName>
                                        </p:attrNameLst>
                                      </p:cBhvr>
                                      <p:to>
                                        <p:strVal val="visible"/>
                                      </p:to>
                                    </p:set>
                                    <p:animEffect transition="in" filter="fade">
                                      <p:cBhvr>
                                        <p:cTn id="72" dur="350"/>
                                        <p:tgtEl>
                                          <p:spTgt spid="15"/>
                                        </p:tgtEl>
                                      </p:cBhvr>
                                    </p:animEffect>
                                  </p:childTnLst>
                                </p:cTn>
                              </p:par>
                              <p:par>
                                <p:cTn id="73" presetID="63" presetClass="path" presetSubtype="0" decel="100000" fill="hold" nodeType="withEffect">
                                  <p:stCondLst>
                                    <p:cond delay="0"/>
                                  </p:stCondLst>
                                  <p:childTnLst>
                                    <p:animMotion origin="layout" path="M -4.58333E-6 -2.22222E-6 L -0.00052 0.07107 " pathEditMode="relative" rAng="0" ptsTypes="AA">
                                      <p:cBhvr>
                                        <p:cTn id="74" dur="500" spd="-100000" fill="hold"/>
                                        <p:tgtEl>
                                          <p:spTgt spid="15"/>
                                        </p:tgtEl>
                                        <p:attrNameLst>
                                          <p:attrName>ppt_x</p:attrName>
                                          <p:attrName>ppt_y</p:attrName>
                                        </p:attrNameLst>
                                      </p:cBhvr>
                                      <p:rCtr x="-26" y="3542"/>
                                    </p:animMotion>
                                  </p:childTnLst>
                                </p:cTn>
                              </p:par>
                              <p:par>
                                <p:cTn id="75" presetID="10" presetClass="entr" presetSubtype="0" fill="hold" nodeType="withEffect">
                                  <p:stCondLst>
                                    <p:cond delay="100"/>
                                  </p:stCondLst>
                                  <p:childTnLst>
                                    <p:set>
                                      <p:cBhvr>
                                        <p:cTn id="76" dur="1" fill="hold">
                                          <p:stCondLst>
                                            <p:cond delay="0"/>
                                          </p:stCondLst>
                                        </p:cTn>
                                        <p:tgtEl>
                                          <p:spTgt spid="16"/>
                                        </p:tgtEl>
                                        <p:attrNameLst>
                                          <p:attrName>style.visibility</p:attrName>
                                        </p:attrNameLst>
                                      </p:cBhvr>
                                      <p:to>
                                        <p:strVal val="visible"/>
                                      </p:to>
                                    </p:set>
                                    <p:animEffect transition="in" filter="fade">
                                      <p:cBhvr>
                                        <p:cTn id="77" dur="350"/>
                                        <p:tgtEl>
                                          <p:spTgt spid="16"/>
                                        </p:tgtEl>
                                      </p:cBhvr>
                                    </p:animEffect>
                                  </p:childTnLst>
                                </p:cTn>
                              </p:par>
                              <p:par>
                                <p:cTn id="78" presetID="63" presetClass="path" presetSubtype="0" decel="100000" fill="hold" nodeType="withEffect">
                                  <p:stCondLst>
                                    <p:cond delay="100"/>
                                  </p:stCondLst>
                                  <p:childTnLst>
                                    <p:animMotion origin="layout" path="M -4.58333E-6 -2.22222E-6 L -0.00052 0.07107 " pathEditMode="relative" rAng="0" ptsTypes="AA">
                                      <p:cBhvr>
                                        <p:cTn id="79" dur="500" spd="-100000" fill="hold"/>
                                        <p:tgtEl>
                                          <p:spTgt spid="16"/>
                                        </p:tgtEl>
                                        <p:attrNameLst>
                                          <p:attrName>ppt_x</p:attrName>
                                          <p:attrName>ppt_y</p:attrName>
                                        </p:attrNameLst>
                                      </p:cBhvr>
                                      <p:rCtr x="-26" y="3542"/>
                                    </p:animMotion>
                                  </p:childTnLst>
                                </p:cTn>
                              </p:par>
                              <p:par>
                                <p:cTn id="80" presetID="10" presetClass="entr" presetSubtype="0" fill="hold" nodeType="withEffect">
                                  <p:stCondLst>
                                    <p:cond delay="200"/>
                                  </p:stCondLst>
                                  <p:childTnLst>
                                    <p:set>
                                      <p:cBhvr>
                                        <p:cTn id="81" dur="1" fill="hold">
                                          <p:stCondLst>
                                            <p:cond delay="0"/>
                                          </p:stCondLst>
                                        </p:cTn>
                                        <p:tgtEl>
                                          <p:spTgt spid="17"/>
                                        </p:tgtEl>
                                        <p:attrNameLst>
                                          <p:attrName>style.visibility</p:attrName>
                                        </p:attrNameLst>
                                      </p:cBhvr>
                                      <p:to>
                                        <p:strVal val="visible"/>
                                      </p:to>
                                    </p:set>
                                    <p:animEffect transition="in" filter="fade">
                                      <p:cBhvr>
                                        <p:cTn id="82" dur="350"/>
                                        <p:tgtEl>
                                          <p:spTgt spid="17"/>
                                        </p:tgtEl>
                                      </p:cBhvr>
                                    </p:animEffect>
                                  </p:childTnLst>
                                </p:cTn>
                              </p:par>
                              <p:par>
                                <p:cTn id="83" presetID="63" presetClass="path" presetSubtype="0" decel="100000" fill="hold" nodeType="withEffect">
                                  <p:stCondLst>
                                    <p:cond delay="200"/>
                                  </p:stCondLst>
                                  <p:childTnLst>
                                    <p:animMotion origin="layout" path="M -4.58333E-6 -2.22222E-6 L -0.00052 0.07107 " pathEditMode="relative" rAng="0" ptsTypes="AA">
                                      <p:cBhvr>
                                        <p:cTn id="84" dur="500" spd="-100000" fill="hold"/>
                                        <p:tgtEl>
                                          <p:spTgt spid="17"/>
                                        </p:tgtEl>
                                        <p:attrNameLst>
                                          <p:attrName>ppt_x</p:attrName>
                                          <p:attrName>ppt_y</p:attrName>
                                        </p:attrNameLst>
                                      </p:cBhvr>
                                      <p:rCtr x="-26" y="3542"/>
                                    </p:animMotion>
                                  </p:childTnLst>
                                </p:cTn>
                              </p:par>
                            </p:childTnLst>
                          </p:cTn>
                        </p:par>
                        <p:par>
                          <p:cTn id="85" fill="hold">
                            <p:stCondLst>
                              <p:cond delay="4000"/>
                            </p:stCondLst>
                            <p:childTnLst>
                              <p:par>
                                <p:cTn id="86" presetID="10" presetClass="entr" presetSubtype="0" fill="hold" nodeType="afterEffect">
                                  <p:stCondLst>
                                    <p:cond delay="0"/>
                                  </p:stCondLst>
                                  <p:childTnLst>
                                    <p:set>
                                      <p:cBhvr>
                                        <p:cTn id="87" dur="1" fill="hold">
                                          <p:stCondLst>
                                            <p:cond delay="0"/>
                                          </p:stCondLst>
                                        </p:cTn>
                                        <p:tgtEl>
                                          <p:spTgt spid="18"/>
                                        </p:tgtEl>
                                        <p:attrNameLst>
                                          <p:attrName>style.visibility</p:attrName>
                                        </p:attrNameLst>
                                      </p:cBhvr>
                                      <p:to>
                                        <p:strVal val="visible"/>
                                      </p:to>
                                    </p:set>
                                    <p:animEffect transition="in" filter="fade">
                                      <p:cBhvr>
                                        <p:cTn id="88" dur="350"/>
                                        <p:tgtEl>
                                          <p:spTgt spid="18"/>
                                        </p:tgtEl>
                                      </p:cBhvr>
                                    </p:animEffect>
                                  </p:childTnLst>
                                </p:cTn>
                              </p:par>
                              <p:par>
                                <p:cTn id="89" presetID="63" presetClass="path" presetSubtype="0" decel="100000" fill="hold" nodeType="withEffect">
                                  <p:stCondLst>
                                    <p:cond delay="0"/>
                                  </p:stCondLst>
                                  <p:childTnLst>
                                    <p:animMotion origin="layout" path="M -4.58333E-6 -2.22222E-6 L -0.00052 0.07107 " pathEditMode="relative" rAng="0" ptsTypes="AA">
                                      <p:cBhvr>
                                        <p:cTn id="90" dur="500" spd="-100000" fill="hold"/>
                                        <p:tgtEl>
                                          <p:spTgt spid="18"/>
                                        </p:tgtEl>
                                        <p:attrNameLst>
                                          <p:attrName>ppt_x</p:attrName>
                                          <p:attrName>ppt_y</p:attrName>
                                        </p:attrNameLst>
                                      </p:cBhvr>
                                      <p:rCtr x="-26" y="3542"/>
                                    </p:animMotion>
                                  </p:childTnLst>
                                </p:cTn>
                              </p:par>
                              <p:par>
                                <p:cTn id="91" presetID="10" presetClass="entr" presetSubtype="0" fill="hold" nodeType="withEffect">
                                  <p:stCondLst>
                                    <p:cond delay="100"/>
                                  </p:stCondLst>
                                  <p:childTnLst>
                                    <p:set>
                                      <p:cBhvr>
                                        <p:cTn id="92" dur="1" fill="hold">
                                          <p:stCondLst>
                                            <p:cond delay="0"/>
                                          </p:stCondLst>
                                        </p:cTn>
                                        <p:tgtEl>
                                          <p:spTgt spid="19"/>
                                        </p:tgtEl>
                                        <p:attrNameLst>
                                          <p:attrName>style.visibility</p:attrName>
                                        </p:attrNameLst>
                                      </p:cBhvr>
                                      <p:to>
                                        <p:strVal val="visible"/>
                                      </p:to>
                                    </p:set>
                                    <p:animEffect transition="in" filter="fade">
                                      <p:cBhvr>
                                        <p:cTn id="93" dur="350"/>
                                        <p:tgtEl>
                                          <p:spTgt spid="19"/>
                                        </p:tgtEl>
                                      </p:cBhvr>
                                    </p:animEffect>
                                  </p:childTnLst>
                                </p:cTn>
                              </p:par>
                              <p:par>
                                <p:cTn id="94" presetID="63" presetClass="path" presetSubtype="0" decel="100000" fill="hold" nodeType="withEffect">
                                  <p:stCondLst>
                                    <p:cond delay="100"/>
                                  </p:stCondLst>
                                  <p:childTnLst>
                                    <p:animMotion origin="layout" path="M -4.58333E-6 -2.22222E-6 L -0.00052 0.07107 " pathEditMode="relative" rAng="0" ptsTypes="AA">
                                      <p:cBhvr>
                                        <p:cTn id="95" dur="500" spd="-100000" fill="hold"/>
                                        <p:tgtEl>
                                          <p:spTgt spid="19"/>
                                        </p:tgtEl>
                                        <p:attrNameLst>
                                          <p:attrName>ppt_x</p:attrName>
                                          <p:attrName>ppt_y</p:attrName>
                                        </p:attrNameLst>
                                      </p:cBhvr>
                                      <p:rCtr x="-26" y="3542"/>
                                    </p:animMotion>
                                  </p:childTnLst>
                                </p:cTn>
                              </p:par>
                              <p:par>
                                <p:cTn id="96" presetID="10" presetClass="entr" presetSubtype="0" fill="hold" nodeType="withEffect">
                                  <p:stCondLst>
                                    <p:cond delay="200"/>
                                  </p:stCondLst>
                                  <p:childTnLst>
                                    <p:set>
                                      <p:cBhvr>
                                        <p:cTn id="97" dur="1" fill="hold">
                                          <p:stCondLst>
                                            <p:cond delay="0"/>
                                          </p:stCondLst>
                                        </p:cTn>
                                        <p:tgtEl>
                                          <p:spTgt spid="20"/>
                                        </p:tgtEl>
                                        <p:attrNameLst>
                                          <p:attrName>style.visibility</p:attrName>
                                        </p:attrNameLst>
                                      </p:cBhvr>
                                      <p:to>
                                        <p:strVal val="visible"/>
                                      </p:to>
                                    </p:set>
                                    <p:animEffect transition="in" filter="fade">
                                      <p:cBhvr>
                                        <p:cTn id="98" dur="350"/>
                                        <p:tgtEl>
                                          <p:spTgt spid="20"/>
                                        </p:tgtEl>
                                      </p:cBhvr>
                                    </p:animEffect>
                                  </p:childTnLst>
                                </p:cTn>
                              </p:par>
                              <p:par>
                                <p:cTn id="99" presetID="63" presetClass="path" presetSubtype="0" decel="100000" fill="hold" nodeType="withEffect">
                                  <p:stCondLst>
                                    <p:cond delay="200"/>
                                  </p:stCondLst>
                                  <p:childTnLst>
                                    <p:animMotion origin="layout" path="M -4.58333E-6 -2.22222E-6 L -0.00052 0.07107 " pathEditMode="relative" rAng="0" ptsTypes="AA">
                                      <p:cBhvr>
                                        <p:cTn id="100" dur="500" spd="-100000" fill="hold"/>
                                        <p:tgtEl>
                                          <p:spTgt spid="20"/>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0C91A810-D04C-42FB-AB64-E7F9EA354317}"/>
              </a:ext>
            </a:extLst>
          </p:cNvPr>
          <p:cNvSpPr/>
          <p:nvPr/>
        </p:nvSpPr>
        <p:spPr bwMode="auto">
          <a:xfrm rot="20987574">
            <a:off x="2104119" y="2068852"/>
            <a:ext cx="8080487" cy="3398176"/>
          </a:xfrm>
          <a:prstGeom prst="ellipse">
            <a:avLst/>
          </a:prstGeom>
          <a:solidFill>
            <a:schemeClr val="bg1"/>
          </a:solidFill>
          <a:ln w="2222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cxnSp>
        <p:nvCxnSpPr>
          <p:cNvPr id="476" name="Straight Connector 475">
            <a:extLst>
              <a:ext uri="{FF2B5EF4-FFF2-40B4-BE49-F238E27FC236}">
                <a16:creationId xmlns:a16="http://schemas.microsoft.com/office/drawing/2014/main" id="{67DD03E7-1B3B-4A98-81F4-446C6E8BE664}"/>
              </a:ext>
            </a:extLst>
          </p:cNvPr>
          <p:cNvCxnSpPr>
            <a:cxnSpLocks/>
          </p:cNvCxnSpPr>
          <p:nvPr/>
        </p:nvCxnSpPr>
        <p:spPr>
          <a:xfrm>
            <a:off x="8751236" y="4380343"/>
            <a:ext cx="412473" cy="57294"/>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2" name="Straight Connector 831">
            <a:extLst>
              <a:ext uri="{FF2B5EF4-FFF2-40B4-BE49-F238E27FC236}">
                <a16:creationId xmlns:a16="http://schemas.microsoft.com/office/drawing/2014/main" id="{EA50BFEF-FE1D-4612-9EBD-9AB8C61A35F9}"/>
              </a:ext>
            </a:extLst>
          </p:cNvPr>
          <p:cNvCxnSpPr>
            <a:cxnSpLocks/>
          </p:cNvCxnSpPr>
          <p:nvPr/>
        </p:nvCxnSpPr>
        <p:spPr>
          <a:xfrm flipH="1">
            <a:off x="4483501" y="2347052"/>
            <a:ext cx="262000" cy="665472"/>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3" name="Straight Connector 832">
            <a:extLst>
              <a:ext uri="{FF2B5EF4-FFF2-40B4-BE49-F238E27FC236}">
                <a16:creationId xmlns:a16="http://schemas.microsoft.com/office/drawing/2014/main" id="{AE5F1811-2DB1-4053-8467-FB5C39A53429}"/>
              </a:ext>
            </a:extLst>
          </p:cNvPr>
          <p:cNvCxnSpPr>
            <a:cxnSpLocks/>
          </p:cNvCxnSpPr>
          <p:nvPr/>
        </p:nvCxnSpPr>
        <p:spPr>
          <a:xfrm flipH="1">
            <a:off x="7392401" y="3748892"/>
            <a:ext cx="647240" cy="17486"/>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4" name="Straight Connector 833">
            <a:extLst>
              <a:ext uri="{FF2B5EF4-FFF2-40B4-BE49-F238E27FC236}">
                <a16:creationId xmlns:a16="http://schemas.microsoft.com/office/drawing/2014/main" id="{8D04EDBA-CD14-46DA-80F2-6E741A2307AF}"/>
              </a:ext>
            </a:extLst>
          </p:cNvPr>
          <p:cNvCxnSpPr>
            <a:cxnSpLocks/>
          </p:cNvCxnSpPr>
          <p:nvPr/>
        </p:nvCxnSpPr>
        <p:spPr>
          <a:xfrm flipV="1">
            <a:off x="2165299" y="3613838"/>
            <a:ext cx="652822" cy="878201"/>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5" name="Straight Connector 834">
            <a:extLst>
              <a:ext uri="{FF2B5EF4-FFF2-40B4-BE49-F238E27FC236}">
                <a16:creationId xmlns:a16="http://schemas.microsoft.com/office/drawing/2014/main" id="{E57E1AB8-1A9F-4339-BD3B-8B2935D2E58E}"/>
              </a:ext>
            </a:extLst>
          </p:cNvPr>
          <p:cNvCxnSpPr>
            <a:cxnSpLocks/>
          </p:cNvCxnSpPr>
          <p:nvPr/>
        </p:nvCxnSpPr>
        <p:spPr>
          <a:xfrm flipV="1">
            <a:off x="3293490" y="4171804"/>
            <a:ext cx="111277" cy="778766"/>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6" name="Straight Connector 835">
            <a:extLst>
              <a:ext uri="{FF2B5EF4-FFF2-40B4-BE49-F238E27FC236}">
                <a16:creationId xmlns:a16="http://schemas.microsoft.com/office/drawing/2014/main" id="{EA458D41-10E5-4F26-9403-7C802FCD1008}"/>
              </a:ext>
            </a:extLst>
          </p:cNvPr>
          <p:cNvCxnSpPr>
            <a:cxnSpLocks/>
          </p:cNvCxnSpPr>
          <p:nvPr/>
        </p:nvCxnSpPr>
        <p:spPr>
          <a:xfrm flipV="1">
            <a:off x="4044652" y="3096717"/>
            <a:ext cx="370202" cy="1417040"/>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7" name="Straight Connector 836">
            <a:extLst>
              <a:ext uri="{FF2B5EF4-FFF2-40B4-BE49-F238E27FC236}">
                <a16:creationId xmlns:a16="http://schemas.microsoft.com/office/drawing/2014/main" id="{1E6968C4-829A-442A-8F3A-0C47456064D8}"/>
              </a:ext>
            </a:extLst>
          </p:cNvPr>
          <p:cNvCxnSpPr>
            <a:cxnSpLocks/>
          </p:cNvCxnSpPr>
          <p:nvPr/>
        </p:nvCxnSpPr>
        <p:spPr>
          <a:xfrm flipV="1">
            <a:off x="4047104" y="3011230"/>
            <a:ext cx="458462" cy="1507708"/>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8" name="Straight Connector 837">
            <a:extLst>
              <a:ext uri="{FF2B5EF4-FFF2-40B4-BE49-F238E27FC236}">
                <a16:creationId xmlns:a16="http://schemas.microsoft.com/office/drawing/2014/main" id="{5A78614F-2B8A-478E-8527-D221AD94873A}"/>
              </a:ext>
            </a:extLst>
          </p:cNvPr>
          <p:cNvCxnSpPr>
            <a:cxnSpLocks/>
          </p:cNvCxnSpPr>
          <p:nvPr/>
        </p:nvCxnSpPr>
        <p:spPr>
          <a:xfrm flipH="1" flipV="1">
            <a:off x="4029942" y="4516349"/>
            <a:ext cx="556239" cy="1063727"/>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9" name="Straight Connector 838">
            <a:extLst>
              <a:ext uri="{FF2B5EF4-FFF2-40B4-BE49-F238E27FC236}">
                <a16:creationId xmlns:a16="http://schemas.microsoft.com/office/drawing/2014/main" id="{08CBDDE0-27B4-4945-97C4-942327E2D006}"/>
              </a:ext>
            </a:extLst>
          </p:cNvPr>
          <p:cNvCxnSpPr>
            <a:cxnSpLocks/>
          </p:cNvCxnSpPr>
          <p:nvPr/>
        </p:nvCxnSpPr>
        <p:spPr>
          <a:xfrm>
            <a:off x="5244743" y="4576577"/>
            <a:ext cx="382846" cy="762577"/>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0" name="Straight Connector 839">
            <a:extLst>
              <a:ext uri="{FF2B5EF4-FFF2-40B4-BE49-F238E27FC236}">
                <a16:creationId xmlns:a16="http://schemas.microsoft.com/office/drawing/2014/main" id="{36DC9C1C-5E43-45AD-A5F0-79D9A2BB1E97}"/>
              </a:ext>
            </a:extLst>
          </p:cNvPr>
          <p:cNvCxnSpPr>
            <a:cxnSpLocks/>
          </p:cNvCxnSpPr>
          <p:nvPr/>
        </p:nvCxnSpPr>
        <p:spPr>
          <a:xfrm flipV="1">
            <a:off x="5261290" y="3939300"/>
            <a:ext cx="693209" cy="637278"/>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1" name="Straight Connector 840">
            <a:extLst>
              <a:ext uri="{FF2B5EF4-FFF2-40B4-BE49-F238E27FC236}">
                <a16:creationId xmlns:a16="http://schemas.microsoft.com/office/drawing/2014/main" id="{1CE3DA06-2756-4CB1-9626-171A7B620F02}"/>
              </a:ext>
            </a:extLst>
          </p:cNvPr>
          <p:cNvCxnSpPr>
            <a:cxnSpLocks/>
          </p:cNvCxnSpPr>
          <p:nvPr/>
        </p:nvCxnSpPr>
        <p:spPr>
          <a:xfrm flipV="1">
            <a:off x="5250259" y="3392041"/>
            <a:ext cx="731209" cy="1192308"/>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2" name="Straight Connector 841">
            <a:extLst>
              <a:ext uri="{FF2B5EF4-FFF2-40B4-BE49-F238E27FC236}">
                <a16:creationId xmlns:a16="http://schemas.microsoft.com/office/drawing/2014/main" id="{51A1D4E2-17F3-4C71-A260-0948EC88ADC8}"/>
              </a:ext>
            </a:extLst>
          </p:cNvPr>
          <p:cNvCxnSpPr>
            <a:cxnSpLocks/>
          </p:cNvCxnSpPr>
          <p:nvPr/>
        </p:nvCxnSpPr>
        <p:spPr>
          <a:xfrm flipH="1">
            <a:off x="4409950" y="2366481"/>
            <a:ext cx="339437" cy="1135660"/>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3" name="Straight Connector 842">
            <a:extLst>
              <a:ext uri="{FF2B5EF4-FFF2-40B4-BE49-F238E27FC236}">
                <a16:creationId xmlns:a16="http://schemas.microsoft.com/office/drawing/2014/main" id="{CC925F41-D8E9-4C96-B89C-19114DA06AEB}"/>
              </a:ext>
            </a:extLst>
          </p:cNvPr>
          <p:cNvCxnSpPr>
            <a:cxnSpLocks/>
          </p:cNvCxnSpPr>
          <p:nvPr/>
        </p:nvCxnSpPr>
        <p:spPr>
          <a:xfrm flipV="1">
            <a:off x="8024931" y="2243126"/>
            <a:ext cx="728146" cy="1511595"/>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4" name="Straight Connector 843">
            <a:extLst>
              <a:ext uri="{FF2B5EF4-FFF2-40B4-BE49-F238E27FC236}">
                <a16:creationId xmlns:a16="http://schemas.microsoft.com/office/drawing/2014/main" id="{50713661-A8D3-4946-B165-E9F6098BDC18}"/>
              </a:ext>
            </a:extLst>
          </p:cNvPr>
          <p:cNvCxnSpPr>
            <a:cxnSpLocks/>
          </p:cNvCxnSpPr>
          <p:nvPr/>
        </p:nvCxnSpPr>
        <p:spPr>
          <a:xfrm flipV="1">
            <a:off x="6226634" y="3389451"/>
            <a:ext cx="701177" cy="54402"/>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5" name="Straight Connector 844">
            <a:extLst>
              <a:ext uri="{FF2B5EF4-FFF2-40B4-BE49-F238E27FC236}">
                <a16:creationId xmlns:a16="http://schemas.microsoft.com/office/drawing/2014/main" id="{520E381B-D4DD-40D7-8CE5-A04ACDC43B56}"/>
              </a:ext>
            </a:extLst>
          </p:cNvPr>
          <p:cNvCxnSpPr>
            <a:cxnSpLocks/>
          </p:cNvCxnSpPr>
          <p:nvPr/>
        </p:nvCxnSpPr>
        <p:spPr>
          <a:xfrm>
            <a:off x="5923630" y="2810597"/>
            <a:ext cx="322525" cy="645051"/>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6" name="Straight Connector 845">
            <a:extLst>
              <a:ext uri="{FF2B5EF4-FFF2-40B4-BE49-F238E27FC236}">
                <a16:creationId xmlns:a16="http://schemas.microsoft.com/office/drawing/2014/main" id="{CC3C72EA-6016-4967-A452-5565DEB98539}"/>
              </a:ext>
            </a:extLst>
          </p:cNvPr>
          <p:cNvCxnSpPr>
            <a:cxnSpLocks/>
          </p:cNvCxnSpPr>
          <p:nvPr/>
        </p:nvCxnSpPr>
        <p:spPr>
          <a:xfrm flipH="1">
            <a:off x="3149135" y="3191410"/>
            <a:ext cx="695567" cy="120461"/>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7" name="Straight Connector 846">
            <a:extLst>
              <a:ext uri="{FF2B5EF4-FFF2-40B4-BE49-F238E27FC236}">
                <a16:creationId xmlns:a16="http://schemas.microsoft.com/office/drawing/2014/main" id="{33316549-0C28-42FA-AC9C-A9FD53F0893E}"/>
              </a:ext>
            </a:extLst>
          </p:cNvPr>
          <p:cNvCxnSpPr>
            <a:cxnSpLocks/>
          </p:cNvCxnSpPr>
          <p:nvPr/>
        </p:nvCxnSpPr>
        <p:spPr>
          <a:xfrm flipH="1" flipV="1">
            <a:off x="3299966" y="4938911"/>
            <a:ext cx="233151" cy="536247"/>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8" name="Straight Connector 847">
            <a:extLst>
              <a:ext uri="{FF2B5EF4-FFF2-40B4-BE49-F238E27FC236}">
                <a16:creationId xmlns:a16="http://schemas.microsoft.com/office/drawing/2014/main" id="{90CB3A59-FFBD-4E02-8052-60849FA2479F}"/>
              </a:ext>
            </a:extLst>
          </p:cNvPr>
          <p:cNvCxnSpPr>
            <a:cxnSpLocks/>
          </p:cNvCxnSpPr>
          <p:nvPr/>
        </p:nvCxnSpPr>
        <p:spPr>
          <a:xfrm flipH="1">
            <a:off x="2176956" y="4166621"/>
            <a:ext cx="1221684" cy="321533"/>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9" name="Straight Connector 848">
            <a:extLst>
              <a:ext uri="{FF2B5EF4-FFF2-40B4-BE49-F238E27FC236}">
                <a16:creationId xmlns:a16="http://schemas.microsoft.com/office/drawing/2014/main" id="{E2623181-6BDF-4111-A035-BD866BDF6018}"/>
              </a:ext>
            </a:extLst>
          </p:cNvPr>
          <p:cNvCxnSpPr>
            <a:cxnSpLocks/>
          </p:cNvCxnSpPr>
          <p:nvPr/>
        </p:nvCxnSpPr>
        <p:spPr>
          <a:xfrm flipH="1" flipV="1">
            <a:off x="2806463" y="3621609"/>
            <a:ext cx="1238190" cy="905102"/>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0" name="Straight Connector 849">
            <a:extLst>
              <a:ext uri="{FF2B5EF4-FFF2-40B4-BE49-F238E27FC236}">
                <a16:creationId xmlns:a16="http://schemas.microsoft.com/office/drawing/2014/main" id="{CF9EA3A5-5362-441F-AF1A-820F7154C9C9}"/>
              </a:ext>
            </a:extLst>
          </p:cNvPr>
          <p:cNvCxnSpPr>
            <a:cxnSpLocks/>
          </p:cNvCxnSpPr>
          <p:nvPr/>
        </p:nvCxnSpPr>
        <p:spPr>
          <a:xfrm>
            <a:off x="2523393" y="4205479"/>
            <a:ext cx="780459" cy="734728"/>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1" name="Straight Connector 850">
            <a:extLst>
              <a:ext uri="{FF2B5EF4-FFF2-40B4-BE49-F238E27FC236}">
                <a16:creationId xmlns:a16="http://schemas.microsoft.com/office/drawing/2014/main" id="{D986FE16-B768-4849-A700-3CD90C9484F5}"/>
              </a:ext>
            </a:extLst>
          </p:cNvPr>
          <p:cNvCxnSpPr>
            <a:cxnSpLocks/>
          </p:cNvCxnSpPr>
          <p:nvPr/>
        </p:nvCxnSpPr>
        <p:spPr>
          <a:xfrm flipV="1">
            <a:off x="3400477" y="3511855"/>
            <a:ext cx="1000280" cy="666423"/>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2" name="Straight Connector 851">
            <a:extLst>
              <a:ext uri="{FF2B5EF4-FFF2-40B4-BE49-F238E27FC236}">
                <a16:creationId xmlns:a16="http://schemas.microsoft.com/office/drawing/2014/main" id="{6D76B7F8-B739-4422-9738-3D0F9CE5CB89}"/>
              </a:ext>
            </a:extLst>
          </p:cNvPr>
          <p:cNvCxnSpPr>
            <a:cxnSpLocks/>
          </p:cNvCxnSpPr>
          <p:nvPr/>
        </p:nvCxnSpPr>
        <p:spPr>
          <a:xfrm flipV="1">
            <a:off x="3397412" y="3506026"/>
            <a:ext cx="2202211" cy="673547"/>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3" name="Straight Connector 852">
            <a:extLst>
              <a:ext uri="{FF2B5EF4-FFF2-40B4-BE49-F238E27FC236}">
                <a16:creationId xmlns:a16="http://schemas.microsoft.com/office/drawing/2014/main" id="{EB1CD591-CF9A-41A2-9805-BD6C18DACD9F}"/>
              </a:ext>
            </a:extLst>
          </p:cNvPr>
          <p:cNvCxnSpPr>
            <a:cxnSpLocks/>
          </p:cNvCxnSpPr>
          <p:nvPr/>
        </p:nvCxnSpPr>
        <p:spPr>
          <a:xfrm flipV="1">
            <a:off x="3533117" y="4526711"/>
            <a:ext cx="501729" cy="944562"/>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4" name="Straight Connector 853">
            <a:extLst>
              <a:ext uri="{FF2B5EF4-FFF2-40B4-BE49-F238E27FC236}">
                <a16:creationId xmlns:a16="http://schemas.microsoft.com/office/drawing/2014/main" id="{2DB6A066-457D-492B-8936-96808F7D2F2D}"/>
              </a:ext>
            </a:extLst>
          </p:cNvPr>
          <p:cNvCxnSpPr>
            <a:cxnSpLocks/>
          </p:cNvCxnSpPr>
          <p:nvPr/>
        </p:nvCxnSpPr>
        <p:spPr>
          <a:xfrm flipV="1">
            <a:off x="3296080" y="4516349"/>
            <a:ext cx="721603" cy="429039"/>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5" name="Straight Connector 854">
            <a:extLst>
              <a:ext uri="{FF2B5EF4-FFF2-40B4-BE49-F238E27FC236}">
                <a16:creationId xmlns:a16="http://schemas.microsoft.com/office/drawing/2014/main" id="{39F04A68-33ED-4E3B-AF8C-2CB4B97EBAD6}"/>
              </a:ext>
            </a:extLst>
          </p:cNvPr>
          <p:cNvCxnSpPr>
            <a:cxnSpLocks/>
          </p:cNvCxnSpPr>
          <p:nvPr/>
        </p:nvCxnSpPr>
        <p:spPr>
          <a:xfrm>
            <a:off x="4027491" y="4531890"/>
            <a:ext cx="1225834" cy="46630"/>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6" name="Straight Connector 855">
            <a:extLst>
              <a:ext uri="{FF2B5EF4-FFF2-40B4-BE49-F238E27FC236}">
                <a16:creationId xmlns:a16="http://schemas.microsoft.com/office/drawing/2014/main" id="{07A629AB-E117-417E-8BFD-9B2CBA541354}"/>
              </a:ext>
            </a:extLst>
          </p:cNvPr>
          <p:cNvCxnSpPr>
            <a:cxnSpLocks/>
          </p:cNvCxnSpPr>
          <p:nvPr/>
        </p:nvCxnSpPr>
        <p:spPr>
          <a:xfrm>
            <a:off x="4495759" y="3019000"/>
            <a:ext cx="752662" cy="1562111"/>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7" name="Straight Connector 856">
            <a:extLst>
              <a:ext uri="{FF2B5EF4-FFF2-40B4-BE49-F238E27FC236}">
                <a16:creationId xmlns:a16="http://schemas.microsoft.com/office/drawing/2014/main" id="{6ED3EC3D-C1B8-4987-AE5E-2BC8468592BC}"/>
              </a:ext>
            </a:extLst>
          </p:cNvPr>
          <p:cNvCxnSpPr>
            <a:cxnSpLocks/>
          </p:cNvCxnSpPr>
          <p:nvPr/>
        </p:nvCxnSpPr>
        <p:spPr>
          <a:xfrm>
            <a:off x="4405046" y="3075993"/>
            <a:ext cx="934990" cy="2496312"/>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8" name="Straight Connector 857">
            <a:extLst>
              <a:ext uri="{FF2B5EF4-FFF2-40B4-BE49-F238E27FC236}">
                <a16:creationId xmlns:a16="http://schemas.microsoft.com/office/drawing/2014/main" id="{79CF0C55-B4D6-40EC-BAC8-9FB5AA2F7489}"/>
              </a:ext>
            </a:extLst>
          </p:cNvPr>
          <p:cNvCxnSpPr>
            <a:cxnSpLocks/>
          </p:cNvCxnSpPr>
          <p:nvPr/>
        </p:nvCxnSpPr>
        <p:spPr>
          <a:xfrm>
            <a:off x="4407498" y="3075993"/>
            <a:ext cx="1581326" cy="318639"/>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9" name="Straight Connector 858">
            <a:extLst>
              <a:ext uri="{FF2B5EF4-FFF2-40B4-BE49-F238E27FC236}">
                <a16:creationId xmlns:a16="http://schemas.microsoft.com/office/drawing/2014/main" id="{16E55942-8A3B-4BF8-8E82-27EABF383FBB}"/>
              </a:ext>
            </a:extLst>
          </p:cNvPr>
          <p:cNvCxnSpPr>
            <a:cxnSpLocks/>
          </p:cNvCxnSpPr>
          <p:nvPr/>
        </p:nvCxnSpPr>
        <p:spPr>
          <a:xfrm>
            <a:off x="4488403" y="3011228"/>
            <a:ext cx="1468548" cy="927422"/>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0" name="Straight Connector 859">
            <a:extLst>
              <a:ext uri="{FF2B5EF4-FFF2-40B4-BE49-F238E27FC236}">
                <a16:creationId xmlns:a16="http://schemas.microsoft.com/office/drawing/2014/main" id="{14E10D46-956F-475E-8994-78B8EEBD1F4A}"/>
              </a:ext>
            </a:extLst>
          </p:cNvPr>
          <p:cNvCxnSpPr>
            <a:cxnSpLocks/>
          </p:cNvCxnSpPr>
          <p:nvPr/>
        </p:nvCxnSpPr>
        <p:spPr>
          <a:xfrm>
            <a:off x="5599008" y="3511208"/>
            <a:ext cx="603685" cy="1441952"/>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1" name="Straight Connector 860">
            <a:extLst>
              <a:ext uri="{FF2B5EF4-FFF2-40B4-BE49-F238E27FC236}">
                <a16:creationId xmlns:a16="http://schemas.microsoft.com/office/drawing/2014/main" id="{A025F92A-E0C9-4BC1-8459-A81E12F87EF2}"/>
              </a:ext>
            </a:extLst>
          </p:cNvPr>
          <p:cNvCxnSpPr>
            <a:cxnSpLocks/>
          </p:cNvCxnSpPr>
          <p:nvPr/>
        </p:nvCxnSpPr>
        <p:spPr>
          <a:xfrm flipH="1">
            <a:off x="4586181" y="4582406"/>
            <a:ext cx="665918" cy="989899"/>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2" name="Straight Connector 861">
            <a:extLst>
              <a:ext uri="{FF2B5EF4-FFF2-40B4-BE49-F238E27FC236}">
                <a16:creationId xmlns:a16="http://schemas.microsoft.com/office/drawing/2014/main" id="{35FBEEDD-E316-4C2F-82AE-511A7847793D}"/>
              </a:ext>
            </a:extLst>
          </p:cNvPr>
          <p:cNvCxnSpPr>
            <a:cxnSpLocks/>
          </p:cNvCxnSpPr>
          <p:nvPr/>
        </p:nvCxnSpPr>
        <p:spPr>
          <a:xfrm>
            <a:off x="5257614" y="4582406"/>
            <a:ext cx="941194" cy="360391"/>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3" name="Straight Connector 862">
            <a:extLst>
              <a:ext uri="{FF2B5EF4-FFF2-40B4-BE49-F238E27FC236}">
                <a16:creationId xmlns:a16="http://schemas.microsoft.com/office/drawing/2014/main" id="{142FB558-D965-4585-A60F-795BA2C835C1}"/>
              </a:ext>
            </a:extLst>
          </p:cNvPr>
          <p:cNvCxnSpPr>
            <a:cxnSpLocks/>
          </p:cNvCxnSpPr>
          <p:nvPr/>
        </p:nvCxnSpPr>
        <p:spPr>
          <a:xfrm flipV="1">
            <a:off x="5619817" y="3954844"/>
            <a:ext cx="334684" cy="1384310"/>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4" name="Straight Connector 863">
            <a:extLst>
              <a:ext uri="{FF2B5EF4-FFF2-40B4-BE49-F238E27FC236}">
                <a16:creationId xmlns:a16="http://schemas.microsoft.com/office/drawing/2014/main" id="{DAF69E1C-9B27-4AB4-B0B8-080C54155BB8}"/>
              </a:ext>
            </a:extLst>
          </p:cNvPr>
          <p:cNvCxnSpPr>
            <a:cxnSpLocks/>
          </p:cNvCxnSpPr>
          <p:nvPr/>
        </p:nvCxnSpPr>
        <p:spPr>
          <a:xfrm flipV="1">
            <a:off x="5949597" y="3384269"/>
            <a:ext cx="24517" cy="567334"/>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5" name="Straight Connector 864">
            <a:extLst>
              <a:ext uri="{FF2B5EF4-FFF2-40B4-BE49-F238E27FC236}">
                <a16:creationId xmlns:a16="http://schemas.microsoft.com/office/drawing/2014/main" id="{DE3858D3-E0C6-4A81-B026-9B72E6F6C5EA}"/>
              </a:ext>
            </a:extLst>
          </p:cNvPr>
          <p:cNvCxnSpPr>
            <a:cxnSpLocks/>
          </p:cNvCxnSpPr>
          <p:nvPr/>
        </p:nvCxnSpPr>
        <p:spPr>
          <a:xfrm flipH="1" flipV="1">
            <a:off x="4494532" y="3015114"/>
            <a:ext cx="1485710" cy="374337"/>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6" name="Straight Connector 865">
            <a:extLst>
              <a:ext uri="{FF2B5EF4-FFF2-40B4-BE49-F238E27FC236}">
                <a16:creationId xmlns:a16="http://schemas.microsoft.com/office/drawing/2014/main" id="{32812932-E1F4-437D-B78D-EECD3F00B07A}"/>
              </a:ext>
            </a:extLst>
          </p:cNvPr>
          <p:cNvCxnSpPr>
            <a:cxnSpLocks/>
          </p:cNvCxnSpPr>
          <p:nvPr/>
        </p:nvCxnSpPr>
        <p:spPr>
          <a:xfrm>
            <a:off x="4741615" y="2374253"/>
            <a:ext cx="848811" cy="1124002"/>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7" name="Straight Connector 866">
            <a:extLst>
              <a:ext uri="{FF2B5EF4-FFF2-40B4-BE49-F238E27FC236}">
                <a16:creationId xmlns:a16="http://schemas.microsoft.com/office/drawing/2014/main" id="{866C6A26-4A47-48A3-B537-296965643A13}"/>
              </a:ext>
            </a:extLst>
          </p:cNvPr>
          <p:cNvCxnSpPr>
            <a:cxnSpLocks/>
          </p:cNvCxnSpPr>
          <p:nvPr/>
        </p:nvCxnSpPr>
        <p:spPr>
          <a:xfrm>
            <a:off x="4741615" y="2370367"/>
            <a:ext cx="1238627" cy="1026856"/>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8" name="Straight Connector 867">
            <a:extLst>
              <a:ext uri="{FF2B5EF4-FFF2-40B4-BE49-F238E27FC236}">
                <a16:creationId xmlns:a16="http://schemas.microsoft.com/office/drawing/2014/main" id="{29C0B8CE-BAAB-4776-BA1B-C231B5E30989}"/>
              </a:ext>
            </a:extLst>
          </p:cNvPr>
          <p:cNvCxnSpPr>
            <a:cxnSpLocks/>
          </p:cNvCxnSpPr>
          <p:nvPr/>
        </p:nvCxnSpPr>
        <p:spPr>
          <a:xfrm flipV="1">
            <a:off x="5976565" y="1986781"/>
            <a:ext cx="1351220" cy="1398785"/>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9" name="Straight Connector 868">
            <a:extLst>
              <a:ext uri="{FF2B5EF4-FFF2-40B4-BE49-F238E27FC236}">
                <a16:creationId xmlns:a16="http://schemas.microsoft.com/office/drawing/2014/main" id="{6838408F-5255-4F88-A403-45AB90765E1C}"/>
              </a:ext>
            </a:extLst>
          </p:cNvPr>
          <p:cNvCxnSpPr>
            <a:cxnSpLocks/>
          </p:cNvCxnSpPr>
          <p:nvPr/>
        </p:nvCxnSpPr>
        <p:spPr>
          <a:xfrm flipH="1" flipV="1">
            <a:off x="7360758" y="1910566"/>
            <a:ext cx="40224" cy="1877833"/>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0" name="Straight Connector 869">
            <a:extLst>
              <a:ext uri="{FF2B5EF4-FFF2-40B4-BE49-F238E27FC236}">
                <a16:creationId xmlns:a16="http://schemas.microsoft.com/office/drawing/2014/main" id="{9C6E4E6C-8147-414A-B998-F70214A53BB4}"/>
              </a:ext>
            </a:extLst>
          </p:cNvPr>
          <p:cNvCxnSpPr>
            <a:cxnSpLocks/>
          </p:cNvCxnSpPr>
          <p:nvPr/>
        </p:nvCxnSpPr>
        <p:spPr>
          <a:xfrm flipV="1">
            <a:off x="5954497" y="3430252"/>
            <a:ext cx="283167" cy="514875"/>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1" name="Straight Connector 870">
            <a:extLst>
              <a:ext uri="{FF2B5EF4-FFF2-40B4-BE49-F238E27FC236}">
                <a16:creationId xmlns:a16="http://schemas.microsoft.com/office/drawing/2014/main" id="{CEC18D6F-A790-4DD6-AC09-698C8522A117}"/>
              </a:ext>
            </a:extLst>
          </p:cNvPr>
          <p:cNvCxnSpPr>
            <a:cxnSpLocks/>
          </p:cNvCxnSpPr>
          <p:nvPr/>
        </p:nvCxnSpPr>
        <p:spPr>
          <a:xfrm flipH="1" flipV="1">
            <a:off x="6245022" y="3447740"/>
            <a:ext cx="1145541" cy="326410"/>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2" name="Straight Connector 871">
            <a:extLst>
              <a:ext uri="{FF2B5EF4-FFF2-40B4-BE49-F238E27FC236}">
                <a16:creationId xmlns:a16="http://schemas.microsoft.com/office/drawing/2014/main" id="{4202450F-03C6-43E7-B5CA-25D6CB0C1172}"/>
              </a:ext>
            </a:extLst>
          </p:cNvPr>
          <p:cNvCxnSpPr>
            <a:cxnSpLocks/>
          </p:cNvCxnSpPr>
          <p:nvPr/>
        </p:nvCxnSpPr>
        <p:spPr>
          <a:xfrm flipH="1" flipV="1">
            <a:off x="6892263" y="3387511"/>
            <a:ext cx="603108" cy="1327014"/>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3" name="Straight Connector 872">
            <a:extLst>
              <a:ext uri="{FF2B5EF4-FFF2-40B4-BE49-F238E27FC236}">
                <a16:creationId xmlns:a16="http://schemas.microsoft.com/office/drawing/2014/main" id="{0D7B939E-73A8-4405-9811-6A4820578F17}"/>
              </a:ext>
            </a:extLst>
          </p:cNvPr>
          <p:cNvCxnSpPr>
            <a:cxnSpLocks/>
          </p:cNvCxnSpPr>
          <p:nvPr/>
        </p:nvCxnSpPr>
        <p:spPr>
          <a:xfrm flipH="1">
            <a:off x="5954501" y="3770264"/>
            <a:ext cx="1445255" cy="170979"/>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4" name="Straight Connector 873">
            <a:extLst>
              <a:ext uri="{FF2B5EF4-FFF2-40B4-BE49-F238E27FC236}">
                <a16:creationId xmlns:a16="http://schemas.microsoft.com/office/drawing/2014/main" id="{98104C4E-13CD-4713-93A2-47B93CAFB723}"/>
              </a:ext>
            </a:extLst>
          </p:cNvPr>
          <p:cNvCxnSpPr>
            <a:cxnSpLocks/>
          </p:cNvCxnSpPr>
          <p:nvPr/>
        </p:nvCxnSpPr>
        <p:spPr>
          <a:xfrm flipH="1" flipV="1">
            <a:off x="5928757" y="3929586"/>
            <a:ext cx="724695" cy="1489876"/>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5" name="Straight Connector 874">
            <a:extLst>
              <a:ext uri="{FF2B5EF4-FFF2-40B4-BE49-F238E27FC236}">
                <a16:creationId xmlns:a16="http://schemas.microsoft.com/office/drawing/2014/main" id="{8DE30A2C-5EFA-4C45-811D-F6D0003EBC3A}"/>
              </a:ext>
            </a:extLst>
          </p:cNvPr>
          <p:cNvCxnSpPr>
            <a:cxnSpLocks/>
          </p:cNvCxnSpPr>
          <p:nvPr/>
        </p:nvCxnSpPr>
        <p:spPr>
          <a:xfrm flipV="1">
            <a:off x="7153362" y="3774152"/>
            <a:ext cx="220652" cy="940373"/>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6" name="Straight Connector 875">
            <a:extLst>
              <a:ext uri="{FF2B5EF4-FFF2-40B4-BE49-F238E27FC236}">
                <a16:creationId xmlns:a16="http://schemas.microsoft.com/office/drawing/2014/main" id="{EB466FF0-924A-4088-ACDF-DEA632D99885}"/>
              </a:ext>
            </a:extLst>
          </p:cNvPr>
          <p:cNvCxnSpPr>
            <a:cxnSpLocks/>
          </p:cNvCxnSpPr>
          <p:nvPr/>
        </p:nvCxnSpPr>
        <p:spPr>
          <a:xfrm flipH="1" flipV="1">
            <a:off x="7403434" y="3762494"/>
            <a:ext cx="94542" cy="949743"/>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7" name="Straight Connector 876">
            <a:extLst>
              <a:ext uri="{FF2B5EF4-FFF2-40B4-BE49-F238E27FC236}">
                <a16:creationId xmlns:a16="http://schemas.microsoft.com/office/drawing/2014/main" id="{83331063-7B95-4914-ABDE-D55911F795C3}"/>
              </a:ext>
            </a:extLst>
          </p:cNvPr>
          <p:cNvCxnSpPr>
            <a:cxnSpLocks/>
          </p:cNvCxnSpPr>
          <p:nvPr/>
        </p:nvCxnSpPr>
        <p:spPr>
          <a:xfrm flipV="1">
            <a:off x="7156021" y="3750837"/>
            <a:ext cx="890975" cy="966582"/>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8" name="Straight Connector 877">
            <a:extLst>
              <a:ext uri="{FF2B5EF4-FFF2-40B4-BE49-F238E27FC236}">
                <a16:creationId xmlns:a16="http://schemas.microsoft.com/office/drawing/2014/main" id="{08080F2B-53E8-4C49-922D-81508B66083F}"/>
              </a:ext>
            </a:extLst>
          </p:cNvPr>
          <p:cNvCxnSpPr>
            <a:cxnSpLocks/>
          </p:cNvCxnSpPr>
          <p:nvPr/>
        </p:nvCxnSpPr>
        <p:spPr>
          <a:xfrm flipV="1">
            <a:off x="7837377" y="3750836"/>
            <a:ext cx="191232" cy="1002547"/>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9" name="Straight Connector 878">
            <a:extLst>
              <a:ext uri="{FF2B5EF4-FFF2-40B4-BE49-F238E27FC236}">
                <a16:creationId xmlns:a16="http://schemas.microsoft.com/office/drawing/2014/main" id="{81F7221A-57DF-4E34-80EA-1FF107406C5B}"/>
              </a:ext>
            </a:extLst>
          </p:cNvPr>
          <p:cNvCxnSpPr>
            <a:cxnSpLocks/>
          </p:cNvCxnSpPr>
          <p:nvPr/>
        </p:nvCxnSpPr>
        <p:spPr>
          <a:xfrm flipH="1" flipV="1">
            <a:off x="7385045" y="3766378"/>
            <a:ext cx="1014448" cy="1088340"/>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0" name="Straight Connector 879">
            <a:extLst>
              <a:ext uri="{FF2B5EF4-FFF2-40B4-BE49-F238E27FC236}">
                <a16:creationId xmlns:a16="http://schemas.microsoft.com/office/drawing/2014/main" id="{0D449DC9-108A-4BA0-BAA5-1620B96EF0D0}"/>
              </a:ext>
            </a:extLst>
          </p:cNvPr>
          <p:cNvCxnSpPr>
            <a:cxnSpLocks/>
          </p:cNvCxnSpPr>
          <p:nvPr/>
        </p:nvCxnSpPr>
        <p:spPr>
          <a:xfrm flipH="1" flipV="1">
            <a:off x="7392399" y="3770264"/>
            <a:ext cx="1763538" cy="682917"/>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1" name="Straight Connector 880">
            <a:extLst>
              <a:ext uri="{FF2B5EF4-FFF2-40B4-BE49-F238E27FC236}">
                <a16:creationId xmlns:a16="http://schemas.microsoft.com/office/drawing/2014/main" id="{30FC0524-3201-4EB9-B19D-12BD8568FA42}"/>
              </a:ext>
            </a:extLst>
          </p:cNvPr>
          <p:cNvCxnSpPr>
            <a:cxnSpLocks/>
          </p:cNvCxnSpPr>
          <p:nvPr/>
        </p:nvCxnSpPr>
        <p:spPr>
          <a:xfrm flipH="1" flipV="1">
            <a:off x="8035963" y="3756665"/>
            <a:ext cx="363530" cy="1100644"/>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2" name="Straight Connector 881">
            <a:extLst>
              <a:ext uri="{FF2B5EF4-FFF2-40B4-BE49-F238E27FC236}">
                <a16:creationId xmlns:a16="http://schemas.microsoft.com/office/drawing/2014/main" id="{47F4C383-82D7-4A8F-B126-94AA21FB10C3}"/>
              </a:ext>
            </a:extLst>
          </p:cNvPr>
          <p:cNvCxnSpPr>
            <a:cxnSpLocks/>
          </p:cNvCxnSpPr>
          <p:nvPr/>
        </p:nvCxnSpPr>
        <p:spPr>
          <a:xfrm flipV="1">
            <a:off x="8759818" y="3754858"/>
            <a:ext cx="412377" cy="635200"/>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3" name="Straight Connector 882">
            <a:extLst>
              <a:ext uri="{FF2B5EF4-FFF2-40B4-BE49-F238E27FC236}">
                <a16:creationId xmlns:a16="http://schemas.microsoft.com/office/drawing/2014/main" id="{3CFD293D-B7FE-41B6-BE9E-62BDA72BA1EE}"/>
              </a:ext>
            </a:extLst>
          </p:cNvPr>
          <p:cNvCxnSpPr>
            <a:cxnSpLocks/>
          </p:cNvCxnSpPr>
          <p:nvPr/>
        </p:nvCxnSpPr>
        <p:spPr>
          <a:xfrm>
            <a:off x="8039641" y="3739177"/>
            <a:ext cx="1112411" cy="710118"/>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4" name="Straight Connector 883">
            <a:extLst>
              <a:ext uri="{FF2B5EF4-FFF2-40B4-BE49-F238E27FC236}">
                <a16:creationId xmlns:a16="http://schemas.microsoft.com/office/drawing/2014/main" id="{E8355A4D-93D8-444B-9E36-405F021A58EF}"/>
              </a:ext>
            </a:extLst>
          </p:cNvPr>
          <p:cNvCxnSpPr>
            <a:cxnSpLocks/>
          </p:cNvCxnSpPr>
          <p:nvPr/>
        </p:nvCxnSpPr>
        <p:spPr>
          <a:xfrm>
            <a:off x="8044543" y="3749539"/>
            <a:ext cx="1136579" cy="12816"/>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5" name="Straight Connector 884">
            <a:extLst>
              <a:ext uri="{FF2B5EF4-FFF2-40B4-BE49-F238E27FC236}">
                <a16:creationId xmlns:a16="http://schemas.microsoft.com/office/drawing/2014/main" id="{CFE8A166-DC94-4F38-B2C7-554D9C2C4FAA}"/>
              </a:ext>
            </a:extLst>
          </p:cNvPr>
          <p:cNvCxnSpPr>
            <a:cxnSpLocks/>
          </p:cNvCxnSpPr>
          <p:nvPr/>
        </p:nvCxnSpPr>
        <p:spPr>
          <a:xfrm>
            <a:off x="8607202" y="2389493"/>
            <a:ext cx="540964" cy="2071459"/>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6" name="Straight Connector 885">
            <a:extLst>
              <a:ext uri="{FF2B5EF4-FFF2-40B4-BE49-F238E27FC236}">
                <a16:creationId xmlns:a16="http://schemas.microsoft.com/office/drawing/2014/main" id="{F8200E32-FE07-4E5B-964A-151242D53354}"/>
              </a:ext>
            </a:extLst>
          </p:cNvPr>
          <p:cNvCxnSpPr>
            <a:cxnSpLocks/>
          </p:cNvCxnSpPr>
          <p:nvPr/>
        </p:nvCxnSpPr>
        <p:spPr>
          <a:xfrm>
            <a:off x="8757979" y="2249603"/>
            <a:ext cx="386301" cy="2199692"/>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7" name="Straight Connector 886">
            <a:extLst>
              <a:ext uri="{FF2B5EF4-FFF2-40B4-BE49-F238E27FC236}">
                <a16:creationId xmlns:a16="http://schemas.microsoft.com/office/drawing/2014/main" id="{8BF445B9-E5E8-4E89-B882-D19E833A8980}"/>
              </a:ext>
            </a:extLst>
          </p:cNvPr>
          <p:cNvCxnSpPr>
            <a:cxnSpLocks/>
          </p:cNvCxnSpPr>
          <p:nvPr/>
        </p:nvCxnSpPr>
        <p:spPr>
          <a:xfrm flipV="1">
            <a:off x="8028607" y="2779158"/>
            <a:ext cx="1969782" cy="967792"/>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8" name="Straight Connector 887">
            <a:extLst>
              <a:ext uri="{FF2B5EF4-FFF2-40B4-BE49-F238E27FC236}">
                <a16:creationId xmlns:a16="http://schemas.microsoft.com/office/drawing/2014/main" id="{582467F5-1BFA-44C2-81E3-2C8D65E87C98}"/>
              </a:ext>
            </a:extLst>
          </p:cNvPr>
          <p:cNvCxnSpPr>
            <a:cxnSpLocks/>
          </p:cNvCxnSpPr>
          <p:nvPr/>
        </p:nvCxnSpPr>
        <p:spPr>
          <a:xfrm flipH="1" flipV="1">
            <a:off x="7360758" y="1910566"/>
            <a:ext cx="693595" cy="1855813"/>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9" name="Straight Connector 888">
            <a:extLst>
              <a:ext uri="{FF2B5EF4-FFF2-40B4-BE49-F238E27FC236}">
                <a16:creationId xmlns:a16="http://schemas.microsoft.com/office/drawing/2014/main" id="{40B56519-5672-4E72-A158-709EBDDF3BDF}"/>
              </a:ext>
            </a:extLst>
          </p:cNvPr>
          <p:cNvCxnSpPr>
            <a:cxnSpLocks/>
          </p:cNvCxnSpPr>
          <p:nvPr/>
        </p:nvCxnSpPr>
        <p:spPr>
          <a:xfrm>
            <a:off x="5976564" y="3389451"/>
            <a:ext cx="264780" cy="49221"/>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0" name="Straight Connector 889">
            <a:extLst>
              <a:ext uri="{FF2B5EF4-FFF2-40B4-BE49-F238E27FC236}">
                <a16:creationId xmlns:a16="http://schemas.microsoft.com/office/drawing/2014/main" id="{4E7ED3C9-F52F-4D29-AF90-B71E230B4BAE}"/>
              </a:ext>
            </a:extLst>
          </p:cNvPr>
          <p:cNvCxnSpPr>
            <a:cxnSpLocks/>
          </p:cNvCxnSpPr>
          <p:nvPr/>
        </p:nvCxnSpPr>
        <p:spPr>
          <a:xfrm flipH="1" flipV="1">
            <a:off x="7358086" y="1968829"/>
            <a:ext cx="1409703" cy="278183"/>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1" name="Straight Connector 890">
            <a:extLst>
              <a:ext uri="{FF2B5EF4-FFF2-40B4-BE49-F238E27FC236}">
                <a16:creationId xmlns:a16="http://schemas.microsoft.com/office/drawing/2014/main" id="{7652D6B0-B5DF-45D4-841A-48C24941C8ED}"/>
              </a:ext>
            </a:extLst>
          </p:cNvPr>
          <p:cNvCxnSpPr>
            <a:cxnSpLocks/>
          </p:cNvCxnSpPr>
          <p:nvPr/>
        </p:nvCxnSpPr>
        <p:spPr>
          <a:xfrm flipH="1" flipV="1">
            <a:off x="8747562" y="2252844"/>
            <a:ext cx="1250827" cy="501445"/>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2" name="Straight Connector 891">
            <a:extLst>
              <a:ext uri="{FF2B5EF4-FFF2-40B4-BE49-F238E27FC236}">
                <a16:creationId xmlns:a16="http://schemas.microsoft.com/office/drawing/2014/main" id="{473EDAEF-9E18-4304-BE1A-C778EE745091}"/>
              </a:ext>
            </a:extLst>
          </p:cNvPr>
          <p:cNvCxnSpPr>
            <a:cxnSpLocks/>
          </p:cNvCxnSpPr>
          <p:nvPr/>
        </p:nvCxnSpPr>
        <p:spPr>
          <a:xfrm flipH="1" flipV="1">
            <a:off x="8757368" y="2247661"/>
            <a:ext cx="569547" cy="16492"/>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3" name="Straight Connector 892">
            <a:extLst>
              <a:ext uri="{FF2B5EF4-FFF2-40B4-BE49-F238E27FC236}">
                <a16:creationId xmlns:a16="http://schemas.microsoft.com/office/drawing/2014/main" id="{9DAAF51C-8039-4AE3-9853-9C2CD86629E5}"/>
              </a:ext>
            </a:extLst>
          </p:cNvPr>
          <p:cNvCxnSpPr>
            <a:cxnSpLocks/>
          </p:cNvCxnSpPr>
          <p:nvPr/>
        </p:nvCxnSpPr>
        <p:spPr>
          <a:xfrm flipH="1" flipV="1">
            <a:off x="8607818" y="2403095"/>
            <a:ext cx="1378137" cy="351193"/>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4" name="Straight Connector 893">
            <a:extLst>
              <a:ext uri="{FF2B5EF4-FFF2-40B4-BE49-F238E27FC236}">
                <a16:creationId xmlns:a16="http://schemas.microsoft.com/office/drawing/2014/main" id="{F46E1492-6C59-498B-B1E8-6F1B14EC7307}"/>
              </a:ext>
            </a:extLst>
          </p:cNvPr>
          <p:cNvCxnSpPr>
            <a:cxnSpLocks/>
          </p:cNvCxnSpPr>
          <p:nvPr/>
        </p:nvCxnSpPr>
        <p:spPr>
          <a:xfrm>
            <a:off x="4757159" y="2370366"/>
            <a:ext cx="1154812" cy="432459"/>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5" name="Straight Connector 894">
            <a:extLst>
              <a:ext uri="{FF2B5EF4-FFF2-40B4-BE49-F238E27FC236}">
                <a16:creationId xmlns:a16="http://schemas.microsoft.com/office/drawing/2014/main" id="{86B20F5A-5198-4FF8-82C8-B3E60B56A455}"/>
              </a:ext>
            </a:extLst>
          </p:cNvPr>
          <p:cNvCxnSpPr>
            <a:cxnSpLocks/>
          </p:cNvCxnSpPr>
          <p:nvPr/>
        </p:nvCxnSpPr>
        <p:spPr>
          <a:xfrm>
            <a:off x="5915858" y="2802826"/>
            <a:ext cx="983119" cy="575105"/>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6" name="Straight Connector 895">
            <a:extLst>
              <a:ext uri="{FF2B5EF4-FFF2-40B4-BE49-F238E27FC236}">
                <a16:creationId xmlns:a16="http://schemas.microsoft.com/office/drawing/2014/main" id="{BB988CC8-4F95-4638-8F9A-C53D7A249590}"/>
              </a:ext>
            </a:extLst>
          </p:cNvPr>
          <p:cNvCxnSpPr>
            <a:cxnSpLocks/>
          </p:cNvCxnSpPr>
          <p:nvPr/>
        </p:nvCxnSpPr>
        <p:spPr>
          <a:xfrm>
            <a:off x="5923630" y="2798939"/>
            <a:ext cx="617567" cy="90209"/>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7" name="Straight Connector 896">
            <a:extLst>
              <a:ext uri="{FF2B5EF4-FFF2-40B4-BE49-F238E27FC236}">
                <a16:creationId xmlns:a16="http://schemas.microsoft.com/office/drawing/2014/main" id="{89B3CD3A-18FF-47B9-81F8-E2AF2CAFF200}"/>
              </a:ext>
            </a:extLst>
          </p:cNvPr>
          <p:cNvCxnSpPr>
            <a:cxnSpLocks/>
          </p:cNvCxnSpPr>
          <p:nvPr/>
        </p:nvCxnSpPr>
        <p:spPr>
          <a:xfrm flipH="1" flipV="1">
            <a:off x="3590641" y="2823130"/>
            <a:ext cx="264422" cy="356623"/>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8" name="Straight Connector 897">
            <a:extLst>
              <a:ext uri="{FF2B5EF4-FFF2-40B4-BE49-F238E27FC236}">
                <a16:creationId xmlns:a16="http://schemas.microsoft.com/office/drawing/2014/main" id="{DDCD4250-CC36-4F31-8F36-B69C8B8C6CFA}"/>
              </a:ext>
            </a:extLst>
          </p:cNvPr>
          <p:cNvCxnSpPr>
            <a:cxnSpLocks/>
          </p:cNvCxnSpPr>
          <p:nvPr/>
        </p:nvCxnSpPr>
        <p:spPr>
          <a:xfrm flipH="1">
            <a:off x="3844702" y="2362594"/>
            <a:ext cx="893028" cy="806796"/>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9" name="Straight Connector 898">
            <a:extLst>
              <a:ext uri="{FF2B5EF4-FFF2-40B4-BE49-F238E27FC236}">
                <a16:creationId xmlns:a16="http://schemas.microsoft.com/office/drawing/2014/main" id="{4F3E57C3-7968-4410-8B73-579207BAE005}"/>
              </a:ext>
            </a:extLst>
          </p:cNvPr>
          <p:cNvCxnSpPr>
            <a:cxnSpLocks/>
          </p:cNvCxnSpPr>
          <p:nvPr/>
        </p:nvCxnSpPr>
        <p:spPr>
          <a:xfrm flipH="1" flipV="1">
            <a:off x="3602301" y="2823130"/>
            <a:ext cx="879679" cy="185646"/>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0" name="Straight Connector 899">
            <a:extLst>
              <a:ext uri="{FF2B5EF4-FFF2-40B4-BE49-F238E27FC236}">
                <a16:creationId xmlns:a16="http://schemas.microsoft.com/office/drawing/2014/main" id="{A127F58C-0812-46B4-BB75-0218CF13FC62}"/>
              </a:ext>
            </a:extLst>
          </p:cNvPr>
          <p:cNvCxnSpPr>
            <a:cxnSpLocks/>
          </p:cNvCxnSpPr>
          <p:nvPr/>
        </p:nvCxnSpPr>
        <p:spPr>
          <a:xfrm flipH="1">
            <a:off x="3834337" y="3068358"/>
            <a:ext cx="567334" cy="108804"/>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1" name="Straight Connector 900">
            <a:extLst>
              <a:ext uri="{FF2B5EF4-FFF2-40B4-BE49-F238E27FC236}">
                <a16:creationId xmlns:a16="http://schemas.microsoft.com/office/drawing/2014/main" id="{2C94F7BC-1A9E-4C69-AA9C-134499497710}"/>
              </a:ext>
            </a:extLst>
          </p:cNvPr>
          <p:cNvCxnSpPr>
            <a:cxnSpLocks/>
          </p:cNvCxnSpPr>
          <p:nvPr/>
        </p:nvCxnSpPr>
        <p:spPr>
          <a:xfrm flipH="1" flipV="1">
            <a:off x="3187993" y="3315757"/>
            <a:ext cx="1213680" cy="183930"/>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2" name="Straight Connector 901">
            <a:extLst>
              <a:ext uri="{FF2B5EF4-FFF2-40B4-BE49-F238E27FC236}">
                <a16:creationId xmlns:a16="http://schemas.microsoft.com/office/drawing/2014/main" id="{8EDCF067-1E12-447C-A5DA-3673A43B3B09}"/>
              </a:ext>
            </a:extLst>
          </p:cNvPr>
          <p:cNvCxnSpPr>
            <a:cxnSpLocks/>
          </p:cNvCxnSpPr>
          <p:nvPr/>
        </p:nvCxnSpPr>
        <p:spPr>
          <a:xfrm flipH="1">
            <a:off x="3393942" y="2823130"/>
            <a:ext cx="185039" cy="1351400"/>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3" name="Straight Connector 902">
            <a:extLst>
              <a:ext uri="{FF2B5EF4-FFF2-40B4-BE49-F238E27FC236}">
                <a16:creationId xmlns:a16="http://schemas.microsoft.com/office/drawing/2014/main" id="{0877471C-B4A0-4D3E-AF68-4109CDDCBA03}"/>
              </a:ext>
            </a:extLst>
          </p:cNvPr>
          <p:cNvCxnSpPr>
            <a:cxnSpLocks/>
          </p:cNvCxnSpPr>
          <p:nvPr/>
        </p:nvCxnSpPr>
        <p:spPr>
          <a:xfrm flipH="1" flipV="1">
            <a:off x="3543060" y="3811933"/>
            <a:ext cx="1705728" cy="771906"/>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4" name="Straight Connector 903">
            <a:extLst>
              <a:ext uri="{FF2B5EF4-FFF2-40B4-BE49-F238E27FC236}">
                <a16:creationId xmlns:a16="http://schemas.microsoft.com/office/drawing/2014/main" id="{8A12D69C-AA60-4AB0-8AAB-A375ED2A9A19}"/>
              </a:ext>
            </a:extLst>
          </p:cNvPr>
          <p:cNvCxnSpPr>
            <a:cxnSpLocks/>
          </p:cNvCxnSpPr>
          <p:nvPr/>
        </p:nvCxnSpPr>
        <p:spPr>
          <a:xfrm flipH="1" flipV="1">
            <a:off x="2823398" y="3626060"/>
            <a:ext cx="464912" cy="1320623"/>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5" name="Straight Connector 904">
            <a:extLst>
              <a:ext uri="{FF2B5EF4-FFF2-40B4-BE49-F238E27FC236}">
                <a16:creationId xmlns:a16="http://schemas.microsoft.com/office/drawing/2014/main" id="{02EF8676-7E9B-4102-9F37-A7FFB6A128A3}"/>
              </a:ext>
            </a:extLst>
          </p:cNvPr>
          <p:cNvCxnSpPr>
            <a:cxnSpLocks/>
          </p:cNvCxnSpPr>
          <p:nvPr/>
        </p:nvCxnSpPr>
        <p:spPr>
          <a:xfrm flipV="1">
            <a:off x="3016299" y="4935025"/>
            <a:ext cx="272009" cy="182635"/>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6" name="Straight Connector 905">
            <a:extLst>
              <a:ext uri="{FF2B5EF4-FFF2-40B4-BE49-F238E27FC236}">
                <a16:creationId xmlns:a16="http://schemas.microsoft.com/office/drawing/2014/main" id="{6A8CB4EC-67AE-4206-B66C-1E273EA9ADB7}"/>
              </a:ext>
            </a:extLst>
          </p:cNvPr>
          <p:cNvCxnSpPr>
            <a:cxnSpLocks/>
          </p:cNvCxnSpPr>
          <p:nvPr/>
        </p:nvCxnSpPr>
        <p:spPr>
          <a:xfrm flipH="1" flipV="1">
            <a:off x="3008529" y="5117661"/>
            <a:ext cx="552461" cy="376680"/>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7" name="Straight Connector 906">
            <a:extLst>
              <a:ext uri="{FF2B5EF4-FFF2-40B4-BE49-F238E27FC236}">
                <a16:creationId xmlns:a16="http://schemas.microsoft.com/office/drawing/2014/main" id="{E8D46B1E-F7B3-4085-BBAB-ADF3E7B3F30B}"/>
              </a:ext>
            </a:extLst>
          </p:cNvPr>
          <p:cNvCxnSpPr>
            <a:cxnSpLocks/>
          </p:cNvCxnSpPr>
          <p:nvPr/>
        </p:nvCxnSpPr>
        <p:spPr>
          <a:xfrm flipV="1">
            <a:off x="6202694" y="3771863"/>
            <a:ext cx="1191660" cy="1165753"/>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8" name="Straight Connector 907">
            <a:extLst>
              <a:ext uri="{FF2B5EF4-FFF2-40B4-BE49-F238E27FC236}">
                <a16:creationId xmlns:a16="http://schemas.microsoft.com/office/drawing/2014/main" id="{4B6B0679-7E9C-40AC-A47C-BDB7CBDAEAA7}"/>
              </a:ext>
            </a:extLst>
          </p:cNvPr>
          <p:cNvCxnSpPr>
            <a:cxnSpLocks/>
          </p:cNvCxnSpPr>
          <p:nvPr/>
        </p:nvCxnSpPr>
        <p:spPr>
          <a:xfrm>
            <a:off x="5612045" y="5336563"/>
            <a:ext cx="1033635" cy="88079"/>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9" name="Straight Connector 908">
            <a:extLst>
              <a:ext uri="{FF2B5EF4-FFF2-40B4-BE49-F238E27FC236}">
                <a16:creationId xmlns:a16="http://schemas.microsoft.com/office/drawing/2014/main" id="{289FA16B-4970-4252-8980-4F1F4CA21AF7}"/>
              </a:ext>
            </a:extLst>
          </p:cNvPr>
          <p:cNvCxnSpPr>
            <a:cxnSpLocks/>
          </p:cNvCxnSpPr>
          <p:nvPr/>
        </p:nvCxnSpPr>
        <p:spPr>
          <a:xfrm flipV="1">
            <a:off x="5623702" y="4947978"/>
            <a:ext cx="568629" cy="383404"/>
          </a:xfrm>
          <a:prstGeom prst="line">
            <a:avLst/>
          </a:prstGeom>
          <a:solidFill>
            <a:srgbClr val="243C87"/>
          </a:solidFill>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C7AD5FB-E1C9-4FAC-8273-9B04A4E315F6}"/>
              </a:ext>
            </a:extLst>
          </p:cNvPr>
          <p:cNvSpPr>
            <a:spLocks noGrp="1"/>
          </p:cNvSpPr>
          <p:nvPr>
            <p:ph type="title"/>
          </p:nvPr>
        </p:nvSpPr>
        <p:spPr>
          <a:xfrm>
            <a:off x="600855" y="466301"/>
            <a:ext cx="11237870" cy="565027"/>
          </a:xfrm>
        </p:spPr>
        <p:txBody>
          <a:bodyPr>
            <a:normAutofit fontScale="90000"/>
          </a:bodyPr>
          <a:lstStyle/>
          <a:p>
            <a:r>
              <a:rPr lang="zh-CN" altLang="en-US" b="0" dirty="0">
                <a:latin typeface="Microsoft YaHei" charset="-122"/>
                <a:ea typeface="Microsoft YaHei" charset="-122"/>
                <a:cs typeface="Microsoft YaHei" charset="-122"/>
              </a:rPr>
              <a:t>到</a:t>
            </a:r>
            <a:r>
              <a:rPr lang="en-US" b="0" dirty="0">
                <a:latin typeface="Microsoft YaHei" charset="-122"/>
                <a:ea typeface="Microsoft YaHei" charset="-122"/>
                <a:cs typeface="Microsoft YaHei" charset="-122"/>
              </a:rPr>
              <a:t> 2020 </a:t>
            </a:r>
            <a:r>
              <a:rPr lang="zh-CN" altLang="en-US" b="0" dirty="0">
                <a:latin typeface="Microsoft YaHei" charset="-122"/>
                <a:ea typeface="Microsoft YaHei" charset="-122"/>
                <a:cs typeface="Microsoft YaHei" charset="-122"/>
              </a:rPr>
              <a:t>年</a:t>
            </a:r>
            <a:r>
              <a:rPr lang="en-US" b="0" dirty="0">
                <a:latin typeface="Microsoft YaHei" charset="-122"/>
                <a:ea typeface="Microsoft YaHei" charset="-122"/>
                <a:cs typeface="Microsoft YaHei" charset="-122"/>
              </a:rPr>
              <a:t>…</a:t>
            </a:r>
          </a:p>
        </p:txBody>
      </p:sp>
      <p:sp>
        <p:nvSpPr>
          <p:cNvPr id="561" name="Oval 560">
            <a:extLst>
              <a:ext uri="{FF2B5EF4-FFF2-40B4-BE49-F238E27FC236}">
                <a16:creationId xmlns:a16="http://schemas.microsoft.com/office/drawing/2014/main" id="{7A831657-2DAD-4C63-9B03-8CBECB9BB642}"/>
              </a:ext>
            </a:extLst>
          </p:cNvPr>
          <p:cNvSpPr/>
          <p:nvPr/>
        </p:nvSpPr>
        <p:spPr bwMode="auto">
          <a:xfrm>
            <a:off x="7314128" y="1910566"/>
            <a:ext cx="93260" cy="89292"/>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562" name="Oval 561">
            <a:extLst>
              <a:ext uri="{FF2B5EF4-FFF2-40B4-BE49-F238E27FC236}">
                <a16:creationId xmlns:a16="http://schemas.microsoft.com/office/drawing/2014/main" id="{CE7CA254-FF98-4AC4-8164-FA002B6B0982}"/>
              </a:ext>
            </a:extLst>
          </p:cNvPr>
          <p:cNvSpPr/>
          <p:nvPr/>
        </p:nvSpPr>
        <p:spPr bwMode="auto">
          <a:xfrm>
            <a:off x="5915891" y="3916122"/>
            <a:ext cx="60546" cy="63975"/>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564" name="Oval 563">
            <a:extLst>
              <a:ext uri="{FF2B5EF4-FFF2-40B4-BE49-F238E27FC236}">
                <a16:creationId xmlns:a16="http://schemas.microsoft.com/office/drawing/2014/main" id="{B56DE138-8035-4FB9-9824-C408F89461AF}"/>
              </a:ext>
            </a:extLst>
          </p:cNvPr>
          <p:cNvSpPr/>
          <p:nvPr/>
        </p:nvSpPr>
        <p:spPr bwMode="auto">
          <a:xfrm>
            <a:off x="3371645" y="4148334"/>
            <a:ext cx="46630" cy="49272"/>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565" name="Oval 564">
            <a:extLst>
              <a:ext uri="{FF2B5EF4-FFF2-40B4-BE49-F238E27FC236}">
                <a16:creationId xmlns:a16="http://schemas.microsoft.com/office/drawing/2014/main" id="{445D7832-AEBA-407C-80F9-47B7C4B126A6}"/>
              </a:ext>
            </a:extLst>
          </p:cNvPr>
          <p:cNvSpPr/>
          <p:nvPr/>
        </p:nvSpPr>
        <p:spPr bwMode="auto">
          <a:xfrm>
            <a:off x="5570207" y="3480907"/>
            <a:ext cx="55956" cy="53612"/>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566" name="Oval 565">
            <a:extLst>
              <a:ext uri="{FF2B5EF4-FFF2-40B4-BE49-F238E27FC236}">
                <a16:creationId xmlns:a16="http://schemas.microsoft.com/office/drawing/2014/main" id="{D2AF919E-9614-483D-A294-877C6CBAB6AF}"/>
              </a:ext>
            </a:extLst>
          </p:cNvPr>
          <p:cNvSpPr/>
          <p:nvPr/>
        </p:nvSpPr>
        <p:spPr bwMode="auto">
          <a:xfrm>
            <a:off x="4376611" y="3481812"/>
            <a:ext cx="49027" cy="4663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567" name="Oval 566">
            <a:extLst>
              <a:ext uri="{FF2B5EF4-FFF2-40B4-BE49-F238E27FC236}">
                <a16:creationId xmlns:a16="http://schemas.microsoft.com/office/drawing/2014/main" id="{D55263BC-1A65-4974-AF3E-CE2E44A8B7B2}"/>
              </a:ext>
            </a:extLst>
          </p:cNvPr>
          <p:cNvSpPr/>
          <p:nvPr/>
        </p:nvSpPr>
        <p:spPr bwMode="auto">
          <a:xfrm>
            <a:off x="4702499" y="2320628"/>
            <a:ext cx="84504" cy="89292"/>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569" name="Oval 568">
            <a:extLst>
              <a:ext uri="{FF2B5EF4-FFF2-40B4-BE49-F238E27FC236}">
                <a16:creationId xmlns:a16="http://schemas.microsoft.com/office/drawing/2014/main" id="{D05A10DA-773F-40A4-8E30-A3ED224B4ED2}"/>
              </a:ext>
            </a:extLst>
          </p:cNvPr>
          <p:cNvSpPr/>
          <p:nvPr/>
        </p:nvSpPr>
        <p:spPr bwMode="auto">
          <a:xfrm>
            <a:off x="7986356" y="3711463"/>
            <a:ext cx="93260" cy="89292"/>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570" name="Oval 569">
            <a:extLst>
              <a:ext uri="{FF2B5EF4-FFF2-40B4-BE49-F238E27FC236}">
                <a16:creationId xmlns:a16="http://schemas.microsoft.com/office/drawing/2014/main" id="{2884BCC4-6EDB-4507-BD4D-79F6E60D220D}"/>
              </a:ext>
            </a:extLst>
          </p:cNvPr>
          <p:cNvSpPr/>
          <p:nvPr/>
        </p:nvSpPr>
        <p:spPr bwMode="auto">
          <a:xfrm>
            <a:off x="8556369" y="2359189"/>
            <a:ext cx="93260" cy="89292"/>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571" name="Oval 570">
            <a:extLst>
              <a:ext uri="{FF2B5EF4-FFF2-40B4-BE49-F238E27FC236}">
                <a16:creationId xmlns:a16="http://schemas.microsoft.com/office/drawing/2014/main" id="{639EA99D-1C0F-465F-8D3E-B92A6924A0A7}"/>
              </a:ext>
            </a:extLst>
          </p:cNvPr>
          <p:cNvSpPr/>
          <p:nvPr/>
        </p:nvSpPr>
        <p:spPr bwMode="auto">
          <a:xfrm>
            <a:off x="8710825" y="2203754"/>
            <a:ext cx="84504" cy="83934"/>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573" name="Oval 572">
            <a:extLst>
              <a:ext uri="{FF2B5EF4-FFF2-40B4-BE49-F238E27FC236}">
                <a16:creationId xmlns:a16="http://schemas.microsoft.com/office/drawing/2014/main" id="{5E6D26CA-B6FE-4590-A8AE-E669E01BAFF3}"/>
              </a:ext>
            </a:extLst>
          </p:cNvPr>
          <p:cNvSpPr/>
          <p:nvPr/>
        </p:nvSpPr>
        <p:spPr bwMode="auto">
          <a:xfrm>
            <a:off x="2491926" y="4173142"/>
            <a:ext cx="61209" cy="64674"/>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576" name="Oval 575">
            <a:extLst>
              <a:ext uri="{FF2B5EF4-FFF2-40B4-BE49-F238E27FC236}">
                <a16:creationId xmlns:a16="http://schemas.microsoft.com/office/drawing/2014/main" id="{B47278B7-B1B5-4376-BE7A-F8AA026E2751}"/>
              </a:ext>
            </a:extLst>
          </p:cNvPr>
          <p:cNvSpPr/>
          <p:nvPr/>
        </p:nvSpPr>
        <p:spPr bwMode="auto">
          <a:xfrm>
            <a:off x="4368839" y="3046156"/>
            <a:ext cx="64570" cy="68228"/>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577" name="Oval 576">
            <a:extLst>
              <a:ext uri="{FF2B5EF4-FFF2-40B4-BE49-F238E27FC236}">
                <a16:creationId xmlns:a16="http://schemas.microsoft.com/office/drawing/2014/main" id="{662193D3-819B-4939-A155-4DA60BB00F8A}"/>
              </a:ext>
            </a:extLst>
          </p:cNvPr>
          <p:cNvSpPr/>
          <p:nvPr/>
        </p:nvSpPr>
        <p:spPr bwMode="auto">
          <a:xfrm>
            <a:off x="4460337" y="2987404"/>
            <a:ext cx="65282" cy="61384"/>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578" name="Oval 577">
            <a:extLst>
              <a:ext uri="{FF2B5EF4-FFF2-40B4-BE49-F238E27FC236}">
                <a16:creationId xmlns:a16="http://schemas.microsoft.com/office/drawing/2014/main" id="{47C6BF3D-7B7E-46E8-9CAC-1E211FAC3BC6}"/>
              </a:ext>
            </a:extLst>
          </p:cNvPr>
          <p:cNvSpPr/>
          <p:nvPr/>
        </p:nvSpPr>
        <p:spPr bwMode="auto">
          <a:xfrm>
            <a:off x="3993611" y="4483791"/>
            <a:ext cx="64813" cy="68485"/>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579" name="Oval 578">
            <a:extLst>
              <a:ext uri="{FF2B5EF4-FFF2-40B4-BE49-F238E27FC236}">
                <a16:creationId xmlns:a16="http://schemas.microsoft.com/office/drawing/2014/main" id="{B6212E94-E5F8-4997-AA7D-7EE0D6D0AFAA}"/>
              </a:ext>
            </a:extLst>
          </p:cNvPr>
          <p:cNvSpPr/>
          <p:nvPr/>
        </p:nvSpPr>
        <p:spPr bwMode="auto">
          <a:xfrm>
            <a:off x="5223634" y="4558161"/>
            <a:ext cx="46630" cy="49272"/>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580" name="Oval 579">
            <a:extLst>
              <a:ext uri="{FF2B5EF4-FFF2-40B4-BE49-F238E27FC236}">
                <a16:creationId xmlns:a16="http://schemas.microsoft.com/office/drawing/2014/main" id="{D4D7DF25-3324-42D2-B1B1-FEA3A6F612AF}"/>
              </a:ext>
            </a:extLst>
          </p:cNvPr>
          <p:cNvSpPr/>
          <p:nvPr/>
        </p:nvSpPr>
        <p:spPr bwMode="auto">
          <a:xfrm>
            <a:off x="5953252" y="3361065"/>
            <a:ext cx="48097" cy="5082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581" name="Oval 580">
            <a:extLst>
              <a:ext uri="{FF2B5EF4-FFF2-40B4-BE49-F238E27FC236}">
                <a16:creationId xmlns:a16="http://schemas.microsoft.com/office/drawing/2014/main" id="{E8C39BB3-AADD-4C2C-8354-712F11C40F31}"/>
              </a:ext>
            </a:extLst>
          </p:cNvPr>
          <p:cNvSpPr/>
          <p:nvPr/>
        </p:nvSpPr>
        <p:spPr bwMode="auto">
          <a:xfrm>
            <a:off x="6202737" y="3410961"/>
            <a:ext cx="60301" cy="63716"/>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582" name="Oval 581">
            <a:extLst>
              <a:ext uri="{FF2B5EF4-FFF2-40B4-BE49-F238E27FC236}">
                <a16:creationId xmlns:a16="http://schemas.microsoft.com/office/drawing/2014/main" id="{A42A71C2-7AE1-478C-A664-0D3A277EA4FF}"/>
              </a:ext>
            </a:extLst>
          </p:cNvPr>
          <p:cNvSpPr/>
          <p:nvPr/>
        </p:nvSpPr>
        <p:spPr bwMode="auto">
          <a:xfrm>
            <a:off x="6861778" y="3347657"/>
            <a:ext cx="84504" cy="89292"/>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583" name="Oval 582">
            <a:extLst>
              <a:ext uri="{FF2B5EF4-FFF2-40B4-BE49-F238E27FC236}">
                <a16:creationId xmlns:a16="http://schemas.microsoft.com/office/drawing/2014/main" id="{FBD9C5F8-1A76-4210-8D9F-DD6D532F6FB2}"/>
              </a:ext>
            </a:extLst>
          </p:cNvPr>
          <p:cNvSpPr/>
          <p:nvPr/>
        </p:nvSpPr>
        <p:spPr bwMode="auto">
          <a:xfrm>
            <a:off x="8707163" y="4337085"/>
            <a:ext cx="84504" cy="83934"/>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584" name="Oval 583">
            <a:extLst>
              <a:ext uri="{FF2B5EF4-FFF2-40B4-BE49-F238E27FC236}">
                <a16:creationId xmlns:a16="http://schemas.microsoft.com/office/drawing/2014/main" id="{574CB429-9A86-4F2F-81B3-66DC3A2D1422}"/>
              </a:ext>
            </a:extLst>
          </p:cNvPr>
          <p:cNvSpPr/>
          <p:nvPr/>
        </p:nvSpPr>
        <p:spPr bwMode="auto">
          <a:xfrm>
            <a:off x="9109136" y="4411132"/>
            <a:ext cx="93260" cy="89292"/>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598" name="Oval 597">
            <a:extLst>
              <a:ext uri="{FF2B5EF4-FFF2-40B4-BE49-F238E27FC236}">
                <a16:creationId xmlns:a16="http://schemas.microsoft.com/office/drawing/2014/main" id="{20F1AC1A-6AF6-4E2F-A143-D8A1FBC6D00A}"/>
              </a:ext>
            </a:extLst>
          </p:cNvPr>
          <p:cNvSpPr/>
          <p:nvPr/>
        </p:nvSpPr>
        <p:spPr bwMode="auto">
          <a:xfrm>
            <a:off x="5889608" y="2772028"/>
            <a:ext cx="61225" cy="64693"/>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599" name="Oval 598">
            <a:extLst>
              <a:ext uri="{FF2B5EF4-FFF2-40B4-BE49-F238E27FC236}">
                <a16:creationId xmlns:a16="http://schemas.microsoft.com/office/drawing/2014/main" id="{557A61AF-3C8B-4C55-AC8F-4E8350BE1838}"/>
              </a:ext>
            </a:extLst>
          </p:cNvPr>
          <p:cNvSpPr/>
          <p:nvPr/>
        </p:nvSpPr>
        <p:spPr bwMode="auto">
          <a:xfrm>
            <a:off x="6510223" y="2866267"/>
            <a:ext cx="48097" cy="5082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602" name="Oval 601">
            <a:extLst>
              <a:ext uri="{FF2B5EF4-FFF2-40B4-BE49-F238E27FC236}">
                <a16:creationId xmlns:a16="http://schemas.microsoft.com/office/drawing/2014/main" id="{1A40B5F0-CFD2-47C6-B381-BC2B8D59F201}"/>
              </a:ext>
            </a:extLst>
          </p:cNvPr>
          <p:cNvSpPr/>
          <p:nvPr/>
        </p:nvSpPr>
        <p:spPr bwMode="auto">
          <a:xfrm flipH="1">
            <a:off x="3792891" y="3130931"/>
            <a:ext cx="89874" cy="94964"/>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606" name="Oval 605">
            <a:extLst>
              <a:ext uri="{FF2B5EF4-FFF2-40B4-BE49-F238E27FC236}">
                <a16:creationId xmlns:a16="http://schemas.microsoft.com/office/drawing/2014/main" id="{87EA541A-A26D-4289-8BC1-65BDA6AE5C08}"/>
              </a:ext>
            </a:extLst>
          </p:cNvPr>
          <p:cNvSpPr/>
          <p:nvPr/>
        </p:nvSpPr>
        <p:spPr bwMode="auto">
          <a:xfrm>
            <a:off x="9954113" y="2722300"/>
            <a:ext cx="84504" cy="83934"/>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611" name="Oval 610">
            <a:extLst>
              <a:ext uri="{FF2B5EF4-FFF2-40B4-BE49-F238E27FC236}">
                <a16:creationId xmlns:a16="http://schemas.microsoft.com/office/drawing/2014/main" id="{A56A3830-BDDA-4EB2-80B1-0B4F8FFC6404}"/>
              </a:ext>
            </a:extLst>
          </p:cNvPr>
          <p:cNvSpPr/>
          <p:nvPr/>
        </p:nvSpPr>
        <p:spPr bwMode="auto">
          <a:xfrm>
            <a:off x="2132702" y="4447352"/>
            <a:ext cx="84504" cy="89292"/>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609" name="Oval 608">
            <a:extLst>
              <a:ext uri="{FF2B5EF4-FFF2-40B4-BE49-F238E27FC236}">
                <a16:creationId xmlns:a16="http://schemas.microsoft.com/office/drawing/2014/main" id="{F113BC55-F6E6-4A6D-93B7-F34DCAB5841B}"/>
              </a:ext>
            </a:extLst>
          </p:cNvPr>
          <p:cNvSpPr/>
          <p:nvPr/>
        </p:nvSpPr>
        <p:spPr bwMode="auto">
          <a:xfrm>
            <a:off x="3255712" y="4901995"/>
            <a:ext cx="84504" cy="9326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616" name="Oval 615">
            <a:extLst>
              <a:ext uri="{FF2B5EF4-FFF2-40B4-BE49-F238E27FC236}">
                <a16:creationId xmlns:a16="http://schemas.microsoft.com/office/drawing/2014/main" id="{57C412D5-D4C9-4351-A264-A2E46ECD8F58}"/>
              </a:ext>
            </a:extLst>
          </p:cNvPr>
          <p:cNvSpPr/>
          <p:nvPr/>
        </p:nvSpPr>
        <p:spPr bwMode="auto">
          <a:xfrm flipH="1">
            <a:off x="2990982" y="5092983"/>
            <a:ext cx="46630" cy="49272"/>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610" name="Oval 609">
            <a:extLst>
              <a:ext uri="{FF2B5EF4-FFF2-40B4-BE49-F238E27FC236}">
                <a16:creationId xmlns:a16="http://schemas.microsoft.com/office/drawing/2014/main" id="{005A4511-CA55-4D79-9AED-5230847371E7}"/>
              </a:ext>
            </a:extLst>
          </p:cNvPr>
          <p:cNvSpPr/>
          <p:nvPr/>
        </p:nvSpPr>
        <p:spPr bwMode="auto">
          <a:xfrm>
            <a:off x="3488862" y="5422699"/>
            <a:ext cx="84504" cy="83934"/>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608" name="Oval 607">
            <a:extLst>
              <a:ext uri="{FF2B5EF4-FFF2-40B4-BE49-F238E27FC236}">
                <a16:creationId xmlns:a16="http://schemas.microsoft.com/office/drawing/2014/main" id="{17637EA1-397B-46C7-9FFE-79D3AB33C71B}"/>
              </a:ext>
            </a:extLst>
          </p:cNvPr>
          <p:cNvSpPr/>
          <p:nvPr/>
        </p:nvSpPr>
        <p:spPr bwMode="auto">
          <a:xfrm>
            <a:off x="6162325" y="4901996"/>
            <a:ext cx="84504" cy="89292"/>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607" name="Oval 606">
            <a:extLst>
              <a:ext uri="{FF2B5EF4-FFF2-40B4-BE49-F238E27FC236}">
                <a16:creationId xmlns:a16="http://schemas.microsoft.com/office/drawing/2014/main" id="{07D73E39-656F-45C5-8159-98D61F76E45E}"/>
              </a:ext>
            </a:extLst>
          </p:cNvPr>
          <p:cNvSpPr/>
          <p:nvPr/>
        </p:nvSpPr>
        <p:spPr bwMode="auto">
          <a:xfrm>
            <a:off x="6605312" y="5376070"/>
            <a:ext cx="84504" cy="89292"/>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440" name="Rectangle 439">
            <a:extLst>
              <a:ext uri="{FF2B5EF4-FFF2-40B4-BE49-F238E27FC236}">
                <a16:creationId xmlns:a16="http://schemas.microsoft.com/office/drawing/2014/main" id="{ABBE2B1B-5264-4E5E-9A4B-28FB5F321832}"/>
              </a:ext>
            </a:extLst>
          </p:cNvPr>
          <p:cNvSpPr/>
          <p:nvPr/>
        </p:nvSpPr>
        <p:spPr bwMode="auto">
          <a:xfrm>
            <a:off x="1560477" y="2262251"/>
            <a:ext cx="1657686" cy="614829"/>
          </a:xfrm>
          <a:prstGeom prst="rect">
            <a:avLst/>
          </a:prstGeom>
          <a:noFill/>
          <a:ln w="9525" cap="flat" cmpd="sng" algn="ctr">
            <a:noFill/>
            <a:prstDash val="solid"/>
            <a:round/>
            <a:headEnd type="none" w="med" len="med"/>
            <a:tailEnd type="none" w="med" len="med"/>
          </a:ln>
          <a:effectLst/>
        </p:spPr>
        <p:txBody>
          <a:bodyPr vert="horz" wrap="square" lIns="65282" tIns="37304" rIns="65282" bIns="37304" numCol="1" rtlCol="0" anchor="t" anchorCtr="0" compatLnSpc="1">
            <a:prstTxWarp prst="textNoShape">
              <a:avLst/>
            </a:prstTxWarp>
            <a:noAutofit/>
          </a:bodyPr>
          <a:lstStyle/>
          <a:p>
            <a:pPr algn="r" defTabSz="951028" fontAlgn="base">
              <a:lnSpc>
                <a:spcPts val="816"/>
              </a:lnSpc>
              <a:spcBef>
                <a:spcPts val="612"/>
              </a:spcBef>
              <a:spcAft>
                <a:spcPts val="408"/>
              </a:spcAft>
              <a:defRPr/>
            </a:pPr>
            <a:r>
              <a:rPr lang="zh-CN" altLang="en-US" sz="1632" dirty="0">
                <a:gradFill>
                  <a:gsLst>
                    <a:gs pos="0">
                      <a:srgbClr val="1A1A1A"/>
                    </a:gs>
                    <a:gs pos="100000">
                      <a:srgbClr val="1A1A1A"/>
                    </a:gs>
                  </a:gsLst>
                  <a:lin ang="5400000" scaled="0"/>
                </a:gradFill>
                <a:latin typeface="Microsoft YaHei" charset="-122"/>
                <a:ea typeface="Microsoft YaHei" charset="-122"/>
                <a:cs typeface="Microsoft YaHei" charset="-122"/>
              </a:rPr>
              <a:t>智能城市</a:t>
            </a:r>
            <a:endParaRPr lang="en-US" altLang="zh-CN" sz="1632" dirty="0">
              <a:gradFill>
                <a:gsLst>
                  <a:gs pos="0">
                    <a:srgbClr val="1A1A1A"/>
                  </a:gs>
                  <a:gs pos="100000">
                    <a:srgbClr val="1A1A1A"/>
                  </a:gs>
                </a:gsLst>
                <a:lin ang="5400000" scaled="0"/>
              </a:gradFill>
              <a:latin typeface="Microsoft YaHei" charset="-122"/>
              <a:ea typeface="Microsoft YaHei" charset="-122"/>
              <a:cs typeface="Microsoft YaHei" charset="-122"/>
            </a:endParaRPr>
          </a:p>
          <a:p>
            <a:pPr algn="r" defTabSz="951028" fontAlgn="base">
              <a:lnSpc>
                <a:spcPts val="816"/>
              </a:lnSpc>
              <a:spcBef>
                <a:spcPts val="612"/>
              </a:spcBef>
              <a:spcAft>
                <a:spcPct val="0"/>
              </a:spcAft>
              <a:defRPr/>
            </a:pPr>
            <a:r>
              <a:rPr lang="en-US" altLang="zh-CN" sz="1224" dirty="0">
                <a:gradFill>
                  <a:gsLst>
                    <a:gs pos="0">
                      <a:srgbClr val="1A1A1A"/>
                    </a:gs>
                    <a:gs pos="100000">
                      <a:srgbClr val="1A1A1A"/>
                    </a:gs>
                  </a:gsLst>
                  <a:lin ang="5400000" scaled="0"/>
                </a:gradFill>
                <a:latin typeface="Segoe UI" panose="020B0502040204020203" pitchFamily="34" charset="0"/>
                <a:ea typeface="Segoe UI" panose="020B0502040204020203" pitchFamily="34" charset="0"/>
                <a:cs typeface="Segoe UI" panose="020B0502040204020203" pitchFamily="34" charset="0"/>
              </a:rPr>
              <a:t>Smart cities</a:t>
            </a:r>
            <a:endParaRPr lang="en-US" sz="1224" dirty="0">
              <a:gradFill>
                <a:gsLst>
                  <a:gs pos="0">
                    <a:srgbClr val="1A1A1A"/>
                  </a:gs>
                  <a:gs pos="100000">
                    <a:srgbClr val="1A1A1A"/>
                  </a:gs>
                </a:gsLst>
                <a:lin ang="5400000" scaled="0"/>
              </a:gradFill>
              <a:latin typeface="Segoe UI" panose="020B0502040204020203" pitchFamily="34" charset="0"/>
              <a:ea typeface="Segoe UI" panose="020B0502040204020203" pitchFamily="34" charset="0"/>
              <a:cs typeface="Segoe UI" panose="020B0502040204020203" pitchFamily="34" charset="0"/>
            </a:endParaRPr>
          </a:p>
          <a:p>
            <a:pPr algn="r" defTabSz="906691">
              <a:lnSpc>
                <a:spcPts val="816"/>
              </a:lnSpc>
              <a:spcBef>
                <a:spcPts val="612"/>
              </a:spcBef>
              <a:defRPr/>
            </a:pPr>
            <a:r>
              <a:rPr lang="en-US" sz="1224" b="1" dirty="0">
                <a:gradFill>
                  <a:gsLst>
                    <a:gs pos="1250">
                      <a:srgbClr val="0078D4"/>
                    </a:gs>
                    <a:gs pos="100000">
                      <a:srgbClr val="0078D4"/>
                    </a:gs>
                  </a:gsLst>
                </a:gradFill>
                <a:latin typeface="Segoe UI" panose="020B0502040204020203" pitchFamily="34" charset="0"/>
                <a:ea typeface="Segoe UI" panose="020B0502040204020203" pitchFamily="34" charset="0"/>
                <a:cs typeface="Segoe UI" panose="020B0502040204020203" pitchFamily="34" charset="0"/>
              </a:rPr>
              <a:t>250 PB </a:t>
            </a:r>
            <a:r>
              <a:rPr lang="en-US" sz="1224" dirty="0">
                <a:gradFill>
                  <a:gsLst>
                    <a:gs pos="1250">
                      <a:srgbClr val="1A1A1A"/>
                    </a:gs>
                    <a:gs pos="100000">
                      <a:srgbClr val="1A1A1A"/>
                    </a:gs>
                  </a:gsLst>
                  <a:lin ang="5400000" scaled="0"/>
                </a:gradFill>
                <a:latin typeface="Segoe UI" panose="020B0502040204020203" pitchFamily="34" charset="0"/>
                <a:ea typeface="Segoe UI" panose="020B0502040204020203" pitchFamily="34" charset="0"/>
                <a:cs typeface="Segoe UI" panose="020B0502040204020203" pitchFamily="34" charset="0"/>
              </a:rPr>
              <a:t>per day </a:t>
            </a:r>
          </a:p>
        </p:txBody>
      </p:sp>
      <p:sp>
        <p:nvSpPr>
          <p:cNvPr id="442" name="Rectangle 441">
            <a:extLst>
              <a:ext uri="{FF2B5EF4-FFF2-40B4-BE49-F238E27FC236}">
                <a16:creationId xmlns:a16="http://schemas.microsoft.com/office/drawing/2014/main" id="{B214124B-40B9-4CA6-AEFA-254296ADF26D}"/>
              </a:ext>
            </a:extLst>
          </p:cNvPr>
          <p:cNvSpPr/>
          <p:nvPr/>
        </p:nvSpPr>
        <p:spPr bwMode="auto">
          <a:xfrm>
            <a:off x="9944338" y="2127681"/>
            <a:ext cx="2643886" cy="654991"/>
          </a:xfrm>
          <a:prstGeom prst="rect">
            <a:avLst/>
          </a:prstGeom>
          <a:noFill/>
          <a:ln w="9525" cap="flat" cmpd="sng" algn="ctr">
            <a:noFill/>
            <a:prstDash val="solid"/>
            <a:round/>
            <a:headEnd type="none" w="med" len="med"/>
            <a:tailEnd type="none" w="med" len="med"/>
          </a:ln>
          <a:effectLst/>
        </p:spPr>
        <p:txBody>
          <a:bodyPr vert="horz" wrap="square" lIns="65282" tIns="37304" rIns="65282" bIns="37304" numCol="1" rtlCol="0" anchor="t" anchorCtr="0" compatLnSpc="1">
            <a:prstTxWarp prst="textNoShape">
              <a:avLst/>
            </a:prstTxWarp>
            <a:noAutofit/>
          </a:bodyPr>
          <a:lstStyle/>
          <a:p>
            <a:pPr defTabSz="951028" fontAlgn="base">
              <a:lnSpc>
                <a:spcPts val="816"/>
              </a:lnSpc>
              <a:spcBef>
                <a:spcPts val="612"/>
              </a:spcBef>
              <a:spcAft>
                <a:spcPts val="408"/>
              </a:spcAft>
              <a:defRPr/>
            </a:pPr>
            <a:r>
              <a:rPr lang="zh-CN" altLang="en-US" sz="1632" dirty="0">
                <a:gradFill>
                  <a:gsLst>
                    <a:gs pos="0">
                      <a:srgbClr val="1A1A1A"/>
                    </a:gs>
                    <a:gs pos="100000">
                      <a:srgbClr val="1A1A1A"/>
                    </a:gs>
                  </a:gsLst>
                  <a:lin ang="5400000" scaled="0"/>
                </a:gradFill>
                <a:latin typeface="Microsoft YaHei" charset="-122"/>
                <a:ea typeface="Microsoft YaHei" charset="-122"/>
                <a:cs typeface="Microsoft YaHei" charset="-122"/>
              </a:rPr>
              <a:t>智能家居</a:t>
            </a:r>
            <a:endParaRPr lang="en-US" altLang="zh-CN" sz="1632" dirty="0">
              <a:gradFill>
                <a:gsLst>
                  <a:gs pos="0">
                    <a:srgbClr val="1A1A1A"/>
                  </a:gs>
                  <a:gs pos="100000">
                    <a:srgbClr val="1A1A1A"/>
                  </a:gs>
                </a:gsLst>
                <a:lin ang="5400000" scaled="0"/>
              </a:gradFill>
              <a:latin typeface="Microsoft YaHei" charset="-122"/>
              <a:ea typeface="Microsoft YaHei" charset="-122"/>
              <a:cs typeface="Microsoft YaHei" charset="-122"/>
            </a:endParaRPr>
          </a:p>
          <a:p>
            <a:pPr defTabSz="951028" fontAlgn="base">
              <a:lnSpc>
                <a:spcPts val="816"/>
              </a:lnSpc>
              <a:spcBef>
                <a:spcPts val="612"/>
              </a:spcBef>
              <a:spcAft>
                <a:spcPct val="0"/>
              </a:spcAft>
              <a:defRPr/>
            </a:pPr>
            <a:r>
              <a:rPr lang="en-US" altLang="zh-CN" sz="1224" dirty="0">
                <a:gradFill>
                  <a:gsLst>
                    <a:gs pos="0">
                      <a:srgbClr val="1A1A1A"/>
                    </a:gs>
                    <a:gs pos="100000">
                      <a:srgbClr val="1A1A1A"/>
                    </a:gs>
                  </a:gsLst>
                  <a:lin ang="5400000" scaled="0"/>
                </a:gradFill>
                <a:latin typeface="Segoe UI" panose="020B0502040204020203" pitchFamily="34" charset="0"/>
                <a:ea typeface="Segoe UI" panose="020B0502040204020203" pitchFamily="34" charset="0"/>
                <a:cs typeface="Segoe UI" panose="020B0502040204020203" pitchFamily="34" charset="0"/>
              </a:rPr>
              <a:t>Smart domestic devices</a:t>
            </a:r>
          </a:p>
          <a:p>
            <a:pPr defTabSz="951028" fontAlgn="base">
              <a:lnSpc>
                <a:spcPts val="816"/>
              </a:lnSpc>
              <a:spcBef>
                <a:spcPts val="612"/>
              </a:spcBef>
              <a:spcAft>
                <a:spcPct val="0"/>
              </a:spcAft>
              <a:defRPr/>
            </a:pPr>
            <a:r>
              <a:rPr lang="en-US" sz="1224" b="1" dirty="0">
                <a:gradFill>
                  <a:gsLst>
                    <a:gs pos="1250">
                      <a:srgbClr val="0078D4"/>
                    </a:gs>
                    <a:gs pos="100000">
                      <a:srgbClr val="0078D4"/>
                    </a:gs>
                  </a:gsLst>
                </a:gradFill>
                <a:latin typeface="Segoe UI" panose="020B0502040204020203" pitchFamily="34" charset="0"/>
                <a:ea typeface="Segoe UI" panose="020B0502040204020203" pitchFamily="34" charset="0"/>
                <a:cs typeface="Segoe UI" panose="020B0502040204020203" pitchFamily="34" charset="0"/>
              </a:rPr>
              <a:t>50 GB </a:t>
            </a:r>
            <a:r>
              <a:rPr lang="en-US" sz="1224" dirty="0">
                <a:gradFill>
                  <a:gsLst>
                    <a:gs pos="1250">
                      <a:srgbClr val="1A1A1A"/>
                    </a:gs>
                    <a:gs pos="100000">
                      <a:srgbClr val="1A1A1A"/>
                    </a:gs>
                  </a:gsLst>
                </a:gradFill>
                <a:latin typeface="Segoe UI" panose="020B0502040204020203" pitchFamily="34" charset="0"/>
                <a:ea typeface="Segoe UI" panose="020B0502040204020203" pitchFamily="34" charset="0"/>
                <a:cs typeface="Segoe UI" panose="020B0502040204020203" pitchFamily="34" charset="0"/>
              </a:rPr>
              <a:t>per day</a:t>
            </a:r>
          </a:p>
        </p:txBody>
      </p:sp>
      <p:sp>
        <p:nvSpPr>
          <p:cNvPr id="445" name="Rectangle 444">
            <a:extLst>
              <a:ext uri="{FF2B5EF4-FFF2-40B4-BE49-F238E27FC236}">
                <a16:creationId xmlns:a16="http://schemas.microsoft.com/office/drawing/2014/main" id="{6D33E8BA-F220-4136-B861-16CEAD3A08D0}"/>
              </a:ext>
            </a:extLst>
          </p:cNvPr>
          <p:cNvSpPr/>
          <p:nvPr/>
        </p:nvSpPr>
        <p:spPr bwMode="auto">
          <a:xfrm>
            <a:off x="2143117" y="1549828"/>
            <a:ext cx="2643886" cy="654991"/>
          </a:xfrm>
          <a:prstGeom prst="rect">
            <a:avLst/>
          </a:prstGeom>
          <a:noFill/>
          <a:ln w="9525" cap="flat" cmpd="sng" algn="ctr">
            <a:noFill/>
            <a:prstDash val="solid"/>
            <a:round/>
            <a:headEnd type="none" w="med" len="med"/>
            <a:tailEnd type="none" w="med" len="med"/>
          </a:ln>
          <a:effectLst/>
        </p:spPr>
        <p:txBody>
          <a:bodyPr vert="horz" wrap="square" lIns="65282" tIns="37304" rIns="65282" bIns="37304" numCol="1" rtlCol="0" anchor="t" anchorCtr="0" compatLnSpc="1">
            <a:prstTxWarp prst="textNoShape">
              <a:avLst/>
            </a:prstTxWarp>
            <a:noAutofit/>
          </a:bodyPr>
          <a:lstStyle/>
          <a:p>
            <a:pPr algn="r" defTabSz="951028" fontAlgn="base">
              <a:lnSpc>
                <a:spcPct val="90000"/>
              </a:lnSpc>
              <a:spcBef>
                <a:spcPts val="612"/>
              </a:spcBef>
              <a:spcAft>
                <a:spcPts val="204"/>
              </a:spcAft>
              <a:defRPr/>
            </a:pPr>
            <a:r>
              <a:rPr lang="zh-CN" altLang="en-US" sz="1632" dirty="0">
                <a:gradFill>
                  <a:gsLst>
                    <a:gs pos="0">
                      <a:srgbClr val="1A1A1A"/>
                    </a:gs>
                    <a:gs pos="100000">
                      <a:srgbClr val="1A1A1A"/>
                    </a:gs>
                  </a:gsLst>
                  <a:lin ang="5400000" scaled="0"/>
                </a:gradFill>
                <a:latin typeface="Microsoft YaHei" charset="-122"/>
                <a:ea typeface="Microsoft YaHei" charset="-122"/>
                <a:cs typeface="Microsoft YaHei" charset="-122"/>
              </a:rPr>
              <a:t>智能设备</a:t>
            </a:r>
            <a:endParaRPr lang="en-US" altLang="zh-CN" sz="1632" dirty="0">
              <a:gradFill>
                <a:gsLst>
                  <a:gs pos="0">
                    <a:srgbClr val="1A1A1A"/>
                  </a:gs>
                  <a:gs pos="100000">
                    <a:srgbClr val="1A1A1A"/>
                  </a:gs>
                </a:gsLst>
                <a:lin ang="5400000" scaled="0"/>
              </a:gradFill>
              <a:latin typeface="Microsoft YaHei" charset="-122"/>
              <a:ea typeface="Microsoft YaHei" charset="-122"/>
              <a:cs typeface="Microsoft YaHei" charset="-122"/>
            </a:endParaRPr>
          </a:p>
          <a:p>
            <a:pPr algn="r" defTabSz="951028" fontAlgn="base">
              <a:lnSpc>
                <a:spcPts val="816"/>
              </a:lnSpc>
              <a:spcBef>
                <a:spcPts val="612"/>
              </a:spcBef>
              <a:spcAft>
                <a:spcPct val="0"/>
              </a:spcAft>
              <a:defRPr/>
            </a:pPr>
            <a:r>
              <a:rPr lang="en-US" altLang="zh-CN" sz="1224" dirty="0">
                <a:gradFill>
                  <a:gsLst>
                    <a:gs pos="0">
                      <a:srgbClr val="1A1A1A"/>
                    </a:gs>
                    <a:gs pos="100000">
                      <a:srgbClr val="1A1A1A"/>
                    </a:gs>
                  </a:gsLst>
                  <a:lin ang="5400000" scaled="0"/>
                </a:gradFill>
                <a:latin typeface="Segoe UI" panose="020B0502040204020203" pitchFamily="34" charset="0"/>
                <a:ea typeface="Segoe UI" panose="020B0502040204020203" pitchFamily="34" charset="0"/>
                <a:cs typeface="Segoe UI" panose="020B0502040204020203" pitchFamily="34" charset="0"/>
              </a:rPr>
              <a:t>Smart devices</a:t>
            </a:r>
            <a:endParaRPr lang="en-US" sz="1224" dirty="0">
              <a:gradFill>
                <a:gsLst>
                  <a:gs pos="0">
                    <a:srgbClr val="1A1A1A"/>
                  </a:gs>
                  <a:gs pos="100000">
                    <a:srgbClr val="1A1A1A"/>
                  </a:gs>
                </a:gsLst>
                <a:lin ang="5400000" scaled="0"/>
              </a:gradFill>
              <a:latin typeface="Segoe UI" panose="020B0502040204020203" pitchFamily="34" charset="0"/>
              <a:ea typeface="Segoe UI" panose="020B0502040204020203" pitchFamily="34" charset="0"/>
              <a:cs typeface="Segoe UI" panose="020B0502040204020203" pitchFamily="34" charset="0"/>
            </a:endParaRPr>
          </a:p>
          <a:p>
            <a:pPr marL="45335" algn="r" defTabSz="906691">
              <a:lnSpc>
                <a:spcPts val="816"/>
              </a:lnSpc>
              <a:spcBef>
                <a:spcPts val="612"/>
              </a:spcBef>
              <a:defRPr/>
            </a:pPr>
            <a:r>
              <a:rPr lang="en-US" sz="1224" b="1" dirty="0">
                <a:gradFill>
                  <a:gsLst>
                    <a:gs pos="1250">
                      <a:srgbClr val="0078D4"/>
                    </a:gs>
                    <a:gs pos="100000">
                      <a:srgbClr val="0078D4"/>
                    </a:gs>
                  </a:gsLst>
                </a:gradFill>
                <a:latin typeface="Segoe UI" panose="020B0502040204020203" pitchFamily="34" charset="0"/>
                <a:ea typeface="Segoe UI" panose="020B0502040204020203" pitchFamily="34" charset="0"/>
                <a:cs typeface="Segoe UI" panose="020B0502040204020203" pitchFamily="34" charset="0"/>
              </a:rPr>
              <a:t>20B</a:t>
            </a:r>
            <a:r>
              <a:rPr lang="en-US" sz="1224" dirty="0">
                <a:gradFill>
                  <a:gsLst>
                    <a:gs pos="1250">
                      <a:srgbClr val="0078D4"/>
                    </a:gs>
                    <a:gs pos="100000">
                      <a:srgbClr val="0078D4"/>
                    </a:gs>
                  </a:gsLst>
                </a:gradFill>
                <a:latin typeface="Segoe UI" panose="020B0502040204020203" pitchFamily="34" charset="0"/>
                <a:ea typeface="Segoe UI" panose="020B0502040204020203" pitchFamily="34" charset="0"/>
                <a:cs typeface="Segoe UI" panose="020B0502040204020203" pitchFamily="34" charset="0"/>
              </a:rPr>
              <a:t> </a:t>
            </a:r>
            <a:r>
              <a:rPr lang="en-US" sz="1224" dirty="0">
                <a:gradFill>
                  <a:gsLst>
                    <a:gs pos="1250">
                      <a:srgbClr val="1A1A1A"/>
                    </a:gs>
                    <a:gs pos="100000">
                      <a:srgbClr val="1A1A1A"/>
                    </a:gs>
                  </a:gsLst>
                </a:gradFill>
                <a:latin typeface="Segoe UI" panose="020B0502040204020203" pitchFamily="34" charset="0"/>
                <a:ea typeface="Segoe UI" panose="020B0502040204020203" pitchFamily="34" charset="0"/>
                <a:cs typeface="Segoe UI" panose="020B0502040204020203" pitchFamily="34" charset="0"/>
              </a:rPr>
              <a:t>IoT devices</a:t>
            </a:r>
          </a:p>
        </p:txBody>
      </p:sp>
      <p:sp>
        <p:nvSpPr>
          <p:cNvPr id="437" name="Rectangle 436">
            <a:extLst>
              <a:ext uri="{FF2B5EF4-FFF2-40B4-BE49-F238E27FC236}">
                <a16:creationId xmlns:a16="http://schemas.microsoft.com/office/drawing/2014/main" id="{3B8F372A-3905-47EB-8840-213C957BED1A}"/>
              </a:ext>
            </a:extLst>
          </p:cNvPr>
          <p:cNvSpPr/>
          <p:nvPr/>
        </p:nvSpPr>
        <p:spPr bwMode="auto">
          <a:xfrm>
            <a:off x="2170885" y="5676822"/>
            <a:ext cx="1719069" cy="484039"/>
          </a:xfrm>
          <a:prstGeom prst="rect">
            <a:avLst/>
          </a:prstGeom>
          <a:noFill/>
          <a:ln w="9525" cap="flat" cmpd="sng" algn="ctr">
            <a:noFill/>
            <a:prstDash val="solid"/>
            <a:round/>
            <a:headEnd type="none" w="med" len="med"/>
            <a:tailEnd type="none" w="med" len="med"/>
          </a:ln>
          <a:effectLst/>
        </p:spPr>
        <p:txBody>
          <a:bodyPr vert="horz" wrap="square" lIns="65282" tIns="37304" rIns="65282" bIns="37304" numCol="1" rtlCol="0" anchor="t" anchorCtr="0" compatLnSpc="1">
            <a:prstTxWarp prst="textNoShape">
              <a:avLst/>
            </a:prstTxWarp>
            <a:noAutofit/>
          </a:bodyPr>
          <a:lstStyle/>
          <a:p>
            <a:pPr algn="r" defTabSz="951028" fontAlgn="base">
              <a:lnSpc>
                <a:spcPts val="816"/>
              </a:lnSpc>
              <a:spcBef>
                <a:spcPts val="612"/>
              </a:spcBef>
              <a:spcAft>
                <a:spcPts val="408"/>
              </a:spcAft>
              <a:defRPr/>
            </a:pPr>
            <a:r>
              <a:rPr lang="zh-CN" altLang="en-US" sz="1632" dirty="0">
                <a:gradFill>
                  <a:gsLst>
                    <a:gs pos="0">
                      <a:srgbClr val="1A1A1A"/>
                    </a:gs>
                    <a:gs pos="100000">
                      <a:srgbClr val="1A1A1A"/>
                    </a:gs>
                  </a:gsLst>
                  <a:lin ang="5400000" scaled="0"/>
                </a:gradFill>
                <a:latin typeface="Microsoft YaHei" charset="-122"/>
                <a:ea typeface="Microsoft YaHei" charset="-122"/>
                <a:cs typeface="Microsoft YaHei" charset="-122"/>
              </a:rPr>
              <a:t>体育场</a:t>
            </a:r>
            <a:endParaRPr lang="en-US" altLang="zh-CN" sz="1632" dirty="0">
              <a:gradFill>
                <a:gsLst>
                  <a:gs pos="0">
                    <a:srgbClr val="1A1A1A"/>
                  </a:gs>
                  <a:gs pos="100000">
                    <a:srgbClr val="1A1A1A"/>
                  </a:gs>
                </a:gsLst>
                <a:lin ang="5400000" scaled="0"/>
              </a:gradFill>
              <a:latin typeface="Microsoft YaHei" charset="-122"/>
              <a:ea typeface="Microsoft YaHei" charset="-122"/>
              <a:cs typeface="Microsoft YaHei" charset="-122"/>
            </a:endParaRPr>
          </a:p>
          <a:p>
            <a:pPr algn="r" defTabSz="951028" fontAlgn="base">
              <a:lnSpc>
                <a:spcPts val="816"/>
              </a:lnSpc>
              <a:spcBef>
                <a:spcPts val="612"/>
              </a:spcBef>
              <a:spcAft>
                <a:spcPct val="0"/>
              </a:spcAft>
              <a:defRPr/>
            </a:pPr>
            <a:r>
              <a:rPr lang="en-US" altLang="zh-CN" sz="1224" dirty="0">
                <a:gradFill>
                  <a:gsLst>
                    <a:gs pos="0">
                      <a:srgbClr val="1A1A1A"/>
                    </a:gs>
                    <a:gs pos="100000">
                      <a:srgbClr val="1A1A1A"/>
                    </a:gs>
                  </a:gsLst>
                  <a:lin ang="5400000" scaled="0"/>
                </a:gradFill>
                <a:latin typeface="Segoe UI" panose="020B0502040204020203" pitchFamily="34" charset="0"/>
                <a:ea typeface="Segoe UI" panose="020B0502040204020203" pitchFamily="34" charset="0"/>
                <a:cs typeface="Segoe UI" panose="020B0502040204020203" pitchFamily="34" charset="0"/>
              </a:rPr>
              <a:t>Stadiums</a:t>
            </a:r>
            <a:endParaRPr lang="en-US" sz="1224" dirty="0">
              <a:gradFill>
                <a:gsLst>
                  <a:gs pos="0">
                    <a:srgbClr val="1A1A1A"/>
                  </a:gs>
                  <a:gs pos="100000">
                    <a:srgbClr val="1A1A1A"/>
                  </a:gs>
                </a:gsLst>
                <a:lin ang="5400000" scaled="0"/>
              </a:gradFill>
              <a:latin typeface="Segoe UI" panose="020B0502040204020203" pitchFamily="34" charset="0"/>
              <a:ea typeface="Segoe UI" panose="020B0502040204020203" pitchFamily="34" charset="0"/>
              <a:cs typeface="Segoe UI" panose="020B0502040204020203" pitchFamily="34" charset="0"/>
            </a:endParaRPr>
          </a:p>
          <a:p>
            <a:pPr algn="r" defTabSz="906691">
              <a:lnSpc>
                <a:spcPts val="816"/>
              </a:lnSpc>
              <a:spcBef>
                <a:spcPts val="612"/>
              </a:spcBef>
              <a:defRPr/>
            </a:pPr>
            <a:r>
              <a:rPr lang="en-US" sz="1224" b="1" dirty="0">
                <a:gradFill>
                  <a:gsLst>
                    <a:gs pos="1250">
                      <a:srgbClr val="0078D4"/>
                    </a:gs>
                    <a:gs pos="100000">
                      <a:srgbClr val="0078D4"/>
                    </a:gs>
                  </a:gsLst>
                </a:gradFill>
                <a:latin typeface="Segoe UI" panose="020B0502040204020203" pitchFamily="34" charset="0"/>
                <a:ea typeface="Segoe UI" panose="020B0502040204020203" pitchFamily="34" charset="0"/>
                <a:cs typeface="Segoe UI" panose="020B0502040204020203" pitchFamily="34" charset="0"/>
              </a:rPr>
              <a:t>200 TB </a:t>
            </a:r>
            <a:r>
              <a:rPr lang="en-US" sz="1224" dirty="0">
                <a:gradFill>
                  <a:gsLst>
                    <a:gs pos="1250">
                      <a:srgbClr val="1A1A1A"/>
                    </a:gs>
                    <a:gs pos="100000">
                      <a:srgbClr val="1A1A1A"/>
                    </a:gs>
                  </a:gsLst>
                </a:gradFill>
                <a:latin typeface="Segoe UI" panose="020B0502040204020203" pitchFamily="34" charset="0"/>
                <a:ea typeface="Segoe UI" panose="020B0502040204020203" pitchFamily="34" charset="0"/>
                <a:cs typeface="Segoe UI" panose="020B0502040204020203" pitchFamily="34" charset="0"/>
              </a:rPr>
              <a:t>per game</a:t>
            </a:r>
          </a:p>
        </p:txBody>
      </p:sp>
      <p:sp>
        <p:nvSpPr>
          <p:cNvPr id="444" name="Rectangle 443">
            <a:extLst>
              <a:ext uri="{FF2B5EF4-FFF2-40B4-BE49-F238E27FC236}">
                <a16:creationId xmlns:a16="http://schemas.microsoft.com/office/drawing/2014/main" id="{E9784C27-9D6A-45D5-8264-DE8A6AACE290}"/>
              </a:ext>
            </a:extLst>
          </p:cNvPr>
          <p:cNvSpPr/>
          <p:nvPr/>
        </p:nvSpPr>
        <p:spPr bwMode="auto">
          <a:xfrm>
            <a:off x="6421914" y="1102017"/>
            <a:ext cx="1431083" cy="772240"/>
          </a:xfrm>
          <a:prstGeom prst="rect">
            <a:avLst/>
          </a:prstGeom>
          <a:noFill/>
          <a:ln w="9525" cap="flat" cmpd="sng" algn="ctr">
            <a:noFill/>
            <a:prstDash val="solid"/>
            <a:round/>
            <a:headEnd type="none" w="med" len="med"/>
            <a:tailEnd type="none" w="med" len="med"/>
          </a:ln>
          <a:effectLst/>
        </p:spPr>
        <p:txBody>
          <a:bodyPr vert="horz" wrap="square" lIns="65282" tIns="37304" rIns="65282" bIns="37304" numCol="1" rtlCol="0" anchor="t" anchorCtr="0" compatLnSpc="1">
            <a:prstTxWarp prst="textNoShape">
              <a:avLst/>
            </a:prstTxWarp>
            <a:noAutofit/>
          </a:bodyPr>
          <a:lstStyle/>
          <a:p>
            <a:pPr defTabSz="951028" fontAlgn="base">
              <a:lnSpc>
                <a:spcPts val="816"/>
              </a:lnSpc>
              <a:spcBef>
                <a:spcPts val="612"/>
              </a:spcBef>
              <a:spcAft>
                <a:spcPct val="0"/>
              </a:spcAft>
              <a:defRPr/>
            </a:pPr>
            <a:endParaRPr lang="en-US" altLang="zh-CN" sz="1836" dirty="0">
              <a:gradFill>
                <a:gsLst>
                  <a:gs pos="0">
                    <a:srgbClr val="1A1A1A"/>
                  </a:gs>
                  <a:gs pos="100000">
                    <a:srgbClr val="1A1A1A"/>
                  </a:gs>
                </a:gsLst>
                <a:lin ang="5400000" scaled="0"/>
              </a:gradFill>
              <a:latin typeface="Microsoft YaHei" charset="-122"/>
              <a:ea typeface="Microsoft YaHei" charset="-122"/>
              <a:cs typeface="Microsoft YaHei" charset="-122"/>
            </a:endParaRPr>
          </a:p>
          <a:p>
            <a:pPr defTabSz="951028" fontAlgn="base">
              <a:lnSpc>
                <a:spcPts val="816"/>
              </a:lnSpc>
              <a:spcBef>
                <a:spcPts val="612"/>
              </a:spcBef>
              <a:spcAft>
                <a:spcPts val="204"/>
              </a:spcAft>
              <a:defRPr/>
            </a:pPr>
            <a:r>
              <a:rPr lang="zh-CN" altLang="en-US" sz="1632" dirty="0">
                <a:gradFill>
                  <a:gsLst>
                    <a:gs pos="0">
                      <a:srgbClr val="1A1A1A"/>
                    </a:gs>
                    <a:gs pos="100000">
                      <a:srgbClr val="1A1A1A"/>
                    </a:gs>
                  </a:gsLst>
                  <a:lin ang="5400000" scaled="0"/>
                </a:gradFill>
                <a:latin typeface="Microsoft YaHei" charset="-122"/>
                <a:ea typeface="Microsoft YaHei" charset="-122"/>
                <a:cs typeface="Microsoft YaHei" charset="-122"/>
              </a:rPr>
              <a:t>人</a:t>
            </a:r>
            <a:endParaRPr lang="en-US" altLang="zh-CN" sz="1632" dirty="0">
              <a:gradFill>
                <a:gsLst>
                  <a:gs pos="0">
                    <a:srgbClr val="1A1A1A"/>
                  </a:gs>
                  <a:gs pos="100000">
                    <a:srgbClr val="1A1A1A"/>
                  </a:gs>
                </a:gsLst>
                <a:lin ang="5400000" scaled="0"/>
              </a:gradFill>
              <a:latin typeface="Microsoft YaHei" charset="-122"/>
              <a:ea typeface="Microsoft YaHei" charset="-122"/>
              <a:cs typeface="Microsoft YaHei" charset="-122"/>
            </a:endParaRPr>
          </a:p>
          <a:p>
            <a:pPr defTabSz="951028" fontAlgn="base">
              <a:lnSpc>
                <a:spcPts val="816"/>
              </a:lnSpc>
              <a:spcBef>
                <a:spcPts val="612"/>
              </a:spcBef>
              <a:spcAft>
                <a:spcPct val="0"/>
              </a:spcAft>
              <a:defRPr/>
            </a:pPr>
            <a:r>
              <a:rPr lang="en-US" altLang="zh-CN" sz="1224" dirty="0">
                <a:gradFill>
                  <a:gsLst>
                    <a:gs pos="0">
                      <a:srgbClr val="1A1A1A"/>
                    </a:gs>
                    <a:gs pos="100000">
                      <a:srgbClr val="1A1A1A"/>
                    </a:gs>
                  </a:gsLst>
                  <a:lin ang="5400000" scaled="0"/>
                </a:gradFill>
                <a:latin typeface="Segoe UI" panose="020B0502040204020203" pitchFamily="34" charset="0"/>
                <a:ea typeface="Segoe UI" panose="020B0502040204020203" pitchFamily="34" charset="0"/>
                <a:cs typeface="Segoe UI" panose="020B0502040204020203" pitchFamily="34" charset="0"/>
              </a:rPr>
              <a:t>People</a:t>
            </a:r>
            <a:endParaRPr lang="en-US" sz="1224" dirty="0">
              <a:gradFill>
                <a:gsLst>
                  <a:gs pos="0">
                    <a:srgbClr val="1A1A1A"/>
                  </a:gs>
                  <a:gs pos="100000">
                    <a:srgbClr val="1A1A1A"/>
                  </a:gs>
                </a:gsLst>
                <a:lin ang="5400000" scaled="0"/>
              </a:gradFill>
              <a:latin typeface="Segoe UI" panose="020B0502040204020203" pitchFamily="34" charset="0"/>
              <a:ea typeface="Segoe UI" panose="020B0502040204020203" pitchFamily="34" charset="0"/>
              <a:cs typeface="Segoe UI" panose="020B0502040204020203" pitchFamily="34" charset="0"/>
            </a:endParaRPr>
          </a:p>
          <a:p>
            <a:pPr defTabSz="906691">
              <a:lnSpc>
                <a:spcPts val="816"/>
              </a:lnSpc>
              <a:spcBef>
                <a:spcPts val="612"/>
              </a:spcBef>
              <a:defRPr/>
            </a:pPr>
            <a:r>
              <a:rPr lang="en-US" sz="1224" b="1" dirty="0">
                <a:gradFill>
                  <a:gsLst>
                    <a:gs pos="1250">
                      <a:srgbClr val="0078D4"/>
                    </a:gs>
                    <a:gs pos="100000">
                      <a:srgbClr val="0078D4"/>
                    </a:gs>
                  </a:gsLst>
                </a:gradFill>
                <a:latin typeface="Segoe UI" panose="020B0502040204020203" pitchFamily="34" charset="0"/>
                <a:ea typeface="Segoe UI" panose="020B0502040204020203" pitchFamily="34" charset="0"/>
                <a:cs typeface="Segoe UI" panose="020B0502040204020203" pitchFamily="34" charset="0"/>
              </a:rPr>
              <a:t>1.5 GB </a:t>
            </a:r>
            <a:r>
              <a:rPr lang="en-US" sz="1224" dirty="0">
                <a:gradFill>
                  <a:gsLst>
                    <a:gs pos="1250">
                      <a:srgbClr val="1A1A1A"/>
                    </a:gs>
                    <a:gs pos="100000">
                      <a:srgbClr val="1A1A1A"/>
                    </a:gs>
                  </a:gsLst>
                </a:gradFill>
                <a:latin typeface="Segoe UI" panose="020B0502040204020203" pitchFamily="34" charset="0"/>
                <a:ea typeface="Segoe UI" panose="020B0502040204020203" pitchFamily="34" charset="0"/>
                <a:cs typeface="Segoe UI" panose="020B0502040204020203" pitchFamily="34" charset="0"/>
              </a:rPr>
              <a:t>per day</a:t>
            </a:r>
          </a:p>
        </p:txBody>
      </p:sp>
      <p:sp>
        <p:nvSpPr>
          <p:cNvPr id="439" name="Rectangle 438">
            <a:extLst>
              <a:ext uri="{FF2B5EF4-FFF2-40B4-BE49-F238E27FC236}">
                <a16:creationId xmlns:a16="http://schemas.microsoft.com/office/drawing/2014/main" id="{458B71B2-E186-41D7-B6D6-76393868361F}"/>
              </a:ext>
            </a:extLst>
          </p:cNvPr>
          <p:cNvSpPr/>
          <p:nvPr/>
        </p:nvSpPr>
        <p:spPr bwMode="auto">
          <a:xfrm>
            <a:off x="6849143" y="5708089"/>
            <a:ext cx="2086166" cy="504089"/>
          </a:xfrm>
          <a:prstGeom prst="rect">
            <a:avLst/>
          </a:prstGeom>
          <a:noFill/>
          <a:ln w="9525" cap="flat" cmpd="sng" algn="ctr">
            <a:noFill/>
            <a:prstDash val="solid"/>
            <a:round/>
            <a:headEnd type="none" w="med" len="med"/>
            <a:tailEnd type="none" w="med" len="med"/>
          </a:ln>
          <a:effectLst/>
        </p:spPr>
        <p:txBody>
          <a:bodyPr vert="horz" wrap="square" lIns="65282" tIns="37304" rIns="65282" bIns="37304" numCol="1" rtlCol="0" anchor="t" anchorCtr="0" compatLnSpc="1">
            <a:prstTxWarp prst="textNoShape">
              <a:avLst/>
            </a:prstTxWarp>
            <a:noAutofit/>
          </a:bodyPr>
          <a:lstStyle/>
          <a:p>
            <a:pPr defTabSz="951028" fontAlgn="base">
              <a:lnSpc>
                <a:spcPts val="816"/>
              </a:lnSpc>
              <a:spcBef>
                <a:spcPts val="612"/>
              </a:spcBef>
              <a:spcAft>
                <a:spcPts val="408"/>
              </a:spcAft>
              <a:defRPr/>
            </a:pPr>
            <a:r>
              <a:rPr lang="zh-CN" altLang="en-US" sz="1632" dirty="0">
                <a:gradFill>
                  <a:gsLst>
                    <a:gs pos="0">
                      <a:srgbClr val="1A1A1A"/>
                    </a:gs>
                    <a:gs pos="100000">
                      <a:srgbClr val="1A1A1A"/>
                    </a:gs>
                  </a:gsLst>
                  <a:lin ang="5400000" scaled="0"/>
                </a:gradFill>
                <a:latin typeface="Microsoft YaHei" charset="-122"/>
                <a:ea typeface="Microsoft YaHei" charset="-122"/>
                <a:cs typeface="Microsoft YaHei" charset="-122"/>
              </a:rPr>
              <a:t>智能办公</a:t>
            </a:r>
            <a:endParaRPr lang="en-US" altLang="zh-CN" sz="1632" dirty="0">
              <a:gradFill>
                <a:gsLst>
                  <a:gs pos="0">
                    <a:srgbClr val="1A1A1A"/>
                  </a:gs>
                  <a:gs pos="100000">
                    <a:srgbClr val="1A1A1A"/>
                  </a:gs>
                </a:gsLst>
                <a:lin ang="5400000" scaled="0"/>
              </a:gradFill>
              <a:latin typeface="Microsoft YaHei" charset="-122"/>
              <a:ea typeface="Microsoft YaHei" charset="-122"/>
              <a:cs typeface="Microsoft YaHei" charset="-122"/>
            </a:endParaRPr>
          </a:p>
          <a:p>
            <a:pPr defTabSz="951028" fontAlgn="base">
              <a:lnSpc>
                <a:spcPts val="816"/>
              </a:lnSpc>
              <a:spcBef>
                <a:spcPts val="612"/>
              </a:spcBef>
              <a:spcAft>
                <a:spcPct val="0"/>
              </a:spcAft>
              <a:defRPr/>
            </a:pPr>
            <a:r>
              <a:rPr lang="en-US" altLang="zh-CN" sz="1224" dirty="0">
                <a:gradFill>
                  <a:gsLst>
                    <a:gs pos="0">
                      <a:srgbClr val="1A1A1A"/>
                    </a:gs>
                    <a:gs pos="100000">
                      <a:srgbClr val="1A1A1A"/>
                    </a:gs>
                  </a:gsLst>
                  <a:lin ang="5400000" scaled="0"/>
                </a:gradFill>
                <a:latin typeface="Segoe UI" panose="020B0502040204020203" pitchFamily="34" charset="0"/>
                <a:ea typeface="Segoe UI" panose="020B0502040204020203" pitchFamily="34" charset="0"/>
                <a:cs typeface="Segoe UI" panose="020B0502040204020203" pitchFamily="34" charset="0"/>
              </a:rPr>
              <a:t>Smart office</a:t>
            </a:r>
            <a:endParaRPr lang="en-US" sz="1224" dirty="0">
              <a:gradFill>
                <a:gsLst>
                  <a:gs pos="0">
                    <a:srgbClr val="1A1A1A"/>
                  </a:gs>
                  <a:gs pos="100000">
                    <a:srgbClr val="1A1A1A"/>
                  </a:gs>
                </a:gsLst>
                <a:lin ang="5400000" scaled="0"/>
              </a:gradFill>
              <a:latin typeface="Segoe UI" panose="020B0502040204020203" pitchFamily="34" charset="0"/>
              <a:ea typeface="Segoe UI" panose="020B0502040204020203" pitchFamily="34" charset="0"/>
              <a:cs typeface="Segoe UI" panose="020B0502040204020203" pitchFamily="34" charset="0"/>
            </a:endParaRPr>
          </a:p>
          <a:p>
            <a:pPr defTabSz="906691">
              <a:lnSpc>
                <a:spcPts val="816"/>
              </a:lnSpc>
              <a:spcBef>
                <a:spcPts val="612"/>
              </a:spcBef>
              <a:defRPr/>
            </a:pPr>
            <a:r>
              <a:rPr lang="en-US" sz="1224" b="1" dirty="0">
                <a:gradFill>
                  <a:gsLst>
                    <a:gs pos="1250">
                      <a:srgbClr val="0078D4"/>
                    </a:gs>
                    <a:gs pos="100000">
                      <a:srgbClr val="0078D4"/>
                    </a:gs>
                  </a:gsLst>
                </a:gradFill>
                <a:latin typeface="Segoe UI" panose="020B0502040204020203" pitchFamily="34" charset="0"/>
                <a:ea typeface="Segoe UI" panose="020B0502040204020203" pitchFamily="34" charset="0"/>
                <a:cs typeface="Segoe UI" panose="020B0502040204020203" pitchFamily="34" charset="0"/>
              </a:rPr>
              <a:t>150 GB </a:t>
            </a:r>
            <a:r>
              <a:rPr lang="en-US" sz="1224" dirty="0">
                <a:gradFill>
                  <a:gsLst>
                    <a:gs pos="1250">
                      <a:srgbClr val="1A1A1A"/>
                    </a:gs>
                    <a:gs pos="100000">
                      <a:srgbClr val="1A1A1A"/>
                    </a:gs>
                  </a:gsLst>
                </a:gradFill>
                <a:latin typeface="Segoe UI" panose="020B0502040204020203" pitchFamily="34" charset="0"/>
                <a:ea typeface="Segoe UI" panose="020B0502040204020203" pitchFamily="34" charset="0"/>
                <a:cs typeface="Segoe UI" panose="020B0502040204020203" pitchFamily="34" charset="0"/>
              </a:rPr>
              <a:t>per day</a:t>
            </a:r>
          </a:p>
        </p:txBody>
      </p:sp>
      <p:sp>
        <p:nvSpPr>
          <p:cNvPr id="443" name="Rectangle 442">
            <a:extLst>
              <a:ext uri="{FF2B5EF4-FFF2-40B4-BE49-F238E27FC236}">
                <a16:creationId xmlns:a16="http://schemas.microsoft.com/office/drawing/2014/main" id="{B4DC5C40-3ED6-46DF-B499-99EC13FEDD43}"/>
              </a:ext>
            </a:extLst>
          </p:cNvPr>
          <p:cNvSpPr/>
          <p:nvPr/>
        </p:nvSpPr>
        <p:spPr bwMode="auto">
          <a:xfrm>
            <a:off x="9572904" y="4223681"/>
            <a:ext cx="2803395" cy="558292"/>
          </a:xfrm>
          <a:prstGeom prst="rect">
            <a:avLst/>
          </a:prstGeom>
          <a:noFill/>
          <a:ln w="9525" cap="flat" cmpd="sng" algn="ctr">
            <a:noFill/>
            <a:prstDash val="solid"/>
            <a:round/>
            <a:headEnd type="none" w="med" len="med"/>
            <a:tailEnd type="none" w="med" len="med"/>
          </a:ln>
          <a:effectLst/>
        </p:spPr>
        <p:txBody>
          <a:bodyPr vert="horz" wrap="square" lIns="65282" tIns="37304" rIns="65282" bIns="37304" numCol="1" rtlCol="0" anchor="t" anchorCtr="0" compatLnSpc="1">
            <a:prstTxWarp prst="textNoShape">
              <a:avLst/>
            </a:prstTxWarp>
            <a:noAutofit/>
          </a:bodyPr>
          <a:lstStyle/>
          <a:p>
            <a:pPr defTabSz="951028" fontAlgn="base">
              <a:lnSpc>
                <a:spcPts val="816"/>
              </a:lnSpc>
              <a:spcBef>
                <a:spcPts val="612"/>
              </a:spcBef>
              <a:spcAft>
                <a:spcPts val="408"/>
              </a:spcAft>
              <a:defRPr/>
            </a:pPr>
            <a:r>
              <a:rPr lang="zh-CN" altLang="en-US" sz="1632" dirty="0">
                <a:gradFill>
                  <a:gsLst>
                    <a:gs pos="0">
                      <a:srgbClr val="1A1A1A"/>
                    </a:gs>
                    <a:gs pos="100000">
                      <a:srgbClr val="1A1A1A"/>
                    </a:gs>
                  </a:gsLst>
                  <a:lin ang="5400000" scaled="0"/>
                </a:gradFill>
                <a:latin typeface="Microsoft YaHei" charset="-122"/>
                <a:ea typeface="Microsoft YaHei" charset="-122"/>
                <a:cs typeface="Microsoft YaHei" charset="-122"/>
              </a:rPr>
              <a:t>无人驾驶汽车</a:t>
            </a:r>
            <a:endParaRPr lang="en-US" altLang="zh-CN" sz="1632" dirty="0">
              <a:gradFill>
                <a:gsLst>
                  <a:gs pos="0">
                    <a:srgbClr val="1A1A1A"/>
                  </a:gs>
                  <a:gs pos="100000">
                    <a:srgbClr val="1A1A1A"/>
                  </a:gs>
                </a:gsLst>
                <a:lin ang="5400000" scaled="0"/>
              </a:gradFill>
              <a:latin typeface="Microsoft YaHei" charset="-122"/>
              <a:ea typeface="Microsoft YaHei" charset="-122"/>
              <a:cs typeface="Microsoft YaHei" charset="-122"/>
            </a:endParaRPr>
          </a:p>
          <a:p>
            <a:pPr defTabSz="951028" fontAlgn="base">
              <a:lnSpc>
                <a:spcPts val="816"/>
              </a:lnSpc>
              <a:spcBef>
                <a:spcPts val="612"/>
              </a:spcBef>
              <a:spcAft>
                <a:spcPct val="0"/>
              </a:spcAft>
              <a:defRPr/>
            </a:pPr>
            <a:r>
              <a:rPr lang="en-US" altLang="zh-CN" sz="1224" dirty="0">
                <a:gradFill>
                  <a:gsLst>
                    <a:gs pos="0">
                      <a:srgbClr val="1A1A1A"/>
                    </a:gs>
                    <a:gs pos="100000">
                      <a:srgbClr val="1A1A1A"/>
                    </a:gs>
                  </a:gsLst>
                  <a:lin ang="5400000" scaled="0"/>
                </a:gradFill>
                <a:latin typeface="Segoe UI" panose="020B0502040204020203" pitchFamily="34" charset="0"/>
                <a:ea typeface="Segoe UI" panose="020B0502040204020203" pitchFamily="34" charset="0"/>
                <a:cs typeface="Segoe UI" panose="020B0502040204020203" pitchFamily="34" charset="0"/>
              </a:rPr>
              <a:t>Pilotless automobiles</a:t>
            </a:r>
            <a:r>
              <a:rPr lang="en-US" sz="1224" dirty="0">
                <a:gradFill>
                  <a:gsLst>
                    <a:gs pos="0">
                      <a:srgbClr val="1A1A1A"/>
                    </a:gs>
                    <a:gs pos="100000">
                      <a:srgbClr val="1A1A1A"/>
                    </a:gs>
                  </a:gsLst>
                  <a:lin ang="5400000" scaled="0"/>
                </a:gradFill>
                <a:latin typeface="Segoe UI" panose="020B0502040204020203" pitchFamily="34" charset="0"/>
                <a:ea typeface="Segoe UI" panose="020B0502040204020203" pitchFamily="34" charset="0"/>
                <a:cs typeface="Segoe UI" panose="020B0502040204020203" pitchFamily="34" charset="0"/>
              </a:rPr>
              <a:t> </a:t>
            </a:r>
          </a:p>
          <a:p>
            <a:pPr defTabSz="906691">
              <a:lnSpc>
                <a:spcPts val="816"/>
              </a:lnSpc>
              <a:spcBef>
                <a:spcPts val="612"/>
              </a:spcBef>
              <a:defRPr/>
            </a:pPr>
            <a:r>
              <a:rPr lang="en-US" sz="1224" b="1" dirty="0">
                <a:gradFill>
                  <a:gsLst>
                    <a:gs pos="1250">
                      <a:srgbClr val="0078D4"/>
                    </a:gs>
                    <a:gs pos="100000">
                      <a:srgbClr val="0078D4"/>
                    </a:gs>
                  </a:gsLst>
                </a:gradFill>
                <a:latin typeface="Segoe UI" panose="020B0502040204020203" pitchFamily="34" charset="0"/>
                <a:ea typeface="Segoe UI" panose="020B0502040204020203" pitchFamily="34" charset="0"/>
                <a:cs typeface="Segoe UI" panose="020B0502040204020203" pitchFamily="34" charset="0"/>
              </a:rPr>
              <a:t>5 TB </a:t>
            </a:r>
            <a:r>
              <a:rPr lang="en-US" sz="1224" dirty="0">
                <a:gradFill>
                  <a:gsLst>
                    <a:gs pos="1250">
                      <a:srgbClr val="1A1A1A"/>
                    </a:gs>
                    <a:gs pos="100000">
                      <a:srgbClr val="1A1A1A"/>
                    </a:gs>
                  </a:gsLst>
                </a:gradFill>
                <a:latin typeface="Segoe UI" panose="020B0502040204020203" pitchFamily="34" charset="0"/>
                <a:ea typeface="Segoe UI" panose="020B0502040204020203" pitchFamily="34" charset="0"/>
                <a:cs typeface="Segoe UI" panose="020B0502040204020203" pitchFamily="34" charset="0"/>
              </a:rPr>
              <a:t>per day</a:t>
            </a:r>
          </a:p>
        </p:txBody>
      </p:sp>
      <p:sp>
        <p:nvSpPr>
          <p:cNvPr id="568" name="Oval 567">
            <a:extLst>
              <a:ext uri="{FF2B5EF4-FFF2-40B4-BE49-F238E27FC236}">
                <a16:creationId xmlns:a16="http://schemas.microsoft.com/office/drawing/2014/main" id="{B8D1BBA5-4C0D-4BED-822A-14EE5958F27F}"/>
              </a:ext>
            </a:extLst>
          </p:cNvPr>
          <p:cNvSpPr/>
          <p:nvPr/>
        </p:nvSpPr>
        <p:spPr bwMode="auto">
          <a:xfrm>
            <a:off x="7346471" y="3722642"/>
            <a:ext cx="93260" cy="89292"/>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639" name="Oval 638">
            <a:extLst>
              <a:ext uri="{FF2B5EF4-FFF2-40B4-BE49-F238E27FC236}">
                <a16:creationId xmlns:a16="http://schemas.microsoft.com/office/drawing/2014/main" id="{DC57DB91-5B49-4383-B07C-D77ECAAC9088}"/>
              </a:ext>
            </a:extLst>
          </p:cNvPr>
          <p:cNvSpPr/>
          <p:nvPr/>
        </p:nvSpPr>
        <p:spPr bwMode="auto">
          <a:xfrm>
            <a:off x="5603671" y="5305539"/>
            <a:ext cx="46630" cy="49272"/>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640" name="Oval 639">
            <a:extLst>
              <a:ext uri="{FF2B5EF4-FFF2-40B4-BE49-F238E27FC236}">
                <a16:creationId xmlns:a16="http://schemas.microsoft.com/office/drawing/2014/main" id="{94D00108-DBD9-499B-B582-903D795968B1}"/>
              </a:ext>
            </a:extLst>
          </p:cNvPr>
          <p:cNvSpPr/>
          <p:nvPr/>
        </p:nvSpPr>
        <p:spPr bwMode="auto">
          <a:xfrm>
            <a:off x="5293745" y="5523261"/>
            <a:ext cx="75834" cy="8013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641" name="Oval 640">
            <a:extLst>
              <a:ext uri="{FF2B5EF4-FFF2-40B4-BE49-F238E27FC236}">
                <a16:creationId xmlns:a16="http://schemas.microsoft.com/office/drawing/2014/main" id="{326917E3-5CB0-4E68-97F7-BA24C0310E9D}"/>
              </a:ext>
            </a:extLst>
          </p:cNvPr>
          <p:cNvSpPr/>
          <p:nvPr/>
        </p:nvSpPr>
        <p:spPr bwMode="auto">
          <a:xfrm>
            <a:off x="4543569" y="5534919"/>
            <a:ext cx="74608" cy="72358"/>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644" name="Oval 643">
            <a:extLst>
              <a:ext uri="{FF2B5EF4-FFF2-40B4-BE49-F238E27FC236}">
                <a16:creationId xmlns:a16="http://schemas.microsoft.com/office/drawing/2014/main" id="{1B6CC3D4-1FBC-4793-8DCF-9599A937728B}"/>
              </a:ext>
            </a:extLst>
          </p:cNvPr>
          <p:cNvSpPr/>
          <p:nvPr/>
        </p:nvSpPr>
        <p:spPr bwMode="auto">
          <a:xfrm>
            <a:off x="2788998" y="3593932"/>
            <a:ext cx="64813" cy="68485"/>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645" name="Oval 644">
            <a:extLst>
              <a:ext uri="{FF2B5EF4-FFF2-40B4-BE49-F238E27FC236}">
                <a16:creationId xmlns:a16="http://schemas.microsoft.com/office/drawing/2014/main" id="{5BAC9546-0ECE-44E6-8577-5C1E29948E1C}"/>
              </a:ext>
            </a:extLst>
          </p:cNvPr>
          <p:cNvSpPr/>
          <p:nvPr/>
        </p:nvSpPr>
        <p:spPr bwMode="auto">
          <a:xfrm>
            <a:off x="3152569" y="3283192"/>
            <a:ext cx="64570" cy="68228"/>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646" name="Oval 645">
            <a:extLst>
              <a:ext uri="{FF2B5EF4-FFF2-40B4-BE49-F238E27FC236}">
                <a16:creationId xmlns:a16="http://schemas.microsoft.com/office/drawing/2014/main" id="{0A80228B-BE56-4FD0-BBE6-E528B662532D}"/>
              </a:ext>
            </a:extLst>
          </p:cNvPr>
          <p:cNvSpPr/>
          <p:nvPr/>
        </p:nvSpPr>
        <p:spPr bwMode="auto">
          <a:xfrm>
            <a:off x="3529496" y="3792679"/>
            <a:ext cx="55956" cy="51803"/>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647" name="Oval 646">
            <a:extLst>
              <a:ext uri="{FF2B5EF4-FFF2-40B4-BE49-F238E27FC236}">
                <a16:creationId xmlns:a16="http://schemas.microsoft.com/office/drawing/2014/main" id="{71DA0B76-7EA6-48DA-8EF0-C6735D663804}"/>
              </a:ext>
            </a:extLst>
          </p:cNvPr>
          <p:cNvSpPr/>
          <p:nvPr/>
        </p:nvSpPr>
        <p:spPr bwMode="auto">
          <a:xfrm>
            <a:off x="3558477" y="2796998"/>
            <a:ext cx="60546" cy="63975"/>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649" name="Oval 648">
            <a:extLst>
              <a:ext uri="{FF2B5EF4-FFF2-40B4-BE49-F238E27FC236}">
                <a16:creationId xmlns:a16="http://schemas.microsoft.com/office/drawing/2014/main" id="{14874222-EDC8-429E-8186-32F7D3D71084}"/>
              </a:ext>
            </a:extLst>
          </p:cNvPr>
          <p:cNvSpPr/>
          <p:nvPr/>
        </p:nvSpPr>
        <p:spPr bwMode="auto">
          <a:xfrm>
            <a:off x="9274671" y="2234127"/>
            <a:ext cx="46630" cy="49272"/>
          </a:xfrm>
          <a:prstGeom prst="ellipse">
            <a:avLst/>
          </a:prstGeom>
          <a:solidFill>
            <a:srgbClr val="0078D4">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651" name="Oval 650">
            <a:extLst>
              <a:ext uri="{FF2B5EF4-FFF2-40B4-BE49-F238E27FC236}">
                <a16:creationId xmlns:a16="http://schemas.microsoft.com/office/drawing/2014/main" id="{B4703DE0-CBA6-4CD1-A192-D92A3CCC6635}"/>
              </a:ext>
            </a:extLst>
          </p:cNvPr>
          <p:cNvSpPr/>
          <p:nvPr/>
        </p:nvSpPr>
        <p:spPr bwMode="auto">
          <a:xfrm>
            <a:off x="9145143" y="3741836"/>
            <a:ext cx="46630" cy="49272"/>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654" name="Oval 653">
            <a:extLst>
              <a:ext uri="{FF2B5EF4-FFF2-40B4-BE49-F238E27FC236}">
                <a16:creationId xmlns:a16="http://schemas.microsoft.com/office/drawing/2014/main" id="{07D84A1B-56B3-48F9-990C-6BA519A5E4CA}"/>
              </a:ext>
            </a:extLst>
          </p:cNvPr>
          <p:cNvSpPr/>
          <p:nvPr/>
        </p:nvSpPr>
        <p:spPr bwMode="auto">
          <a:xfrm>
            <a:off x="8373155" y="4829873"/>
            <a:ext cx="46630" cy="49272"/>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656" name="Oval 655">
            <a:extLst>
              <a:ext uri="{FF2B5EF4-FFF2-40B4-BE49-F238E27FC236}">
                <a16:creationId xmlns:a16="http://schemas.microsoft.com/office/drawing/2014/main" id="{741CE1D0-8421-4FA2-804F-8087F73F89B3}"/>
              </a:ext>
            </a:extLst>
          </p:cNvPr>
          <p:cNvSpPr/>
          <p:nvPr/>
        </p:nvSpPr>
        <p:spPr bwMode="auto">
          <a:xfrm>
            <a:off x="7476386" y="4694706"/>
            <a:ext cx="47497" cy="50188"/>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657" name="Oval 656">
            <a:extLst>
              <a:ext uri="{FF2B5EF4-FFF2-40B4-BE49-F238E27FC236}">
                <a16:creationId xmlns:a16="http://schemas.microsoft.com/office/drawing/2014/main" id="{849C5B3C-089A-4753-B4F3-A85663CA36AF}"/>
              </a:ext>
            </a:extLst>
          </p:cNvPr>
          <p:cNvSpPr/>
          <p:nvPr/>
        </p:nvSpPr>
        <p:spPr bwMode="auto">
          <a:xfrm>
            <a:off x="7797483" y="4740315"/>
            <a:ext cx="78849" cy="83316"/>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658" name="Oval 657">
            <a:extLst>
              <a:ext uri="{FF2B5EF4-FFF2-40B4-BE49-F238E27FC236}">
                <a16:creationId xmlns:a16="http://schemas.microsoft.com/office/drawing/2014/main" id="{8BBC034C-7134-469B-A204-21582C121FF7}"/>
              </a:ext>
            </a:extLst>
          </p:cNvPr>
          <p:cNvSpPr/>
          <p:nvPr/>
        </p:nvSpPr>
        <p:spPr bwMode="auto">
          <a:xfrm>
            <a:off x="7137455" y="4689982"/>
            <a:ext cx="46630" cy="49272"/>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pic>
        <p:nvPicPr>
          <p:cNvPr id="30" name="People">
            <a:extLst>
              <a:ext uri="{FF2B5EF4-FFF2-40B4-BE49-F238E27FC236}">
                <a16:creationId xmlns:a16="http://schemas.microsoft.com/office/drawing/2014/main" id="{34F13A5C-11B0-4A86-B329-A1F74A902BC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66417" y="1066464"/>
            <a:ext cx="1430116" cy="1784536"/>
          </a:xfrm>
          <a:prstGeom prst="rect">
            <a:avLst/>
          </a:prstGeom>
        </p:spPr>
      </p:pic>
      <p:grpSp>
        <p:nvGrpSpPr>
          <p:cNvPr id="495" name="Group 494">
            <a:extLst>
              <a:ext uri="{FF2B5EF4-FFF2-40B4-BE49-F238E27FC236}">
                <a16:creationId xmlns:a16="http://schemas.microsoft.com/office/drawing/2014/main" id="{1AA1173D-66ED-4E96-9AED-882AB3A94157}"/>
              </a:ext>
            </a:extLst>
          </p:cNvPr>
          <p:cNvGrpSpPr/>
          <p:nvPr/>
        </p:nvGrpSpPr>
        <p:grpSpPr>
          <a:xfrm>
            <a:off x="5218219" y="2002586"/>
            <a:ext cx="894453" cy="244183"/>
            <a:chOff x="5390456" y="1978104"/>
            <a:chExt cx="840893" cy="229562"/>
          </a:xfrm>
        </p:grpSpPr>
        <p:sp>
          <p:nvSpPr>
            <p:cNvPr id="395" name="headphones">
              <a:extLst>
                <a:ext uri="{FF2B5EF4-FFF2-40B4-BE49-F238E27FC236}">
                  <a16:creationId xmlns:a16="http://schemas.microsoft.com/office/drawing/2014/main" id="{C0B578B1-1A68-4A86-BDED-2DDB76A0018D}"/>
                </a:ext>
              </a:extLst>
            </p:cNvPr>
            <p:cNvSpPr>
              <a:spLocks noChangeAspect="1" noEditPoints="1"/>
            </p:cNvSpPr>
            <p:nvPr/>
          </p:nvSpPr>
          <p:spPr bwMode="auto">
            <a:xfrm>
              <a:off x="5390456" y="1988085"/>
              <a:ext cx="188814" cy="209601"/>
            </a:xfrm>
            <a:custGeom>
              <a:avLst/>
              <a:gdLst>
                <a:gd name="T0" fmla="*/ 0 w 302"/>
                <a:gd name="T1" fmla="*/ 229 h 334"/>
                <a:gd name="T2" fmla="*/ 0 w 302"/>
                <a:gd name="T3" fmla="*/ 151 h 334"/>
                <a:gd name="T4" fmla="*/ 151 w 302"/>
                <a:gd name="T5" fmla="*/ 0 h 334"/>
                <a:gd name="T6" fmla="*/ 302 w 302"/>
                <a:gd name="T7" fmla="*/ 151 h 334"/>
                <a:gd name="T8" fmla="*/ 302 w 302"/>
                <a:gd name="T9" fmla="*/ 239 h 334"/>
                <a:gd name="T10" fmla="*/ 35 w 302"/>
                <a:gd name="T11" fmla="*/ 184 h 334"/>
                <a:gd name="T12" fmla="*/ 0 w 302"/>
                <a:gd name="T13" fmla="*/ 219 h 334"/>
                <a:gd name="T14" fmla="*/ 0 w 302"/>
                <a:gd name="T15" fmla="*/ 300 h 334"/>
                <a:gd name="T16" fmla="*/ 35 w 302"/>
                <a:gd name="T17" fmla="*/ 334 h 334"/>
                <a:gd name="T18" fmla="*/ 58 w 302"/>
                <a:gd name="T19" fmla="*/ 334 h 334"/>
                <a:gd name="T20" fmla="*/ 58 w 302"/>
                <a:gd name="T21" fmla="*/ 184 h 334"/>
                <a:gd name="T22" fmla="*/ 35 w 302"/>
                <a:gd name="T23" fmla="*/ 184 h 334"/>
                <a:gd name="T24" fmla="*/ 244 w 302"/>
                <a:gd name="T25" fmla="*/ 184 h 334"/>
                <a:gd name="T26" fmla="*/ 244 w 302"/>
                <a:gd name="T27" fmla="*/ 334 h 334"/>
                <a:gd name="T28" fmla="*/ 268 w 302"/>
                <a:gd name="T29" fmla="*/ 334 h 334"/>
                <a:gd name="T30" fmla="*/ 302 w 302"/>
                <a:gd name="T31" fmla="*/ 300 h 334"/>
                <a:gd name="T32" fmla="*/ 302 w 302"/>
                <a:gd name="T33" fmla="*/ 219 h 334"/>
                <a:gd name="T34" fmla="*/ 268 w 302"/>
                <a:gd name="T35" fmla="*/ 184 h 334"/>
                <a:gd name="T36" fmla="*/ 244 w 302"/>
                <a:gd name="T37" fmla="*/ 18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2" h="334">
                  <a:moveTo>
                    <a:pt x="0" y="229"/>
                  </a:moveTo>
                  <a:cubicBezTo>
                    <a:pt x="0" y="151"/>
                    <a:pt x="0" y="151"/>
                    <a:pt x="0" y="151"/>
                  </a:cubicBezTo>
                  <a:cubicBezTo>
                    <a:pt x="0" y="67"/>
                    <a:pt x="68" y="0"/>
                    <a:pt x="151" y="0"/>
                  </a:cubicBezTo>
                  <a:cubicBezTo>
                    <a:pt x="234" y="0"/>
                    <a:pt x="302" y="67"/>
                    <a:pt x="302" y="151"/>
                  </a:cubicBezTo>
                  <a:cubicBezTo>
                    <a:pt x="302" y="239"/>
                    <a:pt x="302" y="239"/>
                    <a:pt x="302" y="239"/>
                  </a:cubicBezTo>
                  <a:moveTo>
                    <a:pt x="35" y="184"/>
                  </a:moveTo>
                  <a:cubicBezTo>
                    <a:pt x="15" y="184"/>
                    <a:pt x="0" y="200"/>
                    <a:pt x="0" y="219"/>
                  </a:cubicBezTo>
                  <a:cubicBezTo>
                    <a:pt x="0" y="300"/>
                    <a:pt x="0" y="300"/>
                    <a:pt x="0" y="300"/>
                  </a:cubicBezTo>
                  <a:cubicBezTo>
                    <a:pt x="0" y="319"/>
                    <a:pt x="15" y="334"/>
                    <a:pt x="35" y="334"/>
                  </a:cubicBezTo>
                  <a:cubicBezTo>
                    <a:pt x="58" y="334"/>
                    <a:pt x="58" y="334"/>
                    <a:pt x="58" y="334"/>
                  </a:cubicBezTo>
                  <a:cubicBezTo>
                    <a:pt x="58" y="184"/>
                    <a:pt x="58" y="184"/>
                    <a:pt x="58" y="184"/>
                  </a:cubicBezTo>
                  <a:lnTo>
                    <a:pt x="35" y="184"/>
                  </a:lnTo>
                  <a:close/>
                  <a:moveTo>
                    <a:pt x="244" y="184"/>
                  </a:moveTo>
                  <a:cubicBezTo>
                    <a:pt x="244" y="334"/>
                    <a:pt x="244" y="334"/>
                    <a:pt x="244" y="334"/>
                  </a:cubicBezTo>
                  <a:cubicBezTo>
                    <a:pt x="268" y="334"/>
                    <a:pt x="268" y="334"/>
                    <a:pt x="268" y="334"/>
                  </a:cubicBezTo>
                  <a:cubicBezTo>
                    <a:pt x="287" y="334"/>
                    <a:pt x="302" y="319"/>
                    <a:pt x="302" y="300"/>
                  </a:cubicBezTo>
                  <a:cubicBezTo>
                    <a:pt x="302" y="219"/>
                    <a:pt x="302" y="219"/>
                    <a:pt x="302" y="219"/>
                  </a:cubicBezTo>
                  <a:cubicBezTo>
                    <a:pt x="302" y="200"/>
                    <a:pt x="287" y="184"/>
                    <a:pt x="268" y="184"/>
                  </a:cubicBezTo>
                  <a:lnTo>
                    <a:pt x="244" y="184"/>
                  </a:lnTo>
                  <a:close/>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sp>
          <p:nvSpPr>
            <p:cNvPr id="396" name="phone">
              <a:extLst>
                <a:ext uri="{FF2B5EF4-FFF2-40B4-BE49-F238E27FC236}">
                  <a16:creationId xmlns:a16="http://schemas.microsoft.com/office/drawing/2014/main" id="{997C467C-4996-4BF5-8C0E-CA6813CE1D64}"/>
                </a:ext>
              </a:extLst>
            </p:cNvPr>
            <p:cNvSpPr>
              <a:spLocks noChangeAspect="1" noEditPoints="1"/>
            </p:cNvSpPr>
            <p:nvPr/>
          </p:nvSpPr>
          <p:spPr bwMode="auto">
            <a:xfrm>
              <a:off x="5720973" y="1982357"/>
              <a:ext cx="138045" cy="221057"/>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sp>
          <p:nvSpPr>
            <p:cNvPr id="397" name="hand_9">
              <a:extLst>
                <a:ext uri="{FF2B5EF4-FFF2-40B4-BE49-F238E27FC236}">
                  <a16:creationId xmlns:a16="http://schemas.microsoft.com/office/drawing/2014/main" id="{4A0EE6CB-38F4-4599-9CE4-48605187DEFE}"/>
                </a:ext>
              </a:extLst>
            </p:cNvPr>
            <p:cNvSpPr>
              <a:spLocks noChangeAspect="1" noEditPoints="1"/>
            </p:cNvSpPr>
            <p:nvPr/>
          </p:nvSpPr>
          <p:spPr bwMode="auto">
            <a:xfrm>
              <a:off x="6000722" y="1978104"/>
              <a:ext cx="230627" cy="229562"/>
            </a:xfrm>
            <a:custGeom>
              <a:avLst/>
              <a:gdLst>
                <a:gd name="T0" fmla="*/ 126 w 315"/>
                <a:gd name="T1" fmla="*/ 164 h 315"/>
                <a:gd name="T2" fmla="*/ 85 w 315"/>
                <a:gd name="T3" fmla="*/ 105 h 315"/>
                <a:gd name="T4" fmla="*/ 147 w 315"/>
                <a:gd name="T5" fmla="*/ 43 h 315"/>
                <a:gd name="T6" fmla="*/ 209 w 315"/>
                <a:gd name="T7" fmla="*/ 105 h 315"/>
                <a:gd name="T8" fmla="*/ 168 w 315"/>
                <a:gd name="T9" fmla="*/ 164 h 315"/>
                <a:gd name="T10" fmla="*/ 168 w 315"/>
                <a:gd name="T11" fmla="*/ 185 h 315"/>
                <a:gd name="T12" fmla="*/ 168 w 315"/>
                <a:gd name="T13" fmla="*/ 105 h 315"/>
                <a:gd name="T14" fmla="*/ 147 w 315"/>
                <a:gd name="T15" fmla="*/ 84 h 315"/>
                <a:gd name="T16" fmla="*/ 147 w 315"/>
                <a:gd name="T17" fmla="*/ 84 h 315"/>
                <a:gd name="T18" fmla="*/ 126 w 315"/>
                <a:gd name="T19" fmla="*/ 105 h 315"/>
                <a:gd name="T20" fmla="*/ 126 w 315"/>
                <a:gd name="T21" fmla="*/ 220 h 315"/>
                <a:gd name="T22" fmla="*/ 252 w 315"/>
                <a:gd name="T23" fmla="*/ 211 h 315"/>
                <a:gd name="T24" fmla="*/ 302 w 315"/>
                <a:gd name="T25" fmla="*/ 211 h 315"/>
                <a:gd name="T26" fmla="*/ 315 w 315"/>
                <a:gd name="T27" fmla="*/ 199 h 315"/>
                <a:gd name="T28" fmla="*/ 315 w 315"/>
                <a:gd name="T29" fmla="*/ 13 h 315"/>
                <a:gd name="T30" fmla="*/ 302 w 315"/>
                <a:gd name="T31" fmla="*/ 0 h 315"/>
                <a:gd name="T32" fmla="*/ 12 w 315"/>
                <a:gd name="T33" fmla="*/ 0 h 315"/>
                <a:gd name="T34" fmla="*/ 0 w 315"/>
                <a:gd name="T35" fmla="*/ 13 h 315"/>
                <a:gd name="T36" fmla="*/ 0 w 315"/>
                <a:gd name="T37" fmla="*/ 199 h 315"/>
                <a:gd name="T38" fmla="*/ 12 w 315"/>
                <a:gd name="T39" fmla="*/ 211 h 315"/>
                <a:gd name="T40" fmla="*/ 84 w 315"/>
                <a:gd name="T41" fmla="*/ 211 h 315"/>
                <a:gd name="T42" fmla="*/ 84 w 315"/>
                <a:gd name="T43" fmla="*/ 231 h 315"/>
                <a:gd name="T44" fmla="*/ 168 w 315"/>
                <a:gd name="T45" fmla="*/ 315 h 315"/>
                <a:gd name="T46" fmla="*/ 168 w 315"/>
                <a:gd name="T47" fmla="*/ 315 h 315"/>
                <a:gd name="T48" fmla="*/ 252 w 315"/>
                <a:gd name="T49" fmla="*/ 231 h 315"/>
                <a:gd name="T50" fmla="*/ 252 w 315"/>
                <a:gd name="T51" fmla="*/ 205 h 315"/>
                <a:gd name="T52" fmla="*/ 247 w 315"/>
                <a:gd name="T53" fmla="*/ 186 h 315"/>
                <a:gd name="T54" fmla="*/ 228 w 315"/>
                <a:gd name="T55" fmla="*/ 174 h 315"/>
                <a:gd name="T56" fmla="*/ 179 w 315"/>
                <a:gd name="T57" fmla="*/ 159 h 315"/>
                <a:gd name="T58" fmla="*/ 126 w 315"/>
                <a:gd name="T59" fmla="*/ 183 h 315"/>
                <a:gd name="T60" fmla="*/ 84 w 315"/>
                <a:gd name="T61" fmla="*/ 211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5" h="315">
                  <a:moveTo>
                    <a:pt x="126" y="164"/>
                  </a:moveTo>
                  <a:cubicBezTo>
                    <a:pt x="102" y="155"/>
                    <a:pt x="85" y="132"/>
                    <a:pt x="85" y="105"/>
                  </a:cubicBezTo>
                  <a:cubicBezTo>
                    <a:pt x="85" y="71"/>
                    <a:pt x="113" y="43"/>
                    <a:pt x="147" y="43"/>
                  </a:cubicBezTo>
                  <a:cubicBezTo>
                    <a:pt x="182" y="43"/>
                    <a:pt x="209" y="71"/>
                    <a:pt x="209" y="105"/>
                  </a:cubicBezTo>
                  <a:cubicBezTo>
                    <a:pt x="209" y="132"/>
                    <a:pt x="192" y="156"/>
                    <a:pt x="168" y="164"/>
                  </a:cubicBezTo>
                  <a:moveTo>
                    <a:pt x="168" y="185"/>
                  </a:moveTo>
                  <a:cubicBezTo>
                    <a:pt x="168" y="105"/>
                    <a:pt x="168" y="105"/>
                    <a:pt x="168" y="105"/>
                  </a:cubicBezTo>
                  <a:cubicBezTo>
                    <a:pt x="168" y="93"/>
                    <a:pt x="159" y="84"/>
                    <a:pt x="147" y="84"/>
                  </a:cubicBezTo>
                  <a:cubicBezTo>
                    <a:pt x="147" y="84"/>
                    <a:pt x="147" y="84"/>
                    <a:pt x="147" y="84"/>
                  </a:cubicBezTo>
                  <a:cubicBezTo>
                    <a:pt x="135" y="84"/>
                    <a:pt x="126" y="93"/>
                    <a:pt x="126" y="105"/>
                  </a:cubicBezTo>
                  <a:cubicBezTo>
                    <a:pt x="126" y="220"/>
                    <a:pt x="126" y="220"/>
                    <a:pt x="126" y="220"/>
                  </a:cubicBezTo>
                  <a:moveTo>
                    <a:pt x="252" y="211"/>
                  </a:moveTo>
                  <a:cubicBezTo>
                    <a:pt x="302" y="211"/>
                    <a:pt x="302" y="211"/>
                    <a:pt x="302" y="211"/>
                  </a:cubicBezTo>
                  <a:cubicBezTo>
                    <a:pt x="309" y="211"/>
                    <a:pt x="315" y="206"/>
                    <a:pt x="315" y="199"/>
                  </a:cubicBezTo>
                  <a:cubicBezTo>
                    <a:pt x="315" y="13"/>
                    <a:pt x="315" y="13"/>
                    <a:pt x="315" y="13"/>
                  </a:cubicBezTo>
                  <a:cubicBezTo>
                    <a:pt x="315" y="6"/>
                    <a:pt x="309" y="0"/>
                    <a:pt x="302" y="0"/>
                  </a:cubicBezTo>
                  <a:cubicBezTo>
                    <a:pt x="12" y="0"/>
                    <a:pt x="12" y="0"/>
                    <a:pt x="12" y="0"/>
                  </a:cubicBezTo>
                  <a:cubicBezTo>
                    <a:pt x="5" y="0"/>
                    <a:pt x="0" y="6"/>
                    <a:pt x="0" y="13"/>
                  </a:cubicBezTo>
                  <a:cubicBezTo>
                    <a:pt x="0" y="199"/>
                    <a:pt x="0" y="199"/>
                    <a:pt x="0" y="199"/>
                  </a:cubicBezTo>
                  <a:cubicBezTo>
                    <a:pt x="0" y="206"/>
                    <a:pt x="5" y="211"/>
                    <a:pt x="12" y="211"/>
                  </a:cubicBezTo>
                  <a:cubicBezTo>
                    <a:pt x="12" y="211"/>
                    <a:pt x="84" y="211"/>
                    <a:pt x="84" y="211"/>
                  </a:cubicBezTo>
                  <a:cubicBezTo>
                    <a:pt x="84" y="231"/>
                    <a:pt x="84" y="231"/>
                    <a:pt x="84" y="231"/>
                  </a:cubicBezTo>
                  <a:cubicBezTo>
                    <a:pt x="84" y="277"/>
                    <a:pt x="122" y="315"/>
                    <a:pt x="168" y="315"/>
                  </a:cubicBezTo>
                  <a:cubicBezTo>
                    <a:pt x="168" y="315"/>
                    <a:pt x="168" y="315"/>
                    <a:pt x="168" y="315"/>
                  </a:cubicBezTo>
                  <a:cubicBezTo>
                    <a:pt x="215" y="315"/>
                    <a:pt x="252" y="277"/>
                    <a:pt x="252" y="231"/>
                  </a:cubicBezTo>
                  <a:cubicBezTo>
                    <a:pt x="252" y="205"/>
                    <a:pt x="252" y="205"/>
                    <a:pt x="252" y="205"/>
                  </a:cubicBezTo>
                  <a:cubicBezTo>
                    <a:pt x="252" y="205"/>
                    <a:pt x="252" y="191"/>
                    <a:pt x="247" y="186"/>
                  </a:cubicBezTo>
                  <a:cubicBezTo>
                    <a:pt x="240" y="177"/>
                    <a:pt x="228" y="174"/>
                    <a:pt x="228" y="174"/>
                  </a:cubicBezTo>
                  <a:cubicBezTo>
                    <a:pt x="179" y="159"/>
                    <a:pt x="179" y="159"/>
                    <a:pt x="179" y="159"/>
                  </a:cubicBezTo>
                  <a:moveTo>
                    <a:pt x="126" y="183"/>
                  </a:moveTo>
                  <a:cubicBezTo>
                    <a:pt x="87" y="183"/>
                    <a:pt x="84" y="211"/>
                    <a:pt x="84" y="211"/>
                  </a:cubicBezTo>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grpSp>
      <p:pic>
        <p:nvPicPr>
          <p:cNvPr id="21" name="Factory">
            <a:extLst>
              <a:ext uri="{FF2B5EF4-FFF2-40B4-BE49-F238E27FC236}">
                <a16:creationId xmlns:a16="http://schemas.microsoft.com/office/drawing/2014/main" id="{6399F4CF-6DBB-42E0-AE9A-45CC2BC0E22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15411" y="3038936"/>
            <a:ext cx="2207353" cy="1311975"/>
          </a:xfrm>
          <a:prstGeom prst="rect">
            <a:avLst/>
          </a:prstGeom>
        </p:spPr>
      </p:pic>
      <p:grpSp>
        <p:nvGrpSpPr>
          <p:cNvPr id="497" name="Group 496">
            <a:extLst>
              <a:ext uri="{FF2B5EF4-FFF2-40B4-BE49-F238E27FC236}">
                <a16:creationId xmlns:a16="http://schemas.microsoft.com/office/drawing/2014/main" id="{9844C968-BFAE-43C7-B8CC-774EF7DB1355}"/>
              </a:ext>
            </a:extLst>
          </p:cNvPr>
          <p:cNvGrpSpPr/>
          <p:nvPr/>
        </p:nvGrpSpPr>
        <p:grpSpPr>
          <a:xfrm>
            <a:off x="1805589" y="3886237"/>
            <a:ext cx="1621725" cy="291096"/>
            <a:chOff x="1762642" y="3324608"/>
            <a:chExt cx="1590071" cy="285414"/>
          </a:xfrm>
        </p:grpSpPr>
        <p:sp>
          <p:nvSpPr>
            <p:cNvPr id="389" name="ID_2">
              <a:extLst>
                <a:ext uri="{FF2B5EF4-FFF2-40B4-BE49-F238E27FC236}">
                  <a16:creationId xmlns:a16="http://schemas.microsoft.com/office/drawing/2014/main" id="{F0EA3FB4-2184-4044-BD72-A8D3FE02BED2}"/>
                </a:ext>
              </a:extLst>
            </p:cNvPr>
            <p:cNvSpPr>
              <a:spLocks noChangeAspect="1" noEditPoints="1"/>
            </p:cNvSpPr>
            <p:nvPr/>
          </p:nvSpPr>
          <p:spPr bwMode="auto">
            <a:xfrm>
              <a:off x="1762642" y="3365410"/>
              <a:ext cx="289996" cy="203810"/>
            </a:xfrm>
            <a:custGeom>
              <a:avLst/>
              <a:gdLst>
                <a:gd name="T0" fmla="*/ 46 w 344"/>
                <a:gd name="T1" fmla="*/ 88 h 240"/>
                <a:gd name="T2" fmla="*/ 95 w 344"/>
                <a:gd name="T3" fmla="*/ 39 h 240"/>
                <a:gd name="T4" fmla="*/ 144 w 344"/>
                <a:gd name="T5" fmla="*/ 88 h 240"/>
                <a:gd name="T6" fmla="*/ 95 w 344"/>
                <a:gd name="T7" fmla="*/ 137 h 240"/>
                <a:gd name="T8" fmla="*/ 46 w 344"/>
                <a:gd name="T9" fmla="*/ 88 h 240"/>
                <a:gd name="T10" fmla="*/ 159 w 344"/>
                <a:gd name="T11" fmla="*/ 201 h 240"/>
                <a:gd name="T12" fmla="*/ 95 w 344"/>
                <a:gd name="T13" fmla="*/ 137 h 240"/>
                <a:gd name="T14" fmla="*/ 31 w 344"/>
                <a:gd name="T15" fmla="*/ 201 h 240"/>
                <a:gd name="T16" fmla="*/ 189 w 344"/>
                <a:gd name="T17" fmla="*/ 41 h 240"/>
                <a:gd name="T18" fmla="*/ 313 w 344"/>
                <a:gd name="T19" fmla="*/ 41 h 240"/>
                <a:gd name="T20" fmla="*/ 189 w 344"/>
                <a:gd name="T21" fmla="*/ 116 h 240"/>
                <a:gd name="T22" fmla="*/ 313 w 344"/>
                <a:gd name="T23" fmla="*/ 116 h 240"/>
                <a:gd name="T24" fmla="*/ 189 w 344"/>
                <a:gd name="T25" fmla="*/ 192 h 240"/>
                <a:gd name="T26" fmla="*/ 313 w 344"/>
                <a:gd name="T27" fmla="*/ 192 h 240"/>
                <a:gd name="T28" fmla="*/ 344 w 344"/>
                <a:gd name="T29" fmla="*/ 0 h 240"/>
                <a:gd name="T30" fmla="*/ 0 w 344"/>
                <a:gd name="T31" fmla="*/ 0 h 240"/>
                <a:gd name="T32" fmla="*/ 0 w 344"/>
                <a:gd name="T33" fmla="*/ 240 h 240"/>
                <a:gd name="T34" fmla="*/ 344 w 344"/>
                <a:gd name="T35" fmla="*/ 240 h 240"/>
                <a:gd name="T36" fmla="*/ 344 w 344"/>
                <a:gd name="T37"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4" h="240">
                  <a:moveTo>
                    <a:pt x="46" y="88"/>
                  </a:moveTo>
                  <a:cubicBezTo>
                    <a:pt x="46" y="61"/>
                    <a:pt x="68" y="39"/>
                    <a:pt x="95" y="39"/>
                  </a:cubicBezTo>
                  <a:cubicBezTo>
                    <a:pt x="122" y="39"/>
                    <a:pt x="144" y="61"/>
                    <a:pt x="144" y="88"/>
                  </a:cubicBezTo>
                  <a:cubicBezTo>
                    <a:pt x="144" y="115"/>
                    <a:pt x="122" y="137"/>
                    <a:pt x="95" y="137"/>
                  </a:cubicBezTo>
                  <a:cubicBezTo>
                    <a:pt x="68" y="137"/>
                    <a:pt x="46" y="115"/>
                    <a:pt x="46" y="88"/>
                  </a:cubicBezTo>
                  <a:close/>
                  <a:moveTo>
                    <a:pt x="159" y="201"/>
                  </a:moveTo>
                  <a:cubicBezTo>
                    <a:pt x="159" y="166"/>
                    <a:pt x="130" y="137"/>
                    <a:pt x="95" y="137"/>
                  </a:cubicBezTo>
                  <a:cubicBezTo>
                    <a:pt x="59" y="137"/>
                    <a:pt x="31" y="166"/>
                    <a:pt x="31" y="201"/>
                  </a:cubicBezTo>
                  <a:moveTo>
                    <a:pt x="189" y="41"/>
                  </a:moveTo>
                  <a:cubicBezTo>
                    <a:pt x="313" y="41"/>
                    <a:pt x="313" y="41"/>
                    <a:pt x="313" y="41"/>
                  </a:cubicBezTo>
                  <a:moveTo>
                    <a:pt x="189" y="116"/>
                  </a:moveTo>
                  <a:cubicBezTo>
                    <a:pt x="313" y="116"/>
                    <a:pt x="313" y="116"/>
                    <a:pt x="313" y="116"/>
                  </a:cubicBezTo>
                  <a:moveTo>
                    <a:pt x="189" y="192"/>
                  </a:moveTo>
                  <a:cubicBezTo>
                    <a:pt x="313" y="192"/>
                    <a:pt x="313" y="192"/>
                    <a:pt x="313" y="192"/>
                  </a:cubicBezTo>
                  <a:moveTo>
                    <a:pt x="344" y="0"/>
                  </a:moveTo>
                  <a:cubicBezTo>
                    <a:pt x="0" y="0"/>
                    <a:pt x="0" y="0"/>
                    <a:pt x="0" y="0"/>
                  </a:cubicBezTo>
                  <a:cubicBezTo>
                    <a:pt x="0" y="240"/>
                    <a:pt x="0" y="240"/>
                    <a:pt x="0" y="240"/>
                  </a:cubicBezTo>
                  <a:cubicBezTo>
                    <a:pt x="344" y="240"/>
                    <a:pt x="344" y="240"/>
                    <a:pt x="344" y="240"/>
                  </a:cubicBezTo>
                  <a:lnTo>
                    <a:pt x="344" y="0"/>
                  </a:lnTo>
                  <a:close/>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sp>
          <p:nvSpPr>
            <p:cNvPr id="394" name="light_2">
              <a:extLst>
                <a:ext uri="{FF2B5EF4-FFF2-40B4-BE49-F238E27FC236}">
                  <a16:creationId xmlns:a16="http://schemas.microsoft.com/office/drawing/2014/main" id="{F55D97E8-273D-414F-85F9-2C9DD3EEF23C}"/>
                </a:ext>
              </a:extLst>
            </p:cNvPr>
            <p:cNvSpPr>
              <a:spLocks noChangeAspect="1" noEditPoints="1"/>
            </p:cNvSpPr>
            <p:nvPr/>
          </p:nvSpPr>
          <p:spPr bwMode="auto">
            <a:xfrm>
              <a:off x="2260545" y="3324608"/>
              <a:ext cx="160764" cy="285414"/>
            </a:xfrm>
            <a:custGeom>
              <a:avLst/>
              <a:gdLst>
                <a:gd name="T0" fmla="*/ 166 w 190"/>
                <a:gd name="T1" fmla="*/ 160 h 338"/>
                <a:gd name="T2" fmla="*/ 143 w 190"/>
                <a:gd name="T3" fmla="*/ 222 h 338"/>
                <a:gd name="T4" fmla="*/ 46 w 190"/>
                <a:gd name="T5" fmla="*/ 222 h 338"/>
                <a:gd name="T6" fmla="*/ 26 w 190"/>
                <a:gd name="T7" fmla="*/ 164 h 338"/>
                <a:gd name="T8" fmla="*/ 20 w 190"/>
                <a:gd name="T9" fmla="*/ 155 h 338"/>
                <a:gd name="T10" fmla="*/ 0 w 190"/>
                <a:gd name="T11" fmla="*/ 95 h 338"/>
                <a:gd name="T12" fmla="*/ 95 w 190"/>
                <a:gd name="T13" fmla="*/ 0 h 338"/>
                <a:gd name="T14" fmla="*/ 190 w 190"/>
                <a:gd name="T15" fmla="*/ 95 h 338"/>
                <a:gd name="T16" fmla="*/ 170 w 190"/>
                <a:gd name="T17" fmla="*/ 153 h 338"/>
                <a:gd name="T18" fmla="*/ 166 w 190"/>
                <a:gd name="T19" fmla="*/ 160 h 338"/>
                <a:gd name="T20" fmla="*/ 46 w 190"/>
                <a:gd name="T21" fmla="*/ 264 h 338"/>
                <a:gd name="T22" fmla="*/ 143 w 190"/>
                <a:gd name="T23" fmla="*/ 264 h 338"/>
                <a:gd name="T24" fmla="*/ 46 w 190"/>
                <a:gd name="T25" fmla="*/ 302 h 338"/>
                <a:gd name="T26" fmla="*/ 143 w 190"/>
                <a:gd name="T27" fmla="*/ 302 h 338"/>
                <a:gd name="T28" fmla="*/ 58 w 190"/>
                <a:gd name="T29" fmla="*/ 338 h 338"/>
                <a:gd name="T30" fmla="*/ 132 w 190"/>
                <a:gd name="T31"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0" h="338">
                  <a:moveTo>
                    <a:pt x="166" y="160"/>
                  </a:moveTo>
                  <a:cubicBezTo>
                    <a:pt x="144" y="194"/>
                    <a:pt x="143" y="222"/>
                    <a:pt x="143" y="222"/>
                  </a:cubicBezTo>
                  <a:cubicBezTo>
                    <a:pt x="46" y="222"/>
                    <a:pt x="46" y="222"/>
                    <a:pt x="46" y="222"/>
                  </a:cubicBezTo>
                  <a:cubicBezTo>
                    <a:pt x="48" y="205"/>
                    <a:pt x="26" y="164"/>
                    <a:pt x="26" y="164"/>
                  </a:cubicBezTo>
                  <a:cubicBezTo>
                    <a:pt x="20" y="155"/>
                    <a:pt x="20" y="155"/>
                    <a:pt x="20" y="155"/>
                  </a:cubicBezTo>
                  <a:cubicBezTo>
                    <a:pt x="6" y="138"/>
                    <a:pt x="0" y="119"/>
                    <a:pt x="0" y="95"/>
                  </a:cubicBezTo>
                  <a:cubicBezTo>
                    <a:pt x="0" y="42"/>
                    <a:pt x="42" y="0"/>
                    <a:pt x="95" y="0"/>
                  </a:cubicBezTo>
                  <a:cubicBezTo>
                    <a:pt x="148" y="0"/>
                    <a:pt x="190" y="42"/>
                    <a:pt x="190" y="95"/>
                  </a:cubicBezTo>
                  <a:cubicBezTo>
                    <a:pt x="190" y="119"/>
                    <a:pt x="184" y="137"/>
                    <a:pt x="170" y="153"/>
                  </a:cubicBezTo>
                  <a:lnTo>
                    <a:pt x="166" y="160"/>
                  </a:lnTo>
                  <a:close/>
                  <a:moveTo>
                    <a:pt x="46" y="264"/>
                  </a:moveTo>
                  <a:cubicBezTo>
                    <a:pt x="143" y="264"/>
                    <a:pt x="143" y="264"/>
                    <a:pt x="143" y="264"/>
                  </a:cubicBezTo>
                  <a:moveTo>
                    <a:pt x="46" y="302"/>
                  </a:moveTo>
                  <a:cubicBezTo>
                    <a:pt x="143" y="302"/>
                    <a:pt x="143" y="302"/>
                    <a:pt x="143" y="302"/>
                  </a:cubicBezTo>
                  <a:moveTo>
                    <a:pt x="58" y="338"/>
                  </a:moveTo>
                  <a:cubicBezTo>
                    <a:pt x="132" y="338"/>
                    <a:pt x="132" y="338"/>
                    <a:pt x="132" y="338"/>
                  </a:cubicBezTo>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sp>
          <p:nvSpPr>
            <p:cNvPr id="402" name="website_2">
              <a:extLst>
                <a:ext uri="{FF2B5EF4-FFF2-40B4-BE49-F238E27FC236}">
                  <a16:creationId xmlns:a16="http://schemas.microsoft.com/office/drawing/2014/main" id="{D9BF475F-E819-4B65-BDC8-04746E4C084C}"/>
                </a:ext>
              </a:extLst>
            </p:cNvPr>
            <p:cNvSpPr>
              <a:spLocks noChangeAspect="1" noEditPoints="1"/>
            </p:cNvSpPr>
            <p:nvPr/>
          </p:nvSpPr>
          <p:spPr bwMode="auto">
            <a:xfrm>
              <a:off x="2629216" y="3362347"/>
              <a:ext cx="251304" cy="209937"/>
            </a:xfrm>
            <a:custGeom>
              <a:avLst/>
              <a:gdLst>
                <a:gd name="T0" fmla="*/ 334 w 335"/>
                <a:gd name="T1" fmla="*/ 280 h 280"/>
                <a:gd name="T2" fmla="*/ 2 w 335"/>
                <a:gd name="T3" fmla="*/ 280 h 280"/>
                <a:gd name="T4" fmla="*/ 2 w 335"/>
                <a:gd name="T5" fmla="*/ 0 h 280"/>
                <a:gd name="T6" fmla="*/ 334 w 335"/>
                <a:gd name="T7" fmla="*/ 0 h 280"/>
                <a:gd name="T8" fmla="*/ 334 w 335"/>
                <a:gd name="T9" fmla="*/ 280 h 280"/>
                <a:gd name="T10" fmla="*/ 2 w 335"/>
                <a:gd name="T11" fmla="*/ 79 h 280"/>
                <a:gd name="T12" fmla="*/ 334 w 335"/>
                <a:gd name="T13" fmla="*/ 79 h 280"/>
                <a:gd name="T14" fmla="*/ 208 w 335"/>
                <a:gd name="T15" fmla="*/ 45 h 280"/>
                <a:gd name="T16" fmla="*/ 213 w 335"/>
                <a:gd name="T17" fmla="*/ 39 h 280"/>
                <a:gd name="T18" fmla="*/ 208 w 335"/>
                <a:gd name="T19" fmla="*/ 34 h 280"/>
                <a:gd name="T20" fmla="*/ 202 w 335"/>
                <a:gd name="T21" fmla="*/ 39 h 280"/>
                <a:gd name="T22" fmla="*/ 208 w 335"/>
                <a:gd name="T23" fmla="*/ 45 h 280"/>
                <a:gd name="T24" fmla="*/ 246 w 335"/>
                <a:gd name="T25" fmla="*/ 45 h 280"/>
                <a:gd name="T26" fmla="*/ 251 w 335"/>
                <a:gd name="T27" fmla="*/ 39 h 280"/>
                <a:gd name="T28" fmla="*/ 246 w 335"/>
                <a:gd name="T29" fmla="*/ 34 h 280"/>
                <a:gd name="T30" fmla="*/ 240 w 335"/>
                <a:gd name="T31" fmla="*/ 39 h 280"/>
                <a:gd name="T32" fmla="*/ 246 w 335"/>
                <a:gd name="T33" fmla="*/ 45 h 280"/>
                <a:gd name="T34" fmla="*/ 284 w 335"/>
                <a:gd name="T35" fmla="*/ 45 h 280"/>
                <a:gd name="T36" fmla="*/ 289 w 335"/>
                <a:gd name="T37" fmla="*/ 39 h 280"/>
                <a:gd name="T38" fmla="*/ 284 w 335"/>
                <a:gd name="T39" fmla="*/ 34 h 280"/>
                <a:gd name="T40" fmla="*/ 278 w 335"/>
                <a:gd name="T41" fmla="*/ 39 h 280"/>
                <a:gd name="T42" fmla="*/ 284 w 335"/>
                <a:gd name="T43" fmla="*/ 45 h 280"/>
                <a:gd name="T44" fmla="*/ 0 w 335"/>
                <a:gd name="T45" fmla="*/ 146 h 280"/>
                <a:gd name="T46" fmla="*/ 154 w 335"/>
                <a:gd name="T47" fmla="*/ 146 h 280"/>
                <a:gd name="T48" fmla="*/ 126 w 335"/>
                <a:gd name="T49" fmla="*/ 174 h 280"/>
                <a:gd name="T50" fmla="*/ 154 w 335"/>
                <a:gd name="T51" fmla="*/ 146 h 280"/>
                <a:gd name="T52" fmla="*/ 126 w 335"/>
                <a:gd name="T53" fmla="*/ 118 h 280"/>
                <a:gd name="T54" fmla="*/ 335 w 335"/>
                <a:gd name="T55" fmla="*/ 213 h 280"/>
                <a:gd name="T56" fmla="*/ 181 w 335"/>
                <a:gd name="T57" fmla="*/ 213 h 280"/>
                <a:gd name="T58" fmla="*/ 209 w 335"/>
                <a:gd name="T59" fmla="*/ 185 h 280"/>
                <a:gd name="T60" fmla="*/ 181 w 335"/>
                <a:gd name="T61" fmla="*/ 213 h 280"/>
                <a:gd name="T62" fmla="*/ 209 w 335"/>
                <a:gd name="T63" fmla="*/ 241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0">
                  <a:moveTo>
                    <a:pt x="334" y="280"/>
                  </a:moveTo>
                  <a:cubicBezTo>
                    <a:pt x="2" y="280"/>
                    <a:pt x="2" y="280"/>
                    <a:pt x="2" y="280"/>
                  </a:cubicBezTo>
                  <a:cubicBezTo>
                    <a:pt x="2" y="0"/>
                    <a:pt x="2" y="0"/>
                    <a:pt x="2" y="0"/>
                  </a:cubicBezTo>
                  <a:cubicBezTo>
                    <a:pt x="334" y="0"/>
                    <a:pt x="334" y="0"/>
                    <a:pt x="334" y="0"/>
                  </a:cubicBezTo>
                  <a:lnTo>
                    <a:pt x="334" y="280"/>
                  </a:lnTo>
                  <a:close/>
                  <a:moveTo>
                    <a:pt x="2" y="79"/>
                  </a:moveTo>
                  <a:cubicBezTo>
                    <a:pt x="334" y="79"/>
                    <a:pt x="334" y="79"/>
                    <a:pt x="334" y="79"/>
                  </a:cubicBezTo>
                  <a:moveTo>
                    <a:pt x="208" y="45"/>
                  </a:moveTo>
                  <a:cubicBezTo>
                    <a:pt x="211" y="45"/>
                    <a:pt x="213" y="42"/>
                    <a:pt x="213" y="39"/>
                  </a:cubicBezTo>
                  <a:cubicBezTo>
                    <a:pt x="213" y="36"/>
                    <a:pt x="211" y="34"/>
                    <a:pt x="208" y="34"/>
                  </a:cubicBezTo>
                  <a:cubicBezTo>
                    <a:pt x="205" y="34"/>
                    <a:pt x="202" y="36"/>
                    <a:pt x="202" y="39"/>
                  </a:cubicBezTo>
                  <a:cubicBezTo>
                    <a:pt x="202" y="42"/>
                    <a:pt x="205" y="45"/>
                    <a:pt x="208" y="45"/>
                  </a:cubicBezTo>
                  <a:close/>
                  <a:moveTo>
                    <a:pt x="246" y="45"/>
                  </a:moveTo>
                  <a:cubicBezTo>
                    <a:pt x="249" y="45"/>
                    <a:pt x="251" y="42"/>
                    <a:pt x="251" y="39"/>
                  </a:cubicBezTo>
                  <a:cubicBezTo>
                    <a:pt x="251" y="36"/>
                    <a:pt x="249" y="34"/>
                    <a:pt x="246" y="34"/>
                  </a:cubicBezTo>
                  <a:cubicBezTo>
                    <a:pt x="243" y="34"/>
                    <a:pt x="240" y="36"/>
                    <a:pt x="240" y="39"/>
                  </a:cubicBezTo>
                  <a:cubicBezTo>
                    <a:pt x="240" y="42"/>
                    <a:pt x="243" y="45"/>
                    <a:pt x="246" y="45"/>
                  </a:cubicBezTo>
                  <a:close/>
                  <a:moveTo>
                    <a:pt x="284" y="45"/>
                  </a:moveTo>
                  <a:cubicBezTo>
                    <a:pt x="287" y="45"/>
                    <a:pt x="289" y="42"/>
                    <a:pt x="289" y="39"/>
                  </a:cubicBezTo>
                  <a:cubicBezTo>
                    <a:pt x="289" y="36"/>
                    <a:pt x="287" y="34"/>
                    <a:pt x="284" y="34"/>
                  </a:cubicBezTo>
                  <a:cubicBezTo>
                    <a:pt x="281" y="34"/>
                    <a:pt x="278" y="36"/>
                    <a:pt x="278" y="39"/>
                  </a:cubicBezTo>
                  <a:cubicBezTo>
                    <a:pt x="278" y="42"/>
                    <a:pt x="281" y="45"/>
                    <a:pt x="284" y="45"/>
                  </a:cubicBezTo>
                  <a:close/>
                  <a:moveTo>
                    <a:pt x="0" y="146"/>
                  </a:moveTo>
                  <a:cubicBezTo>
                    <a:pt x="154" y="146"/>
                    <a:pt x="154" y="146"/>
                    <a:pt x="154" y="146"/>
                  </a:cubicBezTo>
                  <a:moveTo>
                    <a:pt x="126" y="174"/>
                  </a:moveTo>
                  <a:cubicBezTo>
                    <a:pt x="154" y="146"/>
                    <a:pt x="154" y="146"/>
                    <a:pt x="154" y="146"/>
                  </a:cubicBezTo>
                  <a:cubicBezTo>
                    <a:pt x="126" y="118"/>
                    <a:pt x="126" y="118"/>
                    <a:pt x="126" y="118"/>
                  </a:cubicBezTo>
                  <a:moveTo>
                    <a:pt x="335" y="213"/>
                  </a:moveTo>
                  <a:cubicBezTo>
                    <a:pt x="181" y="213"/>
                    <a:pt x="181" y="213"/>
                    <a:pt x="181" y="213"/>
                  </a:cubicBezTo>
                  <a:moveTo>
                    <a:pt x="209" y="185"/>
                  </a:moveTo>
                  <a:cubicBezTo>
                    <a:pt x="181" y="213"/>
                    <a:pt x="181" y="213"/>
                    <a:pt x="181" y="213"/>
                  </a:cubicBezTo>
                  <a:cubicBezTo>
                    <a:pt x="209" y="241"/>
                    <a:pt x="209" y="241"/>
                    <a:pt x="209" y="241"/>
                  </a:cubicBezTo>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sp>
          <p:nvSpPr>
            <p:cNvPr id="403" name="shield">
              <a:extLst>
                <a:ext uri="{FF2B5EF4-FFF2-40B4-BE49-F238E27FC236}">
                  <a16:creationId xmlns:a16="http://schemas.microsoft.com/office/drawing/2014/main" id="{4174CF62-F09B-4422-934B-A5810203306B}"/>
                </a:ext>
              </a:extLst>
            </p:cNvPr>
            <p:cNvSpPr>
              <a:spLocks noChangeAspect="1"/>
            </p:cNvSpPr>
            <p:nvPr/>
          </p:nvSpPr>
          <p:spPr bwMode="auto">
            <a:xfrm>
              <a:off x="3088428" y="3334608"/>
              <a:ext cx="264285" cy="265415"/>
            </a:xfrm>
            <a:custGeom>
              <a:avLst/>
              <a:gdLst>
                <a:gd name="T0" fmla="*/ 161 w 323"/>
                <a:gd name="T1" fmla="*/ 0 h 323"/>
                <a:gd name="T2" fmla="*/ 163 w 323"/>
                <a:gd name="T3" fmla="*/ 0 h 323"/>
                <a:gd name="T4" fmla="*/ 163 w 323"/>
                <a:gd name="T5" fmla="*/ 2 h 323"/>
                <a:gd name="T6" fmla="*/ 213 w 323"/>
                <a:gd name="T7" fmla="*/ 32 h 323"/>
                <a:gd name="T8" fmla="*/ 259 w 323"/>
                <a:gd name="T9" fmla="*/ 9 h 323"/>
                <a:gd name="T10" fmla="*/ 305 w 323"/>
                <a:gd name="T11" fmla="*/ 56 h 323"/>
                <a:gd name="T12" fmla="*/ 280 w 323"/>
                <a:gd name="T13" fmla="*/ 100 h 323"/>
                <a:gd name="T14" fmla="*/ 292 w 323"/>
                <a:gd name="T15" fmla="*/ 133 h 323"/>
                <a:gd name="T16" fmla="*/ 310 w 323"/>
                <a:gd name="T17" fmla="*/ 157 h 323"/>
                <a:gd name="T18" fmla="*/ 323 w 323"/>
                <a:gd name="T19" fmla="*/ 203 h 323"/>
                <a:gd name="T20" fmla="*/ 274 w 323"/>
                <a:gd name="T21" fmla="*/ 278 h 323"/>
                <a:gd name="T22" fmla="*/ 163 w 323"/>
                <a:gd name="T23" fmla="*/ 323 h 323"/>
                <a:gd name="T24" fmla="*/ 162 w 323"/>
                <a:gd name="T25" fmla="*/ 322 h 323"/>
                <a:gd name="T26" fmla="*/ 50 w 323"/>
                <a:gd name="T27" fmla="*/ 277 h 323"/>
                <a:gd name="T28" fmla="*/ 0 w 323"/>
                <a:gd name="T29" fmla="*/ 201 h 323"/>
                <a:gd name="T30" fmla="*/ 14 w 323"/>
                <a:gd name="T31" fmla="*/ 156 h 323"/>
                <a:gd name="T32" fmla="*/ 31 w 323"/>
                <a:gd name="T33" fmla="*/ 132 h 323"/>
                <a:gd name="T34" fmla="*/ 44 w 323"/>
                <a:gd name="T35" fmla="*/ 98 h 323"/>
                <a:gd name="T36" fmla="*/ 18 w 323"/>
                <a:gd name="T37" fmla="*/ 55 h 323"/>
                <a:gd name="T38" fmla="*/ 67 w 323"/>
                <a:gd name="T39" fmla="*/ 7 h 323"/>
                <a:gd name="T40" fmla="*/ 113 w 323"/>
                <a:gd name="T41" fmla="*/ 30 h 323"/>
                <a:gd name="T42" fmla="*/ 160 w 323"/>
                <a:gd name="T43" fmla="*/ 0 h 323"/>
                <a:gd name="T44" fmla="*/ 161 w 323"/>
                <a:gd name="T4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3" h="323">
                  <a:moveTo>
                    <a:pt x="161" y="0"/>
                  </a:moveTo>
                  <a:cubicBezTo>
                    <a:pt x="163" y="0"/>
                    <a:pt x="163" y="0"/>
                    <a:pt x="163" y="0"/>
                  </a:cubicBezTo>
                  <a:cubicBezTo>
                    <a:pt x="163" y="2"/>
                    <a:pt x="163" y="2"/>
                    <a:pt x="163" y="2"/>
                  </a:cubicBezTo>
                  <a:cubicBezTo>
                    <a:pt x="173" y="20"/>
                    <a:pt x="192" y="32"/>
                    <a:pt x="213" y="32"/>
                  </a:cubicBezTo>
                  <a:cubicBezTo>
                    <a:pt x="232" y="32"/>
                    <a:pt x="249" y="23"/>
                    <a:pt x="259" y="9"/>
                  </a:cubicBezTo>
                  <a:cubicBezTo>
                    <a:pt x="305" y="56"/>
                    <a:pt x="305" y="56"/>
                    <a:pt x="305" y="56"/>
                  </a:cubicBezTo>
                  <a:cubicBezTo>
                    <a:pt x="290" y="65"/>
                    <a:pt x="280" y="81"/>
                    <a:pt x="280" y="100"/>
                  </a:cubicBezTo>
                  <a:cubicBezTo>
                    <a:pt x="280" y="113"/>
                    <a:pt x="284" y="121"/>
                    <a:pt x="292" y="133"/>
                  </a:cubicBezTo>
                  <a:cubicBezTo>
                    <a:pt x="310" y="157"/>
                    <a:pt x="310" y="157"/>
                    <a:pt x="310" y="157"/>
                  </a:cubicBezTo>
                  <a:cubicBezTo>
                    <a:pt x="318" y="170"/>
                    <a:pt x="323" y="186"/>
                    <a:pt x="323" y="203"/>
                  </a:cubicBezTo>
                  <a:cubicBezTo>
                    <a:pt x="323" y="237"/>
                    <a:pt x="306" y="268"/>
                    <a:pt x="274" y="278"/>
                  </a:cubicBezTo>
                  <a:cubicBezTo>
                    <a:pt x="274" y="278"/>
                    <a:pt x="183" y="301"/>
                    <a:pt x="163" y="323"/>
                  </a:cubicBezTo>
                  <a:cubicBezTo>
                    <a:pt x="162" y="322"/>
                    <a:pt x="162" y="322"/>
                    <a:pt x="162" y="322"/>
                  </a:cubicBezTo>
                  <a:cubicBezTo>
                    <a:pt x="142" y="301"/>
                    <a:pt x="50" y="277"/>
                    <a:pt x="50" y="277"/>
                  </a:cubicBezTo>
                  <a:cubicBezTo>
                    <a:pt x="17" y="267"/>
                    <a:pt x="0" y="235"/>
                    <a:pt x="0" y="201"/>
                  </a:cubicBezTo>
                  <a:cubicBezTo>
                    <a:pt x="0" y="185"/>
                    <a:pt x="5" y="169"/>
                    <a:pt x="14" y="156"/>
                  </a:cubicBezTo>
                  <a:cubicBezTo>
                    <a:pt x="31" y="132"/>
                    <a:pt x="31" y="132"/>
                    <a:pt x="31" y="132"/>
                  </a:cubicBezTo>
                  <a:cubicBezTo>
                    <a:pt x="39" y="119"/>
                    <a:pt x="44" y="111"/>
                    <a:pt x="44" y="98"/>
                  </a:cubicBezTo>
                  <a:cubicBezTo>
                    <a:pt x="44" y="80"/>
                    <a:pt x="33" y="63"/>
                    <a:pt x="18" y="55"/>
                  </a:cubicBezTo>
                  <a:cubicBezTo>
                    <a:pt x="67" y="7"/>
                    <a:pt x="67" y="7"/>
                    <a:pt x="67" y="7"/>
                  </a:cubicBezTo>
                  <a:cubicBezTo>
                    <a:pt x="77" y="21"/>
                    <a:pt x="94" y="30"/>
                    <a:pt x="113" y="30"/>
                  </a:cubicBezTo>
                  <a:cubicBezTo>
                    <a:pt x="134" y="30"/>
                    <a:pt x="150" y="18"/>
                    <a:pt x="160" y="0"/>
                  </a:cubicBezTo>
                  <a:cubicBezTo>
                    <a:pt x="161" y="0"/>
                    <a:pt x="161" y="0"/>
                    <a:pt x="161" y="0"/>
                  </a:cubicBezTo>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grpSp>
      <p:pic>
        <p:nvPicPr>
          <p:cNvPr id="28" name="Office">
            <a:extLst>
              <a:ext uri="{FF2B5EF4-FFF2-40B4-BE49-F238E27FC236}">
                <a16:creationId xmlns:a16="http://schemas.microsoft.com/office/drawing/2014/main" id="{75A0EF31-31A6-4CFF-9D2A-1BE576ED9CF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874782" y="3920445"/>
            <a:ext cx="2275749" cy="1629088"/>
          </a:xfrm>
          <a:prstGeom prst="rect">
            <a:avLst/>
          </a:prstGeom>
        </p:spPr>
      </p:pic>
      <p:grpSp>
        <p:nvGrpSpPr>
          <p:cNvPr id="67" name="Group 66">
            <a:extLst>
              <a:ext uri="{FF2B5EF4-FFF2-40B4-BE49-F238E27FC236}">
                <a16:creationId xmlns:a16="http://schemas.microsoft.com/office/drawing/2014/main" id="{4B75F460-6191-4543-965C-8EDDF7906DD4}"/>
              </a:ext>
            </a:extLst>
          </p:cNvPr>
          <p:cNvGrpSpPr/>
          <p:nvPr/>
        </p:nvGrpSpPr>
        <p:grpSpPr>
          <a:xfrm>
            <a:off x="7103817" y="5063644"/>
            <a:ext cx="1893590" cy="296386"/>
            <a:chOff x="7876815" y="4942399"/>
            <a:chExt cx="1856629" cy="290601"/>
          </a:xfrm>
        </p:grpSpPr>
        <p:sp>
          <p:nvSpPr>
            <p:cNvPr id="68" name="light_2">
              <a:extLst>
                <a:ext uri="{FF2B5EF4-FFF2-40B4-BE49-F238E27FC236}">
                  <a16:creationId xmlns:a16="http://schemas.microsoft.com/office/drawing/2014/main" id="{02657FB0-1430-4562-918E-93A072BD2FB8}"/>
                </a:ext>
              </a:extLst>
            </p:cNvPr>
            <p:cNvSpPr>
              <a:spLocks noChangeAspect="1" noEditPoints="1"/>
            </p:cNvSpPr>
            <p:nvPr/>
          </p:nvSpPr>
          <p:spPr bwMode="auto">
            <a:xfrm>
              <a:off x="7876815" y="4944992"/>
              <a:ext cx="160764" cy="285414"/>
            </a:xfrm>
            <a:custGeom>
              <a:avLst/>
              <a:gdLst>
                <a:gd name="T0" fmla="*/ 166 w 190"/>
                <a:gd name="T1" fmla="*/ 160 h 338"/>
                <a:gd name="T2" fmla="*/ 143 w 190"/>
                <a:gd name="T3" fmla="*/ 222 h 338"/>
                <a:gd name="T4" fmla="*/ 46 w 190"/>
                <a:gd name="T5" fmla="*/ 222 h 338"/>
                <a:gd name="T6" fmla="*/ 26 w 190"/>
                <a:gd name="T7" fmla="*/ 164 h 338"/>
                <a:gd name="T8" fmla="*/ 20 w 190"/>
                <a:gd name="T9" fmla="*/ 155 h 338"/>
                <a:gd name="T10" fmla="*/ 0 w 190"/>
                <a:gd name="T11" fmla="*/ 95 h 338"/>
                <a:gd name="T12" fmla="*/ 95 w 190"/>
                <a:gd name="T13" fmla="*/ 0 h 338"/>
                <a:gd name="T14" fmla="*/ 190 w 190"/>
                <a:gd name="T15" fmla="*/ 95 h 338"/>
                <a:gd name="T16" fmla="*/ 170 w 190"/>
                <a:gd name="T17" fmla="*/ 153 h 338"/>
                <a:gd name="T18" fmla="*/ 166 w 190"/>
                <a:gd name="T19" fmla="*/ 160 h 338"/>
                <a:gd name="T20" fmla="*/ 46 w 190"/>
                <a:gd name="T21" fmla="*/ 264 h 338"/>
                <a:gd name="T22" fmla="*/ 143 w 190"/>
                <a:gd name="T23" fmla="*/ 264 h 338"/>
                <a:gd name="T24" fmla="*/ 46 w 190"/>
                <a:gd name="T25" fmla="*/ 302 h 338"/>
                <a:gd name="T26" fmla="*/ 143 w 190"/>
                <a:gd name="T27" fmla="*/ 302 h 338"/>
                <a:gd name="T28" fmla="*/ 58 w 190"/>
                <a:gd name="T29" fmla="*/ 338 h 338"/>
                <a:gd name="T30" fmla="*/ 132 w 190"/>
                <a:gd name="T31"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0" h="338">
                  <a:moveTo>
                    <a:pt x="166" y="160"/>
                  </a:moveTo>
                  <a:cubicBezTo>
                    <a:pt x="144" y="194"/>
                    <a:pt x="143" y="222"/>
                    <a:pt x="143" y="222"/>
                  </a:cubicBezTo>
                  <a:cubicBezTo>
                    <a:pt x="46" y="222"/>
                    <a:pt x="46" y="222"/>
                    <a:pt x="46" y="222"/>
                  </a:cubicBezTo>
                  <a:cubicBezTo>
                    <a:pt x="48" y="205"/>
                    <a:pt x="26" y="164"/>
                    <a:pt x="26" y="164"/>
                  </a:cubicBezTo>
                  <a:cubicBezTo>
                    <a:pt x="20" y="155"/>
                    <a:pt x="20" y="155"/>
                    <a:pt x="20" y="155"/>
                  </a:cubicBezTo>
                  <a:cubicBezTo>
                    <a:pt x="6" y="138"/>
                    <a:pt x="0" y="119"/>
                    <a:pt x="0" y="95"/>
                  </a:cubicBezTo>
                  <a:cubicBezTo>
                    <a:pt x="0" y="42"/>
                    <a:pt x="42" y="0"/>
                    <a:pt x="95" y="0"/>
                  </a:cubicBezTo>
                  <a:cubicBezTo>
                    <a:pt x="148" y="0"/>
                    <a:pt x="190" y="42"/>
                    <a:pt x="190" y="95"/>
                  </a:cubicBezTo>
                  <a:cubicBezTo>
                    <a:pt x="190" y="119"/>
                    <a:pt x="184" y="137"/>
                    <a:pt x="170" y="153"/>
                  </a:cubicBezTo>
                  <a:lnTo>
                    <a:pt x="166" y="160"/>
                  </a:lnTo>
                  <a:close/>
                  <a:moveTo>
                    <a:pt x="46" y="264"/>
                  </a:moveTo>
                  <a:cubicBezTo>
                    <a:pt x="143" y="264"/>
                    <a:pt x="143" y="264"/>
                    <a:pt x="143" y="264"/>
                  </a:cubicBezTo>
                  <a:moveTo>
                    <a:pt x="46" y="302"/>
                  </a:moveTo>
                  <a:cubicBezTo>
                    <a:pt x="143" y="302"/>
                    <a:pt x="143" y="302"/>
                    <a:pt x="143" y="302"/>
                  </a:cubicBezTo>
                  <a:moveTo>
                    <a:pt x="58" y="338"/>
                  </a:moveTo>
                  <a:cubicBezTo>
                    <a:pt x="132" y="338"/>
                    <a:pt x="132" y="338"/>
                    <a:pt x="132" y="338"/>
                  </a:cubicBezTo>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sp>
          <p:nvSpPr>
            <p:cNvPr id="69" name="people_10">
              <a:extLst>
                <a:ext uri="{FF2B5EF4-FFF2-40B4-BE49-F238E27FC236}">
                  <a16:creationId xmlns:a16="http://schemas.microsoft.com/office/drawing/2014/main" id="{BCA4C6B3-987D-4DA5-9495-5E624FC7C176}"/>
                </a:ext>
              </a:extLst>
            </p:cNvPr>
            <p:cNvSpPr>
              <a:spLocks noChangeAspect="1" noEditPoints="1"/>
            </p:cNvSpPr>
            <p:nvPr/>
          </p:nvSpPr>
          <p:spPr bwMode="auto">
            <a:xfrm>
              <a:off x="8198446" y="4942399"/>
              <a:ext cx="274727" cy="290601"/>
            </a:xfrm>
            <a:custGeom>
              <a:avLst/>
              <a:gdLst>
                <a:gd name="T0" fmla="*/ 24 w 310"/>
                <a:gd name="T1" fmla="*/ 190 h 328"/>
                <a:gd name="T2" fmla="*/ 80 w 310"/>
                <a:gd name="T3" fmla="*/ 134 h 328"/>
                <a:gd name="T4" fmla="*/ 136 w 310"/>
                <a:gd name="T5" fmla="*/ 190 h 328"/>
                <a:gd name="T6" fmla="*/ 80 w 310"/>
                <a:gd name="T7" fmla="*/ 246 h 328"/>
                <a:gd name="T8" fmla="*/ 24 w 310"/>
                <a:gd name="T9" fmla="*/ 190 h 328"/>
                <a:gd name="T10" fmla="*/ 163 w 310"/>
                <a:gd name="T11" fmla="*/ 328 h 328"/>
                <a:gd name="T12" fmla="*/ 81 w 310"/>
                <a:gd name="T13" fmla="*/ 246 h 328"/>
                <a:gd name="T14" fmla="*/ 0 w 310"/>
                <a:gd name="T15" fmla="*/ 328 h 328"/>
                <a:gd name="T16" fmla="*/ 217 w 310"/>
                <a:gd name="T17" fmla="*/ 112 h 328"/>
                <a:gd name="T18" fmla="*/ 273 w 310"/>
                <a:gd name="T19" fmla="*/ 56 h 328"/>
                <a:gd name="T20" fmla="*/ 217 w 310"/>
                <a:gd name="T21" fmla="*/ 0 h 328"/>
                <a:gd name="T22" fmla="*/ 161 w 310"/>
                <a:gd name="T23" fmla="*/ 56 h 328"/>
                <a:gd name="T24" fmla="*/ 217 w 310"/>
                <a:gd name="T25" fmla="*/ 112 h 328"/>
                <a:gd name="T26" fmla="*/ 300 w 310"/>
                <a:gd name="T27" fmla="*/ 194 h 328"/>
                <a:gd name="T28" fmla="*/ 218 w 310"/>
                <a:gd name="T29" fmla="*/ 112 h 328"/>
                <a:gd name="T30" fmla="*/ 136 w 310"/>
                <a:gd name="T31" fmla="*/ 194 h 328"/>
                <a:gd name="T32" fmla="*/ 247 w 310"/>
                <a:gd name="T33" fmla="*/ 328 h 328"/>
                <a:gd name="T34" fmla="*/ 310 w 310"/>
                <a:gd name="T35" fmla="*/ 265 h 328"/>
                <a:gd name="T36" fmla="*/ 247 w 310"/>
                <a:gd name="T37" fmla="*/ 202 h 328"/>
                <a:gd name="T38" fmla="*/ 184 w 310"/>
                <a:gd name="T39" fmla="*/ 265 h 328"/>
                <a:gd name="T40" fmla="*/ 247 w 310"/>
                <a:gd name="T41" fmla="*/ 328 h 328"/>
                <a:gd name="T42" fmla="*/ 247 w 310"/>
                <a:gd name="T43" fmla="*/ 230 h 328"/>
                <a:gd name="T44" fmla="*/ 247 w 310"/>
                <a:gd name="T45" fmla="*/ 265 h 328"/>
                <a:gd name="T46" fmla="*/ 280 w 310"/>
                <a:gd name="T47" fmla="*/ 265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0" h="328">
                  <a:moveTo>
                    <a:pt x="24" y="190"/>
                  </a:moveTo>
                  <a:cubicBezTo>
                    <a:pt x="24" y="159"/>
                    <a:pt x="49" y="134"/>
                    <a:pt x="80" y="134"/>
                  </a:cubicBezTo>
                  <a:cubicBezTo>
                    <a:pt x="111" y="134"/>
                    <a:pt x="136" y="159"/>
                    <a:pt x="136" y="190"/>
                  </a:cubicBezTo>
                  <a:cubicBezTo>
                    <a:pt x="136" y="221"/>
                    <a:pt x="111" y="246"/>
                    <a:pt x="80" y="246"/>
                  </a:cubicBezTo>
                  <a:cubicBezTo>
                    <a:pt x="49" y="246"/>
                    <a:pt x="24" y="221"/>
                    <a:pt x="24" y="190"/>
                  </a:cubicBezTo>
                  <a:close/>
                  <a:moveTo>
                    <a:pt x="163" y="328"/>
                  </a:moveTo>
                  <a:cubicBezTo>
                    <a:pt x="163" y="283"/>
                    <a:pt x="127" y="246"/>
                    <a:pt x="81" y="246"/>
                  </a:cubicBezTo>
                  <a:cubicBezTo>
                    <a:pt x="36" y="246"/>
                    <a:pt x="0" y="283"/>
                    <a:pt x="0" y="328"/>
                  </a:cubicBezTo>
                  <a:moveTo>
                    <a:pt x="217" y="112"/>
                  </a:moveTo>
                  <a:cubicBezTo>
                    <a:pt x="248" y="112"/>
                    <a:pt x="273" y="87"/>
                    <a:pt x="273" y="56"/>
                  </a:cubicBezTo>
                  <a:cubicBezTo>
                    <a:pt x="273" y="25"/>
                    <a:pt x="248" y="0"/>
                    <a:pt x="217" y="0"/>
                  </a:cubicBezTo>
                  <a:cubicBezTo>
                    <a:pt x="186" y="0"/>
                    <a:pt x="161" y="25"/>
                    <a:pt x="161" y="56"/>
                  </a:cubicBezTo>
                  <a:cubicBezTo>
                    <a:pt x="161" y="87"/>
                    <a:pt x="186" y="112"/>
                    <a:pt x="217" y="112"/>
                  </a:cubicBezTo>
                  <a:close/>
                  <a:moveTo>
                    <a:pt x="300" y="194"/>
                  </a:moveTo>
                  <a:cubicBezTo>
                    <a:pt x="300" y="149"/>
                    <a:pt x="263" y="112"/>
                    <a:pt x="218" y="112"/>
                  </a:cubicBezTo>
                  <a:cubicBezTo>
                    <a:pt x="173" y="112"/>
                    <a:pt x="136" y="149"/>
                    <a:pt x="136" y="194"/>
                  </a:cubicBezTo>
                  <a:moveTo>
                    <a:pt x="247" y="328"/>
                  </a:moveTo>
                  <a:cubicBezTo>
                    <a:pt x="281" y="328"/>
                    <a:pt x="310" y="300"/>
                    <a:pt x="310" y="265"/>
                  </a:cubicBezTo>
                  <a:cubicBezTo>
                    <a:pt x="310" y="230"/>
                    <a:pt x="281" y="202"/>
                    <a:pt x="247" y="202"/>
                  </a:cubicBezTo>
                  <a:cubicBezTo>
                    <a:pt x="212" y="202"/>
                    <a:pt x="184" y="230"/>
                    <a:pt x="184" y="265"/>
                  </a:cubicBezTo>
                  <a:cubicBezTo>
                    <a:pt x="184" y="300"/>
                    <a:pt x="212" y="328"/>
                    <a:pt x="247" y="328"/>
                  </a:cubicBezTo>
                  <a:close/>
                  <a:moveTo>
                    <a:pt x="247" y="230"/>
                  </a:moveTo>
                  <a:cubicBezTo>
                    <a:pt x="247" y="265"/>
                    <a:pt x="247" y="265"/>
                    <a:pt x="247" y="265"/>
                  </a:cubicBezTo>
                  <a:cubicBezTo>
                    <a:pt x="280" y="265"/>
                    <a:pt x="280" y="265"/>
                    <a:pt x="280" y="265"/>
                  </a:cubicBezTo>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sp>
          <p:nvSpPr>
            <p:cNvPr id="70" name="shield">
              <a:extLst>
                <a:ext uri="{FF2B5EF4-FFF2-40B4-BE49-F238E27FC236}">
                  <a16:creationId xmlns:a16="http://schemas.microsoft.com/office/drawing/2014/main" id="{42C9EDA3-0690-4EDB-A322-1B6124E7126D}"/>
                </a:ext>
              </a:extLst>
            </p:cNvPr>
            <p:cNvSpPr>
              <a:spLocks noChangeAspect="1"/>
            </p:cNvSpPr>
            <p:nvPr/>
          </p:nvSpPr>
          <p:spPr bwMode="auto">
            <a:xfrm>
              <a:off x="8634041" y="4954992"/>
              <a:ext cx="264285" cy="265415"/>
            </a:xfrm>
            <a:custGeom>
              <a:avLst/>
              <a:gdLst>
                <a:gd name="T0" fmla="*/ 161 w 323"/>
                <a:gd name="T1" fmla="*/ 0 h 323"/>
                <a:gd name="T2" fmla="*/ 163 w 323"/>
                <a:gd name="T3" fmla="*/ 0 h 323"/>
                <a:gd name="T4" fmla="*/ 163 w 323"/>
                <a:gd name="T5" fmla="*/ 2 h 323"/>
                <a:gd name="T6" fmla="*/ 213 w 323"/>
                <a:gd name="T7" fmla="*/ 32 h 323"/>
                <a:gd name="T8" fmla="*/ 259 w 323"/>
                <a:gd name="T9" fmla="*/ 9 h 323"/>
                <a:gd name="T10" fmla="*/ 305 w 323"/>
                <a:gd name="T11" fmla="*/ 56 h 323"/>
                <a:gd name="T12" fmla="*/ 280 w 323"/>
                <a:gd name="T13" fmla="*/ 100 h 323"/>
                <a:gd name="T14" fmla="*/ 292 w 323"/>
                <a:gd name="T15" fmla="*/ 133 h 323"/>
                <a:gd name="T16" fmla="*/ 310 w 323"/>
                <a:gd name="T17" fmla="*/ 157 h 323"/>
                <a:gd name="T18" fmla="*/ 323 w 323"/>
                <a:gd name="T19" fmla="*/ 203 h 323"/>
                <a:gd name="T20" fmla="*/ 274 w 323"/>
                <a:gd name="T21" fmla="*/ 278 h 323"/>
                <a:gd name="T22" fmla="*/ 163 w 323"/>
                <a:gd name="T23" fmla="*/ 323 h 323"/>
                <a:gd name="T24" fmla="*/ 162 w 323"/>
                <a:gd name="T25" fmla="*/ 322 h 323"/>
                <a:gd name="T26" fmla="*/ 50 w 323"/>
                <a:gd name="T27" fmla="*/ 277 h 323"/>
                <a:gd name="T28" fmla="*/ 0 w 323"/>
                <a:gd name="T29" fmla="*/ 201 h 323"/>
                <a:gd name="T30" fmla="*/ 14 w 323"/>
                <a:gd name="T31" fmla="*/ 156 h 323"/>
                <a:gd name="T32" fmla="*/ 31 w 323"/>
                <a:gd name="T33" fmla="*/ 132 h 323"/>
                <a:gd name="T34" fmla="*/ 44 w 323"/>
                <a:gd name="T35" fmla="*/ 98 h 323"/>
                <a:gd name="T36" fmla="*/ 18 w 323"/>
                <a:gd name="T37" fmla="*/ 55 h 323"/>
                <a:gd name="T38" fmla="*/ 67 w 323"/>
                <a:gd name="T39" fmla="*/ 7 h 323"/>
                <a:gd name="T40" fmla="*/ 113 w 323"/>
                <a:gd name="T41" fmla="*/ 30 h 323"/>
                <a:gd name="T42" fmla="*/ 160 w 323"/>
                <a:gd name="T43" fmla="*/ 0 h 323"/>
                <a:gd name="T44" fmla="*/ 161 w 323"/>
                <a:gd name="T4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3" h="323">
                  <a:moveTo>
                    <a:pt x="161" y="0"/>
                  </a:moveTo>
                  <a:cubicBezTo>
                    <a:pt x="163" y="0"/>
                    <a:pt x="163" y="0"/>
                    <a:pt x="163" y="0"/>
                  </a:cubicBezTo>
                  <a:cubicBezTo>
                    <a:pt x="163" y="2"/>
                    <a:pt x="163" y="2"/>
                    <a:pt x="163" y="2"/>
                  </a:cubicBezTo>
                  <a:cubicBezTo>
                    <a:pt x="173" y="20"/>
                    <a:pt x="192" y="32"/>
                    <a:pt x="213" y="32"/>
                  </a:cubicBezTo>
                  <a:cubicBezTo>
                    <a:pt x="232" y="32"/>
                    <a:pt x="249" y="23"/>
                    <a:pt x="259" y="9"/>
                  </a:cubicBezTo>
                  <a:cubicBezTo>
                    <a:pt x="305" y="56"/>
                    <a:pt x="305" y="56"/>
                    <a:pt x="305" y="56"/>
                  </a:cubicBezTo>
                  <a:cubicBezTo>
                    <a:pt x="290" y="65"/>
                    <a:pt x="280" y="81"/>
                    <a:pt x="280" y="100"/>
                  </a:cubicBezTo>
                  <a:cubicBezTo>
                    <a:pt x="280" y="113"/>
                    <a:pt x="284" y="121"/>
                    <a:pt x="292" y="133"/>
                  </a:cubicBezTo>
                  <a:cubicBezTo>
                    <a:pt x="310" y="157"/>
                    <a:pt x="310" y="157"/>
                    <a:pt x="310" y="157"/>
                  </a:cubicBezTo>
                  <a:cubicBezTo>
                    <a:pt x="318" y="170"/>
                    <a:pt x="323" y="186"/>
                    <a:pt x="323" y="203"/>
                  </a:cubicBezTo>
                  <a:cubicBezTo>
                    <a:pt x="323" y="237"/>
                    <a:pt x="306" y="268"/>
                    <a:pt x="274" y="278"/>
                  </a:cubicBezTo>
                  <a:cubicBezTo>
                    <a:pt x="274" y="278"/>
                    <a:pt x="183" y="301"/>
                    <a:pt x="163" y="323"/>
                  </a:cubicBezTo>
                  <a:cubicBezTo>
                    <a:pt x="162" y="322"/>
                    <a:pt x="162" y="322"/>
                    <a:pt x="162" y="322"/>
                  </a:cubicBezTo>
                  <a:cubicBezTo>
                    <a:pt x="142" y="301"/>
                    <a:pt x="50" y="277"/>
                    <a:pt x="50" y="277"/>
                  </a:cubicBezTo>
                  <a:cubicBezTo>
                    <a:pt x="17" y="267"/>
                    <a:pt x="0" y="235"/>
                    <a:pt x="0" y="201"/>
                  </a:cubicBezTo>
                  <a:cubicBezTo>
                    <a:pt x="0" y="185"/>
                    <a:pt x="5" y="169"/>
                    <a:pt x="14" y="156"/>
                  </a:cubicBezTo>
                  <a:cubicBezTo>
                    <a:pt x="31" y="132"/>
                    <a:pt x="31" y="132"/>
                    <a:pt x="31" y="132"/>
                  </a:cubicBezTo>
                  <a:cubicBezTo>
                    <a:pt x="39" y="119"/>
                    <a:pt x="44" y="111"/>
                    <a:pt x="44" y="98"/>
                  </a:cubicBezTo>
                  <a:cubicBezTo>
                    <a:pt x="44" y="80"/>
                    <a:pt x="33" y="63"/>
                    <a:pt x="18" y="55"/>
                  </a:cubicBezTo>
                  <a:cubicBezTo>
                    <a:pt x="67" y="7"/>
                    <a:pt x="67" y="7"/>
                    <a:pt x="67" y="7"/>
                  </a:cubicBezTo>
                  <a:cubicBezTo>
                    <a:pt x="77" y="21"/>
                    <a:pt x="94" y="30"/>
                    <a:pt x="113" y="30"/>
                  </a:cubicBezTo>
                  <a:cubicBezTo>
                    <a:pt x="134" y="30"/>
                    <a:pt x="150" y="18"/>
                    <a:pt x="160" y="0"/>
                  </a:cubicBezTo>
                  <a:cubicBezTo>
                    <a:pt x="161" y="0"/>
                    <a:pt x="161" y="0"/>
                    <a:pt x="161" y="0"/>
                  </a:cubicBezTo>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sp>
          <p:nvSpPr>
            <p:cNvPr id="71" name="Devices3_EA6C" title="Icon of a cellphone in front of a monitor">
              <a:extLst>
                <a:ext uri="{FF2B5EF4-FFF2-40B4-BE49-F238E27FC236}">
                  <a16:creationId xmlns:a16="http://schemas.microsoft.com/office/drawing/2014/main" id="{0A4718EB-38B0-4754-849C-AFC0D910FBBC}"/>
                </a:ext>
              </a:extLst>
            </p:cNvPr>
            <p:cNvSpPr>
              <a:spLocks noChangeAspect="1" noEditPoints="1"/>
            </p:cNvSpPr>
            <p:nvPr/>
          </p:nvSpPr>
          <p:spPr bwMode="auto">
            <a:xfrm>
              <a:off x="9020111" y="4956326"/>
              <a:ext cx="374561" cy="259488"/>
            </a:xfrm>
            <a:custGeom>
              <a:avLst/>
              <a:gdLst>
                <a:gd name="T0" fmla="*/ 1320 w 5719"/>
                <a:gd name="T1" fmla="*/ 3962 h 3962"/>
                <a:gd name="T2" fmla="*/ 0 w 5719"/>
                <a:gd name="T3" fmla="*/ 3962 h 3962"/>
                <a:gd name="T4" fmla="*/ 0 w 5719"/>
                <a:gd name="T5" fmla="*/ 1761 h 3962"/>
                <a:gd name="T6" fmla="*/ 1320 w 5719"/>
                <a:gd name="T7" fmla="*/ 1761 h 3962"/>
                <a:gd name="T8" fmla="*/ 1320 w 5719"/>
                <a:gd name="T9" fmla="*/ 3962 h 3962"/>
                <a:gd name="T10" fmla="*/ 1320 w 5719"/>
                <a:gd name="T11" fmla="*/ 3081 h 3962"/>
                <a:gd name="T12" fmla="*/ 5719 w 5719"/>
                <a:gd name="T13" fmla="*/ 3081 h 3962"/>
                <a:gd name="T14" fmla="*/ 5719 w 5719"/>
                <a:gd name="T15" fmla="*/ 0 h 3962"/>
                <a:gd name="T16" fmla="*/ 440 w 5719"/>
                <a:gd name="T17" fmla="*/ 0 h 3962"/>
                <a:gd name="T18" fmla="*/ 440 w 5719"/>
                <a:gd name="T19" fmla="*/ 1761 h 3962"/>
                <a:gd name="T20" fmla="*/ 3080 w 5719"/>
                <a:gd name="T21" fmla="*/ 3962 h 3962"/>
                <a:gd name="T22" fmla="*/ 3080 w 5719"/>
                <a:gd name="T23" fmla="*/ 3081 h 3962"/>
                <a:gd name="T24" fmla="*/ 4180 w 5719"/>
                <a:gd name="T25" fmla="*/ 3962 h 3962"/>
                <a:gd name="T26" fmla="*/ 1980 w 5719"/>
                <a:gd name="T27" fmla="*/ 3962 h 3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19" h="3962">
                  <a:moveTo>
                    <a:pt x="1320" y="3962"/>
                  </a:moveTo>
                  <a:lnTo>
                    <a:pt x="0" y="3962"/>
                  </a:lnTo>
                  <a:lnTo>
                    <a:pt x="0" y="1761"/>
                  </a:lnTo>
                  <a:lnTo>
                    <a:pt x="1320" y="1761"/>
                  </a:lnTo>
                  <a:lnTo>
                    <a:pt x="1320" y="3962"/>
                  </a:lnTo>
                  <a:moveTo>
                    <a:pt x="1320" y="3081"/>
                  </a:moveTo>
                  <a:lnTo>
                    <a:pt x="5719" y="3081"/>
                  </a:lnTo>
                  <a:lnTo>
                    <a:pt x="5719" y="0"/>
                  </a:lnTo>
                  <a:lnTo>
                    <a:pt x="440" y="0"/>
                  </a:lnTo>
                  <a:lnTo>
                    <a:pt x="440" y="1761"/>
                  </a:lnTo>
                  <a:moveTo>
                    <a:pt x="3080" y="3962"/>
                  </a:moveTo>
                  <a:lnTo>
                    <a:pt x="3080" y="3081"/>
                  </a:lnTo>
                  <a:moveTo>
                    <a:pt x="4180" y="3962"/>
                  </a:moveTo>
                  <a:lnTo>
                    <a:pt x="1980" y="3962"/>
                  </a:lnTo>
                </a:path>
              </a:pathLst>
            </a:custGeom>
            <a:noFill/>
            <a:ln w="158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sp>
          <p:nvSpPr>
            <p:cNvPr id="72" name="signal">
              <a:extLst>
                <a:ext uri="{FF2B5EF4-FFF2-40B4-BE49-F238E27FC236}">
                  <a16:creationId xmlns:a16="http://schemas.microsoft.com/office/drawing/2014/main" id="{3AA17728-6467-459E-83D1-2C9E79A0C940}"/>
                </a:ext>
              </a:extLst>
            </p:cNvPr>
            <p:cNvSpPr>
              <a:spLocks noChangeAspect="1" noEditPoints="1"/>
            </p:cNvSpPr>
            <p:nvPr/>
          </p:nvSpPr>
          <p:spPr bwMode="auto">
            <a:xfrm>
              <a:off x="9505861" y="4964457"/>
              <a:ext cx="227583" cy="259487"/>
            </a:xfrm>
            <a:custGeom>
              <a:avLst/>
              <a:gdLst>
                <a:gd name="T0" fmla="*/ 105 w 296"/>
                <a:gd name="T1" fmla="*/ 225 h 337"/>
                <a:gd name="T2" fmla="*/ 148 w 296"/>
                <a:gd name="T3" fmla="*/ 182 h 337"/>
                <a:gd name="T4" fmla="*/ 190 w 296"/>
                <a:gd name="T5" fmla="*/ 225 h 337"/>
                <a:gd name="T6" fmla="*/ 148 w 296"/>
                <a:gd name="T7" fmla="*/ 267 h 337"/>
                <a:gd name="T8" fmla="*/ 105 w 296"/>
                <a:gd name="T9" fmla="*/ 225 h 337"/>
                <a:gd name="T10" fmla="*/ 148 w 296"/>
                <a:gd name="T11" fmla="*/ 267 h 337"/>
                <a:gd name="T12" fmla="*/ 148 w 296"/>
                <a:gd name="T13" fmla="*/ 337 h 337"/>
                <a:gd name="T14" fmla="*/ 296 w 296"/>
                <a:gd name="T15" fmla="*/ 61 h 337"/>
                <a:gd name="T16" fmla="*/ 148 w 296"/>
                <a:gd name="T17" fmla="*/ 0 h 337"/>
                <a:gd name="T18" fmla="*/ 0 w 296"/>
                <a:gd name="T19" fmla="*/ 62 h 337"/>
                <a:gd name="T20" fmla="*/ 255 w 296"/>
                <a:gd name="T21" fmla="*/ 104 h 337"/>
                <a:gd name="T22" fmla="*/ 149 w 296"/>
                <a:gd name="T23" fmla="*/ 60 h 337"/>
                <a:gd name="T24" fmla="*/ 41 w 296"/>
                <a:gd name="T25" fmla="*/ 105 h 337"/>
                <a:gd name="T26" fmla="*/ 208 w 296"/>
                <a:gd name="T27" fmla="*/ 150 h 337"/>
                <a:gd name="T28" fmla="*/ 148 w 296"/>
                <a:gd name="T29" fmla="*/ 125 h 337"/>
                <a:gd name="T30" fmla="*/ 88 w 296"/>
                <a:gd name="T31" fmla="*/ 14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337">
                  <a:moveTo>
                    <a:pt x="105" y="225"/>
                  </a:moveTo>
                  <a:cubicBezTo>
                    <a:pt x="105" y="201"/>
                    <a:pt x="124" y="182"/>
                    <a:pt x="148" y="182"/>
                  </a:cubicBezTo>
                  <a:cubicBezTo>
                    <a:pt x="171" y="182"/>
                    <a:pt x="190" y="201"/>
                    <a:pt x="190" y="225"/>
                  </a:cubicBezTo>
                  <a:cubicBezTo>
                    <a:pt x="190" y="248"/>
                    <a:pt x="171" y="267"/>
                    <a:pt x="148" y="267"/>
                  </a:cubicBezTo>
                  <a:cubicBezTo>
                    <a:pt x="124" y="267"/>
                    <a:pt x="105" y="248"/>
                    <a:pt x="105" y="225"/>
                  </a:cubicBezTo>
                  <a:close/>
                  <a:moveTo>
                    <a:pt x="148" y="267"/>
                  </a:moveTo>
                  <a:cubicBezTo>
                    <a:pt x="148" y="337"/>
                    <a:pt x="148" y="337"/>
                    <a:pt x="148" y="337"/>
                  </a:cubicBezTo>
                  <a:moveTo>
                    <a:pt x="296" y="61"/>
                  </a:moveTo>
                  <a:cubicBezTo>
                    <a:pt x="258" y="23"/>
                    <a:pt x="206" y="0"/>
                    <a:pt x="148" y="0"/>
                  </a:cubicBezTo>
                  <a:cubicBezTo>
                    <a:pt x="90" y="0"/>
                    <a:pt x="38" y="24"/>
                    <a:pt x="0" y="62"/>
                  </a:cubicBezTo>
                  <a:moveTo>
                    <a:pt x="255" y="104"/>
                  </a:moveTo>
                  <a:cubicBezTo>
                    <a:pt x="228" y="77"/>
                    <a:pt x="190" y="60"/>
                    <a:pt x="149" y="60"/>
                  </a:cubicBezTo>
                  <a:cubicBezTo>
                    <a:pt x="106" y="60"/>
                    <a:pt x="68" y="77"/>
                    <a:pt x="41" y="105"/>
                  </a:cubicBezTo>
                  <a:moveTo>
                    <a:pt x="208" y="150"/>
                  </a:moveTo>
                  <a:cubicBezTo>
                    <a:pt x="192" y="134"/>
                    <a:pt x="171" y="125"/>
                    <a:pt x="148" y="125"/>
                  </a:cubicBezTo>
                  <a:cubicBezTo>
                    <a:pt x="124" y="125"/>
                    <a:pt x="103" y="134"/>
                    <a:pt x="88" y="149"/>
                  </a:cubicBezTo>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grpSp>
      <p:pic>
        <p:nvPicPr>
          <p:cNvPr id="34" name="Stadium">
            <a:extLst>
              <a:ext uri="{FF2B5EF4-FFF2-40B4-BE49-F238E27FC236}">
                <a16:creationId xmlns:a16="http://schemas.microsoft.com/office/drawing/2014/main" id="{992A32A5-E350-4918-9135-017F57C963A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773657" y="4722219"/>
            <a:ext cx="2126520" cy="1442552"/>
          </a:xfrm>
          <a:prstGeom prst="rect">
            <a:avLst/>
          </a:prstGeom>
        </p:spPr>
      </p:pic>
      <p:grpSp>
        <p:nvGrpSpPr>
          <p:cNvPr id="6" name="Group 5">
            <a:extLst>
              <a:ext uri="{FF2B5EF4-FFF2-40B4-BE49-F238E27FC236}">
                <a16:creationId xmlns:a16="http://schemas.microsoft.com/office/drawing/2014/main" id="{1E3E9E34-89FA-4CDB-BCFA-95346BFC1E9C}"/>
              </a:ext>
            </a:extLst>
          </p:cNvPr>
          <p:cNvGrpSpPr/>
          <p:nvPr/>
        </p:nvGrpSpPr>
        <p:grpSpPr>
          <a:xfrm>
            <a:off x="4306309" y="5313843"/>
            <a:ext cx="1124709" cy="722868"/>
            <a:chOff x="4221391" y="5210124"/>
            <a:chExt cx="1102756" cy="708758"/>
          </a:xfrm>
        </p:grpSpPr>
        <p:sp>
          <p:nvSpPr>
            <p:cNvPr id="383" name="light_2">
              <a:extLst>
                <a:ext uri="{FF2B5EF4-FFF2-40B4-BE49-F238E27FC236}">
                  <a16:creationId xmlns:a16="http://schemas.microsoft.com/office/drawing/2014/main" id="{924ED813-E01F-446C-92C2-38A815143B46}"/>
                </a:ext>
              </a:extLst>
            </p:cNvPr>
            <p:cNvSpPr>
              <a:spLocks noChangeAspect="1" noEditPoints="1"/>
            </p:cNvSpPr>
            <p:nvPr/>
          </p:nvSpPr>
          <p:spPr bwMode="auto">
            <a:xfrm>
              <a:off x="4984323" y="5633468"/>
              <a:ext cx="160764" cy="285414"/>
            </a:xfrm>
            <a:custGeom>
              <a:avLst/>
              <a:gdLst>
                <a:gd name="T0" fmla="*/ 166 w 190"/>
                <a:gd name="T1" fmla="*/ 160 h 338"/>
                <a:gd name="T2" fmla="*/ 143 w 190"/>
                <a:gd name="T3" fmla="*/ 222 h 338"/>
                <a:gd name="T4" fmla="*/ 46 w 190"/>
                <a:gd name="T5" fmla="*/ 222 h 338"/>
                <a:gd name="T6" fmla="*/ 26 w 190"/>
                <a:gd name="T7" fmla="*/ 164 h 338"/>
                <a:gd name="T8" fmla="*/ 20 w 190"/>
                <a:gd name="T9" fmla="*/ 155 h 338"/>
                <a:gd name="T10" fmla="*/ 0 w 190"/>
                <a:gd name="T11" fmla="*/ 95 h 338"/>
                <a:gd name="T12" fmla="*/ 95 w 190"/>
                <a:gd name="T13" fmla="*/ 0 h 338"/>
                <a:gd name="T14" fmla="*/ 190 w 190"/>
                <a:gd name="T15" fmla="*/ 95 h 338"/>
                <a:gd name="T16" fmla="*/ 170 w 190"/>
                <a:gd name="T17" fmla="*/ 153 h 338"/>
                <a:gd name="T18" fmla="*/ 166 w 190"/>
                <a:gd name="T19" fmla="*/ 160 h 338"/>
                <a:gd name="T20" fmla="*/ 46 w 190"/>
                <a:gd name="T21" fmla="*/ 264 h 338"/>
                <a:gd name="T22" fmla="*/ 143 w 190"/>
                <a:gd name="T23" fmla="*/ 264 h 338"/>
                <a:gd name="T24" fmla="*/ 46 w 190"/>
                <a:gd name="T25" fmla="*/ 302 h 338"/>
                <a:gd name="T26" fmla="*/ 143 w 190"/>
                <a:gd name="T27" fmla="*/ 302 h 338"/>
                <a:gd name="T28" fmla="*/ 58 w 190"/>
                <a:gd name="T29" fmla="*/ 338 h 338"/>
                <a:gd name="T30" fmla="*/ 132 w 190"/>
                <a:gd name="T31"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0" h="338">
                  <a:moveTo>
                    <a:pt x="166" y="160"/>
                  </a:moveTo>
                  <a:cubicBezTo>
                    <a:pt x="144" y="194"/>
                    <a:pt x="143" y="222"/>
                    <a:pt x="143" y="222"/>
                  </a:cubicBezTo>
                  <a:cubicBezTo>
                    <a:pt x="46" y="222"/>
                    <a:pt x="46" y="222"/>
                    <a:pt x="46" y="222"/>
                  </a:cubicBezTo>
                  <a:cubicBezTo>
                    <a:pt x="48" y="205"/>
                    <a:pt x="26" y="164"/>
                    <a:pt x="26" y="164"/>
                  </a:cubicBezTo>
                  <a:cubicBezTo>
                    <a:pt x="20" y="155"/>
                    <a:pt x="20" y="155"/>
                    <a:pt x="20" y="155"/>
                  </a:cubicBezTo>
                  <a:cubicBezTo>
                    <a:pt x="6" y="138"/>
                    <a:pt x="0" y="119"/>
                    <a:pt x="0" y="95"/>
                  </a:cubicBezTo>
                  <a:cubicBezTo>
                    <a:pt x="0" y="42"/>
                    <a:pt x="42" y="0"/>
                    <a:pt x="95" y="0"/>
                  </a:cubicBezTo>
                  <a:cubicBezTo>
                    <a:pt x="148" y="0"/>
                    <a:pt x="190" y="42"/>
                    <a:pt x="190" y="95"/>
                  </a:cubicBezTo>
                  <a:cubicBezTo>
                    <a:pt x="190" y="119"/>
                    <a:pt x="184" y="137"/>
                    <a:pt x="170" y="153"/>
                  </a:cubicBezTo>
                  <a:lnTo>
                    <a:pt x="166" y="160"/>
                  </a:lnTo>
                  <a:close/>
                  <a:moveTo>
                    <a:pt x="46" y="264"/>
                  </a:moveTo>
                  <a:cubicBezTo>
                    <a:pt x="143" y="264"/>
                    <a:pt x="143" y="264"/>
                    <a:pt x="143" y="264"/>
                  </a:cubicBezTo>
                  <a:moveTo>
                    <a:pt x="46" y="302"/>
                  </a:moveTo>
                  <a:cubicBezTo>
                    <a:pt x="143" y="302"/>
                    <a:pt x="143" y="302"/>
                    <a:pt x="143" y="302"/>
                  </a:cubicBezTo>
                  <a:moveTo>
                    <a:pt x="58" y="338"/>
                  </a:moveTo>
                  <a:cubicBezTo>
                    <a:pt x="132" y="338"/>
                    <a:pt x="132" y="338"/>
                    <a:pt x="132" y="338"/>
                  </a:cubicBezTo>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sp>
          <p:nvSpPr>
            <p:cNvPr id="386" name="sound_3">
              <a:extLst>
                <a:ext uri="{FF2B5EF4-FFF2-40B4-BE49-F238E27FC236}">
                  <a16:creationId xmlns:a16="http://schemas.microsoft.com/office/drawing/2014/main" id="{E3AD274B-9E88-4746-BE54-A71E1AF804F7}"/>
                </a:ext>
              </a:extLst>
            </p:cNvPr>
            <p:cNvSpPr>
              <a:spLocks noChangeAspect="1" noEditPoints="1"/>
            </p:cNvSpPr>
            <p:nvPr/>
          </p:nvSpPr>
          <p:spPr bwMode="auto">
            <a:xfrm>
              <a:off x="4398603" y="5669537"/>
              <a:ext cx="343458" cy="213276"/>
            </a:xfrm>
            <a:custGeom>
              <a:avLst/>
              <a:gdLst>
                <a:gd name="T0" fmla="*/ 208 w 343"/>
                <a:gd name="T1" fmla="*/ 74 h 210"/>
                <a:gd name="T2" fmla="*/ 268 w 343"/>
                <a:gd name="T3" fmla="*/ 15 h 210"/>
                <a:gd name="T4" fmla="*/ 327 w 343"/>
                <a:gd name="T5" fmla="*/ 74 h 210"/>
                <a:gd name="T6" fmla="*/ 268 w 343"/>
                <a:gd name="T7" fmla="*/ 134 h 210"/>
                <a:gd name="T8" fmla="*/ 208 w 343"/>
                <a:gd name="T9" fmla="*/ 74 h 210"/>
                <a:gd name="T10" fmla="*/ 343 w 343"/>
                <a:gd name="T11" fmla="*/ 210 h 210"/>
                <a:gd name="T12" fmla="*/ 268 w 343"/>
                <a:gd name="T13" fmla="*/ 134 h 210"/>
                <a:gd name="T14" fmla="*/ 192 w 343"/>
                <a:gd name="T15" fmla="*/ 210 h 210"/>
                <a:gd name="T16" fmla="*/ 1 w 343"/>
                <a:gd name="T17" fmla="*/ 140 h 210"/>
                <a:gd name="T18" fmla="*/ 15 w 343"/>
                <a:gd name="T19" fmla="*/ 105 h 210"/>
                <a:gd name="T20" fmla="*/ 0 w 343"/>
                <a:gd name="T21" fmla="*/ 69 h 210"/>
                <a:gd name="T22" fmla="*/ 52 w 343"/>
                <a:gd name="T23" fmla="*/ 172 h 210"/>
                <a:gd name="T24" fmla="*/ 75 w 343"/>
                <a:gd name="T25" fmla="*/ 105 h 210"/>
                <a:gd name="T26" fmla="*/ 51 w 343"/>
                <a:gd name="T27" fmla="*/ 36 h 210"/>
                <a:gd name="T28" fmla="*/ 104 w 343"/>
                <a:gd name="T29" fmla="*/ 209 h 210"/>
                <a:gd name="T30" fmla="*/ 139 w 343"/>
                <a:gd name="T31" fmla="*/ 105 h 210"/>
                <a:gd name="T32" fmla="*/ 104 w 343"/>
                <a:gd name="T33"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3" h="210">
                  <a:moveTo>
                    <a:pt x="208" y="74"/>
                  </a:moveTo>
                  <a:cubicBezTo>
                    <a:pt x="208" y="42"/>
                    <a:pt x="235" y="15"/>
                    <a:pt x="268" y="15"/>
                  </a:cubicBezTo>
                  <a:cubicBezTo>
                    <a:pt x="301" y="15"/>
                    <a:pt x="327" y="42"/>
                    <a:pt x="327" y="74"/>
                  </a:cubicBezTo>
                  <a:cubicBezTo>
                    <a:pt x="327" y="107"/>
                    <a:pt x="301" y="134"/>
                    <a:pt x="268" y="134"/>
                  </a:cubicBezTo>
                  <a:cubicBezTo>
                    <a:pt x="235" y="134"/>
                    <a:pt x="208" y="107"/>
                    <a:pt x="208" y="74"/>
                  </a:cubicBezTo>
                  <a:close/>
                  <a:moveTo>
                    <a:pt x="343" y="210"/>
                  </a:moveTo>
                  <a:cubicBezTo>
                    <a:pt x="343" y="168"/>
                    <a:pt x="309" y="134"/>
                    <a:pt x="268" y="134"/>
                  </a:cubicBezTo>
                  <a:cubicBezTo>
                    <a:pt x="226" y="134"/>
                    <a:pt x="192" y="168"/>
                    <a:pt x="192" y="210"/>
                  </a:cubicBezTo>
                  <a:moveTo>
                    <a:pt x="1" y="140"/>
                  </a:moveTo>
                  <a:cubicBezTo>
                    <a:pt x="10" y="131"/>
                    <a:pt x="15" y="118"/>
                    <a:pt x="15" y="105"/>
                  </a:cubicBezTo>
                  <a:cubicBezTo>
                    <a:pt x="15" y="91"/>
                    <a:pt x="10" y="78"/>
                    <a:pt x="0" y="69"/>
                  </a:cubicBezTo>
                  <a:moveTo>
                    <a:pt x="52" y="172"/>
                  </a:moveTo>
                  <a:cubicBezTo>
                    <a:pt x="67" y="154"/>
                    <a:pt x="75" y="130"/>
                    <a:pt x="75" y="105"/>
                  </a:cubicBezTo>
                  <a:cubicBezTo>
                    <a:pt x="75" y="79"/>
                    <a:pt x="66" y="55"/>
                    <a:pt x="51" y="36"/>
                  </a:cubicBezTo>
                  <a:moveTo>
                    <a:pt x="104" y="209"/>
                  </a:moveTo>
                  <a:cubicBezTo>
                    <a:pt x="126" y="180"/>
                    <a:pt x="139" y="144"/>
                    <a:pt x="139" y="105"/>
                  </a:cubicBezTo>
                  <a:cubicBezTo>
                    <a:pt x="139" y="65"/>
                    <a:pt x="126" y="29"/>
                    <a:pt x="104" y="0"/>
                  </a:cubicBezTo>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grpSp>
          <p:nvGrpSpPr>
            <p:cNvPr id="494" name="Group 493">
              <a:extLst>
                <a:ext uri="{FF2B5EF4-FFF2-40B4-BE49-F238E27FC236}">
                  <a16:creationId xmlns:a16="http://schemas.microsoft.com/office/drawing/2014/main" id="{01AC6195-70CA-4EFA-B0C9-146ECEF49EA6}"/>
                </a:ext>
              </a:extLst>
            </p:cNvPr>
            <p:cNvGrpSpPr/>
            <p:nvPr/>
          </p:nvGrpSpPr>
          <p:grpSpPr>
            <a:xfrm>
              <a:off x="4221391" y="5210124"/>
              <a:ext cx="1102756" cy="330476"/>
              <a:chOff x="4524286" y="5196789"/>
              <a:chExt cx="1102756" cy="330476"/>
            </a:xfrm>
          </p:grpSpPr>
          <p:sp>
            <p:nvSpPr>
              <p:cNvPr id="384" name="sports">
                <a:extLst>
                  <a:ext uri="{FF2B5EF4-FFF2-40B4-BE49-F238E27FC236}">
                    <a16:creationId xmlns:a16="http://schemas.microsoft.com/office/drawing/2014/main" id="{18897351-ACA2-4ACC-A179-84644838CE61}"/>
                  </a:ext>
                </a:extLst>
              </p:cNvPr>
              <p:cNvSpPr>
                <a:spLocks noChangeAspect="1" noEditPoints="1"/>
              </p:cNvSpPr>
              <p:nvPr/>
            </p:nvSpPr>
            <p:spPr bwMode="auto">
              <a:xfrm>
                <a:off x="4524286" y="5196789"/>
                <a:ext cx="331792" cy="330476"/>
              </a:xfrm>
              <a:custGeom>
                <a:avLst/>
                <a:gdLst>
                  <a:gd name="T0" fmla="*/ 75 w 349"/>
                  <a:gd name="T1" fmla="*/ 123 h 348"/>
                  <a:gd name="T2" fmla="*/ 212 w 349"/>
                  <a:gd name="T3" fmla="*/ 0 h 348"/>
                  <a:gd name="T4" fmla="*/ 349 w 349"/>
                  <a:gd name="T5" fmla="*/ 137 h 348"/>
                  <a:gd name="T6" fmla="*/ 222 w 349"/>
                  <a:gd name="T7" fmla="*/ 274 h 348"/>
                  <a:gd name="T8" fmla="*/ 21 w 349"/>
                  <a:gd name="T9" fmla="*/ 139 h 348"/>
                  <a:gd name="T10" fmla="*/ 62 w 349"/>
                  <a:gd name="T11" fmla="*/ 288 h 348"/>
                  <a:gd name="T12" fmla="*/ 212 w 349"/>
                  <a:gd name="T13" fmla="*/ 329 h 348"/>
                  <a:gd name="T14" fmla="*/ 171 w 349"/>
                  <a:gd name="T15" fmla="*/ 180 h 348"/>
                  <a:gd name="T16" fmla="*/ 21 w 349"/>
                  <a:gd name="T17" fmla="*/ 139 h 348"/>
                  <a:gd name="T18" fmla="*/ 92 w 349"/>
                  <a:gd name="T19" fmla="*/ 211 h 348"/>
                  <a:gd name="T20" fmla="*/ 138 w 349"/>
                  <a:gd name="T21" fmla="*/ 256 h 348"/>
                  <a:gd name="T22" fmla="*/ 115 w 349"/>
                  <a:gd name="T23" fmla="*/ 39 h 348"/>
                  <a:gd name="T24" fmla="*/ 310 w 349"/>
                  <a:gd name="T25" fmla="*/ 233 h 348"/>
                  <a:gd name="T26" fmla="*/ 308 w 349"/>
                  <a:gd name="T27" fmla="*/ 39 h 348"/>
                  <a:gd name="T28" fmla="*/ 169 w 349"/>
                  <a:gd name="T29" fmla="*/ 178 h 348"/>
                  <a:gd name="T30" fmla="*/ 233 w 349"/>
                  <a:gd name="T31" fmla="*/ 1 h 348"/>
                  <a:gd name="T32" fmla="*/ 218 w 349"/>
                  <a:gd name="T33" fmla="*/ 48 h 348"/>
                  <a:gd name="T34" fmla="*/ 303 w 349"/>
                  <a:gd name="T35" fmla="*/ 133 h 348"/>
                  <a:gd name="T36" fmla="*/ 348 w 349"/>
                  <a:gd name="T37" fmla="*/ 119 h 348"/>
                  <a:gd name="T38" fmla="*/ 75 w 349"/>
                  <a:gd name="T39" fmla="*/ 123 h 348"/>
                  <a:gd name="T40" fmla="*/ 74 w 349"/>
                  <a:gd name="T41" fmla="*/ 12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9" h="348">
                    <a:moveTo>
                      <a:pt x="75" y="123"/>
                    </a:moveTo>
                    <a:cubicBezTo>
                      <a:pt x="82" y="54"/>
                      <a:pt x="140" y="0"/>
                      <a:pt x="212" y="0"/>
                    </a:cubicBezTo>
                    <a:cubicBezTo>
                      <a:pt x="288" y="0"/>
                      <a:pt x="349" y="61"/>
                      <a:pt x="349" y="137"/>
                    </a:cubicBezTo>
                    <a:cubicBezTo>
                      <a:pt x="349" y="210"/>
                      <a:pt x="293" y="269"/>
                      <a:pt x="222" y="274"/>
                    </a:cubicBezTo>
                    <a:moveTo>
                      <a:pt x="21" y="139"/>
                    </a:moveTo>
                    <a:cubicBezTo>
                      <a:pt x="0" y="160"/>
                      <a:pt x="10" y="236"/>
                      <a:pt x="62" y="288"/>
                    </a:cubicBezTo>
                    <a:cubicBezTo>
                      <a:pt x="115" y="341"/>
                      <a:pt x="192" y="348"/>
                      <a:pt x="212" y="329"/>
                    </a:cubicBezTo>
                    <a:cubicBezTo>
                      <a:pt x="232" y="309"/>
                      <a:pt x="223" y="232"/>
                      <a:pt x="171" y="180"/>
                    </a:cubicBezTo>
                    <a:cubicBezTo>
                      <a:pt x="118" y="127"/>
                      <a:pt x="45" y="115"/>
                      <a:pt x="21" y="139"/>
                    </a:cubicBezTo>
                    <a:close/>
                    <a:moveTo>
                      <a:pt x="92" y="211"/>
                    </a:moveTo>
                    <a:cubicBezTo>
                      <a:pt x="138" y="256"/>
                      <a:pt x="138" y="256"/>
                      <a:pt x="138" y="256"/>
                    </a:cubicBezTo>
                    <a:moveTo>
                      <a:pt x="115" y="39"/>
                    </a:moveTo>
                    <a:cubicBezTo>
                      <a:pt x="310" y="233"/>
                      <a:pt x="310" y="233"/>
                      <a:pt x="310" y="233"/>
                    </a:cubicBezTo>
                    <a:moveTo>
                      <a:pt x="308" y="39"/>
                    </a:moveTo>
                    <a:cubicBezTo>
                      <a:pt x="169" y="178"/>
                      <a:pt x="169" y="178"/>
                      <a:pt x="169" y="178"/>
                    </a:cubicBezTo>
                    <a:moveTo>
                      <a:pt x="233" y="1"/>
                    </a:moveTo>
                    <a:cubicBezTo>
                      <a:pt x="224" y="15"/>
                      <a:pt x="218" y="31"/>
                      <a:pt x="218" y="48"/>
                    </a:cubicBezTo>
                    <a:cubicBezTo>
                      <a:pt x="218" y="95"/>
                      <a:pt x="256" y="133"/>
                      <a:pt x="303" y="133"/>
                    </a:cubicBezTo>
                    <a:cubicBezTo>
                      <a:pt x="319" y="133"/>
                      <a:pt x="336" y="127"/>
                      <a:pt x="348" y="119"/>
                    </a:cubicBezTo>
                    <a:moveTo>
                      <a:pt x="75" y="123"/>
                    </a:moveTo>
                    <a:cubicBezTo>
                      <a:pt x="75" y="125"/>
                      <a:pt x="74" y="128"/>
                      <a:pt x="74" y="128"/>
                    </a:cubicBezTo>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sp>
            <p:nvSpPr>
              <p:cNvPr id="385" name="film">
                <a:extLst>
                  <a:ext uri="{FF2B5EF4-FFF2-40B4-BE49-F238E27FC236}">
                    <a16:creationId xmlns:a16="http://schemas.microsoft.com/office/drawing/2014/main" id="{813B796E-74BF-4E35-BC4A-7E02D5F71F9C}"/>
                  </a:ext>
                </a:extLst>
              </p:cNvPr>
              <p:cNvSpPr>
                <a:spLocks noChangeAspect="1" noEditPoints="1"/>
              </p:cNvSpPr>
              <p:nvPr/>
            </p:nvSpPr>
            <p:spPr bwMode="auto">
              <a:xfrm>
                <a:off x="5048100" y="5252029"/>
                <a:ext cx="273330" cy="219997"/>
              </a:xfrm>
              <a:custGeom>
                <a:avLst/>
                <a:gdLst>
                  <a:gd name="T0" fmla="*/ 246 w 246"/>
                  <a:gd name="T1" fmla="*/ 95 h 198"/>
                  <a:gd name="T2" fmla="*/ 246 w 246"/>
                  <a:gd name="T3" fmla="*/ 198 h 198"/>
                  <a:gd name="T4" fmla="*/ 0 w 246"/>
                  <a:gd name="T5" fmla="*/ 198 h 198"/>
                  <a:gd name="T6" fmla="*/ 0 w 246"/>
                  <a:gd name="T7" fmla="*/ 0 h 198"/>
                  <a:gd name="T8" fmla="*/ 246 w 246"/>
                  <a:gd name="T9" fmla="*/ 0 h 198"/>
                  <a:gd name="T10" fmla="*/ 246 w 246"/>
                  <a:gd name="T11" fmla="*/ 95 h 198"/>
                  <a:gd name="T12" fmla="*/ 33 w 246"/>
                  <a:gd name="T13" fmla="*/ 36 h 198"/>
                  <a:gd name="T14" fmla="*/ 33 w 246"/>
                  <a:gd name="T15" fmla="*/ 54 h 198"/>
                  <a:gd name="T16" fmla="*/ 33 w 246"/>
                  <a:gd name="T17" fmla="*/ 0 h 198"/>
                  <a:gd name="T18" fmla="*/ 33 w 246"/>
                  <a:gd name="T19" fmla="*/ 17 h 198"/>
                  <a:gd name="T20" fmla="*/ 33 w 246"/>
                  <a:gd name="T21" fmla="*/ 72 h 198"/>
                  <a:gd name="T22" fmla="*/ 33 w 246"/>
                  <a:gd name="T23" fmla="*/ 89 h 198"/>
                  <a:gd name="T24" fmla="*/ 33 w 246"/>
                  <a:gd name="T25" fmla="*/ 108 h 198"/>
                  <a:gd name="T26" fmla="*/ 33 w 246"/>
                  <a:gd name="T27" fmla="*/ 126 h 198"/>
                  <a:gd name="T28" fmla="*/ 33 w 246"/>
                  <a:gd name="T29" fmla="*/ 144 h 198"/>
                  <a:gd name="T30" fmla="*/ 33 w 246"/>
                  <a:gd name="T31" fmla="*/ 161 h 198"/>
                  <a:gd name="T32" fmla="*/ 33 w 246"/>
                  <a:gd name="T33" fmla="*/ 180 h 198"/>
                  <a:gd name="T34" fmla="*/ 33 w 246"/>
                  <a:gd name="T35" fmla="*/ 198 h 198"/>
                  <a:gd name="T36" fmla="*/ 214 w 246"/>
                  <a:gd name="T37" fmla="*/ 36 h 198"/>
                  <a:gd name="T38" fmla="*/ 214 w 246"/>
                  <a:gd name="T39" fmla="*/ 54 h 198"/>
                  <a:gd name="T40" fmla="*/ 214 w 246"/>
                  <a:gd name="T41" fmla="*/ 0 h 198"/>
                  <a:gd name="T42" fmla="*/ 214 w 246"/>
                  <a:gd name="T43" fmla="*/ 17 h 198"/>
                  <a:gd name="T44" fmla="*/ 214 w 246"/>
                  <a:gd name="T45" fmla="*/ 72 h 198"/>
                  <a:gd name="T46" fmla="*/ 214 w 246"/>
                  <a:gd name="T47" fmla="*/ 89 h 198"/>
                  <a:gd name="T48" fmla="*/ 214 w 246"/>
                  <a:gd name="T49" fmla="*/ 108 h 198"/>
                  <a:gd name="T50" fmla="*/ 214 w 246"/>
                  <a:gd name="T51" fmla="*/ 126 h 198"/>
                  <a:gd name="T52" fmla="*/ 214 w 246"/>
                  <a:gd name="T53" fmla="*/ 144 h 198"/>
                  <a:gd name="T54" fmla="*/ 214 w 246"/>
                  <a:gd name="T55" fmla="*/ 161 h 198"/>
                  <a:gd name="T56" fmla="*/ 214 w 246"/>
                  <a:gd name="T57" fmla="*/ 180 h 198"/>
                  <a:gd name="T58" fmla="*/ 214 w 246"/>
                  <a:gd name="T5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6" h="198">
                    <a:moveTo>
                      <a:pt x="246" y="95"/>
                    </a:moveTo>
                    <a:lnTo>
                      <a:pt x="246" y="198"/>
                    </a:lnTo>
                    <a:lnTo>
                      <a:pt x="0" y="198"/>
                    </a:lnTo>
                    <a:lnTo>
                      <a:pt x="0" y="0"/>
                    </a:lnTo>
                    <a:lnTo>
                      <a:pt x="246" y="0"/>
                    </a:lnTo>
                    <a:lnTo>
                      <a:pt x="246" y="95"/>
                    </a:lnTo>
                    <a:moveTo>
                      <a:pt x="33" y="36"/>
                    </a:moveTo>
                    <a:lnTo>
                      <a:pt x="33" y="54"/>
                    </a:lnTo>
                    <a:moveTo>
                      <a:pt x="33" y="0"/>
                    </a:moveTo>
                    <a:lnTo>
                      <a:pt x="33" y="17"/>
                    </a:lnTo>
                    <a:moveTo>
                      <a:pt x="33" y="72"/>
                    </a:moveTo>
                    <a:lnTo>
                      <a:pt x="33" y="89"/>
                    </a:lnTo>
                    <a:moveTo>
                      <a:pt x="33" y="108"/>
                    </a:moveTo>
                    <a:lnTo>
                      <a:pt x="33" y="126"/>
                    </a:lnTo>
                    <a:moveTo>
                      <a:pt x="33" y="144"/>
                    </a:moveTo>
                    <a:lnTo>
                      <a:pt x="33" y="161"/>
                    </a:lnTo>
                    <a:moveTo>
                      <a:pt x="33" y="180"/>
                    </a:moveTo>
                    <a:lnTo>
                      <a:pt x="33" y="198"/>
                    </a:lnTo>
                    <a:moveTo>
                      <a:pt x="214" y="36"/>
                    </a:moveTo>
                    <a:lnTo>
                      <a:pt x="214" y="54"/>
                    </a:lnTo>
                    <a:moveTo>
                      <a:pt x="214" y="0"/>
                    </a:moveTo>
                    <a:lnTo>
                      <a:pt x="214" y="17"/>
                    </a:lnTo>
                    <a:moveTo>
                      <a:pt x="214" y="72"/>
                    </a:moveTo>
                    <a:lnTo>
                      <a:pt x="214" y="89"/>
                    </a:lnTo>
                    <a:moveTo>
                      <a:pt x="214" y="108"/>
                    </a:moveTo>
                    <a:lnTo>
                      <a:pt x="214" y="126"/>
                    </a:lnTo>
                    <a:moveTo>
                      <a:pt x="214" y="144"/>
                    </a:moveTo>
                    <a:lnTo>
                      <a:pt x="214" y="161"/>
                    </a:lnTo>
                    <a:moveTo>
                      <a:pt x="214" y="180"/>
                    </a:moveTo>
                    <a:lnTo>
                      <a:pt x="214" y="198"/>
                    </a:lnTo>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sp>
            <p:nvSpPr>
              <p:cNvPr id="391" name="remote">
                <a:extLst>
                  <a:ext uri="{FF2B5EF4-FFF2-40B4-BE49-F238E27FC236}">
                    <a16:creationId xmlns:a16="http://schemas.microsoft.com/office/drawing/2014/main" id="{3E71C936-6626-45DE-A21D-F84F8A679897}"/>
                  </a:ext>
                </a:extLst>
              </p:cNvPr>
              <p:cNvSpPr>
                <a:spLocks noChangeAspect="1" noEditPoints="1"/>
              </p:cNvSpPr>
              <p:nvPr/>
            </p:nvSpPr>
            <p:spPr bwMode="auto">
              <a:xfrm>
                <a:off x="5513452" y="5226098"/>
                <a:ext cx="113590" cy="271859"/>
              </a:xfrm>
              <a:custGeom>
                <a:avLst/>
                <a:gdLst>
                  <a:gd name="T0" fmla="*/ 87 w 107"/>
                  <a:gd name="T1" fmla="*/ 188 h 261"/>
                  <a:gd name="T2" fmla="*/ 71 w 107"/>
                  <a:gd name="T3" fmla="*/ 261 h 261"/>
                  <a:gd name="T4" fmla="*/ 19 w 107"/>
                  <a:gd name="T5" fmla="*/ 245 h 261"/>
                  <a:gd name="T6" fmla="*/ 0 w 107"/>
                  <a:gd name="T7" fmla="*/ 110 h 261"/>
                  <a:gd name="T8" fmla="*/ 18 w 107"/>
                  <a:gd name="T9" fmla="*/ 0 h 261"/>
                  <a:gd name="T10" fmla="*/ 107 w 107"/>
                  <a:gd name="T11" fmla="*/ 18 h 261"/>
                  <a:gd name="T12" fmla="*/ 54 w 107"/>
                  <a:gd name="T13" fmla="*/ 35 h 261"/>
                  <a:gd name="T14" fmla="*/ 52 w 107"/>
                  <a:gd name="T15" fmla="*/ 36 h 261"/>
                  <a:gd name="T16" fmla="*/ 54 w 107"/>
                  <a:gd name="T17" fmla="*/ 35 h 261"/>
                  <a:gd name="T18" fmla="*/ 70 w 107"/>
                  <a:gd name="T19" fmla="*/ 52 h 261"/>
                  <a:gd name="T20" fmla="*/ 72 w 107"/>
                  <a:gd name="T21" fmla="*/ 54 h 261"/>
                  <a:gd name="T22" fmla="*/ 37 w 107"/>
                  <a:gd name="T23" fmla="*/ 52 h 261"/>
                  <a:gd name="T24" fmla="*/ 35 w 107"/>
                  <a:gd name="T25" fmla="*/ 54 h 261"/>
                  <a:gd name="T26" fmla="*/ 37 w 107"/>
                  <a:gd name="T27" fmla="*/ 52 h 261"/>
                  <a:gd name="T28" fmla="*/ 70 w 107"/>
                  <a:gd name="T29" fmla="*/ 86 h 261"/>
                  <a:gd name="T30" fmla="*/ 72 w 107"/>
                  <a:gd name="T31" fmla="*/ 88 h 261"/>
                  <a:gd name="T32" fmla="*/ 37 w 107"/>
                  <a:gd name="T33" fmla="*/ 86 h 261"/>
                  <a:gd name="T34" fmla="*/ 35 w 107"/>
                  <a:gd name="T35" fmla="*/ 88 h 261"/>
                  <a:gd name="T36" fmla="*/ 37 w 107"/>
                  <a:gd name="T37" fmla="*/ 86 h 261"/>
                  <a:gd name="T38" fmla="*/ 70 w 107"/>
                  <a:gd name="T39" fmla="*/ 121 h 261"/>
                  <a:gd name="T40" fmla="*/ 72 w 107"/>
                  <a:gd name="T41" fmla="*/ 123 h 261"/>
                  <a:gd name="T42" fmla="*/ 37 w 107"/>
                  <a:gd name="T43" fmla="*/ 121 h 261"/>
                  <a:gd name="T44" fmla="*/ 35 w 107"/>
                  <a:gd name="T45" fmla="*/ 123 h 261"/>
                  <a:gd name="T46" fmla="*/ 37 w 107"/>
                  <a:gd name="T47" fmla="*/ 121 h 261"/>
                  <a:gd name="T48" fmla="*/ 52 w 107"/>
                  <a:gd name="T49" fmla="*/ 69 h 261"/>
                  <a:gd name="T50" fmla="*/ 54 w 107"/>
                  <a:gd name="T51" fmla="*/ 71 h 261"/>
                  <a:gd name="T52" fmla="*/ 54 w 107"/>
                  <a:gd name="T53" fmla="*/ 156 h 261"/>
                  <a:gd name="T54" fmla="*/ 52 w 107"/>
                  <a:gd name="T55" fmla="*/ 158 h 261"/>
                  <a:gd name="T56" fmla="*/ 54 w 107"/>
                  <a:gd name="T57" fmla="*/ 156 h 261"/>
                  <a:gd name="T58" fmla="*/ 52 w 107"/>
                  <a:gd name="T59" fmla="*/ 191 h 261"/>
                  <a:gd name="T60" fmla="*/ 54 w 107"/>
                  <a:gd name="T61" fmla="*/ 192 h 261"/>
                  <a:gd name="T62" fmla="*/ 54 w 107"/>
                  <a:gd name="T63" fmla="*/ 226 h 261"/>
                  <a:gd name="T64" fmla="*/ 52 w 107"/>
                  <a:gd name="T65" fmla="*/ 227 h 261"/>
                  <a:gd name="T66" fmla="*/ 54 w 107"/>
                  <a:gd name="T67" fmla="*/ 22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7" h="261">
                    <a:moveTo>
                      <a:pt x="106" y="110"/>
                    </a:moveTo>
                    <a:cubicBezTo>
                      <a:pt x="87" y="188"/>
                      <a:pt x="87" y="188"/>
                      <a:pt x="87" y="188"/>
                    </a:cubicBezTo>
                    <a:cubicBezTo>
                      <a:pt x="87" y="245"/>
                      <a:pt x="87" y="245"/>
                      <a:pt x="87" y="245"/>
                    </a:cubicBezTo>
                    <a:cubicBezTo>
                      <a:pt x="87" y="254"/>
                      <a:pt x="80" y="261"/>
                      <a:pt x="71" y="261"/>
                    </a:cubicBezTo>
                    <a:cubicBezTo>
                      <a:pt x="35" y="261"/>
                      <a:pt x="35" y="261"/>
                      <a:pt x="35" y="261"/>
                    </a:cubicBezTo>
                    <a:cubicBezTo>
                      <a:pt x="26" y="261"/>
                      <a:pt x="19" y="254"/>
                      <a:pt x="19" y="245"/>
                    </a:cubicBezTo>
                    <a:cubicBezTo>
                      <a:pt x="19" y="188"/>
                      <a:pt x="19" y="188"/>
                      <a:pt x="19" y="188"/>
                    </a:cubicBezTo>
                    <a:cubicBezTo>
                      <a:pt x="0" y="110"/>
                      <a:pt x="0" y="110"/>
                      <a:pt x="0" y="110"/>
                    </a:cubicBezTo>
                    <a:cubicBezTo>
                      <a:pt x="0" y="18"/>
                      <a:pt x="0" y="18"/>
                      <a:pt x="0" y="18"/>
                    </a:cubicBezTo>
                    <a:cubicBezTo>
                      <a:pt x="0" y="8"/>
                      <a:pt x="8" y="0"/>
                      <a:pt x="18" y="0"/>
                    </a:cubicBezTo>
                    <a:cubicBezTo>
                      <a:pt x="89" y="0"/>
                      <a:pt x="89" y="0"/>
                      <a:pt x="89" y="0"/>
                    </a:cubicBezTo>
                    <a:cubicBezTo>
                      <a:pt x="99" y="0"/>
                      <a:pt x="107" y="8"/>
                      <a:pt x="107" y="18"/>
                    </a:cubicBezTo>
                    <a:lnTo>
                      <a:pt x="106" y="110"/>
                    </a:lnTo>
                    <a:close/>
                    <a:moveTo>
                      <a:pt x="54" y="35"/>
                    </a:moveTo>
                    <a:cubicBezTo>
                      <a:pt x="52" y="35"/>
                      <a:pt x="52" y="35"/>
                      <a:pt x="52" y="35"/>
                    </a:cubicBezTo>
                    <a:cubicBezTo>
                      <a:pt x="52" y="36"/>
                      <a:pt x="52" y="36"/>
                      <a:pt x="52" y="36"/>
                    </a:cubicBezTo>
                    <a:cubicBezTo>
                      <a:pt x="54" y="36"/>
                      <a:pt x="54" y="36"/>
                      <a:pt x="54" y="36"/>
                    </a:cubicBezTo>
                    <a:lnTo>
                      <a:pt x="54" y="35"/>
                    </a:lnTo>
                    <a:close/>
                    <a:moveTo>
                      <a:pt x="72" y="52"/>
                    </a:moveTo>
                    <a:cubicBezTo>
                      <a:pt x="70" y="52"/>
                      <a:pt x="70" y="52"/>
                      <a:pt x="70" y="52"/>
                    </a:cubicBezTo>
                    <a:cubicBezTo>
                      <a:pt x="70" y="54"/>
                      <a:pt x="70" y="54"/>
                      <a:pt x="70" y="54"/>
                    </a:cubicBezTo>
                    <a:cubicBezTo>
                      <a:pt x="72" y="54"/>
                      <a:pt x="72" y="54"/>
                      <a:pt x="72" y="54"/>
                    </a:cubicBezTo>
                    <a:lnTo>
                      <a:pt x="72" y="52"/>
                    </a:lnTo>
                    <a:close/>
                    <a:moveTo>
                      <a:pt x="37" y="52"/>
                    </a:moveTo>
                    <a:cubicBezTo>
                      <a:pt x="35" y="52"/>
                      <a:pt x="35" y="52"/>
                      <a:pt x="35" y="52"/>
                    </a:cubicBezTo>
                    <a:cubicBezTo>
                      <a:pt x="35" y="54"/>
                      <a:pt x="35" y="54"/>
                      <a:pt x="35" y="54"/>
                    </a:cubicBezTo>
                    <a:cubicBezTo>
                      <a:pt x="37" y="54"/>
                      <a:pt x="37" y="54"/>
                      <a:pt x="37" y="54"/>
                    </a:cubicBezTo>
                    <a:lnTo>
                      <a:pt x="37" y="52"/>
                    </a:lnTo>
                    <a:close/>
                    <a:moveTo>
                      <a:pt x="72" y="86"/>
                    </a:moveTo>
                    <a:cubicBezTo>
                      <a:pt x="70" y="86"/>
                      <a:pt x="70" y="86"/>
                      <a:pt x="70" y="86"/>
                    </a:cubicBezTo>
                    <a:cubicBezTo>
                      <a:pt x="70" y="88"/>
                      <a:pt x="70" y="88"/>
                      <a:pt x="70" y="88"/>
                    </a:cubicBezTo>
                    <a:cubicBezTo>
                      <a:pt x="72" y="88"/>
                      <a:pt x="72" y="88"/>
                      <a:pt x="72" y="88"/>
                    </a:cubicBezTo>
                    <a:lnTo>
                      <a:pt x="72" y="86"/>
                    </a:lnTo>
                    <a:close/>
                    <a:moveTo>
                      <a:pt x="37" y="86"/>
                    </a:moveTo>
                    <a:cubicBezTo>
                      <a:pt x="35" y="86"/>
                      <a:pt x="35" y="86"/>
                      <a:pt x="35" y="86"/>
                    </a:cubicBezTo>
                    <a:cubicBezTo>
                      <a:pt x="35" y="88"/>
                      <a:pt x="35" y="88"/>
                      <a:pt x="35" y="88"/>
                    </a:cubicBezTo>
                    <a:cubicBezTo>
                      <a:pt x="37" y="88"/>
                      <a:pt x="37" y="88"/>
                      <a:pt x="37" y="88"/>
                    </a:cubicBezTo>
                    <a:lnTo>
                      <a:pt x="37" y="86"/>
                    </a:lnTo>
                    <a:close/>
                    <a:moveTo>
                      <a:pt x="72" y="121"/>
                    </a:moveTo>
                    <a:cubicBezTo>
                      <a:pt x="70" y="121"/>
                      <a:pt x="70" y="121"/>
                      <a:pt x="70" y="121"/>
                    </a:cubicBezTo>
                    <a:cubicBezTo>
                      <a:pt x="70" y="123"/>
                      <a:pt x="70" y="123"/>
                      <a:pt x="70" y="123"/>
                    </a:cubicBezTo>
                    <a:cubicBezTo>
                      <a:pt x="72" y="123"/>
                      <a:pt x="72" y="123"/>
                      <a:pt x="72" y="123"/>
                    </a:cubicBezTo>
                    <a:lnTo>
                      <a:pt x="72" y="121"/>
                    </a:lnTo>
                    <a:close/>
                    <a:moveTo>
                      <a:pt x="37" y="121"/>
                    </a:moveTo>
                    <a:cubicBezTo>
                      <a:pt x="35" y="121"/>
                      <a:pt x="35" y="121"/>
                      <a:pt x="35" y="121"/>
                    </a:cubicBezTo>
                    <a:cubicBezTo>
                      <a:pt x="35" y="123"/>
                      <a:pt x="35" y="123"/>
                      <a:pt x="35" y="123"/>
                    </a:cubicBezTo>
                    <a:cubicBezTo>
                      <a:pt x="37" y="123"/>
                      <a:pt x="37" y="123"/>
                      <a:pt x="37" y="123"/>
                    </a:cubicBezTo>
                    <a:lnTo>
                      <a:pt x="37" y="121"/>
                    </a:lnTo>
                    <a:close/>
                    <a:moveTo>
                      <a:pt x="54" y="69"/>
                    </a:moveTo>
                    <a:cubicBezTo>
                      <a:pt x="52" y="69"/>
                      <a:pt x="52" y="69"/>
                      <a:pt x="52" y="69"/>
                    </a:cubicBezTo>
                    <a:cubicBezTo>
                      <a:pt x="52" y="71"/>
                      <a:pt x="52" y="71"/>
                      <a:pt x="52" y="71"/>
                    </a:cubicBezTo>
                    <a:cubicBezTo>
                      <a:pt x="54" y="71"/>
                      <a:pt x="54" y="71"/>
                      <a:pt x="54" y="71"/>
                    </a:cubicBezTo>
                    <a:lnTo>
                      <a:pt x="54" y="69"/>
                    </a:lnTo>
                    <a:close/>
                    <a:moveTo>
                      <a:pt x="54" y="156"/>
                    </a:moveTo>
                    <a:cubicBezTo>
                      <a:pt x="52" y="156"/>
                      <a:pt x="52" y="156"/>
                      <a:pt x="52" y="156"/>
                    </a:cubicBezTo>
                    <a:cubicBezTo>
                      <a:pt x="52" y="158"/>
                      <a:pt x="52" y="158"/>
                      <a:pt x="52" y="158"/>
                    </a:cubicBezTo>
                    <a:cubicBezTo>
                      <a:pt x="54" y="158"/>
                      <a:pt x="54" y="158"/>
                      <a:pt x="54" y="158"/>
                    </a:cubicBezTo>
                    <a:lnTo>
                      <a:pt x="54" y="156"/>
                    </a:lnTo>
                    <a:close/>
                    <a:moveTo>
                      <a:pt x="54" y="191"/>
                    </a:moveTo>
                    <a:cubicBezTo>
                      <a:pt x="52" y="191"/>
                      <a:pt x="52" y="191"/>
                      <a:pt x="52" y="191"/>
                    </a:cubicBezTo>
                    <a:cubicBezTo>
                      <a:pt x="52" y="192"/>
                      <a:pt x="52" y="192"/>
                      <a:pt x="52" y="192"/>
                    </a:cubicBezTo>
                    <a:cubicBezTo>
                      <a:pt x="54" y="192"/>
                      <a:pt x="54" y="192"/>
                      <a:pt x="54" y="192"/>
                    </a:cubicBezTo>
                    <a:lnTo>
                      <a:pt x="54" y="191"/>
                    </a:lnTo>
                    <a:close/>
                    <a:moveTo>
                      <a:pt x="54" y="226"/>
                    </a:moveTo>
                    <a:cubicBezTo>
                      <a:pt x="52" y="226"/>
                      <a:pt x="52" y="226"/>
                      <a:pt x="52" y="226"/>
                    </a:cubicBezTo>
                    <a:cubicBezTo>
                      <a:pt x="52" y="227"/>
                      <a:pt x="52" y="227"/>
                      <a:pt x="52" y="227"/>
                    </a:cubicBezTo>
                    <a:cubicBezTo>
                      <a:pt x="54" y="227"/>
                      <a:pt x="54" y="227"/>
                      <a:pt x="54" y="227"/>
                    </a:cubicBezTo>
                    <a:lnTo>
                      <a:pt x="54" y="226"/>
                    </a:lnTo>
                    <a:close/>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grpSp>
      </p:grpSp>
      <p:pic>
        <p:nvPicPr>
          <p:cNvPr id="15" name="Car">
            <a:extLst>
              <a:ext uri="{FF2B5EF4-FFF2-40B4-BE49-F238E27FC236}">
                <a16:creationId xmlns:a16="http://schemas.microsoft.com/office/drawing/2014/main" id="{10EDB831-458C-469C-BD2C-7B72CC2C5A7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065422" y="3020631"/>
            <a:ext cx="2456069" cy="1200054"/>
          </a:xfrm>
          <a:prstGeom prst="rect">
            <a:avLst/>
          </a:prstGeom>
        </p:spPr>
      </p:pic>
      <p:grpSp>
        <p:nvGrpSpPr>
          <p:cNvPr id="492" name="Group 491">
            <a:extLst>
              <a:ext uri="{FF2B5EF4-FFF2-40B4-BE49-F238E27FC236}">
                <a16:creationId xmlns:a16="http://schemas.microsoft.com/office/drawing/2014/main" id="{731E482C-130C-4260-A399-139584348DCF}"/>
              </a:ext>
            </a:extLst>
          </p:cNvPr>
          <p:cNvGrpSpPr/>
          <p:nvPr/>
        </p:nvGrpSpPr>
        <p:grpSpPr>
          <a:xfrm>
            <a:off x="9782765" y="3647939"/>
            <a:ext cx="991562" cy="252156"/>
            <a:chOff x="8467637" y="2540416"/>
            <a:chExt cx="860514" cy="218830"/>
          </a:xfrm>
        </p:grpSpPr>
        <p:sp>
          <p:nvSpPr>
            <p:cNvPr id="380" name="chip">
              <a:extLst>
                <a:ext uri="{FF2B5EF4-FFF2-40B4-BE49-F238E27FC236}">
                  <a16:creationId xmlns:a16="http://schemas.microsoft.com/office/drawing/2014/main" id="{F66C511C-D24D-4589-AA4A-9CC1CC432FF5}"/>
                </a:ext>
              </a:extLst>
            </p:cNvPr>
            <p:cNvSpPr>
              <a:spLocks noChangeAspect="1" noEditPoints="1"/>
            </p:cNvSpPr>
            <p:nvPr/>
          </p:nvSpPr>
          <p:spPr bwMode="auto">
            <a:xfrm>
              <a:off x="8467637" y="2540416"/>
              <a:ext cx="214402" cy="21883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sp>
          <p:nvSpPr>
            <p:cNvPr id="381" name="signal">
              <a:extLst>
                <a:ext uri="{FF2B5EF4-FFF2-40B4-BE49-F238E27FC236}">
                  <a16:creationId xmlns:a16="http://schemas.microsoft.com/office/drawing/2014/main" id="{8FB2BB4F-D240-482C-9C66-6B86B76B97FE}"/>
                </a:ext>
              </a:extLst>
            </p:cNvPr>
            <p:cNvSpPr>
              <a:spLocks noChangeAspect="1" noEditPoints="1"/>
            </p:cNvSpPr>
            <p:nvPr/>
          </p:nvSpPr>
          <p:spPr bwMode="auto">
            <a:xfrm>
              <a:off x="8807373" y="2546858"/>
              <a:ext cx="180626" cy="205947"/>
            </a:xfrm>
            <a:custGeom>
              <a:avLst/>
              <a:gdLst>
                <a:gd name="T0" fmla="*/ 105 w 296"/>
                <a:gd name="T1" fmla="*/ 225 h 337"/>
                <a:gd name="T2" fmla="*/ 148 w 296"/>
                <a:gd name="T3" fmla="*/ 182 h 337"/>
                <a:gd name="T4" fmla="*/ 190 w 296"/>
                <a:gd name="T5" fmla="*/ 225 h 337"/>
                <a:gd name="T6" fmla="*/ 148 w 296"/>
                <a:gd name="T7" fmla="*/ 267 h 337"/>
                <a:gd name="T8" fmla="*/ 105 w 296"/>
                <a:gd name="T9" fmla="*/ 225 h 337"/>
                <a:gd name="T10" fmla="*/ 148 w 296"/>
                <a:gd name="T11" fmla="*/ 267 h 337"/>
                <a:gd name="T12" fmla="*/ 148 w 296"/>
                <a:gd name="T13" fmla="*/ 337 h 337"/>
                <a:gd name="T14" fmla="*/ 296 w 296"/>
                <a:gd name="T15" fmla="*/ 61 h 337"/>
                <a:gd name="T16" fmla="*/ 148 w 296"/>
                <a:gd name="T17" fmla="*/ 0 h 337"/>
                <a:gd name="T18" fmla="*/ 0 w 296"/>
                <a:gd name="T19" fmla="*/ 62 h 337"/>
                <a:gd name="T20" fmla="*/ 255 w 296"/>
                <a:gd name="T21" fmla="*/ 104 h 337"/>
                <a:gd name="T22" fmla="*/ 149 w 296"/>
                <a:gd name="T23" fmla="*/ 60 h 337"/>
                <a:gd name="T24" fmla="*/ 41 w 296"/>
                <a:gd name="T25" fmla="*/ 105 h 337"/>
                <a:gd name="T26" fmla="*/ 208 w 296"/>
                <a:gd name="T27" fmla="*/ 150 h 337"/>
                <a:gd name="T28" fmla="*/ 148 w 296"/>
                <a:gd name="T29" fmla="*/ 125 h 337"/>
                <a:gd name="T30" fmla="*/ 88 w 296"/>
                <a:gd name="T31" fmla="*/ 14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337">
                  <a:moveTo>
                    <a:pt x="105" y="225"/>
                  </a:moveTo>
                  <a:cubicBezTo>
                    <a:pt x="105" y="201"/>
                    <a:pt x="124" y="182"/>
                    <a:pt x="148" y="182"/>
                  </a:cubicBezTo>
                  <a:cubicBezTo>
                    <a:pt x="171" y="182"/>
                    <a:pt x="190" y="201"/>
                    <a:pt x="190" y="225"/>
                  </a:cubicBezTo>
                  <a:cubicBezTo>
                    <a:pt x="190" y="248"/>
                    <a:pt x="171" y="267"/>
                    <a:pt x="148" y="267"/>
                  </a:cubicBezTo>
                  <a:cubicBezTo>
                    <a:pt x="124" y="267"/>
                    <a:pt x="105" y="248"/>
                    <a:pt x="105" y="225"/>
                  </a:cubicBezTo>
                  <a:close/>
                  <a:moveTo>
                    <a:pt x="148" y="267"/>
                  </a:moveTo>
                  <a:cubicBezTo>
                    <a:pt x="148" y="337"/>
                    <a:pt x="148" y="337"/>
                    <a:pt x="148" y="337"/>
                  </a:cubicBezTo>
                  <a:moveTo>
                    <a:pt x="296" y="61"/>
                  </a:moveTo>
                  <a:cubicBezTo>
                    <a:pt x="258" y="23"/>
                    <a:pt x="206" y="0"/>
                    <a:pt x="148" y="0"/>
                  </a:cubicBezTo>
                  <a:cubicBezTo>
                    <a:pt x="90" y="0"/>
                    <a:pt x="38" y="24"/>
                    <a:pt x="0" y="62"/>
                  </a:cubicBezTo>
                  <a:moveTo>
                    <a:pt x="255" y="104"/>
                  </a:moveTo>
                  <a:cubicBezTo>
                    <a:pt x="228" y="77"/>
                    <a:pt x="190" y="60"/>
                    <a:pt x="149" y="60"/>
                  </a:cubicBezTo>
                  <a:cubicBezTo>
                    <a:pt x="106" y="60"/>
                    <a:pt x="68" y="77"/>
                    <a:pt x="41" y="105"/>
                  </a:cubicBezTo>
                  <a:moveTo>
                    <a:pt x="208" y="150"/>
                  </a:moveTo>
                  <a:cubicBezTo>
                    <a:pt x="192" y="134"/>
                    <a:pt x="171" y="125"/>
                    <a:pt x="148" y="125"/>
                  </a:cubicBezTo>
                  <a:cubicBezTo>
                    <a:pt x="124" y="125"/>
                    <a:pt x="103" y="134"/>
                    <a:pt x="88" y="149"/>
                  </a:cubicBezTo>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sp>
          <p:nvSpPr>
            <p:cNvPr id="382" name="shield_3">
              <a:extLst>
                <a:ext uri="{FF2B5EF4-FFF2-40B4-BE49-F238E27FC236}">
                  <a16:creationId xmlns:a16="http://schemas.microsoft.com/office/drawing/2014/main" id="{DDC4B7E5-7EA5-4CBB-9EE4-AA40B3AFDC40}"/>
                </a:ext>
              </a:extLst>
            </p:cNvPr>
            <p:cNvSpPr>
              <a:spLocks noChangeAspect="1" noEditPoints="1"/>
            </p:cNvSpPr>
            <p:nvPr/>
          </p:nvSpPr>
          <p:spPr bwMode="auto">
            <a:xfrm>
              <a:off x="9113333" y="2540971"/>
              <a:ext cx="214818" cy="217721"/>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grpSp>
      <p:pic>
        <p:nvPicPr>
          <p:cNvPr id="26" name="House">
            <a:extLst>
              <a:ext uri="{FF2B5EF4-FFF2-40B4-BE49-F238E27FC236}">
                <a16:creationId xmlns:a16="http://schemas.microsoft.com/office/drawing/2014/main" id="{E17ECF9B-4671-4CB2-852B-C1753507111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984840" y="1211648"/>
            <a:ext cx="1958636" cy="1399026"/>
          </a:xfrm>
          <a:prstGeom prst="rect">
            <a:avLst/>
          </a:prstGeom>
        </p:spPr>
      </p:pic>
      <p:grpSp>
        <p:nvGrpSpPr>
          <p:cNvPr id="5" name="Group 4">
            <a:extLst>
              <a:ext uri="{FF2B5EF4-FFF2-40B4-BE49-F238E27FC236}">
                <a16:creationId xmlns:a16="http://schemas.microsoft.com/office/drawing/2014/main" id="{A34F563E-8800-4A5B-B96B-43D30F7198FA}"/>
              </a:ext>
            </a:extLst>
          </p:cNvPr>
          <p:cNvGrpSpPr/>
          <p:nvPr/>
        </p:nvGrpSpPr>
        <p:grpSpPr>
          <a:xfrm>
            <a:off x="8396847" y="1889135"/>
            <a:ext cx="1171689" cy="591753"/>
            <a:chOff x="8232086" y="1852261"/>
            <a:chExt cx="1148819" cy="580203"/>
          </a:xfrm>
        </p:grpSpPr>
        <p:grpSp>
          <p:nvGrpSpPr>
            <p:cNvPr id="519" name="Group 518">
              <a:extLst>
                <a:ext uri="{FF2B5EF4-FFF2-40B4-BE49-F238E27FC236}">
                  <a16:creationId xmlns:a16="http://schemas.microsoft.com/office/drawing/2014/main" id="{FFB6659E-7DF7-4A60-ACA5-6471EC49E1F9}"/>
                </a:ext>
              </a:extLst>
            </p:cNvPr>
            <p:cNvGrpSpPr>
              <a:grpSpLocks noChangeAspect="1"/>
            </p:cNvGrpSpPr>
            <p:nvPr/>
          </p:nvGrpSpPr>
          <p:grpSpPr>
            <a:xfrm>
              <a:off x="8891490" y="1852261"/>
              <a:ext cx="368762" cy="215324"/>
              <a:chOff x="11030366" y="2382953"/>
              <a:chExt cx="397040" cy="231838"/>
            </a:xfrm>
            <a:noFill/>
          </p:grpSpPr>
          <p:sp>
            <p:nvSpPr>
              <p:cNvPr id="520" name="Freeform 77">
                <a:extLst>
                  <a:ext uri="{FF2B5EF4-FFF2-40B4-BE49-F238E27FC236}">
                    <a16:creationId xmlns:a16="http://schemas.microsoft.com/office/drawing/2014/main" id="{7BE83DF7-3604-45CF-9DAF-A3D948505FC2}"/>
                  </a:ext>
                </a:extLst>
              </p:cNvPr>
              <p:cNvSpPr>
                <a:spLocks/>
              </p:cNvSpPr>
              <p:nvPr/>
            </p:nvSpPr>
            <p:spPr bwMode="auto">
              <a:xfrm>
                <a:off x="11030366" y="2382953"/>
                <a:ext cx="397040" cy="231838"/>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sp>
            <p:nvSpPr>
              <p:cNvPr id="521" name="Freeform 78">
                <a:extLst>
                  <a:ext uri="{FF2B5EF4-FFF2-40B4-BE49-F238E27FC236}">
                    <a16:creationId xmlns:a16="http://schemas.microsoft.com/office/drawing/2014/main" id="{12B3C8F2-E668-4131-9188-BDE8A74BAA25}"/>
                  </a:ext>
                </a:extLst>
              </p:cNvPr>
              <p:cNvSpPr>
                <a:spLocks/>
              </p:cNvSpPr>
              <p:nvPr/>
            </p:nvSpPr>
            <p:spPr bwMode="auto">
              <a:xfrm>
                <a:off x="11219168" y="2439871"/>
                <a:ext cx="19436" cy="20824"/>
              </a:xfrm>
              <a:custGeom>
                <a:avLst/>
                <a:gdLst>
                  <a:gd name="T0" fmla="*/ 9 w 20"/>
                  <a:gd name="T1" fmla="*/ 20 h 20"/>
                  <a:gd name="T2" fmla="*/ 0 w 20"/>
                  <a:gd name="T3" fmla="*/ 10 h 20"/>
                  <a:gd name="T4" fmla="*/ 10 w 20"/>
                  <a:gd name="T5" fmla="*/ 0 h 20"/>
                  <a:gd name="T6" fmla="*/ 20 w 20"/>
                  <a:gd name="T7" fmla="*/ 11 h 20"/>
                  <a:gd name="T8" fmla="*/ 9 w 20"/>
                  <a:gd name="T9" fmla="*/ 20 h 20"/>
                </a:gdLst>
                <a:ahLst/>
                <a:cxnLst>
                  <a:cxn ang="0">
                    <a:pos x="T0" y="T1"/>
                  </a:cxn>
                  <a:cxn ang="0">
                    <a:pos x="T2" y="T3"/>
                  </a:cxn>
                  <a:cxn ang="0">
                    <a:pos x="T4" y="T5"/>
                  </a:cxn>
                  <a:cxn ang="0">
                    <a:pos x="T6" y="T7"/>
                  </a:cxn>
                  <a:cxn ang="0">
                    <a:pos x="T8" y="T9"/>
                  </a:cxn>
                </a:cxnLst>
                <a:rect l="0" t="0" r="r" b="b"/>
                <a:pathLst>
                  <a:path w="20" h="20">
                    <a:moveTo>
                      <a:pt x="9" y="20"/>
                    </a:moveTo>
                    <a:cubicBezTo>
                      <a:pt x="4" y="20"/>
                      <a:pt x="0" y="15"/>
                      <a:pt x="0" y="10"/>
                    </a:cubicBezTo>
                    <a:cubicBezTo>
                      <a:pt x="0" y="4"/>
                      <a:pt x="5" y="0"/>
                      <a:pt x="10" y="0"/>
                    </a:cubicBezTo>
                    <a:cubicBezTo>
                      <a:pt x="16" y="0"/>
                      <a:pt x="20" y="5"/>
                      <a:pt x="20" y="11"/>
                    </a:cubicBezTo>
                    <a:cubicBezTo>
                      <a:pt x="19" y="16"/>
                      <a:pt x="15" y="20"/>
                      <a:pt x="9" y="20"/>
                    </a:cubicBezTo>
                    <a:close/>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grpSp>
        <p:grpSp>
          <p:nvGrpSpPr>
            <p:cNvPr id="106" name="Group 105">
              <a:extLst>
                <a:ext uri="{FF2B5EF4-FFF2-40B4-BE49-F238E27FC236}">
                  <a16:creationId xmlns:a16="http://schemas.microsoft.com/office/drawing/2014/main" id="{A60FCA5D-1AFA-4DE8-9733-B83D2C359F24}"/>
                </a:ext>
              </a:extLst>
            </p:cNvPr>
            <p:cNvGrpSpPr/>
            <p:nvPr/>
          </p:nvGrpSpPr>
          <p:grpSpPr>
            <a:xfrm>
              <a:off x="8232086" y="2110222"/>
              <a:ext cx="1148819" cy="322242"/>
              <a:chOff x="8282886" y="2110222"/>
              <a:chExt cx="1148819" cy="322242"/>
            </a:xfrm>
          </p:grpSpPr>
          <p:grpSp>
            <p:nvGrpSpPr>
              <p:cNvPr id="512" name="Group 511">
                <a:extLst>
                  <a:ext uri="{FF2B5EF4-FFF2-40B4-BE49-F238E27FC236}">
                    <a16:creationId xmlns:a16="http://schemas.microsoft.com/office/drawing/2014/main" id="{F7FD9AB8-269C-46BE-833D-0F68CD5BD879}"/>
                  </a:ext>
                </a:extLst>
              </p:cNvPr>
              <p:cNvGrpSpPr/>
              <p:nvPr/>
            </p:nvGrpSpPr>
            <p:grpSpPr>
              <a:xfrm>
                <a:off x="8282886" y="2243932"/>
                <a:ext cx="274408" cy="188532"/>
                <a:chOff x="1083478" y="4352857"/>
                <a:chExt cx="545310" cy="374652"/>
              </a:xfrm>
            </p:grpSpPr>
            <p:grpSp>
              <p:nvGrpSpPr>
                <p:cNvPr id="513" name="Group 512">
                  <a:extLst>
                    <a:ext uri="{FF2B5EF4-FFF2-40B4-BE49-F238E27FC236}">
                      <a16:creationId xmlns:a16="http://schemas.microsoft.com/office/drawing/2014/main" id="{C0FFD792-B39F-469E-9318-52E611ADF128}"/>
                    </a:ext>
                  </a:extLst>
                </p:cNvPr>
                <p:cNvGrpSpPr/>
                <p:nvPr/>
              </p:nvGrpSpPr>
              <p:grpSpPr>
                <a:xfrm>
                  <a:off x="1083478" y="4352857"/>
                  <a:ext cx="545310" cy="374652"/>
                  <a:chOff x="1691236" y="428617"/>
                  <a:chExt cx="707044" cy="485778"/>
                </a:xfrm>
              </p:grpSpPr>
              <p:sp>
                <p:nvSpPr>
                  <p:cNvPr id="515" name="Rectangle 514">
                    <a:extLst>
                      <a:ext uri="{FF2B5EF4-FFF2-40B4-BE49-F238E27FC236}">
                        <a16:creationId xmlns:a16="http://schemas.microsoft.com/office/drawing/2014/main" id="{E5ED778E-6959-4B08-9C26-9DFD6BF2A057}"/>
                      </a:ext>
                    </a:extLst>
                  </p:cNvPr>
                  <p:cNvSpPr/>
                  <p:nvPr/>
                </p:nvSpPr>
                <p:spPr bwMode="auto">
                  <a:xfrm>
                    <a:off x="1743076" y="428617"/>
                    <a:ext cx="614363" cy="409574"/>
                  </a:xfrm>
                  <a:prstGeom prst="rect">
                    <a:avLst/>
                  </a:pr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18652" bIns="0" numCol="1" anchor="ctr" anchorCtr="0" compatLnSpc="1">
                    <a:prstTxWarp prst="textNoShape">
                      <a:avLst/>
                    </a:prstTxWarp>
                  </a:bodyPr>
                  <a:lstStyle/>
                  <a:p>
                    <a:pPr algn="ctr" defTabSz="932597">
                      <a:defRPr/>
                    </a:pPr>
                    <a:r>
                      <a:rPr lang="en-US" sz="510" dirty="0">
                        <a:solidFill>
                          <a:srgbClr val="0078D4"/>
                        </a:solidFill>
                        <a:latin typeface="Microsoft YaHei" charset="-122"/>
                        <a:ea typeface="Microsoft YaHei" charset="-122"/>
                        <a:cs typeface="Microsoft YaHei" charset="-122"/>
                      </a:rPr>
                      <a:t>68</a:t>
                    </a:r>
                  </a:p>
                </p:txBody>
              </p:sp>
              <p:sp>
                <p:nvSpPr>
                  <p:cNvPr id="516" name="Rectangle 7">
                    <a:extLst>
                      <a:ext uri="{FF2B5EF4-FFF2-40B4-BE49-F238E27FC236}">
                        <a16:creationId xmlns:a16="http://schemas.microsoft.com/office/drawing/2014/main" id="{71F8B535-6BC8-4B34-9596-4AEB8057906E}"/>
                      </a:ext>
                    </a:extLst>
                  </p:cNvPr>
                  <p:cNvSpPr/>
                  <p:nvPr/>
                </p:nvSpPr>
                <p:spPr bwMode="auto">
                  <a:xfrm>
                    <a:off x="1691236" y="839275"/>
                    <a:ext cx="707044" cy="75120"/>
                  </a:xfrm>
                  <a:custGeom>
                    <a:avLst/>
                    <a:gdLst>
                      <a:gd name="connsiteX0" fmla="*/ 0 w 800594"/>
                      <a:gd name="connsiteY0" fmla="*/ 0 h 148615"/>
                      <a:gd name="connsiteX1" fmla="*/ 800594 w 800594"/>
                      <a:gd name="connsiteY1" fmla="*/ 0 h 148615"/>
                      <a:gd name="connsiteX2" fmla="*/ 800594 w 800594"/>
                      <a:gd name="connsiteY2" fmla="*/ 148615 h 148615"/>
                      <a:gd name="connsiteX3" fmla="*/ 0 w 800594"/>
                      <a:gd name="connsiteY3" fmla="*/ 148615 h 148615"/>
                      <a:gd name="connsiteX4" fmla="*/ 0 w 800594"/>
                      <a:gd name="connsiteY4" fmla="*/ 0 h 148615"/>
                      <a:gd name="connsiteX0" fmla="*/ 0 w 800594"/>
                      <a:gd name="connsiteY0" fmla="*/ 0 h 154965"/>
                      <a:gd name="connsiteX1" fmla="*/ 800594 w 800594"/>
                      <a:gd name="connsiteY1" fmla="*/ 0 h 154965"/>
                      <a:gd name="connsiteX2" fmla="*/ 800594 w 800594"/>
                      <a:gd name="connsiteY2" fmla="*/ 148615 h 154965"/>
                      <a:gd name="connsiteX3" fmla="*/ 101600 w 800594"/>
                      <a:gd name="connsiteY3" fmla="*/ 154965 h 154965"/>
                      <a:gd name="connsiteX4" fmla="*/ 0 w 800594"/>
                      <a:gd name="connsiteY4" fmla="*/ 0 h 154965"/>
                      <a:gd name="connsiteX0" fmla="*/ 0 w 800594"/>
                      <a:gd name="connsiteY0" fmla="*/ 0 h 154965"/>
                      <a:gd name="connsiteX1" fmla="*/ 800594 w 800594"/>
                      <a:gd name="connsiteY1" fmla="*/ 0 h 154965"/>
                      <a:gd name="connsiteX2" fmla="*/ 679944 w 800594"/>
                      <a:gd name="connsiteY2" fmla="*/ 142265 h 154965"/>
                      <a:gd name="connsiteX3" fmla="*/ 101600 w 800594"/>
                      <a:gd name="connsiteY3" fmla="*/ 154965 h 154965"/>
                      <a:gd name="connsiteX4" fmla="*/ 0 w 800594"/>
                      <a:gd name="connsiteY4" fmla="*/ 0 h 154965"/>
                      <a:gd name="connsiteX0" fmla="*/ 0 w 800594"/>
                      <a:gd name="connsiteY0" fmla="*/ 0 h 161315"/>
                      <a:gd name="connsiteX1" fmla="*/ 800594 w 800594"/>
                      <a:gd name="connsiteY1" fmla="*/ 0 h 161315"/>
                      <a:gd name="connsiteX2" fmla="*/ 692644 w 800594"/>
                      <a:gd name="connsiteY2" fmla="*/ 161315 h 161315"/>
                      <a:gd name="connsiteX3" fmla="*/ 101600 w 800594"/>
                      <a:gd name="connsiteY3" fmla="*/ 154965 h 161315"/>
                      <a:gd name="connsiteX4" fmla="*/ 0 w 800594"/>
                      <a:gd name="connsiteY4" fmla="*/ 0 h 161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594" h="161315">
                        <a:moveTo>
                          <a:pt x="0" y="0"/>
                        </a:moveTo>
                        <a:lnTo>
                          <a:pt x="800594" y="0"/>
                        </a:lnTo>
                        <a:lnTo>
                          <a:pt x="692644" y="161315"/>
                        </a:lnTo>
                        <a:lnTo>
                          <a:pt x="101600" y="154965"/>
                        </a:lnTo>
                        <a:lnTo>
                          <a:pt x="0" y="0"/>
                        </a:lnTo>
                        <a:close/>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grpSp>
            <p:sp>
              <p:nvSpPr>
                <p:cNvPr id="514" name="Oval 513">
                  <a:extLst>
                    <a:ext uri="{FF2B5EF4-FFF2-40B4-BE49-F238E27FC236}">
                      <a16:creationId xmlns:a16="http://schemas.microsoft.com/office/drawing/2014/main" id="{A7FB48BB-5DB5-41E0-88EC-C83D825FEE25}"/>
                    </a:ext>
                  </a:extLst>
                </p:cNvPr>
                <p:cNvSpPr/>
                <p:nvPr/>
              </p:nvSpPr>
              <p:spPr bwMode="auto">
                <a:xfrm>
                  <a:off x="1453409" y="4463182"/>
                  <a:ext cx="27434" cy="27431"/>
                </a:xfrm>
                <a:prstGeom prst="ellipse">
                  <a:avLst/>
                </a:pr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grpSp>
          <p:grpSp>
            <p:nvGrpSpPr>
              <p:cNvPr id="526" name="Group 525">
                <a:extLst>
                  <a:ext uri="{FF2B5EF4-FFF2-40B4-BE49-F238E27FC236}">
                    <a16:creationId xmlns:a16="http://schemas.microsoft.com/office/drawing/2014/main" id="{4E522974-53A7-4FEC-9F23-34654DA80390}"/>
                  </a:ext>
                </a:extLst>
              </p:cNvPr>
              <p:cNvGrpSpPr/>
              <p:nvPr/>
            </p:nvGrpSpPr>
            <p:grpSpPr>
              <a:xfrm>
                <a:off x="8788364" y="2110222"/>
                <a:ext cx="113232" cy="322242"/>
                <a:chOff x="4990745" y="2685821"/>
                <a:chExt cx="144221" cy="410434"/>
              </a:xfrm>
            </p:grpSpPr>
            <p:sp>
              <p:nvSpPr>
                <p:cNvPr id="527" name="Freeform 5">
                  <a:extLst>
                    <a:ext uri="{FF2B5EF4-FFF2-40B4-BE49-F238E27FC236}">
                      <a16:creationId xmlns:a16="http://schemas.microsoft.com/office/drawing/2014/main" id="{08FD959E-3582-49E5-B80D-C99216478F60}"/>
                    </a:ext>
                  </a:extLst>
                </p:cNvPr>
                <p:cNvSpPr>
                  <a:spLocks noEditPoints="1"/>
                </p:cNvSpPr>
                <p:nvPr/>
              </p:nvSpPr>
              <p:spPr bwMode="auto">
                <a:xfrm>
                  <a:off x="5001398" y="2802730"/>
                  <a:ext cx="122914" cy="293525"/>
                </a:xfrm>
                <a:custGeom>
                  <a:avLst/>
                  <a:gdLst>
                    <a:gd name="T0" fmla="*/ 470 w 540"/>
                    <a:gd name="T1" fmla="*/ 84 h 1296"/>
                    <a:gd name="T2" fmla="*/ 266 w 540"/>
                    <a:gd name="T3" fmla="*/ 154 h 1296"/>
                    <a:gd name="T4" fmla="*/ 62 w 540"/>
                    <a:gd name="T5" fmla="*/ 84 h 1296"/>
                    <a:gd name="T6" fmla="*/ 266 w 540"/>
                    <a:gd name="T7" fmla="*/ 14 h 1296"/>
                    <a:gd name="T8" fmla="*/ 470 w 540"/>
                    <a:gd name="T9" fmla="*/ 84 h 1296"/>
                    <a:gd name="T10" fmla="*/ 266 w 540"/>
                    <a:gd name="T11" fmla="*/ 0 h 1296"/>
                    <a:gd name="T12" fmla="*/ 36 w 540"/>
                    <a:gd name="T13" fmla="*/ 82 h 1296"/>
                    <a:gd name="T14" fmla="*/ 266 w 540"/>
                    <a:gd name="T15" fmla="*/ 164 h 1296"/>
                    <a:gd name="T16" fmla="*/ 496 w 540"/>
                    <a:gd name="T17" fmla="*/ 82 h 1296"/>
                    <a:gd name="T18" fmla="*/ 266 w 540"/>
                    <a:gd name="T19" fmla="*/ 0 h 1296"/>
                    <a:gd name="T20" fmla="*/ 36 w 540"/>
                    <a:gd name="T21" fmla="*/ 80 h 1296"/>
                    <a:gd name="T22" fmla="*/ 36 w 540"/>
                    <a:gd name="T23" fmla="*/ 708 h 1296"/>
                    <a:gd name="T24" fmla="*/ 0 w 540"/>
                    <a:gd name="T25" fmla="*/ 1170 h 1296"/>
                    <a:gd name="T26" fmla="*/ 270 w 540"/>
                    <a:gd name="T27" fmla="*/ 1296 h 1296"/>
                    <a:gd name="T28" fmla="*/ 540 w 540"/>
                    <a:gd name="T29" fmla="*/ 1170 h 1296"/>
                    <a:gd name="T30" fmla="*/ 504 w 540"/>
                    <a:gd name="T31" fmla="*/ 652 h 1296"/>
                    <a:gd name="T32" fmla="*/ 496 w 540"/>
                    <a:gd name="T33" fmla="*/ 80 h 1296"/>
                    <a:gd name="T34" fmla="*/ 10 w 540"/>
                    <a:gd name="T35" fmla="*/ 1040 h 1296"/>
                    <a:gd name="T36" fmla="*/ 267 w 540"/>
                    <a:gd name="T37" fmla="*/ 1164 h 1296"/>
                    <a:gd name="T38" fmla="*/ 524 w 540"/>
                    <a:gd name="T39" fmla="*/ 1040 h 1296"/>
                    <a:gd name="T40" fmla="*/ 38 w 540"/>
                    <a:gd name="T41" fmla="*/ 164 h 1296"/>
                    <a:gd name="T42" fmla="*/ 267 w 540"/>
                    <a:gd name="T43" fmla="*/ 250 h 1296"/>
                    <a:gd name="T44" fmla="*/ 496 w 540"/>
                    <a:gd name="T45" fmla="*/ 164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0" h="1296">
                      <a:moveTo>
                        <a:pt x="470" y="84"/>
                      </a:moveTo>
                      <a:cubicBezTo>
                        <a:pt x="470" y="123"/>
                        <a:pt x="379" y="154"/>
                        <a:pt x="266" y="154"/>
                      </a:cubicBezTo>
                      <a:cubicBezTo>
                        <a:pt x="153" y="154"/>
                        <a:pt x="62" y="123"/>
                        <a:pt x="62" y="84"/>
                      </a:cubicBezTo>
                      <a:cubicBezTo>
                        <a:pt x="62" y="45"/>
                        <a:pt x="153" y="14"/>
                        <a:pt x="266" y="14"/>
                      </a:cubicBezTo>
                      <a:cubicBezTo>
                        <a:pt x="379" y="14"/>
                        <a:pt x="470" y="45"/>
                        <a:pt x="470" y="84"/>
                      </a:cubicBezTo>
                      <a:close/>
                      <a:moveTo>
                        <a:pt x="266" y="0"/>
                      </a:moveTo>
                      <a:cubicBezTo>
                        <a:pt x="139" y="0"/>
                        <a:pt x="36" y="37"/>
                        <a:pt x="36" y="82"/>
                      </a:cubicBezTo>
                      <a:cubicBezTo>
                        <a:pt x="36" y="127"/>
                        <a:pt x="139" y="164"/>
                        <a:pt x="266" y="164"/>
                      </a:cubicBezTo>
                      <a:cubicBezTo>
                        <a:pt x="393" y="164"/>
                        <a:pt x="496" y="127"/>
                        <a:pt x="496" y="82"/>
                      </a:cubicBezTo>
                      <a:cubicBezTo>
                        <a:pt x="496" y="37"/>
                        <a:pt x="393" y="0"/>
                        <a:pt x="266" y="0"/>
                      </a:cubicBezTo>
                      <a:close/>
                      <a:moveTo>
                        <a:pt x="36" y="80"/>
                      </a:moveTo>
                      <a:cubicBezTo>
                        <a:pt x="36" y="80"/>
                        <a:pt x="40" y="640"/>
                        <a:pt x="36" y="708"/>
                      </a:cubicBezTo>
                      <a:cubicBezTo>
                        <a:pt x="32" y="776"/>
                        <a:pt x="0" y="1170"/>
                        <a:pt x="0" y="1170"/>
                      </a:cubicBezTo>
                      <a:cubicBezTo>
                        <a:pt x="0" y="1240"/>
                        <a:pt x="121" y="1296"/>
                        <a:pt x="270" y="1296"/>
                      </a:cubicBezTo>
                      <a:cubicBezTo>
                        <a:pt x="419" y="1296"/>
                        <a:pt x="540" y="1240"/>
                        <a:pt x="540" y="1170"/>
                      </a:cubicBezTo>
                      <a:cubicBezTo>
                        <a:pt x="540" y="1170"/>
                        <a:pt x="504" y="748"/>
                        <a:pt x="504" y="652"/>
                      </a:cubicBezTo>
                      <a:cubicBezTo>
                        <a:pt x="504" y="556"/>
                        <a:pt x="496" y="80"/>
                        <a:pt x="496" y="80"/>
                      </a:cubicBezTo>
                      <a:moveTo>
                        <a:pt x="10" y="1040"/>
                      </a:moveTo>
                      <a:cubicBezTo>
                        <a:pt x="10" y="1108"/>
                        <a:pt x="125" y="1164"/>
                        <a:pt x="267" y="1164"/>
                      </a:cubicBezTo>
                      <a:cubicBezTo>
                        <a:pt x="409" y="1164"/>
                        <a:pt x="524" y="1108"/>
                        <a:pt x="524" y="1040"/>
                      </a:cubicBezTo>
                      <a:moveTo>
                        <a:pt x="38" y="164"/>
                      </a:moveTo>
                      <a:cubicBezTo>
                        <a:pt x="38" y="211"/>
                        <a:pt x="141" y="250"/>
                        <a:pt x="267" y="250"/>
                      </a:cubicBezTo>
                      <a:cubicBezTo>
                        <a:pt x="393" y="250"/>
                        <a:pt x="496" y="211"/>
                        <a:pt x="496" y="164"/>
                      </a:cubicBezTo>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grpSp>
              <p:nvGrpSpPr>
                <p:cNvPr id="528" name="Group 527">
                  <a:extLst>
                    <a:ext uri="{FF2B5EF4-FFF2-40B4-BE49-F238E27FC236}">
                      <a16:creationId xmlns:a16="http://schemas.microsoft.com/office/drawing/2014/main" id="{7A1707B6-3909-4179-8E4C-827826991A09}"/>
                    </a:ext>
                  </a:extLst>
                </p:cNvPr>
                <p:cNvGrpSpPr/>
                <p:nvPr/>
              </p:nvGrpSpPr>
              <p:grpSpPr>
                <a:xfrm rot="16200000">
                  <a:off x="5024487" y="2652079"/>
                  <a:ext cx="76737" cy="144221"/>
                  <a:chOff x="2866921" y="3947319"/>
                  <a:chExt cx="103684" cy="194866"/>
                </a:xfrm>
              </p:grpSpPr>
              <p:sp>
                <p:nvSpPr>
                  <p:cNvPr id="529" name="Oval 5">
                    <a:extLst>
                      <a:ext uri="{FF2B5EF4-FFF2-40B4-BE49-F238E27FC236}">
                        <a16:creationId xmlns:a16="http://schemas.microsoft.com/office/drawing/2014/main" id="{0C097302-A31A-44B3-BD0F-3AB3EF9B746F}"/>
                      </a:ext>
                    </a:extLst>
                  </p:cNvPr>
                  <p:cNvSpPr/>
                  <p:nvPr/>
                </p:nvSpPr>
                <p:spPr bwMode="auto">
                  <a:xfrm>
                    <a:off x="2904207" y="3947319"/>
                    <a:ext cx="66398" cy="194866"/>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sp>
                <p:nvSpPr>
                  <p:cNvPr id="530" name="Oval 5">
                    <a:extLst>
                      <a:ext uri="{FF2B5EF4-FFF2-40B4-BE49-F238E27FC236}">
                        <a16:creationId xmlns:a16="http://schemas.microsoft.com/office/drawing/2014/main" id="{1386015D-05DC-4D2F-9905-331A005C6827}"/>
                      </a:ext>
                    </a:extLst>
                  </p:cNvPr>
                  <p:cNvSpPr/>
                  <p:nvPr/>
                </p:nvSpPr>
                <p:spPr bwMode="auto">
                  <a:xfrm>
                    <a:off x="2866921" y="3977662"/>
                    <a:ext cx="45720" cy="134180"/>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grpSp>
          </p:grpSp>
          <p:grpSp>
            <p:nvGrpSpPr>
              <p:cNvPr id="105" name="Group 104">
                <a:extLst>
                  <a:ext uri="{FF2B5EF4-FFF2-40B4-BE49-F238E27FC236}">
                    <a16:creationId xmlns:a16="http://schemas.microsoft.com/office/drawing/2014/main" id="{13353B74-3A00-43D9-B16F-F664BC2ABBAB}"/>
                  </a:ext>
                </a:extLst>
              </p:cNvPr>
              <p:cNvGrpSpPr/>
              <p:nvPr/>
            </p:nvGrpSpPr>
            <p:grpSpPr>
              <a:xfrm>
                <a:off x="9132666" y="2191164"/>
                <a:ext cx="299039" cy="241300"/>
                <a:chOff x="12756927" y="4506685"/>
                <a:chExt cx="2622773" cy="2116365"/>
              </a:xfrm>
            </p:grpSpPr>
            <p:sp>
              <p:nvSpPr>
                <p:cNvPr id="92" name="Rectangle 91">
                  <a:extLst>
                    <a:ext uri="{FF2B5EF4-FFF2-40B4-BE49-F238E27FC236}">
                      <a16:creationId xmlns:a16="http://schemas.microsoft.com/office/drawing/2014/main" id="{5E30EAC5-861D-484A-B457-E499AADE3654}"/>
                    </a:ext>
                  </a:extLst>
                </p:cNvPr>
                <p:cNvSpPr/>
                <p:nvPr/>
              </p:nvSpPr>
              <p:spPr bwMode="auto">
                <a:xfrm>
                  <a:off x="12756927" y="5029200"/>
                  <a:ext cx="2606898" cy="1581150"/>
                </a:xfrm>
                <a:prstGeom prst="rect">
                  <a:avLst/>
                </a:pr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cxnSp>
              <p:nvCxnSpPr>
                <p:cNvPr id="94" name="Straight Connector 93">
                  <a:extLst>
                    <a:ext uri="{FF2B5EF4-FFF2-40B4-BE49-F238E27FC236}">
                      <a16:creationId xmlns:a16="http://schemas.microsoft.com/office/drawing/2014/main" id="{E59B4D88-85FB-4AED-BE65-15DE25D4BA12}"/>
                    </a:ext>
                  </a:extLst>
                </p:cNvPr>
                <p:cNvCxnSpPr>
                  <a:cxnSpLocks/>
                </p:cNvCxnSpPr>
                <p:nvPr/>
              </p:nvCxnSpPr>
              <p:spPr>
                <a:xfrm>
                  <a:off x="14060376" y="5029200"/>
                  <a:ext cx="0" cy="1593850"/>
                </a:xfrm>
                <a:prstGeom prst="line">
                  <a:avLst/>
                </a:pr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96" name="Straight Connector 95">
                  <a:extLst>
                    <a:ext uri="{FF2B5EF4-FFF2-40B4-BE49-F238E27FC236}">
                      <a16:creationId xmlns:a16="http://schemas.microsoft.com/office/drawing/2014/main" id="{47789009-52A5-413E-B4C2-5DB35A2B8125}"/>
                    </a:ext>
                  </a:extLst>
                </p:cNvPr>
                <p:cNvCxnSpPr>
                  <a:cxnSpLocks/>
                </p:cNvCxnSpPr>
                <p:nvPr/>
              </p:nvCxnSpPr>
              <p:spPr>
                <a:xfrm>
                  <a:off x="14058900" y="5422900"/>
                  <a:ext cx="1320800" cy="0"/>
                </a:xfrm>
                <a:prstGeom prst="line">
                  <a:avLst/>
                </a:pr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31" name="Straight Connector 530">
                  <a:extLst>
                    <a:ext uri="{FF2B5EF4-FFF2-40B4-BE49-F238E27FC236}">
                      <a16:creationId xmlns:a16="http://schemas.microsoft.com/office/drawing/2014/main" id="{71C9F051-0663-4D7A-A227-632FABFB14DA}"/>
                    </a:ext>
                  </a:extLst>
                </p:cNvPr>
                <p:cNvCxnSpPr>
                  <a:cxnSpLocks/>
                </p:cNvCxnSpPr>
                <p:nvPr/>
              </p:nvCxnSpPr>
              <p:spPr>
                <a:xfrm>
                  <a:off x="14268450" y="5683250"/>
                  <a:ext cx="869950" cy="0"/>
                </a:xfrm>
                <a:prstGeom prst="line">
                  <a:avLst/>
                </a:pr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532" name="Rectangle 531">
                  <a:extLst>
                    <a:ext uri="{FF2B5EF4-FFF2-40B4-BE49-F238E27FC236}">
                      <a16:creationId xmlns:a16="http://schemas.microsoft.com/office/drawing/2014/main" id="{45E6DDC0-8771-446D-9A59-FA7C12DD2B8C}"/>
                    </a:ext>
                  </a:extLst>
                </p:cNvPr>
                <p:cNvSpPr/>
                <p:nvPr/>
              </p:nvSpPr>
              <p:spPr bwMode="auto">
                <a:xfrm>
                  <a:off x="14280927" y="5861050"/>
                  <a:ext cx="871987" cy="528882"/>
                </a:xfrm>
                <a:prstGeom prst="rect">
                  <a:avLst/>
                </a:pr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sp>
              <p:nvSpPr>
                <p:cNvPr id="102" name="Oval 101">
                  <a:extLst>
                    <a:ext uri="{FF2B5EF4-FFF2-40B4-BE49-F238E27FC236}">
                      <a16:creationId xmlns:a16="http://schemas.microsoft.com/office/drawing/2014/main" id="{E89FF56C-9F63-4B27-918E-4B5B0CF2E666}"/>
                    </a:ext>
                  </a:extLst>
                </p:cNvPr>
                <p:cNvSpPr/>
                <p:nvPr/>
              </p:nvSpPr>
              <p:spPr bwMode="auto">
                <a:xfrm>
                  <a:off x="13099041" y="4506685"/>
                  <a:ext cx="454821" cy="254723"/>
                </a:xfrm>
                <a:custGeom>
                  <a:avLst/>
                  <a:gdLst>
                    <a:gd name="connsiteX0" fmla="*/ 0 w 868680"/>
                    <a:gd name="connsiteY0" fmla="*/ 434340 h 868680"/>
                    <a:gd name="connsiteX1" fmla="*/ 434340 w 868680"/>
                    <a:gd name="connsiteY1" fmla="*/ 0 h 868680"/>
                    <a:gd name="connsiteX2" fmla="*/ 868680 w 868680"/>
                    <a:gd name="connsiteY2" fmla="*/ 434340 h 868680"/>
                    <a:gd name="connsiteX3" fmla="*/ 434340 w 868680"/>
                    <a:gd name="connsiteY3" fmla="*/ 868680 h 868680"/>
                    <a:gd name="connsiteX4" fmla="*/ 0 w 868680"/>
                    <a:gd name="connsiteY4" fmla="*/ 434340 h 868680"/>
                    <a:gd name="connsiteX0" fmla="*/ 434340 w 868680"/>
                    <a:gd name="connsiteY0" fmla="*/ 868680 h 960120"/>
                    <a:gd name="connsiteX1" fmla="*/ 0 w 868680"/>
                    <a:gd name="connsiteY1" fmla="*/ 434340 h 960120"/>
                    <a:gd name="connsiteX2" fmla="*/ 434340 w 868680"/>
                    <a:gd name="connsiteY2" fmla="*/ 0 h 960120"/>
                    <a:gd name="connsiteX3" fmla="*/ 868680 w 868680"/>
                    <a:gd name="connsiteY3" fmla="*/ 434340 h 960120"/>
                    <a:gd name="connsiteX4" fmla="*/ 525780 w 868680"/>
                    <a:gd name="connsiteY4" fmla="*/ 960120 h 960120"/>
                    <a:gd name="connsiteX0" fmla="*/ 434340 w 868680"/>
                    <a:gd name="connsiteY0" fmla="*/ 868680 h 868680"/>
                    <a:gd name="connsiteX1" fmla="*/ 0 w 868680"/>
                    <a:gd name="connsiteY1" fmla="*/ 434340 h 868680"/>
                    <a:gd name="connsiteX2" fmla="*/ 434340 w 868680"/>
                    <a:gd name="connsiteY2" fmla="*/ 0 h 868680"/>
                    <a:gd name="connsiteX3" fmla="*/ 868680 w 868680"/>
                    <a:gd name="connsiteY3" fmla="*/ 434340 h 868680"/>
                    <a:gd name="connsiteX0" fmla="*/ 0 w 868680"/>
                    <a:gd name="connsiteY0" fmla="*/ 434340 h 434340"/>
                    <a:gd name="connsiteX1" fmla="*/ 434340 w 868680"/>
                    <a:gd name="connsiteY1" fmla="*/ 0 h 434340"/>
                    <a:gd name="connsiteX2" fmla="*/ 868680 w 868680"/>
                    <a:gd name="connsiteY2" fmla="*/ 434340 h 434340"/>
                  </a:gdLst>
                  <a:ahLst/>
                  <a:cxnLst>
                    <a:cxn ang="0">
                      <a:pos x="connsiteX0" y="connsiteY0"/>
                    </a:cxn>
                    <a:cxn ang="0">
                      <a:pos x="connsiteX1" y="connsiteY1"/>
                    </a:cxn>
                    <a:cxn ang="0">
                      <a:pos x="connsiteX2" y="connsiteY2"/>
                    </a:cxn>
                  </a:cxnLst>
                  <a:rect l="l" t="t" r="r" b="b"/>
                  <a:pathLst>
                    <a:path w="868680" h="434340">
                      <a:moveTo>
                        <a:pt x="0" y="434340"/>
                      </a:moveTo>
                      <a:cubicBezTo>
                        <a:pt x="0" y="194461"/>
                        <a:pt x="194461" y="0"/>
                        <a:pt x="434340" y="0"/>
                      </a:cubicBezTo>
                      <a:cubicBezTo>
                        <a:pt x="674219" y="0"/>
                        <a:pt x="868680" y="194461"/>
                        <a:pt x="868680" y="434340"/>
                      </a:cubicBezTo>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cxnSp>
              <p:nvCxnSpPr>
                <p:cNvPr id="104" name="Straight Connector 103">
                  <a:extLst>
                    <a:ext uri="{FF2B5EF4-FFF2-40B4-BE49-F238E27FC236}">
                      <a16:creationId xmlns:a16="http://schemas.microsoft.com/office/drawing/2014/main" id="{6065F851-35E3-4C14-8334-C76059207251}"/>
                    </a:ext>
                  </a:extLst>
                </p:cNvPr>
                <p:cNvCxnSpPr>
                  <a:stCxn id="102" idx="0"/>
                </p:cNvCxnSpPr>
                <p:nvPr/>
              </p:nvCxnSpPr>
              <p:spPr>
                <a:xfrm flipH="1">
                  <a:off x="13096658" y="4761408"/>
                  <a:ext cx="2383" cy="270167"/>
                </a:xfrm>
                <a:prstGeom prst="line">
                  <a:avLst/>
                </a:pr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sp>
          <p:nvSpPr>
            <p:cNvPr id="533" name="monitor_2">
              <a:extLst>
                <a:ext uri="{FF2B5EF4-FFF2-40B4-BE49-F238E27FC236}">
                  <a16:creationId xmlns:a16="http://schemas.microsoft.com/office/drawing/2014/main" id="{B1B3CAA6-1C4F-4861-B534-EC4AC77EE3F6}"/>
                </a:ext>
              </a:extLst>
            </p:cNvPr>
            <p:cNvSpPr>
              <a:spLocks noChangeAspect="1" noEditPoints="1"/>
            </p:cNvSpPr>
            <p:nvPr/>
          </p:nvSpPr>
          <p:spPr bwMode="auto">
            <a:xfrm>
              <a:off x="8418534" y="1852707"/>
              <a:ext cx="279793" cy="214432"/>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gradFill>
                  <a:gsLst>
                    <a:gs pos="0">
                      <a:srgbClr val="505050"/>
                    </a:gs>
                    <a:gs pos="100000">
                      <a:srgbClr val="505050"/>
                    </a:gs>
                  </a:gsLst>
                </a:gradFill>
                <a:latin typeface="Microsoft YaHei" charset="-122"/>
                <a:ea typeface="Microsoft YaHei" charset="-122"/>
                <a:cs typeface="Microsoft YaHei" charset="-122"/>
              </a:endParaRPr>
            </a:p>
          </p:txBody>
        </p:sp>
      </p:grpSp>
      <p:sp>
        <p:nvSpPr>
          <p:cNvPr id="190" name="Title 1">
            <a:extLst>
              <a:ext uri="{FF2B5EF4-FFF2-40B4-BE49-F238E27FC236}">
                <a16:creationId xmlns:a16="http://schemas.microsoft.com/office/drawing/2014/main" id="{2C7AD5FB-E1C9-4FAC-8273-9B04A4E315F6}"/>
              </a:ext>
            </a:extLst>
          </p:cNvPr>
          <p:cNvSpPr txBox="1">
            <a:spLocks/>
          </p:cNvSpPr>
          <p:nvPr/>
        </p:nvSpPr>
        <p:spPr>
          <a:xfrm>
            <a:off x="627142" y="1113990"/>
            <a:ext cx="2364895" cy="38420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r>
              <a:rPr lang="en-US" sz="2448" b="0" spc="-51" dirty="0">
                <a:gradFill>
                  <a:gsLst>
                    <a:gs pos="1250">
                      <a:prstClr val="black"/>
                    </a:gs>
                    <a:gs pos="100000">
                      <a:prstClr val="black"/>
                    </a:gs>
                  </a:gsLst>
                  <a:lin ang="5400000" scaled="0"/>
                </a:gradFill>
                <a:latin typeface="Segoe UI" panose="020B0502040204020203" pitchFamily="34" charset="0"/>
                <a:ea typeface="Segoe UI" panose="020B0502040204020203" pitchFamily="34" charset="0"/>
              </a:rPr>
              <a:t>In 2020…</a:t>
            </a:r>
          </a:p>
        </p:txBody>
      </p:sp>
      <p:sp>
        <p:nvSpPr>
          <p:cNvPr id="438" name="Rectangle 437">
            <a:extLst>
              <a:ext uri="{FF2B5EF4-FFF2-40B4-BE49-F238E27FC236}">
                <a16:creationId xmlns:a16="http://schemas.microsoft.com/office/drawing/2014/main" id="{288AEC77-29CB-4478-8A62-0C371E74705B}"/>
              </a:ext>
            </a:extLst>
          </p:cNvPr>
          <p:cNvSpPr/>
          <p:nvPr/>
        </p:nvSpPr>
        <p:spPr bwMode="auto">
          <a:xfrm>
            <a:off x="408286" y="4656289"/>
            <a:ext cx="2283197" cy="595924"/>
          </a:xfrm>
          <a:prstGeom prst="rect">
            <a:avLst/>
          </a:prstGeom>
          <a:solidFill>
            <a:schemeClr val="bg1"/>
          </a:solidFill>
          <a:ln w="9525" cap="flat" cmpd="sng" algn="ctr">
            <a:noFill/>
            <a:prstDash val="solid"/>
            <a:round/>
            <a:headEnd type="none" w="med" len="med"/>
            <a:tailEnd type="none" w="med" len="med"/>
          </a:ln>
          <a:effectLst/>
        </p:spPr>
        <p:txBody>
          <a:bodyPr vert="horz" wrap="square" lIns="65282" tIns="37304" rIns="65282" bIns="37304" numCol="1" rtlCol="0" anchor="t" anchorCtr="0" compatLnSpc="1">
            <a:prstTxWarp prst="textNoShape">
              <a:avLst/>
            </a:prstTxWarp>
            <a:noAutofit/>
          </a:bodyPr>
          <a:lstStyle/>
          <a:p>
            <a:pPr algn="r" defTabSz="951028" fontAlgn="base">
              <a:lnSpc>
                <a:spcPts val="816"/>
              </a:lnSpc>
              <a:spcBef>
                <a:spcPts val="612"/>
              </a:spcBef>
              <a:spcAft>
                <a:spcPts val="408"/>
              </a:spcAft>
              <a:defRPr/>
            </a:pPr>
            <a:r>
              <a:rPr lang="zh-CN" altLang="en-US" sz="1632" dirty="0">
                <a:gradFill>
                  <a:gsLst>
                    <a:gs pos="0">
                      <a:srgbClr val="1A1A1A"/>
                    </a:gs>
                    <a:gs pos="100000">
                      <a:srgbClr val="1A1A1A"/>
                    </a:gs>
                  </a:gsLst>
                  <a:lin ang="5400000" scaled="0"/>
                </a:gradFill>
                <a:latin typeface="Microsoft YaHei" charset="-122"/>
                <a:ea typeface="Microsoft YaHei" charset="-122"/>
                <a:cs typeface="Microsoft YaHei" charset="-122"/>
              </a:rPr>
              <a:t>互联工厂</a:t>
            </a:r>
            <a:endParaRPr lang="en-US" altLang="zh-CN" sz="1632" dirty="0">
              <a:gradFill>
                <a:gsLst>
                  <a:gs pos="0">
                    <a:srgbClr val="1A1A1A"/>
                  </a:gs>
                  <a:gs pos="100000">
                    <a:srgbClr val="1A1A1A"/>
                  </a:gs>
                </a:gsLst>
                <a:lin ang="5400000" scaled="0"/>
              </a:gradFill>
              <a:latin typeface="Microsoft YaHei" charset="-122"/>
              <a:ea typeface="Microsoft YaHei" charset="-122"/>
              <a:cs typeface="Microsoft YaHei" charset="-122"/>
            </a:endParaRPr>
          </a:p>
          <a:p>
            <a:pPr algn="r" defTabSz="951028" fontAlgn="base">
              <a:lnSpc>
                <a:spcPts val="816"/>
              </a:lnSpc>
              <a:spcBef>
                <a:spcPts val="612"/>
              </a:spcBef>
              <a:spcAft>
                <a:spcPct val="0"/>
              </a:spcAft>
              <a:defRPr/>
            </a:pPr>
            <a:r>
              <a:rPr lang="en-US" altLang="zh-CN" sz="1224" dirty="0">
                <a:gradFill>
                  <a:gsLst>
                    <a:gs pos="0">
                      <a:srgbClr val="1A1A1A"/>
                    </a:gs>
                    <a:gs pos="100000">
                      <a:srgbClr val="1A1A1A"/>
                    </a:gs>
                  </a:gsLst>
                  <a:lin ang="5400000" scaled="0"/>
                </a:gradFill>
                <a:latin typeface="Segoe UI" panose="020B0502040204020203" pitchFamily="34" charset="0"/>
                <a:ea typeface="Segoe UI" panose="020B0502040204020203" pitchFamily="34" charset="0"/>
                <a:cs typeface="Segoe UI" panose="020B0502040204020203" pitchFamily="34" charset="0"/>
              </a:rPr>
              <a:t>Interconnected factories</a:t>
            </a:r>
            <a:r>
              <a:rPr lang="en-US" sz="1224" dirty="0">
                <a:gradFill>
                  <a:gsLst>
                    <a:gs pos="0">
                      <a:srgbClr val="1A1A1A"/>
                    </a:gs>
                    <a:gs pos="100000">
                      <a:srgbClr val="1A1A1A"/>
                    </a:gs>
                  </a:gsLst>
                  <a:lin ang="5400000" scaled="0"/>
                </a:gradFill>
                <a:latin typeface="Segoe UI" panose="020B0502040204020203" pitchFamily="34" charset="0"/>
                <a:ea typeface="Segoe UI" panose="020B0502040204020203" pitchFamily="34" charset="0"/>
                <a:cs typeface="Segoe UI" panose="020B0502040204020203" pitchFamily="34" charset="0"/>
              </a:rPr>
              <a:t> </a:t>
            </a:r>
          </a:p>
          <a:p>
            <a:pPr algn="r" defTabSz="906691">
              <a:lnSpc>
                <a:spcPts val="816"/>
              </a:lnSpc>
              <a:spcBef>
                <a:spcPts val="612"/>
              </a:spcBef>
              <a:defRPr/>
            </a:pPr>
            <a:r>
              <a:rPr lang="en-US" sz="1224" b="1" dirty="0">
                <a:gradFill>
                  <a:gsLst>
                    <a:gs pos="1250">
                      <a:srgbClr val="0078D4"/>
                    </a:gs>
                    <a:gs pos="100000">
                      <a:srgbClr val="0078D4"/>
                    </a:gs>
                  </a:gsLst>
                  <a:lin ang="5400000" scaled="0"/>
                </a:gradFill>
                <a:latin typeface="Segoe UI" panose="020B0502040204020203" pitchFamily="34" charset="0"/>
                <a:ea typeface="Segoe UI" panose="020B0502040204020203" pitchFamily="34" charset="0"/>
                <a:cs typeface="Segoe UI" panose="020B0502040204020203" pitchFamily="34" charset="0"/>
              </a:rPr>
              <a:t>1 PB </a:t>
            </a:r>
            <a:r>
              <a:rPr lang="en-US" sz="1224" dirty="0">
                <a:gradFill>
                  <a:gsLst>
                    <a:gs pos="1250">
                      <a:srgbClr val="1A1A1A"/>
                    </a:gs>
                    <a:gs pos="100000">
                      <a:srgbClr val="1A1A1A"/>
                    </a:gs>
                  </a:gsLst>
                  <a:lin ang="5400000" scaled="0"/>
                </a:gradFill>
                <a:latin typeface="Segoe UI" panose="020B0502040204020203" pitchFamily="34" charset="0"/>
                <a:ea typeface="Segoe UI" panose="020B0502040204020203" pitchFamily="34" charset="0"/>
                <a:cs typeface="Segoe UI" panose="020B0502040204020203" pitchFamily="34" charset="0"/>
              </a:rPr>
              <a:t>per day</a:t>
            </a:r>
          </a:p>
        </p:txBody>
      </p:sp>
    </p:spTree>
    <p:extLst>
      <p:ext uri="{BB962C8B-B14F-4D97-AF65-F5344CB8AC3E}">
        <p14:creationId xmlns:p14="http://schemas.microsoft.com/office/powerpoint/2010/main" val="1308599260"/>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2.08333E-7 -4.07407E-6 L -2.08333E-7 0.0257 " pathEditMode="relative" rAng="0" ptsTypes="AA">
                                      <p:cBhvr>
                                        <p:cTn id="9" dur="500" spd="-100000" fill="hold"/>
                                        <p:tgtEl>
                                          <p:spTgt spid="2"/>
                                        </p:tgtEl>
                                        <p:attrNameLst>
                                          <p:attrName>ppt_x</p:attrName>
                                          <p:attrName>ppt_y</p:attrName>
                                        </p:attrNameLst>
                                      </p:cBhvr>
                                      <p:rCtr x="0" y="1273"/>
                                    </p:animMotion>
                                  </p:childTnLst>
                                </p:cTn>
                              </p:par>
                              <p:par>
                                <p:cTn id="10" presetID="21" presetClass="entr" presetSubtype="1"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heel(1)">
                                      <p:cBhvr>
                                        <p:cTn id="12" dur="500"/>
                                        <p:tgtEl>
                                          <p:spTgt spid="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44"/>
                                        </p:tgtEl>
                                        <p:attrNameLst>
                                          <p:attrName>style.visibility</p:attrName>
                                        </p:attrNameLst>
                                      </p:cBhvr>
                                      <p:to>
                                        <p:strVal val="visible"/>
                                      </p:to>
                                    </p:set>
                                    <p:animEffect transition="in" filter="fade">
                                      <p:cBhvr>
                                        <p:cTn id="15" dur="500"/>
                                        <p:tgtEl>
                                          <p:spTgt spid="444"/>
                                        </p:tgtEl>
                                      </p:cBhvr>
                                    </p:animEffect>
                                  </p:childTnLst>
                                </p:cTn>
                              </p:par>
                              <p:par>
                                <p:cTn id="16" presetID="42" presetClass="path" presetSubtype="0" decel="100000" fill="hold" grpId="1" nodeType="withEffect">
                                  <p:stCondLst>
                                    <p:cond delay="0"/>
                                  </p:stCondLst>
                                  <p:childTnLst>
                                    <p:animMotion origin="layout" path="M -3.75E-6 4.44444E-6 L -3.75E-6 0.02569 " pathEditMode="relative" rAng="0" ptsTypes="AA">
                                      <p:cBhvr>
                                        <p:cTn id="17" dur="500" spd="-100000" fill="hold"/>
                                        <p:tgtEl>
                                          <p:spTgt spid="444"/>
                                        </p:tgtEl>
                                        <p:attrNameLst>
                                          <p:attrName>ppt_x</p:attrName>
                                          <p:attrName>ppt_y</p:attrName>
                                        </p:attrNameLst>
                                      </p:cBhvr>
                                      <p:rCtr x="0" y="1273"/>
                                    </p:animMotion>
                                  </p:childTnLst>
                                </p:cTn>
                              </p:par>
                              <p:par>
                                <p:cTn id="18" presetID="10" presetClass="entr" presetSubtype="0" fill="hold" grpId="0" nodeType="withEffect">
                                  <p:stCondLst>
                                    <p:cond delay="200"/>
                                  </p:stCondLst>
                                  <p:childTnLst>
                                    <p:set>
                                      <p:cBhvr>
                                        <p:cTn id="19" dur="1" fill="hold">
                                          <p:stCondLst>
                                            <p:cond delay="0"/>
                                          </p:stCondLst>
                                        </p:cTn>
                                        <p:tgtEl>
                                          <p:spTgt spid="442"/>
                                        </p:tgtEl>
                                        <p:attrNameLst>
                                          <p:attrName>style.visibility</p:attrName>
                                        </p:attrNameLst>
                                      </p:cBhvr>
                                      <p:to>
                                        <p:strVal val="visible"/>
                                      </p:to>
                                    </p:set>
                                    <p:animEffect transition="in" filter="fade">
                                      <p:cBhvr>
                                        <p:cTn id="20" dur="500"/>
                                        <p:tgtEl>
                                          <p:spTgt spid="442"/>
                                        </p:tgtEl>
                                      </p:cBhvr>
                                    </p:animEffect>
                                  </p:childTnLst>
                                </p:cTn>
                              </p:par>
                              <p:par>
                                <p:cTn id="21" presetID="42" presetClass="path" presetSubtype="0" decel="100000" fill="hold" grpId="1" nodeType="withEffect">
                                  <p:stCondLst>
                                    <p:cond delay="200"/>
                                  </p:stCondLst>
                                  <p:childTnLst>
                                    <p:animMotion origin="layout" path="M 2.5E-6 -4.07407E-6 L 2.5E-6 0.0257 " pathEditMode="relative" rAng="0" ptsTypes="AA">
                                      <p:cBhvr>
                                        <p:cTn id="22" dur="500" spd="-100000" fill="hold"/>
                                        <p:tgtEl>
                                          <p:spTgt spid="442"/>
                                        </p:tgtEl>
                                        <p:attrNameLst>
                                          <p:attrName>ppt_x</p:attrName>
                                          <p:attrName>ppt_y</p:attrName>
                                        </p:attrNameLst>
                                      </p:cBhvr>
                                      <p:rCtr x="0" y="1273"/>
                                    </p:animMotion>
                                  </p:childTnLst>
                                </p:cTn>
                              </p:par>
                              <p:par>
                                <p:cTn id="23" presetID="10" presetClass="entr" presetSubtype="0" fill="hold" grpId="0" nodeType="withEffect">
                                  <p:stCondLst>
                                    <p:cond delay="300"/>
                                  </p:stCondLst>
                                  <p:childTnLst>
                                    <p:set>
                                      <p:cBhvr>
                                        <p:cTn id="24" dur="1" fill="hold">
                                          <p:stCondLst>
                                            <p:cond delay="0"/>
                                          </p:stCondLst>
                                        </p:cTn>
                                        <p:tgtEl>
                                          <p:spTgt spid="443"/>
                                        </p:tgtEl>
                                        <p:attrNameLst>
                                          <p:attrName>style.visibility</p:attrName>
                                        </p:attrNameLst>
                                      </p:cBhvr>
                                      <p:to>
                                        <p:strVal val="visible"/>
                                      </p:to>
                                    </p:set>
                                    <p:animEffect transition="in" filter="fade">
                                      <p:cBhvr>
                                        <p:cTn id="25" dur="500"/>
                                        <p:tgtEl>
                                          <p:spTgt spid="443"/>
                                        </p:tgtEl>
                                      </p:cBhvr>
                                    </p:animEffect>
                                  </p:childTnLst>
                                </p:cTn>
                              </p:par>
                              <p:par>
                                <p:cTn id="26" presetID="42" presetClass="path" presetSubtype="0" decel="100000" fill="hold" grpId="1" nodeType="withEffect">
                                  <p:stCondLst>
                                    <p:cond delay="300"/>
                                  </p:stCondLst>
                                  <p:childTnLst>
                                    <p:animMotion origin="layout" path="M 3.125E-6 -3.33333E-6 L 3.125E-6 0.0257 " pathEditMode="relative" rAng="0" ptsTypes="AA">
                                      <p:cBhvr>
                                        <p:cTn id="27" dur="500" spd="-100000" fill="hold"/>
                                        <p:tgtEl>
                                          <p:spTgt spid="443"/>
                                        </p:tgtEl>
                                        <p:attrNameLst>
                                          <p:attrName>ppt_x</p:attrName>
                                          <p:attrName>ppt_y</p:attrName>
                                        </p:attrNameLst>
                                      </p:cBhvr>
                                      <p:rCtr x="0" y="1273"/>
                                    </p:animMotion>
                                  </p:childTnLst>
                                </p:cTn>
                              </p:par>
                              <p:par>
                                <p:cTn id="28" presetID="10" presetClass="entr" presetSubtype="0" fill="hold" grpId="0" nodeType="withEffect">
                                  <p:stCondLst>
                                    <p:cond delay="400"/>
                                  </p:stCondLst>
                                  <p:childTnLst>
                                    <p:set>
                                      <p:cBhvr>
                                        <p:cTn id="29" dur="1" fill="hold">
                                          <p:stCondLst>
                                            <p:cond delay="0"/>
                                          </p:stCondLst>
                                        </p:cTn>
                                        <p:tgtEl>
                                          <p:spTgt spid="439"/>
                                        </p:tgtEl>
                                        <p:attrNameLst>
                                          <p:attrName>style.visibility</p:attrName>
                                        </p:attrNameLst>
                                      </p:cBhvr>
                                      <p:to>
                                        <p:strVal val="visible"/>
                                      </p:to>
                                    </p:set>
                                    <p:animEffect transition="in" filter="fade">
                                      <p:cBhvr>
                                        <p:cTn id="30" dur="500"/>
                                        <p:tgtEl>
                                          <p:spTgt spid="439"/>
                                        </p:tgtEl>
                                      </p:cBhvr>
                                    </p:animEffect>
                                  </p:childTnLst>
                                </p:cTn>
                              </p:par>
                              <p:par>
                                <p:cTn id="31" presetID="42" presetClass="path" presetSubtype="0" decel="100000" fill="hold" grpId="1" nodeType="withEffect">
                                  <p:stCondLst>
                                    <p:cond delay="400"/>
                                  </p:stCondLst>
                                  <p:childTnLst>
                                    <p:animMotion origin="layout" path="M 3.95833E-6 -3.33333E-6 L 3.95833E-6 0.0257 " pathEditMode="relative" rAng="0" ptsTypes="AA">
                                      <p:cBhvr>
                                        <p:cTn id="32" dur="500" spd="-100000" fill="hold"/>
                                        <p:tgtEl>
                                          <p:spTgt spid="439"/>
                                        </p:tgtEl>
                                        <p:attrNameLst>
                                          <p:attrName>ppt_x</p:attrName>
                                          <p:attrName>ppt_y</p:attrName>
                                        </p:attrNameLst>
                                      </p:cBhvr>
                                      <p:rCtr x="0" y="1273"/>
                                    </p:animMotion>
                                  </p:childTnLst>
                                </p:cTn>
                              </p:par>
                              <p:par>
                                <p:cTn id="33" presetID="10" presetClass="entr" presetSubtype="0" fill="hold" grpId="0" nodeType="withEffect">
                                  <p:stCondLst>
                                    <p:cond delay="500"/>
                                  </p:stCondLst>
                                  <p:childTnLst>
                                    <p:set>
                                      <p:cBhvr>
                                        <p:cTn id="34" dur="1" fill="hold">
                                          <p:stCondLst>
                                            <p:cond delay="0"/>
                                          </p:stCondLst>
                                        </p:cTn>
                                        <p:tgtEl>
                                          <p:spTgt spid="437"/>
                                        </p:tgtEl>
                                        <p:attrNameLst>
                                          <p:attrName>style.visibility</p:attrName>
                                        </p:attrNameLst>
                                      </p:cBhvr>
                                      <p:to>
                                        <p:strVal val="visible"/>
                                      </p:to>
                                    </p:set>
                                    <p:animEffect transition="in" filter="fade">
                                      <p:cBhvr>
                                        <p:cTn id="35" dur="500"/>
                                        <p:tgtEl>
                                          <p:spTgt spid="437"/>
                                        </p:tgtEl>
                                      </p:cBhvr>
                                    </p:animEffect>
                                  </p:childTnLst>
                                </p:cTn>
                              </p:par>
                              <p:par>
                                <p:cTn id="36" presetID="42" presetClass="path" presetSubtype="0" decel="100000" fill="hold" grpId="1" nodeType="withEffect">
                                  <p:stCondLst>
                                    <p:cond delay="500"/>
                                  </p:stCondLst>
                                  <p:childTnLst>
                                    <p:animMotion origin="layout" path="M -2.08333E-6 -2.96296E-6 L -2.08333E-6 0.0257 " pathEditMode="relative" rAng="0" ptsTypes="AA">
                                      <p:cBhvr>
                                        <p:cTn id="37" dur="500" spd="-100000" fill="hold"/>
                                        <p:tgtEl>
                                          <p:spTgt spid="437"/>
                                        </p:tgtEl>
                                        <p:attrNameLst>
                                          <p:attrName>ppt_x</p:attrName>
                                          <p:attrName>ppt_y</p:attrName>
                                        </p:attrNameLst>
                                      </p:cBhvr>
                                      <p:rCtr x="0" y="1273"/>
                                    </p:animMotion>
                                  </p:childTnLst>
                                </p:cTn>
                              </p:par>
                              <p:par>
                                <p:cTn id="38" presetID="10" presetClass="entr" presetSubtype="0" fill="hold" grpId="0" nodeType="withEffect">
                                  <p:stCondLst>
                                    <p:cond delay="600"/>
                                  </p:stCondLst>
                                  <p:childTnLst>
                                    <p:set>
                                      <p:cBhvr>
                                        <p:cTn id="39" dur="1" fill="hold">
                                          <p:stCondLst>
                                            <p:cond delay="0"/>
                                          </p:stCondLst>
                                        </p:cTn>
                                        <p:tgtEl>
                                          <p:spTgt spid="438"/>
                                        </p:tgtEl>
                                        <p:attrNameLst>
                                          <p:attrName>style.visibility</p:attrName>
                                        </p:attrNameLst>
                                      </p:cBhvr>
                                      <p:to>
                                        <p:strVal val="visible"/>
                                      </p:to>
                                    </p:set>
                                    <p:animEffect transition="in" filter="fade">
                                      <p:cBhvr>
                                        <p:cTn id="40" dur="500"/>
                                        <p:tgtEl>
                                          <p:spTgt spid="438"/>
                                        </p:tgtEl>
                                      </p:cBhvr>
                                    </p:animEffect>
                                  </p:childTnLst>
                                </p:cTn>
                              </p:par>
                              <p:par>
                                <p:cTn id="41" presetID="42" presetClass="path" presetSubtype="0" decel="100000" fill="hold" grpId="1" nodeType="withEffect">
                                  <p:stCondLst>
                                    <p:cond delay="600"/>
                                  </p:stCondLst>
                                  <p:childTnLst>
                                    <p:animMotion origin="layout" path="M 2.08333E-7 -7.40741E-7 L 2.08333E-7 0.0257 " pathEditMode="relative" rAng="0" ptsTypes="AA">
                                      <p:cBhvr>
                                        <p:cTn id="42" dur="500" spd="-100000" fill="hold"/>
                                        <p:tgtEl>
                                          <p:spTgt spid="438"/>
                                        </p:tgtEl>
                                        <p:attrNameLst>
                                          <p:attrName>ppt_x</p:attrName>
                                          <p:attrName>ppt_y</p:attrName>
                                        </p:attrNameLst>
                                      </p:cBhvr>
                                      <p:rCtr x="0" y="1273"/>
                                    </p:animMotion>
                                  </p:childTnLst>
                                </p:cTn>
                              </p:par>
                              <p:par>
                                <p:cTn id="43" presetID="10" presetClass="entr" presetSubtype="0" fill="hold" grpId="0" nodeType="withEffect">
                                  <p:stCondLst>
                                    <p:cond delay="700"/>
                                  </p:stCondLst>
                                  <p:childTnLst>
                                    <p:set>
                                      <p:cBhvr>
                                        <p:cTn id="44" dur="1" fill="hold">
                                          <p:stCondLst>
                                            <p:cond delay="0"/>
                                          </p:stCondLst>
                                        </p:cTn>
                                        <p:tgtEl>
                                          <p:spTgt spid="440"/>
                                        </p:tgtEl>
                                        <p:attrNameLst>
                                          <p:attrName>style.visibility</p:attrName>
                                        </p:attrNameLst>
                                      </p:cBhvr>
                                      <p:to>
                                        <p:strVal val="visible"/>
                                      </p:to>
                                    </p:set>
                                    <p:animEffect transition="in" filter="fade">
                                      <p:cBhvr>
                                        <p:cTn id="45" dur="500"/>
                                        <p:tgtEl>
                                          <p:spTgt spid="440"/>
                                        </p:tgtEl>
                                      </p:cBhvr>
                                    </p:animEffect>
                                  </p:childTnLst>
                                </p:cTn>
                              </p:par>
                              <p:par>
                                <p:cTn id="46" presetID="42" presetClass="path" presetSubtype="0" decel="100000" fill="hold" grpId="1" nodeType="withEffect">
                                  <p:stCondLst>
                                    <p:cond delay="700"/>
                                  </p:stCondLst>
                                  <p:childTnLst>
                                    <p:animMotion origin="layout" path="M -2.08333E-6 1.11111E-6 L -2.08333E-6 0.02569 " pathEditMode="relative" rAng="0" ptsTypes="AA">
                                      <p:cBhvr>
                                        <p:cTn id="47" dur="500" spd="-100000" fill="hold"/>
                                        <p:tgtEl>
                                          <p:spTgt spid="440"/>
                                        </p:tgtEl>
                                        <p:attrNameLst>
                                          <p:attrName>ppt_x</p:attrName>
                                          <p:attrName>ppt_y</p:attrName>
                                        </p:attrNameLst>
                                      </p:cBhvr>
                                      <p:rCtr x="0" y="1273"/>
                                    </p:animMotion>
                                  </p:childTnLst>
                                </p:cTn>
                              </p:par>
                              <p:par>
                                <p:cTn id="48" presetID="10" presetClass="entr" presetSubtype="0" fill="hold" nodeType="withEffect">
                                  <p:stCondLst>
                                    <p:cond delay="0"/>
                                  </p:stCondLst>
                                  <p:childTnLst>
                                    <p:set>
                                      <p:cBhvr>
                                        <p:cTn id="49" dur="1" fill="hold">
                                          <p:stCondLst>
                                            <p:cond delay="0"/>
                                          </p:stCondLst>
                                        </p:cTn>
                                        <p:tgtEl>
                                          <p:spTgt spid="30"/>
                                        </p:tgtEl>
                                        <p:attrNameLst>
                                          <p:attrName>style.visibility</p:attrName>
                                        </p:attrNameLst>
                                      </p:cBhvr>
                                      <p:to>
                                        <p:strVal val="visible"/>
                                      </p:to>
                                    </p:set>
                                    <p:animEffect transition="in" filter="fade">
                                      <p:cBhvr>
                                        <p:cTn id="50" dur="500"/>
                                        <p:tgtEl>
                                          <p:spTgt spid="30"/>
                                        </p:tgtEl>
                                      </p:cBhvr>
                                    </p:animEffect>
                                  </p:childTnLst>
                                </p:cTn>
                              </p:par>
                              <p:par>
                                <p:cTn id="51" presetID="42" presetClass="path" presetSubtype="0" decel="100000" fill="hold" nodeType="withEffect">
                                  <p:stCondLst>
                                    <p:cond delay="0"/>
                                  </p:stCondLst>
                                  <p:childTnLst>
                                    <p:animMotion origin="layout" path="M -8.33333E-7 -2.59259E-6 L -8.33333E-7 0.0257 " pathEditMode="relative" rAng="0" ptsTypes="AA">
                                      <p:cBhvr>
                                        <p:cTn id="52" dur="500" spd="-100000" fill="hold"/>
                                        <p:tgtEl>
                                          <p:spTgt spid="30"/>
                                        </p:tgtEl>
                                        <p:attrNameLst>
                                          <p:attrName>ppt_x</p:attrName>
                                          <p:attrName>ppt_y</p:attrName>
                                        </p:attrNameLst>
                                      </p:cBhvr>
                                      <p:rCtr x="0" y="1273"/>
                                    </p:animMotion>
                                  </p:childTnLst>
                                </p:cTn>
                              </p:par>
                              <p:par>
                                <p:cTn id="53" presetID="10" presetClass="entr" presetSubtype="0" fill="hold" nodeType="withEffect">
                                  <p:stCondLst>
                                    <p:cond delay="0"/>
                                  </p:stCondLst>
                                  <p:childTnLst>
                                    <p:set>
                                      <p:cBhvr>
                                        <p:cTn id="54" dur="1" fill="hold">
                                          <p:stCondLst>
                                            <p:cond delay="0"/>
                                          </p:stCondLst>
                                        </p:cTn>
                                        <p:tgtEl>
                                          <p:spTgt spid="495"/>
                                        </p:tgtEl>
                                        <p:attrNameLst>
                                          <p:attrName>style.visibility</p:attrName>
                                        </p:attrNameLst>
                                      </p:cBhvr>
                                      <p:to>
                                        <p:strVal val="visible"/>
                                      </p:to>
                                    </p:set>
                                    <p:animEffect transition="in" filter="fade">
                                      <p:cBhvr>
                                        <p:cTn id="55" dur="500"/>
                                        <p:tgtEl>
                                          <p:spTgt spid="495"/>
                                        </p:tgtEl>
                                      </p:cBhvr>
                                    </p:animEffect>
                                  </p:childTnLst>
                                </p:cTn>
                              </p:par>
                              <p:par>
                                <p:cTn id="56" presetID="42" presetClass="path" presetSubtype="0" decel="100000" fill="hold" nodeType="withEffect">
                                  <p:stCondLst>
                                    <p:cond delay="0"/>
                                  </p:stCondLst>
                                  <p:childTnLst>
                                    <p:animMotion origin="layout" path="M 1.25E-6 -3.7037E-6 L 1.25E-6 0.0257 " pathEditMode="relative" rAng="0" ptsTypes="AA">
                                      <p:cBhvr>
                                        <p:cTn id="57" dur="500" spd="-100000" fill="hold"/>
                                        <p:tgtEl>
                                          <p:spTgt spid="495"/>
                                        </p:tgtEl>
                                        <p:attrNameLst>
                                          <p:attrName>ppt_x</p:attrName>
                                          <p:attrName>ppt_y</p:attrName>
                                        </p:attrNameLst>
                                      </p:cBhvr>
                                      <p:rCtr x="0" y="1273"/>
                                    </p:animMotion>
                                  </p:childTnLst>
                                </p:cTn>
                              </p:par>
                              <p:par>
                                <p:cTn id="58" presetID="10" presetClass="entr" presetSubtype="0" fill="hold" nodeType="withEffect">
                                  <p:stCondLst>
                                    <p:cond delay="20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500"/>
                                        <p:tgtEl>
                                          <p:spTgt spid="26"/>
                                        </p:tgtEl>
                                      </p:cBhvr>
                                    </p:animEffect>
                                  </p:childTnLst>
                                </p:cTn>
                              </p:par>
                              <p:par>
                                <p:cTn id="61" presetID="42" presetClass="path" presetSubtype="0" decel="100000" fill="hold" nodeType="withEffect">
                                  <p:stCondLst>
                                    <p:cond delay="200"/>
                                  </p:stCondLst>
                                  <p:childTnLst>
                                    <p:animMotion origin="layout" path="M -3.33333E-6 1.85185E-6 L -3.33333E-6 0.02569 " pathEditMode="relative" rAng="0" ptsTypes="AA">
                                      <p:cBhvr>
                                        <p:cTn id="62" dur="500" spd="-100000" fill="hold"/>
                                        <p:tgtEl>
                                          <p:spTgt spid="26"/>
                                        </p:tgtEl>
                                        <p:attrNameLst>
                                          <p:attrName>ppt_x</p:attrName>
                                          <p:attrName>ppt_y</p:attrName>
                                        </p:attrNameLst>
                                      </p:cBhvr>
                                      <p:rCtr x="0" y="1273"/>
                                    </p:animMotion>
                                  </p:childTnLst>
                                </p:cTn>
                              </p:par>
                              <p:par>
                                <p:cTn id="63" presetID="10" presetClass="entr" presetSubtype="0" fill="hold" nodeType="withEffect">
                                  <p:stCondLst>
                                    <p:cond delay="200"/>
                                  </p:stCondLst>
                                  <p:childTnLst>
                                    <p:set>
                                      <p:cBhvr>
                                        <p:cTn id="64" dur="1" fill="hold">
                                          <p:stCondLst>
                                            <p:cond delay="0"/>
                                          </p:stCondLst>
                                        </p:cTn>
                                        <p:tgtEl>
                                          <p:spTgt spid="5"/>
                                        </p:tgtEl>
                                        <p:attrNameLst>
                                          <p:attrName>style.visibility</p:attrName>
                                        </p:attrNameLst>
                                      </p:cBhvr>
                                      <p:to>
                                        <p:strVal val="visible"/>
                                      </p:to>
                                    </p:set>
                                    <p:animEffect transition="in" filter="fade">
                                      <p:cBhvr>
                                        <p:cTn id="65" dur="500"/>
                                        <p:tgtEl>
                                          <p:spTgt spid="5"/>
                                        </p:tgtEl>
                                      </p:cBhvr>
                                    </p:animEffect>
                                  </p:childTnLst>
                                </p:cTn>
                              </p:par>
                              <p:par>
                                <p:cTn id="66" presetID="42" presetClass="path" presetSubtype="0" decel="100000" fill="hold" nodeType="withEffect">
                                  <p:stCondLst>
                                    <p:cond delay="200"/>
                                  </p:stCondLst>
                                  <p:childTnLst>
                                    <p:animMotion origin="layout" path="M 4.375E-6 1.48148E-6 L 4.375E-6 0.02569 " pathEditMode="relative" rAng="0" ptsTypes="AA">
                                      <p:cBhvr>
                                        <p:cTn id="67" dur="500" spd="-100000" fill="hold"/>
                                        <p:tgtEl>
                                          <p:spTgt spid="5"/>
                                        </p:tgtEl>
                                        <p:attrNameLst>
                                          <p:attrName>ppt_x</p:attrName>
                                          <p:attrName>ppt_y</p:attrName>
                                        </p:attrNameLst>
                                      </p:cBhvr>
                                      <p:rCtr x="0" y="1273"/>
                                    </p:animMotion>
                                  </p:childTnLst>
                                </p:cTn>
                              </p:par>
                              <p:par>
                                <p:cTn id="68" presetID="10" presetClass="entr" presetSubtype="0" fill="hold" nodeType="withEffect">
                                  <p:stCondLst>
                                    <p:cond delay="300"/>
                                  </p:stCondLst>
                                  <p:childTnLst>
                                    <p:set>
                                      <p:cBhvr>
                                        <p:cTn id="69" dur="1" fill="hold">
                                          <p:stCondLst>
                                            <p:cond delay="0"/>
                                          </p:stCondLst>
                                        </p:cTn>
                                        <p:tgtEl>
                                          <p:spTgt spid="15"/>
                                        </p:tgtEl>
                                        <p:attrNameLst>
                                          <p:attrName>style.visibility</p:attrName>
                                        </p:attrNameLst>
                                      </p:cBhvr>
                                      <p:to>
                                        <p:strVal val="visible"/>
                                      </p:to>
                                    </p:set>
                                    <p:animEffect transition="in" filter="fade">
                                      <p:cBhvr>
                                        <p:cTn id="70" dur="500"/>
                                        <p:tgtEl>
                                          <p:spTgt spid="15"/>
                                        </p:tgtEl>
                                      </p:cBhvr>
                                    </p:animEffect>
                                  </p:childTnLst>
                                </p:cTn>
                              </p:par>
                              <p:par>
                                <p:cTn id="71" presetID="42" presetClass="path" presetSubtype="0" decel="100000" fill="hold" nodeType="withEffect">
                                  <p:stCondLst>
                                    <p:cond delay="300"/>
                                  </p:stCondLst>
                                  <p:childTnLst>
                                    <p:animMotion origin="layout" path="M -4.16667E-6 -2.59259E-6 L -4.16667E-6 0.0257 " pathEditMode="relative" rAng="0" ptsTypes="AA">
                                      <p:cBhvr>
                                        <p:cTn id="72" dur="500" spd="-100000" fill="hold"/>
                                        <p:tgtEl>
                                          <p:spTgt spid="15"/>
                                        </p:tgtEl>
                                        <p:attrNameLst>
                                          <p:attrName>ppt_x</p:attrName>
                                          <p:attrName>ppt_y</p:attrName>
                                        </p:attrNameLst>
                                      </p:cBhvr>
                                      <p:rCtr x="0" y="1273"/>
                                    </p:animMotion>
                                  </p:childTnLst>
                                </p:cTn>
                              </p:par>
                              <p:par>
                                <p:cTn id="73" presetID="10" presetClass="entr" presetSubtype="0" fill="hold" nodeType="withEffect">
                                  <p:stCondLst>
                                    <p:cond delay="300"/>
                                  </p:stCondLst>
                                  <p:childTnLst>
                                    <p:set>
                                      <p:cBhvr>
                                        <p:cTn id="74" dur="1" fill="hold">
                                          <p:stCondLst>
                                            <p:cond delay="0"/>
                                          </p:stCondLst>
                                        </p:cTn>
                                        <p:tgtEl>
                                          <p:spTgt spid="492"/>
                                        </p:tgtEl>
                                        <p:attrNameLst>
                                          <p:attrName>style.visibility</p:attrName>
                                        </p:attrNameLst>
                                      </p:cBhvr>
                                      <p:to>
                                        <p:strVal val="visible"/>
                                      </p:to>
                                    </p:set>
                                    <p:animEffect transition="in" filter="fade">
                                      <p:cBhvr>
                                        <p:cTn id="75" dur="500"/>
                                        <p:tgtEl>
                                          <p:spTgt spid="492"/>
                                        </p:tgtEl>
                                      </p:cBhvr>
                                    </p:animEffect>
                                  </p:childTnLst>
                                </p:cTn>
                              </p:par>
                              <p:par>
                                <p:cTn id="76" presetID="42" presetClass="path" presetSubtype="0" decel="100000" fill="hold" nodeType="withEffect">
                                  <p:stCondLst>
                                    <p:cond delay="300"/>
                                  </p:stCondLst>
                                  <p:childTnLst>
                                    <p:animMotion origin="layout" path="M -2.5E-6 -3.33333E-6 L -2.5E-6 0.0257 " pathEditMode="relative" rAng="0" ptsTypes="AA">
                                      <p:cBhvr>
                                        <p:cTn id="77" dur="500" spd="-100000" fill="hold"/>
                                        <p:tgtEl>
                                          <p:spTgt spid="492"/>
                                        </p:tgtEl>
                                        <p:attrNameLst>
                                          <p:attrName>ppt_x</p:attrName>
                                          <p:attrName>ppt_y</p:attrName>
                                        </p:attrNameLst>
                                      </p:cBhvr>
                                      <p:rCtr x="0" y="1273"/>
                                    </p:animMotion>
                                  </p:childTnLst>
                                </p:cTn>
                              </p:par>
                              <p:par>
                                <p:cTn id="78" presetID="10" presetClass="entr" presetSubtype="0" fill="hold" nodeType="withEffect">
                                  <p:stCondLst>
                                    <p:cond delay="400"/>
                                  </p:stCondLst>
                                  <p:childTnLst>
                                    <p:set>
                                      <p:cBhvr>
                                        <p:cTn id="79" dur="1" fill="hold">
                                          <p:stCondLst>
                                            <p:cond delay="0"/>
                                          </p:stCondLst>
                                        </p:cTn>
                                        <p:tgtEl>
                                          <p:spTgt spid="28"/>
                                        </p:tgtEl>
                                        <p:attrNameLst>
                                          <p:attrName>style.visibility</p:attrName>
                                        </p:attrNameLst>
                                      </p:cBhvr>
                                      <p:to>
                                        <p:strVal val="visible"/>
                                      </p:to>
                                    </p:set>
                                    <p:animEffect transition="in" filter="fade">
                                      <p:cBhvr>
                                        <p:cTn id="80" dur="500"/>
                                        <p:tgtEl>
                                          <p:spTgt spid="28"/>
                                        </p:tgtEl>
                                      </p:cBhvr>
                                    </p:animEffect>
                                  </p:childTnLst>
                                </p:cTn>
                              </p:par>
                              <p:par>
                                <p:cTn id="81" presetID="42" presetClass="path" presetSubtype="0" decel="100000" fill="hold" nodeType="withEffect">
                                  <p:stCondLst>
                                    <p:cond delay="400"/>
                                  </p:stCondLst>
                                  <p:childTnLst>
                                    <p:animMotion origin="layout" path="M 0 0 L 0 0.02569 " pathEditMode="relative" rAng="0" ptsTypes="AA">
                                      <p:cBhvr>
                                        <p:cTn id="82" dur="500" spd="-100000" fill="hold"/>
                                        <p:tgtEl>
                                          <p:spTgt spid="28"/>
                                        </p:tgtEl>
                                        <p:attrNameLst>
                                          <p:attrName>ppt_x</p:attrName>
                                          <p:attrName>ppt_y</p:attrName>
                                        </p:attrNameLst>
                                      </p:cBhvr>
                                      <p:rCtr x="0" y="1273"/>
                                    </p:animMotion>
                                  </p:childTnLst>
                                </p:cTn>
                              </p:par>
                              <p:par>
                                <p:cTn id="83" presetID="10" presetClass="entr" presetSubtype="0" fill="hold" nodeType="withEffect">
                                  <p:stCondLst>
                                    <p:cond delay="500"/>
                                  </p:stCondLst>
                                  <p:childTnLst>
                                    <p:set>
                                      <p:cBhvr>
                                        <p:cTn id="84" dur="1" fill="hold">
                                          <p:stCondLst>
                                            <p:cond delay="0"/>
                                          </p:stCondLst>
                                        </p:cTn>
                                        <p:tgtEl>
                                          <p:spTgt spid="34"/>
                                        </p:tgtEl>
                                        <p:attrNameLst>
                                          <p:attrName>style.visibility</p:attrName>
                                        </p:attrNameLst>
                                      </p:cBhvr>
                                      <p:to>
                                        <p:strVal val="visible"/>
                                      </p:to>
                                    </p:set>
                                    <p:animEffect transition="in" filter="fade">
                                      <p:cBhvr>
                                        <p:cTn id="85" dur="500"/>
                                        <p:tgtEl>
                                          <p:spTgt spid="34"/>
                                        </p:tgtEl>
                                      </p:cBhvr>
                                    </p:animEffect>
                                  </p:childTnLst>
                                </p:cTn>
                              </p:par>
                              <p:par>
                                <p:cTn id="86" presetID="42" presetClass="path" presetSubtype="0" decel="100000" fill="hold" nodeType="withEffect">
                                  <p:stCondLst>
                                    <p:cond delay="500"/>
                                  </p:stCondLst>
                                  <p:childTnLst>
                                    <p:animMotion origin="layout" path="M 0 0 L 0 0.02569 " pathEditMode="relative" rAng="0" ptsTypes="AA">
                                      <p:cBhvr>
                                        <p:cTn id="87" dur="500" spd="-100000" fill="hold"/>
                                        <p:tgtEl>
                                          <p:spTgt spid="34"/>
                                        </p:tgtEl>
                                        <p:attrNameLst>
                                          <p:attrName>ppt_x</p:attrName>
                                          <p:attrName>ppt_y</p:attrName>
                                        </p:attrNameLst>
                                      </p:cBhvr>
                                      <p:rCtr x="0" y="1273"/>
                                    </p:animMotion>
                                  </p:childTnLst>
                                </p:cTn>
                              </p:par>
                              <p:par>
                                <p:cTn id="88" presetID="10" presetClass="entr" presetSubtype="0" fill="hold" nodeType="withEffect">
                                  <p:stCondLst>
                                    <p:cond delay="500"/>
                                  </p:stCondLst>
                                  <p:childTnLst>
                                    <p:set>
                                      <p:cBhvr>
                                        <p:cTn id="89" dur="1" fill="hold">
                                          <p:stCondLst>
                                            <p:cond delay="0"/>
                                          </p:stCondLst>
                                        </p:cTn>
                                        <p:tgtEl>
                                          <p:spTgt spid="6"/>
                                        </p:tgtEl>
                                        <p:attrNameLst>
                                          <p:attrName>style.visibility</p:attrName>
                                        </p:attrNameLst>
                                      </p:cBhvr>
                                      <p:to>
                                        <p:strVal val="visible"/>
                                      </p:to>
                                    </p:set>
                                    <p:animEffect transition="in" filter="fade">
                                      <p:cBhvr>
                                        <p:cTn id="90" dur="500"/>
                                        <p:tgtEl>
                                          <p:spTgt spid="6"/>
                                        </p:tgtEl>
                                      </p:cBhvr>
                                    </p:animEffect>
                                  </p:childTnLst>
                                </p:cTn>
                              </p:par>
                              <p:par>
                                <p:cTn id="91" presetID="42" presetClass="path" presetSubtype="0" decel="100000" fill="hold" nodeType="withEffect">
                                  <p:stCondLst>
                                    <p:cond delay="500"/>
                                  </p:stCondLst>
                                  <p:childTnLst>
                                    <p:animMotion origin="layout" path="M 3.75E-6 -2.59259E-6 L 3.75E-6 0.0257 " pathEditMode="relative" rAng="0" ptsTypes="AA">
                                      <p:cBhvr>
                                        <p:cTn id="92" dur="500" spd="-100000" fill="hold"/>
                                        <p:tgtEl>
                                          <p:spTgt spid="6"/>
                                        </p:tgtEl>
                                        <p:attrNameLst>
                                          <p:attrName>ppt_x</p:attrName>
                                          <p:attrName>ppt_y</p:attrName>
                                        </p:attrNameLst>
                                      </p:cBhvr>
                                      <p:rCtr x="0" y="1273"/>
                                    </p:animMotion>
                                  </p:childTnLst>
                                </p:cTn>
                              </p:par>
                              <p:par>
                                <p:cTn id="93" presetID="10" presetClass="entr" presetSubtype="0" fill="hold" nodeType="withEffect">
                                  <p:stCondLst>
                                    <p:cond delay="600"/>
                                  </p:stCondLst>
                                  <p:childTnLst>
                                    <p:set>
                                      <p:cBhvr>
                                        <p:cTn id="94" dur="1" fill="hold">
                                          <p:stCondLst>
                                            <p:cond delay="0"/>
                                          </p:stCondLst>
                                        </p:cTn>
                                        <p:tgtEl>
                                          <p:spTgt spid="21"/>
                                        </p:tgtEl>
                                        <p:attrNameLst>
                                          <p:attrName>style.visibility</p:attrName>
                                        </p:attrNameLst>
                                      </p:cBhvr>
                                      <p:to>
                                        <p:strVal val="visible"/>
                                      </p:to>
                                    </p:set>
                                    <p:animEffect transition="in" filter="fade">
                                      <p:cBhvr>
                                        <p:cTn id="95" dur="500"/>
                                        <p:tgtEl>
                                          <p:spTgt spid="21"/>
                                        </p:tgtEl>
                                      </p:cBhvr>
                                    </p:animEffect>
                                  </p:childTnLst>
                                </p:cTn>
                              </p:par>
                              <p:par>
                                <p:cTn id="96" presetID="42" presetClass="path" presetSubtype="0" decel="100000" fill="hold" nodeType="withEffect">
                                  <p:stCondLst>
                                    <p:cond delay="600"/>
                                  </p:stCondLst>
                                  <p:childTnLst>
                                    <p:animMotion origin="layout" path="M 3.125E-6 -7.40741E-7 L 3.125E-6 0.0257 " pathEditMode="relative" rAng="0" ptsTypes="AA">
                                      <p:cBhvr>
                                        <p:cTn id="97" dur="500" spd="-100000" fill="hold"/>
                                        <p:tgtEl>
                                          <p:spTgt spid="21"/>
                                        </p:tgtEl>
                                        <p:attrNameLst>
                                          <p:attrName>ppt_x</p:attrName>
                                          <p:attrName>ppt_y</p:attrName>
                                        </p:attrNameLst>
                                      </p:cBhvr>
                                      <p:rCtr x="0" y="1273"/>
                                    </p:animMotion>
                                  </p:childTnLst>
                                </p:cTn>
                              </p:par>
                              <p:par>
                                <p:cTn id="98" presetID="10" presetClass="entr" presetSubtype="0" fill="hold" nodeType="withEffect">
                                  <p:stCondLst>
                                    <p:cond delay="600"/>
                                  </p:stCondLst>
                                  <p:childTnLst>
                                    <p:set>
                                      <p:cBhvr>
                                        <p:cTn id="99" dur="1" fill="hold">
                                          <p:stCondLst>
                                            <p:cond delay="0"/>
                                          </p:stCondLst>
                                        </p:cTn>
                                        <p:tgtEl>
                                          <p:spTgt spid="497"/>
                                        </p:tgtEl>
                                        <p:attrNameLst>
                                          <p:attrName>style.visibility</p:attrName>
                                        </p:attrNameLst>
                                      </p:cBhvr>
                                      <p:to>
                                        <p:strVal val="visible"/>
                                      </p:to>
                                    </p:set>
                                    <p:animEffect transition="in" filter="fade">
                                      <p:cBhvr>
                                        <p:cTn id="100" dur="500"/>
                                        <p:tgtEl>
                                          <p:spTgt spid="497"/>
                                        </p:tgtEl>
                                      </p:cBhvr>
                                    </p:animEffect>
                                  </p:childTnLst>
                                </p:cTn>
                              </p:par>
                              <p:par>
                                <p:cTn id="101" presetID="42" presetClass="path" presetSubtype="0" decel="100000" fill="hold" nodeType="withEffect">
                                  <p:stCondLst>
                                    <p:cond delay="600"/>
                                  </p:stCondLst>
                                  <p:childTnLst>
                                    <p:animMotion origin="layout" path="M 3.54167E-6 1.11111E-6 L 3.54167E-6 0.02569 " pathEditMode="relative" rAng="0" ptsTypes="AA">
                                      <p:cBhvr>
                                        <p:cTn id="102" dur="500" spd="-100000" fill="hold"/>
                                        <p:tgtEl>
                                          <p:spTgt spid="497"/>
                                        </p:tgtEl>
                                        <p:attrNameLst>
                                          <p:attrName>ppt_x</p:attrName>
                                          <p:attrName>ppt_y</p:attrName>
                                        </p:attrNameLst>
                                      </p:cBhvr>
                                      <p:rCtr x="0" y="1273"/>
                                    </p:animMotion>
                                  </p:childTnLst>
                                </p:cTn>
                              </p:par>
                              <p:par>
                                <p:cTn id="103" presetID="10" presetClass="entr" presetSubtype="0" fill="hold" grpId="0" nodeType="withEffect">
                                  <p:stCondLst>
                                    <p:cond delay="800"/>
                                  </p:stCondLst>
                                  <p:childTnLst>
                                    <p:set>
                                      <p:cBhvr>
                                        <p:cTn id="104" dur="1" fill="hold">
                                          <p:stCondLst>
                                            <p:cond delay="0"/>
                                          </p:stCondLst>
                                        </p:cTn>
                                        <p:tgtEl>
                                          <p:spTgt spid="445"/>
                                        </p:tgtEl>
                                        <p:attrNameLst>
                                          <p:attrName>style.visibility</p:attrName>
                                        </p:attrNameLst>
                                      </p:cBhvr>
                                      <p:to>
                                        <p:strVal val="visible"/>
                                      </p:to>
                                    </p:set>
                                    <p:animEffect transition="in" filter="fade">
                                      <p:cBhvr>
                                        <p:cTn id="105" dur="500"/>
                                        <p:tgtEl>
                                          <p:spTgt spid="445"/>
                                        </p:tgtEl>
                                      </p:cBhvr>
                                    </p:animEffect>
                                  </p:childTnLst>
                                </p:cTn>
                              </p:par>
                              <p:par>
                                <p:cTn id="106" presetID="42" presetClass="path" presetSubtype="0" decel="100000" fill="hold" grpId="1" nodeType="withEffect">
                                  <p:stCondLst>
                                    <p:cond delay="800"/>
                                  </p:stCondLst>
                                  <p:childTnLst>
                                    <p:animMotion origin="layout" path="M -2.5E-6 -3.7037E-7 L -2.5E-6 0.02569 " pathEditMode="relative" rAng="0" ptsTypes="AA">
                                      <p:cBhvr>
                                        <p:cTn id="107" dur="500" spd="-100000" fill="hold"/>
                                        <p:tgtEl>
                                          <p:spTgt spid="445"/>
                                        </p:tgtEl>
                                        <p:attrNameLst>
                                          <p:attrName>ppt_x</p:attrName>
                                          <p:attrName>ppt_y</p:attrName>
                                        </p:attrNameLst>
                                      </p:cBhvr>
                                      <p:rCtr x="0" y="1273"/>
                                    </p:animMotion>
                                  </p:childTnLst>
                                </p:cTn>
                              </p:par>
                              <p:par>
                                <p:cTn id="108" presetID="10" presetClass="entr" presetSubtype="0" fill="hold" nodeType="withEffect">
                                  <p:stCondLst>
                                    <p:cond delay="400"/>
                                  </p:stCondLst>
                                  <p:childTnLst>
                                    <p:set>
                                      <p:cBhvr>
                                        <p:cTn id="109" dur="1" fill="hold">
                                          <p:stCondLst>
                                            <p:cond delay="0"/>
                                          </p:stCondLst>
                                        </p:cTn>
                                        <p:tgtEl>
                                          <p:spTgt spid="67"/>
                                        </p:tgtEl>
                                        <p:attrNameLst>
                                          <p:attrName>style.visibility</p:attrName>
                                        </p:attrNameLst>
                                      </p:cBhvr>
                                      <p:to>
                                        <p:strVal val="visible"/>
                                      </p:to>
                                    </p:set>
                                    <p:animEffect transition="in" filter="fade">
                                      <p:cBhvr>
                                        <p:cTn id="110" dur="500"/>
                                        <p:tgtEl>
                                          <p:spTgt spid="67"/>
                                        </p:tgtEl>
                                      </p:cBhvr>
                                    </p:animEffect>
                                  </p:childTnLst>
                                </p:cTn>
                              </p:par>
                              <p:par>
                                <p:cTn id="111" presetID="42" presetClass="path" presetSubtype="0" decel="100000" fill="hold" nodeType="withEffect">
                                  <p:stCondLst>
                                    <p:cond delay="400"/>
                                  </p:stCondLst>
                                  <p:childTnLst>
                                    <p:animMotion origin="layout" path="M 4.375E-6 2.59259E-6 L 4.375E-6 0.02569 " pathEditMode="relative" rAng="0" ptsTypes="AA">
                                      <p:cBhvr>
                                        <p:cTn id="112" dur="500" spd="-100000" fill="hold"/>
                                        <p:tgtEl>
                                          <p:spTgt spid="67"/>
                                        </p:tgtEl>
                                        <p:attrNameLst>
                                          <p:attrName>ppt_x</p:attrName>
                                          <p:attrName>ppt_y</p:attrName>
                                        </p:attrNameLst>
                                      </p:cBhvr>
                                      <p:rCtr x="0" y="1273"/>
                                    </p:animMotion>
                                  </p:childTnLst>
                                </p:cTn>
                              </p:par>
                              <p:par>
                                <p:cTn id="113" presetID="1" presetClass="emph" presetSubtype="2" decel="100000" fill="hold" nodeType="withEffect">
                                  <p:stCondLst>
                                    <p:cond delay="0"/>
                                  </p:stCondLst>
                                  <p:childTnLst>
                                    <p:animClr clrSpc="rgb" dir="cw">
                                      <p:cBhvr>
                                        <p:cTn id="114" dur="500" fill="hold"/>
                                        <p:tgtEl>
                                          <p:spTgt spid="611"/>
                                        </p:tgtEl>
                                        <p:attrNameLst>
                                          <p:attrName>fillcolor</p:attrName>
                                        </p:attrNameLst>
                                      </p:cBhvr>
                                      <p:to>
                                        <a:srgbClr val="E1E1E1"/>
                                      </p:to>
                                    </p:animClr>
                                    <p:set>
                                      <p:cBhvr>
                                        <p:cTn id="115" dur="500" fill="hold"/>
                                        <p:tgtEl>
                                          <p:spTgt spid="611"/>
                                        </p:tgtEl>
                                        <p:attrNameLst>
                                          <p:attrName>fill.type</p:attrName>
                                        </p:attrNameLst>
                                      </p:cBhvr>
                                      <p:to>
                                        <p:strVal val="solid"/>
                                      </p:to>
                                    </p:set>
                                    <p:set>
                                      <p:cBhvr>
                                        <p:cTn id="116" dur="500" fill="hold"/>
                                        <p:tgtEl>
                                          <p:spTgt spid="611"/>
                                        </p:tgtEl>
                                        <p:attrNameLst>
                                          <p:attrName>fill.on</p:attrName>
                                        </p:attrNameLst>
                                      </p:cBhvr>
                                      <p:to>
                                        <p:strVal val="true"/>
                                      </p:to>
                                    </p:set>
                                  </p:childTnLst>
                                </p:cTn>
                              </p:par>
                              <p:par>
                                <p:cTn id="117" presetID="1" presetClass="emph" presetSubtype="2" decel="100000" fill="hold" nodeType="withEffect">
                                  <p:stCondLst>
                                    <p:cond delay="0"/>
                                  </p:stCondLst>
                                  <p:childTnLst>
                                    <p:animClr clrSpc="rgb" dir="cw">
                                      <p:cBhvr>
                                        <p:cTn id="118" dur="500" fill="hold"/>
                                        <p:tgtEl>
                                          <p:spTgt spid="573"/>
                                        </p:tgtEl>
                                        <p:attrNameLst>
                                          <p:attrName>fillcolor</p:attrName>
                                        </p:attrNameLst>
                                      </p:cBhvr>
                                      <p:to>
                                        <a:srgbClr val="E1E1E1"/>
                                      </p:to>
                                    </p:animClr>
                                    <p:set>
                                      <p:cBhvr>
                                        <p:cTn id="119" dur="500" fill="hold"/>
                                        <p:tgtEl>
                                          <p:spTgt spid="573"/>
                                        </p:tgtEl>
                                        <p:attrNameLst>
                                          <p:attrName>fill.type</p:attrName>
                                        </p:attrNameLst>
                                      </p:cBhvr>
                                      <p:to>
                                        <p:strVal val="solid"/>
                                      </p:to>
                                    </p:set>
                                    <p:set>
                                      <p:cBhvr>
                                        <p:cTn id="120" dur="500" fill="hold"/>
                                        <p:tgtEl>
                                          <p:spTgt spid="573"/>
                                        </p:tgtEl>
                                        <p:attrNameLst>
                                          <p:attrName>fill.on</p:attrName>
                                        </p:attrNameLst>
                                      </p:cBhvr>
                                      <p:to>
                                        <p:strVal val="true"/>
                                      </p:to>
                                    </p:set>
                                  </p:childTnLst>
                                </p:cTn>
                              </p:par>
                              <p:par>
                                <p:cTn id="121" presetID="1" presetClass="emph" presetSubtype="2" decel="100000" fill="hold" nodeType="withEffect">
                                  <p:stCondLst>
                                    <p:cond delay="0"/>
                                  </p:stCondLst>
                                  <p:childTnLst>
                                    <p:animClr clrSpc="rgb" dir="cw">
                                      <p:cBhvr>
                                        <p:cTn id="122" dur="500" fill="hold"/>
                                        <p:tgtEl>
                                          <p:spTgt spid="644"/>
                                        </p:tgtEl>
                                        <p:attrNameLst>
                                          <p:attrName>fillcolor</p:attrName>
                                        </p:attrNameLst>
                                      </p:cBhvr>
                                      <p:to>
                                        <a:srgbClr val="E1E1E1"/>
                                      </p:to>
                                    </p:animClr>
                                    <p:set>
                                      <p:cBhvr>
                                        <p:cTn id="123" dur="500" fill="hold"/>
                                        <p:tgtEl>
                                          <p:spTgt spid="644"/>
                                        </p:tgtEl>
                                        <p:attrNameLst>
                                          <p:attrName>fill.type</p:attrName>
                                        </p:attrNameLst>
                                      </p:cBhvr>
                                      <p:to>
                                        <p:strVal val="solid"/>
                                      </p:to>
                                    </p:set>
                                    <p:set>
                                      <p:cBhvr>
                                        <p:cTn id="124" dur="500" fill="hold"/>
                                        <p:tgtEl>
                                          <p:spTgt spid="644"/>
                                        </p:tgtEl>
                                        <p:attrNameLst>
                                          <p:attrName>fill.on</p:attrName>
                                        </p:attrNameLst>
                                      </p:cBhvr>
                                      <p:to>
                                        <p:strVal val="true"/>
                                      </p:to>
                                    </p:set>
                                  </p:childTnLst>
                                </p:cTn>
                              </p:par>
                              <p:par>
                                <p:cTn id="125" presetID="1" presetClass="emph" presetSubtype="2" decel="100000" fill="hold" nodeType="withEffect">
                                  <p:stCondLst>
                                    <p:cond delay="0"/>
                                  </p:stCondLst>
                                  <p:childTnLst>
                                    <p:animClr clrSpc="rgb" dir="cw">
                                      <p:cBhvr>
                                        <p:cTn id="126" dur="500" fill="hold"/>
                                        <p:tgtEl>
                                          <p:spTgt spid="609"/>
                                        </p:tgtEl>
                                        <p:attrNameLst>
                                          <p:attrName>fillcolor</p:attrName>
                                        </p:attrNameLst>
                                      </p:cBhvr>
                                      <p:to>
                                        <a:srgbClr val="E1E1E1"/>
                                      </p:to>
                                    </p:animClr>
                                    <p:set>
                                      <p:cBhvr>
                                        <p:cTn id="127" dur="500" fill="hold"/>
                                        <p:tgtEl>
                                          <p:spTgt spid="609"/>
                                        </p:tgtEl>
                                        <p:attrNameLst>
                                          <p:attrName>fill.type</p:attrName>
                                        </p:attrNameLst>
                                      </p:cBhvr>
                                      <p:to>
                                        <p:strVal val="solid"/>
                                      </p:to>
                                    </p:set>
                                    <p:set>
                                      <p:cBhvr>
                                        <p:cTn id="128" dur="500" fill="hold"/>
                                        <p:tgtEl>
                                          <p:spTgt spid="609"/>
                                        </p:tgtEl>
                                        <p:attrNameLst>
                                          <p:attrName>fill.on</p:attrName>
                                        </p:attrNameLst>
                                      </p:cBhvr>
                                      <p:to>
                                        <p:strVal val="true"/>
                                      </p:to>
                                    </p:set>
                                  </p:childTnLst>
                                </p:cTn>
                              </p:par>
                              <p:par>
                                <p:cTn id="129" presetID="1" presetClass="emph" presetSubtype="2" decel="100000" fill="hold" nodeType="withEffect">
                                  <p:stCondLst>
                                    <p:cond delay="0"/>
                                  </p:stCondLst>
                                  <p:childTnLst>
                                    <p:animClr clrSpc="rgb" dir="cw">
                                      <p:cBhvr>
                                        <p:cTn id="130" dur="500" fill="hold"/>
                                        <p:tgtEl>
                                          <p:spTgt spid="616"/>
                                        </p:tgtEl>
                                        <p:attrNameLst>
                                          <p:attrName>fillcolor</p:attrName>
                                        </p:attrNameLst>
                                      </p:cBhvr>
                                      <p:to>
                                        <a:srgbClr val="E1E1E1"/>
                                      </p:to>
                                    </p:animClr>
                                    <p:set>
                                      <p:cBhvr>
                                        <p:cTn id="131" dur="500" fill="hold"/>
                                        <p:tgtEl>
                                          <p:spTgt spid="616"/>
                                        </p:tgtEl>
                                        <p:attrNameLst>
                                          <p:attrName>fill.type</p:attrName>
                                        </p:attrNameLst>
                                      </p:cBhvr>
                                      <p:to>
                                        <p:strVal val="solid"/>
                                      </p:to>
                                    </p:set>
                                    <p:set>
                                      <p:cBhvr>
                                        <p:cTn id="132" dur="500" fill="hold"/>
                                        <p:tgtEl>
                                          <p:spTgt spid="616"/>
                                        </p:tgtEl>
                                        <p:attrNameLst>
                                          <p:attrName>fill.on</p:attrName>
                                        </p:attrNameLst>
                                      </p:cBhvr>
                                      <p:to>
                                        <p:strVal val="true"/>
                                      </p:to>
                                    </p:set>
                                  </p:childTnLst>
                                </p:cTn>
                              </p:par>
                              <p:par>
                                <p:cTn id="133" presetID="1" presetClass="emph" presetSubtype="2" decel="100000" fill="hold" nodeType="withEffect">
                                  <p:stCondLst>
                                    <p:cond delay="0"/>
                                  </p:stCondLst>
                                  <p:childTnLst>
                                    <p:animClr clrSpc="rgb" dir="cw">
                                      <p:cBhvr>
                                        <p:cTn id="134" dur="500" fill="hold"/>
                                        <p:tgtEl>
                                          <p:spTgt spid="610"/>
                                        </p:tgtEl>
                                        <p:attrNameLst>
                                          <p:attrName>fillcolor</p:attrName>
                                        </p:attrNameLst>
                                      </p:cBhvr>
                                      <p:to>
                                        <a:srgbClr val="E1E1E1"/>
                                      </p:to>
                                    </p:animClr>
                                    <p:set>
                                      <p:cBhvr>
                                        <p:cTn id="135" dur="500" fill="hold"/>
                                        <p:tgtEl>
                                          <p:spTgt spid="610"/>
                                        </p:tgtEl>
                                        <p:attrNameLst>
                                          <p:attrName>fill.type</p:attrName>
                                        </p:attrNameLst>
                                      </p:cBhvr>
                                      <p:to>
                                        <p:strVal val="solid"/>
                                      </p:to>
                                    </p:set>
                                    <p:set>
                                      <p:cBhvr>
                                        <p:cTn id="136" dur="500" fill="hold"/>
                                        <p:tgtEl>
                                          <p:spTgt spid="610"/>
                                        </p:tgtEl>
                                        <p:attrNameLst>
                                          <p:attrName>fill.on</p:attrName>
                                        </p:attrNameLst>
                                      </p:cBhvr>
                                      <p:to>
                                        <p:strVal val="true"/>
                                      </p:to>
                                    </p:set>
                                  </p:childTnLst>
                                </p:cTn>
                              </p:par>
                              <p:par>
                                <p:cTn id="137" presetID="1" presetClass="emph" presetSubtype="2" decel="100000" fill="hold" nodeType="withEffect">
                                  <p:stCondLst>
                                    <p:cond delay="0"/>
                                  </p:stCondLst>
                                  <p:childTnLst>
                                    <p:animClr clrSpc="rgb" dir="cw">
                                      <p:cBhvr>
                                        <p:cTn id="138" dur="500" fill="hold"/>
                                        <p:tgtEl>
                                          <p:spTgt spid="578"/>
                                        </p:tgtEl>
                                        <p:attrNameLst>
                                          <p:attrName>fillcolor</p:attrName>
                                        </p:attrNameLst>
                                      </p:cBhvr>
                                      <p:to>
                                        <a:srgbClr val="E1E1E1"/>
                                      </p:to>
                                    </p:animClr>
                                    <p:set>
                                      <p:cBhvr>
                                        <p:cTn id="139" dur="500" fill="hold"/>
                                        <p:tgtEl>
                                          <p:spTgt spid="578"/>
                                        </p:tgtEl>
                                        <p:attrNameLst>
                                          <p:attrName>fill.type</p:attrName>
                                        </p:attrNameLst>
                                      </p:cBhvr>
                                      <p:to>
                                        <p:strVal val="solid"/>
                                      </p:to>
                                    </p:set>
                                    <p:set>
                                      <p:cBhvr>
                                        <p:cTn id="140" dur="500" fill="hold"/>
                                        <p:tgtEl>
                                          <p:spTgt spid="578"/>
                                        </p:tgtEl>
                                        <p:attrNameLst>
                                          <p:attrName>fill.on</p:attrName>
                                        </p:attrNameLst>
                                      </p:cBhvr>
                                      <p:to>
                                        <p:strVal val="true"/>
                                      </p:to>
                                    </p:set>
                                  </p:childTnLst>
                                </p:cTn>
                              </p:par>
                              <p:par>
                                <p:cTn id="141" presetID="1" presetClass="emph" presetSubtype="2" decel="100000" fill="hold" nodeType="withEffect">
                                  <p:stCondLst>
                                    <p:cond delay="0"/>
                                  </p:stCondLst>
                                  <p:childTnLst>
                                    <p:animClr clrSpc="rgb" dir="cw">
                                      <p:cBhvr>
                                        <p:cTn id="142" dur="500" fill="hold"/>
                                        <p:tgtEl>
                                          <p:spTgt spid="564"/>
                                        </p:tgtEl>
                                        <p:attrNameLst>
                                          <p:attrName>fillcolor</p:attrName>
                                        </p:attrNameLst>
                                      </p:cBhvr>
                                      <p:to>
                                        <a:srgbClr val="E1E1E1"/>
                                      </p:to>
                                    </p:animClr>
                                    <p:set>
                                      <p:cBhvr>
                                        <p:cTn id="143" dur="500" fill="hold"/>
                                        <p:tgtEl>
                                          <p:spTgt spid="564"/>
                                        </p:tgtEl>
                                        <p:attrNameLst>
                                          <p:attrName>fill.type</p:attrName>
                                        </p:attrNameLst>
                                      </p:cBhvr>
                                      <p:to>
                                        <p:strVal val="solid"/>
                                      </p:to>
                                    </p:set>
                                    <p:set>
                                      <p:cBhvr>
                                        <p:cTn id="144" dur="500" fill="hold"/>
                                        <p:tgtEl>
                                          <p:spTgt spid="564"/>
                                        </p:tgtEl>
                                        <p:attrNameLst>
                                          <p:attrName>fill.on</p:attrName>
                                        </p:attrNameLst>
                                      </p:cBhvr>
                                      <p:to>
                                        <p:strVal val="true"/>
                                      </p:to>
                                    </p:set>
                                  </p:childTnLst>
                                </p:cTn>
                              </p:par>
                              <p:par>
                                <p:cTn id="145" presetID="1" presetClass="emph" presetSubtype="2" decel="100000" fill="hold" nodeType="withEffect">
                                  <p:stCondLst>
                                    <p:cond delay="0"/>
                                  </p:stCondLst>
                                  <p:childTnLst>
                                    <p:animClr clrSpc="rgb" dir="cw">
                                      <p:cBhvr>
                                        <p:cTn id="146" dur="500" fill="hold"/>
                                        <p:tgtEl>
                                          <p:spTgt spid="646"/>
                                        </p:tgtEl>
                                        <p:attrNameLst>
                                          <p:attrName>fillcolor</p:attrName>
                                        </p:attrNameLst>
                                      </p:cBhvr>
                                      <p:to>
                                        <a:srgbClr val="E1E1E1"/>
                                      </p:to>
                                    </p:animClr>
                                    <p:set>
                                      <p:cBhvr>
                                        <p:cTn id="147" dur="500" fill="hold"/>
                                        <p:tgtEl>
                                          <p:spTgt spid="646"/>
                                        </p:tgtEl>
                                        <p:attrNameLst>
                                          <p:attrName>fill.type</p:attrName>
                                        </p:attrNameLst>
                                      </p:cBhvr>
                                      <p:to>
                                        <p:strVal val="solid"/>
                                      </p:to>
                                    </p:set>
                                    <p:set>
                                      <p:cBhvr>
                                        <p:cTn id="148" dur="500" fill="hold"/>
                                        <p:tgtEl>
                                          <p:spTgt spid="646"/>
                                        </p:tgtEl>
                                        <p:attrNameLst>
                                          <p:attrName>fill.on</p:attrName>
                                        </p:attrNameLst>
                                      </p:cBhvr>
                                      <p:to>
                                        <p:strVal val="true"/>
                                      </p:to>
                                    </p:set>
                                  </p:childTnLst>
                                </p:cTn>
                              </p:par>
                              <p:par>
                                <p:cTn id="149" presetID="1" presetClass="emph" presetSubtype="2" decel="100000" fill="hold" nodeType="withEffect">
                                  <p:stCondLst>
                                    <p:cond delay="0"/>
                                  </p:stCondLst>
                                  <p:childTnLst>
                                    <p:animClr clrSpc="rgb" dir="cw">
                                      <p:cBhvr>
                                        <p:cTn id="150" dur="500" fill="hold"/>
                                        <p:tgtEl>
                                          <p:spTgt spid="645"/>
                                        </p:tgtEl>
                                        <p:attrNameLst>
                                          <p:attrName>fillcolor</p:attrName>
                                        </p:attrNameLst>
                                      </p:cBhvr>
                                      <p:to>
                                        <a:srgbClr val="E1E1E1"/>
                                      </p:to>
                                    </p:animClr>
                                    <p:set>
                                      <p:cBhvr>
                                        <p:cTn id="151" dur="500" fill="hold"/>
                                        <p:tgtEl>
                                          <p:spTgt spid="645"/>
                                        </p:tgtEl>
                                        <p:attrNameLst>
                                          <p:attrName>fill.type</p:attrName>
                                        </p:attrNameLst>
                                      </p:cBhvr>
                                      <p:to>
                                        <p:strVal val="solid"/>
                                      </p:to>
                                    </p:set>
                                    <p:set>
                                      <p:cBhvr>
                                        <p:cTn id="152" dur="500" fill="hold"/>
                                        <p:tgtEl>
                                          <p:spTgt spid="645"/>
                                        </p:tgtEl>
                                        <p:attrNameLst>
                                          <p:attrName>fill.on</p:attrName>
                                        </p:attrNameLst>
                                      </p:cBhvr>
                                      <p:to>
                                        <p:strVal val="true"/>
                                      </p:to>
                                    </p:set>
                                  </p:childTnLst>
                                </p:cTn>
                              </p:par>
                              <p:par>
                                <p:cTn id="153" presetID="1" presetClass="emph" presetSubtype="2" decel="100000" fill="hold" nodeType="withEffect">
                                  <p:stCondLst>
                                    <p:cond delay="0"/>
                                  </p:stCondLst>
                                  <p:childTnLst>
                                    <p:animClr clrSpc="rgb" dir="cw">
                                      <p:cBhvr>
                                        <p:cTn id="154" dur="500" fill="hold"/>
                                        <p:tgtEl>
                                          <p:spTgt spid="602"/>
                                        </p:tgtEl>
                                        <p:attrNameLst>
                                          <p:attrName>fillcolor</p:attrName>
                                        </p:attrNameLst>
                                      </p:cBhvr>
                                      <p:to>
                                        <a:srgbClr val="E1E1E1"/>
                                      </p:to>
                                    </p:animClr>
                                    <p:set>
                                      <p:cBhvr>
                                        <p:cTn id="155" dur="500" fill="hold"/>
                                        <p:tgtEl>
                                          <p:spTgt spid="602"/>
                                        </p:tgtEl>
                                        <p:attrNameLst>
                                          <p:attrName>fill.type</p:attrName>
                                        </p:attrNameLst>
                                      </p:cBhvr>
                                      <p:to>
                                        <p:strVal val="solid"/>
                                      </p:to>
                                    </p:set>
                                    <p:set>
                                      <p:cBhvr>
                                        <p:cTn id="156" dur="500" fill="hold"/>
                                        <p:tgtEl>
                                          <p:spTgt spid="602"/>
                                        </p:tgtEl>
                                        <p:attrNameLst>
                                          <p:attrName>fill.on</p:attrName>
                                        </p:attrNameLst>
                                      </p:cBhvr>
                                      <p:to>
                                        <p:strVal val="true"/>
                                      </p:to>
                                    </p:set>
                                  </p:childTnLst>
                                </p:cTn>
                              </p:par>
                              <p:par>
                                <p:cTn id="157" presetID="1" presetClass="emph" presetSubtype="2" decel="100000" fill="hold" nodeType="withEffect">
                                  <p:stCondLst>
                                    <p:cond delay="0"/>
                                  </p:stCondLst>
                                  <p:childTnLst>
                                    <p:animClr clrSpc="rgb" dir="cw">
                                      <p:cBhvr>
                                        <p:cTn id="158" dur="500" fill="hold"/>
                                        <p:tgtEl>
                                          <p:spTgt spid="647"/>
                                        </p:tgtEl>
                                        <p:attrNameLst>
                                          <p:attrName>fillcolor</p:attrName>
                                        </p:attrNameLst>
                                      </p:cBhvr>
                                      <p:to>
                                        <a:srgbClr val="E1E1E1"/>
                                      </p:to>
                                    </p:animClr>
                                    <p:set>
                                      <p:cBhvr>
                                        <p:cTn id="159" dur="500" fill="hold"/>
                                        <p:tgtEl>
                                          <p:spTgt spid="647"/>
                                        </p:tgtEl>
                                        <p:attrNameLst>
                                          <p:attrName>fill.type</p:attrName>
                                        </p:attrNameLst>
                                      </p:cBhvr>
                                      <p:to>
                                        <p:strVal val="solid"/>
                                      </p:to>
                                    </p:set>
                                    <p:set>
                                      <p:cBhvr>
                                        <p:cTn id="160" dur="500" fill="hold"/>
                                        <p:tgtEl>
                                          <p:spTgt spid="647"/>
                                        </p:tgtEl>
                                        <p:attrNameLst>
                                          <p:attrName>fill.on</p:attrName>
                                        </p:attrNameLst>
                                      </p:cBhvr>
                                      <p:to>
                                        <p:strVal val="true"/>
                                      </p:to>
                                    </p:set>
                                  </p:childTnLst>
                                </p:cTn>
                              </p:par>
                              <p:par>
                                <p:cTn id="161" presetID="1" presetClass="emph" presetSubtype="2" decel="100000" fill="hold" nodeType="withEffect">
                                  <p:stCondLst>
                                    <p:cond delay="0"/>
                                  </p:stCondLst>
                                  <p:childTnLst>
                                    <p:animClr clrSpc="rgb" dir="cw">
                                      <p:cBhvr>
                                        <p:cTn id="162" dur="500" fill="hold"/>
                                        <p:tgtEl>
                                          <p:spTgt spid="576"/>
                                        </p:tgtEl>
                                        <p:attrNameLst>
                                          <p:attrName>fillcolor</p:attrName>
                                        </p:attrNameLst>
                                      </p:cBhvr>
                                      <p:to>
                                        <a:srgbClr val="E1E1E1"/>
                                      </p:to>
                                    </p:animClr>
                                    <p:set>
                                      <p:cBhvr>
                                        <p:cTn id="163" dur="500" fill="hold"/>
                                        <p:tgtEl>
                                          <p:spTgt spid="576"/>
                                        </p:tgtEl>
                                        <p:attrNameLst>
                                          <p:attrName>fill.type</p:attrName>
                                        </p:attrNameLst>
                                      </p:cBhvr>
                                      <p:to>
                                        <p:strVal val="solid"/>
                                      </p:to>
                                    </p:set>
                                    <p:set>
                                      <p:cBhvr>
                                        <p:cTn id="164" dur="500" fill="hold"/>
                                        <p:tgtEl>
                                          <p:spTgt spid="576"/>
                                        </p:tgtEl>
                                        <p:attrNameLst>
                                          <p:attrName>fill.on</p:attrName>
                                        </p:attrNameLst>
                                      </p:cBhvr>
                                      <p:to>
                                        <p:strVal val="true"/>
                                      </p:to>
                                    </p:set>
                                  </p:childTnLst>
                                </p:cTn>
                              </p:par>
                              <p:par>
                                <p:cTn id="165" presetID="1" presetClass="emph" presetSubtype="2" decel="100000" fill="hold" nodeType="withEffect">
                                  <p:stCondLst>
                                    <p:cond delay="0"/>
                                  </p:stCondLst>
                                  <p:childTnLst>
                                    <p:animClr clrSpc="rgb" dir="cw">
                                      <p:cBhvr>
                                        <p:cTn id="166" dur="500" fill="hold"/>
                                        <p:tgtEl>
                                          <p:spTgt spid="577"/>
                                        </p:tgtEl>
                                        <p:attrNameLst>
                                          <p:attrName>fillcolor</p:attrName>
                                        </p:attrNameLst>
                                      </p:cBhvr>
                                      <p:to>
                                        <a:srgbClr val="E1E1E1"/>
                                      </p:to>
                                    </p:animClr>
                                    <p:set>
                                      <p:cBhvr>
                                        <p:cTn id="167" dur="500" fill="hold"/>
                                        <p:tgtEl>
                                          <p:spTgt spid="577"/>
                                        </p:tgtEl>
                                        <p:attrNameLst>
                                          <p:attrName>fill.type</p:attrName>
                                        </p:attrNameLst>
                                      </p:cBhvr>
                                      <p:to>
                                        <p:strVal val="solid"/>
                                      </p:to>
                                    </p:set>
                                    <p:set>
                                      <p:cBhvr>
                                        <p:cTn id="168" dur="500" fill="hold"/>
                                        <p:tgtEl>
                                          <p:spTgt spid="577"/>
                                        </p:tgtEl>
                                        <p:attrNameLst>
                                          <p:attrName>fill.on</p:attrName>
                                        </p:attrNameLst>
                                      </p:cBhvr>
                                      <p:to>
                                        <p:strVal val="true"/>
                                      </p:to>
                                    </p:set>
                                  </p:childTnLst>
                                </p:cTn>
                              </p:par>
                              <p:par>
                                <p:cTn id="169" presetID="1" presetClass="emph" presetSubtype="2" decel="100000" fill="hold" nodeType="withEffect">
                                  <p:stCondLst>
                                    <p:cond delay="0"/>
                                  </p:stCondLst>
                                  <p:childTnLst>
                                    <p:animClr clrSpc="rgb" dir="cw">
                                      <p:cBhvr>
                                        <p:cTn id="170" dur="500" fill="hold"/>
                                        <p:tgtEl>
                                          <p:spTgt spid="566"/>
                                        </p:tgtEl>
                                        <p:attrNameLst>
                                          <p:attrName>fillcolor</p:attrName>
                                        </p:attrNameLst>
                                      </p:cBhvr>
                                      <p:to>
                                        <a:srgbClr val="E1E1E1"/>
                                      </p:to>
                                    </p:animClr>
                                    <p:set>
                                      <p:cBhvr>
                                        <p:cTn id="171" dur="500" fill="hold"/>
                                        <p:tgtEl>
                                          <p:spTgt spid="566"/>
                                        </p:tgtEl>
                                        <p:attrNameLst>
                                          <p:attrName>fill.type</p:attrName>
                                        </p:attrNameLst>
                                      </p:cBhvr>
                                      <p:to>
                                        <p:strVal val="solid"/>
                                      </p:to>
                                    </p:set>
                                    <p:set>
                                      <p:cBhvr>
                                        <p:cTn id="172" dur="500" fill="hold"/>
                                        <p:tgtEl>
                                          <p:spTgt spid="566"/>
                                        </p:tgtEl>
                                        <p:attrNameLst>
                                          <p:attrName>fill.on</p:attrName>
                                        </p:attrNameLst>
                                      </p:cBhvr>
                                      <p:to>
                                        <p:strVal val="true"/>
                                      </p:to>
                                    </p:set>
                                  </p:childTnLst>
                                </p:cTn>
                              </p:par>
                              <p:par>
                                <p:cTn id="173" presetID="1" presetClass="emph" presetSubtype="2" decel="100000" fill="hold" nodeType="withEffect">
                                  <p:stCondLst>
                                    <p:cond delay="0"/>
                                  </p:stCondLst>
                                  <p:childTnLst>
                                    <p:animClr clrSpc="rgb" dir="cw">
                                      <p:cBhvr>
                                        <p:cTn id="174" dur="500" fill="hold"/>
                                        <p:tgtEl>
                                          <p:spTgt spid="641"/>
                                        </p:tgtEl>
                                        <p:attrNameLst>
                                          <p:attrName>fillcolor</p:attrName>
                                        </p:attrNameLst>
                                      </p:cBhvr>
                                      <p:to>
                                        <a:srgbClr val="E1E1E1"/>
                                      </p:to>
                                    </p:animClr>
                                    <p:set>
                                      <p:cBhvr>
                                        <p:cTn id="175" dur="500" fill="hold"/>
                                        <p:tgtEl>
                                          <p:spTgt spid="641"/>
                                        </p:tgtEl>
                                        <p:attrNameLst>
                                          <p:attrName>fill.type</p:attrName>
                                        </p:attrNameLst>
                                      </p:cBhvr>
                                      <p:to>
                                        <p:strVal val="solid"/>
                                      </p:to>
                                    </p:set>
                                    <p:set>
                                      <p:cBhvr>
                                        <p:cTn id="176" dur="500" fill="hold"/>
                                        <p:tgtEl>
                                          <p:spTgt spid="641"/>
                                        </p:tgtEl>
                                        <p:attrNameLst>
                                          <p:attrName>fill.on</p:attrName>
                                        </p:attrNameLst>
                                      </p:cBhvr>
                                      <p:to>
                                        <p:strVal val="true"/>
                                      </p:to>
                                    </p:set>
                                  </p:childTnLst>
                                </p:cTn>
                              </p:par>
                              <p:par>
                                <p:cTn id="177" presetID="1" presetClass="emph" presetSubtype="2" decel="100000" fill="hold" nodeType="withEffect">
                                  <p:stCondLst>
                                    <p:cond delay="0"/>
                                  </p:stCondLst>
                                  <p:childTnLst>
                                    <p:animClr clrSpc="rgb" dir="cw">
                                      <p:cBhvr>
                                        <p:cTn id="178" dur="500" fill="hold"/>
                                        <p:tgtEl>
                                          <p:spTgt spid="640"/>
                                        </p:tgtEl>
                                        <p:attrNameLst>
                                          <p:attrName>fillcolor</p:attrName>
                                        </p:attrNameLst>
                                      </p:cBhvr>
                                      <p:to>
                                        <a:srgbClr val="E1E1E1"/>
                                      </p:to>
                                    </p:animClr>
                                    <p:set>
                                      <p:cBhvr>
                                        <p:cTn id="179" dur="500" fill="hold"/>
                                        <p:tgtEl>
                                          <p:spTgt spid="640"/>
                                        </p:tgtEl>
                                        <p:attrNameLst>
                                          <p:attrName>fill.type</p:attrName>
                                        </p:attrNameLst>
                                      </p:cBhvr>
                                      <p:to>
                                        <p:strVal val="solid"/>
                                      </p:to>
                                    </p:set>
                                    <p:set>
                                      <p:cBhvr>
                                        <p:cTn id="180" dur="500" fill="hold"/>
                                        <p:tgtEl>
                                          <p:spTgt spid="640"/>
                                        </p:tgtEl>
                                        <p:attrNameLst>
                                          <p:attrName>fill.on</p:attrName>
                                        </p:attrNameLst>
                                      </p:cBhvr>
                                      <p:to>
                                        <p:strVal val="true"/>
                                      </p:to>
                                    </p:set>
                                  </p:childTnLst>
                                </p:cTn>
                              </p:par>
                              <p:par>
                                <p:cTn id="181" presetID="1" presetClass="emph" presetSubtype="2" decel="100000" fill="hold" nodeType="withEffect">
                                  <p:stCondLst>
                                    <p:cond delay="0"/>
                                  </p:stCondLst>
                                  <p:childTnLst>
                                    <p:animClr clrSpc="rgb" dir="cw">
                                      <p:cBhvr>
                                        <p:cTn id="182" dur="500" fill="hold"/>
                                        <p:tgtEl>
                                          <p:spTgt spid="639"/>
                                        </p:tgtEl>
                                        <p:attrNameLst>
                                          <p:attrName>fillcolor</p:attrName>
                                        </p:attrNameLst>
                                      </p:cBhvr>
                                      <p:to>
                                        <a:srgbClr val="E1E1E1"/>
                                      </p:to>
                                    </p:animClr>
                                    <p:set>
                                      <p:cBhvr>
                                        <p:cTn id="183" dur="500" fill="hold"/>
                                        <p:tgtEl>
                                          <p:spTgt spid="639"/>
                                        </p:tgtEl>
                                        <p:attrNameLst>
                                          <p:attrName>fill.type</p:attrName>
                                        </p:attrNameLst>
                                      </p:cBhvr>
                                      <p:to>
                                        <p:strVal val="solid"/>
                                      </p:to>
                                    </p:set>
                                    <p:set>
                                      <p:cBhvr>
                                        <p:cTn id="184" dur="500" fill="hold"/>
                                        <p:tgtEl>
                                          <p:spTgt spid="639"/>
                                        </p:tgtEl>
                                        <p:attrNameLst>
                                          <p:attrName>fill.on</p:attrName>
                                        </p:attrNameLst>
                                      </p:cBhvr>
                                      <p:to>
                                        <p:strVal val="true"/>
                                      </p:to>
                                    </p:set>
                                  </p:childTnLst>
                                </p:cTn>
                              </p:par>
                              <p:par>
                                <p:cTn id="185" presetID="1" presetClass="emph" presetSubtype="2" decel="100000" fill="hold" nodeType="withEffect">
                                  <p:stCondLst>
                                    <p:cond delay="0"/>
                                  </p:stCondLst>
                                  <p:childTnLst>
                                    <p:animClr clrSpc="rgb" dir="cw">
                                      <p:cBhvr>
                                        <p:cTn id="186" dur="500" fill="hold"/>
                                        <p:tgtEl>
                                          <p:spTgt spid="579"/>
                                        </p:tgtEl>
                                        <p:attrNameLst>
                                          <p:attrName>fillcolor</p:attrName>
                                        </p:attrNameLst>
                                      </p:cBhvr>
                                      <p:to>
                                        <a:srgbClr val="E1E1E1"/>
                                      </p:to>
                                    </p:animClr>
                                    <p:set>
                                      <p:cBhvr>
                                        <p:cTn id="187" dur="500" fill="hold"/>
                                        <p:tgtEl>
                                          <p:spTgt spid="579"/>
                                        </p:tgtEl>
                                        <p:attrNameLst>
                                          <p:attrName>fill.type</p:attrName>
                                        </p:attrNameLst>
                                      </p:cBhvr>
                                      <p:to>
                                        <p:strVal val="solid"/>
                                      </p:to>
                                    </p:set>
                                    <p:set>
                                      <p:cBhvr>
                                        <p:cTn id="188" dur="500" fill="hold"/>
                                        <p:tgtEl>
                                          <p:spTgt spid="579"/>
                                        </p:tgtEl>
                                        <p:attrNameLst>
                                          <p:attrName>fill.on</p:attrName>
                                        </p:attrNameLst>
                                      </p:cBhvr>
                                      <p:to>
                                        <p:strVal val="true"/>
                                      </p:to>
                                    </p:set>
                                  </p:childTnLst>
                                </p:cTn>
                              </p:par>
                              <p:par>
                                <p:cTn id="189" presetID="1" presetClass="emph" presetSubtype="2" decel="100000" fill="hold" nodeType="withEffect">
                                  <p:stCondLst>
                                    <p:cond delay="0"/>
                                  </p:stCondLst>
                                  <p:childTnLst>
                                    <p:animClr clrSpc="rgb" dir="cw">
                                      <p:cBhvr>
                                        <p:cTn id="190" dur="500" fill="hold"/>
                                        <p:tgtEl>
                                          <p:spTgt spid="565"/>
                                        </p:tgtEl>
                                        <p:attrNameLst>
                                          <p:attrName>fillcolor</p:attrName>
                                        </p:attrNameLst>
                                      </p:cBhvr>
                                      <p:to>
                                        <a:srgbClr val="E1E1E1"/>
                                      </p:to>
                                    </p:animClr>
                                    <p:set>
                                      <p:cBhvr>
                                        <p:cTn id="191" dur="500" fill="hold"/>
                                        <p:tgtEl>
                                          <p:spTgt spid="565"/>
                                        </p:tgtEl>
                                        <p:attrNameLst>
                                          <p:attrName>fill.type</p:attrName>
                                        </p:attrNameLst>
                                      </p:cBhvr>
                                      <p:to>
                                        <p:strVal val="solid"/>
                                      </p:to>
                                    </p:set>
                                    <p:set>
                                      <p:cBhvr>
                                        <p:cTn id="192" dur="500" fill="hold"/>
                                        <p:tgtEl>
                                          <p:spTgt spid="565"/>
                                        </p:tgtEl>
                                        <p:attrNameLst>
                                          <p:attrName>fill.on</p:attrName>
                                        </p:attrNameLst>
                                      </p:cBhvr>
                                      <p:to>
                                        <p:strVal val="true"/>
                                      </p:to>
                                    </p:set>
                                  </p:childTnLst>
                                </p:cTn>
                              </p:par>
                              <p:par>
                                <p:cTn id="193" presetID="1" presetClass="emph" presetSubtype="2" decel="100000" fill="hold" nodeType="withEffect">
                                  <p:stCondLst>
                                    <p:cond delay="0"/>
                                  </p:stCondLst>
                                  <p:childTnLst>
                                    <p:animClr clrSpc="rgb" dir="cw">
                                      <p:cBhvr>
                                        <p:cTn id="194" dur="500" fill="hold"/>
                                        <p:tgtEl>
                                          <p:spTgt spid="567"/>
                                        </p:tgtEl>
                                        <p:attrNameLst>
                                          <p:attrName>fillcolor</p:attrName>
                                        </p:attrNameLst>
                                      </p:cBhvr>
                                      <p:to>
                                        <a:srgbClr val="E1E1E1"/>
                                      </p:to>
                                    </p:animClr>
                                    <p:set>
                                      <p:cBhvr>
                                        <p:cTn id="195" dur="500" fill="hold"/>
                                        <p:tgtEl>
                                          <p:spTgt spid="567"/>
                                        </p:tgtEl>
                                        <p:attrNameLst>
                                          <p:attrName>fill.type</p:attrName>
                                        </p:attrNameLst>
                                      </p:cBhvr>
                                      <p:to>
                                        <p:strVal val="solid"/>
                                      </p:to>
                                    </p:set>
                                    <p:set>
                                      <p:cBhvr>
                                        <p:cTn id="196" dur="500" fill="hold"/>
                                        <p:tgtEl>
                                          <p:spTgt spid="567"/>
                                        </p:tgtEl>
                                        <p:attrNameLst>
                                          <p:attrName>fill.on</p:attrName>
                                        </p:attrNameLst>
                                      </p:cBhvr>
                                      <p:to>
                                        <p:strVal val="true"/>
                                      </p:to>
                                    </p:set>
                                  </p:childTnLst>
                                </p:cTn>
                              </p:par>
                              <p:par>
                                <p:cTn id="197" presetID="1" presetClass="emph" presetSubtype="2" decel="100000" fill="hold" nodeType="withEffect">
                                  <p:stCondLst>
                                    <p:cond delay="0"/>
                                  </p:stCondLst>
                                  <p:childTnLst>
                                    <p:animClr clrSpc="rgb" dir="cw">
                                      <p:cBhvr>
                                        <p:cTn id="198" dur="500" fill="hold"/>
                                        <p:tgtEl>
                                          <p:spTgt spid="598"/>
                                        </p:tgtEl>
                                        <p:attrNameLst>
                                          <p:attrName>fillcolor</p:attrName>
                                        </p:attrNameLst>
                                      </p:cBhvr>
                                      <p:to>
                                        <a:srgbClr val="E1E1E1"/>
                                      </p:to>
                                    </p:animClr>
                                    <p:set>
                                      <p:cBhvr>
                                        <p:cTn id="199" dur="500" fill="hold"/>
                                        <p:tgtEl>
                                          <p:spTgt spid="598"/>
                                        </p:tgtEl>
                                        <p:attrNameLst>
                                          <p:attrName>fill.type</p:attrName>
                                        </p:attrNameLst>
                                      </p:cBhvr>
                                      <p:to>
                                        <p:strVal val="solid"/>
                                      </p:to>
                                    </p:set>
                                    <p:set>
                                      <p:cBhvr>
                                        <p:cTn id="200" dur="500" fill="hold"/>
                                        <p:tgtEl>
                                          <p:spTgt spid="598"/>
                                        </p:tgtEl>
                                        <p:attrNameLst>
                                          <p:attrName>fill.on</p:attrName>
                                        </p:attrNameLst>
                                      </p:cBhvr>
                                      <p:to>
                                        <p:strVal val="true"/>
                                      </p:to>
                                    </p:set>
                                  </p:childTnLst>
                                </p:cTn>
                              </p:par>
                              <p:par>
                                <p:cTn id="201" presetID="1" presetClass="emph" presetSubtype="2" decel="100000" fill="hold" nodeType="withEffect">
                                  <p:stCondLst>
                                    <p:cond delay="0"/>
                                  </p:stCondLst>
                                  <p:childTnLst>
                                    <p:animClr clrSpc="rgb" dir="cw">
                                      <p:cBhvr>
                                        <p:cTn id="202" dur="500" fill="hold"/>
                                        <p:tgtEl>
                                          <p:spTgt spid="580"/>
                                        </p:tgtEl>
                                        <p:attrNameLst>
                                          <p:attrName>fillcolor</p:attrName>
                                        </p:attrNameLst>
                                      </p:cBhvr>
                                      <p:to>
                                        <a:srgbClr val="E1E1E1"/>
                                      </p:to>
                                    </p:animClr>
                                    <p:set>
                                      <p:cBhvr>
                                        <p:cTn id="203" dur="500" fill="hold"/>
                                        <p:tgtEl>
                                          <p:spTgt spid="580"/>
                                        </p:tgtEl>
                                        <p:attrNameLst>
                                          <p:attrName>fill.type</p:attrName>
                                        </p:attrNameLst>
                                      </p:cBhvr>
                                      <p:to>
                                        <p:strVal val="solid"/>
                                      </p:to>
                                    </p:set>
                                    <p:set>
                                      <p:cBhvr>
                                        <p:cTn id="204" dur="500" fill="hold"/>
                                        <p:tgtEl>
                                          <p:spTgt spid="580"/>
                                        </p:tgtEl>
                                        <p:attrNameLst>
                                          <p:attrName>fill.on</p:attrName>
                                        </p:attrNameLst>
                                      </p:cBhvr>
                                      <p:to>
                                        <p:strVal val="true"/>
                                      </p:to>
                                    </p:set>
                                  </p:childTnLst>
                                </p:cTn>
                              </p:par>
                              <p:par>
                                <p:cTn id="205" presetID="1" presetClass="emph" presetSubtype="2" decel="100000" fill="hold" nodeType="withEffect">
                                  <p:stCondLst>
                                    <p:cond delay="0"/>
                                  </p:stCondLst>
                                  <p:childTnLst>
                                    <p:animClr clrSpc="rgb" dir="cw">
                                      <p:cBhvr>
                                        <p:cTn id="206" dur="500" fill="hold"/>
                                        <p:tgtEl>
                                          <p:spTgt spid="581"/>
                                        </p:tgtEl>
                                        <p:attrNameLst>
                                          <p:attrName>fillcolor</p:attrName>
                                        </p:attrNameLst>
                                      </p:cBhvr>
                                      <p:to>
                                        <a:srgbClr val="E1E1E1"/>
                                      </p:to>
                                    </p:animClr>
                                    <p:set>
                                      <p:cBhvr>
                                        <p:cTn id="207" dur="500" fill="hold"/>
                                        <p:tgtEl>
                                          <p:spTgt spid="581"/>
                                        </p:tgtEl>
                                        <p:attrNameLst>
                                          <p:attrName>fill.type</p:attrName>
                                        </p:attrNameLst>
                                      </p:cBhvr>
                                      <p:to>
                                        <p:strVal val="solid"/>
                                      </p:to>
                                    </p:set>
                                    <p:set>
                                      <p:cBhvr>
                                        <p:cTn id="208" dur="500" fill="hold"/>
                                        <p:tgtEl>
                                          <p:spTgt spid="581"/>
                                        </p:tgtEl>
                                        <p:attrNameLst>
                                          <p:attrName>fill.on</p:attrName>
                                        </p:attrNameLst>
                                      </p:cBhvr>
                                      <p:to>
                                        <p:strVal val="true"/>
                                      </p:to>
                                    </p:set>
                                  </p:childTnLst>
                                </p:cTn>
                              </p:par>
                              <p:par>
                                <p:cTn id="209" presetID="1" presetClass="emph" presetSubtype="2" decel="100000" fill="hold" nodeType="withEffect">
                                  <p:stCondLst>
                                    <p:cond delay="0"/>
                                  </p:stCondLst>
                                  <p:childTnLst>
                                    <p:animClr clrSpc="rgb" dir="cw">
                                      <p:cBhvr>
                                        <p:cTn id="210" dur="500" fill="hold"/>
                                        <p:tgtEl>
                                          <p:spTgt spid="562"/>
                                        </p:tgtEl>
                                        <p:attrNameLst>
                                          <p:attrName>fillcolor</p:attrName>
                                        </p:attrNameLst>
                                      </p:cBhvr>
                                      <p:to>
                                        <a:srgbClr val="E1E1E1"/>
                                      </p:to>
                                    </p:animClr>
                                    <p:set>
                                      <p:cBhvr>
                                        <p:cTn id="211" dur="500" fill="hold"/>
                                        <p:tgtEl>
                                          <p:spTgt spid="562"/>
                                        </p:tgtEl>
                                        <p:attrNameLst>
                                          <p:attrName>fill.type</p:attrName>
                                        </p:attrNameLst>
                                      </p:cBhvr>
                                      <p:to>
                                        <p:strVal val="solid"/>
                                      </p:to>
                                    </p:set>
                                    <p:set>
                                      <p:cBhvr>
                                        <p:cTn id="212" dur="500" fill="hold"/>
                                        <p:tgtEl>
                                          <p:spTgt spid="562"/>
                                        </p:tgtEl>
                                        <p:attrNameLst>
                                          <p:attrName>fill.on</p:attrName>
                                        </p:attrNameLst>
                                      </p:cBhvr>
                                      <p:to>
                                        <p:strVal val="true"/>
                                      </p:to>
                                    </p:set>
                                  </p:childTnLst>
                                </p:cTn>
                              </p:par>
                              <p:par>
                                <p:cTn id="213" presetID="1" presetClass="emph" presetSubtype="2" decel="100000" fill="hold" nodeType="withEffect">
                                  <p:stCondLst>
                                    <p:cond delay="0"/>
                                  </p:stCondLst>
                                  <p:childTnLst>
                                    <p:animClr clrSpc="rgb" dir="cw">
                                      <p:cBhvr>
                                        <p:cTn id="214" dur="500" fill="hold"/>
                                        <p:tgtEl>
                                          <p:spTgt spid="608"/>
                                        </p:tgtEl>
                                        <p:attrNameLst>
                                          <p:attrName>fillcolor</p:attrName>
                                        </p:attrNameLst>
                                      </p:cBhvr>
                                      <p:to>
                                        <a:srgbClr val="E1E1E1"/>
                                      </p:to>
                                    </p:animClr>
                                    <p:set>
                                      <p:cBhvr>
                                        <p:cTn id="215" dur="500" fill="hold"/>
                                        <p:tgtEl>
                                          <p:spTgt spid="608"/>
                                        </p:tgtEl>
                                        <p:attrNameLst>
                                          <p:attrName>fill.type</p:attrName>
                                        </p:attrNameLst>
                                      </p:cBhvr>
                                      <p:to>
                                        <p:strVal val="solid"/>
                                      </p:to>
                                    </p:set>
                                    <p:set>
                                      <p:cBhvr>
                                        <p:cTn id="216" dur="500" fill="hold"/>
                                        <p:tgtEl>
                                          <p:spTgt spid="608"/>
                                        </p:tgtEl>
                                        <p:attrNameLst>
                                          <p:attrName>fill.on</p:attrName>
                                        </p:attrNameLst>
                                      </p:cBhvr>
                                      <p:to>
                                        <p:strVal val="true"/>
                                      </p:to>
                                    </p:set>
                                  </p:childTnLst>
                                </p:cTn>
                              </p:par>
                              <p:par>
                                <p:cTn id="217" presetID="1" presetClass="emph" presetSubtype="2" decel="100000" fill="hold" nodeType="withEffect">
                                  <p:stCondLst>
                                    <p:cond delay="0"/>
                                  </p:stCondLst>
                                  <p:childTnLst>
                                    <p:animClr clrSpc="rgb" dir="cw">
                                      <p:cBhvr>
                                        <p:cTn id="218" dur="500" fill="hold"/>
                                        <p:tgtEl>
                                          <p:spTgt spid="607"/>
                                        </p:tgtEl>
                                        <p:attrNameLst>
                                          <p:attrName>fillcolor</p:attrName>
                                        </p:attrNameLst>
                                      </p:cBhvr>
                                      <p:to>
                                        <a:srgbClr val="E1E1E1"/>
                                      </p:to>
                                    </p:animClr>
                                    <p:set>
                                      <p:cBhvr>
                                        <p:cTn id="219" dur="500" fill="hold"/>
                                        <p:tgtEl>
                                          <p:spTgt spid="607"/>
                                        </p:tgtEl>
                                        <p:attrNameLst>
                                          <p:attrName>fill.type</p:attrName>
                                        </p:attrNameLst>
                                      </p:cBhvr>
                                      <p:to>
                                        <p:strVal val="solid"/>
                                      </p:to>
                                    </p:set>
                                    <p:set>
                                      <p:cBhvr>
                                        <p:cTn id="220" dur="500" fill="hold"/>
                                        <p:tgtEl>
                                          <p:spTgt spid="607"/>
                                        </p:tgtEl>
                                        <p:attrNameLst>
                                          <p:attrName>fill.on</p:attrName>
                                        </p:attrNameLst>
                                      </p:cBhvr>
                                      <p:to>
                                        <p:strVal val="true"/>
                                      </p:to>
                                    </p:set>
                                  </p:childTnLst>
                                </p:cTn>
                              </p:par>
                              <p:par>
                                <p:cTn id="221" presetID="1" presetClass="emph" presetSubtype="2" decel="100000" fill="hold" nodeType="withEffect">
                                  <p:stCondLst>
                                    <p:cond delay="0"/>
                                  </p:stCondLst>
                                  <p:childTnLst>
                                    <p:animClr clrSpc="rgb" dir="cw">
                                      <p:cBhvr>
                                        <p:cTn id="222" dur="500" fill="hold"/>
                                        <p:tgtEl>
                                          <p:spTgt spid="582"/>
                                        </p:tgtEl>
                                        <p:attrNameLst>
                                          <p:attrName>fillcolor</p:attrName>
                                        </p:attrNameLst>
                                      </p:cBhvr>
                                      <p:to>
                                        <a:srgbClr val="E1E1E1"/>
                                      </p:to>
                                    </p:animClr>
                                    <p:set>
                                      <p:cBhvr>
                                        <p:cTn id="223" dur="500" fill="hold"/>
                                        <p:tgtEl>
                                          <p:spTgt spid="582"/>
                                        </p:tgtEl>
                                        <p:attrNameLst>
                                          <p:attrName>fill.type</p:attrName>
                                        </p:attrNameLst>
                                      </p:cBhvr>
                                      <p:to>
                                        <p:strVal val="solid"/>
                                      </p:to>
                                    </p:set>
                                    <p:set>
                                      <p:cBhvr>
                                        <p:cTn id="224" dur="500" fill="hold"/>
                                        <p:tgtEl>
                                          <p:spTgt spid="582"/>
                                        </p:tgtEl>
                                        <p:attrNameLst>
                                          <p:attrName>fill.on</p:attrName>
                                        </p:attrNameLst>
                                      </p:cBhvr>
                                      <p:to>
                                        <p:strVal val="true"/>
                                      </p:to>
                                    </p:set>
                                  </p:childTnLst>
                                </p:cTn>
                              </p:par>
                              <p:par>
                                <p:cTn id="225" presetID="1" presetClass="emph" presetSubtype="2" decel="100000" fill="hold" nodeType="withEffect">
                                  <p:stCondLst>
                                    <p:cond delay="0"/>
                                  </p:stCondLst>
                                  <p:childTnLst>
                                    <p:animClr clrSpc="rgb" dir="cw">
                                      <p:cBhvr>
                                        <p:cTn id="226" dur="500" fill="hold"/>
                                        <p:tgtEl>
                                          <p:spTgt spid="599"/>
                                        </p:tgtEl>
                                        <p:attrNameLst>
                                          <p:attrName>fillcolor</p:attrName>
                                        </p:attrNameLst>
                                      </p:cBhvr>
                                      <p:to>
                                        <a:srgbClr val="E1E1E1"/>
                                      </p:to>
                                    </p:animClr>
                                    <p:set>
                                      <p:cBhvr>
                                        <p:cTn id="227" dur="500" fill="hold"/>
                                        <p:tgtEl>
                                          <p:spTgt spid="599"/>
                                        </p:tgtEl>
                                        <p:attrNameLst>
                                          <p:attrName>fill.type</p:attrName>
                                        </p:attrNameLst>
                                      </p:cBhvr>
                                      <p:to>
                                        <p:strVal val="solid"/>
                                      </p:to>
                                    </p:set>
                                    <p:set>
                                      <p:cBhvr>
                                        <p:cTn id="228" dur="500" fill="hold"/>
                                        <p:tgtEl>
                                          <p:spTgt spid="599"/>
                                        </p:tgtEl>
                                        <p:attrNameLst>
                                          <p:attrName>fill.on</p:attrName>
                                        </p:attrNameLst>
                                      </p:cBhvr>
                                      <p:to>
                                        <p:strVal val="true"/>
                                      </p:to>
                                    </p:set>
                                  </p:childTnLst>
                                </p:cTn>
                              </p:par>
                              <p:par>
                                <p:cTn id="229" presetID="1" presetClass="emph" presetSubtype="2" decel="100000" fill="hold" nodeType="withEffect">
                                  <p:stCondLst>
                                    <p:cond delay="0"/>
                                  </p:stCondLst>
                                  <p:childTnLst>
                                    <p:animClr clrSpc="rgb" dir="cw">
                                      <p:cBhvr>
                                        <p:cTn id="230" dur="500" fill="hold"/>
                                        <p:tgtEl>
                                          <p:spTgt spid="658"/>
                                        </p:tgtEl>
                                        <p:attrNameLst>
                                          <p:attrName>fillcolor</p:attrName>
                                        </p:attrNameLst>
                                      </p:cBhvr>
                                      <p:to>
                                        <a:srgbClr val="E1E1E1"/>
                                      </p:to>
                                    </p:animClr>
                                    <p:set>
                                      <p:cBhvr>
                                        <p:cTn id="231" dur="500" fill="hold"/>
                                        <p:tgtEl>
                                          <p:spTgt spid="658"/>
                                        </p:tgtEl>
                                        <p:attrNameLst>
                                          <p:attrName>fill.type</p:attrName>
                                        </p:attrNameLst>
                                      </p:cBhvr>
                                      <p:to>
                                        <p:strVal val="solid"/>
                                      </p:to>
                                    </p:set>
                                    <p:set>
                                      <p:cBhvr>
                                        <p:cTn id="232" dur="500" fill="hold"/>
                                        <p:tgtEl>
                                          <p:spTgt spid="658"/>
                                        </p:tgtEl>
                                        <p:attrNameLst>
                                          <p:attrName>fill.on</p:attrName>
                                        </p:attrNameLst>
                                      </p:cBhvr>
                                      <p:to>
                                        <p:strVal val="true"/>
                                      </p:to>
                                    </p:set>
                                  </p:childTnLst>
                                </p:cTn>
                              </p:par>
                              <p:par>
                                <p:cTn id="233" presetID="1" presetClass="emph" presetSubtype="2" decel="100000" fill="hold" nodeType="withEffect">
                                  <p:stCondLst>
                                    <p:cond delay="0"/>
                                  </p:stCondLst>
                                  <p:childTnLst>
                                    <p:animClr clrSpc="rgb" dir="cw">
                                      <p:cBhvr>
                                        <p:cTn id="234" dur="500" fill="hold"/>
                                        <p:tgtEl>
                                          <p:spTgt spid="656"/>
                                        </p:tgtEl>
                                        <p:attrNameLst>
                                          <p:attrName>fillcolor</p:attrName>
                                        </p:attrNameLst>
                                      </p:cBhvr>
                                      <p:to>
                                        <a:srgbClr val="E1E1E1"/>
                                      </p:to>
                                    </p:animClr>
                                    <p:set>
                                      <p:cBhvr>
                                        <p:cTn id="235" dur="500" fill="hold"/>
                                        <p:tgtEl>
                                          <p:spTgt spid="656"/>
                                        </p:tgtEl>
                                        <p:attrNameLst>
                                          <p:attrName>fill.type</p:attrName>
                                        </p:attrNameLst>
                                      </p:cBhvr>
                                      <p:to>
                                        <p:strVal val="solid"/>
                                      </p:to>
                                    </p:set>
                                    <p:set>
                                      <p:cBhvr>
                                        <p:cTn id="236" dur="500" fill="hold"/>
                                        <p:tgtEl>
                                          <p:spTgt spid="656"/>
                                        </p:tgtEl>
                                        <p:attrNameLst>
                                          <p:attrName>fill.on</p:attrName>
                                        </p:attrNameLst>
                                      </p:cBhvr>
                                      <p:to>
                                        <p:strVal val="true"/>
                                      </p:to>
                                    </p:set>
                                  </p:childTnLst>
                                </p:cTn>
                              </p:par>
                              <p:par>
                                <p:cTn id="237" presetID="1" presetClass="emph" presetSubtype="2" decel="100000" fill="hold" nodeType="withEffect">
                                  <p:stCondLst>
                                    <p:cond delay="0"/>
                                  </p:stCondLst>
                                  <p:childTnLst>
                                    <p:animClr clrSpc="rgb" dir="cw">
                                      <p:cBhvr>
                                        <p:cTn id="238" dur="500" fill="hold"/>
                                        <p:tgtEl>
                                          <p:spTgt spid="657"/>
                                        </p:tgtEl>
                                        <p:attrNameLst>
                                          <p:attrName>fillcolor</p:attrName>
                                        </p:attrNameLst>
                                      </p:cBhvr>
                                      <p:to>
                                        <a:srgbClr val="E1E1E1"/>
                                      </p:to>
                                    </p:animClr>
                                    <p:set>
                                      <p:cBhvr>
                                        <p:cTn id="239" dur="500" fill="hold"/>
                                        <p:tgtEl>
                                          <p:spTgt spid="657"/>
                                        </p:tgtEl>
                                        <p:attrNameLst>
                                          <p:attrName>fill.type</p:attrName>
                                        </p:attrNameLst>
                                      </p:cBhvr>
                                      <p:to>
                                        <p:strVal val="solid"/>
                                      </p:to>
                                    </p:set>
                                    <p:set>
                                      <p:cBhvr>
                                        <p:cTn id="240" dur="500" fill="hold"/>
                                        <p:tgtEl>
                                          <p:spTgt spid="657"/>
                                        </p:tgtEl>
                                        <p:attrNameLst>
                                          <p:attrName>fill.on</p:attrName>
                                        </p:attrNameLst>
                                      </p:cBhvr>
                                      <p:to>
                                        <p:strVal val="true"/>
                                      </p:to>
                                    </p:set>
                                  </p:childTnLst>
                                </p:cTn>
                              </p:par>
                              <p:par>
                                <p:cTn id="241" presetID="1" presetClass="emph" presetSubtype="2" decel="100000" fill="hold" nodeType="withEffect">
                                  <p:stCondLst>
                                    <p:cond delay="0"/>
                                  </p:stCondLst>
                                  <p:childTnLst>
                                    <p:animClr clrSpc="rgb" dir="cw">
                                      <p:cBhvr>
                                        <p:cTn id="242" dur="500" fill="hold"/>
                                        <p:tgtEl>
                                          <p:spTgt spid="654"/>
                                        </p:tgtEl>
                                        <p:attrNameLst>
                                          <p:attrName>fillcolor</p:attrName>
                                        </p:attrNameLst>
                                      </p:cBhvr>
                                      <p:to>
                                        <a:srgbClr val="E1E1E1"/>
                                      </p:to>
                                    </p:animClr>
                                    <p:set>
                                      <p:cBhvr>
                                        <p:cTn id="243" dur="500" fill="hold"/>
                                        <p:tgtEl>
                                          <p:spTgt spid="654"/>
                                        </p:tgtEl>
                                        <p:attrNameLst>
                                          <p:attrName>fill.type</p:attrName>
                                        </p:attrNameLst>
                                      </p:cBhvr>
                                      <p:to>
                                        <p:strVal val="solid"/>
                                      </p:to>
                                    </p:set>
                                    <p:set>
                                      <p:cBhvr>
                                        <p:cTn id="244" dur="500" fill="hold"/>
                                        <p:tgtEl>
                                          <p:spTgt spid="654"/>
                                        </p:tgtEl>
                                        <p:attrNameLst>
                                          <p:attrName>fill.on</p:attrName>
                                        </p:attrNameLst>
                                      </p:cBhvr>
                                      <p:to>
                                        <p:strVal val="true"/>
                                      </p:to>
                                    </p:set>
                                  </p:childTnLst>
                                </p:cTn>
                              </p:par>
                              <p:par>
                                <p:cTn id="245" presetID="1" presetClass="emph" presetSubtype="2" decel="100000" fill="hold" nodeType="withEffect">
                                  <p:stCondLst>
                                    <p:cond delay="0"/>
                                  </p:stCondLst>
                                  <p:childTnLst>
                                    <p:animClr clrSpc="rgb" dir="cw">
                                      <p:cBhvr>
                                        <p:cTn id="246" dur="500" fill="hold"/>
                                        <p:tgtEl>
                                          <p:spTgt spid="583"/>
                                        </p:tgtEl>
                                        <p:attrNameLst>
                                          <p:attrName>fillcolor</p:attrName>
                                        </p:attrNameLst>
                                      </p:cBhvr>
                                      <p:to>
                                        <a:srgbClr val="E1E1E1"/>
                                      </p:to>
                                    </p:animClr>
                                    <p:set>
                                      <p:cBhvr>
                                        <p:cTn id="247" dur="500" fill="hold"/>
                                        <p:tgtEl>
                                          <p:spTgt spid="583"/>
                                        </p:tgtEl>
                                        <p:attrNameLst>
                                          <p:attrName>fill.type</p:attrName>
                                        </p:attrNameLst>
                                      </p:cBhvr>
                                      <p:to>
                                        <p:strVal val="solid"/>
                                      </p:to>
                                    </p:set>
                                    <p:set>
                                      <p:cBhvr>
                                        <p:cTn id="248" dur="500" fill="hold"/>
                                        <p:tgtEl>
                                          <p:spTgt spid="583"/>
                                        </p:tgtEl>
                                        <p:attrNameLst>
                                          <p:attrName>fill.on</p:attrName>
                                        </p:attrNameLst>
                                      </p:cBhvr>
                                      <p:to>
                                        <p:strVal val="true"/>
                                      </p:to>
                                    </p:set>
                                  </p:childTnLst>
                                </p:cTn>
                              </p:par>
                              <p:par>
                                <p:cTn id="249" presetID="1" presetClass="emph" presetSubtype="2" decel="100000" fill="hold" nodeType="withEffect">
                                  <p:stCondLst>
                                    <p:cond delay="0"/>
                                  </p:stCondLst>
                                  <p:childTnLst>
                                    <p:animClr clrSpc="rgb" dir="cw">
                                      <p:cBhvr>
                                        <p:cTn id="250" dur="500" fill="hold"/>
                                        <p:tgtEl>
                                          <p:spTgt spid="569"/>
                                        </p:tgtEl>
                                        <p:attrNameLst>
                                          <p:attrName>fillcolor</p:attrName>
                                        </p:attrNameLst>
                                      </p:cBhvr>
                                      <p:to>
                                        <a:srgbClr val="E1E1E1"/>
                                      </p:to>
                                    </p:animClr>
                                    <p:set>
                                      <p:cBhvr>
                                        <p:cTn id="251" dur="500" fill="hold"/>
                                        <p:tgtEl>
                                          <p:spTgt spid="569"/>
                                        </p:tgtEl>
                                        <p:attrNameLst>
                                          <p:attrName>fill.type</p:attrName>
                                        </p:attrNameLst>
                                      </p:cBhvr>
                                      <p:to>
                                        <p:strVal val="solid"/>
                                      </p:to>
                                    </p:set>
                                    <p:set>
                                      <p:cBhvr>
                                        <p:cTn id="252" dur="500" fill="hold"/>
                                        <p:tgtEl>
                                          <p:spTgt spid="569"/>
                                        </p:tgtEl>
                                        <p:attrNameLst>
                                          <p:attrName>fill.on</p:attrName>
                                        </p:attrNameLst>
                                      </p:cBhvr>
                                      <p:to>
                                        <p:strVal val="true"/>
                                      </p:to>
                                    </p:set>
                                  </p:childTnLst>
                                </p:cTn>
                              </p:par>
                              <p:par>
                                <p:cTn id="253" presetID="1" presetClass="emph" presetSubtype="2" decel="100000" fill="hold" nodeType="withEffect">
                                  <p:stCondLst>
                                    <p:cond delay="0"/>
                                  </p:stCondLst>
                                  <p:childTnLst>
                                    <p:animClr clrSpc="rgb" dir="cw">
                                      <p:cBhvr>
                                        <p:cTn id="254" dur="500" fill="hold"/>
                                        <p:tgtEl>
                                          <p:spTgt spid="568"/>
                                        </p:tgtEl>
                                        <p:attrNameLst>
                                          <p:attrName>fillcolor</p:attrName>
                                        </p:attrNameLst>
                                      </p:cBhvr>
                                      <p:to>
                                        <a:srgbClr val="E1E1E1"/>
                                      </p:to>
                                    </p:animClr>
                                    <p:set>
                                      <p:cBhvr>
                                        <p:cTn id="255" dur="500" fill="hold"/>
                                        <p:tgtEl>
                                          <p:spTgt spid="568"/>
                                        </p:tgtEl>
                                        <p:attrNameLst>
                                          <p:attrName>fill.type</p:attrName>
                                        </p:attrNameLst>
                                      </p:cBhvr>
                                      <p:to>
                                        <p:strVal val="solid"/>
                                      </p:to>
                                    </p:set>
                                    <p:set>
                                      <p:cBhvr>
                                        <p:cTn id="256" dur="500" fill="hold"/>
                                        <p:tgtEl>
                                          <p:spTgt spid="568"/>
                                        </p:tgtEl>
                                        <p:attrNameLst>
                                          <p:attrName>fill.on</p:attrName>
                                        </p:attrNameLst>
                                      </p:cBhvr>
                                      <p:to>
                                        <p:strVal val="true"/>
                                      </p:to>
                                    </p:set>
                                  </p:childTnLst>
                                </p:cTn>
                              </p:par>
                              <p:par>
                                <p:cTn id="257" presetID="1" presetClass="emph" presetSubtype="2" decel="100000" fill="hold" nodeType="withEffect">
                                  <p:stCondLst>
                                    <p:cond delay="0"/>
                                  </p:stCondLst>
                                  <p:childTnLst>
                                    <p:animClr clrSpc="rgb" dir="cw">
                                      <p:cBhvr>
                                        <p:cTn id="258" dur="500" fill="hold"/>
                                        <p:tgtEl>
                                          <p:spTgt spid="561"/>
                                        </p:tgtEl>
                                        <p:attrNameLst>
                                          <p:attrName>fillcolor</p:attrName>
                                        </p:attrNameLst>
                                      </p:cBhvr>
                                      <p:to>
                                        <a:srgbClr val="E1E1E1"/>
                                      </p:to>
                                    </p:animClr>
                                    <p:set>
                                      <p:cBhvr>
                                        <p:cTn id="259" dur="500" fill="hold"/>
                                        <p:tgtEl>
                                          <p:spTgt spid="561"/>
                                        </p:tgtEl>
                                        <p:attrNameLst>
                                          <p:attrName>fill.type</p:attrName>
                                        </p:attrNameLst>
                                      </p:cBhvr>
                                      <p:to>
                                        <p:strVal val="solid"/>
                                      </p:to>
                                    </p:set>
                                    <p:set>
                                      <p:cBhvr>
                                        <p:cTn id="260" dur="500" fill="hold"/>
                                        <p:tgtEl>
                                          <p:spTgt spid="561"/>
                                        </p:tgtEl>
                                        <p:attrNameLst>
                                          <p:attrName>fill.on</p:attrName>
                                        </p:attrNameLst>
                                      </p:cBhvr>
                                      <p:to>
                                        <p:strVal val="true"/>
                                      </p:to>
                                    </p:set>
                                  </p:childTnLst>
                                </p:cTn>
                              </p:par>
                              <p:par>
                                <p:cTn id="261" presetID="1" presetClass="emph" presetSubtype="2" decel="100000" fill="hold" nodeType="withEffect">
                                  <p:stCondLst>
                                    <p:cond delay="0"/>
                                  </p:stCondLst>
                                  <p:childTnLst>
                                    <p:animClr clrSpc="rgb" dir="cw">
                                      <p:cBhvr>
                                        <p:cTn id="262" dur="500" fill="hold"/>
                                        <p:tgtEl>
                                          <p:spTgt spid="570"/>
                                        </p:tgtEl>
                                        <p:attrNameLst>
                                          <p:attrName>fillcolor</p:attrName>
                                        </p:attrNameLst>
                                      </p:cBhvr>
                                      <p:to>
                                        <a:srgbClr val="E1E1E1"/>
                                      </p:to>
                                    </p:animClr>
                                    <p:set>
                                      <p:cBhvr>
                                        <p:cTn id="263" dur="500" fill="hold"/>
                                        <p:tgtEl>
                                          <p:spTgt spid="570"/>
                                        </p:tgtEl>
                                        <p:attrNameLst>
                                          <p:attrName>fill.type</p:attrName>
                                        </p:attrNameLst>
                                      </p:cBhvr>
                                      <p:to>
                                        <p:strVal val="solid"/>
                                      </p:to>
                                    </p:set>
                                    <p:set>
                                      <p:cBhvr>
                                        <p:cTn id="264" dur="500" fill="hold"/>
                                        <p:tgtEl>
                                          <p:spTgt spid="570"/>
                                        </p:tgtEl>
                                        <p:attrNameLst>
                                          <p:attrName>fill.on</p:attrName>
                                        </p:attrNameLst>
                                      </p:cBhvr>
                                      <p:to>
                                        <p:strVal val="true"/>
                                      </p:to>
                                    </p:set>
                                  </p:childTnLst>
                                </p:cTn>
                              </p:par>
                              <p:par>
                                <p:cTn id="265" presetID="1" presetClass="emph" presetSubtype="2" decel="100000" fill="hold" nodeType="withEffect">
                                  <p:stCondLst>
                                    <p:cond delay="0"/>
                                  </p:stCondLst>
                                  <p:childTnLst>
                                    <p:animClr clrSpc="rgb" dir="cw">
                                      <p:cBhvr>
                                        <p:cTn id="266" dur="500" fill="hold"/>
                                        <p:tgtEl>
                                          <p:spTgt spid="571"/>
                                        </p:tgtEl>
                                        <p:attrNameLst>
                                          <p:attrName>fillcolor</p:attrName>
                                        </p:attrNameLst>
                                      </p:cBhvr>
                                      <p:to>
                                        <a:srgbClr val="E1E1E1"/>
                                      </p:to>
                                    </p:animClr>
                                    <p:set>
                                      <p:cBhvr>
                                        <p:cTn id="267" dur="500" fill="hold"/>
                                        <p:tgtEl>
                                          <p:spTgt spid="571"/>
                                        </p:tgtEl>
                                        <p:attrNameLst>
                                          <p:attrName>fill.type</p:attrName>
                                        </p:attrNameLst>
                                      </p:cBhvr>
                                      <p:to>
                                        <p:strVal val="solid"/>
                                      </p:to>
                                    </p:set>
                                    <p:set>
                                      <p:cBhvr>
                                        <p:cTn id="268" dur="500" fill="hold"/>
                                        <p:tgtEl>
                                          <p:spTgt spid="571"/>
                                        </p:tgtEl>
                                        <p:attrNameLst>
                                          <p:attrName>fill.on</p:attrName>
                                        </p:attrNameLst>
                                      </p:cBhvr>
                                      <p:to>
                                        <p:strVal val="true"/>
                                      </p:to>
                                    </p:set>
                                  </p:childTnLst>
                                </p:cTn>
                              </p:par>
                              <p:par>
                                <p:cTn id="269" presetID="1" presetClass="emph" presetSubtype="2" decel="100000" fill="hold" nodeType="withEffect">
                                  <p:stCondLst>
                                    <p:cond delay="0"/>
                                  </p:stCondLst>
                                  <p:childTnLst>
                                    <p:animClr clrSpc="rgb" dir="cw">
                                      <p:cBhvr>
                                        <p:cTn id="270" dur="500" fill="hold"/>
                                        <p:tgtEl>
                                          <p:spTgt spid="584"/>
                                        </p:tgtEl>
                                        <p:attrNameLst>
                                          <p:attrName>fillcolor</p:attrName>
                                        </p:attrNameLst>
                                      </p:cBhvr>
                                      <p:to>
                                        <a:srgbClr val="E1E1E1"/>
                                      </p:to>
                                    </p:animClr>
                                    <p:set>
                                      <p:cBhvr>
                                        <p:cTn id="271" dur="500" fill="hold"/>
                                        <p:tgtEl>
                                          <p:spTgt spid="584"/>
                                        </p:tgtEl>
                                        <p:attrNameLst>
                                          <p:attrName>fill.type</p:attrName>
                                        </p:attrNameLst>
                                      </p:cBhvr>
                                      <p:to>
                                        <p:strVal val="solid"/>
                                      </p:to>
                                    </p:set>
                                    <p:set>
                                      <p:cBhvr>
                                        <p:cTn id="272" dur="500" fill="hold"/>
                                        <p:tgtEl>
                                          <p:spTgt spid="584"/>
                                        </p:tgtEl>
                                        <p:attrNameLst>
                                          <p:attrName>fill.on</p:attrName>
                                        </p:attrNameLst>
                                      </p:cBhvr>
                                      <p:to>
                                        <p:strVal val="true"/>
                                      </p:to>
                                    </p:set>
                                  </p:childTnLst>
                                </p:cTn>
                              </p:par>
                              <p:par>
                                <p:cTn id="273" presetID="1" presetClass="emph" presetSubtype="2" decel="100000" fill="hold" nodeType="withEffect">
                                  <p:stCondLst>
                                    <p:cond delay="0"/>
                                  </p:stCondLst>
                                  <p:childTnLst>
                                    <p:animClr clrSpc="rgb" dir="cw">
                                      <p:cBhvr>
                                        <p:cTn id="274" dur="500" fill="hold"/>
                                        <p:tgtEl>
                                          <p:spTgt spid="651"/>
                                        </p:tgtEl>
                                        <p:attrNameLst>
                                          <p:attrName>fillcolor</p:attrName>
                                        </p:attrNameLst>
                                      </p:cBhvr>
                                      <p:to>
                                        <a:srgbClr val="E1E1E1"/>
                                      </p:to>
                                    </p:animClr>
                                    <p:set>
                                      <p:cBhvr>
                                        <p:cTn id="275" dur="500" fill="hold"/>
                                        <p:tgtEl>
                                          <p:spTgt spid="651"/>
                                        </p:tgtEl>
                                        <p:attrNameLst>
                                          <p:attrName>fill.type</p:attrName>
                                        </p:attrNameLst>
                                      </p:cBhvr>
                                      <p:to>
                                        <p:strVal val="solid"/>
                                      </p:to>
                                    </p:set>
                                    <p:set>
                                      <p:cBhvr>
                                        <p:cTn id="276" dur="500" fill="hold"/>
                                        <p:tgtEl>
                                          <p:spTgt spid="651"/>
                                        </p:tgtEl>
                                        <p:attrNameLst>
                                          <p:attrName>fill.on</p:attrName>
                                        </p:attrNameLst>
                                      </p:cBhvr>
                                      <p:to>
                                        <p:strVal val="true"/>
                                      </p:to>
                                    </p:set>
                                  </p:childTnLst>
                                </p:cTn>
                              </p:par>
                              <p:par>
                                <p:cTn id="277" presetID="1" presetClass="emph" presetSubtype="2" decel="100000" fill="hold" nodeType="withEffect">
                                  <p:stCondLst>
                                    <p:cond delay="0"/>
                                  </p:stCondLst>
                                  <p:childTnLst>
                                    <p:animClr clrSpc="rgb" dir="cw">
                                      <p:cBhvr>
                                        <p:cTn id="278" dur="500" fill="hold"/>
                                        <p:tgtEl>
                                          <p:spTgt spid="606"/>
                                        </p:tgtEl>
                                        <p:attrNameLst>
                                          <p:attrName>fillcolor</p:attrName>
                                        </p:attrNameLst>
                                      </p:cBhvr>
                                      <p:to>
                                        <a:srgbClr val="E1E1E1"/>
                                      </p:to>
                                    </p:animClr>
                                    <p:set>
                                      <p:cBhvr>
                                        <p:cTn id="279" dur="500" fill="hold"/>
                                        <p:tgtEl>
                                          <p:spTgt spid="606"/>
                                        </p:tgtEl>
                                        <p:attrNameLst>
                                          <p:attrName>fill.type</p:attrName>
                                        </p:attrNameLst>
                                      </p:cBhvr>
                                      <p:to>
                                        <p:strVal val="solid"/>
                                      </p:to>
                                    </p:set>
                                    <p:set>
                                      <p:cBhvr>
                                        <p:cTn id="280" dur="500" fill="hold"/>
                                        <p:tgtEl>
                                          <p:spTgt spid="606"/>
                                        </p:tgtEl>
                                        <p:attrNameLst>
                                          <p:attrName>fill.on</p:attrName>
                                        </p:attrNameLst>
                                      </p:cBhvr>
                                      <p:to>
                                        <p:strVal val="true"/>
                                      </p:to>
                                    </p:set>
                                  </p:childTnLst>
                                </p:cTn>
                              </p:par>
                              <p:par>
                                <p:cTn id="281" presetID="1" presetClass="emph" presetSubtype="2" decel="100000" fill="hold" nodeType="withEffect">
                                  <p:stCondLst>
                                    <p:cond delay="0"/>
                                  </p:stCondLst>
                                  <p:childTnLst>
                                    <p:animClr clrSpc="rgb" dir="cw">
                                      <p:cBhvr>
                                        <p:cTn id="282" dur="500" fill="hold"/>
                                        <p:tgtEl>
                                          <p:spTgt spid="649"/>
                                        </p:tgtEl>
                                        <p:attrNameLst>
                                          <p:attrName>fillcolor</p:attrName>
                                        </p:attrNameLst>
                                      </p:cBhvr>
                                      <p:to>
                                        <a:srgbClr val="E1E1E1"/>
                                      </p:to>
                                    </p:animClr>
                                    <p:set>
                                      <p:cBhvr>
                                        <p:cTn id="283" dur="500" fill="hold"/>
                                        <p:tgtEl>
                                          <p:spTgt spid="649"/>
                                        </p:tgtEl>
                                        <p:attrNameLst>
                                          <p:attrName>fill.type</p:attrName>
                                        </p:attrNameLst>
                                      </p:cBhvr>
                                      <p:to>
                                        <p:strVal val="solid"/>
                                      </p:to>
                                    </p:set>
                                    <p:set>
                                      <p:cBhvr>
                                        <p:cTn id="284" dur="500" fill="hold"/>
                                        <p:tgtEl>
                                          <p:spTgt spid="649"/>
                                        </p:tgtEl>
                                        <p:attrNameLst>
                                          <p:attrName>fill.on</p:attrName>
                                        </p:attrNameLst>
                                      </p:cBhvr>
                                      <p:to>
                                        <p:strVal val="true"/>
                                      </p:to>
                                    </p:set>
                                  </p:childTnLst>
                                </p:cTn>
                              </p:par>
                              <p:par>
                                <p:cTn id="285" presetID="7" presetClass="emph" presetSubtype="2" decel="100000" fill="hold" nodeType="withEffect">
                                  <p:stCondLst>
                                    <p:cond delay="0"/>
                                  </p:stCondLst>
                                  <p:childTnLst>
                                    <p:animClr clrSpc="rgb" dir="cw">
                                      <p:cBhvr>
                                        <p:cTn id="286" dur="500" fill="hold"/>
                                        <p:tgtEl>
                                          <p:spTgt spid="832"/>
                                        </p:tgtEl>
                                        <p:attrNameLst>
                                          <p:attrName>stroke.color</p:attrName>
                                        </p:attrNameLst>
                                      </p:cBhvr>
                                      <p:to>
                                        <a:srgbClr val="F2F2F2"/>
                                      </p:to>
                                    </p:animClr>
                                    <p:set>
                                      <p:cBhvr>
                                        <p:cTn id="287" dur="500" fill="hold"/>
                                        <p:tgtEl>
                                          <p:spTgt spid="832"/>
                                        </p:tgtEl>
                                        <p:attrNameLst>
                                          <p:attrName>stroke.on</p:attrName>
                                        </p:attrNameLst>
                                      </p:cBhvr>
                                      <p:to>
                                        <p:strVal val="true"/>
                                      </p:to>
                                    </p:set>
                                  </p:childTnLst>
                                </p:cTn>
                              </p:par>
                              <p:par>
                                <p:cTn id="288" presetID="7" presetClass="emph" presetSubtype="2" decel="100000" fill="hold" nodeType="withEffect">
                                  <p:stCondLst>
                                    <p:cond delay="0"/>
                                  </p:stCondLst>
                                  <p:childTnLst>
                                    <p:animClr clrSpc="rgb" dir="cw">
                                      <p:cBhvr>
                                        <p:cTn id="289" dur="500" fill="hold"/>
                                        <p:tgtEl>
                                          <p:spTgt spid="833"/>
                                        </p:tgtEl>
                                        <p:attrNameLst>
                                          <p:attrName>stroke.color</p:attrName>
                                        </p:attrNameLst>
                                      </p:cBhvr>
                                      <p:to>
                                        <a:srgbClr val="F2F2F2"/>
                                      </p:to>
                                    </p:animClr>
                                    <p:set>
                                      <p:cBhvr>
                                        <p:cTn id="290" dur="500" fill="hold"/>
                                        <p:tgtEl>
                                          <p:spTgt spid="833"/>
                                        </p:tgtEl>
                                        <p:attrNameLst>
                                          <p:attrName>stroke.on</p:attrName>
                                        </p:attrNameLst>
                                      </p:cBhvr>
                                      <p:to>
                                        <p:strVal val="true"/>
                                      </p:to>
                                    </p:set>
                                  </p:childTnLst>
                                </p:cTn>
                              </p:par>
                              <p:par>
                                <p:cTn id="291" presetID="7" presetClass="emph" presetSubtype="2" decel="100000" fill="hold" nodeType="withEffect">
                                  <p:stCondLst>
                                    <p:cond delay="0"/>
                                  </p:stCondLst>
                                  <p:childTnLst>
                                    <p:animClr clrSpc="rgb" dir="cw">
                                      <p:cBhvr>
                                        <p:cTn id="292" dur="500" fill="hold"/>
                                        <p:tgtEl>
                                          <p:spTgt spid="834"/>
                                        </p:tgtEl>
                                        <p:attrNameLst>
                                          <p:attrName>stroke.color</p:attrName>
                                        </p:attrNameLst>
                                      </p:cBhvr>
                                      <p:to>
                                        <a:srgbClr val="F2F2F2"/>
                                      </p:to>
                                    </p:animClr>
                                    <p:set>
                                      <p:cBhvr>
                                        <p:cTn id="293" dur="500" fill="hold"/>
                                        <p:tgtEl>
                                          <p:spTgt spid="834"/>
                                        </p:tgtEl>
                                        <p:attrNameLst>
                                          <p:attrName>stroke.on</p:attrName>
                                        </p:attrNameLst>
                                      </p:cBhvr>
                                      <p:to>
                                        <p:strVal val="true"/>
                                      </p:to>
                                    </p:set>
                                  </p:childTnLst>
                                </p:cTn>
                              </p:par>
                              <p:par>
                                <p:cTn id="294" presetID="7" presetClass="emph" presetSubtype="2" decel="100000" fill="hold" nodeType="withEffect">
                                  <p:stCondLst>
                                    <p:cond delay="0"/>
                                  </p:stCondLst>
                                  <p:childTnLst>
                                    <p:animClr clrSpc="rgb" dir="cw">
                                      <p:cBhvr>
                                        <p:cTn id="295" dur="500" fill="hold"/>
                                        <p:tgtEl>
                                          <p:spTgt spid="835"/>
                                        </p:tgtEl>
                                        <p:attrNameLst>
                                          <p:attrName>stroke.color</p:attrName>
                                        </p:attrNameLst>
                                      </p:cBhvr>
                                      <p:to>
                                        <a:srgbClr val="F2F2F2"/>
                                      </p:to>
                                    </p:animClr>
                                    <p:set>
                                      <p:cBhvr>
                                        <p:cTn id="296" dur="500" fill="hold"/>
                                        <p:tgtEl>
                                          <p:spTgt spid="835"/>
                                        </p:tgtEl>
                                        <p:attrNameLst>
                                          <p:attrName>stroke.on</p:attrName>
                                        </p:attrNameLst>
                                      </p:cBhvr>
                                      <p:to>
                                        <p:strVal val="true"/>
                                      </p:to>
                                    </p:set>
                                  </p:childTnLst>
                                </p:cTn>
                              </p:par>
                              <p:par>
                                <p:cTn id="297" presetID="7" presetClass="emph" presetSubtype="2" decel="100000" fill="hold" nodeType="withEffect">
                                  <p:stCondLst>
                                    <p:cond delay="0"/>
                                  </p:stCondLst>
                                  <p:childTnLst>
                                    <p:animClr clrSpc="rgb" dir="cw">
                                      <p:cBhvr>
                                        <p:cTn id="298" dur="500" fill="hold"/>
                                        <p:tgtEl>
                                          <p:spTgt spid="836"/>
                                        </p:tgtEl>
                                        <p:attrNameLst>
                                          <p:attrName>stroke.color</p:attrName>
                                        </p:attrNameLst>
                                      </p:cBhvr>
                                      <p:to>
                                        <a:srgbClr val="F2F2F2"/>
                                      </p:to>
                                    </p:animClr>
                                    <p:set>
                                      <p:cBhvr>
                                        <p:cTn id="299" dur="500" fill="hold"/>
                                        <p:tgtEl>
                                          <p:spTgt spid="836"/>
                                        </p:tgtEl>
                                        <p:attrNameLst>
                                          <p:attrName>stroke.on</p:attrName>
                                        </p:attrNameLst>
                                      </p:cBhvr>
                                      <p:to>
                                        <p:strVal val="true"/>
                                      </p:to>
                                    </p:set>
                                  </p:childTnLst>
                                </p:cTn>
                              </p:par>
                              <p:par>
                                <p:cTn id="300" presetID="7" presetClass="emph" presetSubtype="2" decel="100000" fill="hold" nodeType="withEffect">
                                  <p:stCondLst>
                                    <p:cond delay="0"/>
                                  </p:stCondLst>
                                  <p:childTnLst>
                                    <p:animClr clrSpc="rgb" dir="cw">
                                      <p:cBhvr>
                                        <p:cTn id="301" dur="500" fill="hold"/>
                                        <p:tgtEl>
                                          <p:spTgt spid="837"/>
                                        </p:tgtEl>
                                        <p:attrNameLst>
                                          <p:attrName>stroke.color</p:attrName>
                                        </p:attrNameLst>
                                      </p:cBhvr>
                                      <p:to>
                                        <a:srgbClr val="F2F2F2"/>
                                      </p:to>
                                    </p:animClr>
                                    <p:set>
                                      <p:cBhvr>
                                        <p:cTn id="302" dur="500" fill="hold"/>
                                        <p:tgtEl>
                                          <p:spTgt spid="837"/>
                                        </p:tgtEl>
                                        <p:attrNameLst>
                                          <p:attrName>stroke.on</p:attrName>
                                        </p:attrNameLst>
                                      </p:cBhvr>
                                      <p:to>
                                        <p:strVal val="true"/>
                                      </p:to>
                                    </p:set>
                                  </p:childTnLst>
                                </p:cTn>
                              </p:par>
                              <p:par>
                                <p:cTn id="303" presetID="7" presetClass="emph" presetSubtype="2" decel="100000" fill="hold" nodeType="withEffect">
                                  <p:stCondLst>
                                    <p:cond delay="0"/>
                                  </p:stCondLst>
                                  <p:childTnLst>
                                    <p:animClr clrSpc="rgb" dir="cw">
                                      <p:cBhvr>
                                        <p:cTn id="304" dur="500" fill="hold"/>
                                        <p:tgtEl>
                                          <p:spTgt spid="838"/>
                                        </p:tgtEl>
                                        <p:attrNameLst>
                                          <p:attrName>stroke.color</p:attrName>
                                        </p:attrNameLst>
                                      </p:cBhvr>
                                      <p:to>
                                        <a:srgbClr val="F2F2F2"/>
                                      </p:to>
                                    </p:animClr>
                                    <p:set>
                                      <p:cBhvr>
                                        <p:cTn id="305" dur="500" fill="hold"/>
                                        <p:tgtEl>
                                          <p:spTgt spid="838"/>
                                        </p:tgtEl>
                                        <p:attrNameLst>
                                          <p:attrName>stroke.on</p:attrName>
                                        </p:attrNameLst>
                                      </p:cBhvr>
                                      <p:to>
                                        <p:strVal val="true"/>
                                      </p:to>
                                    </p:set>
                                  </p:childTnLst>
                                </p:cTn>
                              </p:par>
                              <p:par>
                                <p:cTn id="306" presetID="7" presetClass="emph" presetSubtype="2" decel="100000" fill="hold" nodeType="withEffect">
                                  <p:stCondLst>
                                    <p:cond delay="0"/>
                                  </p:stCondLst>
                                  <p:childTnLst>
                                    <p:animClr clrSpc="rgb" dir="cw">
                                      <p:cBhvr>
                                        <p:cTn id="307" dur="500" fill="hold"/>
                                        <p:tgtEl>
                                          <p:spTgt spid="839"/>
                                        </p:tgtEl>
                                        <p:attrNameLst>
                                          <p:attrName>stroke.color</p:attrName>
                                        </p:attrNameLst>
                                      </p:cBhvr>
                                      <p:to>
                                        <a:srgbClr val="F2F2F2"/>
                                      </p:to>
                                    </p:animClr>
                                    <p:set>
                                      <p:cBhvr>
                                        <p:cTn id="308" dur="500" fill="hold"/>
                                        <p:tgtEl>
                                          <p:spTgt spid="839"/>
                                        </p:tgtEl>
                                        <p:attrNameLst>
                                          <p:attrName>stroke.on</p:attrName>
                                        </p:attrNameLst>
                                      </p:cBhvr>
                                      <p:to>
                                        <p:strVal val="true"/>
                                      </p:to>
                                    </p:set>
                                  </p:childTnLst>
                                </p:cTn>
                              </p:par>
                              <p:par>
                                <p:cTn id="309" presetID="7" presetClass="emph" presetSubtype="2" decel="100000" fill="hold" nodeType="withEffect">
                                  <p:stCondLst>
                                    <p:cond delay="0"/>
                                  </p:stCondLst>
                                  <p:childTnLst>
                                    <p:animClr clrSpc="rgb" dir="cw">
                                      <p:cBhvr>
                                        <p:cTn id="310" dur="500" fill="hold"/>
                                        <p:tgtEl>
                                          <p:spTgt spid="840"/>
                                        </p:tgtEl>
                                        <p:attrNameLst>
                                          <p:attrName>stroke.color</p:attrName>
                                        </p:attrNameLst>
                                      </p:cBhvr>
                                      <p:to>
                                        <a:srgbClr val="F2F2F2"/>
                                      </p:to>
                                    </p:animClr>
                                    <p:set>
                                      <p:cBhvr>
                                        <p:cTn id="311" dur="500" fill="hold"/>
                                        <p:tgtEl>
                                          <p:spTgt spid="840"/>
                                        </p:tgtEl>
                                        <p:attrNameLst>
                                          <p:attrName>stroke.on</p:attrName>
                                        </p:attrNameLst>
                                      </p:cBhvr>
                                      <p:to>
                                        <p:strVal val="true"/>
                                      </p:to>
                                    </p:set>
                                  </p:childTnLst>
                                </p:cTn>
                              </p:par>
                              <p:par>
                                <p:cTn id="312" presetID="7" presetClass="emph" presetSubtype="2" decel="100000" fill="hold" nodeType="withEffect">
                                  <p:stCondLst>
                                    <p:cond delay="0"/>
                                  </p:stCondLst>
                                  <p:childTnLst>
                                    <p:animClr clrSpc="rgb" dir="cw">
                                      <p:cBhvr>
                                        <p:cTn id="313" dur="500" fill="hold"/>
                                        <p:tgtEl>
                                          <p:spTgt spid="841"/>
                                        </p:tgtEl>
                                        <p:attrNameLst>
                                          <p:attrName>stroke.color</p:attrName>
                                        </p:attrNameLst>
                                      </p:cBhvr>
                                      <p:to>
                                        <a:srgbClr val="F2F2F2"/>
                                      </p:to>
                                    </p:animClr>
                                    <p:set>
                                      <p:cBhvr>
                                        <p:cTn id="314" dur="500" fill="hold"/>
                                        <p:tgtEl>
                                          <p:spTgt spid="841"/>
                                        </p:tgtEl>
                                        <p:attrNameLst>
                                          <p:attrName>stroke.on</p:attrName>
                                        </p:attrNameLst>
                                      </p:cBhvr>
                                      <p:to>
                                        <p:strVal val="true"/>
                                      </p:to>
                                    </p:set>
                                  </p:childTnLst>
                                </p:cTn>
                              </p:par>
                              <p:par>
                                <p:cTn id="315" presetID="7" presetClass="emph" presetSubtype="2" decel="100000" fill="hold" nodeType="withEffect">
                                  <p:stCondLst>
                                    <p:cond delay="0"/>
                                  </p:stCondLst>
                                  <p:childTnLst>
                                    <p:animClr clrSpc="rgb" dir="cw">
                                      <p:cBhvr>
                                        <p:cTn id="316" dur="500" fill="hold"/>
                                        <p:tgtEl>
                                          <p:spTgt spid="842"/>
                                        </p:tgtEl>
                                        <p:attrNameLst>
                                          <p:attrName>stroke.color</p:attrName>
                                        </p:attrNameLst>
                                      </p:cBhvr>
                                      <p:to>
                                        <a:srgbClr val="F2F2F2"/>
                                      </p:to>
                                    </p:animClr>
                                    <p:set>
                                      <p:cBhvr>
                                        <p:cTn id="317" dur="500" fill="hold"/>
                                        <p:tgtEl>
                                          <p:spTgt spid="842"/>
                                        </p:tgtEl>
                                        <p:attrNameLst>
                                          <p:attrName>stroke.on</p:attrName>
                                        </p:attrNameLst>
                                      </p:cBhvr>
                                      <p:to>
                                        <p:strVal val="true"/>
                                      </p:to>
                                    </p:set>
                                  </p:childTnLst>
                                </p:cTn>
                              </p:par>
                              <p:par>
                                <p:cTn id="318" presetID="7" presetClass="emph" presetSubtype="2" decel="100000" fill="hold" nodeType="withEffect">
                                  <p:stCondLst>
                                    <p:cond delay="0"/>
                                  </p:stCondLst>
                                  <p:childTnLst>
                                    <p:animClr clrSpc="rgb" dir="cw">
                                      <p:cBhvr>
                                        <p:cTn id="319" dur="500" fill="hold"/>
                                        <p:tgtEl>
                                          <p:spTgt spid="843"/>
                                        </p:tgtEl>
                                        <p:attrNameLst>
                                          <p:attrName>stroke.color</p:attrName>
                                        </p:attrNameLst>
                                      </p:cBhvr>
                                      <p:to>
                                        <a:srgbClr val="F2F2F2"/>
                                      </p:to>
                                    </p:animClr>
                                    <p:set>
                                      <p:cBhvr>
                                        <p:cTn id="320" dur="500" fill="hold"/>
                                        <p:tgtEl>
                                          <p:spTgt spid="843"/>
                                        </p:tgtEl>
                                        <p:attrNameLst>
                                          <p:attrName>stroke.on</p:attrName>
                                        </p:attrNameLst>
                                      </p:cBhvr>
                                      <p:to>
                                        <p:strVal val="true"/>
                                      </p:to>
                                    </p:set>
                                  </p:childTnLst>
                                </p:cTn>
                              </p:par>
                              <p:par>
                                <p:cTn id="321" presetID="7" presetClass="emph" presetSubtype="2" decel="100000" fill="hold" nodeType="withEffect">
                                  <p:stCondLst>
                                    <p:cond delay="0"/>
                                  </p:stCondLst>
                                  <p:childTnLst>
                                    <p:animClr clrSpc="rgb" dir="cw">
                                      <p:cBhvr>
                                        <p:cTn id="322" dur="500" fill="hold"/>
                                        <p:tgtEl>
                                          <p:spTgt spid="844"/>
                                        </p:tgtEl>
                                        <p:attrNameLst>
                                          <p:attrName>stroke.color</p:attrName>
                                        </p:attrNameLst>
                                      </p:cBhvr>
                                      <p:to>
                                        <a:srgbClr val="F2F2F2"/>
                                      </p:to>
                                    </p:animClr>
                                    <p:set>
                                      <p:cBhvr>
                                        <p:cTn id="323" dur="500" fill="hold"/>
                                        <p:tgtEl>
                                          <p:spTgt spid="844"/>
                                        </p:tgtEl>
                                        <p:attrNameLst>
                                          <p:attrName>stroke.on</p:attrName>
                                        </p:attrNameLst>
                                      </p:cBhvr>
                                      <p:to>
                                        <p:strVal val="true"/>
                                      </p:to>
                                    </p:set>
                                  </p:childTnLst>
                                </p:cTn>
                              </p:par>
                              <p:par>
                                <p:cTn id="324" presetID="7" presetClass="emph" presetSubtype="2" decel="100000" fill="hold" nodeType="withEffect">
                                  <p:stCondLst>
                                    <p:cond delay="0"/>
                                  </p:stCondLst>
                                  <p:childTnLst>
                                    <p:animClr clrSpc="rgb" dir="cw">
                                      <p:cBhvr>
                                        <p:cTn id="325" dur="500" fill="hold"/>
                                        <p:tgtEl>
                                          <p:spTgt spid="845"/>
                                        </p:tgtEl>
                                        <p:attrNameLst>
                                          <p:attrName>stroke.color</p:attrName>
                                        </p:attrNameLst>
                                      </p:cBhvr>
                                      <p:to>
                                        <a:srgbClr val="F2F2F2"/>
                                      </p:to>
                                    </p:animClr>
                                    <p:set>
                                      <p:cBhvr>
                                        <p:cTn id="326" dur="500" fill="hold"/>
                                        <p:tgtEl>
                                          <p:spTgt spid="845"/>
                                        </p:tgtEl>
                                        <p:attrNameLst>
                                          <p:attrName>stroke.on</p:attrName>
                                        </p:attrNameLst>
                                      </p:cBhvr>
                                      <p:to>
                                        <p:strVal val="true"/>
                                      </p:to>
                                    </p:set>
                                  </p:childTnLst>
                                </p:cTn>
                              </p:par>
                              <p:par>
                                <p:cTn id="327" presetID="7" presetClass="emph" presetSubtype="2" decel="100000" fill="hold" nodeType="withEffect">
                                  <p:stCondLst>
                                    <p:cond delay="0"/>
                                  </p:stCondLst>
                                  <p:childTnLst>
                                    <p:animClr clrSpc="rgb" dir="cw">
                                      <p:cBhvr>
                                        <p:cTn id="328" dur="500" fill="hold"/>
                                        <p:tgtEl>
                                          <p:spTgt spid="846"/>
                                        </p:tgtEl>
                                        <p:attrNameLst>
                                          <p:attrName>stroke.color</p:attrName>
                                        </p:attrNameLst>
                                      </p:cBhvr>
                                      <p:to>
                                        <a:srgbClr val="F2F2F2"/>
                                      </p:to>
                                    </p:animClr>
                                    <p:set>
                                      <p:cBhvr>
                                        <p:cTn id="329" dur="500" fill="hold"/>
                                        <p:tgtEl>
                                          <p:spTgt spid="846"/>
                                        </p:tgtEl>
                                        <p:attrNameLst>
                                          <p:attrName>stroke.on</p:attrName>
                                        </p:attrNameLst>
                                      </p:cBhvr>
                                      <p:to>
                                        <p:strVal val="true"/>
                                      </p:to>
                                    </p:set>
                                  </p:childTnLst>
                                </p:cTn>
                              </p:par>
                              <p:par>
                                <p:cTn id="330" presetID="7" presetClass="emph" presetSubtype="2" decel="100000" fill="hold" nodeType="withEffect">
                                  <p:stCondLst>
                                    <p:cond delay="0"/>
                                  </p:stCondLst>
                                  <p:childTnLst>
                                    <p:animClr clrSpc="rgb" dir="cw">
                                      <p:cBhvr>
                                        <p:cTn id="331" dur="500" fill="hold"/>
                                        <p:tgtEl>
                                          <p:spTgt spid="847"/>
                                        </p:tgtEl>
                                        <p:attrNameLst>
                                          <p:attrName>stroke.color</p:attrName>
                                        </p:attrNameLst>
                                      </p:cBhvr>
                                      <p:to>
                                        <a:srgbClr val="F2F2F2"/>
                                      </p:to>
                                    </p:animClr>
                                    <p:set>
                                      <p:cBhvr>
                                        <p:cTn id="332" dur="500" fill="hold"/>
                                        <p:tgtEl>
                                          <p:spTgt spid="847"/>
                                        </p:tgtEl>
                                        <p:attrNameLst>
                                          <p:attrName>stroke.on</p:attrName>
                                        </p:attrNameLst>
                                      </p:cBhvr>
                                      <p:to>
                                        <p:strVal val="true"/>
                                      </p:to>
                                    </p:set>
                                  </p:childTnLst>
                                </p:cTn>
                              </p:par>
                              <p:par>
                                <p:cTn id="333" presetID="7" presetClass="emph" presetSubtype="2" decel="100000" fill="hold" nodeType="withEffect">
                                  <p:stCondLst>
                                    <p:cond delay="0"/>
                                  </p:stCondLst>
                                  <p:childTnLst>
                                    <p:animClr clrSpc="rgb" dir="cw">
                                      <p:cBhvr>
                                        <p:cTn id="334" dur="500" fill="hold"/>
                                        <p:tgtEl>
                                          <p:spTgt spid="848"/>
                                        </p:tgtEl>
                                        <p:attrNameLst>
                                          <p:attrName>stroke.color</p:attrName>
                                        </p:attrNameLst>
                                      </p:cBhvr>
                                      <p:to>
                                        <a:srgbClr val="F2F2F2"/>
                                      </p:to>
                                    </p:animClr>
                                    <p:set>
                                      <p:cBhvr>
                                        <p:cTn id="335" dur="500" fill="hold"/>
                                        <p:tgtEl>
                                          <p:spTgt spid="848"/>
                                        </p:tgtEl>
                                        <p:attrNameLst>
                                          <p:attrName>stroke.on</p:attrName>
                                        </p:attrNameLst>
                                      </p:cBhvr>
                                      <p:to>
                                        <p:strVal val="true"/>
                                      </p:to>
                                    </p:set>
                                  </p:childTnLst>
                                </p:cTn>
                              </p:par>
                              <p:par>
                                <p:cTn id="336" presetID="7" presetClass="emph" presetSubtype="2" decel="100000" fill="hold" nodeType="withEffect">
                                  <p:stCondLst>
                                    <p:cond delay="0"/>
                                  </p:stCondLst>
                                  <p:childTnLst>
                                    <p:animClr clrSpc="rgb" dir="cw">
                                      <p:cBhvr>
                                        <p:cTn id="337" dur="500" fill="hold"/>
                                        <p:tgtEl>
                                          <p:spTgt spid="849"/>
                                        </p:tgtEl>
                                        <p:attrNameLst>
                                          <p:attrName>stroke.color</p:attrName>
                                        </p:attrNameLst>
                                      </p:cBhvr>
                                      <p:to>
                                        <a:srgbClr val="F2F2F2"/>
                                      </p:to>
                                    </p:animClr>
                                    <p:set>
                                      <p:cBhvr>
                                        <p:cTn id="338" dur="500" fill="hold"/>
                                        <p:tgtEl>
                                          <p:spTgt spid="849"/>
                                        </p:tgtEl>
                                        <p:attrNameLst>
                                          <p:attrName>stroke.on</p:attrName>
                                        </p:attrNameLst>
                                      </p:cBhvr>
                                      <p:to>
                                        <p:strVal val="true"/>
                                      </p:to>
                                    </p:set>
                                  </p:childTnLst>
                                </p:cTn>
                              </p:par>
                              <p:par>
                                <p:cTn id="339" presetID="7" presetClass="emph" presetSubtype="2" decel="100000" fill="hold" nodeType="withEffect">
                                  <p:stCondLst>
                                    <p:cond delay="0"/>
                                  </p:stCondLst>
                                  <p:childTnLst>
                                    <p:animClr clrSpc="rgb" dir="cw">
                                      <p:cBhvr>
                                        <p:cTn id="340" dur="500" fill="hold"/>
                                        <p:tgtEl>
                                          <p:spTgt spid="850"/>
                                        </p:tgtEl>
                                        <p:attrNameLst>
                                          <p:attrName>stroke.color</p:attrName>
                                        </p:attrNameLst>
                                      </p:cBhvr>
                                      <p:to>
                                        <a:srgbClr val="F2F2F2"/>
                                      </p:to>
                                    </p:animClr>
                                    <p:set>
                                      <p:cBhvr>
                                        <p:cTn id="341" dur="500" fill="hold"/>
                                        <p:tgtEl>
                                          <p:spTgt spid="850"/>
                                        </p:tgtEl>
                                        <p:attrNameLst>
                                          <p:attrName>stroke.on</p:attrName>
                                        </p:attrNameLst>
                                      </p:cBhvr>
                                      <p:to>
                                        <p:strVal val="true"/>
                                      </p:to>
                                    </p:set>
                                  </p:childTnLst>
                                </p:cTn>
                              </p:par>
                              <p:par>
                                <p:cTn id="342" presetID="7" presetClass="emph" presetSubtype="2" decel="100000" fill="hold" nodeType="withEffect">
                                  <p:stCondLst>
                                    <p:cond delay="0"/>
                                  </p:stCondLst>
                                  <p:childTnLst>
                                    <p:animClr clrSpc="rgb" dir="cw">
                                      <p:cBhvr>
                                        <p:cTn id="343" dur="500" fill="hold"/>
                                        <p:tgtEl>
                                          <p:spTgt spid="851"/>
                                        </p:tgtEl>
                                        <p:attrNameLst>
                                          <p:attrName>stroke.color</p:attrName>
                                        </p:attrNameLst>
                                      </p:cBhvr>
                                      <p:to>
                                        <a:srgbClr val="F2F2F2"/>
                                      </p:to>
                                    </p:animClr>
                                    <p:set>
                                      <p:cBhvr>
                                        <p:cTn id="344" dur="500" fill="hold"/>
                                        <p:tgtEl>
                                          <p:spTgt spid="851"/>
                                        </p:tgtEl>
                                        <p:attrNameLst>
                                          <p:attrName>stroke.on</p:attrName>
                                        </p:attrNameLst>
                                      </p:cBhvr>
                                      <p:to>
                                        <p:strVal val="true"/>
                                      </p:to>
                                    </p:set>
                                  </p:childTnLst>
                                </p:cTn>
                              </p:par>
                              <p:par>
                                <p:cTn id="345" presetID="7" presetClass="emph" presetSubtype="2" decel="100000" fill="hold" nodeType="withEffect">
                                  <p:stCondLst>
                                    <p:cond delay="0"/>
                                  </p:stCondLst>
                                  <p:childTnLst>
                                    <p:animClr clrSpc="rgb" dir="cw">
                                      <p:cBhvr>
                                        <p:cTn id="346" dur="500" fill="hold"/>
                                        <p:tgtEl>
                                          <p:spTgt spid="852"/>
                                        </p:tgtEl>
                                        <p:attrNameLst>
                                          <p:attrName>stroke.color</p:attrName>
                                        </p:attrNameLst>
                                      </p:cBhvr>
                                      <p:to>
                                        <a:srgbClr val="F2F2F2"/>
                                      </p:to>
                                    </p:animClr>
                                    <p:set>
                                      <p:cBhvr>
                                        <p:cTn id="347" dur="500" fill="hold"/>
                                        <p:tgtEl>
                                          <p:spTgt spid="852"/>
                                        </p:tgtEl>
                                        <p:attrNameLst>
                                          <p:attrName>stroke.on</p:attrName>
                                        </p:attrNameLst>
                                      </p:cBhvr>
                                      <p:to>
                                        <p:strVal val="true"/>
                                      </p:to>
                                    </p:set>
                                  </p:childTnLst>
                                </p:cTn>
                              </p:par>
                              <p:par>
                                <p:cTn id="348" presetID="7" presetClass="emph" presetSubtype="2" decel="100000" fill="hold" nodeType="withEffect">
                                  <p:stCondLst>
                                    <p:cond delay="0"/>
                                  </p:stCondLst>
                                  <p:childTnLst>
                                    <p:animClr clrSpc="rgb" dir="cw">
                                      <p:cBhvr>
                                        <p:cTn id="349" dur="500" fill="hold"/>
                                        <p:tgtEl>
                                          <p:spTgt spid="853"/>
                                        </p:tgtEl>
                                        <p:attrNameLst>
                                          <p:attrName>stroke.color</p:attrName>
                                        </p:attrNameLst>
                                      </p:cBhvr>
                                      <p:to>
                                        <a:srgbClr val="F2F2F2"/>
                                      </p:to>
                                    </p:animClr>
                                    <p:set>
                                      <p:cBhvr>
                                        <p:cTn id="350" dur="500" fill="hold"/>
                                        <p:tgtEl>
                                          <p:spTgt spid="853"/>
                                        </p:tgtEl>
                                        <p:attrNameLst>
                                          <p:attrName>stroke.on</p:attrName>
                                        </p:attrNameLst>
                                      </p:cBhvr>
                                      <p:to>
                                        <p:strVal val="true"/>
                                      </p:to>
                                    </p:set>
                                  </p:childTnLst>
                                </p:cTn>
                              </p:par>
                              <p:par>
                                <p:cTn id="351" presetID="7" presetClass="emph" presetSubtype="2" decel="100000" fill="hold" nodeType="withEffect">
                                  <p:stCondLst>
                                    <p:cond delay="0"/>
                                  </p:stCondLst>
                                  <p:childTnLst>
                                    <p:animClr clrSpc="rgb" dir="cw">
                                      <p:cBhvr>
                                        <p:cTn id="352" dur="500" fill="hold"/>
                                        <p:tgtEl>
                                          <p:spTgt spid="854"/>
                                        </p:tgtEl>
                                        <p:attrNameLst>
                                          <p:attrName>stroke.color</p:attrName>
                                        </p:attrNameLst>
                                      </p:cBhvr>
                                      <p:to>
                                        <a:srgbClr val="F2F2F2"/>
                                      </p:to>
                                    </p:animClr>
                                    <p:set>
                                      <p:cBhvr>
                                        <p:cTn id="353" dur="500" fill="hold"/>
                                        <p:tgtEl>
                                          <p:spTgt spid="854"/>
                                        </p:tgtEl>
                                        <p:attrNameLst>
                                          <p:attrName>stroke.on</p:attrName>
                                        </p:attrNameLst>
                                      </p:cBhvr>
                                      <p:to>
                                        <p:strVal val="true"/>
                                      </p:to>
                                    </p:set>
                                  </p:childTnLst>
                                </p:cTn>
                              </p:par>
                              <p:par>
                                <p:cTn id="354" presetID="7" presetClass="emph" presetSubtype="2" decel="100000" fill="hold" nodeType="withEffect">
                                  <p:stCondLst>
                                    <p:cond delay="0"/>
                                  </p:stCondLst>
                                  <p:childTnLst>
                                    <p:animClr clrSpc="rgb" dir="cw">
                                      <p:cBhvr>
                                        <p:cTn id="355" dur="500" fill="hold"/>
                                        <p:tgtEl>
                                          <p:spTgt spid="855"/>
                                        </p:tgtEl>
                                        <p:attrNameLst>
                                          <p:attrName>stroke.color</p:attrName>
                                        </p:attrNameLst>
                                      </p:cBhvr>
                                      <p:to>
                                        <a:srgbClr val="F2F2F2"/>
                                      </p:to>
                                    </p:animClr>
                                    <p:set>
                                      <p:cBhvr>
                                        <p:cTn id="356" dur="500" fill="hold"/>
                                        <p:tgtEl>
                                          <p:spTgt spid="855"/>
                                        </p:tgtEl>
                                        <p:attrNameLst>
                                          <p:attrName>stroke.on</p:attrName>
                                        </p:attrNameLst>
                                      </p:cBhvr>
                                      <p:to>
                                        <p:strVal val="true"/>
                                      </p:to>
                                    </p:set>
                                  </p:childTnLst>
                                </p:cTn>
                              </p:par>
                              <p:par>
                                <p:cTn id="357" presetID="7" presetClass="emph" presetSubtype="2" decel="100000" fill="hold" nodeType="withEffect">
                                  <p:stCondLst>
                                    <p:cond delay="0"/>
                                  </p:stCondLst>
                                  <p:childTnLst>
                                    <p:animClr clrSpc="rgb" dir="cw">
                                      <p:cBhvr>
                                        <p:cTn id="358" dur="500" fill="hold"/>
                                        <p:tgtEl>
                                          <p:spTgt spid="856"/>
                                        </p:tgtEl>
                                        <p:attrNameLst>
                                          <p:attrName>stroke.color</p:attrName>
                                        </p:attrNameLst>
                                      </p:cBhvr>
                                      <p:to>
                                        <a:srgbClr val="F2F2F2"/>
                                      </p:to>
                                    </p:animClr>
                                    <p:set>
                                      <p:cBhvr>
                                        <p:cTn id="359" dur="500" fill="hold"/>
                                        <p:tgtEl>
                                          <p:spTgt spid="856"/>
                                        </p:tgtEl>
                                        <p:attrNameLst>
                                          <p:attrName>stroke.on</p:attrName>
                                        </p:attrNameLst>
                                      </p:cBhvr>
                                      <p:to>
                                        <p:strVal val="true"/>
                                      </p:to>
                                    </p:set>
                                  </p:childTnLst>
                                </p:cTn>
                              </p:par>
                              <p:par>
                                <p:cTn id="360" presetID="7" presetClass="emph" presetSubtype="2" decel="100000" fill="hold" nodeType="withEffect">
                                  <p:stCondLst>
                                    <p:cond delay="0"/>
                                  </p:stCondLst>
                                  <p:childTnLst>
                                    <p:animClr clrSpc="rgb" dir="cw">
                                      <p:cBhvr>
                                        <p:cTn id="361" dur="500" fill="hold"/>
                                        <p:tgtEl>
                                          <p:spTgt spid="857"/>
                                        </p:tgtEl>
                                        <p:attrNameLst>
                                          <p:attrName>stroke.color</p:attrName>
                                        </p:attrNameLst>
                                      </p:cBhvr>
                                      <p:to>
                                        <a:srgbClr val="F2F2F2"/>
                                      </p:to>
                                    </p:animClr>
                                    <p:set>
                                      <p:cBhvr>
                                        <p:cTn id="362" dur="500" fill="hold"/>
                                        <p:tgtEl>
                                          <p:spTgt spid="857"/>
                                        </p:tgtEl>
                                        <p:attrNameLst>
                                          <p:attrName>stroke.on</p:attrName>
                                        </p:attrNameLst>
                                      </p:cBhvr>
                                      <p:to>
                                        <p:strVal val="true"/>
                                      </p:to>
                                    </p:set>
                                  </p:childTnLst>
                                </p:cTn>
                              </p:par>
                              <p:par>
                                <p:cTn id="363" presetID="7" presetClass="emph" presetSubtype="2" decel="100000" fill="hold" nodeType="withEffect">
                                  <p:stCondLst>
                                    <p:cond delay="0"/>
                                  </p:stCondLst>
                                  <p:childTnLst>
                                    <p:animClr clrSpc="rgb" dir="cw">
                                      <p:cBhvr>
                                        <p:cTn id="364" dur="500" fill="hold"/>
                                        <p:tgtEl>
                                          <p:spTgt spid="858"/>
                                        </p:tgtEl>
                                        <p:attrNameLst>
                                          <p:attrName>stroke.color</p:attrName>
                                        </p:attrNameLst>
                                      </p:cBhvr>
                                      <p:to>
                                        <a:srgbClr val="F2F2F2"/>
                                      </p:to>
                                    </p:animClr>
                                    <p:set>
                                      <p:cBhvr>
                                        <p:cTn id="365" dur="500" fill="hold"/>
                                        <p:tgtEl>
                                          <p:spTgt spid="858"/>
                                        </p:tgtEl>
                                        <p:attrNameLst>
                                          <p:attrName>stroke.on</p:attrName>
                                        </p:attrNameLst>
                                      </p:cBhvr>
                                      <p:to>
                                        <p:strVal val="true"/>
                                      </p:to>
                                    </p:set>
                                  </p:childTnLst>
                                </p:cTn>
                              </p:par>
                              <p:par>
                                <p:cTn id="366" presetID="7" presetClass="emph" presetSubtype="2" decel="100000" fill="hold" nodeType="withEffect">
                                  <p:stCondLst>
                                    <p:cond delay="0"/>
                                  </p:stCondLst>
                                  <p:childTnLst>
                                    <p:animClr clrSpc="rgb" dir="cw">
                                      <p:cBhvr>
                                        <p:cTn id="367" dur="500" fill="hold"/>
                                        <p:tgtEl>
                                          <p:spTgt spid="859"/>
                                        </p:tgtEl>
                                        <p:attrNameLst>
                                          <p:attrName>stroke.color</p:attrName>
                                        </p:attrNameLst>
                                      </p:cBhvr>
                                      <p:to>
                                        <a:srgbClr val="F2F2F2"/>
                                      </p:to>
                                    </p:animClr>
                                    <p:set>
                                      <p:cBhvr>
                                        <p:cTn id="368" dur="500" fill="hold"/>
                                        <p:tgtEl>
                                          <p:spTgt spid="859"/>
                                        </p:tgtEl>
                                        <p:attrNameLst>
                                          <p:attrName>stroke.on</p:attrName>
                                        </p:attrNameLst>
                                      </p:cBhvr>
                                      <p:to>
                                        <p:strVal val="true"/>
                                      </p:to>
                                    </p:set>
                                  </p:childTnLst>
                                </p:cTn>
                              </p:par>
                              <p:par>
                                <p:cTn id="369" presetID="7" presetClass="emph" presetSubtype="2" decel="100000" fill="hold" nodeType="withEffect">
                                  <p:stCondLst>
                                    <p:cond delay="0"/>
                                  </p:stCondLst>
                                  <p:childTnLst>
                                    <p:animClr clrSpc="rgb" dir="cw">
                                      <p:cBhvr>
                                        <p:cTn id="370" dur="500" fill="hold"/>
                                        <p:tgtEl>
                                          <p:spTgt spid="860"/>
                                        </p:tgtEl>
                                        <p:attrNameLst>
                                          <p:attrName>stroke.color</p:attrName>
                                        </p:attrNameLst>
                                      </p:cBhvr>
                                      <p:to>
                                        <a:srgbClr val="F2F2F2"/>
                                      </p:to>
                                    </p:animClr>
                                    <p:set>
                                      <p:cBhvr>
                                        <p:cTn id="371" dur="500" fill="hold"/>
                                        <p:tgtEl>
                                          <p:spTgt spid="860"/>
                                        </p:tgtEl>
                                        <p:attrNameLst>
                                          <p:attrName>stroke.on</p:attrName>
                                        </p:attrNameLst>
                                      </p:cBhvr>
                                      <p:to>
                                        <p:strVal val="true"/>
                                      </p:to>
                                    </p:set>
                                  </p:childTnLst>
                                </p:cTn>
                              </p:par>
                              <p:par>
                                <p:cTn id="372" presetID="7" presetClass="emph" presetSubtype="2" decel="100000" fill="hold" nodeType="withEffect">
                                  <p:stCondLst>
                                    <p:cond delay="0"/>
                                  </p:stCondLst>
                                  <p:childTnLst>
                                    <p:animClr clrSpc="rgb" dir="cw">
                                      <p:cBhvr>
                                        <p:cTn id="373" dur="500" fill="hold"/>
                                        <p:tgtEl>
                                          <p:spTgt spid="861"/>
                                        </p:tgtEl>
                                        <p:attrNameLst>
                                          <p:attrName>stroke.color</p:attrName>
                                        </p:attrNameLst>
                                      </p:cBhvr>
                                      <p:to>
                                        <a:srgbClr val="F2F2F2"/>
                                      </p:to>
                                    </p:animClr>
                                    <p:set>
                                      <p:cBhvr>
                                        <p:cTn id="374" dur="500" fill="hold"/>
                                        <p:tgtEl>
                                          <p:spTgt spid="861"/>
                                        </p:tgtEl>
                                        <p:attrNameLst>
                                          <p:attrName>stroke.on</p:attrName>
                                        </p:attrNameLst>
                                      </p:cBhvr>
                                      <p:to>
                                        <p:strVal val="true"/>
                                      </p:to>
                                    </p:set>
                                  </p:childTnLst>
                                </p:cTn>
                              </p:par>
                              <p:par>
                                <p:cTn id="375" presetID="7" presetClass="emph" presetSubtype="2" decel="100000" fill="hold" nodeType="withEffect">
                                  <p:stCondLst>
                                    <p:cond delay="0"/>
                                  </p:stCondLst>
                                  <p:childTnLst>
                                    <p:animClr clrSpc="rgb" dir="cw">
                                      <p:cBhvr>
                                        <p:cTn id="376" dur="500" fill="hold"/>
                                        <p:tgtEl>
                                          <p:spTgt spid="862"/>
                                        </p:tgtEl>
                                        <p:attrNameLst>
                                          <p:attrName>stroke.color</p:attrName>
                                        </p:attrNameLst>
                                      </p:cBhvr>
                                      <p:to>
                                        <a:srgbClr val="F2F2F2"/>
                                      </p:to>
                                    </p:animClr>
                                    <p:set>
                                      <p:cBhvr>
                                        <p:cTn id="377" dur="500" fill="hold"/>
                                        <p:tgtEl>
                                          <p:spTgt spid="862"/>
                                        </p:tgtEl>
                                        <p:attrNameLst>
                                          <p:attrName>stroke.on</p:attrName>
                                        </p:attrNameLst>
                                      </p:cBhvr>
                                      <p:to>
                                        <p:strVal val="true"/>
                                      </p:to>
                                    </p:set>
                                  </p:childTnLst>
                                </p:cTn>
                              </p:par>
                              <p:par>
                                <p:cTn id="378" presetID="7" presetClass="emph" presetSubtype="2" decel="100000" fill="hold" nodeType="withEffect">
                                  <p:stCondLst>
                                    <p:cond delay="0"/>
                                  </p:stCondLst>
                                  <p:childTnLst>
                                    <p:animClr clrSpc="rgb" dir="cw">
                                      <p:cBhvr>
                                        <p:cTn id="379" dur="500" fill="hold"/>
                                        <p:tgtEl>
                                          <p:spTgt spid="863"/>
                                        </p:tgtEl>
                                        <p:attrNameLst>
                                          <p:attrName>stroke.color</p:attrName>
                                        </p:attrNameLst>
                                      </p:cBhvr>
                                      <p:to>
                                        <a:srgbClr val="F2F2F2"/>
                                      </p:to>
                                    </p:animClr>
                                    <p:set>
                                      <p:cBhvr>
                                        <p:cTn id="380" dur="500" fill="hold"/>
                                        <p:tgtEl>
                                          <p:spTgt spid="863"/>
                                        </p:tgtEl>
                                        <p:attrNameLst>
                                          <p:attrName>stroke.on</p:attrName>
                                        </p:attrNameLst>
                                      </p:cBhvr>
                                      <p:to>
                                        <p:strVal val="true"/>
                                      </p:to>
                                    </p:set>
                                  </p:childTnLst>
                                </p:cTn>
                              </p:par>
                              <p:par>
                                <p:cTn id="381" presetID="7" presetClass="emph" presetSubtype="2" decel="100000" fill="hold" nodeType="withEffect">
                                  <p:stCondLst>
                                    <p:cond delay="0"/>
                                  </p:stCondLst>
                                  <p:childTnLst>
                                    <p:animClr clrSpc="rgb" dir="cw">
                                      <p:cBhvr>
                                        <p:cTn id="382" dur="500" fill="hold"/>
                                        <p:tgtEl>
                                          <p:spTgt spid="864"/>
                                        </p:tgtEl>
                                        <p:attrNameLst>
                                          <p:attrName>stroke.color</p:attrName>
                                        </p:attrNameLst>
                                      </p:cBhvr>
                                      <p:to>
                                        <a:srgbClr val="F2F2F2"/>
                                      </p:to>
                                    </p:animClr>
                                    <p:set>
                                      <p:cBhvr>
                                        <p:cTn id="383" dur="500" fill="hold"/>
                                        <p:tgtEl>
                                          <p:spTgt spid="864"/>
                                        </p:tgtEl>
                                        <p:attrNameLst>
                                          <p:attrName>stroke.on</p:attrName>
                                        </p:attrNameLst>
                                      </p:cBhvr>
                                      <p:to>
                                        <p:strVal val="true"/>
                                      </p:to>
                                    </p:set>
                                  </p:childTnLst>
                                </p:cTn>
                              </p:par>
                              <p:par>
                                <p:cTn id="384" presetID="7" presetClass="emph" presetSubtype="2" decel="100000" fill="hold" nodeType="withEffect">
                                  <p:stCondLst>
                                    <p:cond delay="0"/>
                                  </p:stCondLst>
                                  <p:childTnLst>
                                    <p:animClr clrSpc="rgb" dir="cw">
                                      <p:cBhvr>
                                        <p:cTn id="385" dur="500" fill="hold"/>
                                        <p:tgtEl>
                                          <p:spTgt spid="865"/>
                                        </p:tgtEl>
                                        <p:attrNameLst>
                                          <p:attrName>stroke.color</p:attrName>
                                        </p:attrNameLst>
                                      </p:cBhvr>
                                      <p:to>
                                        <a:srgbClr val="F2F2F2"/>
                                      </p:to>
                                    </p:animClr>
                                    <p:set>
                                      <p:cBhvr>
                                        <p:cTn id="386" dur="500" fill="hold"/>
                                        <p:tgtEl>
                                          <p:spTgt spid="865"/>
                                        </p:tgtEl>
                                        <p:attrNameLst>
                                          <p:attrName>stroke.on</p:attrName>
                                        </p:attrNameLst>
                                      </p:cBhvr>
                                      <p:to>
                                        <p:strVal val="true"/>
                                      </p:to>
                                    </p:set>
                                  </p:childTnLst>
                                </p:cTn>
                              </p:par>
                              <p:par>
                                <p:cTn id="387" presetID="7" presetClass="emph" presetSubtype="2" decel="100000" fill="hold" nodeType="withEffect">
                                  <p:stCondLst>
                                    <p:cond delay="0"/>
                                  </p:stCondLst>
                                  <p:childTnLst>
                                    <p:animClr clrSpc="rgb" dir="cw">
                                      <p:cBhvr>
                                        <p:cTn id="388" dur="500" fill="hold"/>
                                        <p:tgtEl>
                                          <p:spTgt spid="866"/>
                                        </p:tgtEl>
                                        <p:attrNameLst>
                                          <p:attrName>stroke.color</p:attrName>
                                        </p:attrNameLst>
                                      </p:cBhvr>
                                      <p:to>
                                        <a:srgbClr val="F2F2F2"/>
                                      </p:to>
                                    </p:animClr>
                                    <p:set>
                                      <p:cBhvr>
                                        <p:cTn id="389" dur="500" fill="hold"/>
                                        <p:tgtEl>
                                          <p:spTgt spid="866"/>
                                        </p:tgtEl>
                                        <p:attrNameLst>
                                          <p:attrName>stroke.on</p:attrName>
                                        </p:attrNameLst>
                                      </p:cBhvr>
                                      <p:to>
                                        <p:strVal val="true"/>
                                      </p:to>
                                    </p:set>
                                  </p:childTnLst>
                                </p:cTn>
                              </p:par>
                              <p:par>
                                <p:cTn id="390" presetID="7" presetClass="emph" presetSubtype="2" decel="100000" fill="hold" nodeType="withEffect">
                                  <p:stCondLst>
                                    <p:cond delay="0"/>
                                  </p:stCondLst>
                                  <p:childTnLst>
                                    <p:animClr clrSpc="rgb" dir="cw">
                                      <p:cBhvr>
                                        <p:cTn id="391" dur="500" fill="hold"/>
                                        <p:tgtEl>
                                          <p:spTgt spid="867"/>
                                        </p:tgtEl>
                                        <p:attrNameLst>
                                          <p:attrName>stroke.color</p:attrName>
                                        </p:attrNameLst>
                                      </p:cBhvr>
                                      <p:to>
                                        <a:srgbClr val="F2F2F2"/>
                                      </p:to>
                                    </p:animClr>
                                    <p:set>
                                      <p:cBhvr>
                                        <p:cTn id="392" dur="500" fill="hold"/>
                                        <p:tgtEl>
                                          <p:spTgt spid="867"/>
                                        </p:tgtEl>
                                        <p:attrNameLst>
                                          <p:attrName>stroke.on</p:attrName>
                                        </p:attrNameLst>
                                      </p:cBhvr>
                                      <p:to>
                                        <p:strVal val="true"/>
                                      </p:to>
                                    </p:set>
                                  </p:childTnLst>
                                </p:cTn>
                              </p:par>
                              <p:par>
                                <p:cTn id="393" presetID="7" presetClass="emph" presetSubtype="2" decel="100000" fill="hold" nodeType="withEffect">
                                  <p:stCondLst>
                                    <p:cond delay="0"/>
                                  </p:stCondLst>
                                  <p:childTnLst>
                                    <p:animClr clrSpc="rgb" dir="cw">
                                      <p:cBhvr>
                                        <p:cTn id="394" dur="500" fill="hold"/>
                                        <p:tgtEl>
                                          <p:spTgt spid="868"/>
                                        </p:tgtEl>
                                        <p:attrNameLst>
                                          <p:attrName>stroke.color</p:attrName>
                                        </p:attrNameLst>
                                      </p:cBhvr>
                                      <p:to>
                                        <a:srgbClr val="F2F2F2"/>
                                      </p:to>
                                    </p:animClr>
                                    <p:set>
                                      <p:cBhvr>
                                        <p:cTn id="395" dur="500" fill="hold"/>
                                        <p:tgtEl>
                                          <p:spTgt spid="868"/>
                                        </p:tgtEl>
                                        <p:attrNameLst>
                                          <p:attrName>stroke.on</p:attrName>
                                        </p:attrNameLst>
                                      </p:cBhvr>
                                      <p:to>
                                        <p:strVal val="true"/>
                                      </p:to>
                                    </p:set>
                                  </p:childTnLst>
                                </p:cTn>
                              </p:par>
                              <p:par>
                                <p:cTn id="396" presetID="7" presetClass="emph" presetSubtype="2" decel="100000" fill="hold" nodeType="withEffect">
                                  <p:stCondLst>
                                    <p:cond delay="0"/>
                                  </p:stCondLst>
                                  <p:childTnLst>
                                    <p:animClr clrSpc="rgb" dir="cw">
                                      <p:cBhvr>
                                        <p:cTn id="397" dur="500" fill="hold"/>
                                        <p:tgtEl>
                                          <p:spTgt spid="869"/>
                                        </p:tgtEl>
                                        <p:attrNameLst>
                                          <p:attrName>stroke.color</p:attrName>
                                        </p:attrNameLst>
                                      </p:cBhvr>
                                      <p:to>
                                        <a:srgbClr val="F2F2F2"/>
                                      </p:to>
                                    </p:animClr>
                                    <p:set>
                                      <p:cBhvr>
                                        <p:cTn id="398" dur="500" fill="hold"/>
                                        <p:tgtEl>
                                          <p:spTgt spid="869"/>
                                        </p:tgtEl>
                                        <p:attrNameLst>
                                          <p:attrName>stroke.on</p:attrName>
                                        </p:attrNameLst>
                                      </p:cBhvr>
                                      <p:to>
                                        <p:strVal val="true"/>
                                      </p:to>
                                    </p:set>
                                  </p:childTnLst>
                                </p:cTn>
                              </p:par>
                              <p:par>
                                <p:cTn id="399" presetID="7" presetClass="emph" presetSubtype="2" decel="100000" fill="hold" nodeType="withEffect">
                                  <p:stCondLst>
                                    <p:cond delay="0"/>
                                  </p:stCondLst>
                                  <p:childTnLst>
                                    <p:animClr clrSpc="rgb" dir="cw">
                                      <p:cBhvr>
                                        <p:cTn id="400" dur="500" fill="hold"/>
                                        <p:tgtEl>
                                          <p:spTgt spid="870"/>
                                        </p:tgtEl>
                                        <p:attrNameLst>
                                          <p:attrName>stroke.color</p:attrName>
                                        </p:attrNameLst>
                                      </p:cBhvr>
                                      <p:to>
                                        <a:srgbClr val="F2F2F2"/>
                                      </p:to>
                                    </p:animClr>
                                    <p:set>
                                      <p:cBhvr>
                                        <p:cTn id="401" dur="500" fill="hold"/>
                                        <p:tgtEl>
                                          <p:spTgt spid="870"/>
                                        </p:tgtEl>
                                        <p:attrNameLst>
                                          <p:attrName>stroke.on</p:attrName>
                                        </p:attrNameLst>
                                      </p:cBhvr>
                                      <p:to>
                                        <p:strVal val="true"/>
                                      </p:to>
                                    </p:set>
                                  </p:childTnLst>
                                </p:cTn>
                              </p:par>
                              <p:par>
                                <p:cTn id="402" presetID="7" presetClass="emph" presetSubtype="2" decel="100000" fill="hold" nodeType="withEffect">
                                  <p:stCondLst>
                                    <p:cond delay="0"/>
                                  </p:stCondLst>
                                  <p:childTnLst>
                                    <p:animClr clrSpc="rgb" dir="cw">
                                      <p:cBhvr>
                                        <p:cTn id="403" dur="500" fill="hold"/>
                                        <p:tgtEl>
                                          <p:spTgt spid="871"/>
                                        </p:tgtEl>
                                        <p:attrNameLst>
                                          <p:attrName>stroke.color</p:attrName>
                                        </p:attrNameLst>
                                      </p:cBhvr>
                                      <p:to>
                                        <a:srgbClr val="F2F2F2"/>
                                      </p:to>
                                    </p:animClr>
                                    <p:set>
                                      <p:cBhvr>
                                        <p:cTn id="404" dur="500" fill="hold"/>
                                        <p:tgtEl>
                                          <p:spTgt spid="871"/>
                                        </p:tgtEl>
                                        <p:attrNameLst>
                                          <p:attrName>stroke.on</p:attrName>
                                        </p:attrNameLst>
                                      </p:cBhvr>
                                      <p:to>
                                        <p:strVal val="true"/>
                                      </p:to>
                                    </p:set>
                                  </p:childTnLst>
                                </p:cTn>
                              </p:par>
                              <p:par>
                                <p:cTn id="405" presetID="7" presetClass="emph" presetSubtype="2" decel="100000" fill="hold" nodeType="withEffect">
                                  <p:stCondLst>
                                    <p:cond delay="0"/>
                                  </p:stCondLst>
                                  <p:childTnLst>
                                    <p:animClr clrSpc="rgb" dir="cw">
                                      <p:cBhvr>
                                        <p:cTn id="406" dur="500" fill="hold"/>
                                        <p:tgtEl>
                                          <p:spTgt spid="872"/>
                                        </p:tgtEl>
                                        <p:attrNameLst>
                                          <p:attrName>stroke.color</p:attrName>
                                        </p:attrNameLst>
                                      </p:cBhvr>
                                      <p:to>
                                        <a:srgbClr val="F2F2F2"/>
                                      </p:to>
                                    </p:animClr>
                                    <p:set>
                                      <p:cBhvr>
                                        <p:cTn id="407" dur="500" fill="hold"/>
                                        <p:tgtEl>
                                          <p:spTgt spid="872"/>
                                        </p:tgtEl>
                                        <p:attrNameLst>
                                          <p:attrName>stroke.on</p:attrName>
                                        </p:attrNameLst>
                                      </p:cBhvr>
                                      <p:to>
                                        <p:strVal val="true"/>
                                      </p:to>
                                    </p:set>
                                  </p:childTnLst>
                                </p:cTn>
                              </p:par>
                              <p:par>
                                <p:cTn id="408" presetID="7" presetClass="emph" presetSubtype="2" decel="100000" fill="hold" nodeType="withEffect">
                                  <p:stCondLst>
                                    <p:cond delay="0"/>
                                  </p:stCondLst>
                                  <p:childTnLst>
                                    <p:animClr clrSpc="rgb" dir="cw">
                                      <p:cBhvr>
                                        <p:cTn id="409" dur="500" fill="hold"/>
                                        <p:tgtEl>
                                          <p:spTgt spid="873"/>
                                        </p:tgtEl>
                                        <p:attrNameLst>
                                          <p:attrName>stroke.color</p:attrName>
                                        </p:attrNameLst>
                                      </p:cBhvr>
                                      <p:to>
                                        <a:srgbClr val="F2F2F2"/>
                                      </p:to>
                                    </p:animClr>
                                    <p:set>
                                      <p:cBhvr>
                                        <p:cTn id="410" dur="500" fill="hold"/>
                                        <p:tgtEl>
                                          <p:spTgt spid="873"/>
                                        </p:tgtEl>
                                        <p:attrNameLst>
                                          <p:attrName>stroke.on</p:attrName>
                                        </p:attrNameLst>
                                      </p:cBhvr>
                                      <p:to>
                                        <p:strVal val="true"/>
                                      </p:to>
                                    </p:set>
                                  </p:childTnLst>
                                </p:cTn>
                              </p:par>
                              <p:par>
                                <p:cTn id="411" presetID="7" presetClass="emph" presetSubtype="2" decel="100000" fill="hold" nodeType="withEffect">
                                  <p:stCondLst>
                                    <p:cond delay="0"/>
                                  </p:stCondLst>
                                  <p:childTnLst>
                                    <p:animClr clrSpc="rgb" dir="cw">
                                      <p:cBhvr>
                                        <p:cTn id="412" dur="500" fill="hold"/>
                                        <p:tgtEl>
                                          <p:spTgt spid="874"/>
                                        </p:tgtEl>
                                        <p:attrNameLst>
                                          <p:attrName>stroke.color</p:attrName>
                                        </p:attrNameLst>
                                      </p:cBhvr>
                                      <p:to>
                                        <a:srgbClr val="F2F2F2"/>
                                      </p:to>
                                    </p:animClr>
                                    <p:set>
                                      <p:cBhvr>
                                        <p:cTn id="413" dur="500" fill="hold"/>
                                        <p:tgtEl>
                                          <p:spTgt spid="874"/>
                                        </p:tgtEl>
                                        <p:attrNameLst>
                                          <p:attrName>stroke.on</p:attrName>
                                        </p:attrNameLst>
                                      </p:cBhvr>
                                      <p:to>
                                        <p:strVal val="true"/>
                                      </p:to>
                                    </p:set>
                                  </p:childTnLst>
                                </p:cTn>
                              </p:par>
                              <p:par>
                                <p:cTn id="414" presetID="7" presetClass="emph" presetSubtype="2" decel="100000" fill="hold" nodeType="withEffect">
                                  <p:stCondLst>
                                    <p:cond delay="0"/>
                                  </p:stCondLst>
                                  <p:childTnLst>
                                    <p:animClr clrSpc="rgb" dir="cw">
                                      <p:cBhvr>
                                        <p:cTn id="415" dur="500" fill="hold"/>
                                        <p:tgtEl>
                                          <p:spTgt spid="875"/>
                                        </p:tgtEl>
                                        <p:attrNameLst>
                                          <p:attrName>stroke.color</p:attrName>
                                        </p:attrNameLst>
                                      </p:cBhvr>
                                      <p:to>
                                        <a:srgbClr val="F2F2F2"/>
                                      </p:to>
                                    </p:animClr>
                                    <p:set>
                                      <p:cBhvr>
                                        <p:cTn id="416" dur="500" fill="hold"/>
                                        <p:tgtEl>
                                          <p:spTgt spid="875"/>
                                        </p:tgtEl>
                                        <p:attrNameLst>
                                          <p:attrName>stroke.on</p:attrName>
                                        </p:attrNameLst>
                                      </p:cBhvr>
                                      <p:to>
                                        <p:strVal val="true"/>
                                      </p:to>
                                    </p:set>
                                  </p:childTnLst>
                                </p:cTn>
                              </p:par>
                              <p:par>
                                <p:cTn id="417" presetID="7" presetClass="emph" presetSubtype="2" decel="100000" fill="hold" nodeType="withEffect">
                                  <p:stCondLst>
                                    <p:cond delay="0"/>
                                  </p:stCondLst>
                                  <p:childTnLst>
                                    <p:animClr clrSpc="rgb" dir="cw">
                                      <p:cBhvr>
                                        <p:cTn id="418" dur="500" fill="hold"/>
                                        <p:tgtEl>
                                          <p:spTgt spid="876"/>
                                        </p:tgtEl>
                                        <p:attrNameLst>
                                          <p:attrName>stroke.color</p:attrName>
                                        </p:attrNameLst>
                                      </p:cBhvr>
                                      <p:to>
                                        <a:srgbClr val="F2F2F2"/>
                                      </p:to>
                                    </p:animClr>
                                    <p:set>
                                      <p:cBhvr>
                                        <p:cTn id="419" dur="500" fill="hold"/>
                                        <p:tgtEl>
                                          <p:spTgt spid="876"/>
                                        </p:tgtEl>
                                        <p:attrNameLst>
                                          <p:attrName>stroke.on</p:attrName>
                                        </p:attrNameLst>
                                      </p:cBhvr>
                                      <p:to>
                                        <p:strVal val="true"/>
                                      </p:to>
                                    </p:set>
                                  </p:childTnLst>
                                </p:cTn>
                              </p:par>
                              <p:par>
                                <p:cTn id="420" presetID="7" presetClass="emph" presetSubtype="2" decel="100000" fill="hold" nodeType="withEffect">
                                  <p:stCondLst>
                                    <p:cond delay="0"/>
                                  </p:stCondLst>
                                  <p:childTnLst>
                                    <p:animClr clrSpc="rgb" dir="cw">
                                      <p:cBhvr>
                                        <p:cTn id="421" dur="500" fill="hold"/>
                                        <p:tgtEl>
                                          <p:spTgt spid="877"/>
                                        </p:tgtEl>
                                        <p:attrNameLst>
                                          <p:attrName>stroke.color</p:attrName>
                                        </p:attrNameLst>
                                      </p:cBhvr>
                                      <p:to>
                                        <a:srgbClr val="F2F2F2"/>
                                      </p:to>
                                    </p:animClr>
                                    <p:set>
                                      <p:cBhvr>
                                        <p:cTn id="422" dur="500" fill="hold"/>
                                        <p:tgtEl>
                                          <p:spTgt spid="877"/>
                                        </p:tgtEl>
                                        <p:attrNameLst>
                                          <p:attrName>stroke.on</p:attrName>
                                        </p:attrNameLst>
                                      </p:cBhvr>
                                      <p:to>
                                        <p:strVal val="true"/>
                                      </p:to>
                                    </p:set>
                                  </p:childTnLst>
                                </p:cTn>
                              </p:par>
                              <p:par>
                                <p:cTn id="423" presetID="7" presetClass="emph" presetSubtype="2" decel="100000" fill="hold" nodeType="withEffect">
                                  <p:stCondLst>
                                    <p:cond delay="0"/>
                                  </p:stCondLst>
                                  <p:childTnLst>
                                    <p:animClr clrSpc="rgb" dir="cw">
                                      <p:cBhvr>
                                        <p:cTn id="424" dur="500" fill="hold"/>
                                        <p:tgtEl>
                                          <p:spTgt spid="878"/>
                                        </p:tgtEl>
                                        <p:attrNameLst>
                                          <p:attrName>stroke.color</p:attrName>
                                        </p:attrNameLst>
                                      </p:cBhvr>
                                      <p:to>
                                        <a:srgbClr val="F2F2F2"/>
                                      </p:to>
                                    </p:animClr>
                                    <p:set>
                                      <p:cBhvr>
                                        <p:cTn id="425" dur="500" fill="hold"/>
                                        <p:tgtEl>
                                          <p:spTgt spid="878"/>
                                        </p:tgtEl>
                                        <p:attrNameLst>
                                          <p:attrName>stroke.on</p:attrName>
                                        </p:attrNameLst>
                                      </p:cBhvr>
                                      <p:to>
                                        <p:strVal val="true"/>
                                      </p:to>
                                    </p:set>
                                  </p:childTnLst>
                                </p:cTn>
                              </p:par>
                              <p:par>
                                <p:cTn id="426" presetID="7" presetClass="emph" presetSubtype="2" decel="100000" fill="hold" nodeType="withEffect">
                                  <p:stCondLst>
                                    <p:cond delay="0"/>
                                  </p:stCondLst>
                                  <p:childTnLst>
                                    <p:animClr clrSpc="rgb" dir="cw">
                                      <p:cBhvr>
                                        <p:cTn id="427" dur="500" fill="hold"/>
                                        <p:tgtEl>
                                          <p:spTgt spid="879"/>
                                        </p:tgtEl>
                                        <p:attrNameLst>
                                          <p:attrName>stroke.color</p:attrName>
                                        </p:attrNameLst>
                                      </p:cBhvr>
                                      <p:to>
                                        <a:srgbClr val="F2F2F2"/>
                                      </p:to>
                                    </p:animClr>
                                    <p:set>
                                      <p:cBhvr>
                                        <p:cTn id="428" dur="500" fill="hold"/>
                                        <p:tgtEl>
                                          <p:spTgt spid="879"/>
                                        </p:tgtEl>
                                        <p:attrNameLst>
                                          <p:attrName>stroke.on</p:attrName>
                                        </p:attrNameLst>
                                      </p:cBhvr>
                                      <p:to>
                                        <p:strVal val="true"/>
                                      </p:to>
                                    </p:set>
                                  </p:childTnLst>
                                </p:cTn>
                              </p:par>
                              <p:par>
                                <p:cTn id="429" presetID="7" presetClass="emph" presetSubtype="2" decel="100000" fill="hold" nodeType="withEffect">
                                  <p:stCondLst>
                                    <p:cond delay="0"/>
                                  </p:stCondLst>
                                  <p:childTnLst>
                                    <p:animClr clrSpc="rgb" dir="cw">
                                      <p:cBhvr>
                                        <p:cTn id="430" dur="500" fill="hold"/>
                                        <p:tgtEl>
                                          <p:spTgt spid="880"/>
                                        </p:tgtEl>
                                        <p:attrNameLst>
                                          <p:attrName>stroke.color</p:attrName>
                                        </p:attrNameLst>
                                      </p:cBhvr>
                                      <p:to>
                                        <a:srgbClr val="F2F2F2"/>
                                      </p:to>
                                    </p:animClr>
                                    <p:set>
                                      <p:cBhvr>
                                        <p:cTn id="431" dur="500" fill="hold"/>
                                        <p:tgtEl>
                                          <p:spTgt spid="880"/>
                                        </p:tgtEl>
                                        <p:attrNameLst>
                                          <p:attrName>stroke.on</p:attrName>
                                        </p:attrNameLst>
                                      </p:cBhvr>
                                      <p:to>
                                        <p:strVal val="true"/>
                                      </p:to>
                                    </p:set>
                                  </p:childTnLst>
                                </p:cTn>
                              </p:par>
                              <p:par>
                                <p:cTn id="432" presetID="7" presetClass="emph" presetSubtype="2" decel="100000" fill="hold" nodeType="withEffect">
                                  <p:stCondLst>
                                    <p:cond delay="0"/>
                                  </p:stCondLst>
                                  <p:childTnLst>
                                    <p:animClr clrSpc="rgb" dir="cw">
                                      <p:cBhvr>
                                        <p:cTn id="433" dur="500" fill="hold"/>
                                        <p:tgtEl>
                                          <p:spTgt spid="881"/>
                                        </p:tgtEl>
                                        <p:attrNameLst>
                                          <p:attrName>stroke.color</p:attrName>
                                        </p:attrNameLst>
                                      </p:cBhvr>
                                      <p:to>
                                        <a:srgbClr val="F2F2F2"/>
                                      </p:to>
                                    </p:animClr>
                                    <p:set>
                                      <p:cBhvr>
                                        <p:cTn id="434" dur="500" fill="hold"/>
                                        <p:tgtEl>
                                          <p:spTgt spid="881"/>
                                        </p:tgtEl>
                                        <p:attrNameLst>
                                          <p:attrName>stroke.on</p:attrName>
                                        </p:attrNameLst>
                                      </p:cBhvr>
                                      <p:to>
                                        <p:strVal val="true"/>
                                      </p:to>
                                    </p:set>
                                  </p:childTnLst>
                                </p:cTn>
                              </p:par>
                              <p:par>
                                <p:cTn id="435" presetID="7" presetClass="emph" presetSubtype="2" decel="100000" fill="hold" nodeType="withEffect">
                                  <p:stCondLst>
                                    <p:cond delay="0"/>
                                  </p:stCondLst>
                                  <p:childTnLst>
                                    <p:animClr clrSpc="rgb" dir="cw">
                                      <p:cBhvr>
                                        <p:cTn id="436" dur="500" fill="hold"/>
                                        <p:tgtEl>
                                          <p:spTgt spid="882"/>
                                        </p:tgtEl>
                                        <p:attrNameLst>
                                          <p:attrName>stroke.color</p:attrName>
                                        </p:attrNameLst>
                                      </p:cBhvr>
                                      <p:to>
                                        <a:srgbClr val="F2F2F2"/>
                                      </p:to>
                                    </p:animClr>
                                    <p:set>
                                      <p:cBhvr>
                                        <p:cTn id="437" dur="500" fill="hold"/>
                                        <p:tgtEl>
                                          <p:spTgt spid="882"/>
                                        </p:tgtEl>
                                        <p:attrNameLst>
                                          <p:attrName>stroke.on</p:attrName>
                                        </p:attrNameLst>
                                      </p:cBhvr>
                                      <p:to>
                                        <p:strVal val="true"/>
                                      </p:to>
                                    </p:set>
                                  </p:childTnLst>
                                </p:cTn>
                              </p:par>
                              <p:par>
                                <p:cTn id="438" presetID="7" presetClass="emph" presetSubtype="2" decel="100000" fill="hold" nodeType="withEffect">
                                  <p:stCondLst>
                                    <p:cond delay="0"/>
                                  </p:stCondLst>
                                  <p:childTnLst>
                                    <p:animClr clrSpc="rgb" dir="cw">
                                      <p:cBhvr>
                                        <p:cTn id="439" dur="500" fill="hold"/>
                                        <p:tgtEl>
                                          <p:spTgt spid="883"/>
                                        </p:tgtEl>
                                        <p:attrNameLst>
                                          <p:attrName>stroke.color</p:attrName>
                                        </p:attrNameLst>
                                      </p:cBhvr>
                                      <p:to>
                                        <a:srgbClr val="F2F2F2"/>
                                      </p:to>
                                    </p:animClr>
                                    <p:set>
                                      <p:cBhvr>
                                        <p:cTn id="440" dur="500" fill="hold"/>
                                        <p:tgtEl>
                                          <p:spTgt spid="883"/>
                                        </p:tgtEl>
                                        <p:attrNameLst>
                                          <p:attrName>stroke.on</p:attrName>
                                        </p:attrNameLst>
                                      </p:cBhvr>
                                      <p:to>
                                        <p:strVal val="true"/>
                                      </p:to>
                                    </p:set>
                                  </p:childTnLst>
                                </p:cTn>
                              </p:par>
                              <p:par>
                                <p:cTn id="441" presetID="7" presetClass="emph" presetSubtype="2" decel="100000" fill="hold" nodeType="withEffect">
                                  <p:stCondLst>
                                    <p:cond delay="0"/>
                                  </p:stCondLst>
                                  <p:childTnLst>
                                    <p:animClr clrSpc="rgb" dir="cw">
                                      <p:cBhvr>
                                        <p:cTn id="442" dur="500" fill="hold"/>
                                        <p:tgtEl>
                                          <p:spTgt spid="884"/>
                                        </p:tgtEl>
                                        <p:attrNameLst>
                                          <p:attrName>stroke.color</p:attrName>
                                        </p:attrNameLst>
                                      </p:cBhvr>
                                      <p:to>
                                        <a:srgbClr val="F2F2F2"/>
                                      </p:to>
                                    </p:animClr>
                                    <p:set>
                                      <p:cBhvr>
                                        <p:cTn id="443" dur="500" fill="hold"/>
                                        <p:tgtEl>
                                          <p:spTgt spid="884"/>
                                        </p:tgtEl>
                                        <p:attrNameLst>
                                          <p:attrName>stroke.on</p:attrName>
                                        </p:attrNameLst>
                                      </p:cBhvr>
                                      <p:to>
                                        <p:strVal val="true"/>
                                      </p:to>
                                    </p:set>
                                  </p:childTnLst>
                                </p:cTn>
                              </p:par>
                              <p:par>
                                <p:cTn id="444" presetID="7" presetClass="emph" presetSubtype="2" decel="100000" fill="hold" nodeType="withEffect">
                                  <p:stCondLst>
                                    <p:cond delay="0"/>
                                  </p:stCondLst>
                                  <p:childTnLst>
                                    <p:animClr clrSpc="rgb" dir="cw">
                                      <p:cBhvr>
                                        <p:cTn id="445" dur="500" fill="hold"/>
                                        <p:tgtEl>
                                          <p:spTgt spid="885"/>
                                        </p:tgtEl>
                                        <p:attrNameLst>
                                          <p:attrName>stroke.color</p:attrName>
                                        </p:attrNameLst>
                                      </p:cBhvr>
                                      <p:to>
                                        <a:srgbClr val="F2F2F2"/>
                                      </p:to>
                                    </p:animClr>
                                    <p:set>
                                      <p:cBhvr>
                                        <p:cTn id="446" dur="500" fill="hold"/>
                                        <p:tgtEl>
                                          <p:spTgt spid="885"/>
                                        </p:tgtEl>
                                        <p:attrNameLst>
                                          <p:attrName>stroke.on</p:attrName>
                                        </p:attrNameLst>
                                      </p:cBhvr>
                                      <p:to>
                                        <p:strVal val="true"/>
                                      </p:to>
                                    </p:set>
                                  </p:childTnLst>
                                </p:cTn>
                              </p:par>
                              <p:par>
                                <p:cTn id="447" presetID="7" presetClass="emph" presetSubtype="2" decel="100000" fill="hold" nodeType="withEffect">
                                  <p:stCondLst>
                                    <p:cond delay="0"/>
                                  </p:stCondLst>
                                  <p:childTnLst>
                                    <p:animClr clrSpc="rgb" dir="cw">
                                      <p:cBhvr>
                                        <p:cTn id="448" dur="500" fill="hold"/>
                                        <p:tgtEl>
                                          <p:spTgt spid="886"/>
                                        </p:tgtEl>
                                        <p:attrNameLst>
                                          <p:attrName>stroke.color</p:attrName>
                                        </p:attrNameLst>
                                      </p:cBhvr>
                                      <p:to>
                                        <a:srgbClr val="F2F2F2"/>
                                      </p:to>
                                    </p:animClr>
                                    <p:set>
                                      <p:cBhvr>
                                        <p:cTn id="449" dur="500" fill="hold"/>
                                        <p:tgtEl>
                                          <p:spTgt spid="886"/>
                                        </p:tgtEl>
                                        <p:attrNameLst>
                                          <p:attrName>stroke.on</p:attrName>
                                        </p:attrNameLst>
                                      </p:cBhvr>
                                      <p:to>
                                        <p:strVal val="true"/>
                                      </p:to>
                                    </p:set>
                                  </p:childTnLst>
                                </p:cTn>
                              </p:par>
                              <p:par>
                                <p:cTn id="450" presetID="7" presetClass="emph" presetSubtype="2" decel="100000" fill="hold" nodeType="withEffect">
                                  <p:stCondLst>
                                    <p:cond delay="0"/>
                                  </p:stCondLst>
                                  <p:childTnLst>
                                    <p:animClr clrSpc="rgb" dir="cw">
                                      <p:cBhvr>
                                        <p:cTn id="451" dur="500" fill="hold"/>
                                        <p:tgtEl>
                                          <p:spTgt spid="887"/>
                                        </p:tgtEl>
                                        <p:attrNameLst>
                                          <p:attrName>stroke.color</p:attrName>
                                        </p:attrNameLst>
                                      </p:cBhvr>
                                      <p:to>
                                        <a:srgbClr val="F2F2F2"/>
                                      </p:to>
                                    </p:animClr>
                                    <p:set>
                                      <p:cBhvr>
                                        <p:cTn id="452" dur="500" fill="hold"/>
                                        <p:tgtEl>
                                          <p:spTgt spid="887"/>
                                        </p:tgtEl>
                                        <p:attrNameLst>
                                          <p:attrName>stroke.on</p:attrName>
                                        </p:attrNameLst>
                                      </p:cBhvr>
                                      <p:to>
                                        <p:strVal val="true"/>
                                      </p:to>
                                    </p:set>
                                  </p:childTnLst>
                                </p:cTn>
                              </p:par>
                              <p:par>
                                <p:cTn id="453" presetID="7" presetClass="emph" presetSubtype="2" decel="100000" fill="hold" nodeType="withEffect">
                                  <p:stCondLst>
                                    <p:cond delay="0"/>
                                  </p:stCondLst>
                                  <p:childTnLst>
                                    <p:animClr clrSpc="rgb" dir="cw">
                                      <p:cBhvr>
                                        <p:cTn id="454" dur="500" fill="hold"/>
                                        <p:tgtEl>
                                          <p:spTgt spid="888"/>
                                        </p:tgtEl>
                                        <p:attrNameLst>
                                          <p:attrName>stroke.color</p:attrName>
                                        </p:attrNameLst>
                                      </p:cBhvr>
                                      <p:to>
                                        <a:srgbClr val="F2F2F2"/>
                                      </p:to>
                                    </p:animClr>
                                    <p:set>
                                      <p:cBhvr>
                                        <p:cTn id="455" dur="500" fill="hold"/>
                                        <p:tgtEl>
                                          <p:spTgt spid="888"/>
                                        </p:tgtEl>
                                        <p:attrNameLst>
                                          <p:attrName>stroke.on</p:attrName>
                                        </p:attrNameLst>
                                      </p:cBhvr>
                                      <p:to>
                                        <p:strVal val="true"/>
                                      </p:to>
                                    </p:set>
                                  </p:childTnLst>
                                </p:cTn>
                              </p:par>
                              <p:par>
                                <p:cTn id="456" presetID="7" presetClass="emph" presetSubtype="2" decel="100000" fill="hold" nodeType="withEffect">
                                  <p:stCondLst>
                                    <p:cond delay="0"/>
                                  </p:stCondLst>
                                  <p:childTnLst>
                                    <p:animClr clrSpc="rgb" dir="cw">
                                      <p:cBhvr>
                                        <p:cTn id="457" dur="500" fill="hold"/>
                                        <p:tgtEl>
                                          <p:spTgt spid="889"/>
                                        </p:tgtEl>
                                        <p:attrNameLst>
                                          <p:attrName>stroke.color</p:attrName>
                                        </p:attrNameLst>
                                      </p:cBhvr>
                                      <p:to>
                                        <a:srgbClr val="F2F2F2"/>
                                      </p:to>
                                    </p:animClr>
                                    <p:set>
                                      <p:cBhvr>
                                        <p:cTn id="458" dur="500" fill="hold"/>
                                        <p:tgtEl>
                                          <p:spTgt spid="889"/>
                                        </p:tgtEl>
                                        <p:attrNameLst>
                                          <p:attrName>stroke.on</p:attrName>
                                        </p:attrNameLst>
                                      </p:cBhvr>
                                      <p:to>
                                        <p:strVal val="true"/>
                                      </p:to>
                                    </p:set>
                                  </p:childTnLst>
                                </p:cTn>
                              </p:par>
                              <p:par>
                                <p:cTn id="459" presetID="7" presetClass="emph" presetSubtype="2" decel="100000" fill="hold" nodeType="withEffect">
                                  <p:stCondLst>
                                    <p:cond delay="0"/>
                                  </p:stCondLst>
                                  <p:childTnLst>
                                    <p:animClr clrSpc="rgb" dir="cw">
                                      <p:cBhvr>
                                        <p:cTn id="460" dur="500" fill="hold"/>
                                        <p:tgtEl>
                                          <p:spTgt spid="890"/>
                                        </p:tgtEl>
                                        <p:attrNameLst>
                                          <p:attrName>stroke.color</p:attrName>
                                        </p:attrNameLst>
                                      </p:cBhvr>
                                      <p:to>
                                        <a:srgbClr val="F2F2F2"/>
                                      </p:to>
                                    </p:animClr>
                                    <p:set>
                                      <p:cBhvr>
                                        <p:cTn id="461" dur="500" fill="hold"/>
                                        <p:tgtEl>
                                          <p:spTgt spid="890"/>
                                        </p:tgtEl>
                                        <p:attrNameLst>
                                          <p:attrName>stroke.on</p:attrName>
                                        </p:attrNameLst>
                                      </p:cBhvr>
                                      <p:to>
                                        <p:strVal val="true"/>
                                      </p:to>
                                    </p:set>
                                  </p:childTnLst>
                                </p:cTn>
                              </p:par>
                              <p:par>
                                <p:cTn id="462" presetID="7" presetClass="emph" presetSubtype="2" decel="100000" fill="hold" nodeType="withEffect">
                                  <p:stCondLst>
                                    <p:cond delay="0"/>
                                  </p:stCondLst>
                                  <p:childTnLst>
                                    <p:animClr clrSpc="rgb" dir="cw">
                                      <p:cBhvr>
                                        <p:cTn id="463" dur="500" fill="hold"/>
                                        <p:tgtEl>
                                          <p:spTgt spid="891"/>
                                        </p:tgtEl>
                                        <p:attrNameLst>
                                          <p:attrName>stroke.color</p:attrName>
                                        </p:attrNameLst>
                                      </p:cBhvr>
                                      <p:to>
                                        <a:srgbClr val="F2F2F2"/>
                                      </p:to>
                                    </p:animClr>
                                    <p:set>
                                      <p:cBhvr>
                                        <p:cTn id="464" dur="500" fill="hold"/>
                                        <p:tgtEl>
                                          <p:spTgt spid="891"/>
                                        </p:tgtEl>
                                        <p:attrNameLst>
                                          <p:attrName>stroke.on</p:attrName>
                                        </p:attrNameLst>
                                      </p:cBhvr>
                                      <p:to>
                                        <p:strVal val="true"/>
                                      </p:to>
                                    </p:set>
                                  </p:childTnLst>
                                </p:cTn>
                              </p:par>
                              <p:par>
                                <p:cTn id="465" presetID="7" presetClass="emph" presetSubtype="2" decel="100000" fill="hold" nodeType="withEffect">
                                  <p:stCondLst>
                                    <p:cond delay="0"/>
                                  </p:stCondLst>
                                  <p:childTnLst>
                                    <p:animClr clrSpc="rgb" dir="cw">
                                      <p:cBhvr>
                                        <p:cTn id="466" dur="500" fill="hold"/>
                                        <p:tgtEl>
                                          <p:spTgt spid="892"/>
                                        </p:tgtEl>
                                        <p:attrNameLst>
                                          <p:attrName>stroke.color</p:attrName>
                                        </p:attrNameLst>
                                      </p:cBhvr>
                                      <p:to>
                                        <a:srgbClr val="F2F2F2"/>
                                      </p:to>
                                    </p:animClr>
                                    <p:set>
                                      <p:cBhvr>
                                        <p:cTn id="467" dur="500" fill="hold"/>
                                        <p:tgtEl>
                                          <p:spTgt spid="892"/>
                                        </p:tgtEl>
                                        <p:attrNameLst>
                                          <p:attrName>stroke.on</p:attrName>
                                        </p:attrNameLst>
                                      </p:cBhvr>
                                      <p:to>
                                        <p:strVal val="true"/>
                                      </p:to>
                                    </p:set>
                                  </p:childTnLst>
                                </p:cTn>
                              </p:par>
                              <p:par>
                                <p:cTn id="468" presetID="7" presetClass="emph" presetSubtype="2" decel="100000" fill="hold" nodeType="withEffect">
                                  <p:stCondLst>
                                    <p:cond delay="0"/>
                                  </p:stCondLst>
                                  <p:childTnLst>
                                    <p:animClr clrSpc="rgb" dir="cw">
                                      <p:cBhvr>
                                        <p:cTn id="469" dur="500" fill="hold"/>
                                        <p:tgtEl>
                                          <p:spTgt spid="893"/>
                                        </p:tgtEl>
                                        <p:attrNameLst>
                                          <p:attrName>stroke.color</p:attrName>
                                        </p:attrNameLst>
                                      </p:cBhvr>
                                      <p:to>
                                        <a:srgbClr val="F2F2F2"/>
                                      </p:to>
                                    </p:animClr>
                                    <p:set>
                                      <p:cBhvr>
                                        <p:cTn id="470" dur="500" fill="hold"/>
                                        <p:tgtEl>
                                          <p:spTgt spid="893"/>
                                        </p:tgtEl>
                                        <p:attrNameLst>
                                          <p:attrName>stroke.on</p:attrName>
                                        </p:attrNameLst>
                                      </p:cBhvr>
                                      <p:to>
                                        <p:strVal val="true"/>
                                      </p:to>
                                    </p:set>
                                  </p:childTnLst>
                                </p:cTn>
                              </p:par>
                              <p:par>
                                <p:cTn id="471" presetID="7" presetClass="emph" presetSubtype="2" decel="100000" fill="hold" nodeType="withEffect">
                                  <p:stCondLst>
                                    <p:cond delay="0"/>
                                  </p:stCondLst>
                                  <p:childTnLst>
                                    <p:animClr clrSpc="rgb" dir="cw">
                                      <p:cBhvr>
                                        <p:cTn id="472" dur="500" fill="hold"/>
                                        <p:tgtEl>
                                          <p:spTgt spid="894"/>
                                        </p:tgtEl>
                                        <p:attrNameLst>
                                          <p:attrName>stroke.color</p:attrName>
                                        </p:attrNameLst>
                                      </p:cBhvr>
                                      <p:to>
                                        <a:srgbClr val="F2F2F2"/>
                                      </p:to>
                                    </p:animClr>
                                    <p:set>
                                      <p:cBhvr>
                                        <p:cTn id="473" dur="500" fill="hold"/>
                                        <p:tgtEl>
                                          <p:spTgt spid="894"/>
                                        </p:tgtEl>
                                        <p:attrNameLst>
                                          <p:attrName>stroke.on</p:attrName>
                                        </p:attrNameLst>
                                      </p:cBhvr>
                                      <p:to>
                                        <p:strVal val="true"/>
                                      </p:to>
                                    </p:set>
                                  </p:childTnLst>
                                </p:cTn>
                              </p:par>
                              <p:par>
                                <p:cTn id="474" presetID="7" presetClass="emph" presetSubtype="2" decel="100000" fill="hold" nodeType="withEffect">
                                  <p:stCondLst>
                                    <p:cond delay="0"/>
                                  </p:stCondLst>
                                  <p:childTnLst>
                                    <p:animClr clrSpc="rgb" dir="cw">
                                      <p:cBhvr>
                                        <p:cTn id="475" dur="500" fill="hold"/>
                                        <p:tgtEl>
                                          <p:spTgt spid="895"/>
                                        </p:tgtEl>
                                        <p:attrNameLst>
                                          <p:attrName>stroke.color</p:attrName>
                                        </p:attrNameLst>
                                      </p:cBhvr>
                                      <p:to>
                                        <a:srgbClr val="F2F2F2"/>
                                      </p:to>
                                    </p:animClr>
                                    <p:set>
                                      <p:cBhvr>
                                        <p:cTn id="476" dur="500" fill="hold"/>
                                        <p:tgtEl>
                                          <p:spTgt spid="895"/>
                                        </p:tgtEl>
                                        <p:attrNameLst>
                                          <p:attrName>stroke.on</p:attrName>
                                        </p:attrNameLst>
                                      </p:cBhvr>
                                      <p:to>
                                        <p:strVal val="true"/>
                                      </p:to>
                                    </p:set>
                                  </p:childTnLst>
                                </p:cTn>
                              </p:par>
                              <p:par>
                                <p:cTn id="477" presetID="7" presetClass="emph" presetSubtype="2" decel="100000" fill="hold" nodeType="withEffect">
                                  <p:stCondLst>
                                    <p:cond delay="0"/>
                                  </p:stCondLst>
                                  <p:childTnLst>
                                    <p:animClr clrSpc="rgb" dir="cw">
                                      <p:cBhvr>
                                        <p:cTn id="478" dur="500" fill="hold"/>
                                        <p:tgtEl>
                                          <p:spTgt spid="896"/>
                                        </p:tgtEl>
                                        <p:attrNameLst>
                                          <p:attrName>stroke.color</p:attrName>
                                        </p:attrNameLst>
                                      </p:cBhvr>
                                      <p:to>
                                        <a:srgbClr val="F2F2F2"/>
                                      </p:to>
                                    </p:animClr>
                                    <p:set>
                                      <p:cBhvr>
                                        <p:cTn id="479" dur="500" fill="hold"/>
                                        <p:tgtEl>
                                          <p:spTgt spid="896"/>
                                        </p:tgtEl>
                                        <p:attrNameLst>
                                          <p:attrName>stroke.on</p:attrName>
                                        </p:attrNameLst>
                                      </p:cBhvr>
                                      <p:to>
                                        <p:strVal val="true"/>
                                      </p:to>
                                    </p:set>
                                  </p:childTnLst>
                                </p:cTn>
                              </p:par>
                              <p:par>
                                <p:cTn id="480" presetID="7" presetClass="emph" presetSubtype="2" decel="100000" fill="hold" nodeType="withEffect">
                                  <p:stCondLst>
                                    <p:cond delay="0"/>
                                  </p:stCondLst>
                                  <p:childTnLst>
                                    <p:animClr clrSpc="rgb" dir="cw">
                                      <p:cBhvr>
                                        <p:cTn id="481" dur="500" fill="hold"/>
                                        <p:tgtEl>
                                          <p:spTgt spid="897"/>
                                        </p:tgtEl>
                                        <p:attrNameLst>
                                          <p:attrName>stroke.color</p:attrName>
                                        </p:attrNameLst>
                                      </p:cBhvr>
                                      <p:to>
                                        <a:srgbClr val="F2F2F2"/>
                                      </p:to>
                                    </p:animClr>
                                    <p:set>
                                      <p:cBhvr>
                                        <p:cTn id="482" dur="500" fill="hold"/>
                                        <p:tgtEl>
                                          <p:spTgt spid="897"/>
                                        </p:tgtEl>
                                        <p:attrNameLst>
                                          <p:attrName>stroke.on</p:attrName>
                                        </p:attrNameLst>
                                      </p:cBhvr>
                                      <p:to>
                                        <p:strVal val="true"/>
                                      </p:to>
                                    </p:set>
                                  </p:childTnLst>
                                </p:cTn>
                              </p:par>
                              <p:par>
                                <p:cTn id="483" presetID="7" presetClass="emph" presetSubtype="2" decel="100000" fill="hold" nodeType="withEffect">
                                  <p:stCondLst>
                                    <p:cond delay="0"/>
                                  </p:stCondLst>
                                  <p:childTnLst>
                                    <p:animClr clrSpc="rgb" dir="cw">
                                      <p:cBhvr>
                                        <p:cTn id="484" dur="500" fill="hold"/>
                                        <p:tgtEl>
                                          <p:spTgt spid="898"/>
                                        </p:tgtEl>
                                        <p:attrNameLst>
                                          <p:attrName>stroke.color</p:attrName>
                                        </p:attrNameLst>
                                      </p:cBhvr>
                                      <p:to>
                                        <a:srgbClr val="F2F2F2"/>
                                      </p:to>
                                    </p:animClr>
                                    <p:set>
                                      <p:cBhvr>
                                        <p:cTn id="485" dur="500" fill="hold"/>
                                        <p:tgtEl>
                                          <p:spTgt spid="898"/>
                                        </p:tgtEl>
                                        <p:attrNameLst>
                                          <p:attrName>stroke.on</p:attrName>
                                        </p:attrNameLst>
                                      </p:cBhvr>
                                      <p:to>
                                        <p:strVal val="true"/>
                                      </p:to>
                                    </p:set>
                                  </p:childTnLst>
                                </p:cTn>
                              </p:par>
                              <p:par>
                                <p:cTn id="486" presetID="7" presetClass="emph" presetSubtype="2" decel="100000" fill="hold" nodeType="withEffect">
                                  <p:stCondLst>
                                    <p:cond delay="0"/>
                                  </p:stCondLst>
                                  <p:childTnLst>
                                    <p:animClr clrSpc="rgb" dir="cw">
                                      <p:cBhvr>
                                        <p:cTn id="487" dur="500" fill="hold"/>
                                        <p:tgtEl>
                                          <p:spTgt spid="899"/>
                                        </p:tgtEl>
                                        <p:attrNameLst>
                                          <p:attrName>stroke.color</p:attrName>
                                        </p:attrNameLst>
                                      </p:cBhvr>
                                      <p:to>
                                        <a:srgbClr val="F2F2F2"/>
                                      </p:to>
                                    </p:animClr>
                                    <p:set>
                                      <p:cBhvr>
                                        <p:cTn id="488" dur="500" fill="hold"/>
                                        <p:tgtEl>
                                          <p:spTgt spid="899"/>
                                        </p:tgtEl>
                                        <p:attrNameLst>
                                          <p:attrName>stroke.on</p:attrName>
                                        </p:attrNameLst>
                                      </p:cBhvr>
                                      <p:to>
                                        <p:strVal val="true"/>
                                      </p:to>
                                    </p:set>
                                  </p:childTnLst>
                                </p:cTn>
                              </p:par>
                              <p:par>
                                <p:cTn id="489" presetID="7" presetClass="emph" presetSubtype="2" decel="100000" fill="hold" nodeType="withEffect">
                                  <p:stCondLst>
                                    <p:cond delay="0"/>
                                  </p:stCondLst>
                                  <p:childTnLst>
                                    <p:animClr clrSpc="rgb" dir="cw">
                                      <p:cBhvr>
                                        <p:cTn id="490" dur="500" fill="hold"/>
                                        <p:tgtEl>
                                          <p:spTgt spid="900"/>
                                        </p:tgtEl>
                                        <p:attrNameLst>
                                          <p:attrName>stroke.color</p:attrName>
                                        </p:attrNameLst>
                                      </p:cBhvr>
                                      <p:to>
                                        <a:srgbClr val="F2F2F2"/>
                                      </p:to>
                                    </p:animClr>
                                    <p:set>
                                      <p:cBhvr>
                                        <p:cTn id="491" dur="500" fill="hold"/>
                                        <p:tgtEl>
                                          <p:spTgt spid="900"/>
                                        </p:tgtEl>
                                        <p:attrNameLst>
                                          <p:attrName>stroke.on</p:attrName>
                                        </p:attrNameLst>
                                      </p:cBhvr>
                                      <p:to>
                                        <p:strVal val="true"/>
                                      </p:to>
                                    </p:set>
                                  </p:childTnLst>
                                </p:cTn>
                              </p:par>
                              <p:par>
                                <p:cTn id="492" presetID="7" presetClass="emph" presetSubtype="2" decel="100000" fill="hold" nodeType="withEffect">
                                  <p:stCondLst>
                                    <p:cond delay="0"/>
                                  </p:stCondLst>
                                  <p:childTnLst>
                                    <p:animClr clrSpc="rgb" dir="cw">
                                      <p:cBhvr>
                                        <p:cTn id="493" dur="500" fill="hold"/>
                                        <p:tgtEl>
                                          <p:spTgt spid="901"/>
                                        </p:tgtEl>
                                        <p:attrNameLst>
                                          <p:attrName>stroke.color</p:attrName>
                                        </p:attrNameLst>
                                      </p:cBhvr>
                                      <p:to>
                                        <a:srgbClr val="F2F2F2"/>
                                      </p:to>
                                    </p:animClr>
                                    <p:set>
                                      <p:cBhvr>
                                        <p:cTn id="494" dur="500" fill="hold"/>
                                        <p:tgtEl>
                                          <p:spTgt spid="901"/>
                                        </p:tgtEl>
                                        <p:attrNameLst>
                                          <p:attrName>stroke.on</p:attrName>
                                        </p:attrNameLst>
                                      </p:cBhvr>
                                      <p:to>
                                        <p:strVal val="true"/>
                                      </p:to>
                                    </p:set>
                                  </p:childTnLst>
                                </p:cTn>
                              </p:par>
                              <p:par>
                                <p:cTn id="495" presetID="7" presetClass="emph" presetSubtype="2" decel="100000" fill="hold" nodeType="withEffect">
                                  <p:stCondLst>
                                    <p:cond delay="0"/>
                                  </p:stCondLst>
                                  <p:childTnLst>
                                    <p:animClr clrSpc="rgb" dir="cw">
                                      <p:cBhvr>
                                        <p:cTn id="496" dur="500" fill="hold"/>
                                        <p:tgtEl>
                                          <p:spTgt spid="902"/>
                                        </p:tgtEl>
                                        <p:attrNameLst>
                                          <p:attrName>stroke.color</p:attrName>
                                        </p:attrNameLst>
                                      </p:cBhvr>
                                      <p:to>
                                        <a:srgbClr val="F2F2F2"/>
                                      </p:to>
                                    </p:animClr>
                                    <p:set>
                                      <p:cBhvr>
                                        <p:cTn id="497" dur="500" fill="hold"/>
                                        <p:tgtEl>
                                          <p:spTgt spid="902"/>
                                        </p:tgtEl>
                                        <p:attrNameLst>
                                          <p:attrName>stroke.on</p:attrName>
                                        </p:attrNameLst>
                                      </p:cBhvr>
                                      <p:to>
                                        <p:strVal val="true"/>
                                      </p:to>
                                    </p:set>
                                  </p:childTnLst>
                                </p:cTn>
                              </p:par>
                              <p:par>
                                <p:cTn id="498" presetID="7" presetClass="emph" presetSubtype="2" decel="100000" fill="hold" nodeType="withEffect">
                                  <p:stCondLst>
                                    <p:cond delay="0"/>
                                  </p:stCondLst>
                                  <p:childTnLst>
                                    <p:animClr clrSpc="rgb" dir="cw">
                                      <p:cBhvr>
                                        <p:cTn id="499" dur="500" fill="hold"/>
                                        <p:tgtEl>
                                          <p:spTgt spid="903"/>
                                        </p:tgtEl>
                                        <p:attrNameLst>
                                          <p:attrName>stroke.color</p:attrName>
                                        </p:attrNameLst>
                                      </p:cBhvr>
                                      <p:to>
                                        <a:srgbClr val="F2F2F2"/>
                                      </p:to>
                                    </p:animClr>
                                    <p:set>
                                      <p:cBhvr>
                                        <p:cTn id="500" dur="500" fill="hold"/>
                                        <p:tgtEl>
                                          <p:spTgt spid="903"/>
                                        </p:tgtEl>
                                        <p:attrNameLst>
                                          <p:attrName>stroke.on</p:attrName>
                                        </p:attrNameLst>
                                      </p:cBhvr>
                                      <p:to>
                                        <p:strVal val="true"/>
                                      </p:to>
                                    </p:set>
                                  </p:childTnLst>
                                </p:cTn>
                              </p:par>
                              <p:par>
                                <p:cTn id="501" presetID="7" presetClass="emph" presetSubtype="2" decel="100000" fill="hold" nodeType="withEffect">
                                  <p:stCondLst>
                                    <p:cond delay="0"/>
                                  </p:stCondLst>
                                  <p:childTnLst>
                                    <p:animClr clrSpc="rgb" dir="cw">
                                      <p:cBhvr>
                                        <p:cTn id="502" dur="500" fill="hold"/>
                                        <p:tgtEl>
                                          <p:spTgt spid="904"/>
                                        </p:tgtEl>
                                        <p:attrNameLst>
                                          <p:attrName>stroke.color</p:attrName>
                                        </p:attrNameLst>
                                      </p:cBhvr>
                                      <p:to>
                                        <a:srgbClr val="F2F2F2"/>
                                      </p:to>
                                    </p:animClr>
                                    <p:set>
                                      <p:cBhvr>
                                        <p:cTn id="503" dur="500" fill="hold"/>
                                        <p:tgtEl>
                                          <p:spTgt spid="904"/>
                                        </p:tgtEl>
                                        <p:attrNameLst>
                                          <p:attrName>stroke.on</p:attrName>
                                        </p:attrNameLst>
                                      </p:cBhvr>
                                      <p:to>
                                        <p:strVal val="true"/>
                                      </p:to>
                                    </p:set>
                                  </p:childTnLst>
                                </p:cTn>
                              </p:par>
                              <p:par>
                                <p:cTn id="504" presetID="7" presetClass="emph" presetSubtype="2" decel="100000" fill="hold" nodeType="withEffect">
                                  <p:stCondLst>
                                    <p:cond delay="0"/>
                                  </p:stCondLst>
                                  <p:childTnLst>
                                    <p:animClr clrSpc="rgb" dir="cw">
                                      <p:cBhvr>
                                        <p:cTn id="505" dur="500" fill="hold"/>
                                        <p:tgtEl>
                                          <p:spTgt spid="905"/>
                                        </p:tgtEl>
                                        <p:attrNameLst>
                                          <p:attrName>stroke.color</p:attrName>
                                        </p:attrNameLst>
                                      </p:cBhvr>
                                      <p:to>
                                        <a:srgbClr val="F2F2F2"/>
                                      </p:to>
                                    </p:animClr>
                                    <p:set>
                                      <p:cBhvr>
                                        <p:cTn id="506" dur="500" fill="hold"/>
                                        <p:tgtEl>
                                          <p:spTgt spid="905"/>
                                        </p:tgtEl>
                                        <p:attrNameLst>
                                          <p:attrName>stroke.on</p:attrName>
                                        </p:attrNameLst>
                                      </p:cBhvr>
                                      <p:to>
                                        <p:strVal val="true"/>
                                      </p:to>
                                    </p:set>
                                  </p:childTnLst>
                                </p:cTn>
                              </p:par>
                              <p:par>
                                <p:cTn id="507" presetID="7" presetClass="emph" presetSubtype="2" decel="100000" fill="hold" nodeType="withEffect">
                                  <p:stCondLst>
                                    <p:cond delay="0"/>
                                  </p:stCondLst>
                                  <p:childTnLst>
                                    <p:animClr clrSpc="rgb" dir="cw">
                                      <p:cBhvr>
                                        <p:cTn id="508" dur="500" fill="hold"/>
                                        <p:tgtEl>
                                          <p:spTgt spid="906"/>
                                        </p:tgtEl>
                                        <p:attrNameLst>
                                          <p:attrName>stroke.color</p:attrName>
                                        </p:attrNameLst>
                                      </p:cBhvr>
                                      <p:to>
                                        <a:srgbClr val="F2F2F2"/>
                                      </p:to>
                                    </p:animClr>
                                    <p:set>
                                      <p:cBhvr>
                                        <p:cTn id="509" dur="500" fill="hold"/>
                                        <p:tgtEl>
                                          <p:spTgt spid="906"/>
                                        </p:tgtEl>
                                        <p:attrNameLst>
                                          <p:attrName>stroke.on</p:attrName>
                                        </p:attrNameLst>
                                      </p:cBhvr>
                                      <p:to>
                                        <p:strVal val="true"/>
                                      </p:to>
                                    </p:set>
                                  </p:childTnLst>
                                </p:cTn>
                              </p:par>
                              <p:par>
                                <p:cTn id="510" presetID="7" presetClass="emph" presetSubtype="2" decel="100000" fill="hold" nodeType="withEffect">
                                  <p:stCondLst>
                                    <p:cond delay="0"/>
                                  </p:stCondLst>
                                  <p:childTnLst>
                                    <p:animClr clrSpc="rgb" dir="cw">
                                      <p:cBhvr>
                                        <p:cTn id="511" dur="500" fill="hold"/>
                                        <p:tgtEl>
                                          <p:spTgt spid="907"/>
                                        </p:tgtEl>
                                        <p:attrNameLst>
                                          <p:attrName>stroke.color</p:attrName>
                                        </p:attrNameLst>
                                      </p:cBhvr>
                                      <p:to>
                                        <a:srgbClr val="F2F2F2"/>
                                      </p:to>
                                    </p:animClr>
                                    <p:set>
                                      <p:cBhvr>
                                        <p:cTn id="512" dur="500" fill="hold"/>
                                        <p:tgtEl>
                                          <p:spTgt spid="907"/>
                                        </p:tgtEl>
                                        <p:attrNameLst>
                                          <p:attrName>stroke.on</p:attrName>
                                        </p:attrNameLst>
                                      </p:cBhvr>
                                      <p:to>
                                        <p:strVal val="true"/>
                                      </p:to>
                                    </p:set>
                                  </p:childTnLst>
                                </p:cTn>
                              </p:par>
                              <p:par>
                                <p:cTn id="513" presetID="7" presetClass="emph" presetSubtype="2" decel="100000" fill="hold" nodeType="withEffect">
                                  <p:stCondLst>
                                    <p:cond delay="0"/>
                                  </p:stCondLst>
                                  <p:childTnLst>
                                    <p:animClr clrSpc="rgb" dir="cw">
                                      <p:cBhvr>
                                        <p:cTn id="514" dur="500" fill="hold"/>
                                        <p:tgtEl>
                                          <p:spTgt spid="908"/>
                                        </p:tgtEl>
                                        <p:attrNameLst>
                                          <p:attrName>stroke.color</p:attrName>
                                        </p:attrNameLst>
                                      </p:cBhvr>
                                      <p:to>
                                        <a:srgbClr val="F2F2F2"/>
                                      </p:to>
                                    </p:animClr>
                                    <p:set>
                                      <p:cBhvr>
                                        <p:cTn id="515" dur="500" fill="hold"/>
                                        <p:tgtEl>
                                          <p:spTgt spid="908"/>
                                        </p:tgtEl>
                                        <p:attrNameLst>
                                          <p:attrName>stroke.on</p:attrName>
                                        </p:attrNameLst>
                                      </p:cBhvr>
                                      <p:to>
                                        <p:strVal val="true"/>
                                      </p:to>
                                    </p:set>
                                  </p:childTnLst>
                                </p:cTn>
                              </p:par>
                              <p:par>
                                <p:cTn id="516" presetID="7" presetClass="emph" presetSubtype="2" decel="100000" fill="hold" nodeType="withEffect">
                                  <p:stCondLst>
                                    <p:cond delay="0"/>
                                  </p:stCondLst>
                                  <p:childTnLst>
                                    <p:animClr clrSpc="rgb" dir="cw">
                                      <p:cBhvr>
                                        <p:cTn id="517" dur="500" fill="hold"/>
                                        <p:tgtEl>
                                          <p:spTgt spid="909"/>
                                        </p:tgtEl>
                                        <p:attrNameLst>
                                          <p:attrName>stroke.color</p:attrName>
                                        </p:attrNameLst>
                                      </p:cBhvr>
                                      <p:to>
                                        <a:srgbClr val="F2F2F2"/>
                                      </p:to>
                                    </p:animClr>
                                    <p:set>
                                      <p:cBhvr>
                                        <p:cTn id="518" dur="500" fill="hold"/>
                                        <p:tgtEl>
                                          <p:spTgt spid="909"/>
                                        </p:tgtEl>
                                        <p:attrNameLst>
                                          <p:attrName>stroke.on</p:attrName>
                                        </p:attrNameLst>
                                      </p:cBhvr>
                                      <p:to>
                                        <p:strVal val="true"/>
                                      </p:to>
                                    </p:set>
                                  </p:childTnLst>
                                </p:cTn>
                              </p:par>
                              <p:par>
                                <p:cTn id="519" presetID="7" presetClass="emph" presetSubtype="2" decel="100000" fill="hold" nodeType="withEffect">
                                  <p:stCondLst>
                                    <p:cond delay="0"/>
                                  </p:stCondLst>
                                  <p:childTnLst>
                                    <p:animClr clrSpc="rgb" dir="cw">
                                      <p:cBhvr>
                                        <p:cTn id="520" dur="500" fill="hold"/>
                                        <p:tgtEl>
                                          <p:spTgt spid="476"/>
                                        </p:tgtEl>
                                        <p:attrNameLst>
                                          <p:attrName>stroke.color</p:attrName>
                                        </p:attrNameLst>
                                      </p:cBhvr>
                                      <p:to>
                                        <a:srgbClr val="F2F2F2"/>
                                      </p:to>
                                    </p:animClr>
                                    <p:set>
                                      <p:cBhvr>
                                        <p:cTn id="521" dur="500" fill="hold"/>
                                        <p:tgtEl>
                                          <p:spTgt spid="476"/>
                                        </p:tgtEl>
                                        <p:attrNameLst>
                                          <p:attrName>stroke.on</p:attrName>
                                        </p:attrNameLst>
                                      </p:cBhvr>
                                      <p:to>
                                        <p:strVal val="true"/>
                                      </p:to>
                                    </p:set>
                                  </p:childTnLst>
                                </p:cTn>
                              </p:par>
                              <p:par>
                                <p:cTn id="522" presetID="10" presetClass="entr" presetSubtype="0" fill="hold" grpId="0" nodeType="withEffect">
                                  <p:stCondLst>
                                    <p:cond delay="0"/>
                                  </p:stCondLst>
                                  <p:childTnLst>
                                    <p:set>
                                      <p:cBhvr>
                                        <p:cTn id="523" dur="1" fill="hold">
                                          <p:stCondLst>
                                            <p:cond delay="0"/>
                                          </p:stCondLst>
                                        </p:cTn>
                                        <p:tgtEl>
                                          <p:spTgt spid="190"/>
                                        </p:tgtEl>
                                        <p:attrNameLst>
                                          <p:attrName>style.visibility</p:attrName>
                                        </p:attrNameLst>
                                      </p:cBhvr>
                                      <p:to>
                                        <p:strVal val="visible"/>
                                      </p:to>
                                    </p:set>
                                    <p:animEffect transition="in" filter="fade">
                                      <p:cBhvr>
                                        <p:cTn id="524" dur="500"/>
                                        <p:tgtEl>
                                          <p:spTgt spid="190"/>
                                        </p:tgtEl>
                                      </p:cBhvr>
                                    </p:animEffect>
                                  </p:childTnLst>
                                </p:cTn>
                              </p:par>
                              <p:par>
                                <p:cTn id="525" presetID="42" presetClass="path" presetSubtype="0" decel="100000" fill="hold" grpId="1" nodeType="withEffect">
                                  <p:stCondLst>
                                    <p:cond delay="0"/>
                                  </p:stCondLst>
                                  <p:childTnLst>
                                    <p:animMotion origin="layout" path="M -2.08333E-7 -4.07407E-6 L -2.08333E-7 0.0257 " pathEditMode="relative" rAng="0" ptsTypes="AA">
                                      <p:cBhvr>
                                        <p:cTn id="526" dur="500" spd="-100000" fill="hold"/>
                                        <p:tgtEl>
                                          <p:spTgt spid="190"/>
                                        </p:tgtEl>
                                        <p:attrNameLst>
                                          <p:attrName>ppt_x</p:attrName>
                                          <p:attrName>ppt_y</p:attrName>
                                        </p:attrNameLst>
                                      </p:cBhvr>
                                      <p:rCtr x="0" y="127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 grpId="0"/>
      <p:bldP spid="2" grpId="1"/>
      <p:bldP spid="440" grpId="0"/>
      <p:bldP spid="440" grpId="1"/>
      <p:bldP spid="442" grpId="0"/>
      <p:bldP spid="442" grpId="1"/>
      <p:bldP spid="445" grpId="0"/>
      <p:bldP spid="445" grpId="1"/>
      <p:bldP spid="437" grpId="0"/>
      <p:bldP spid="437" grpId="1"/>
      <p:bldP spid="444" grpId="0"/>
      <p:bldP spid="444" grpId="1"/>
      <p:bldP spid="439" grpId="0"/>
      <p:bldP spid="439" grpId="1"/>
      <p:bldP spid="443" grpId="0"/>
      <p:bldP spid="443" grpId="1"/>
      <p:bldP spid="190" grpId="0"/>
      <p:bldP spid="190" grpId="1"/>
      <p:bldP spid="438" grpId="0" animBg="1"/>
      <p:bldP spid="438" grpId="1"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2"/>
          <p:cNvSpPr>
            <a:spLocks noGrp="1"/>
          </p:cNvSpPr>
          <p:nvPr>
            <p:ph type="title"/>
          </p:nvPr>
        </p:nvSpPr>
        <p:spPr>
          <a:xfrm>
            <a:off x="1671797" y="469313"/>
            <a:ext cx="6579426" cy="635655"/>
          </a:xfrm>
        </p:spPr>
        <p:txBody>
          <a:bodyPr>
            <a:noAutofit/>
          </a:bodyPr>
          <a:lstStyle/>
          <a:p>
            <a:r>
              <a:rPr lang="zh-CN" altLang="en-US" sz="4080" dirty="0">
                <a:latin typeface="微软雅黑" panose="020B0503020204020204" pitchFamily="34" charset="-122"/>
                <a:ea typeface="微软雅黑" panose="020B0503020204020204" pitchFamily="34" charset="-122"/>
                <a:cs typeface="Segoe UI Light" panose="020B0502040204020203" pitchFamily="34" charset="0"/>
              </a:rPr>
              <a:t>支持主流深度学习框架</a:t>
            </a:r>
            <a:endParaRPr lang="en-US" sz="4080" dirty="0"/>
          </a:p>
        </p:txBody>
      </p:sp>
      <p:sp>
        <p:nvSpPr>
          <p:cNvPr id="29" name="Rectangle 28">
            <a:extLst>
              <a:ext uri="{FF2B5EF4-FFF2-40B4-BE49-F238E27FC236}">
                <a16:creationId xmlns:a16="http://schemas.microsoft.com/office/drawing/2014/main" id="{19F2B344-0ACC-4124-9DCB-5A679B254B74}"/>
              </a:ext>
            </a:extLst>
          </p:cNvPr>
          <p:cNvSpPr/>
          <p:nvPr/>
        </p:nvSpPr>
        <p:spPr bwMode="auto">
          <a:xfrm>
            <a:off x="1868257" y="1848259"/>
            <a:ext cx="4234729" cy="3197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fontAlgn="base">
              <a:spcBef>
                <a:spcPct val="0"/>
              </a:spcBef>
              <a:spcAft>
                <a:spcPct val="0"/>
              </a:spcAft>
              <a:defRPr/>
            </a:pPr>
            <a:endParaRPr lang="en-US" sz="153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Rectangle 31">
            <a:extLst>
              <a:ext uri="{FF2B5EF4-FFF2-40B4-BE49-F238E27FC236}">
                <a16:creationId xmlns:a16="http://schemas.microsoft.com/office/drawing/2014/main" id="{CAFB9175-B54B-4C38-A8CD-549BDD663A78}"/>
              </a:ext>
            </a:extLst>
          </p:cNvPr>
          <p:cNvSpPr/>
          <p:nvPr/>
        </p:nvSpPr>
        <p:spPr bwMode="auto">
          <a:xfrm>
            <a:off x="6259856" y="1848259"/>
            <a:ext cx="4234729" cy="31971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fontAlgn="base">
              <a:spcBef>
                <a:spcPct val="0"/>
              </a:spcBef>
              <a:spcAft>
                <a:spcPct val="0"/>
              </a:spcAft>
              <a:defRPr/>
            </a:pPr>
            <a:endParaRPr lang="en-US" sz="153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0FB099FF-37DB-49F4-8CBA-17DC3D58D4A8}"/>
              </a:ext>
            </a:extLst>
          </p:cNvPr>
          <p:cNvSpPr/>
          <p:nvPr/>
        </p:nvSpPr>
        <p:spPr>
          <a:xfrm>
            <a:off x="1890240" y="1947439"/>
            <a:ext cx="4187500" cy="574443"/>
          </a:xfrm>
          <a:prstGeom prst="rect">
            <a:avLst/>
          </a:prstGeom>
        </p:spPr>
        <p:txBody>
          <a:bodyPr wrap="square">
            <a:spAutoFit/>
          </a:bodyPr>
          <a:lstStyle/>
          <a:p>
            <a:pPr algn="ctr" defTabSz="699422">
              <a:defRPr/>
            </a:pPr>
            <a:r>
              <a:rPr lang="en-US" sz="1530" dirty="0">
                <a:solidFill>
                  <a:srgbClr val="0078D7"/>
                </a:solidFill>
                <a:latin typeface="Segoe UI Semibold" panose="020B0702040204020203" pitchFamily="34" charset="0"/>
                <a:cs typeface="Segoe UI" charset="0"/>
              </a:rPr>
              <a:t>Use your favorite deep learning frameworks</a:t>
            </a:r>
          </a:p>
          <a:p>
            <a:pPr algn="ctr" defTabSz="699422">
              <a:defRPr/>
            </a:pPr>
            <a:r>
              <a:rPr lang="zh-CN" altLang="en-US" sz="1530" dirty="0">
                <a:solidFill>
                  <a:srgbClr val="0078D7"/>
                </a:solidFill>
                <a:latin typeface="Segoe UI Semibold" panose="020B0702040204020203" pitchFamily="34" charset="0"/>
                <a:ea typeface="宋体" panose="02010600030101010101" pitchFamily="2" charset="-122"/>
                <a:cs typeface="Segoe UI" charset="0"/>
              </a:rPr>
              <a:t>使用熟悉的深度学习框架</a:t>
            </a:r>
            <a:endParaRPr lang="en-US" sz="1530" dirty="0">
              <a:solidFill>
                <a:srgbClr val="0078D7"/>
              </a:solidFill>
              <a:latin typeface="Segoe UI"/>
            </a:endParaRPr>
          </a:p>
        </p:txBody>
      </p:sp>
      <p:pic>
        <p:nvPicPr>
          <p:cNvPr id="37" name="Picture 32">
            <a:extLst>
              <a:ext uri="{FF2B5EF4-FFF2-40B4-BE49-F238E27FC236}">
                <a16:creationId xmlns:a16="http://schemas.microsoft.com/office/drawing/2014/main" id="{178EDBFF-EE52-4972-8627-FD50E4114D56}"/>
              </a:ext>
            </a:extLst>
          </p:cNvPr>
          <p:cNvPicPr>
            <a:picLocks noChangeAspect="1" noChangeArrowheads="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8144175" y="2782596"/>
            <a:ext cx="331753" cy="323792"/>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37">
            <a:extLst>
              <a:ext uri="{FF2B5EF4-FFF2-40B4-BE49-F238E27FC236}">
                <a16:creationId xmlns:a16="http://schemas.microsoft.com/office/drawing/2014/main" id="{212D59C8-D17F-493D-9C16-D4EF7341CE45}"/>
              </a:ext>
            </a:extLst>
          </p:cNvPr>
          <p:cNvSpPr/>
          <p:nvPr/>
        </p:nvSpPr>
        <p:spPr>
          <a:xfrm>
            <a:off x="6259856" y="1947439"/>
            <a:ext cx="4234729" cy="574443"/>
          </a:xfrm>
          <a:prstGeom prst="rect">
            <a:avLst/>
          </a:prstGeom>
        </p:spPr>
        <p:txBody>
          <a:bodyPr wrap="square">
            <a:spAutoFit/>
          </a:bodyPr>
          <a:lstStyle/>
          <a:p>
            <a:pPr algn="ctr" defTabSz="699422">
              <a:defRPr/>
            </a:pPr>
            <a:r>
              <a:rPr lang="en-US" sz="1530" dirty="0">
                <a:solidFill>
                  <a:srgbClr val="FFFFFF"/>
                </a:solidFill>
                <a:latin typeface="Segoe UI Semibold" panose="020B0702040204020203" pitchFamily="34" charset="0"/>
                <a:cs typeface="Segoe UI" charset="0"/>
              </a:rPr>
              <a:t>without getting locked into one framework</a:t>
            </a:r>
          </a:p>
          <a:p>
            <a:pPr algn="ctr" defTabSz="699422">
              <a:defRPr/>
            </a:pPr>
            <a:r>
              <a:rPr lang="zh-CN" altLang="en-US" sz="1530" dirty="0">
                <a:solidFill>
                  <a:srgbClr val="FFFFFF"/>
                </a:solidFill>
                <a:latin typeface="Segoe UI Semibold" panose="020B0702040204020203" pitchFamily="34" charset="0"/>
                <a:ea typeface="宋体" panose="02010600030101010101" pitchFamily="2" charset="-122"/>
                <a:cs typeface="Segoe UI" charset="0"/>
              </a:rPr>
              <a:t>实现框架间交换使用</a:t>
            </a:r>
            <a:endParaRPr lang="en-US" sz="1530" dirty="0">
              <a:solidFill>
                <a:srgbClr val="FFFFFF"/>
              </a:solidFill>
              <a:latin typeface="Segoe UI Semibold" panose="020B0702040204020203" pitchFamily="34" charset="0"/>
              <a:cs typeface="Segoe UI" charset="0"/>
            </a:endParaRPr>
          </a:p>
        </p:txBody>
      </p:sp>
      <p:sp>
        <p:nvSpPr>
          <p:cNvPr id="39" name="Rectangle 38">
            <a:extLst>
              <a:ext uri="{FF2B5EF4-FFF2-40B4-BE49-F238E27FC236}">
                <a16:creationId xmlns:a16="http://schemas.microsoft.com/office/drawing/2014/main" id="{1A10A801-F9B6-42C9-8441-5BE6B2D448F1}"/>
              </a:ext>
            </a:extLst>
          </p:cNvPr>
          <p:cNvSpPr/>
          <p:nvPr/>
        </p:nvSpPr>
        <p:spPr>
          <a:xfrm>
            <a:off x="8082799" y="3143865"/>
            <a:ext cx="454507" cy="192135"/>
          </a:xfrm>
          <a:prstGeom prst="rect">
            <a:avLst/>
          </a:prstGeom>
        </p:spPr>
        <p:txBody>
          <a:bodyPr wrap="none" lIns="0" tIns="0" rIns="0" bIns="0">
            <a:spAutoFit/>
          </a:bodyPr>
          <a:lstStyle/>
          <a:p>
            <a:pPr algn="ctr" defTabSz="699422">
              <a:defRPr/>
            </a:pPr>
            <a:r>
              <a:rPr lang="en-US" sz="1224">
                <a:solidFill>
                  <a:srgbClr val="FFFFFF"/>
                </a:solidFill>
                <a:latin typeface="Segoe UI" panose="020B0502040204020203" pitchFamily="34" charset="0"/>
                <a:cs typeface="Segoe UI" panose="020B0502040204020203" pitchFamily="34" charset="0"/>
              </a:rPr>
              <a:t>ONNX</a:t>
            </a:r>
            <a:endParaRPr lang="en-US" sz="918">
              <a:solidFill>
                <a:srgbClr val="FFFFFF"/>
              </a:solidFill>
              <a:latin typeface="Segoe UI" panose="020B0502040204020203" pitchFamily="34" charset="0"/>
              <a:cs typeface="Segoe UI" panose="020B0502040204020203" pitchFamily="34" charset="0"/>
            </a:endParaRPr>
          </a:p>
        </p:txBody>
      </p:sp>
      <p:sp>
        <p:nvSpPr>
          <p:cNvPr id="42" name="Rectangle 41">
            <a:extLst>
              <a:ext uri="{FF2B5EF4-FFF2-40B4-BE49-F238E27FC236}">
                <a16:creationId xmlns:a16="http://schemas.microsoft.com/office/drawing/2014/main" id="{F23C8B67-3A54-4439-987B-CE527FA0B4D3}"/>
              </a:ext>
            </a:extLst>
          </p:cNvPr>
          <p:cNvSpPr/>
          <p:nvPr/>
        </p:nvSpPr>
        <p:spPr>
          <a:xfrm>
            <a:off x="6554503" y="3583326"/>
            <a:ext cx="3623452" cy="663775"/>
          </a:xfrm>
          <a:prstGeom prst="rect">
            <a:avLst/>
          </a:prstGeom>
        </p:spPr>
        <p:txBody>
          <a:bodyPr wrap="square">
            <a:spAutoFit/>
          </a:bodyPr>
          <a:lstStyle/>
          <a:p>
            <a:pPr defTabSz="699422">
              <a:spcAft>
                <a:spcPts val="459"/>
              </a:spcAft>
              <a:defRPr/>
            </a:pPr>
            <a:r>
              <a:rPr lang="en-US" sz="1071" dirty="0">
                <a:solidFill>
                  <a:srgbClr val="FFFFFF"/>
                </a:solidFill>
                <a:latin typeface="Segoe UI Semibold" panose="020B0702040204020203" pitchFamily="34" charset="0"/>
                <a:cs typeface="Segoe UI" charset="0"/>
              </a:rPr>
              <a:t>Facebook </a:t>
            </a:r>
            <a:r>
              <a:rPr lang="zh-CN" altLang="en-US" sz="1071" dirty="0">
                <a:solidFill>
                  <a:srgbClr val="FFFFFF"/>
                </a:solidFill>
                <a:latin typeface="Segoe UI Semibold" panose="020B0702040204020203" pitchFamily="34" charset="0"/>
                <a:ea typeface="宋体" panose="02010600030101010101" pitchFamily="2" charset="-122"/>
                <a:cs typeface="Segoe UI" charset="0"/>
              </a:rPr>
              <a:t>与</a:t>
            </a:r>
            <a:r>
              <a:rPr lang="en-US" sz="1071" dirty="0">
                <a:solidFill>
                  <a:srgbClr val="FFFFFF"/>
                </a:solidFill>
                <a:latin typeface="Segoe UI Semibold" panose="020B0702040204020203" pitchFamily="34" charset="0"/>
                <a:cs typeface="Segoe UI" charset="0"/>
              </a:rPr>
              <a:t> Microsoft </a:t>
            </a:r>
            <a:r>
              <a:rPr lang="zh-CN" altLang="en-US" sz="1071" dirty="0">
                <a:solidFill>
                  <a:srgbClr val="FFFFFF"/>
                </a:solidFill>
                <a:latin typeface="Segoe UI Semibold" panose="020B0702040204020203" pitchFamily="34" charset="0"/>
                <a:ea typeface="宋体" panose="02010600030101010101" pitchFamily="2" charset="-122"/>
                <a:cs typeface="Segoe UI" charset="0"/>
              </a:rPr>
              <a:t>的联合社区项目</a:t>
            </a:r>
            <a:endParaRPr lang="en-US" sz="1071" dirty="0">
              <a:solidFill>
                <a:srgbClr val="FFFFFF"/>
              </a:solidFill>
              <a:latin typeface="Segoe UI Semibold" panose="020B0702040204020203" pitchFamily="34" charset="0"/>
              <a:cs typeface="Segoe UI" charset="0"/>
            </a:endParaRPr>
          </a:p>
          <a:p>
            <a:pPr defTabSz="699422">
              <a:spcAft>
                <a:spcPts val="459"/>
              </a:spcAft>
              <a:defRPr/>
            </a:pPr>
            <a:br>
              <a:rPr lang="en-US" altLang="zh-CN" sz="1071" dirty="0">
                <a:solidFill>
                  <a:srgbClr val="FFFFFF"/>
                </a:solidFill>
                <a:latin typeface="Segoe UI Semibold" panose="020B0702040204020203" pitchFamily="34" charset="0"/>
                <a:ea typeface="宋体" panose="02010600030101010101" pitchFamily="2" charset="-122"/>
                <a:cs typeface="Segoe UI" charset="0"/>
              </a:rPr>
            </a:br>
            <a:r>
              <a:rPr lang="zh-CN" altLang="en-US" sz="1071" dirty="0">
                <a:solidFill>
                  <a:srgbClr val="FFFFFF"/>
                </a:solidFill>
                <a:latin typeface="Segoe UI Semibold" panose="020B0702040204020203" pitchFamily="34" charset="0"/>
                <a:ea typeface="宋体" panose="02010600030101010101" pitchFamily="2" charset="-122"/>
                <a:cs typeface="Segoe UI" charset="0"/>
              </a:rPr>
              <a:t>一个框架训练，任意框架推理，最佳的任务工具</a:t>
            </a:r>
            <a:endParaRPr lang="en-US" sz="1071" dirty="0">
              <a:solidFill>
                <a:srgbClr val="FFFFFF"/>
              </a:solidFill>
              <a:latin typeface="Segoe UI Semibold" panose="020B0702040204020203" pitchFamily="34" charset="0"/>
              <a:cs typeface="Segoe UI" charset="0"/>
            </a:endParaRPr>
          </a:p>
        </p:txBody>
      </p:sp>
      <p:pic>
        <p:nvPicPr>
          <p:cNvPr id="46" name="Picture 24">
            <a:extLst>
              <a:ext uri="{FF2B5EF4-FFF2-40B4-BE49-F238E27FC236}">
                <a16:creationId xmlns:a16="http://schemas.microsoft.com/office/drawing/2014/main" id="{E0EBB7DA-F0CF-4EC0-AA34-B4BFA0CE4218}"/>
              </a:ext>
            </a:extLst>
          </p:cNvPr>
          <p:cNvPicPr>
            <a:picLocks noChangeAspect="1" noChangeArrowheads="1"/>
          </p:cNvPicPr>
          <p:nvPr/>
        </p:nvPicPr>
        <p:blipFill>
          <a:blip r:embed="rId5" cstate="email">
            <a:extLst>
              <a:ext uri="{28A0092B-C50C-407E-A947-70E740481C1C}">
                <a14:useLocalDpi xmlns:a14="http://schemas.microsoft.com/office/drawing/2010/main"/>
              </a:ext>
            </a:extLst>
          </a:blip>
          <a:stretch>
            <a:fillRect/>
          </a:stretch>
        </p:blipFill>
        <p:spPr bwMode="auto">
          <a:xfrm>
            <a:off x="2643259" y="2896554"/>
            <a:ext cx="223386" cy="239022"/>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a:extLst>
              <a:ext uri="{FF2B5EF4-FFF2-40B4-BE49-F238E27FC236}">
                <a16:creationId xmlns:a16="http://schemas.microsoft.com/office/drawing/2014/main" id="{4A8FA202-2873-447C-B58E-8C7E6BACFE05}"/>
              </a:ext>
            </a:extLst>
          </p:cNvPr>
          <p:cNvPicPr>
            <a:picLocks noChangeAspect="1" noChangeArrowheads="1"/>
          </p:cNvPicPr>
          <p:nvPr/>
        </p:nvPicPr>
        <p:blipFill>
          <a:blip r:embed="rId6" cstate="email">
            <a:extLst>
              <a:ext uri="{28A0092B-C50C-407E-A947-70E740481C1C}">
                <a14:useLocalDpi xmlns:a14="http://schemas.microsoft.com/office/drawing/2010/main"/>
              </a:ext>
            </a:extLst>
          </a:blip>
          <a:stretch>
            <a:fillRect/>
          </a:stretch>
        </p:blipFill>
        <p:spPr bwMode="auto">
          <a:xfrm>
            <a:off x="3786164" y="2883882"/>
            <a:ext cx="200772" cy="23963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36">
            <a:extLst>
              <a:ext uri="{FF2B5EF4-FFF2-40B4-BE49-F238E27FC236}">
                <a16:creationId xmlns:a16="http://schemas.microsoft.com/office/drawing/2014/main" id="{51A442FD-D6DE-4CFE-9488-088C70FB74E4}"/>
              </a:ext>
            </a:extLst>
          </p:cNvPr>
          <p:cNvPicPr>
            <a:picLocks noChangeAspect="1" noChangeArrowheads="1"/>
          </p:cNvPicPr>
          <p:nvPr/>
        </p:nvPicPr>
        <p:blipFill>
          <a:blip r:embed="rId7" cstate="email">
            <a:extLst>
              <a:ext uri="{28A0092B-C50C-407E-A947-70E740481C1C}">
                <a14:useLocalDpi xmlns:a14="http://schemas.microsoft.com/office/drawing/2010/main"/>
              </a:ext>
            </a:extLst>
          </a:blip>
          <a:stretch>
            <a:fillRect/>
          </a:stretch>
        </p:blipFill>
        <p:spPr bwMode="auto">
          <a:xfrm>
            <a:off x="2567151" y="3931429"/>
            <a:ext cx="253554" cy="253554"/>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38">
            <a:extLst>
              <a:ext uri="{FF2B5EF4-FFF2-40B4-BE49-F238E27FC236}">
                <a16:creationId xmlns:a16="http://schemas.microsoft.com/office/drawing/2014/main" id="{B7432FC6-CA74-40DB-BDE1-025836627417}"/>
              </a:ext>
            </a:extLst>
          </p:cNvPr>
          <p:cNvPicPr>
            <a:picLocks noChangeAspect="1" noChangeArrowheads="1"/>
          </p:cNvPicPr>
          <p:nvPr/>
        </p:nvPicPr>
        <p:blipFill>
          <a:blip r:embed="rId8" cstate="email">
            <a:extLst>
              <a:ext uri="{28A0092B-C50C-407E-A947-70E740481C1C}">
                <a14:useLocalDpi xmlns:a14="http://schemas.microsoft.com/office/drawing/2010/main"/>
              </a:ext>
            </a:extLst>
          </a:blip>
          <a:stretch>
            <a:fillRect/>
          </a:stretch>
        </p:blipFill>
        <p:spPr bwMode="auto">
          <a:xfrm>
            <a:off x="3758747" y="3924879"/>
            <a:ext cx="247424" cy="172849"/>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
            <a:extLst>
              <a:ext uri="{FF2B5EF4-FFF2-40B4-BE49-F238E27FC236}">
                <a16:creationId xmlns:a16="http://schemas.microsoft.com/office/drawing/2014/main" id="{02CA6328-E3C5-4BC7-ACEA-1A21914B7234}"/>
              </a:ext>
            </a:extLst>
          </p:cNvPr>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4895145" y="2867061"/>
            <a:ext cx="438577" cy="239024"/>
          </a:xfrm>
          <a:prstGeom prst="rect">
            <a:avLst/>
          </a:prstGeom>
          <a:extLst>
            <a:ext uri="{909E8E84-426E-40DD-AFC4-6F175D3DCCD1}">
              <a14:hiddenFill xmlns:a14="http://schemas.microsoft.com/office/drawing/2010/main">
                <a:solidFill>
                  <a:srgbClr val="FFFFFF"/>
                </a:solidFill>
              </a14:hiddenFill>
            </a:ext>
          </a:extLst>
        </p:spPr>
      </p:pic>
      <p:sp>
        <p:nvSpPr>
          <p:cNvPr id="65" name="Rectangle 64">
            <a:extLst>
              <a:ext uri="{FF2B5EF4-FFF2-40B4-BE49-F238E27FC236}">
                <a16:creationId xmlns:a16="http://schemas.microsoft.com/office/drawing/2014/main" id="{42D56646-D366-47D5-823F-01874BD4978C}"/>
              </a:ext>
            </a:extLst>
          </p:cNvPr>
          <p:cNvSpPr/>
          <p:nvPr/>
        </p:nvSpPr>
        <p:spPr>
          <a:xfrm>
            <a:off x="2459153" y="3208488"/>
            <a:ext cx="601648" cy="144069"/>
          </a:xfrm>
          <a:prstGeom prst="rect">
            <a:avLst/>
          </a:prstGeom>
        </p:spPr>
        <p:txBody>
          <a:bodyPr wrap="none" lIns="0" tIns="0" rIns="0" bIns="0">
            <a:spAutoFit/>
          </a:bodyPr>
          <a:lstStyle/>
          <a:p>
            <a:pPr algn="ctr" defTabSz="699422">
              <a:defRPr/>
            </a:pPr>
            <a:r>
              <a:rPr lang="en-US" sz="918">
                <a:solidFill>
                  <a:srgbClr val="1A1A1A"/>
                </a:solidFill>
                <a:latin typeface="Segoe UI" panose="020B0502040204020203" pitchFamily="34" charset="0"/>
                <a:cs typeface="Segoe UI" panose="020B0502040204020203" pitchFamily="34" charset="0"/>
              </a:rPr>
              <a:t>TensorFlow</a:t>
            </a:r>
          </a:p>
        </p:txBody>
      </p:sp>
      <p:sp>
        <p:nvSpPr>
          <p:cNvPr id="66" name="Rectangle 65">
            <a:extLst>
              <a:ext uri="{FF2B5EF4-FFF2-40B4-BE49-F238E27FC236}">
                <a16:creationId xmlns:a16="http://schemas.microsoft.com/office/drawing/2014/main" id="{390980B0-70F1-4602-9EAF-5255F6BC4139}"/>
              </a:ext>
            </a:extLst>
          </p:cNvPr>
          <p:cNvSpPr/>
          <p:nvPr/>
        </p:nvSpPr>
        <p:spPr>
          <a:xfrm>
            <a:off x="3673948" y="3201196"/>
            <a:ext cx="425078" cy="144069"/>
          </a:xfrm>
          <a:prstGeom prst="rect">
            <a:avLst/>
          </a:prstGeom>
        </p:spPr>
        <p:txBody>
          <a:bodyPr wrap="none" lIns="0" tIns="0" rIns="0" bIns="0">
            <a:spAutoFit/>
          </a:bodyPr>
          <a:lstStyle/>
          <a:p>
            <a:pPr algn="ctr" defTabSz="699422">
              <a:defRPr/>
            </a:pPr>
            <a:r>
              <a:rPr lang="en-US" sz="918">
                <a:solidFill>
                  <a:srgbClr val="1A1A1A"/>
                </a:solidFill>
                <a:latin typeface="Segoe UI" panose="020B0502040204020203" pitchFamily="34" charset="0"/>
                <a:cs typeface="Segoe UI" panose="020B0502040204020203" pitchFamily="34" charset="0"/>
              </a:rPr>
              <a:t>PyTorch</a:t>
            </a:r>
          </a:p>
        </p:txBody>
      </p:sp>
      <p:sp>
        <p:nvSpPr>
          <p:cNvPr id="67" name="Rectangle 66">
            <a:extLst>
              <a:ext uri="{FF2B5EF4-FFF2-40B4-BE49-F238E27FC236}">
                <a16:creationId xmlns:a16="http://schemas.microsoft.com/office/drawing/2014/main" id="{EE5CB7B8-7751-4A30-AB53-2CE78173F858}"/>
              </a:ext>
            </a:extLst>
          </p:cNvPr>
          <p:cNvSpPr/>
          <p:nvPr/>
        </p:nvSpPr>
        <p:spPr>
          <a:xfrm>
            <a:off x="4805436" y="3178997"/>
            <a:ext cx="617999" cy="144069"/>
          </a:xfrm>
          <a:prstGeom prst="rect">
            <a:avLst/>
          </a:prstGeom>
        </p:spPr>
        <p:txBody>
          <a:bodyPr wrap="none" lIns="0" tIns="0" rIns="0" bIns="0">
            <a:spAutoFit/>
          </a:bodyPr>
          <a:lstStyle/>
          <a:p>
            <a:pPr algn="ctr" defTabSz="699422">
              <a:defRPr/>
            </a:pPr>
            <a:r>
              <a:rPr lang="en-US" sz="918">
                <a:solidFill>
                  <a:srgbClr val="1A1A1A"/>
                </a:solidFill>
                <a:latin typeface="Segoe UI" panose="020B0502040204020203" pitchFamily="34" charset="0"/>
                <a:cs typeface="Segoe UI" panose="020B0502040204020203" pitchFamily="34" charset="0"/>
              </a:rPr>
              <a:t>Scikit-Learn</a:t>
            </a:r>
          </a:p>
        </p:txBody>
      </p:sp>
      <p:sp>
        <p:nvSpPr>
          <p:cNvPr id="68" name="Rectangle 67">
            <a:extLst>
              <a:ext uri="{FF2B5EF4-FFF2-40B4-BE49-F238E27FC236}">
                <a16:creationId xmlns:a16="http://schemas.microsoft.com/office/drawing/2014/main" id="{C49DA1AF-1442-4301-BF34-082C61725221}"/>
              </a:ext>
            </a:extLst>
          </p:cNvPr>
          <p:cNvSpPr/>
          <p:nvPr/>
        </p:nvSpPr>
        <p:spPr>
          <a:xfrm>
            <a:off x="2508364" y="4231824"/>
            <a:ext cx="371126" cy="144069"/>
          </a:xfrm>
          <a:prstGeom prst="rect">
            <a:avLst/>
          </a:prstGeom>
        </p:spPr>
        <p:txBody>
          <a:bodyPr wrap="none" lIns="0" tIns="0" rIns="0" bIns="0">
            <a:spAutoFit/>
          </a:bodyPr>
          <a:lstStyle/>
          <a:p>
            <a:pPr algn="ctr" defTabSz="699422">
              <a:defRPr/>
            </a:pPr>
            <a:r>
              <a:rPr lang="en-US" sz="918">
                <a:solidFill>
                  <a:srgbClr val="1A1A1A"/>
                </a:solidFill>
                <a:latin typeface="Segoe UI" panose="020B0502040204020203" pitchFamily="34" charset="0"/>
                <a:cs typeface="Segoe UI" panose="020B0502040204020203" pitchFamily="34" charset="0"/>
              </a:rPr>
              <a:t>MXNet</a:t>
            </a:r>
          </a:p>
        </p:txBody>
      </p:sp>
      <p:sp>
        <p:nvSpPr>
          <p:cNvPr id="69" name="Rectangle 68">
            <a:extLst>
              <a:ext uri="{FF2B5EF4-FFF2-40B4-BE49-F238E27FC236}">
                <a16:creationId xmlns:a16="http://schemas.microsoft.com/office/drawing/2014/main" id="{3A50B98D-365C-4BCA-A310-DF9534D8E5C6}"/>
              </a:ext>
            </a:extLst>
          </p:cNvPr>
          <p:cNvSpPr/>
          <p:nvPr/>
        </p:nvSpPr>
        <p:spPr>
          <a:xfrm>
            <a:off x="3685043" y="4184922"/>
            <a:ext cx="394832" cy="141257"/>
          </a:xfrm>
          <a:prstGeom prst="rect">
            <a:avLst/>
          </a:prstGeom>
        </p:spPr>
        <p:txBody>
          <a:bodyPr wrap="square" lIns="0" tIns="0" rIns="0" bIns="0">
            <a:spAutoFit/>
          </a:bodyPr>
          <a:lstStyle/>
          <a:p>
            <a:pPr algn="ctr" defTabSz="699422">
              <a:defRPr/>
            </a:pPr>
            <a:r>
              <a:rPr lang="en-US" sz="918">
                <a:solidFill>
                  <a:srgbClr val="1A1A1A"/>
                </a:solidFill>
                <a:latin typeface="Segoe UI" panose="020B0502040204020203" pitchFamily="34" charset="0"/>
                <a:cs typeface="Segoe UI" panose="020B0502040204020203" pitchFamily="34" charset="0"/>
              </a:rPr>
              <a:t>Chainer</a:t>
            </a:r>
          </a:p>
        </p:txBody>
      </p:sp>
      <p:pic>
        <p:nvPicPr>
          <p:cNvPr id="70" name="Picture 69">
            <a:extLst>
              <a:ext uri="{FF2B5EF4-FFF2-40B4-BE49-F238E27FC236}">
                <a16:creationId xmlns:a16="http://schemas.microsoft.com/office/drawing/2014/main" id="{781E5544-126E-4727-918E-5C05C42F5A24}"/>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046697" y="3870135"/>
            <a:ext cx="219419" cy="214431"/>
          </a:xfrm>
          <a:prstGeom prst="rect">
            <a:avLst/>
          </a:prstGeom>
        </p:spPr>
      </p:pic>
      <p:sp>
        <p:nvSpPr>
          <p:cNvPr id="71" name="Rectangle 70">
            <a:extLst>
              <a:ext uri="{FF2B5EF4-FFF2-40B4-BE49-F238E27FC236}">
                <a16:creationId xmlns:a16="http://schemas.microsoft.com/office/drawing/2014/main" id="{386062D8-AC96-41DE-8468-3274A1EA2A11}"/>
              </a:ext>
            </a:extLst>
          </p:cNvPr>
          <p:cNvSpPr/>
          <p:nvPr/>
        </p:nvSpPr>
        <p:spPr>
          <a:xfrm>
            <a:off x="5013351" y="4200505"/>
            <a:ext cx="286111" cy="144069"/>
          </a:xfrm>
          <a:prstGeom prst="rect">
            <a:avLst/>
          </a:prstGeom>
        </p:spPr>
        <p:txBody>
          <a:bodyPr wrap="none" lIns="0" tIns="0" rIns="0" bIns="0">
            <a:spAutoFit/>
          </a:bodyPr>
          <a:lstStyle/>
          <a:p>
            <a:pPr algn="ctr" defTabSz="699422">
              <a:defRPr/>
            </a:pPr>
            <a:r>
              <a:rPr lang="en-US" sz="918">
                <a:solidFill>
                  <a:srgbClr val="1A1A1A"/>
                </a:solidFill>
                <a:latin typeface="Segoe UI" panose="020B0502040204020203" pitchFamily="34" charset="0"/>
                <a:cs typeface="Segoe UI" panose="020B0502040204020203" pitchFamily="34" charset="0"/>
              </a:rPr>
              <a:t>Keras</a:t>
            </a:r>
          </a:p>
        </p:txBody>
      </p:sp>
      <p:grpSp>
        <p:nvGrpSpPr>
          <p:cNvPr id="72" name="Group 71">
            <a:extLst>
              <a:ext uri="{FF2B5EF4-FFF2-40B4-BE49-F238E27FC236}">
                <a16:creationId xmlns:a16="http://schemas.microsoft.com/office/drawing/2014/main" id="{04227D19-48BB-4EE9-8675-B95BFB3D478F}"/>
              </a:ext>
            </a:extLst>
          </p:cNvPr>
          <p:cNvGrpSpPr/>
          <p:nvPr/>
        </p:nvGrpSpPr>
        <p:grpSpPr>
          <a:xfrm>
            <a:off x="5965209" y="3230616"/>
            <a:ext cx="432424" cy="432424"/>
            <a:chOff x="5664926" y="3703417"/>
            <a:chExt cx="565312" cy="565312"/>
          </a:xfrm>
        </p:grpSpPr>
        <p:sp>
          <p:nvSpPr>
            <p:cNvPr id="73" name="Oval 72">
              <a:extLst>
                <a:ext uri="{FF2B5EF4-FFF2-40B4-BE49-F238E27FC236}">
                  <a16:creationId xmlns:a16="http://schemas.microsoft.com/office/drawing/2014/main" id="{0120DBDC-B395-4FE3-9890-1B729928BE0F}"/>
                </a:ext>
              </a:extLst>
            </p:cNvPr>
            <p:cNvSpPr/>
            <p:nvPr/>
          </p:nvSpPr>
          <p:spPr bwMode="auto">
            <a:xfrm>
              <a:off x="5664926" y="3703417"/>
              <a:ext cx="565312" cy="5653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defRPr/>
              </a:pPr>
              <a:endParaRPr lang="en-US" sz="1836">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Cross 73">
              <a:extLst>
                <a:ext uri="{FF2B5EF4-FFF2-40B4-BE49-F238E27FC236}">
                  <a16:creationId xmlns:a16="http://schemas.microsoft.com/office/drawing/2014/main" id="{7F313B74-CCA9-4CA5-93C3-22668FA4E8C8}"/>
                </a:ext>
              </a:extLst>
            </p:cNvPr>
            <p:cNvSpPr/>
            <p:nvPr/>
          </p:nvSpPr>
          <p:spPr bwMode="auto">
            <a:xfrm>
              <a:off x="5819751" y="3859854"/>
              <a:ext cx="252436" cy="252436"/>
            </a:xfrm>
            <a:prstGeom prst="plus">
              <a:avLst>
                <a:gd name="adj" fmla="val 4235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defRPr/>
              </a:pPr>
              <a:endParaRPr lang="en-US" sz="1836">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pic>
        <p:nvPicPr>
          <p:cNvPr id="35" name="Picture 34">
            <a:extLst>
              <a:ext uri="{FF2B5EF4-FFF2-40B4-BE49-F238E27FC236}">
                <a16:creationId xmlns:a16="http://schemas.microsoft.com/office/drawing/2014/main" id="{51832440-F98C-416F-9052-CEB25765D95B}"/>
              </a:ext>
            </a:extLst>
          </p:cNvPr>
          <p:cNvPicPr>
            <a:picLocks noChangeAspect="1"/>
          </p:cNvPicPr>
          <p:nvPr/>
        </p:nvPicPr>
        <p:blipFill>
          <a:blip r:embed="rId11" cstate="email">
            <a:duotone>
              <a:schemeClr val="bg2">
                <a:shade val="45000"/>
                <a:satMod val="135000"/>
              </a:schemeClr>
              <a:prstClr val="white"/>
            </a:duotone>
            <a:extLst>
              <a:ext uri="{BEBA8EAE-BF5A-486C-A8C5-ECC9F3942E4B}">
                <a14:imgProps xmlns:a14="http://schemas.microsoft.com/office/drawing/2010/main">
                  <a14:imgLayer r:embed="rId12">
                    <a14:imgEffect>
                      <a14:artisticPhotocopy/>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6573832" y="4344769"/>
            <a:ext cx="3651459" cy="606245"/>
          </a:xfrm>
          <a:prstGeom prst="rect">
            <a:avLst/>
          </a:prstGeom>
        </p:spPr>
      </p:pic>
      <p:sp>
        <p:nvSpPr>
          <p:cNvPr id="36" name="Rectangle 35">
            <a:extLst>
              <a:ext uri="{FF2B5EF4-FFF2-40B4-BE49-F238E27FC236}">
                <a16:creationId xmlns:a16="http://schemas.microsoft.com/office/drawing/2014/main" id="{2838D73A-6360-4634-837D-1A34471B6FB3}"/>
              </a:ext>
            </a:extLst>
          </p:cNvPr>
          <p:cNvSpPr/>
          <p:nvPr/>
        </p:nvSpPr>
        <p:spPr bwMode="auto">
          <a:xfrm>
            <a:off x="8747027" y="4360354"/>
            <a:ext cx="1581226" cy="2875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fontAlgn="base">
              <a:spcBef>
                <a:spcPct val="0"/>
              </a:spcBef>
              <a:spcAft>
                <a:spcPct val="0"/>
              </a:spcAft>
              <a:defRPr/>
            </a:pPr>
            <a:endParaRPr lang="en-US" sz="153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1" name="Picture 60">
            <a:extLst>
              <a:ext uri="{FF2B5EF4-FFF2-40B4-BE49-F238E27FC236}">
                <a16:creationId xmlns:a16="http://schemas.microsoft.com/office/drawing/2014/main" id="{C2A0B051-E55B-4425-8F8A-587FD4AF26D4}"/>
              </a:ext>
            </a:extLst>
          </p:cNvPr>
          <p:cNvPicPr>
            <a:picLocks noChangeAspect="1"/>
          </p:cNvPicPr>
          <p:nvPr/>
        </p:nvPicPr>
        <p:blipFill rotWithShape="1">
          <a:blip r:embed="rId13" cstate="email">
            <a:duotone>
              <a:schemeClr val="bg2">
                <a:shade val="45000"/>
                <a:satMod val="135000"/>
              </a:schemeClr>
              <a:prstClr val="white"/>
            </a:duotone>
            <a:extLst>
              <a:ext uri="{BEBA8EAE-BF5A-486C-A8C5-ECC9F3942E4B}">
                <a14:imgProps xmlns:a14="http://schemas.microsoft.com/office/drawing/2010/main">
                  <a14:imgLayer r:embed="rId14">
                    <a14:imgEffect>
                      <a14:artisticPhotocopy/>
                    </a14:imgEffect>
                    <a14:imgEffect>
                      <a14:brightnessContrast bright="40000" contrast="40000"/>
                    </a14:imgEffect>
                  </a14:imgLayer>
                </a14:imgProps>
              </a:ext>
              <a:ext uri="{28A0092B-C50C-407E-A947-70E740481C1C}">
                <a14:useLocalDpi xmlns:a14="http://schemas.microsoft.com/office/drawing/2010/main"/>
              </a:ext>
            </a:extLst>
          </a:blip>
          <a:srcRect l="60151" r="20119" b="63179"/>
          <a:stretch/>
        </p:blipFill>
        <p:spPr>
          <a:xfrm>
            <a:off x="8815447" y="4360353"/>
            <a:ext cx="642354" cy="199041"/>
          </a:xfrm>
          <a:prstGeom prst="rect">
            <a:avLst/>
          </a:prstGeom>
        </p:spPr>
      </p:pic>
      <p:pic>
        <p:nvPicPr>
          <p:cNvPr id="60" name="Picture 59">
            <a:extLst>
              <a:ext uri="{FF2B5EF4-FFF2-40B4-BE49-F238E27FC236}">
                <a16:creationId xmlns:a16="http://schemas.microsoft.com/office/drawing/2014/main" id="{8F65A1E3-DAC0-4EA2-AE5C-B1B9E7407262}"/>
              </a:ext>
            </a:extLst>
          </p:cNvPr>
          <p:cNvPicPr>
            <a:picLocks noChangeAspect="1"/>
          </p:cNvPicPr>
          <p:nvPr/>
        </p:nvPicPr>
        <p:blipFill rotWithShape="1">
          <a:blip r:embed="rId13" cstate="email">
            <a:duotone>
              <a:schemeClr val="bg2">
                <a:shade val="45000"/>
                <a:satMod val="135000"/>
              </a:schemeClr>
              <a:prstClr val="white"/>
            </a:duotone>
            <a:extLst>
              <a:ext uri="{BEBA8EAE-BF5A-486C-A8C5-ECC9F3942E4B}">
                <a14:imgProps xmlns:a14="http://schemas.microsoft.com/office/drawing/2010/main">
                  <a14:imgLayer r:embed="rId14">
                    <a14:imgEffect>
                      <a14:artisticPhotocopy/>
                    </a14:imgEffect>
                    <a14:imgEffect>
                      <a14:brightnessContrast bright="40000" contrast="40000"/>
                    </a14:imgEffect>
                  </a14:imgLayer>
                </a14:imgProps>
              </a:ext>
              <a:ext uri="{28A0092B-C50C-407E-A947-70E740481C1C}">
                <a14:useLocalDpi xmlns:a14="http://schemas.microsoft.com/office/drawing/2010/main"/>
              </a:ext>
            </a:extLst>
          </a:blip>
          <a:srcRect l="80271" t="4963" b="58216"/>
          <a:stretch/>
        </p:blipFill>
        <p:spPr>
          <a:xfrm>
            <a:off x="9561535" y="4378083"/>
            <a:ext cx="642354" cy="199041"/>
          </a:xfrm>
          <a:prstGeom prst="rect">
            <a:avLst/>
          </a:prstGeom>
        </p:spPr>
      </p:pic>
    </p:spTree>
    <p:extLst>
      <p:ext uri="{BB962C8B-B14F-4D97-AF65-F5344CB8AC3E}">
        <p14:creationId xmlns:p14="http://schemas.microsoft.com/office/powerpoint/2010/main" val="1141046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2"/>
          <p:cNvSpPr>
            <a:spLocks noGrp="1"/>
          </p:cNvSpPr>
          <p:nvPr>
            <p:ph type="title"/>
          </p:nvPr>
        </p:nvSpPr>
        <p:spPr>
          <a:xfrm>
            <a:off x="1598937" y="174981"/>
            <a:ext cx="7026488" cy="579835"/>
          </a:xfrm>
        </p:spPr>
        <p:txBody>
          <a:bodyPr/>
          <a:lstStyle/>
          <a:p>
            <a:pPr defTabSz="713271" fontAlgn="base">
              <a:spcAft>
                <a:spcPct val="0"/>
              </a:spcAft>
              <a:defRPr/>
            </a:pPr>
            <a:r>
              <a:rPr lang="zh-CN" altLang="en-US" sz="4080" dirty="0">
                <a:latin typeface="微软雅黑" panose="020B0503020204020204" pitchFamily="34" charset="-122"/>
                <a:ea typeface="微软雅黑" panose="020B0503020204020204" pitchFamily="34" charset="-122"/>
                <a:cs typeface="Segoe UI Light" panose="020B0502040204020203" pitchFamily="34" charset="0"/>
              </a:rPr>
              <a:t>强大的基础设施</a:t>
            </a:r>
            <a:endParaRPr lang="en-US" sz="4080" dirty="0">
              <a:solidFill>
                <a:srgbClr val="0078D7"/>
              </a:solidFill>
              <a:latin typeface="微软雅黑" panose="020B0503020204020204" pitchFamily="34" charset="-122"/>
              <a:ea typeface="微软雅黑" panose="020B0503020204020204" pitchFamily="34" charset="-122"/>
            </a:endParaRPr>
          </a:p>
        </p:txBody>
      </p:sp>
      <p:sp>
        <p:nvSpPr>
          <p:cNvPr id="63" name="Arrow: Left-Right 50">
            <a:extLst>
              <a:ext uri="{FF2B5EF4-FFF2-40B4-BE49-F238E27FC236}">
                <a16:creationId xmlns:a16="http://schemas.microsoft.com/office/drawing/2014/main" id="{689B45EF-A0E4-C543-A885-7DB462A5E236}"/>
              </a:ext>
            </a:extLst>
          </p:cNvPr>
          <p:cNvSpPr/>
          <p:nvPr/>
        </p:nvSpPr>
        <p:spPr bwMode="auto">
          <a:xfrm>
            <a:off x="1860919" y="4159678"/>
            <a:ext cx="8642987" cy="780927"/>
          </a:xfrm>
          <a:prstGeom prst="leftRightArrow">
            <a:avLst/>
          </a:prstGeom>
          <a:solidFill>
            <a:srgbClr val="0078D4"/>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fontAlgn="base">
              <a:spcBef>
                <a:spcPct val="0"/>
              </a:spcBef>
              <a:spcAft>
                <a:spcPct val="0"/>
              </a:spcAft>
              <a:defRPr/>
            </a:pPr>
            <a:endParaRPr lang="en-US" sz="1530" err="1">
              <a:solidFill>
                <a:srgbClr val="0078D4"/>
              </a:solidFill>
              <a:latin typeface="Segoe UI"/>
              <a:ea typeface="Segoe UI" pitchFamily="34" charset="0"/>
              <a:cs typeface="Segoe UI" pitchFamily="34" charset="0"/>
            </a:endParaRPr>
          </a:p>
        </p:txBody>
      </p:sp>
      <p:sp>
        <p:nvSpPr>
          <p:cNvPr id="65" name="Rectangle 64">
            <a:extLst>
              <a:ext uri="{FF2B5EF4-FFF2-40B4-BE49-F238E27FC236}">
                <a16:creationId xmlns:a16="http://schemas.microsoft.com/office/drawing/2014/main" id="{2C76E695-8445-1242-8263-3BABA272211F}"/>
              </a:ext>
            </a:extLst>
          </p:cNvPr>
          <p:cNvSpPr/>
          <p:nvPr/>
        </p:nvSpPr>
        <p:spPr bwMode="auto">
          <a:xfrm>
            <a:off x="1689960" y="3336947"/>
            <a:ext cx="2665949" cy="491150"/>
          </a:xfrm>
          <a:prstGeom prst="rect">
            <a:avLst/>
          </a:prstGeom>
          <a:noFill/>
          <a:ln w="12700" cap="flat" cmpd="sng" algn="ctr">
            <a:noFill/>
            <a:prstDash val="solid"/>
            <a:headEnd type="none" w="med" len="med"/>
            <a:tailEnd type="none" w="med" len="med"/>
          </a:ln>
          <a:effectLst/>
        </p:spPr>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r>
              <a:rPr lang="zh-CN" altLang="en-US" sz="1377" kern="0" dirty="0">
                <a:solidFill>
                  <a:srgbClr val="1A1A1A"/>
                </a:solidFill>
                <a:latin typeface="Segoe UI Semilight"/>
                <a:ea typeface="Segoe UI" pitchFamily="34" charset="0"/>
                <a:cs typeface="Segoe UI" pitchFamily="34" charset="0"/>
              </a:rPr>
              <a:t>通用的机器学习</a:t>
            </a:r>
            <a:endParaRPr lang="en-US" altLang="zh-CN" sz="1377" kern="0" dirty="0">
              <a:solidFill>
                <a:srgbClr val="1A1A1A"/>
              </a:solidFill>
              <a:latin typeface="Segoe UI Semilight"/>
              <a:ea typeface="Segoe UI" pitchFamily="34" charset="0"/>
              <a:cs typeface="Segoe UI" pitchFamily="34" charset="0"/>
            </a:endParaRPr>
          </a:p>
          <a:p>
            <a:pPr algn="ctr" defTabSz="699220" fontAlgn="base">
              <a:lnSpc>
                <a:spcPct val="90000"/>
              </a:lnSpc>
              <a:spcBef>
                <a:spcPct val="0"/>
              </a:spcBef>
              <a:spcAft>
                <a:spcPct val="0"/>
              </a:spcAft>
              <a:defRPr/>
            </a:pPr>
            <a:br>
              <a:rPr lang="en-US" sz="1071" kern="0" dirty="0">
                <a:solidFill>
                  <a:srgbClr val="0078D4"/>
                </a:solidFill>
                <a:latin typeface="Segoe UI Semilight"/>
                <a:ea typeface="Segoe UI" pitchFamily="34" charset="0"/>
                <a:cs typeface="Segoe UI" pitchFamily="34" charset="0"/>
              </a:rPr>
            </a:br>
            <a:r>
              <a:rPr lang="en-US" sz="1071" kern="0" dirty="0">
                <a:solidFill>
                  <a:srgbClr val="0078D4"/>
                </a:solidFill>
                <a:latin typeface="Segoe UI Semilight"/>
                <a:ea typeface="Segoe UI" pitchFamily="34" charset="0"/>
                <a:cs typeface="Segoe UI" pitchFamily="34" charset="0"/>
              </a:rPr>
              <a:t>D, F, L, M, H Series</a:t>
            </a:r>
            <a:endParaRPr lang="en-US" sz="1377" kern="0" dirty="0">
              <a:solidFill>
                <a:srgbClr val="0078D4"/>
              </a:solidFill>
              <a:latin typeface="Segoe UI Semilight"/>
              <a:ea typeface="Segoe UI" pitchFamily="34" charset="0"/>
              <a:cs typeface="Segoe UI" pitchFamily="34" charset="0"/>
            </a:endParaRPr>
          </a:p>
        </p:txBody>
      </p:sp>
      <p:sp>
        <p:nvSpPr>
          <p:cNvPr id="66" name="Rectangle 65">
            <a:extLst>
              <a:ext uri="{FF2B5EF4-FFF2-40B4-BE49-F238E27FC236}">
                <a16:creationId xmlns:a16="http://schemas.microsoft.com/office/drawing/2014/main" id="{283227AD-88A3-6343-A6AC-A04C3F46AB80}"/>
              </a:ext>
            </a:extLst>
          </p:cNvPr>
          <p:cNvSpPr/>
          <p:nvPr/>
        </p:nvSpPr>
        <p:spPr bwMode="auto">
          <a:xfrm>
            <a:off x="2627585" y="3052630"/>
            <a:ext cx="698400" cy="216136"/>
          </a:xfrm>
          <a:prstGeom prst="rect">
            <a:avLst/>
          </a:prstGeom>
          <a:no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699220" fontAlgn="base">
              <a:lnSpc>
                <a:spcPct val="90000"/>
              </a:lnSpc>
              <a:spcBef>
                <a:spcPct val="0"/>
              </a:spcBef>
              <a:spcAft>
                <a:spcPct val="0"/>
              </a:spcAft>
              <a:defRPr/>
            </a:pPr>
            <a:r>
              <a:rPr lang="en-US" sz="1530" kern="0">
                <a:solidFill>
                  <a:srgbClr val="0078D4"/>
                </a:solidFill>
                <a:latin typeface="Segoe UI Semibold" panose="020B0702040204020203" pitchFamily="34" charset="0"/>
                <a:ea typeface="Segoe UI" panose="020B0502040204020203" pitchFamily="34" charset="0"/>
                <a:cs typeface="Segoe UI Semibold" panose="020B0702040204020203" pitchFamily="34" charset="0"/>
              </a:rPr>
              <a:t>CPUs</a:t>
            </a:r>
          </a:p>
        </p:txBody>
      </p:sp>
      <p:sp>
        <p:nvSpPr>
          <p:cNvPr id="67" name="chip">
            <a:extLst>
              <a:ext uri="{FF2B5EF4-FFF2-40B4-BE49-F238E27FC236}">
                <a16:creationId xmlns:a16="http://schemas.microsoft.com/office/drawing/2014/main" id="{1F486F47-0449-3340-8B4E-FCCDF8FDE13A}"/>
              </a:ext>
            </a:extLst>
          </p:cNvPr>
          <p:cNvSpPr>
            <a:spLocks noChangeAspect="1" noEditPoints="1"/>
          </p:cNvSpPr>
          <p:nvPr/>
        </p:nvSpPr>
        <p:spPr bwMode="auto">
          <a:xfrm>
            <a:off x="2831652" y="2641593"/>
            <a:ext cx="290266" cy="296264"/>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2700" cap="sq">
            <a:solidFill>
              <a:schemeClr val="tx2"/>
            </a:solidFill>
            <a:prstDash val="solid"/>
            <a:miter lim="800000"/>
            <a:headEnd/>
            <a:tailEnd/>
          </a:ln>
        </p:spPr>
        <p:txBody>
          <a:bodyPr vert="horz" wrap="square" lIns="68570" tIns="34285" rIns="68570" bIns="34285" numCol="1" anchor="t" anchorCtr="0" compatLnSpc="1">
            <a:prstTxWarp prst="textNoShape">
              <a:avLst/>
            </a:prstTxWarp>
          </a:bodyPr>
          <a:lstStyle/>
          <a:p>
            <a:pPr defTabSz="699422">
              <a:defRPr/>
            </a:pPr>
            <a:endParaRPr lang="en-US" sz="1350" kern="0">
              <a:solidFill>
                <a:srgbClr val="0078D4"/>
              </a:solidFill>
              <a:latin typeface="Segoe UI Semilight"/>
            </a:endParaRPr>
          </a:p>
        </p:txBody>
      </p:sp>
      <p:sp>
        <p:nvSpPr>
          <p:cNvPr id="68" name="TextBox 67">
            <a:extLst>
              <a:ext uri="{FF2B5EF4-FFF2-40B4-BE49-F238E27FC236}">
                <a16:creationId xmlns:a16="http://schemas.microsoft.com/office/drawing/2014/main" id="{035A2CE4-A06F-7E4A-A12C-B621EA6B5973}"/>
              </a:ext>
            </a:extLst>
          </p:cNvPr>
          <p:cNvSpPr txBox="1"/>
          <p:nvPr/>
        </p:nvSpPr>
        <p:spPr>
          <a:xfrm>
            <a:off x="2244657" y="4474511"/>
            <a:ext cx="2439728" cy="151262"/>
          </a:xfrm>
          <a:prstGeom prst="rect">
            <a:avLst/>
          </a:prstGeom>
          <a:no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102" fontAlgn="base">
              <a:lnSpc>
                <a:spcPct val="90000"/>
              </a:lnSpc>
              <a:spcBef>
                <a:spcPct val="0"/>
              </a:spcBef>
              <a:spcAft>
                <a:spcPct val="0"/>
              </a:spcAft>
              <a:buClrTx/>
              <a:buSzTx/>
              <a:buFontTx/>
              <a:buNone/>
              <a:tabLst/>
              <a:defRPr kumimoji="0" sz="1400" b="0" i="0" u="none" strike="noStrike" kern="0" cap="none" spc="0" normalizeH="0" baseline="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defRPr>
            </a:lvl1pPr>
          </a:lstStyle>
          <a:p>
            <a:pPr algn="l" defTabSz="699220">
              <a:defRPr/>
            </a:pPr>
            <a:r>
              <a:rPr lang="en-US" sz="1071" dirty="0">
                <a:solidFill>
                  <a:prstClr val="white"/>
                </a:solidFill>
              </a:rPr>
              <a:t>Optimized for flexibility </a:t>
            </a:r>
            <a:r>
              <a:rPr lang="zh-CN" altLang="en-US" sz="1071" dirty="0">
                <a:solidFill>
                  <a:prstClr val="white"/>
                </a:solidFill>
              </a:rPr>
              <a:t>灵活性</a:t>
            </a:r>
            <a:endParaRPr lang="en-US" sz="1071" dirty="0">
              <a:solidFill>
                <a:prstClr val="white"/>
              </a:solidFill>
            </a:endParaRPr>
          </a:p>
        </p:txBody>
      </p:sp>
      <p:sp>
        <p:nvSpPr>
          <p:cNvPr id="71" name="TextBox 70">
            <a:extLst>
              <a:ext uri="{FF2B5EF4-FFF2-40B4-BE49-F238E27FC236}">
                <a16:creationId xmlns:a16="http://schemas.microsoft.com/office/drawing/2014/main" id="{C43BD09E-7817-2540-88D3-BC759D99848A}"/>
              </a:ext>
            </a:extLst>
          </p:cNvPr>
          <p:cNvSpPr txBox="1"/>
          <p:nvPr/>
        </p:nvSpPr>
        <p:spPr>
          <a:xfrm>
            <a:off x="7752093" y="4474511"/>
            <a:ext cx="2271034" cy="151262"/>
          </a:xfrm>
          <a:prstGeom prst="rect">
            <a:avLst/>
          </a:prstGeom>
          <a:no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102" fontAlgn="base">
              <a:lnSpc>
                <a:spcPct val="90000"/>
              </a:lnSpc>
              <a:spcBef>
                <a:spcPct val="0"/>
              </a:spcBef>
              <a:spcAft>
                <a:spcPct val="0"/>
              </a:spcAft>
              <a:buClrTx/>
              <a:buSzTx/>
              <a:buFontTx/>
              <a:buNone/>
              <a:tabLst/>
              <a:defRPr kumimoji="0" sz="1400" b="0" i="0" u="none" strike="noStrike" kern="0" cap="none" spc="0" normalizeH="0" baseline="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defRPr>
            </a:lvl1pPr>
          </a:lstStyle>
          <a:p>
            <a:pPr algn="r" defTabSz="699220">
              <a:defRPr/>
            </a:pPr>
            <a:r>
              <a:rPr lang="en-US" sz="1071" dirty="0">
                <a:solidFill>
                  <a:prstClr val="white"/>
                </a:solidFill>
              </a:rPr>
              <a:t> </a:t>
            </a:r>
            <a:r>
              <a:rPr lang="zh-CN" altLang="en-US" sz="1071" dirty="0">
                <a:solidFill>
                  <a:prstClr val="white"/>
                </a:solidFill>
              </a:rPr>
              <a:t>高性能 </a:t>
            </a:r>
            <a:r>
              <a:rPr lang="en-US" sz="1071" dirty="0">
                <a:solidFill>
                  <a:prstClr val="white"/>
                </a:solidFill>
              </a:rPr>
              <a:t>Optimized for performance</a:t>
            </a:r>
          </a:p>
        </p:txBody>
      </p:sp>
      <p:sp>
        <p:nvSpPr>
          <p:cNvPr id="72" name="Rectangle 71">
            <a:extLst>
              <a:ext uri="{FF2B5EF4-FFF2-40B4-BE49-F238E27FC236}">
                <a16:creationId xmlns:a16="http://schemas.microsoft.com/office/drawing/2014/main" id="{F3780B3E-15D7-7144-9513-EB118F80CCAD}"/>
              </a:ext>
            </a:extLst>
          </p:cNvPr>
          <p:cNvSpPr/>
          <p:nvPr/>
        </p:nvSpPr>
        <p:spPr bwMode="auto">
          <a:xfrm>
            <a:off x="5865563" y="3052630"/>
            <a:ext cx="555544" cy="216136"/>
          </a:xfrm>
          <a:prstGeom prst="rect">
            <a:avLst/>
          </a:prstGeom>
          <a:no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699220" fontAlgn="base">
              <a:lnSpc>
                <a:spcPct val="90000"/>
              </a:lnSpc>
              <a:spcBef>
                <a:spcPct val="0"/>
              </a:spcBef>
              <a:spcAft>
                <a:spcPct val="0"/>
              </a:spcAft>
              <a:defRPr/>
            </a:pPr>
            <a:r>
              <a:rPr lang="en-US" sz="1530" kern="0">
                <a:solidFill>
                  <a:srgbClr val="0078D4"/>
                </a:solidFill>
                <a:latin typeface="Segoe UI Semibold" panose="020B0702040204020203" pitchFamily="34" charset="0"/>
                <a:ea typeface="Segoe UI" panose="020B0502040204020203" pitchFamily="34" charset="0"/>
                <a:cs typeface="Segoe UI Semibold" panose="020B0702040204020203" pitchFamily="34" charset="0"/>
              </a:rPr>
              <a:t>GPUs</a:t>
            </a:r>
          </a:p>
        </p:txBody>
      </p:sp>
      <p:grpSp>
        <p:nvGrpSpPr>
          <p:cNvPr id="73" name="Group 72">
            <a:extLst>
              <a:ext uri="{FF2B5EF4-FFF2-40B4-BE49-F238E27FC236}">
                <a16:creationId xmlns:a16="http://schemas.microsoft.com/office/drawing/2014/main" id="{F0C1ABE2-F1AB-F443-BB94-1EAE888DBB67}"/>
              </a:ext>
            </a:extLst>
          </p:cNvPr>
          <p:cNvGrpSpPr/>
          <p:nvPr/>
        </p:nvGrpSpPr>
        <p:grpSpPr>
          <a:xfrm>
            <a:off x="5941510" y="2641594"/>
            <a:ext cx="396469" cy="252942"/>
            <a:chOff x="5842028" y="2023300"/>
            <a:chExt cx="518306" cy="330673"/>
          </a:xfrm>
        </p:grpSpPr>
        <p:sp>
          <p:nvSpPr>
            <p:cNvPr id="74" name="Rectangle: Single Corner Rounded 2">
              <a:extLst>
                <a:ext uri="{FF2B5EF4-FFF2-40B4-BE49-F238E27FC236}">
                  <a16:creationId xmlns:a16="http://schemas.microsoft.com/office/drawing/2014/main" id="{0BEF15DC-08F2-EA48-AEC0-D3C82AE5A9AD}"/>
                </a:ext>
              </a:extLst>
            </p:cNvPr>
            <p:cNvSpPr/>
            <p:nvPr/>
          </p:nvSpPr>
          <p:spPr bwMode="auto">
            <a:xfrm>
              <a:off x="5842028" y="2023300"/>
              <a:ext cx="518306" cy="284908"/>
            </a:xfrm>
            <a:prstGeom prst="round1Rect">
              <a:avLst>
                <a:gd name="adj" fmla="val 19322"/>
              </a:avLst>
            </a:prstGeom>
            <a:noFill/>
            <a:ln w="12700" cap="sq">
              <a:solidFill>
                <a:schemeClr val="tx2"/>
              </a:solidFill>
              <a:prstDash val="solid"/>
              <a:miter lim="800000"/>
              <a:headEnd/>
              <a:tailEnd/>
            </a:ln>
          </p:spPr>
          <p:txBody>
            <a:bodyPr rot="0" spcFirstLastPara="0" vertOverflow="overflow" horzOverflow="overflow" vert="horz" wrap="square" lIns="68570" tIns="34285" rIns="68570" bIns="34285" numCol="1" spcCol="0" rtlCol="0" fromWordArt="0" anchor="t" anchorCtr="0" forceAA="0" compatLnSpc="1">
              <a:prstTxWarp prst="textNoShape">
                <a:avLst/>
              </a:prstTxWarp>
              <a:noAutofit/>
            </a:bodyPr>
            <a:lstStyle/>
            <a:p>
              <a:pPr defTabSz="699422">
                <a:defRPr/>
              </a:pPr>
              <a:endParaRPr lang="en-US" sz="1350" kern="0" err="1">
                <a:solidFill>
                  <a:srgbClr val="0078D4"/>
                </a:solidFill>
                <a:latin typeface="Segoe UI Semilight"/>
              </a:endParaRPr>
            </a:p>
          </p:txBody>
        </p:sp>
        <p:grpSp>
          <p:nvGrpSpPr>
            <p:cNvPr id="75" name="Group 74">
              <a:extLst>
                <a:ext uri="{FF2B5EF4-FFF2-40B4-BE49-F238E27FC236}">
                  <a16:creationId xmlns:a16="http://schemas.microsoft.com/office/drawing/2014/main" id="{D420890A-D1A8-7A47-AC2C-E40E03630673}"/>
                </a:ext>
              </a:extLst>
            </p:cNvPr>
            <p:cNvGrpSpPr/>
            <p:nvPr/>
          </p:nvGrpSpPr>
          <p:grpSpPr>
            <a:xfrm>
              <a:off x="5886781" y="2308208"/>
              <a:ext cx="423110" cy="45765"/>
              <a:chOff x="2805041" y="5363936"/>
              <a:chExt cx="937405" cy="125178"/>
            </a:xfrm>
          </p:grpSpPr>
          <p:grpSp>
            <p:nvGrpSpPr>
              <p:cNvPr id="78" name="Group 77">
                <a:extLst>
                  <a:ext uri="{FF2B5EF4-FFF2-40B4-BE49-F238E27FC236}">
                    <a16:creationId xmlns:a16="http://schemas.microsoft.com/office/drawing/2014/main" id="{5834287D-33DB-EC44-B7FA-CA94ED4CB85E}"/>
                  </a:ext>
                </a:extLst>
              </p:cNvPr>
              <p:cNvGrpSpPr/>
              <p:nvPr/>
            </p:nvGrpSpPr>
            <p:grpSpPr>
              <a:xfrm>
                <a:off x="2805041" y="5363936"/>
                <a:ext cx="304800" cy="125178"/>
                <a:chOff x="685111" y="5810249"/>
                <a:chExt cx="304800" cy="356348"/>
              </a:xfrm>
            </p:grpSpPr>
            <p:cxnSp>
              <p:nvCxnSpPr>
                <p:cNvPr id="83" name="Straight Connector 82">
                  <a:extLst>
                    <a:ext uri="{FF2B5EF4-FFF2-40B4-BE49-F238E27FC236}">
                      <a16:creationId xmlns:a16="http://schemas.microsoft.com/office/drawing/2014/main" id="{FCEF6E83-6543-B24A-86F9-2798BEE9B567}"/>
                    </a:ext>
                  </a:extLst>
                </p:cNvPr>
                <p:cNvCxnSpPr/>
                <p:nvPr/>
              </p:nvCxnSpPr>
              <p:spPr>
                <a:xfrm>
                  <a:off x="685111" y="5810249"/>
                  <a:ext cx="0" cy="356348"/>
                </a:xfrm>
                <a:prstGeom prst="line">
                  <a:avLst/>
                </a:prstGeom>
                <a:noFill/>
                <a:ln w="12700" cap="sq">
                  <a:solidFill>
                    <a:schemeClr val="tx2"/>
                  </a:solidFill>
                  <a:prstDash val="solid"/>
                  <a:miter lim="800000"/>
                  <a:headEnd/>
                  <a:tailEnd/>
                </a:ln>
              </p:spPr>
            </p:cxnSp>
            <p:cxnSp>
              <p:nvCxnSpPr>
                <p:cNvPr id="84" name="Straight Connector 83">
                  <a:extLst>
                    <a:ext uri="{FF2B5EF4-FFF2-40B4-BE49-F238E27FC236}">
                      <a16:creationId xmlns:a16="http://schemas.microsoft.com/office/drawing/2014/main" id="{0C99D5ED-90ED-D140-A94B-A22739EB1752}"/>
                    </a:ext>
                  </a:extLst>
                </p:cNvPr>
                <p:cNvCxnSpPr/>
                <p:nvPr/>
              </p:nvCxnSpPr>
              <p:spPr>
                <a:xfrm>
                  <a:off x="837511" y="5810249"/>
                  <a:ext cx="0" cy="356348"/>
                </a:xfrm>
                <a:prstGeom prst="line">
                  <a:avLst/>
                </a:prstGeom>
                <a:noFill/>
                <a:ln w="12700" cap="sq">
                  <a:solidFill>
                    <a:schemeClr val="tx2"/>
                  </a:solidFill>
                  <a:prstDash val="solid"/>
                  <a:miter lim="800000"/>
                  <a:headEnd/>
                  <a:tailEnd/>
                </a:ln>
              </p:spPr>
            </p:cxnSp>
            <p:cxnSp>
              <p:nvCxnSpPr>
                <p:cNvPr id="85" name="Straight Connector 84">
                  <a:extLst>
                    <a:ext uri="{FF2B5EF4-FFF2-40B4-BE49-F238E27FC236}">
                      <a16:creationId xmlns:a16="http://schemas.microsoft.com/office/drawing/2014/main" id="{CA52F0CA-9DC3-2142-9188-905CBE3CA99B}"/>
                    </a:ext>
                  </a:extLst>
                </p:cNvPr>
                <p:cNvCxnSpPr/>
                <p:nvPr/>
              </p:nvCxnSpPr>
              <p:spPr>
                <a:xfrm>
                  <a:off x="989911" y="5810249"/>
                  <a:ext cx="0" cy="356348"/>
                </a:xfrm>
                <a:prstGeom prst="line">
                  <a:avLst/>
                </a:prstGeom>
                <a:noFill/>
                <a:ln w="12700" cap="sq">
                  <a:solidFill>
                    <a:schemeClr val="tx2"/>
                  </a:solidFill>
                  <a:prstDash val="solid"/>
                  <a:miter lim="800000"/>
                  <a:headEnd/>
                  <a:tailEnd/>
                </a:ln>
              </p:spPr>
            </p:cxnSp>
          </p:grpSp>
          <p:grpSp>
            <p:nvGrpSpPr>
              <p:cNvPr id="79" name="Group 78">
                <a:extLst>
                  <a:ext uri="{FF2B5EF4-FFF2-40B4-BE49-F238E27FC236}">
                    <a16:creationId xmlns:a16="http://schemas.microsoft.com/office/drawing/2014/main" id="{5AC3B4DF-B6C8-0149-A0E2-21647BAF05F9}"/>
                  </a:ext>
                </a:extLst>
              </p:cNvPr>
              <p:cNvGrpSpPr/>
              <p:nvPr/>
            </p:nvGrpSpPr>
            <p:grpSpPr>
              <a:xfrm>
                <a:off x="3437646" y="5363936"/>
                <a:ext cx="304800" cy="125178"/>
                <a:chOff x="685111" y="5810249"/>
                <a:chExt cx="304800" cy="356348"/>
              </a:xfrm>
            </p:grpSpPr>
            <p:cxnSp>
              <p:nvCxnSpPr>
                <p:cNvPr id="80" name="Straight Connector 79">
                  <a:extLst>
                    <a:ext uri="{FF2B5EF4-FFF2-40B4-BE49-F238E27FC236}">
                      <a16:creationId xmlns:a16="http://schemas.microsoft.com/office/drawing/2014/main" id="{4351CA95-56F4-DA45-AEF8-CF53C64DAAFE}"/>
                    </a:ext>
                  </a:extLst>
                </p:cNvPr>
                <p:cNvCxnSpPr/>
                <p:nvPr/>
              </p:nvCxnSpPr>
              <p:spPr>
                <a:xfrm>
                  <a:off x="685111" y="5810249"/>
                  <a:ext cx="0" cy="356348"/>
                </a:xfrm>
                <a:prstGeom prst="line">
                  <a:avLst/>
                </a:prstGeom>
                <a:noFill/>
                <a:ln w="12700" cap="sq">
                  <a:solidFill>
                    <a:schemeClr val="tx2"/>
                  </a:solidFill>
                  <a:prstDash val="solid"/>
                  <a:miter lim="800000"/>
                  <a:headEnd/>
                  <a:tailEnd/>
                </a:ln>
              </p:spPr>
            </p:cxnSp>
            <p:cxnSp>
              <p:nvCxnSpPr>
                <p:cNvPr id="81" name="Straight Connector 80">
                  <a:extLst>
                    <a:ext uri="{FF2B5EF4-FFF2-40B4-BE49-F238E27FC236}">
                      <a16:creationId xmlns:a16="http://schemas.microsoft.com/office/drawing/2014/main" id="{A392A3CB-354E-634C-873B-C83C47CD661D}"/>
                    </a:ext>
                  </a:extLst>
                </p:cNvPr>
                <p:cNvCxnSpPr/>
                <p:nvPr/>
              </p:nvCxnSpPr>
              <p:spPr>
                <a:xfrm>
                  <a:off x="837511" y="5810249"/>
                  <a:ext cx="0" cy="356348"/>
                </a:xfrm>
                <a:prstGeom prst="line">
                  <a:avLst/>
                </a:prstGeom>
                <a:noFill/>
                <a:ln w="12700" cap="sq">
                  <a:solidFill>
                    <a:schemeClr val="tx2"/>
                  </a:solidFill>
                  <a:prstDash val="solid"/>
                  <a:miter lim="800000"/>
                  <a:headEnd/>
                  <a:tailEnd/>
                </a:ln>
              </p:spPr>
            </p:cxnSp>
            <p:cxnSp>
              <p:nvCxnSpPr>
                <p:cNvPr id="82" name="Straight Connector 81">
                  <a:extLst>
                    <a:ext uri="{FF2B5EF4-FFF2-40B4-BE49-F238E27FC236}">
                      <a16:creationId xmlns:a16="http://schemas.microsoft.com/office/drawing/2014/main" id="{17A91DE6-7DCB-0843-9E89-8C95CBA58CE4}"/>
                    </a:ext>
                  </a:extLst>
                </p:cNvPr>
                <p:cNvCxnSpPr/>
                <p:nvPr/>
              </p:nvCxnSpPr>
              <p:spPr>
                <a:xfrm>
                  <a:off x="989911" y="5810249"/>
                  <a:ext cx="0" cy="356348"/>
                </a:xfrm>
                <a:prstGeom prst="line">
                  <a:avLst/>
                </a:prstGeom>
                <a:noFill/>
                <a:ln w="12700" cap="sq">
                  <a:solidFill>
                    <a:schemeClr val="tx2"/>
                  </a:solidFill>
                  <a:prstDash val="solid"/>
                  <a:miter lim="800000"/>
                  <a:headEnd/>
                  <a:tailEnd/>
                </a:ln>
              </p:spPr>
            </p:cxnSp>
          </p:grpSp>
        </p:grpSp>
        <p:sp>
          <p:nvSpPr>
            <p:cNvPr id="76" name="Oval 75">
              <a:extLst>
                <a:ext uri="{FF2B5EF4-FFF2-40B4-BE49-F238E27FC236}">
                  <a16:creationId xmlns:a16="http://schemas.microsoft.com/office/drawing/2014/main" id="{7F0ECD91-A561-DF4F-9781-E86AB902F12F}"/>
                </a:ext>
              </a:extLst>
            </p:cNvPr>
            <p:cNvSpPr/>
            <p:nvPr/>
          </p:nvSpPr>
          <p:spPr bwMode="auto">
            <a:xfrm>
              <a:off x="6135172" y="2083744"/>
              <a:ext cx="158117" cy="164020"/>
            </a:xfrm>
            <a:prstGeom prst="ellipse">
              <a:avLst/>
            </a:prstGeom>
            <a:noFill/>
            <a:ln w="12700" cap="sq">
              <a:solidFill>
                <a:schemeClr val="tx2"/>
              </a:solidFill>
              <a:prstDash val="solid"/>
              <a:miter lim="800000"/>
              <a:headEnd/>
              <a:tailEnd/>
            </a:ln>
          </p:spPr>
          <p:txBody>
            <a:bodyPr rot="0" spcFirstLastPara="0" vertOverflow="overflow" horzOverflow="overflow" vert="horz" wrap="square" lIns="68570" tIns="34285" rIns="68570" bIns="34285" numCol="1" spcCol="0" rtlCol="0" fromWordArt="0" anchor="t" anchorCtr="0" forceAA="0" compatLnSpc="1">
              <a:prstTxWarp prst="textNoShape">
                <a:avLst/>
              </a:prstTxWarp>
              <a:noAutofit/>
            </a:bodyPr>
            <a:lstStyle/>
            <a:p>
              <a:pPr defTabSz="699422">
                <a:defRPr/>
              </a:pPr>
              <a:endParaRPr lang="en-US" sz="1350" kern="0" err="1">
                <a:solidFill>
                  <a:srgbClr val="0078D4"/>
                </a:solidFill>
                <a:latin typeface="Segoe UI Semilight"/>
              </a:endParaRPr>
            </a:p>
          </p:txBody>
        </p:sp>
        <p:sp>
          <p:nvSpPr>
            <p:cNvPr id="77" name="Rectangle 76">
              <a:extLst>
                <a:ext uri="{FF2B5EF4-FFF2-40B4-BE49-F238E27FC236}">
                  <a16:creationId xmlns:a16="http://schemas.microsoft.com/office/drawing/2014/main" id="{DBB607E9-006F-6440-A925-8ACD9DCEE878}"/>
                </a:ext>
              </a:extLst>
            </p:cNvPr>
            <p:cNvSpPr/>
            <p:nvPr/>
          </p:nvSpPr>
          <p:spPr bwMode="auto">
            <a:xfrm>
              <a:off x="5911951" y="2129519"/>
              <a:ext cx="156176" cy="80034"/>
            </a:xfrm>
            <a:prstGeom prst="rect">
              <a:avLst/>
            </a:prstGeom>
            <a:noFill/>
            <a:ln w="12700" cap="sq">
              <a:solidFill>
                <a:schemeClr val="tx2"/>
              </a:solidFill>
              <a:prstDash val="solid"/>
              <a:miter lim="800000"/>
              <a:headEnd/>
              <a:tailEnd/>
            </a:ln>
          </p:spPr>
          <p:txBody>
            <a:bodyPr rot="0" spcFirstLastPara="0" vertOverflow="overflow" horzOverflow="overflow" vert="horz" wrap="square" lIns="68570" tIns="34285" rIns="68570" bIns="34285" numCol="1" spcCol="0" rtlCol="0" fromWordArt="0" anchor="t" anchorCtr="0" forceAA="0" compatLnSpc="1">
              <a:prstTxWarp prst="textNoShape">
                <a:avLst/>
              </a:prstTxWarp>
              <a:noAutofit/>
            </a:bodyPr>
            <a:lstStyle/>
            <a:p>
              <a:pPr defTabSz="699422">
                <a:defRPr/>
              </a:pPr>
              <a:endParaRPr lang="en-US" sz="1350" kern="0" err="1">
                <a:solidFill>
                  <a:srgbClr val="0078D4"/>
                </a:solidFill>
                <a:latin typeface="Segoe UI Semilight"/>
              </a:endParaRPr>
            </a:p>
          </p:txBody>
        </p:sp>
      </p:grpSp>
      <p:sp>
        <p:nvSpPr>
          <p:cNvPr id="86" name="Rectangle 85">
            <a:extLst>
              <a:ext uri="{FF2B5EF4-FFF2-40B4-BE49-F238E27FC236}">
                <a16:creationId xmlns:a16="http://schemas.microsoft.com/office/drawing/2014/main" id="{0D1E0808-F176-C547-AA96-7F898C3EEC57}"/>
              </a:ext>
            </a:extLst>
          </p:cNvPr>
          <p:cNvSpPr/>
          <p:nvPr/>
        </p:nvSpPr>
        <p:spPr bwMode="auto">
          <a:xfrm>
            <a:off x="9030669" y="3052630"/>
            <a:ext cx="587698" cy="216136"/>
          </a:xfrm>
          <a:prstGeom prst="rect">
            <a:avLst/>
          </a:prstGeom>
          <a:no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699220" fontAlgn="base">
              <a:lnSpc>
                <a:spcPct val="90000"/>
              </a:lnSpc>
              <a:spcBef>
                <a:spcPct val="0"/>
              </a:spcBef>
              <a:spcAft>
                <a:spcPct val="0"/>
              </a:spcAft>
              <a:defRPr/>
            </a:pPr>
            <a:r>
              <a:rPr lang="en-US" sz="1530" kern="0">
                <a:solidFill>
                  <a:srgbClr val="0078D4"/>
                </a:solidFill>
                <a:latin typeface="Segoe UI Semibold" panose="020B0702040204020203" pitchFamily="34" charset="0"/>
                <a:cs typeface="Segoe UI Semibold" panose="020B0702040204020203" pitchFamily="34" charset="0"/>
              </a:rPr>
              <a:t>FPGAs</a:t>
            </a:r>
          </a:p>
        </p:txBody>
      </p:sp>
      <p:grpSp>
        <p:nvGrpSpPr>
          <p:cNvPr id="87" name="Group 86">
            <a:extLst>
              <a:ext uri="{FF2B5EF4-FFF2-40B4-BE49-F238E27FC236}">
                <a16:creationId xmlns:a16="http://schemas.microsoft.com/office/drawing/2014/main" id="{B28BB775-BEFF-3D4D-84F4-C0F51D0ED328}"/>
              </a:ext>
            </a:extLst>
          </p:cNvPr>
          <p:cNvGrpSpPr/>
          <p:nvPr/>
        </p:nvGrpSpPr>
        <p:grpSpPr>
          <a:xfrm>
            <a:off x="9157575" y="2641593"/>
            <a:ext cx="333882" cy="333882"/>
            <a:chOff x="10035278" y="3218678"/>
            <a:chExt cx="247374" cy="247374"/>
          </a:xfrm>
        </p:grpSpPr>
        <p:grpSp>
          <p:nvGrpSpPr>
            <p:cNvPr id="88" name="Group 87">
              <a:extLst>
                <a:ext uri="{FF2B5EF4-FFF2-40B4-BE49-F238E27FC236}">
                  <a16:creationId xmlns:a16="http://schemas.microsoft.com/office/drawing/2014/main" id="{70841A0E-FD38-904C-8504-5C32F65A79C1}"/>
                </a:ext>
              </a:extLst>
            </p:cNvPr>
            <p:cNvGrpSpPr/>
            <p:nvPr/>
          </p:nvGrpSpPr>
          <p:grpSpPr>
            <a:xfrm>
              <a:off x="10035278" y="3218678"/>
              <a:ext cx="247374" cy="247374"/>
              <a:chOff x="3485441" y="4505566"/>
              <a:chExt cx="712494" cy="712494"/>
            </a:xfrm>
          </p:grpSpPr>
          <p:sp>
            <p:nvSpPr>
              <p:cNvPr id="91" name="Rectangle 90">
                <a:extLst>
                  <a:ext uri="{FF2B5EF4-FFF2-40B4-BE49-F238E27FC236}">
                    <a16:creationId xmlns:a16="http://schemas.microsoft.com/office/drawing/2014/main" id="{66AA05E2-628E-494F-BD7B-342E3A7304A6}"/>
                  </a:ext>
                </a:extLst>
              </p:cNvPr>
              <p:cNvSpPr/>
              <p:nvPr/>
            </p:nvSpPr>
            <p:spPr bwMode="auto">
              <a:xfrm>
                <a:off x="3565593" y="4585718"/>
                <a:ext cx="552190" cy="552190"/>
              </a:xfrm>
              <a:prstGeom prst="rect">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fontAlgn="base">
                  <a:spcBef>
                    <a:spcPct val="0"/>
                  </a:spcBef>
                  <a:spcAft>
                    <a:spcPct val="0"/>
                  </a:spcAft>
                  <a:defRPr/>
                </a:pPr>
                <a:endParaRPr lang="en-US" sz="1530" err="1">
                  <a:solidFill>
                    <a:srgbClr val="0078D4"/>
                  </a:solidFill>
                  <a:latin typeface="Segoe UI"/>
                  <a:ea typeface="Segoe UI" pitchFamily="34" charset="0"/>
                  <a:cs typeface="Segoe UI" pitchFamily="34" charset="0"/>
                </a:endParaRPr>
              </a:p>
            </p:txBody>
          </p:sp>
          <p:grpSp>
            <p:nvGrpSpPr>
              <p:cNvPr id="92" name="Group 91">
                <a:extLst>
                  <a:ext uri="{FF2B5EF4-FFF2-40B4-BE49-F238E27FC236}">
                    <a16:creationId xmlns:a16="http://schemas.microsoft.com/office/drawing/2014/main" id="{C1145BFE-25F0-354B-91E2-082BB54514DA}"/>
                  </a:ext>
                </a:extLst>
              </p:cNvPr>
              <p:cNvGrpSpPr/>
              <p:nvPr/>
            </p:nvGrpSpPr>
            <p:grpSpPr>
              <a:xfrm>
                <a:off x="3485441" y="4677750"/>
                <a:ext cx="712494" cy="368126"/>
                <a:chOff x="3485441" y="4677750"/>
                <a:chExt cx="712494" cy="368126"/>
              </a:xfrm>
            </p:grpSpPr>
            <p:grpSp>
              <p:nvGrpSpPr>
                <p:cNvPr id="107" name="Group 106">
                  <a:extLst>
                    <a:ext uri="{FF2B5EF4-FFF2-40B4-BE49-F238E27FC236}">
                      <a16:creationId xmlns:a16="http://schemas.microsoft.com/office/drawing/2014/main" id="{3A06960D-ACFF-7E4D-9CEF-BD1BDAE2E432}"/>
                    </a:ext>
                  </a:extLst>
                </p:cNvPr>
                <p:cNvGrpSpPr/>
                <p:nvPr/>
              </p:nvGrpSpPr>
              <p:grpSpPr>
                <a:xfrm>
                  <a:off x="4117783" y="4677750"/>
                  <a:ext cx="80152" cy="368126"/>
                  <a:chOff x="4117783" y="4677750"/>
                  <a:chExt cx="129006" cy="368126"/>
                </a:xfrm>
              </p:grpSpPr>
              <p:cxnSp>
                <p:nvCxnSpPr>
                  <p:cNvPr id="113" name="Straight Connector 112">
                    <a:extLst>
                      <a:ext uri="{FF2B5EF4-FFF2-40B4-BE49-F238E27FC236}">
                        <a16:creationId xmlns:a16="http://schemas.microsoft.com/office/drawing/2014/main" id="{263E0BC3-533E-6D45-B9F2-893C1AED4B08}"/>
                      </a:ext>
                    </a:extLst>
                  </p:cNvPr>
                  <p:cNvCxnSpPr/>
                  <p:nvPr/>
                </p:nvCxnSpPr>
                <p:spPr>
                  <a:xfrm>
                    <a:off x="4117783" y="4677750"/>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867178C-0E23-6A45-9FBB-5EF23CFBE8AA}"/>
                      </a:ext>
                    </a:extLst>
                  </p:cNvPr>
                  <p:cNvCxnSpPr/>
                  <p:nvPr/>
                </p:nvCxnSpPr>
                <p:spPr>
                  <a:xfrm>
                    <a:off x="4117783" y="4769781"/>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71C283B-1A7A-8E4F-9221-6538F8DE40EE}"/>
                      </a:ext>
                    </a:extLst>
                  </p:cNvPr>
                  <p:cNvCxnSpPr/>
                  <p:nvPr/>
                </p:nvCxnSpPr>
                <p:spPr>
                  <a:xfrm>
                    <a:off x="4117783" y="4953845"/>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48CD625-DE21-F447-A286-66CFE2F04C0F}"/>
                      </a:ext>
                    </a:extLst>
                  </p:cNvPr>
                  <p:cNvCxnSpPr/>
                  <p:nvPr/>
                </p:nvCxnSpPr>
                <p:spPr>
                  <a:xfrm>
                    <a:off x="4117783" y="5045876"/>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08" name="Group 107">
                  <a:extLst>
                    <a:ext uri="{FF2B5EF4-FFF2-40B4-BE49-F238E27FC236}">
                      <a16:creationId xmlns:a16="http://schemas.microsoft.com/office/drawing/2014/main" id="{C5991450-A3A9-3A45-9534-C832DB95FB14}"/>
                    </a:ext>
                  </a:extLst>
                </p:cNvPr>
                <p:cNvGrpSpPr/>
                <p:nvPr/>
              </p:nvGrpSpPr>
              <p:grpSpPr>
                <a:xfrm>
                  <a:off x="3485441" y="4677750"/>
                  <a:ext cx="80152" cy="368126"/>
                  <a:chOff x="4117783" y="4677750"/>
                  <a:chExt cx="129006" cy="368126"/>
                </a:xfrm>
              </p:grpSpPr>
              <p:cxnSp>
                <p:nvCxnSpPr>
                  <p:cNvPr id="109" name="Straight Connector 108">
                    <a:extLst>
                      <a:ext uri="{FF2B5EF4-FFF2-40B4-BE49-F238E27FC236}">
                        <a16:creationId xmlns:a16="http://schemas.microsoft.com/office/drawing/2014/main" id="{E46A0706-D999-124D-A6D2-6720E6F2EE7A}"/>
                      </a:ext>
                    </a:extLst>
                  </p:cNvPr>
                  <p:cNvCxnSpPr/>
                  <p:nvPr/>
                </p:nvCxnSpPr>
                <p:spPr>
                  <a:xfrm>
                    <a:off x="4117783" y="4677750"/>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06856E3-371B-D541-AFCD-CA9A49BC61B4}"/>
                      </a:ext>
                    </a:extLst>
                  </p:cNvPr>
                  <p:cNvCxnSpPr/>
                  <p:nvPr/>
                </p:nvCxnSpPr>
                <p:spPr>
                  <a:xfrm>
                    <a:off x="4117783" y="4769781"/>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CDB64D5-5F1C-F649-A1FE-CB85D3EB845D}"/>
                      </a:ext>
                    </a:extLst>
                  </p:cNvPr>
                  <p:cNvCxnSpPr/>
                  <p:nvPr/>
                </p:nvCxnSpPr>
                <p:spPr>
                  <a:xfrm>
                    <a:off x="4117783" y="4953845"/>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0988B225-1BA5-9C4B-97CC-43AC294A7F10}"/>
                      </a:ext>
                    </a:extLst>
                  </p:cNvPr>
                  <p:cNvCxnSpPr/>
                  <p:nvPr/>
                </p:nvCxnSpPr>
                <p:spPr>
                  <a:xfrm>
                    <a:off x="4117783" y="5045876"/>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3" name="Group 92">
                <a:extLst>
                  <a:ext uri="{FF2B5EF4-FFF2-40B4-BE49-F238E27FC236}">
                    <a16:creationId xmlns:a16="http://schemas.microsoft.com/office/drawing/2014/main" id="{8BA23B8A-19E8-9849-B1F4-FCE40FC85846}"/>
                  </a:ext>
                </a:extLst>
              </p:cNvPr>
              <p:cNvGrpSpPr/>
              <p:nvPr/>
            </p:nvGrpSpPr>
            <p:grpSpPr>
              <a:xfrm rot="5400000">
                <a:off x="3480396" y="4677750"/>
                <a:ext cx="712494" cy="368126"/>
                <a:chOff x="3485441" y="4677750"/>
                <a:chExt cx="712494" cy="368126"/>
              </a:xfrm>
            </p:grpSpPr>
            <p:grpSp>
              <p:nvGrpSpPr>
                <p:cNvPr id="95" name="Group 94">
                  <a:extLst>
                    <a:ext uri="{FF2B5EF4-FFF2-40B4-BE49-F238E27FC236}">
                      <a16:creationId xmlns:a16="http://schemas.microsoft.com/office/drawing/2014/main" id="{DFE0E5B8-33CC-5047-ADD7-5A049FBC89B2}"/>
                    </a:ext>
                  </a:extLst>
                </p:cNvPr>
                <p:cNvGrpSpPr/>
                <p:nvPr/>
              </p:nvGrpSpPr>
              <p:grpSpPr>
                <a:xfrm>
                  <a:off x="4117783" y="4677750"/>
                  <a:ext cx="80152" cy="368126"/>
                  <a:chOff x="4117783" y="4677750"/>
                  <a:chExt cx="129006" cy="368126"/>
                </a:xfrm>
              </p:grpSpPr>
              <p:cxnSp>
                <p:nvCxnSpPr>
                  <p:cNvPr id="102" name="Straight Connector 101">
                    <a:extLst>
                      <a:ext uri="{FF2B5EF4-FFF2-40B4-BE49-F238E27FC236}">
                        <a16:creationId xmlns:a16="http://schemas.microsoft.com/office/drawing/2014/main" id="{866BF204-A809-1942-A3B1-455894CA6C77}"/>
                      </a:ext>
                    </a:extLst>
                  </p:cNvPr>
                  <p:cNvCxnSpPr/>
                  <p:nvPr/>
                </p:nvCxnSpPr>
                <p:spPr>
                  <a:xfrm>
                    <a:off x="4117783" y="4677750"/>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8B030963-EECB-B14D-9D9E-774ABA36244F}"/>
                      </a:ext>
                    </a:extLst>
                  </p:cNvPr>
                  <p:cNvCxnSpPr/>
                  <p:nvPr/>
                </p:nvCxnSpPr>
                <p:spPr>
                  <a:xfrm>
                    <a:off x="4117783" y="4769781"/>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1DB131C3-BB50-B14A-B78F-B5E5B4909F5D}"/>
                      </a:ext>
                    </a:extLst>
                  </p:cNvPr>
                  <p:cNvCxnSpPr/>
                  <p:nvPr/>
                </p:nvCxnSpPr>
                <p:spPr>
                  <a:xfrm>
                    <a:off x="4117783" y="4953845"/>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065D464A-85E5-624E-AF45-0E2702A0FFA0}"/>
                      </a:ext>
                    </a:extLst>
                  </p:cNvPr>
                  <p:cNvCxnSpPr/>
                  <p:nvPr/>
                </p:nvCxnSpPr>
                <p:spPr>
                  <a:xfrm>
                    <a:off x="4117783" y="5045876"/>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6" name="Group 95">
                  <a:extLst>
                    <a:ext uri="{FF2B5EF4-FFF2-40B4-BE49-F238E27FC236}">
                      <a16:creationId xmlns:a16="http://schemas.microsoft.com/office/drawing/2014/main" id="{AEDBEE40-519A-714A-8C9C-E464B4A2A109}"/>
                    </a:ext>
                  </a:extLst>
                </p:cNvPr>
                <p:cNvGrpSpPr/>
                <p:nvPr/>
              </p:nvGrpSpPr>
              <p:grpSpPr>
                <a:xfrm>
                  <a:off x="3485441" y="4677750"/>
                  <a:ext cx="80152" cy="368126"/>
                  <a:chOff x="4117783" y="4677750"/>
                  <a:chExt cx="129006" cy="368126"/>
                </a:xfrm>
              </p:grpSpPr>
              <p:cxnSp>
                <p:nvCxnSpPr>
                  <p:cNvPr id="97" name="Straight Connector 96">
                    <a:extLst>
                      <a:ext uri="{FF2B5EF4-FFF2-40B4-BE49-F238E27FC236}">
                        <a16:creationId xmlns:a16="http://schemas.microsoft.com/office/drawing/2014/main" id="{A0EB92D8-BC3C-214F-B0FE-5638C2BFEEA7}"/>
                      </a:ext>
                    </a:extLst>
                  </p:cNvPr>
                  <p:cNvCxnSpPr/>
                  <p:nvPr/>
                </p:nvCxnSpPr>
                <p:spPr>
                  <a:xfrm>
                    <a:off x="4117783" y="4677750"/>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2FE03D00-B106-5248-AF62-53DE24AC8EC2}"/>
                      </a:ext>
                    </a:extLst>
                  </p:cNvPr>
                  <p:cNvCxnSpPr/>
                  <p:nvPr/>
                </p:nvCxnSpPr>
                <p:spPr>
                  <a:xfrm>
                    <a:off x="4117783" y="4769781"/>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F96B2CB-0FAF-3546-87CC-BD1E195F4EF4}"/>
                      </a:ext>
                    </a:extLst>
                  </p:cNvPr>
                  <p:cNvCxnSpPr/>
                  <p:nvPr/>
                </p:nvCxnSpPr>
                <p:spPr>
                  <a:xfrm>
                    <a:off x="4117783" y="4953845"/>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DC6B68F-DC3E-4345-BAC9-A8AE91D1108F}"/>
                      </a:ext>
                    </a:extLst>
                  </p:cNvPr>
                  <p:cNvCxnSpPr/>
                  <p:nvPr/>
                </p:nvCxnSpPr>
                <p:spPr>
                  <a:xfrm>
                    <a:off x="4117783" y="5045876"/>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sp>
          <p:nvSpPr>
            <p:cNvPr id="90" name="Freeform: Shape 520">
              <a:extLst>
                <a:ext uri="{FF2B5EF4-FFF2-40B4-BE49-F238E27FC236}">
                  <a16:creationId xmlns:a16="http://schemas.microsoft.com/office/drawing/2014/main" id="{37BDB853-D50C-CB47-9FA0-226FC4FE745F}"/>
                </a:ext>
              </a:extLst>
            </p:cNvPr>
            <p:cNvSpPr/>
            <p:nvPr/>
          </p:nvSpPr>
          <p:spPr bwMode="auto">
            <a:xfrm>
              <a:off x="10124345" y="3293573"/>
              <a:ext cx="71612" cy="91319"/>
            </a:xfrm>
            <a:custGeom>
              <a:avLst/>
              <a:gdLst>
                <a:gd name="connsiteX0" fmla="*/ 699778 w 974972"/>
                <a:gd name="connsiteY0" fmla="*/ 0 h 1504393"/>
                <a:gd name="connsiteX1" fmla="*/ 502371 w 974972"/>
                <a:gd name="connsiteY1" fmla="*/ 571355 h 1504393"/>
                <a:gd name="connsiteX2" fmla="*/ 597565 w 974972"/>
                <a:gd name="connsiteY2" fmla="*/ 571355 h 1504393"/>
                <a:gd name="connsiteX3" fmla="*/ 629015 w 974972"/>
                <a:gd name="connsiteY3" fmla="*/ 571355 h 1504393"/>
                <a:gd name="connsiteX4" fmla="*/ 974972 w 974972"/>
                <a:gd name="connsiteY4" fmla="*/ 571355 h 1504393"/>
                <a:gd name="connsiteX5" fmla="*/ 275193 w 974972"/>
                <a:gd name="connsiteY5" fmla="*/ 1504393 h 1504393"/>
                <a:gd name="connsiteX6" fmla="*/ 472601 w 974972"/>
                <a:gd name="connsiteY6" fmla="*/ 933038 h 1504393"/>
                <a:gd name="connsiteX7" fmla="*/ 377407 w 974972"/>
                <a:gd name="connsiteY7" fmla="*/ 933038 h 1504393"/>
                <a:gd name="connsiteX8" fmla="*/ 349889 w 974972"/>
                <a:gd name="connsiteY8" fmla="*/ 933038 h 1504393"/>
                <a:gd name="connsiteX9" fmla="*/ 0 w 974972"/>
                <a:gd name="connsiteY9" fmla="*/ 933038 h 1504393"/>
                <a:gd name="connsiteX10" fmla="*/ 699778 w 974972"/>
                <a:gd name="connsiteY10" fmla="*/ 0 h 150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4972" h="1504393">
                  <a:moveTo>
                    <a:pt x="699778" y="0"/>
                  </a:moveTo>
                  <a:lnTo>
                    <a:pt x="502371" y="571355"/>
                  </a:lnTo>
                  <a:lnTo>
                    <a:pt x="597565" y="571355"/>
                  </a:lnTo>
                  <a:lnTo>
                    <a:pt x="629015" y="571355"/>
                  </a:lnTo>
                  <a:lnTo>
                    <a:pt x="974972" y="571355"/>
                  </a:lnTo>
                  <a:lnTo>
                    <a:pt x="275193" y="1504393"/>
                  </a:lnTo>
                  <a:lnTo>
                    <a:pt x="472601" y="933038"/>
                  </a:lnTo>
                  <a:lnTo>
                    <a:pt x="377407" y="933038"/>
                  </a:lnTo>
                  <a:lnTo>
                    <a:pt x="349889" y="933038"/>
                  </a:lnTo>
                  <a:lnTo>
                    <a:pt x="0" y="933038"/>
                  </a:lnTo>
                  <a:lnTo>
                    <a:pt x="699778"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defRPr/>
              </a:pPr>
              <a:endParaRPr lang="en-US" sz="1836" err="1">
                <a:solidFill>
                  <a:srgbClr val="0078D4"/>
                </a:solidFill>
                <a:latin typeface="Segoe UI"/>
                <a:cs typeface="Segoe UI" pitchFamily="34" charset="0"/>
              </a:endParaRPr>
            </a:p>
          </p:txBody>
        </p:sp>
      </p:grpSp>
      <p:sp>
        <p:nvSpPr>
          <p:cNvPr id="119" name="Rectangle 118">
            <a:extLst>
              <a:ext uri="{FF2B5EF4-FFF2-40B4-BE49-F238E27FC236}">
                <a16:creationId xmlns:a16="http://schemas.microsoft.com/office/drawing/2014/main" id="{6DAAFA46-970B-514B-BC32-98C42C3EEC44}"/>
              </a:ext>
            </a:extLst>
          </p:cNvPr>
          <p:cNvSpPr/>
          <p:nvPr/>
        </p:nvSpPr>
        <p:spPr bwMode="auto">
          <a:xfrm>
            <a:off x="4840325" y="3331415"/>
            <a:ext cx="2665949" cy="334256"/>
          </a:xfrm>
          <a:prstGeom prst="rect">
            <a:avLst/>
          </a:prstGeom>
          <a:noFill/>
          <a:ln w="12700" cap="flat" cmpd="sng" algn="ctr">
            <a:noFill/>
            <a:prstDash val="solid"/>
            <a:headEnd type="none" w="med" len="med"/>
            <a:tailEnd type="none" w="med" len="med"/>
          </a:ln>
          <a:effectLst/>
        </p:spPr>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r>
              <a:rPr lang="zh-CN" altLang="en-US" sz="1377" kern="0" dirty="0">
                <a:solidFill>
                  <a:srgbClr val="1A1A1A"/>
                </a:solidFill>
                <a:latin typeface="Segoe UI Semilight"/>
                <a:ea typeface="Segoe UI" pitchFamily="34" charset="0"/>
                <a:cs typeface="Segoe UI" pitchFamily="34" charset="0"/>
              </a:rPr>
              <a:t>深度学习</a:t>
            </a:r>
            <a:endParaRPr lang="en-US" sz="1377" kern="0" dirty="0">
              <a:solidFill>
                <a:srgbClr val="1A1A1A"/>
              </a:solidFill>
              <a:latin typeface="Segoe UI Semilight"/>
              <a:ea typeface="Segoe UI" pitchFamily="34" charset="0"/>
              <a:cs typeface="Segoe UI" pitchFamily="34" charset="0"/>
            </a:endParaRPr>
          </a:p>
          <a:p>
            <a:pPr algn="ctr" defTabSz="699220" fontAlgn="base">
              <a:lnSpc>
                <a:spcPct val="90000"/>
              </a:lnSpc>
              <a:spcBef>
                <a:spcPct val="0"/>
              </a:spcBef>
              <a:spcAft>
                <a:spcPct val="0"/>
              </a:spcAft>
              <a:defRPr/>
            </a:pPr>
            <a:endParaRPr lang="en-US" sz="1071" kern="0" dirty="0">
              <a:solidFill>
                <a:srgbClr val="0078D4"/>
              </a:solidFill>
              <a:latin typeface="Segoe UI Semilight"/>
              <a:cs typeface="Segoe UI" pitchFamily="34" charset="0"/>
            </a:endParaRPr>
          </a:p>
          <a:p>
            <a:pPr algn="ctr" defTabSz="699220" fontAlgn="base">
              <a:lnSpc>
                <a:spcPct val="90000"/>
              </a:lnSpc>
              <a:spcBef>
                <a:spcPct val="0"/>
              </a:spcBef>
              <a:spcAft>
                <a:spcPct val="0"/>
              </a:spcAft>
              <a:defRPr/>
            </a:pPr>
            <a:r>
              <a:rPr lang="en-US" sz="1071" kern="0" dirty="0">
                <a:solidFill>
                  <a:srgbClr val="0078D4"/>
                </a:solidFill>
                <a:latin typeface="Segoe UI Semilight"/>
                <a:cs typeface="Segoe UI" pitchFamily="34" charset="0"/>
              </a:rPr>
              <a:t>N Series</a:t>
            </a:r>
          </a:p>
        </p:txBody>
      </p:sp>
      <p:sp>
        <p:nvSpPr>
          <p:cNvPr id="121" name="Rectangle 120">
            <a:extLst>
              <a:ext uri="{FF2B5EF4-FFF2-40B4-BE49-F238E27FC236}">
                <a16:creationId xmlns:a16="http://schemas.microsoft.com/office/drawing/2014/main" id="{19987F5D-EF98-A447-BEF9-71A8D22ED793}"/>
              </a:ext>
            </a:extLst>
          </p:cNvPr>
          <p:cNvSpPr/>
          <p:nvPr/>
        </p:nvSpPr>
        <p:spPr bwMode="auto">
          <a:xfrm>
            <a:off x="8164261" y="3331415"/>
            <a:ext cx="2402031" cy="496681"/>
          </a:xfrm>
          <a:prstGeom prst="rect">
            <a:avLst/>
          </a:prstGeom>
          <a:noFill/>
          <a:ln w="12700" cap="flat" cmpd="sng" algn="ctr">
            <a:noFill/>
            <a:prstDash val="solid"/>
            <a:headEnd type="none" w="med" len="med"/>
            <a:tailEnd type="none" w="med" len="med"/>
          </a:ln>
          <a:effectLst/>
        </p:spPr>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r>
              <a:rPr lang="zh-CN" altLang="en-US" sz="1377" kern="0" dirty="0">
                <a:solidFill>
                  <a:srgbClr val="1A1A1A"/>
                </a:solidFill>
                <a:latin typeface="Segoe UI Semilight"/>
                <a:ea typeface="Segoe UI" pitchFamily="34" charset="0"/>
                <a:cs typeface="Segoe UI" pitchFamily="34" charset="0"/>
              </a:rPr>
              <a:t>专用硬件</a:t>
            </a:r>
            <a:br>
              <a:rPr lang="en-US" altLang="zh-CN" sz="1377" kern="0" dirty="0">
                <a:solidFill>
                  <a:srgbClr val="1A1A1A"/>
                </a:solidFill>
                <a:latin typeface="Segoe UI Semilight"/>
                <a:ea typeface="Segoe UI" pitchFamily="34" charset="0"/>
                <a:cs typeface="Segoe UI" pitchFamily="34" charset="0"/>
              </a:rPr>
            </a:br>
            <a:r>
              <a:rPr lang="zh-CN" altLang="en-US" sz="1377" kern="0" dirty="0">
                <a:solidFill>
                  <a:srgbClr val="1A1A1A"/>
                </a:solidFill>
                <a:latin typeface="Segoe UI Semilight"/>
                <a:ea typeface="Segoe UI" pitchFamily="34" charset="0"/>
                <a:cs typeface="Segoe UI" pitchFamily="34" charset="0"/>
              </a:rPr>
              <a:t>深度学习的实时加速</a:t>
            </a:r>
            <a:endParaRPr lang="en-US" sz="1377" kern="0" dirty="0">
              <a:solidFill>
                <a:srgbClr val="1A1A1A"/>
              </a:solidFill>
              <a:latin typeface="Segoe UI Semilight"/>
              <a:ea typeface="Segoe UI" pitchFamily="34" charset="0"/>
              <a:cs typeface="Segoe UI" pitchFamily="34" charset="0"/>
            </a:endParaRPr>
          </a:p>
          <a:p>
            <a:pPr algn="ctr" defTabSz="699220" fontAlgn="base">
              <a:lnSpc>
                <a:spcPct val="90000"/>
              </a:lnSpc>
              <a:spcBef>
                <a:spcPct val="0"/>
              </a:spcBef>
              <a:spcAft>
                <a:spcPct val="0"/>
              </a:spcAft>
              <a:defRPr/>
            </a:pPr>
            <a:r>
              <a:rPr lang="en-US" sz="1071" kern="0" dirty="0">
                <a:solidFill>
                  <a:srgbClr val="0078D4"/>
                </a:solidFill>
                <a:latin typeface="Segoe UI Semilight"/>
                <a:cs typeface="Segoe UI" pitchFamily="34" charset="0"/>
              </a:rPr>
              <a:t>Project Brainwave</a:t>
            </a:r>
          </a:p>
        </p:txBody>
      </p:sp>
      <p:cxnSp>
        <p:nvCxnSpPr>
          <p:cNvPr id="122" name="Straight Connector 121">
            <a:extLst>
              <a:ext uri="{FF2B5EF4-FFF2-40B4-BE49-F238E27FC236}">
                <a16:creationId xmlns:a16="http://schemas.microsoft.com/office/drawing/2014/main" id="{99A53599-9F57-F34F-AB15-DD7A385FA15B}"/>
              </a:ext>
            </a:extLst>
          </p:cNvPr>
          <p:cNvCxnSpPr>
            <a:cxnSpLocks/>
          </p:cNvCxnSpPr>
          <p:nvPr/>
        </p:nvCxnSpPr>
        <p:spPr>
          <a:xfrm>
            <a:off x="8862928" y="3331709"/>
            <a:ext cx="923174"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BF138A13-54A7-294F-9745-F3AA9B3B15C9}"/>
              </a:ext>
            </a:extLst>
          </p:cNvPr>
          <p:cNvCxnSpPr>
            <a:cxnSpLocks/>
          </p:cNvCxnSpPr>
          <p:nvPr/>
        </p:nvCxnSpPr>
        <p:spPr>
          <a:xfrm>
            <a:off x="5675107" y="3333797"/>
            <a:ext cx="923174" cy="0"/>
          </a:xfrm>
          <a:prstGeom prst="line">
            <a:avLst/>
          </a:prstGeom>
          <a:ln>
            <a:no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8157440A-C0A8-FF42-A5A7-504D83D6FAE3}"/>
              </a:ext>
            </a:extLst>
          </p:cNvPr>
          <p:cNvCxnSpPr>
            <a:cxnSpLocks/>
          </p:cNvCxnSpPr>
          <p:nvPr/>
        </p:nvCxnSpPr>
        <p:spPr>
          <a:xfrm>
            <a:off x="2541347" y="3334777"/>
            <a:ext cx="923174"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AABA2D8E-CDCA-6B4C-B450-1E9DB4B43429}"/>
              </a:ext>
            </a:extLst>
          </p:cNvPr>
          <p:cNvCxnSpPr>
            <a:cxnSpLocks/>
          </p:cNvCxnSpPr>
          <p:nvPr/>
        </p:nvCxnSpPr>
        <p:spPr>
          <a:xfrm>
            <a:off x="5691728" y="3336945"/>
            <a:ext cx="923174"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B8981C0B-6C93-4340-A2D4-61B45B272A16}"/>
              </a:ext>
            </a:extLst>
          </p:cNvPr>
          <p:cNvSpPr/>
          <p:nvPr/>
        </p:nvSpPr>
        <p:spPr bwMode="auto">
          <a:xfrm>
            <a:off x="1555222" y="4988322"/>
            <a:ext cx="9326033" cy="1131888"/>
          </a:xfrm>
          <a:prstGeom prst="rect">
            <a:avLst/>
          </a:prstGeom>
          <a:solidFill>
            <a:srgbClr val="EDED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fontAlgn="base">
              <a:spcBef>
                <a:spcPct val="0"/>
              </a:spcBef>
              <a:spcAft>
                <a:spcPct val="0"/>
              </a:spcAft>
            </a:pPr>
            <a:endParaRPr lang="en-US" sz="153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nvGrpSpPr>
          <p:cNvPr id="61" name="Group 60">
            <a:extLst>
              <a:ext uri="{FF2B5EF4-FFF2-40B4-BE49-F238E27FC236}">
                <a16:creationId xmlns:a16="http://schemas.microsoft.com/office/drawing/2014/main" id="{14C38580-5C5F-2745-A017-F038D4399D5B}"/>
              </a:ext>
            </a:extLst>
          </p:cNvPr>
          <p:cNvGrpSpPr/>
          <p:nvPr/>
        </p:nvGrpSpPr>
        <p:grpSpPr>
          <a:xfrm>
            <a:off x="5168813" y="5156546"/>
            <a:ext cx="7540501" cy="619175"/>
            <a:chOff x="12144240" y="172899"/>
            <a:chExt cx="3073449" cy="809452"/>
          </a:xfrm>
        </p:grpSpPr>
        <p:sp>
          <p:nvSpPr>
            <p:cNvPr id="69" name="TextBox 68">
              <a:extLst>
                <a:ext uri="{FF2B5EF4-FFF2-40B4-BE49-F238E27FC236}">
                  <a16:creationId xmlns:a16="http://schemas.microsoft.com/office/drawing/2014/main" id="{F08E1ACF-3E18-1C4E-9ADF-38A57EF5FA65}"/>
                </a:ext>
              </a:extLst>
            </p:cNvPr>
            <p:cNvSpPr txBox="1"/>
            <p:nvPr/>
          </p:nvSpPr>
          <p:spPr>
            <a:xfrm>
              <a:off x="12144240" y="511452"/>
              <a:ext cx="3073449" cy="470899"/>
            </a:xfrm>
            <a:prstGeom prst="rect">
              <a:avLst/>
            </a:prstGeom>
            <a:noFill/>
          </p:spPr>
          <p:txBody>
            <a:bodyPr wrap="square" lIns="69945" tIns="0" rIns="0" bIns="0" rtlCol="0">
              <a:spAutoFit/>
            </a:bodyPr>
            <a:lstStyle/>
            <a:p>
              <a:pPr defTabSz="699447">
                <a:defRPr/>
              </a:pPr>
              <a:r>
                <a:rPr lang="en-US" sz="1224" dirty="0">
                  <a:solidFill>
                    <a:srgbClr val="0078D4"/>
                  </a:solidFill>
                  <a:latin typeface="Segoe UI"/>
                </a:rPr>
                <a:t>Support</a:t>
              </a:r>
              <a:r>
                <a:rPr lang="en-US" sz="1071" dirty="0">
                  <a:solidFill>
                    <a:srgbClr val="0078D4"/>
                  </a:solidFill>
                  <a:latin typeface="Segoe UI"/>
                </a:rPr>
                <a:t> for image classification and recognition scenarios</a:t>
              </a:r>
            </a:p>
            <a:p>
              <a:pPr defTabSz="699447">
                <a:defRPr/>
              </a:pPr>
              <a:r>
                <a:rPr lang="en-US" sz="1071" dirty="0" err="1">
                  <a:solidFill>
                    <a:srgbClr val="0078D4"/>
                  </a:solidFill>
                  <a:latin typeface="Segoe UI"/>
                </a:rPr>
                <a:t>ResNet</a:t>
              </a:r>
              <a:r>
                <a:rPr lang="en-US" sz="1071" dirty="0">
                  <a:solidFill>
                    <a:srgbClr val="0078D4"/>
                  </a:solidFill>
                  <a:latin typeface="Segoe UI"/>
                </a:rPr>
                <a:t> 50, </a:t>
              </a:r>
              <a:r>
                <a:rPr lang="en-US" sz="1071" dirty="0" err="1">
                  <a:solidFill>
                    <a:srgbClr val="0078D4"/>
                  </a:solidFill>
                  <a:latin typeface="Segoe UI"/>
                </a:rPr>
                <a:t>ResNet</a:t>
              </a:r>
              <a:r>
                <a:rPr lang="en-US" sz="1071" dirty="0">
                  <a:solidFill>
                    <a:srgbClr val="0078D4"/>
                  </a:solidFill>
                  <a:latin typeface="Segoe UI"/>
                </a:rPr>
                <a:t> 152, VGG-16, SSD-VGG, DenseNet-121</a:t>
              </a:r>
            </a:p>
          </p:txBody>
        </p:sp>
        <p:sp>
          <p:nvSpPr>
            <p:cNvPr id="70" name="Rectangle 69">
              <a:extLst>
                <a:ext uri="{FF2B5EF4-FFF2-40B4-BE49-F238E27FC236}">
                  <a16:creationId xmlns:a16="http://schemas.microsoft.com/office/drawing/2014/main" id="{A5CA18DB-1898-984C-AB37-6B2694D9D686}"/>
                </a:ext>
              </a:extLst>
            </p:cNvPr>
            <p:cNvSpPr/>
            <p:nvPr/>
          </p:nvSpPr>
          <p:spPr>
            <a:xfrm>
              <a:off x="12145453" y="172899"/>
              <a:ext cx="2265901" cy="374291"/>
            </a:xfrm>
            <a:prstGeom prst="rect">
              <a:avLst/>
            </a:prstGeom>
          </p:spPr>
          <p:txBody>
            <a:bodyPr wrap="square">
              <a:spAutoFit/>
            </a:bodyPr>
            <a:lstStyle/>
            <a:p>
              <a:pPr defTabSz="932597"/>
              <a:r>
                <a:rPr lang="en-US" sz="1224" dirty="0">
                  <a:solidFill>
                    <a:srgbClr val="0078D4"/>
                  </a:solidFill>
                  <a:latin typeface="Calibri Light" panose="020F0302020204030204"/>
                </a:rPr>
                <a:t>FPGA NEW UPDATES:</a:t>
              </a:r>
            </a:p>
          </p:txBody>
        </p:sp>
      </p:grpSp>
      <p:sp>
        <p:nvSpPr>
          <p:cNvPr id="89" name="Freeform 88">
            <a:extLst>
              <a:ext uri="{FF2B5EF4-FFF2-40B4-BE49-F238E27FC236}">
                <a16:creationId xmlns:a16="http://schemas.microsoft.com/office/drawing/2014/main" id="{EA2AF034-1B22-4341-BA8D-70F77D902F10}"/>
              </a:ext>
            </a:extLst>
          </p:cNvPr>
          <p:cNvSpPr/>
          <p:nvPr/>
        </p:nvSpPr>
        <p:spPr bwMode="auto">
          <a:xfrm rot="8100000">
            <a:off x="4879310" y="5206215"/>
            <a:ext cx="239829" cy="239829"/>
          </a:xfrm>
          <a:custGeom>
            <a:avLst/>
            <a:gdLst>
              <a:gd name="connsiteX0" fmla="*/ 189180 w 480187"/>
              <a:gd name="connsiteY0" fmla="*/ 480186 h 480186"/>
              <a:gd name="connsiteX1" fmla="*/ 0 w 480187"/>
              <a:gd name="connsiteY1" fmla="*/ 291006 h 480186"/>
              <a:gd name="connsiteX2" fmla="*/ 291006 w 480187"/>
              <a:gd name="connsiteY2" fmla="*/ 0 h 480186"/>
              <a:gd name="connsiteX3" fmla="*/ 291006 w 480187"/>
              <a:gd name="connsiteY3" fmla="*/ 189179 h 480186"/>
              <a:gd name="connsiteX4" fmla="*/ 480187 w 480187"/>
              <a:gd name="connsiteY4" fmla="*/ 189179 h 480186"/>
              <a:gd name="connsiteX5" fmla="*/ 189180 w 480187"/>
              <a:gd name="connsiteY5" fmla="*/ 480186 h 480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0187" h="480186">
                <a:moveTo>
                  <a:pt x="189180" y="480186"/>
                </a:moveTo>
                <a:lnTo>
                  <a:pt x="0" y="291006"/>
                </a:lnTo>
                <a:lnTo>
                  <a:pt x="291006" y="0"/>
                </a:lnTo>
                <a:lnTo>
                  <a:pt x="291006" y="189179"/>
                </a:lnTo>
                <a:lnTo>
                  <a:pt x="480187" y="189179"/>
                </a:lnTo>
                <a:lnTo>
                  <a:pt x="189180" y="480186"/>
                </a:ln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pPr>
            <a:endParaRPr lang="en-US" sz="1836"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3" name="矩形 2">
            <a:extLst>
              <a:ext uri="{FF2B5EF4-FFF2-40B4-BE49-F238E27FC236}">
                <a16:creationId xmlns:a16="http://schemas.microsoft.com/office/drawing/2014/main" id="{916F7699-A8F7-4AC7-8A34-E2E5532A2153}"/>
              </a:ext>
            </a:extLst>
          </p:cNvPr>
          <p:cNvSpPr/>
          <p:nvPr/>
        </p:nvSpPr>
        <p:spPr>
          <a:xfrm>
            <a:off x="1555222" y="1133177"/>
            <a:ext cx="4033661" cy="478376"/>
          </a:xfrm>
          <a:prstGeom prst="rect">
            <a:avLst/>
          </a:prstGeom>
        </p:spPr>
        <p:txBody>
          <a:bodyPr wrap="none">
            <a:spAutoFit/>
          </a:bodyPr>
          <a:lstStyle/>
          <a:p>
            <a:pPr defTabSz="932597"/>
            <a:r>
              <a:rPr lang="zh-CN" altLang="en-US" sz="2448" dirty="0">
                <a:solidFill>
                  <a:srgbClr val="0078D7"/>
                </a:solidFill>
                <a:latin typeface="微软雅黑" panose="020B0503020204020204" pitchFamily="34" charset="-122"/>
                <a:ea typeface="微软雅黑" panose="020B0503020204020204" pitchFamily="34" charset="-122"/>
              </a:rPr>
              <a:t>加速深度学习的训练和使用</a:t>
            </a:r>
            <a:endParaRPr lang="zh-CN" altLang="en-US" sz="2448" dirty="0">
              <a:solidFill>
                <a:prstClr val="black"/>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087576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89"/>
                                        </p:tgtEl>
                                        <p:attrNameLst>
                                          <p:attrName>style.visibility</p:attrName>
                                        </p:attrNameLst>
                                      </p:cBhvr>
                                      <p:to>
                                        <p:strVal val="visible"/>
                                      </p:to>
                                    </p:set>
                                    <p:anim calcmode="lin" valueType="num">
                                      <p:cBhvr additive="base">
                                        <p:cTn id="11" dur="500" fill="hold"/>
                                        <p:tgtEl>
                                          <p:spTgt spid="89"/>
                                        </p:tgtEl>
                                        <p:attrNameLst>
                                          <p:attrName>ppt_x</p:attrName>
                                        </p:attrNameLst>
                                      </p:cBhvr>
                                      <p:tavLst>
                                        <p:tav tm="0">
                                          <p:val>
                                            <p:strVal val="#ppt_x"/>
                                          </p:val>
                                        </p:tav>
                                        <p:tav tm="100000">
                                          <p:val>
                                            <p:strVal val="#ppt_x"/>
                                          </p:val>
                                        </p:tav>
                                      </p:tavLst>
                                    </p:anim>
                                    <p:anim calcmode="lin" valueType="num">
                                      <p:cBhvr additive="base">
                                        <p:cTn id="12" dur="500" fill="hold"/>
                                        <p:tgtEl>
                                          <p:spTgt spid="89"/>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61"/>
                                        </p:tgtEl>
                                        <p:attrNameLst>
                                          <p:attrName>style.visibility</p:attrName>
                                        </p:attrNameLst>
                                      </p:cBhvr>
                                      <p:to>
                                        <p:strVal val="visible"/>
                                      </p:to>
                                    </p:set>
                                    <p:anim calcmode="lin" valueType="num">
                                      <p:cBhvr additive="base">
                                        <p:cTn id="15" dur="500" fill="hold"/>
                                        <p:tgtEl>
                                          <p:spTgt spid="61"/>
                                        </p:tgtEl>
                                        <p:attrNameLst>
                                          <p:attrName>ppt_x</p:attrName>
                                        </p:attrNameLst>
                                      </p:cBhvr>
                                      <p:tavLst>
                                        <p:tav tm="0">
                                          <p:val>
                                            <p:strVal val="#ppt_x"/>
                                          </p:val>
                                        </p:tav>
                                        <p:tav tm="100000">
                                          <p:val>
                                            <p:strVal val="#ppt_x"/>
                                          </p:val>
                                        </p:tav>
                                      </p:tavLst>
                                    </p:anim>
                                    <p:anim calcmode="lin" valueType="num">
                                      <p:cBhvr additive="base">
                                        <p:cTn id="16" dur="500" fill="hold"/>
                                        <p:tgtEl>
                                          <p:spTgt spid="6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C4AC55CB-1E53-4046-9F18-736C738B94F2}"/>
              </a:ext>
            </a:extLst>
          </p:cNvPr>
          <p:cNvSpPr txBox="1">
            <a:spLocks/>
          </p:cNvSpPr>
          <p:nvPr/>
        </p:nvSpPr>
        <p:spPr>
          <a:xfrm>
            <a:off x="2714645" y="4962453"/>
            <a:ext cx="7023060" cy="588070"/>
          </a:xfrm>
          <a:prstGeom prst="rect">
            <a:avLst/>
          </a:prstGeom>
          <a:noFill/>
        </p:spPr>
        <p:txBody>
          <a:bodyPr wrap="square" tIns="91427" bIns="91427"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32563">
              <a:defRPr/>
            </a:pPr>
            <a:r>
              <a:rPr lang="en-US" sz="2856" spc="-51">
                <a:solidFill>
                  <a:srgbClr val="0078D4"/>
                </a:solidFill>
                <a:latin typeface="Segoe UI Semibold" panose="020B0702040204020203" pitchFamily="34" charset="0"/>
                <a:cs typeface="Segoe UI Semibold" panose="020B0702040204020203" pitchFamily="34" charset="0"/>
              </a:rPr>
              <a:t>How much is this car worth?</a:t>
            </a:r>
          </a:p>
        </p:txBody>
      </p:sp>
      <p:sp>
        <p:nvSpPr>
          <p:cNvPr id="5" name="Freeform 5">
            <a:extLst>
              <a:ext uri="{FF2B5EF4-FFF2-40B4-BE49-F238E27FC236}">
                <a16:creationId xmlns:a16="http://schemas.microsoft.com/office/drawing/2014/main" id="{E3669FDF-B3F4-4C9E-A603-C252A18C2BAB}"/>
              </a:ext>
            </a:extLst>
          </p:cNvPr>
          <p:cNvSpPr>
            <a:spLocks noEditPoints="1"/>
          </p:cNvSpPr>
          <p:nvPr/>
        </p:nvSpPr>
        <p:spPr bwMode="auto">
          <a:xfrm>
            <a:off x="4536220" y="2712439"/>
            <a:ext cx="3364034" cy="2023882"/>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905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latin typeface="Segoe UI Semilight"/>
            </a:endParaRPr>
          </a:p>
        </p:txBody>
      </p:sp>
      <p:sp>
        <p:nvSpPr>
          <p:cNvPr id="4" name="Title 3">
            <a:extLst>
              <a:ext uri="{FF2B5EF4-FFF2-40B4-BE49-F238E27FC236}">
                <a16:creationId xmlns:a16="http://schemas.microsoft.com/office/drawing/2014/main" id="{035693D4-FD57-41B5-995B-476C4411F258}"/>
              </a:ext>
            </a:extLst>
          </p:cNvPr>
          <p:cNvSpPr>
            <a:spLocks noGrp="1"/>
          </p:cNvSpPr>
          <p:nvPr>
            <p:ph type="title"/>
          </p:nvPr>
        </p:nvSpPr>
        <p:spPr/>
        <p:txBody>
          <a:bodyPr/>
          <a:lstStyle/>
          <a:p>
            <a:pPr algn="ctr"/>
            <a:r>
              <a:rPr lang="zh-CN" altLang="en-US" sz="4488" spc="0" dirty="0">
                <a:ln>
                  <a:noFill/>
                </a:ln>
                <a:solidFill>
                  <a:srgbClr val="0070C0"/>
                </a:solidFill>
                <a:latin typeface="微软雅黑" panose="020B0503020204020204" pitchFamily="34" charset="-122"/>
                <a:ea typeface="微软雅黑" panose="020B0503020204020204" pitchFamily="34" charset="-122"/>
              </a:rPr>
              <a:t>微软</a:t>
            </a:r>
            <a:r>
              <a:rPr lang="en-US" altLang="zh-CN" sz="4488" spc="0" dirty="0">
                <a:ln>
                  <a:noFill/>
                </a:ln>
                <a:solidFill>
                  <a:srgbClr val="0070C0"/>
                </a:solidFill>
                <a:latin typeface="微软雅黑" panose="020B0503020204020204" pitchFamily="34" charset="-122"/>
                <a:ea typeface="微软雅黑" panose="020B0503020204020204" pitchFamily="34" charset="-122"/>
              </a:rPr>
              <a:t>Azure</a:t>
            </a:r>
            <a:r>
              <a:rPr lang="zh-CN" altLang="en-US" sz="4488" spc="0" dirty="0">
                <a:ln>
                  <a:noFill/>
                </a:ln>
                <a:solidFill>
                  <a:srgbClr val="0070C0"/>
                </a:solidFill>
                <a:latin typeface="微软雅黑" panose="020B0503020204020204" pitchFamily="34" charset="-122"/>
                <a:ea typeface="微软雅黑" panose="020B0503020204020204" pitchFamily="34" charset="-122"/>
              </a:rPr>
              <a:t>机器学习</a:t>
            </a:r>
            <a:r>
              <a:rPr lang="en-US" sz="4488" spc="0" dirty="0">
                <a:ln>
                  <a:noFill/>
                </a:ln>
                <a:solidFill>
                  <a:srgbClr val="0070C0"/>
                </a:solidFill>
                <a:latin typeface="微软雅黑" panose="020B0503020204020204" pitchFamily="34" charset="-122"/>
                <a:ea typeface="微软雅黑" panose="020B0503020204020204" pitchFamily="34" charset="-122"/>
              </a:rPr>
              <a:t> </a:t>
            </a:r>
            <a:br>
              <a:rPr lang="en-US" sz="4080" dirty="0">
                <a:latin typeface="微软雅黑 Light" panose="020B0502040204020203" pitchFamily="34" charset="-122"/>
                <a:ea typeface="微软雅黑 Light" panose="020B0502040204020203" pitchFamily="34" charset="-122"/>
              </a:rPr>
            </a:br>
            <a:r>
              <a:rPr lang="zh-CN" altLang="en-US" sz="2448" b="1" spc="0" dirty="0">
                <a:ln>
                  <a:noFill/>
                </a:ln>
                <a:solidFill>
                  <a:schemeClr val="tx2"/>
                </a:solidFill>
                <a:latin typeface="微软雅黑 Light" panose="020B0502040204020203" pitchFamily="34" charset="-122"/>
                <a:ea typeface="微软雅黑 Light" panose="020B0502040204020203" pitchFamily="34" charset="-122"/>
              </a:rPr>
              <a:t>自动化机器学习</a:t>
            </a:r>
            <a:r>
              <a:rPr lang="en-US" sz="2448" b="1" spc="0" dirty="0">
                <a:ln>
                  <a:noFill/>
                </a:ln>
                <a:solidFill>
                  <a:schemeClr val="tx2"/>
                </a:solidFill>
                <a:latin typeface="微软雅黑 Light" panose="020B0502040204020203" pitchFamily="34" charset="-122"/>
                <a:ea typeface="微软雅黑 Light" panose="020B0502040204020203" pitchFamily="34" charset="-122"/>
              </a:rPr>
              <a:t> </a:t>
            </a:r>
          </a:p>
        </p:txBody>
      </p:sp>
    </p:spTree>
    <p:extLst>
      <p:ext uri="{BB962C8B-B14F-4D97-AF65-F5344CB8AC3E}">
        <p14:creationId xmlns:p14="http://schemas.microsoft.com/office/powerpoint/2010/main" val="1348908623"/>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2" presetClass="entr" presetSubtype="8" accel="6667" fill="hold" grpId="0" nodeType="withEffect" p14:presetBounceEnd="35000">
                                      <p:stCondLst>
                                        <p:cond delay="0"/>
                                      </p:stCondLst>
                                      <p:childTnLst>
                                        <p:set>
                                          <p:cBhvr>
                                            <p:cTn id="9" dur="1" fill="hold">
                                              <p:stCondLst>
                                                <p:cond delay="0"/>
                                              </p:stCondLst>
                                            </p:cTn>
                                            <p:tgtEl>
                                              <p:spTgt spid="5"/>
                                            </p:tgtEl>
                                            <p:attrNameLst>
                                              <p:attrName>style.visibility</p:attrName>
                                            </p:attrNameLst>
                                          </p:cBhvr>
                                          <p:to>
                                            <p:strVal val="visible"/>
                                          </p:to>
                                        </p:set>
                                        <p:anim calcmode="lin" valueType="num" p14:bounceEnd="35000">
                                          <p:cBhvr additive="base">
                                            <p:cTn id="10" dur="750" fill="hold"/>
                                            <p:tgtEl>
                                              <p:spTgt spid="5"/>
                                            </p:tgtEl>
                                            <p:attrNameLst>
                                              <p:attrName>ppt_x</p:attrName>
                                            </p:attrNameLst>
                                          </p:cBhvr>
                                          <p:tavLst>
                                            <p:tav tm="0">
                                              <p:val>
                                                <p:strVal val="0-#ppt_w/2"/>
                                              </p:val>
                                            </p:tav>
                                            <p:tav tm="100000">
                                              <p:val>
                                                <p:strVal val="#ppt_x"/>
                                              </p:val>
                                            </p:tav>
                                          </p:tavLst>
                                        </p:anim>
                                        <p:anim calcmode="lin" valueType="num" p14:bounceEnd="35000">
                                          <p:cBhvr additive="base">
                                            <p:cTn id="11" dur="7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5" grpId="0" animBg="1"/>
        </p:bldLst>
      </p:timing>
    </mc:Choice>
    <mc:Fallback xmlns="" xmlns:a16="http://schemas.microsoft.com/office/drawing/2014/main" xmlns:a14="http://schemas.microsoft.com/office/drawing/2010/mai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2" presetClass="entr" presetSubtype="8" accel="6667"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 calcmode="lin" valueType="num">
                                          <p:cBhvr additive="base">
                                            <p:cTn id="10" dur="750" fill="hold"/>
                                            <p:tgtEl>
                                              <p:spTgt spid="5"/>
                                            </p:tgtEl>
                                            <p:attrNameLst>
                                              <p:attrName>ppt_x</p:attrName>
                                            </p:attrNameLst>
                                          </p:cBhvr>
                                          <p:tavLst>
                                            <p:tav tm="0">
                                              <p:val>
                                                <p:strVal val="0-#ppt_w/2"/>
                                              </p:val>
                                            </p:tav>
                                            <p:tav tm="100000">
                                              <p:val>
                                                <p:strVal val="#ppt_x"/>
                                              </p:val>
                                            </p:tav>
                                          </p:tavLst>
                                        </p:anim>
                                        <p:anim calcmode="lin" valueType="num">
                                          <p:cBhvr additive="base">
                                            <p:cTn id="11" dur="7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5" grpId="0" animBg="1"/>
        </p:bldLst>
      </p:timing>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168F540-B516-4595-99BE-669BAE43E877}"/>
              </a:ext>
            </a:extLst>
          </p:cNvPr>
          <p:cNvSpPr/>
          <p:nvPr/>
        </p:nvSpPr>
        <p:spPr bwMode="auto">
          <a:xfrm>
            <a:off x="751107" y="2835496"/>
            <a:ext cx="1811217" cy="21799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Mileage</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Condition</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Car brand</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Year of make</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Regulations</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a:t>
            </a:r>
          </a:p>
        </p:txBody>
      </p:sp>
      <p:sp>
        <p:nvSpPr>
          <p:cNvPr id="7" name="Rectangle 6">
            <a:extLst>
              <a:ext uri="{FF2B5EF4-FFF2-40B4-BE49-F238E27FC236}">
                <a16:creationId xmlns:a16="http://schemas.microsoft.com/office/drawing/2014/main" id="{6EA458CC-0786-48FB-A64B-B427CE24316B}"/>
              </a:ext>
            </a:extLst>
          </p:cNvPr>
          <p:cNvSpPr/>
          <p:nvPr/>
        </p:nvSpPr>
        <p:spPr bwMode="auto">
          <a:xfrm>
            <a:off x="5689390" y="2835496"/>
            <a:ext cx="1398950" cy="18133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Parameter 1</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Parameter 2</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Parameter 3</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Parameter 4</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a:t>
            </a:r>
          </a:p>
        </p:txBody>
      </p:sp>
      <p:sp>
        <p:nvSpPr>
          <p:cNvPr id="9" name="Rectangle 8">
            <a:extLst>
              <a:ext uri="{FF2B5EF4-FFF2-40B4-BE49-F238E27FC236}">
                <a16:creationId xmlns:a16="http://schemas.microsoft.com/office/drawing/2014/main" id="{8613D47F-F817-488D-A5C9-E311626DB096}"/>
              </a:ext>
            </a:extLst>
          </p:cNvPr>
          <p:cNvSpPr/>
          <p:nvPr/>
        </p:nvSpPr>
        <p:spPr bwMode="auto">
          <a:xfrm>
            <a:off x="3147001" y="2835496"/>
            <a:ext cx="2327011" cy="21799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Gradient Boosted  </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Nearest Neighbors </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SVM</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Bayesian Regression</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LGBM </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a:t>
            </a:r>
          </a:p>
        </p:txBody>
      </p:sp>
      <p:sp>
        <p:nvSpPr>
          <p:cNvPr id="11" name="Rectangle 10">
            <a:extLst>
              <a:ext uri="{FF2B5EF4-FFF2-40B4-BE49-F238E27FC236}">
                <a16:creationId xmlns:a16="http://schemas.microsoft.com/office/drawing/2014/main" id="{E605D490-EE66-4928-8D25-10151ED50C5B}"/>
              </a:ext>
            </a:extLst>
          </p:cNvPr>
          <p:cNvSpPr/>
          <p:nvPr/>
        </p:nvSpPr>
        <p:spPr bwMode="auto">
          <a:xfrm>
            <a:off x="751107" y="2883502"/>
            <a:ext cx="1896591" cy="3051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55956" rIns="93260" bIns="55956" numCol="1" spcCol="0" rtlCol="0" fromWordArt="0" anchor="ctr" anchorCtr="0" forceAA="0" compatLnSpc="1">
            <a:prstTxWarp prst="textNoShape">
              <a:avLst/>
            </a:prstTxWarp>
            <a:spAutoFit/>
          </a:bodyPr>
          <a:lstStyle/>
          <a:p>
            <a:pPr defTabSz="951028" fontAlgn="base">
              <a:spcBef>
                <a:spcPct val="0"/>
              </a:spcBef>
              <a:spcAft>
                <a:spcPts val="612"/>
              </a:spcAft>
              <a:defRPr/>
            </a:pPr>
            <a:r>
              <a:rPr lang="en-US" sz="1224">
                <a:solidFill>
                  <a:prstClr val="white"/>
                </a:solidFill>
                <a:latin typeface="Segoe UI Semibold"/>
                <a:ea typeface="Segoe UI" pitchFamily="34" charset="0"/>
                <a:cs typeface="Segoe UI Semibold" panose="020B0702040204020203" pitchFamily="34" charset="0"/>
              </a:rPr>
              <a:t>Mileage</a:t>
            </a:r>
          </a:p>
        </p:txBody>
      </p:sp>
      <p:sp>
        <p:nvSpPr>
          <p:cNvPr id="12" name="Rectangle 11">
            <a:extLst>
              <a:ext uri="{FF2B5EF4-FFF2-40B4-BE49-F238E27FC236}">
                <a16:creationId xmlns:a16="http://schemas.microsoft.com/office/drawing/2014/main" id="{839EEEBE-474C-4A48-8C83-5F1694ABB77B}"/>
              </a:ext>
            </a:extLst>
          </p:cNvPr>
          <p:cNvSpPr/>
          <p:nvPr/>
        </p:nvSpPr>
        <p:spPr bwMode="auto">
          <a:xfrm>
            <a:off x="3147001" y="2858371"/>
            <a:ext cx="2125705" cy="34800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27978" rIns="93260" bIns="46630" numCol="1" spcCol="0" rtlCol="0" fromWordArt="0" anchor="t" anchorCtr="0" forceAA="0" compatLnSpc="1">
            <a:prstTxWarp prst="textNoShape">
              <a:avLst/>
            </a:prstTxWarp>
            <a:noAutofit/>
          </a:bodyPr>
          <a:lstStyle/>
          <a:p>
            <a:pPr defTabSz="951028" fontAlgn="base">
              <a:lnSpc>
                <a:spcPct val="150000"/>
              </a:lnSpc>
              <a:spcBef>
                <a:spcPct val="0"/>
              </a:spcBef>
              <a:spcAft>
                <a:spcPts val="612"/>
              </a:spcAft>
              <a:defRPr/>
            </a:pPr>
            <a:r>
              <a:rPr lang="en-US" sz="1224">
                <a:solidFill>
                  <a:prstClr val="white"/>
                </a:solidFill>
                <a:latin typeface="Segoe UI Semibold"/>
                <a:cs typeface="Segoe UI Semibold" panose="020B0702040204020203" pitchFamily="34" charset="0"/>
              </a:rPr>
              <a:t>Gradient Boosted</a:t>
            </a:r>
          </a:p>
        </p:txBody>
      </p:sp>
      <p:sp>
        <p:nvSpPr>
          <p:cNvPr id="13" name="Rectangle 12">
            <a:extLst>
              <a:ext uri="{FF2B5EF4-FFF2-40B4-BE49-F238E27FC236}">
                <a16:creationId xmlns:a16="http://schemas.microsoft.com/office/drawing/2014/main" id="{6D24F1C5-AFA1-4EB9-B62D-87EF246C2E29}"/>
              </a:ext>
            </a:extLst>
          </p:cNvPr>
          <p:cNvSpPr/>
          <p:nvPr/>
        </p:nvSpPr>
        <p:spPr bwMode="auto">
          <a:xfrm>
            <a:off x="5689391" y="2835496"/>
            <a:ext cx="1702900" cy="18133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Criterion</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Loss</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Min Samples Split</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Min Samples Leaf</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Others</a:t>
            </a:r>
          </a:p>
        </p:txBody>
      </p:sp>
      <p:grpSp>
        <p:nvGrpSpPr>
          <p:cNvPr id="14" name="Group 13">
            <a:extLst>
              <a:ext uri="{FF2B5EF4-FFF2-40B4-BE49-F238E27FC236}">
                <a16:creationId xmlns:a16="http://schemas.microsoft.com/office/drawing/2014/main" id="{EB7F8B3D-BA5D-451F-A1DB-80D9356B9AD0}"/>
              </a:ext>
            </a:extLst>
          </p:cNvPr>
          <p:cNvGrpSpPr/>
          <p:nvPr/>
        </p:nvGrpSpPr>
        <p:grpSpPr>
          <a:xfrm>
            <a:off x="7441166" y="2950911"/>
            <a:ext cx="1479492" cy="149929"/>
            <a:chOff x="8120217" y="3558128"/>
            <a:chExt cx="1940664" cy="147003"/>
          </a:xfrm>
        </p:grpSpPr>
        <p:cxnSp>
          <p:nvCxnSpPr>
            <p:cNvPr id="15" name="Straight Connector 14">
              <a:extLst>
                <a:ext uri="{FF2B5EF4-FFF2-40B4-BE49-F238E27FC236}">
                  <a16:creationId xmlns:a16="http://schemas.microsoft.com/office/drawing/2014/main" id="{36E66D7F-221D-4A0D-A9EC-9E8497E2AEA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F721B48-8884-4907-8896-F0A5619E29E6}"/>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570DBDBC-C4D7-4D6E-9975-A40CD248796E}"/>
                </a:ext>
              </a:extLst>
            </p:cNvPr>
            <p:cNvGrpSpPr/>
            <p:nvPr/>
          </p:nvGrpSpPr>
          <p:grpSpPr>
            <a:xfrm>
              <a:off x="8335846" y="3593256"/>
              <a:ext cx="1509402" cy="111875"/>
              <a:chOff x="8335846" y="3498555"/>
              <a:chExt cx="1509402" cy="206573"/>
            </a:xfrm>
          </p:grpSpPr>
          <p:cxnSp>
            <p:nvCxnSpPr>
              <p:cNvPr id="18" name="Straight Connector 17">
                <a:extLst>
                  <a:ext uri="{FF2B5EF4-FFF2-40B4-BE49-F238E27FC236}">
                    <a16:creationId xmlns:a16="http://schemas.microsoft.com/office/drawing/2014/main" id="{33F4E9F9-A7BB-417B-B7D8-44E513C1E35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4471F8A-A6FF-478F-B21C-16B27F79EA16}"/>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7BD7BAD-A456-4CDA-AAF2-5B28F66CF7AC}"/>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D93968D-4ED1-4D98-BC02-7CE789FA38B2}"/>
                  </a:ext>
                </a:extLst>
              </p:cNvPr>
              <p:cNvCxnSpPr>
                <a:cxnSpLocks/>
              </p:cNvCxnSpPr>
              <p:nvPr/>
            </p:nvCxnSpPr>
            <p:spPr>
              <a:xfrm flipV="1">
                <a:off x="8982733" y="3498555"/>
                <a:ext cx="0" cy="206573"/>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F79CF59-778A-4310-9EAA-73FC5193DBEB}"/>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35C58FA-21CF-4D4E-8F85-D218ABD5DBD4}"/>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307C462-2E34-4B78-AF4D-6D93FF61EB7D}"/>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82B236-4337-4E82-BF42-5F3BF652CD04}"/>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6" name="Group 25">
            <a:extLst>
              <a:ext uri="{FF2B5EF4-FFF2-40B4-BE49-F238E27FC236}">
                <a16:creationId xmlns:a16="http://schemas.microsoft.com/office/drawing/2014/main" id="{AE3E6691-849A-42CE-B310-226C974D8545}"/>
              </a:ext>
            </a:extLst>
          </p:cNvPr>
          <p:cNvGrpSpPr/>
          <p:nvPr/>
        </p:nvGrpSpPr>
        <p:grpSpPr>
          <a:xfrm>
            <a:off x="7441166" y="3305534"/>
            <a:ext cx="1479492" cy="149925"/>
            <a:chOff x="8120217" y="3558128"/>
            <a:chExt cx="1940664" cy="146999"/>
          </a:xfrm>
        </p:grpSpPr>
        <p:cxnSp>
          <p:nvCxnSpPr>
            <p:cNvPr id="27" name="Straight Connector 26">
              <a:extLst>
                <a:ext uri="{FF2B5EF4-FFF2-40B4-BE49-F238E27FC236}">
                  <a16:creationId xmlns:a16="http://schemas.microsoft.com/office/drawing/2014/main" id="{4A2AADB1-5ACB-4B06-8960-DA5B2CBA9577}"/>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971EAF7-2482-48BE-B9D1-ED930A7D5255}"/>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1B140EAB-319E-4A3D-BADD-1487F2A8610F}"/>
                </a:ext>
              </a:extLst>
            </p:cNvPr>
            <p:cNvGrpSpPr/>
            <p:nvPr/>
          </p:nvGrpSpPr>
          <p:grpSpPr>
            <a:xfrm>
              <a:off x="8335846" y="3592140"/>
              <a:ext cx="1509402" cy="112986"/>
              <a:chOff x="8335846" y="3496504"/>
              <a:chExt cx="1509402" cy="208625"/>
            </a:xfrm>
          </p:grpSpPr>
          <p:cxnSp>
            <p:nvCxnSpPr>
              <p:cNvPr id="31" name="Straight Connector 30">
                <a:extLst>
                  <a:ext uri="{FF2B5EF4-FFF2-40B4-BE49-F238E27FC236}">
                    <a16:creationId xmlns:a16="http://schemas.microsoft.com/office/drawing/2014/main" id="{E00BEBDB-ED9F-4CF4-86F8-6932A394656B}"/>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85136C-A8BF-418A-AC51-79F632211548}"/>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D7CE1A0-DB70-4794-98EC-7F2367C9D904}"/>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FE2E449-5E21-4074-AE06-FFA79787AFB8}"/>
                  </a:ext>
                </a:extLst>
              </p:cNvPr>
              <p:cNvCxnSpPr>
                <a:cxnSpLocks/>
              </p:cNvCxnSpPr>
              <p:nvPr/>
            </p:nvCxnSpPr>
            <p:spPr>
              <a:xfrm flipV="1">
                <a:off x="8982733" y="3496504"/>
                <a:ext cx="0" cy="208625"/>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7693B8E-21A1-4B6A-B15E-5563F05446D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8085440-B678-4A53-91EA-F68A0F5D3ABF}"/>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CADAF9-6666-4671-8DF5-6C4B0902B046}"/>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39F7B7-30CE-40EC-BD52-084CB961FCF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40" name="Group 39">
            <a:extLst>
              <a:ext uri="{FF2B5EF4-FFF2-40B4-BE49-F238E27FC236}">
                <a16:creationId xmlns:a16="http://schemas.microsoft.com/office/drawing/2014/main" id="{42862650-122D-478D-A643-4F78F1CFC9AD}"/>
              </a:ext>
            </a:extLst>
          </p:cNvPr>
          <p:cNvGrpSpPr/>
          <p:nvPr/>
        </p:nvGrpSpPr>
        <p:grpSpPr>
          <a:xfrm>
            <a:off x="7441166" y="3660154"/>
            <a:ext cx="1479492" cy="149926"/>
            <a:chOff x="8120217" y="3558128"/>
            <a:chExt cx="1940664" cy="147000"/>
          </a:xfrm>
        </p:grpSpPr>
        <p:cxnSp>
          <p:nvCxnSpPr>
            <p:cNvPr id="41" name="Straight Connector 40">
              <a:extLst>
                <a:ext uri="{FF2B5EF4-FFF2-40B4-BE49-F238E27FC236}">
                  <a16:creationId xmlns:a16="http://schemas.microsoft.com/office/drawing/2014/main" id="{9D607C2D-C5DF-442D-8A48-59D656A91493}"/>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DA20C60-AB0F-478B-8CA7-BFE6B3F9DBD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D0211F3B-8C0B-4A97-9EA8-D67A0CB21FF3}"/>
                </a:ext>
              </a:extLst>
            </p:cNvPr>
            <p:cNvGrpSpPr/>
            <p:nvPr/>
          </p:nvGrpSpPr>
          <p:grpSpPr>
            <a:xfrm>
              <a:off x="8335846" y="3593752"/>
              <a:ext cx="1509402" cy="111376"/>
              <a:chOff x="8335846" y="3499477"/>
              <a:chExt cx="1509402" cy="205652"/>
            </a:xfrm>
          </p:grpSpPr>
          <p:cxnSp>
            <p:nvCxnSpPr>
              <p:cNvPr id="45" name="Straight Connector 44">
                <a:extLst>
                  <a:ext uri="{FF2B5EF4-FFF2-40B4-BE49-F238E27FC236}">
                    <a16:creationId xmlns:a16="http://schemas.microsoft.com/office/drawing/2014/main" id="{7F1B9279-5D72-436B-AA70-8DE4EE1BA9C3}"/>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EFC06FA-2399-48C8-B905-D7338CDD3CDC}"/>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4B3B114-19EA-47E8-BE1A-AABBCF4D4F21}"/>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817593F-BEB3-4069-B7AD-0436D92788C8}"/>
                  </a:ext>
                </a:extLst>
              </p:cNvPr>
              <p:cNvCxnSpPr>
                <a:cxnSpLocks/>
              </p:cNvCxnSpPr>
              <p:nvPr/>
            </p:nvCxnSpPr>
            <p:spPr>
              <a:xfrm flipV="1">
                <a:off x="8982733" y="3499477"/>
                <a:ext cx="0" cy="205652"/>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A67F6FE-9B8F-4A1B-A058-5414093A731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9F0A976-453B-463F-91D6-0C611B815CBC}"/>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565DDC2-7B47-4B83-A0FB-2DC7C7C8BC1B}"/>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D3691DC-B356-4D59-99E2-0970AE2C758A}"/>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B4CEA875-FCA7-44FB-A4C6-37F4D145A96D}"/>
              </a:ext>
            </a:extLst>
          </p:cNvPr>
          <p:cNvGrpSpPr/>
          <p:nvPr/>
        </p:nvGrpSpPr>
        <p:grpSpPr>
          <a:xfrm>
            <a:off x="7441166" y="4014774"/>
            <a:ext cx="1479492" cy="149928"/>
            <a:chOff x="8120217" y="3558128"/>
            <a:chExt cx="1940664" cy="147002"/>
          </a:xfrm>
        </p:grpSpPr>
        <p:cxnSp>
          <p:nvCxnSpPr>
            <p:cNvPr id="54" name="Straight Connector 53">
              <a:extLst>
                <a:ext uri="{FF2B5EF4-FFF2-40B4-BE49-F238E27FC236}">
                  <a16:creationId xmlns:a16="http://schemas.microsoft.com/office/drawing/2014/main" id="{B967AD7B-F52F-4B1F-B557-CDADFF492C20}"/>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E85ECC0-806C-4FB5-AAC3-F83E14B7B51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1E82DF8A-9DA7-42CE-A9D7-D153E0037A75}"/>
                </a:ext>
              </a:extLst>
            </p:cNvPr>
            <p:cNvGrpSpPr/>
            <p:nvPr/>
          </p:nvGrpSpPr>
          <p:grpSpPr>
            <a:xfrm>
              <a:off x="8335846" y="3595364"/>
              <a:ext cx="1509402" cy="109766"/>
              <a:chOff x="8335846" y="3502450"/>
              <a:chExt cx="1509402" cy="202679"/>
            </a:xfrm>
          </p:grpSpPr>
          <p:cxnSp>
            <p:nvCxnSpPr>
              <p:cNvPr id="57" name="Straight Connector 56">
                <a:extLst>
                  <a:ext uri="{FF2B5EF4-FFF2-40B4-BE49-F238E27FC236}">
                    <a16:creationId xmlns:a16="http://schemas.microsoft.com/office/drawing/2014/main" id="{B49411CB-20CD-4961-BCEF-F473BF9DE50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03961EE-4D11-41B0-A80C-6F74F6E972D2}"/>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EB82067-4994-4ABF-9DFE-E6EDD20ACAD8}"/>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3EC73D7-0229-49D8-9310-B919F1C32BD2}"/>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EB320E5-A7E5-43E0-B8AA-F97D163948B3}"/>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048D1FB-D453-418E-825B-CD0FE7434ECD}"/>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29C819F-C82D-4546-96FF-9F6354F14FA0}"/>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438182D-82AE-4512-8139-D435A9D2FB23}"/>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66" name="Isosceles Triangle 65">
            <a:extLst>
              <a:ext uri="{FF2B5EF4-FFF2-40B4-BE49-F238E27FC236}">
                <a16:creationId xmlns:a16="http://schemas.microsoft.com/office/drawing/2014/main" id="{B0DD8EC6-0046-4274-B5A9-B81B57C48785}"/>
              </a:ext>
            </a:extLst>
          </p:cNvPr>
          <p:cNvSpPr/>
          <p:nvPr/>
        </p:nvSpPr>
        <p:spPr bwMode="auto">
          <a:xfrm>
            <a:off x="7372606" y="3007575"/>
            <a:ext cx="139891" cy="9326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Isosceles Triangle 66">
            <a:extLst>
              <a:ext uri="{FF2B5EF4-FFF2-40B4-BE49-F238E27FC236}">
                <a16:creationId xmlns:a16="http://schemas.microsoft.com/office/drawing/2014/main" id="{B25060C6-9AA8-42B4-9FAE-2F09F4C71448}"/>
              </a:ext>
            </a:extLst>
          </p:cNvPr>
          <p:cNvSpPr/>
          <p:nvPr/>
        </p:nvSpPr>
        <p:spPr bwMode="auto">
          <a:xfrm>
            <a:off x="7372606" y="3362197"/>
            <a:ext cx="139891" cy="9326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Isosceles Triangle 67">
            <a:extLst>
              <a:ext uri="{FF2B5EF4-FFF2-40B4-BE49-F238E27FC236}">
                <a16:creationId xmlns:a16="http://schemas.microsoft.com/office/drawing/2014/main" id="{3DD55A1A-0126-4F4B-8DAB-7170E3312892}"/>
              </a:ext>
            </a:extLst>
          </p:cNvPr>
          <p:cNvSpPr/>
          <p:nvPr/>
        </p:nvSpPr>
        <p:spPr bwMode="auto">
          <a:xfrm>
            <a:off x="7372606" y="3716819"/>
            <a:ext cx="139891" cy="9326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Isosceles Triangle 68">
            <a:extLst>
              <a:ext uri="{FF2B5EF4-FFF2-40B4-BE49-F238E27FC236}">
                <a16:creationId xmlns:a16="http://schemas.microsoft.com/office/drawing/2014/main" id="{D4F56831-466C-490B-994D-C4E766A67456}"/>
              </a:ext>
            </a:extLst>
          </p:cNvPr>
          <p:cNvSpPr/>
          <p:nvPr/>
        </p:nvSpPr>
        <p:spPr bwMode="auto">
          <a:xfrm>
            <a:off x="7372606" y="4071439"/>
            <a:ext cx="139891" cy="9326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8073F30B-1B75-468A-9E11-233BEF8B686E}"/>
              </a:ext>
            </a:extLst>
          </p:cNvPr>
          <p:cNvSpPr/>
          <p:nvPr/>
        </p:nvSpPr>
        <p:spPr bwMode="auto">
          <a:xfrm>
            <a:off x="9763117" y="3817971"/>
            <a:ext cx="666242" cy="4681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30%</a:t>
            </a:r>
          </a:p>
        </p:txBody>
      </p:sp>
      <p:sp>
        <p:nvSpPr>
          <p:cNvPr id="74" name="TextBox 73">
            <a:extLst>
              <a:ext uri="{FF2B5EF4-FFF2-40B4-BE49-F238E27FC236}">
                <a16:creationId xmlns:a16="http://schemas.microsoft.com/office/drawing/2014/main" id="{5819BF1A-393F-4DC0-AAFF-F23D33A65562}"/>
              </a:ext>
            </a:extLst>
          </p:cNvPr>
          <p:cNvSpPr txBox="1"/>
          <p:nvPr/>
        </p:nvSpPr>
        <p:spPr>
          <a:xfrm>
            <a:off x="9803426" y="4302316"/>
            <a:ext cx="585627" cy="245434"/>
          </a:xfrm>
          <a:prstGeom prst="rect">
            <a:avLst/>
          </a:prstGeom>
          <a:noFill/>
        </p:spPr>
        <p:txBody>
          <a:bodyPr wrap="none" lIns="93260" tIns="46630" rIns="93260" bIns="46630" rtlCol="0">
            <a:spAutoFit/>
          </a:bodyPr>
          <a:lstStyle/>
          <a:p>
            <a:pPr algn="ctr" defTabSz="932597">
              <a:lnSpc>
                <a:spcPct val="90000"/>
              </a:lnSpc>
              <a:spcAft>
                <a:spcPts val="612"/>
              </a:spcAft>
              <a:defRPr/>
            </a:pPr>
            <a:r>
              <a:rPr lang="en-US" sz="1071">
                <a:solidFill>
                  <a:srgbClr val="0078D4"/>
                </a:solidFill>
                <a:latin typeface="Segoe UI"/>
              </a:rPr>
              <a:t>Model</a:t>
            </a:r>
          </a:p>
        </p:txBody>
      </p:sp>
      <p:sp>
        <p:nvSpPr>
          <p:cNvPr id="75" name="Diamond 3">
            <a:extLst>
              <a:ext uri="{FF2B5EF4-FFF2-40B4-BE49-F238E27FC236}">
                <a16:creationId xmlns:a16="http://schemas.microsoft.com/office/drawing/2014/main" id="{59BED6B8-E637-4542-88C4-C688B7867D90}"/>
              </a:ext>
            </a:extLst>
          </p:cNvPr>
          <p:cNvSpPr/>
          <p:nvPr/>
        </p:nvSpPr>
        <p:spPr bwMode="auto">
          <a:xfrm>
            <a:off x="9162219" y="2822745"/>
            <a:ext cx="330367" cy="2458579"/>
          </a:xfrm>
          <a:custGeom>
            <a:avLst/>
            <a:gdLst>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0 w 594505"/>
              <a:gd name="connsiteY4" fmla="*/ 50945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91440 w 594505"/>
              <a:gd name="connsiteY4" fmla="*/ 60089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0" fmla="*/ 0 w 297252"/>
              <a:gd name="connsiteY0" fmla="*/ 0 h 1018903"/>
              <a:gd name="connsiteX1" fmla="*/ 297252 w 297252"/>
              <a:gd name="connsiteY1" fmla="*/ 509452 h 1018903"/>
              <a:gd name="connsiteX2" fmla="*/ 0 w 297252"/>
              <a:gd name="connsiteY2" fmla="*/ 1018903 h 1018903"/>
            </a:gdLst>
            <a:ahLst/>
            <a:cxnLst>
              <a:cxn ang="0">
                <a:pos x="connsiteX0" y="connsiteY0"/>
              </a:cxn>
              <a:cxn ang="0">
                <a:pos x="connsiteX1" y="connsiteY1"/>
              </a:cxn>
              <a:cxn ang="0">
                <a:pos x="connsiteX2" y="connsiteY2"/>
              </a:cxn>
            </a:cxnLst>
            <a:rect l="l" t="t" r="r" b="b"/>
            <a:pathLst>
              <a:path w="297252" h="1018903">
                <a:moveTo>
                  <a:pt x="0" y="0"/>
                </a:moveTo>
                <a:lnTo>
                  <a:pt x="297252" y="509452"/>
                </a:lnTo>
                <a:lnTo>
                  <a:pt x="0" y="1018903"/>
                </a:lnTo>
              </a:path>
            </a:pathLst>
          </a:custGeom>
          <a:ln w="12700">
            <a:solidFill>
              <a:schemeClr val="tx2"/>
            </a:solidFill>
            <a:headEnd type="none"/>
            <a:tailEnd type="none"/>
          </a:ln>
        </p:spPr>
        <p:style>
          <a:lnRef idx="1">
            <a:schemeClr val="accent4"/>
          </a:lnRef>
          <a:fillRef idx="0">
            <a:schemeClr val="accent4"/>
          </a:fillRef>
          <a:effectRef idx="0">
            <a:schemeClr val="accent4"/>
          </a:effectRef>
          <a:fontRef idx="minor">
            <a:schemeClr val="tx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0" name="Group 99">
            <a:extLst>
              <a:ext uri="{FF2B5EF4-FFF2-40B4-BE49-F238E27FC236}">
                <a16:creationId xmlns:a16="http://schemas.microsoft.com/office/drawing/2014/main" id="{DE726EF7-D1FA-4062-B4C5-9B6733D5C31E}"/>
              </a:ext>
            </a:extLst>
          </p:cNvPr>
          <p:cNvGrpSpPr/>
          <p:nvPr/>
        </p:nvGrpSpPr>
        <p:grpSpPr>
          <a:xfrm>
            <a:off x="2519807" y="2313194"/>
            <a:ext cx="7396860" cy="353469"/>
            <a:chOff x="735582" y="2268043"/>
            <a:chExt cx="7252482" cy="346570"/>
          </a:xfrm>
        </p:grpSpPr>
        <p:sp>
          <p:nvSpPr>
            <p:cNvPr id="101" name="Rectangle 100">
              <a:extLst>
                <a:ext uri="{FF2B5EF4-FFF2-40B4-BE49-F238E27FC236}">
                  <a16:creationId xmlns:a16="http://schemas.microsoft.com/office/drawing/2014/main" id="{324E18D1-6B94-4650-90E2-157E1950682B}"/>
                </a:ext>
              </a:extLst>
            </p:cNvPr>
            <p:cNvSpPr/>
            <p:nvPr/>
          </p:nvSpPr>
          <p:spPr bwMode="auto">
            <a:xfrm>
              <a:off x="3084709" y="2268043"/>
              <a:ext cx="2211940" cy="346570"/>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defTabSz="951028" fontAlgn="base">
                <a:lnSpc>
                  <a:spcPct val="90000"/>
                </a:lnSpc>
                <a:spcBef>
                  <a:spcPct val="0"/>
                </a:spcBef>
                <a:spcAft>
                  <a:spcPct val="0"/>
                </a:spcAft>
                <a:defRPr/>
              </a:pPr>
              <a:r>
                <a:rPr lang="en-US" sz="1836">
                  <a:solidFill>
                    <a:srgbClr val="0078D4"/>
                  </a:solidFill>
                  <a:latin typeface="Segoe UI Semibold" panose="020B0702040204020203" pitchFamily="34" charset="0"/>
                  <a:cs typeface="Segoe UI Semibold" panose="020B0702040204020203" pitchFamily="34" charset="0"/>
                </a:rPr>
                <a:t>Which algorithm?</a:t>
              </a:r>
            </a:p>
          </p:txBody>
        </p:sp>
        <p:sp>
          <p:nvSpPr>
            <p:cNvPr id="102" name="Rectangle 101">
              <a:extLst>
                <a:ext uri="{FF2B5EF4-FFF2-40B4-BE49-F238E27FC236}">
                  <a16:creationId xmlns:a16="http://schemas.microsoft.com/office/drawing/2014/main" id="{A3A8272B-7B63-4A7D-A68B-04789BD8FA46}"/>
                </a:ext>
              </a:extLst>
            </p:cNvPr>
            <p:cNvSpPr/>
            <p:nvPr/>
          </p:nvSpPr>
          <p:spPr bwMode="auto">
            <a:xfrm>
              <a:off x="5577476" y="2268043"/>
              <a:ext cx="2410588" cy="346570"/>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defTabSz="951028" fontAlgn="base">
                <a:lnSpc>
                  <a:spcPct val="90000"/>
                </a:lnSpc>
                <a:spcBef>
                  <a:spcPct val="0"/>
                </a:spcBef>
                <a:spcAft>
                  <a:spcPct val="0"/>
                </a:spcAft>
                <a:defRPr/>
              </a:pPr>
              <a:r>
                <a:rPr lang="en-US" sz="1836">
                  <a:solidFill>
                    <a:srgbClr val="0078D4"/>
                  </a:solidFill>
                  <a:latin typeface="Segoe UI Semibold" panose="020B0702040204020203" pitchFamily="34" charset="0"/>
                  <a:ea typeface="Segoe UI" pitchFamily="34" charset="0"/>
                  <a:cs typeface="Segoe UI Semibold" panose="020B0702040204020203" pitchFamily="34" charset="0"/>
                </a:rPr>
                <a:t>Which parameters?</a:t>
              </a:r>
            </a:p>
          </p:txBody>
        </p:sp>
        <p:sp>
          <p:nvSpPr>
            <p:cNvPr id="103" name="Rectangle 102">
              <a:extLst>
                <a:ext uri="{FF2B5EF4-FFF2-40B4-BE49-F238E27FC236}">
                  <a16:creationId xmlns:a16="http://schemas.microsoft.com/office/drawing/2014/main" id="{10198808-CC0B-495A-81F7-CAE7F8DC4458}"/>
                </a:ext>
              </a:extLst>
            </p:cNvPr>
            <p:cNvSpPr/>
            <p:nvPr/>
          </p:nvSpPr>
          <p:spPr bwMode="auto">
            <a:xfrm>
              <a:off x="735582" y="2268043"/>
              <a:ext cx="2068299" cy="346570"/>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defTabSz="951028" fontAlgn="base">
                <a:lnSpc>
                  <a:spcPct val="90000"/>
                </a:lnSpc>
                <a:spcBef>
                  <a:spcPct val="0"/>
                </a:spcBef>
                <a:spcAft>
                  <a:spcPct val="0"/>
                </a:spcAft>
                <a:defRPr/>
              </a:pPr>
              <a:r>
                <a:rPr lang="en-US" sz="1836">
                  <a:solidFill>
                    <a:srgbClr val="0078D4"/>
                  </a:solidFill>
                  <a:latin typeface="Segoe UI Semibold" panose="020B0702040204020203" pitchFamily="34" charset="0"/>
                  <a:ea typeface="Segoe UI" pitchFamily="34" charset="0"/>
                  <a:cs typeface="Segoe UI Semibold" panose="020B0702040204020203" pitchFamily="34" charset="0"/>
                </a:rPr>
                <a:t>Which features?</a:t>
              </a:r>
            </a:p>
          </p:txBody>
        </p:sp>
      </p:grpSp>
      <p:sp>
        <p:nvSpPr>
          <p:cNvPr id="104" name="Rectangle 103">
            <a:extLst>
              <a:ext uri="{FF2B5EF4-FFF2-40B4-BE49-F238E27FC236}">
                <a16:creationId xmlns:a16="http://schemas.microsoft.com/office/drawing/2014/main" id="{D0CF168F-2132-4758-BFE1-832832D1F6AC}"/>
              </a:ext>
            </a:extLst>
          </p:cNvPr>
          <p:cNvSpPr/>
          <p:nvPr/>
        </p:nvSpPr>
        <p:spPr bwMode="auto">
          <a:xfrm>
            <a:off x="751107" y="3597319"/>
            <a:ext cx="1896591" cy="3051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55956" rIns="93260" bIns="55956" numCol="1" spcCol="0" rtlCol="0" fromWordArt="0" anchor="ctr" anchorCtr="0" forceAA="0" compatLnSpc="1">
            <a:prstTxWarp prst="textNoShape">
              <a:avLst/>
            </a:prstTxWarp>
            <a:spAutoFit/>
          </a:bodyPr>
          <a:lstStyle/>
          <a:p>
            <a:pPr defTabSz="951028" fontAlgn="base">
              <a:spcBef>
                <a:spcPct val="0"/>
              </a:spcBef>
              <a:spcAft>
                <a:spcPts val="612"/>
              </a:spcAft>
              <a:defRPr/>
            </a:pPr>
            <a:r>
              <a:rPr lang="en-US" sz="1224">
                <a:solidFill>
                  <a:prstClr val="white"/>
                </a:solidFill>
                <a:latin typeface="Segoe UI Semibold"/>
                <a:ea typeface="Segoe UI" pitchFamily="34" charset="0"/>
                <a:cs typeface="Segoe UI Semibold" panose="020B0702040204020203" pitchFamily="34" charset="0"/>
              </a:rPr>
              <a:t>Car brand</a:t>
            </a:r>
          </a:p>
        </p:txBody>
      </p:sp>
      <p:sp>
        <p:nvSpPr>
          <p:cNvPr id="105" name="Rectangle 104">
            <a:extLst>
              <a:ext uri="{FF2B5EF4-FFF2-40B4-BE49-F238E27FC236}">
                <a16:creationId xmlns:a16="http://schemas.microsoft.com/office/drawing/2014/main" id="{FD25B7A3-F9AD-4257-871B-494A13D668C1}"/>
              </a:ext>
            </a:extLst>
          </p:cNvPr>
          <p:cNvSpPr/>
          <p:nvPr/>
        </p:nvSpPr>
        <p:spPr bwMode="auto">
          <a:xfrm>
            <a:off x="751107" y="3954588"/>
            <a:ext cx="1896591" cy="3051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55956" rIns="93260" bIns="55956" numCol="1" spcCol="0" rtlCol="0" fromWordArt="0" anchor="ctr" anchorCtr="0" forceAA="0" compatLnSpc="1">
            <a:prstTxWarp prst="textNoShape">
              <a:avLst/>
            </a:prstTxWarp>
            <a:spAutoFit/>
          </a:bodyPr>
          <a:lstStyle/>
          <a:p>
            <a:pPr defTabSz="951028" fontAlgn="base">
              <a:spcBef>
                <a:spcPct val="0"/>
              </a:spcBef>
              <a:spcAft>
                <a:spcPts val="612"/>
              </a:spcAft>
              <a:defRPr/>
            </a:pPr>
            <a:r>
              <a:rPr lang="en-US" sz="1224">
                <a:solidFill>
                  <a:prstClr val="white"/>
                </a:solidFill>
                <a:latin typeface="Segoe UI Semibold"/>
                <a:ea typeface="Segoe UI" pitchFamily="34" charset="0"/>
                <a:cs typeface="Segoe UI Semibold" panose="020B0702040204020203" pitchFamily="34" charset="0"/>
              </a:rPr>
              <a:t>Year of make</a:t>
            </a:r>
          </a:p>
        </p:txBody>
      </p:sp>
      <p:grpSp>
        <p:nvGrpSpPr>
          <p:cNvPr id="70" name="Group 69">
            <a:extLst>
              <a:ext uri="{FF2B5EF4-FFF2-40B4-BE49-F238E27FC236}">
                <a16:creationId xmlns:a16="http://schemas.microsoft.com/office/drawing/2014/main" id="{14AA2959-6F4C-429A-A8AB-CE521F9CDFEF}"/>
              </a:ext>
            </a:extLst>
          </p:cNvPr>
          <p:cNvGrpSpPr/>
          <p:nvPr/>
        </p:nvGrpSpPr>
        <p:grpSpPr>
          <a:xfrm>
            <a:off x="7441166" y="4366601"/>
            <a:ext cx="1479492" cy="149928"/>
            <a:chOff x="8120217" y="3558128"/>
            <a:chExt cx="1940664" cy="147002"/>
          </a:xfrm>
        </p:grpSpPr>
        <p:cxnSp>
          <p:nvCxnSpPr>
            <p:cNvPr id="71" name="Straight Connector 70">
              <a:extLst>
                <a:ext uri="{FF2B5EF4-FFF2-40B4-BE49-F238E27FC236}">
                  <a16:creationId xmlns:a16="http://schemas.microsoft.com/office/drawing/2014/main" id="{E7EC2C52-1819-4767-80A1-A75A6DFB7A87}"/>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6190086-0E14-456D-A3EA-699EEEB26E5F}"/>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0DCDE0FC-AFB8-4AF2-968D-59AABFF9ADE3}"/>
                </a:ext>
              </a:extLst>
            </p:cNvPr>
            <p:cNvGrpSpPr/>
            <p:nvPr/>
          </p:nvGrpSpPr>
          <p:grpSpPr>
            <a:xfrm>
              <a:off x="8335846" y="3595364"/>
              <a:ext cx="1509402" cy="109766"/>
              <a:chOff x="8335846" y="3502450"/>
              <a:chExt cx="1509402" cy="202679"/>
            </a:xfrm>
          </p:grpSpPr>
          <p:cxnSp>
            <p:nvCxnSpPr>
              <p:cNvPr id="77" name="Straight Connector 76">
                <a:extLst>
                  <a:ext uri="{FF2B5EF4-FFF2-40B4-BE49-F238E27FC236}">
                    <a16:creationId xmlns:a16="http://schemas.microsoft.com/office/drawing/2014/main" id="{09E16FAD-08D0-4E8C-A18F-711C4CEECCC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F158C30-719E-4C2C-825D-490990D26729}"/>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ABE32757-C701-41B2-9C72-E2617C77806E}"/>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94D0AAB6-5B96-4A7F-B240-D048BDFF71DF}"/>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900AE66-D293-4436-84A1-E503410EDAC9}"/>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B70103E5-57E3-4E59-ACBC-F5BC090D6906}"/>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D410592-BE65-46FC-BB57-A316F21EA63C}"/>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53C2D859-5A03-4D3C-BFBF-A8976DC67BEA}"/>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85" name="Isosceles Triangle 84">
            <a:extLst>
              <a:ext uri="{FF2B5EF4-FFF2-40B4-BE49-F238E27FC236}">
                <a16:creationId xmlns:a16="http://schemas.microsoft.com/office/drawing/2014/main" id="{F6F4027C-0511-46B4-9511-0BB75D5B785C}"/>
              </a:ext>
            </a:extLst>
          </p:cNvPr>
          <p:cNvSpPr/>
          <p:nvPr/>
        </p:nvSpPr>
        <p:spPr bwMode="auto">
          <a:xfrm>
            <a:off x="7372606" y="4423266"/>
            <a:ext cx="139891" cy="9326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Title 2">
            <a:extLst>
              <a:ext uri="{FF2B5EF4-FFF2-40B4-BE49-F238E27FC236}">
                <a16:creationId xmlns:a16="http://schemas.microsoft.com/office/drawing/2014/main" id="{CD7D10A2-3D5A-4346-8060-689C370E3B82}"/>
              </a:ext>
            </a:extLst>
          </p:cNvPr>
          <p:cNvSpPr txBox="1">
            <a:spLocks/>
          </p:cNvSpPr>
          <p:nvPr/>
        </p:nvSpPr>
        <p:spPr>
          <a:xfrm>
            <a:off x="600855" y="466301"/>
            <a:ext cx="11237870" cy="1130053"/>
          </a:xfrm>
          <a:prstGeom prst="rect">
            <a:avLst/>
          </a:prstGeom>
        </p:spPr>
        <p:txBody>
          <a:bodyPr vert="horz" wrap="square" lIns="0" tIns="167869" rIns="0" bIns="0" rtlCol="0" anchor="t">
            <a:noAutofit/>
          </a:bodyPr>
          <a:lst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a:lstStyle>
          <a:p>
            <a:pPr algn="ctr" defTabSz="932563">
              <a:defRPr/>
            </a:pPr>
            <a:r>
              <a:rPr lang="zh-CN" altLang="en-US" sz="4488" spc="0" dirty="0">
                <a:ln>
                  <a:noFill/>
                </a:ln>
                <a:solidFill>
                  <a:srgbClr val="0070C0"/>
                </a:solidFill>
                <a:latin typeface="微软雅黑" panose="020B0503020204020204" pitchFamily="34" charset="-122"/>
                <a:ea typeface="微软雅黑" panose="020B0503020204020204" pitchFamily="34" charset="-122"/>
              </a:rPr>
              <a:t>洞察市场的模型创建耗时耗力</a:t>
            </a:r>
            <a:endParaRPr lang="en-US" sz="4488" spc="0" dirty="0">
              <a:ln>
                <a:noFill/>
              </a:ln>
              <a:solidFill>
                <a:srgbClr val="0070C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418527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0 4.44444E-6 L -0.14232 4.44444E-6 " pathEditMode="relative" rAng="0" ptsTypes="AA">
                                      <p:cBhvr>
                                        <p:cTn id="6" dur="1000" fill="hold"/>
                                        <p:tgtEl>
                                          <p:spTgt spid="100"/>
                                        </p:tgtEl>
                                        <p:attrNameLst>
                                          <p:attrName>ppt_x</p:attrName>
                                          <p:attrName>ppt_y</p:attrName>
                                        </p:attrNameLst>
                                      </p:cBhvr>
                                      <p:rCtr x="-7122" y="0"/>
                                    </p:animMotion>
                                  </p:childTnLst>
                                </p:cTn>
                              </p:par>
                            </p:childTnLst>
                          </p:cTn>
                        </p:par>
                        <p:par>
                          <p:cTn id="7" fill="hold">
                            <p:stCondLst>
                              <p:cond delay="1000"/>
                            </p:stCondLst>
                            <p:childTnLst>
                              <p:par>
                                <p:cTn id="8" presetID="22" presetClass="entr" presetSubtype="1" fill="hold" grpId="0" nodeType="after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up)">
                                      <p:cBhvr>
                                        <p:cTn id="10" dur="500"/>
                                        <p:tgtEl>
                                          <p:spTgt spid="6"/>
                                        </p:tgtEl>
                                      </p:cBhvr>
                                    </p:animEffect>
                                  </p:childTnLst>
                                </p:cTn>
                              </p:par>
                              <p:par>
                                <p:cTn id="11" presetID="22" presetClass="entr" presetSubtype="1" fill="hold" grpId="0" nodeType="withEffect">
                                  <p:stCondLst>
                                    <p:cond delay="250"/>
                                  </p:stCondLst>
                                  <p:childTnLst>
                                    <p:set>
                                      <p:cBhvr>
                                        <p:cTn id="12" dur="1" fill="hold">
                                          <p:stCondLst>
                                            <p:cond delay="0"/>
                                          </p:stCondLst>
                                        </p:cTn>
                                        <p:tgtEl>
                                          <p:spTgt spid="9"/>
                                        </p:tgtEl>
                                        <p:attrNameLst>
                                          <p:attrName>style.visibility</p:attrName>
                                        </p:attrNameLst>
                                      </p:cBhvr>
                                      <p:to>
                                        <p:strVal val="visible"/>
                                      </p:to>
                                    </p:set>
                                    <p:animEffect transition="in" filter="wipe(up)">
                                      <p:cBhvr>
                                        <p:cTn id="13" dur="500"/>
                                        <p:tgtEl>
                                          <p:spTgt spid="9"/>
                                        </p:tgtEl>
                                      </p:cBhvr>
                                    </p:animEffect>
                                  </p:childTnLst>
                                </p:cTn>
                              </p:par>
                              <p:par>
                                <p:cTn id="14" presetID="22" presetClass="entr" presetSubtype="1" fill="hold" grpId="0" nodeType="withEffect">
                                  <p:stCondLst>
                                    <p:cond delay="50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04"/>
                                        </p:tgtEl>
                                        <p:attrNameLst>
                                          <p:attrName>style.visibility</p:attrName>
                                        </p:attrNameLst>
                                      </p:cBhvr>
                                      <p:to>
                                        <p:strVal val="visible"/>
                                      </p:to>
                                    </p:set>
                                    <p:animEffect transition="in" filter="fade">
                                      <p:cBhvr>
                                        <p:cTn id="21" dur="500"/>
                                        <p:tgtEl>
                                          <p:spTgt spid="104"/>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childTnLst>
                          </p:cTn>
                        </p:par>
                        <p:par>
                          <p:cTn id="26" fill="hold">
                            <p:stCondLst>
                              <p:cond delay="1000"/>
                            </p:stCondLst>
                            <p:childTnLst>
                              <p:par>
                                <p:cTn id="27" presetID="10" presetClass="entr" presetSubtype="0" fill="hold" grpId="0" nodeType="afterEffect">
                                  <p:stCondLst>
                                    <p:cond delay="0"/>
                                  </p:stCondLst>
                                  <p:childTnLst>
                                    <p:set>
                                      <p:cBhvr>
                                        <p:cTn id="28" dur="1" fill="hold">
                                          <p:stCondLst>
                                            <p:cond delay="0"/>
                                          </p:stCondLst>
                                        </p:cTn>
                                        <p:tgtEl>
                                          <p:spTgt spid="105"/>
                                        </p:tgtEl>
                                        <p:attrNameLst>
                                          <p:attrName>style.visibility</p:attrName>
                                        </p:attrNameLst>
                                      </p:cBhvr>
                                      <p:to>
                                        <p:strVal val="visible"/>
                                      </p:to>
                                    </p:set>
                                    <p:animEffect transition="in" filter="fade">
                                      <p:cBhvr>
                                        <p:cTn id="29" dur="500"/>
                                        <p:tgtEl>
                                          <p:spTgt spid="105"/>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10" presetClass="exit" presetSubtype="0" fill="hold" grpId="1" nodeType="withEffect">
                                  <p:stCondLst>
                                    <p:cond delay="500"/>
                                  </p:stCondLst>
                                  <p:childTnLst>
                                    <p:animEffect transition="out" filter="fade">
                                      <p:cBhvr>
                                        <p:cTn id="39" dur="500"/>
                                        <p:tgtEl>
                                          <p:spTgt spid="7"/>
                                        </p:tgtEl>
                                      </p:cBhvr>
                                    </p:animEffect>
                                    <p:set>
                                      <p:cBhvr>
                                        <p:cTn id="40" dur="1" fill="hold">
                                          <p:stCondLst>
                                            <p:cond delay="499"/>
                                          </p:stCondLst>
                                        </p:cTn>
                                        <p:tgtEl>
                                          <p:spTgt spid="7"/>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nodeType="click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wipe(left)">
                                      <p:cBhvr>
                                        <p:cTn id="45" dur="500"/>
                                        <p:tgtEl>
                                          <p:spTgt spid="14"/>
                                        </p:tgtEl>
                                      </p:cBhvr>
                                    </p:animEffect>
                                  </p:childTnLst>
                                </p:cTn>
                              </p:par>
                              <p:par>
                                <p:cTn id="46" presetID="22" presetClass="entr" presetSubtype="8" fill="hold" nodeType="with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wipe(left)">
                                      <p:cBhvr>
                                        <p:cTn id="48" dur="500"/>
                                        <p:tgtEl>
                                          <p:spTgt spid="26"/>
                                        </p:tgtEl>
                                      </p:cBhvr>
                                    </p:animEffect>
                                  </p:childTnLst>
                                </p:cTn>
                              </p:par>
                              <p:par>
                                <p:cTn id="49" presetID="22" presetClass="entr" presetSubtype="8" fill="hold" nodeType="withEffect">
                                  <p:stCondLst>
                                    <p:cond delay="0"/>
                                  </p:stCondLst>
                                  <p:childTnLst>
                                    <p:set>
                                      <p:cBhvr>
                                        <p:cTn id="50" dur="1" fill="hold">
                                          <p:stCondLst>
                                            <p:cond delay="0"/>
                                          </p:stCondLst>
                                        </p:cTn>
                                        <p:tgtEl>
                                          <p:spTgt spid="40"/>
                                        </p:tgtEl>
                                        <p:attrNameLst>
                                          <p:attrName>style.visibility</p:attrName>
                                        </p:attrNameLst>
                                      </p:cBhvr>
                                      <p:to>
                                        <p:strVal val="visible"/>
                                      </p:to>
                                    </p:set>
                                    <p:animEffect transition="in" filter="wipe(left)">
                                      <p:cBhvr>
                                        <p:cTn id="51" dur="500"/>
                                        <p:tgtEl>
                                          <p:spTgt spid="40"/>
                                        </p:tgtEl>
                                      </p:cBhvr>
                                    </p:animEffect>
                                  </p:childTnLst>
                                </p:cTn>
                              </p:par>
                              <p:par>
                                <p:cTn id="52" presetID="22" presetClass="entr" presetSubtype="8" fill="hold" nodeType="withEffect">
                                  <p:stCondLst>
                                    <p:cond delay="0"/>
                                  </p:stCondLst>
                                  <p:childTnLst>
                                    <p:set>
                                      <p:cBhvr>
                                        <p:cTn id="53" dur="1" fill="hold">
                                          <p:stCondLst>
                                            <p:cond delay="0"/>
                                          </p:stCondLst>
                                        </p:cTn>
                                        <p:tgtEl>
                                          <p:spTgt spid="53"/>
                                        </p:tgtEl>
                                        <p:attrNameLst>
                                          <p:attrName>style.visibility</p:attrName>
                                        </p:attrNameLst>
                                      </p:cBhvr>
                                      <p:to>
                                        <p:strVal val="visible"/>
                                      </p:to>
                                    </p:set>
                                    <p:animEffect transition="in" filter="wipe(left)">
                                      <p:cBhvr>
                                        <p:cTn id="54" dur="500"/>
                                        <p:tgtEl>
                                          <p:spTgt spid="53"/>
                                        </p:tgtEl>
                                      </p:cBhvr>
                                    </p:animEffect>
                                  </p:childTnLst>
                                </p:cTn>
                              </p:par>
                              <p:par>
                                <p:cTn id="55" presetID="22" presetClass="entr" presetSubtype="8" fill="hold" nodeType="withEffect">
                                  <p:stCondLst>
                                    <p:cond delay="0"/>
                                  </p:stCondLst>
                                  <p:childTnLst>
                                    <p:set>
                                      <p:cBhvr>
                                        <p:cTn id="56" dur="1" fill="hold">
                                          <p:stCondLst>
                                            <p:cond delay="0"/>
                                          </p:stCondLst>
                                        </p:cTn>
                                        <p:tgtEl>
                                          <p:spTgt spid="70"/>
                                        </p:tgtEl>
                                        <p:attrNameLst>
                                          <p:attrName>style.visibility</p:attrName>
                                        </p:attrNameLst>
                                      </p:cBhvr>
                                      <p:to>
                                        <p:strVal val="visible"/>
                                      </p:to>
                                    </p:set>
                                    <p:animEffect transition="in" filter="wipe(left)">
                                      <p:cBhvr>
                                        <p:cTn id="57" dur="500"/>
                                        <p:tgtEl>
                                          <p:spTgt spid="70"/>
                                        </p:tgtEl>
                                      </p:cBhvr>
                                    </p:animEffect>
                                  </p:childTnLst>
                                </p:cTn>
                              </p:par>
                              <p:par>
                                <p:cTn id="58" presetID="10" presetClass="entr" presetSubtype="0" fill="hold" grpId="0" nodeType="withEffect">
                                  <p:stCondLst>
                                    <p:cond delay="250"/>
                                  </p:stCondLst>
                                  <p:childTnLst>
                                    <p:set>
                                      <p:cBhvr>
                                        <p:cTn id="59" dur="1" fill="hold">
                                          <p:stCondLst>
                                            <p:cond delay="0"/>
                                          </p:stCondLst>
                                        </p:cTn>
                                        <p:tgtEl>
                                          <p:spTgt spid="66"/>
                                        </p:tgtEl>
                                        <p:attrNameLst>
                                          <p:attrName>style.visibility</p:attrName>
                                        </p:attrNameLst>
                                      </p:cBhvr>
                                      <p:to>
                                        <p:strVal val="visible"/>
                                      </p:to>
                                    </p:set>
                                    <p:animEffect transition="in" filter="fade">
                                      <p:cBhvr>
                                        <p:cTn id="60" dur="250"/>
                                        <p:tgtEl>
                                          <p:spTgt spid="66"/>
                                        </p:tgtEl>
                                      </p:cBhvr>
                                    </p:animEffect>
                                  </p:childTnLst>
                                </p:cTn>
                              </p:par>
                              <p:par>
                                <p:cTn id="61" presetID="10" presetClass="entr" presetSubtype="0" fill="hold" grpId="0" nodeType="withEffect">
                                  <p:stCondLst>
                                    <p:cond delay="250"/>
                                  </p:stCondLst>
                                  <p:childTnLst>
                                    <p:set>
                                      <p:cBhvr>
                                        <p:cTn id="62" dur="1" fill="hold">
                                          <p:stCondLst>
                                            <p:cond delay="0"/>
                                          </p:stCondLst>
                                        </p:cTn>
                                        <p:tgtEl>
                                          <p:spTgt spid="67"/>
                                        </p:tgtEl>
                                        <p:attrNameLst>
                                          <p:attrName>style.visibility</p:attrName>
                                        </p:attrNameLst>
                                      </p:cBhvr>
                                      <p:to>
                                        <p:strVal val="visible"/>
                                      </p:to>
                                    </p:set>
                                    <p:animEffect transition="in" filter="fade">
                                      <p:cBhvr>
                                        <p:cTn id="63" dur="250"/>
                                        <p:tgtEl>
                                          <p:spTgt spid="67"/>
                                        </p:tgtEl>
                                      </p:cBhvr>
                                    </p:animEffect>
                                  </p:childTnLst>
                                </p:cTn>
                              </p:par>
                              <p:par>
                                <p:cTn id="64" presetID="10" presetClass="entr" presetSubtype="0" fill="hold" grpId="0" nodeType="withEffect">
                                  <p:stCondLst>
                                    <p:cond delay="250"/>
                                  </p:stCondLst>
                                  <p:childTnLst>
                                    <p:set>
                                      <p:cBhvr>
                                        <p:cTn id="65" dur="1" fill="hold">
                                          <p:stCondLst>
                                            <p:cond delay="0"/>
                                          </p:stCondLst>
                                        </p:cTn>
                                        <p:tgtEl>
                                          <p:spTgt spid="68"/>
                                        </p:tgtEl>
                                        <p:attrNameLst>
                                          <p:attrName>style.visibility</p:attrName>
                                        </p:attrNameLst>
                                      </p:cBhvr>
                                      <p:to>
                                        <p:strVal val="visible"/>
                                      </p:to>
                                    </p:set>
                                    <p:animEffect transition="in" filter="fade">
                                      <p:cBhvr>
                                        <p:cTn id="66" dur="250"/>
                                        <p:tgtEl>
                                          <p:spTgt spid="68"/>
                                        </p:tgtEl>
                                      </p:cBhvr>
                                    </p:animEffect>
                                  </p:childTnLst>
                                </p:cTn>
                              </p:par>
                              <p:par>
                                <p:cTn id="67" presetID="10" presetClass="entr" presetSubtype="0" fill="hold" grpId="0" nodeType="withEffect">
                                  <p:stCondLst>
                                    <p:cond delay="250"/>
                                  </p:stCondLst>
                                  <p:childTnLst>
                                    <p:set>
                                      <p:cBhvr>
                                        <p:cTn id="68" dur="1" fill="hold">
                                          <p:stCondLst>
                                            <p:cond delay="0"/>
                                          </p:stCondLst>
                                        </p:cTn>
                                        <p:tgtEl>
                                          <p:spTgt spid="69"/>
                                        </p:tgtEl>
                                        <p:attrNameLst>
                                          <p:attrName>style.visibility</p:attrName>
                                        </p:attrNameLst>
                                      </p:cBhvr>
                                      <p:to>
                                        <p:strVal val="visible"/>
                                      </p:to>
                                    </p:set>
                                    <p:animEffect transition="in" filter="fade">
                                      <p:cBhvr>
                                        <p:cTn id="69" dur="250"/>
                                        <p:tgtEl>
                                          <p:spTgt spid="69"/>
                                        </p:tgtEl>
                                      </p:cBhvr>
                                    </p:animEffect>
                                  </p:childTnLst>
                                </p:cTn>
                              </p:par>
                              <p:par>
                                <p:cTn id="70" presetID="10" presetClass="entr" presetSubtype="0" fill="hold" grpId="0" nodeType="withEffect">
                                  <p:stCondLst>
                                    <p:cond delay="250"/>
                                  </p:stCondLst>
                                  <p:childTnLst>
                                    <p:set>
                                      <p:cBhvr>
                                        <p:cTn id="71" dur="1" fill="hold">
                                          <p:stCondLst>
                                            <p:cond delay="0"/>
                                          </p:stCondLst>
                                        </p:cTn>
                                        <p:tgtEl>
                                          <p:spTgt spid="85"/>
                                        </p:tgtEl>
                                        <p:attrNameLst>
                                          <p:attrName>style.visibility</p:attrName>
                                        </p:attrNameLst>
                                      </p:cBhvr>
                                      <p:to>
                                        <p:strVal val="visible"/>
                                      </p:to>
                                    </p:set>
                                    <p:animEffect transition="in" filter="fade">
                                      <p:cBhvr>
                                        <p:cTn id="72" dur="250"/>
                                        <p:tgtEl>
                                          <p:spTgt spid="85"/>
                                        </p:tgtEl>
                                      </p:cBhvr>
                                    </p:animEffect>
                                  </p:childTnLst>
                                </p:cTn>
                              </p:par>
                            </p:childTnLst>
                          </p:cTn>
                        </p:par>
                        <p:par>
                          <p:cTn id="73" fill="hold">
                            <p:stCondLst>
                              <p:cond delay="500"/>
                            </p:stCondLst>
                            <p:childTnLst>
                              <p:par>
                                <p:cTn id="74" presetID="63" presetClass="path" presetSubtype="0" accel="24000" decel="50000" fill="hold" grpId="1" nodeType="afterEffect">
                                  <p:stCondLst>
                                    <p:cond delay="0"/>
                                  </p:stCondLst>
                                  <p:childTnLst>
                                    <p:animMotion origin="layout" path="M 2.5E-6 -4.07407E-6 L 0.09245 -4.07407E-6 " pathEditMode="relative" rAng="0" ptsTypes="AA">
                                      <p:cBhvr>
                                        <p:cTn id="75" dur="750" fill="hold"/>
                                        <p:tgtEl>
                                          <p:spTgt spid="66"/>
                                        </p:tgtEl>
                                        <p:attrNameLst>
                                          <p:attrName>ppt_x</p:attrName>
                                          <p:attrName>ppt_y</p:attrName>
                                        </p:attrNameLst>
                                      </p:cBhvr>
                                      <p:rCtr x="4622" y="0"/>
                                    </p:animMotion>
                                  </p:childTnLst>
                                </p:cTn>
                              </p:par>
                              <p:par>
                                <p:cTn id="76" presetID="63" presetClass="path" presetSubtype="0" accel="24000" decel="50000" fill="hold" grpId="1" nodeType="withEffect">
                                  <p:stCondLst>
                                    <p:cond delay="0"/>
                                  </p:stCondLst>
                                  <p:childTnLst>
                                    <p:animMotion origin="layout" path="M 2.5E-6 -7.40741E-7 L 0.03958 -7.40741E-7 " pathEditMode="relative" rAng="0" ptsTypes="AA">
                                      <p:cBhvr>
                                        <p:cTn id="77" dur="750" fill="hold"/>
                                        <p:tgtEl>
                                          <p:spTgt spid="67"/>
                                        </p:tgtEl>
                                        <p:attrNameLst>
                                          <p:attrName>ppt_x</p:attrName>
                                          <p:attrName>ppt_y</p:attrName>
                                        </p:attrNameLst>
                                      </p:cBhvr>
                                      <p:rCtr x="1979" y="0"/>
                                    </p:animMotion>
                                  </p:childTnLst>
                                </p:cTn>
                              </p:par>
                              <p:par>
                                <p:cTn id="78" presetID="63" presetClass="path" presetSubtype="0" accel="24000" decel="50000" fill="hold" grpId="1" nodeType="withEffect">
                                  <p:stCondLst>
                                    <p:cond delay="0"/>
                                  </p:stCondLst>
                                  <p:childTnLst>
                                    <p:animMotion origin="layout" path="M 2.5E-6 2.59259E-6 L 0.05286 2.59259E-6 " pathEditMode="relative" rAng="0" ptsTypes="AA">
                                      <p:cBhvr>
                                        <p:cTn id="79" dur="750" fill="hold"/>
                                        <p:tgtEl>
                                          <p:spTgt spid="68"/>
                                        </p:tgtEl>
                                        <p:attrNameLst>
                                          <p:attrName>ppt_x</p:attrName>
                                          <p:attrName>ppt_y</p:attrName>
                                        </p:attrNameLst>
                                      </p:cBhvr>
                                      <p:rCtr x="2643" y="0"/>
                                    </p:animMotion>
                                  </p:childTnLst>
                                </p:cTn>
                              </p:par>
                              <p:par>
                                <p:cTn id="80" presetID="63" presetClass="path" presetSubtype="0" accel="24000" decel="50000" fill="hold" grpId="1" nodeType="withEffect">
                                  <p:stCondLst>
                                    <p:cond delay="0"/>
                                  </p:stCondLst>
                                  <p:childTnLst>
                                    <p:animMotion origin="layout" path="M 2.5E-6 -4.07407E-6 L 0.02643 -4.07407E-6 " pathEditMode="relative" rAng="0" ptsTypes="AA">
                                      <p:cBhvr>
                                        <p:cTn id="81" dur="750" fill="hold"/>
                                        <p:tgtEl>
                                          <p:spTgt spid="69"/>
                                        </p:tgtEl>
                                        <p:attrNameLst>
                                          <p:attrName>ppt_x</p:attrName>
                                          <p:attrName>ppt_y</p:attrName>
                                        </p:attrNameLst>
                                      </p:cBhvr>
                                      <p:rCtr x="1315" y="0"/>
                                    </p:animMotion>
                                  </p:childTnLst>
                                </p:cTn>
                              </p:par>
                              <p:par>
                                <p:cTn id="82" presetID="63" presetClass="path" presetSubtype="0" accel="24000" decel="50000" fill="hold" grpId="1" nodeType="withEffect">
                                  <p:stCondLst>
                                    <p:cond delay="0"/>
                                  </p:stCondLst>
                                  <p:childTnLst>
                                    <p:animMotion origin="layout" path="M 2.5E-6 -3.7037E-7 L 0.07916 -3.7037E-7 " pathEditMode="relative" rAng="0" ptsTypes="AA">
                                      <p:cBhvr>
                                        <p:cTn id="83" dur="750" fill="hold"/>
                                        <p:tgtEl>
                                          <p:spTgt spid="85"/>
                                        </p:tgtEl>
                                        <p:attrNameLst>
                                          <p:attrName>ppt_x</p:attrName>
                                          <p:attrName>ppt_y</p:attrName>
                                        </p:attrNameLst>
                                      </p:cBhvr>
                                      <p:rCtr x="3958" y="0"/>
                                    </p:animMotion>
                                  </p:childTnLst>
                                </p:cTn>
                              </p:par>
                            </p:childTnLst>
                          </p:cTn>
                        </p:par>
                        <p:par>
                          <p:cTn id="84" fill="hold">
                            <p:stCondLst>
                              <p:cond delay="1250"/>
                            </p:stCondLst>
                            <p:childTnLst>
                              <p:par>
                                <p:cTn id="85" presetID="12" presetClass="entr" presetSubtype="8" fill="hold" grpId="0" nodeType="afterEffect">
                                  <p:stCondLst>
                                    <p:cond delay="0"/>
                                  </p:stCondLst>
                                  <p:childTnLst>
                                    <p:set>
                                      <p:cBhvr>
                                        <p:cTn id="86" dur="1" fill="hold">
                                          <p:stCondLst>
                                            <p:cond delay="0"/>
                                          </p:stCondLst>
                                        </p:cTn>
                                        <p:tgtEl>
                                          <p:spTgt spid="75"/>
                                        </p:tgtEl>
                                        <p:attrNameLst>
                                          <p:attrName>style.visibility</p:attrName>
                                        </p:attrNameLst>
                                      </p:cBhvr>
                                      <p:to>
                                        <p:strVal val="visible"/>
                                      </p:to>
                                    </p:set>
                                    <p:anim calcmode="lin" valueType="num">
                                      <p:cBhvr additive="base">
                                        <p:cTn id="87" dur="500"/>
                                        <p:tgtEl>
                                          <p:spTgt spid="75"/>
                                        </p:tgtEl>
                                        <p:attrNameLst>
                                          <p:attrName>ppt_x</p:attrName>
                                        </p:attrNameLst>
                                      </p:cBhvr>
                                      <p:tavLst>
                                        <p:tav tm="0">
                                          <p:val>
                                            <p:strVal val="#ppt_x-#ppt_w*1.125000"/>
                                          </p:val>
                                        </p:tav>
                                        <p:tav tm="100000">
                                          <p:val>
                                            <p:strVal val="#ppt_x"/>
                                          </p:val>
                                        </p:tav>
                                      </p:tavLst>
                                    </p:anim>
                                    <p:animEffect transition="in" filter="wipe(right)">
                                      <p:cBhvr>
                                        <p:cTn id="88" dur="500"/>
                                        <p:tgtEl>
                                          <p:spTgt spid="75"/>
                                        </p:tgtEl>
                                      </p:cBhvr>
                                    </p:animEffect>
                                  </p:childTnLst>
                                </p:cTn>
                              </p:par>
                            </p:childTnLst>
                          </p:cTn>
                        </p:par>
                        <p:par>
                          <p:cTn id="89" fill="hold">
                            <p:stCondLst>
                              <p:cond delay="1750"/>
                            </p:stCondLst>
                            <p:childTnLst>
                              <p:par>
                                <p:cTn id="90" presetID="22" presetClass="entr" presetSubtype="8" fill="hold" grpId="0" nodeType="afterEffect">
                                  <p:stCondLst>
                                    <p:cond delay="0"/>
                                  </p:stCondLst>
                                  <p:childTnLst>
                                    <p:set>
                                      <p:cBhvr>
                                        <p:cTn id="91" dur="1" fill="hold">
                                          <p:stCondLst>
                                            <p:cond delay="0"/>
                                          </p:stCondLst>
                                        </p:cTn>
                                        <p:tgtEl>
                                          <p:spTgt spid="73"/>
                                        </p:tgtEl>
                                        <p:attrNameLst>
                                          <p:attrName>style.visibility</p:attrName>
                                        </p:attrNameLst>
                                      </p:cBhvr>
                                      <p:to>
                                        <p:strVal val="visible"/>
                                      </p:to>
                                    </p:set>
                                    <p:animEffect transition="in" filter="wipe(left)">
                                      <p:cBhvr>
                                        <p:cTn id="92" dur="500"/>
                                        <p:tgtEl>
                                          <p:spTgt spid="73"/>
                                        </p:tgtEl>
                                      </p:cBhvr>
                                    </p:animEffect>
                                  </p:childTnLst>
                                </p:cTn>
                              </p:par>
                              <p:par>
                                <p:cTn id="93" presetID="22" presetClass="entr" presetSubtype="8" fill="hold" grpId="0" nodeType="withEffect">
                                  <p:stCondLst>
                                    <p:cond delay="0"/>
                                  </p:stCondLst>
                                  <p:childTnLst>
                                    <p:set>
                                      <p:cBhvr>
                                        <p:cTn id="94" dur="1" fill="hold">
                                          <p:stCondLst>
                                            <p:cond delay="0"/>
                                          </p:stCondLst>
                                        </p:cTn>
                                        <p:tgtEl>
                                          <p:spTgt spid="74"/>
                                        </p:tgtEl>
                                        <p:attrNameLst>
                                          <p:attrName>style.visibility</p:attrName>
                                        </p:attrNameLst>
                                      </p:cBhvr>
                                      <p:to>
                                        <p:strVal val="visible"/>
                                      </p:to>
                                    </p:set>
                                    <p:animEffect transition="in" filter="wipe(left)">
                                      <p:cBhvr>
                                        <p:cTn id="95"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7" grpId="1"/>
      <p:bldP spid="9" grpId="0"/>
      <p:bldP spid="11" grpId="0" animBg="1"/>
      <p:bldP spid="12" grpId="0" animBg="1"/>
      <p:bldP spid="13" grpId="0"/>
      <p:bldP spid="66" grpId="0" animBg="1"/>
      <p:bldP spid="66" grpId="1" animBg="1"/>
      <p:bldP spid="67" grpId="0" animBg="1"/>
      <p:bldP spid="67" grpId="1" animBg="1"/>
      <p:bldP spid="68" grpId="0" animBg="1"/>
      <p:bldP spid="68" grpId="1" animBg="1"/>
      <p:bldP spid="69" grpId="0" animBg="1"/>
      <p:bldP spid="69" grpId="1" animBg="1"/>
      <p:bldP spid="73" grpId="0" animBg="1"/>
      <p:bldP spid="74" grpId="0"/>
      <p:bldP spid="75" grpId="0" animBg="1"/>
      <p:bldP spid="104" grpId="0" animBg="1"/>
      <p:bldP spid="105" grpId="0" animBg="1"/>
      <p:bldP spid="85" grpId="0" animBg="1"/>
      <p:bldP spid="85" grpId="1"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24F1C5-AFA1-4EB9-B62D-87EF246C2E29}"/>
              </a:ext>
            </a:extLst>
          </p:cNvPr>
          <p:cNvSpPr/>
          <p:nvPr/>
        </p:nvSpPr>
        <p:spPr bwMode="auto">
          <a:xfrm>
            <a:off x="5689391" y="2835496"/>
            <a:ext cx="1702900" cy="18133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defTabSz="951028" fontAlgn="base">
              <a:lnSpc>
                <a:spcPct val="150000"/>
              </a:lnSpc>
              <a:spcBef>
                <a:spcPct val="0"/>
              </a:spcBef>
              <a:spcAft>
                <a:spcPts val="612"/>
              </a:spcAft>
              <a:defRPr/>
            </a:pPr>
            <a:r>
              <a:rPr lang="en-US" sz="1224">
                <a:solidFill>
                  <a:prstClr val="black">
                    <a:lumMod val="50000"/>
                    <a:lumOff val="50000"/>
                  </a:prstClr>
                </a:solidFill>
                <a:latin typeface="Segoe UI"/>
                <a:cs typeface="Segoe UI Semibold" panose="020B0702040204020203" pitchFamily="34" charset="0"/>
              </a:rPr>
              <a:t>Criterion</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cs typeface="Segoe UI Semibold" panose="020B0702040204020203" pitchFamily="34" charset="0"/>
              </a:rPr>
              <a:t>Loss</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cs typeface="Segoe UI Semibold" panose="020B0702040204020203" pitchFamily="34" charset="0"/>
              </a:rPr>
              <a:t>Min Samples Split</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cs typeface="Segoe UI Semibold" panose="020B0702040204020203" pitchFamily="34" charset="0"/>
              </a:rPr>
              <a:t>Min Samples Leaf</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cs typeface="Segoe UI Semibold" panose="020B0702040204020203" pitchFamily="34" charset="0"/>
              </a:rPr>
              <a:t>Others</a:t>
            </a:r>
          </a:p>
        </p:txBody>
      </p:sp>
      <p:sp>
        <p:nvSpPr>
          <p:cNvPr id="84" name="Rectangle 83">
            <a:extLst>
              <a:ext uri="{FF2B5EF4-FFF2-40B4-BE49-F238E27FC236}">
                <a16:creationId xmlns:a16="http://schemas.microsoft.com/office/drawing/2014/main" id="{92192048-1443-47D3-9B5E-3646ED6B16D2}"/>
              </a:ext>
            </a:extLst>
          </p:cNvPr>
          <p:cNvSpPr/>
          <p:nvPr/>
        </p:nvSpPr>
        <p:spPr bwMode="auto">
          <a:xfrm>
            <a:off x="5689391" y="2835496"/>
            <a:ext cx="1702900" cy="18133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defTabSz="951028" fontAlgn="base">
              <a:lnSpc>
                <a:spcPct val="150000"/>
              </a:lnSpc>
              <a:spcBef>
                <a:spcPct val="0"/>
              </a:spcBef>
              <a:spcAft>
                <a:spcPts val="612"/>
              </a:spcAft>
              <a:defRPr/>
            </a:pPr>
            <a:r>
              <a:rPr lang="en-US" sz="1224">
                <a:solidFill>
                  <a:prstClr val="black">
                    <a:lumMod val="50000"/>
                    <a:lumOff val="50000"/>
                  </a:prstClr>
                </a:solidFill>
                <a:latin typeface="Segoe UI"/>
                <a:cs typeface="Segoe UI Semibold" panose="020B0702040204020203" pitchFamily="34" charset="0"/>
              </a:rPr>
              <a:t>N </a:t>
            </a:r>
            <a:r>
              <a:rPr lang="en-US" sz="1224">
                <a:solidFill>
                  <a:prstClr val="black">
                    <a:lumMod val="50000"/>
                    <a:lumOff val="50000"/>
                  </a:prstClr>
                </a:solidFill>
                <a:latin typeface="Segoe UI"/>
                <a:ea typeface="Segoe UI" pitchFamily="34" charset="0"/>
                <a:cs typeface="Segoe UI Semibold" panose="020B0702040204020203" pitchFamily="34" charset="0"/>
              </a:rPr>
              <a:t>Neighbors</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Weights</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Metric</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P</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Others</a:t>
            </a:r>
          </a:p>
        </p:txBody>
      </p:sp>
      <p:sp>
        <p:nvSpPr>
          <p:cNvPr id="33" name="Rectangle 32">
            <a:extLst>
              <a:ext uri="{FF2B5EF4-FFF2-40B4-BE49-F238E27FC236}">
                <a16:creationId xmlns:a16="http://schemas.microsoft.com/office/drawing/2014/main" id="{E85050E8-530B-48B8-8D30-6B4189AAC40C}"/>
              </a:ext>
            </a:extLst>
          </p:cNvPr>
          <p:cNvSpPr/>
          <p:nvPr/>
        </p:nvSpPr>
        <p:spPr bwMode="auto">
          <a:xfrm>
            <a:off x="3146999" y="2313194"/>
            <a:ext cx="2255974" cy="353469"/>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defTabSz="951028" fontAlgn="base">
              <a:lnSpc>
                <a:spcPct val="90000"/>
              </a:lnSpc>
              <a:spcBef>
                <a:spcPct val="0"/>
              </a:spcBef>
              <a:spcAft>
                <a:spcPct val="0"/>
              </a:spcAft>
              <a:defRPr/>
            </a:pPr>
            <a:r>
              <a:rPr lang="en-US" sz="1836">
                <a:solidFill>
                  <a:srgbClr val="0078D4"/>
                </a:solidFill>
                <a:latin typeface="Segoe UI Semibold" panose="020B0702040204020203" pitchFamily="34" charset="0"/>
                <a:cs typeface="Segoe UI Semibold" panose="020B0702040204020203" pitchFamily="34" charset="0"/>
              </a:rPr>
              <a:t>Which algorithm?</a:t>
            </a:r>
          </a:p>
        </p:txBody>
      </p:sp>
      <p:sp>
        <p:nvSpPr>
          <p:cNvPr id="42" name="Rectangle 41">
            <a:extLst>
              <a:ext uri="{FF2B5EF4-FFF2-40B4-BE49-F238E27FC236}">
                <a16:creationId xmlns:a16="http://schemas.microsoft.com/office/drawing/2014/main" id="{8DFBE1EA-D672-4BA2-8AC5-8F9258F9AE8E}"/>
              </a:ext>
            </a:extLst>
          </p:cNvPr>
          <p:cNvSpPr/>
          <p:nvPr/>
        </p:nvSpPr>
        <p:spPr bwMode="auto">
          <a:xfrm>
            <a:off x="5689390" y="2313194"/>
            <a:ext cx="2458577" cy="353469"/>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defTabSz="951028" fontAlgn="base">
              <a:lnSpc>
                <a:spcPct val="90000"/>
              </a:lnSpc>
              <a:spcBef>
                <a:spcPct val="0"/>
              </a:spcBef>
              <a:spcAft>
                <a:spcPct val="0"/>
              </a:spcAft>
              <a:defRPr/>
            </a:pPr>
            <a:r>
              <a:rPr lang="en-US" sz="1836">
                <a:solidFill>
                  <a:srgbClr val="0078D4"/>
                </a:solidFill>
                <a:latin typeface="Segoe UI Semibold" panose="020B0702040204020203" pitchFamily="34" charset="0"/>
                <a:ea typeface="Segoe UI" pitchFamily="34" charset="0"/>
                <a:cs typeface="Segoe UI Semibold" panose="020B0702040204020203" pitchFamily="34" charset="0"/>
              </a:rPr>
              <a:t>Which parameters?</a:t>
            </a:r>
          </a:p>
        </p:txBody>
      </p:sp>
      <p:sp>
        <p:nvSpPr>
          <p:cNvPr id="29" name="Rectangle 28">
            <a:extLst>
              <a:ext uri="{FF2B5EF4-FFF2-40B4-BE49-F238E27FC236}">
                <a16:creationId xmlns:a16="http://schemas.microsoft.com/office/drawing/2014/main" id="{22EE7413-F083-4FA4-B233-0BE9A60054A1}"/>
              </a:ext>
            </a:extLst>
          </p:cNvPr>
          <p:cNvSpPr/>
          <p:nvPr/>
        </p:nvSpPr>
        <p:spPr bwMode="auto">
          <a:xfrm>
            <a:off x="751108" y="2313194"/>
            <a:ext cx="2109473" cy="353469"/>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defTabSz="951028" fontAlgn="base">
              <a:lnSpc>
                <a:spcPct val="90000"/>
              </a:lnSpc>
              <a:spcBef>
                <a:spcPct val="0"/>
              </a:spcBef>
              <a:spcAft>
                <a:spcPct val="0"/>
              </a:spcAft>
              <a:defRPr/>
            </a:pPr>
            <a:r>
              <a:rPr lang="en-US" sz="1836">
                <a:solidFill>
                  <a:srgbClr val="0078D4"/>
                </a:solidFill>
                <a:latin typeface="Segoe UI Semibold" panose="020B0702040204020203" pitchFamily="34" charset="0"/>
                <a:ea typeface="Segoe UI" pitchFamily="34" charset="0"/>
                <a:cs typeface="Segoe UI Semibold" panose="020B0702040204020203" pitchFamily="34" charset="0"/>
              </a:rPr>
              <a:t>Which features?</a:t>
            </a:r>
          </a:p>
        </p:txBody>
      </p:sp>
      <p:sp>
        <p:nvSpPr>
          <p:cNvPr id="6" name="Rectangle 5">
            <a:extLst>
              <a:ext uri="{FF2B5EF4-FFF2-40B4-BE49-F238E27FC236}">
                <a16:creationId xmlns:a16="http://schemas.microsoft.com/office/drawing/2014/main" id="{1168F540-B516-4595-99BE-669BAE43E877}"/>
              </a:ext>
            </a:extLst>
          </p:cNvPr>
          <p:cNvSpPr/>
          <p:nvPr/>
        </p:nvSpPr>
        <p:spPr bwMode="auto">
          <a:xfrm>
            <a:off x="751107" y="2835496"/>
            <a:ext cx="1811217" cy="21799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Mileage</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Condition</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Car brand</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Year of make</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Regulations</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a:t>
            </a:r>
          </a:p>
        </p:txBody>
      </p:sp>
      <p:sp>
        <p:nvSpPr>
          <p:cNvPr id="9" name="Rectangle 8">
            <a:extLst>
              <a:ext uri="{FF2B5EF4-FFF2-40B4-BE49-F238E27FC236}">
                <a16:creationId xmlns:a16="http://schemas.microsoft.com/office/drawing/2014/main" id="{8613D47F-F817-488D-A5C9-E311626DB096}"/>
              </a:ext>
            </a:extLst>
          </p:cNvPr>
          <p:cNvSpPr/>
          <p:nvPr/>
        </p:nvSpPr>
        <p:spPr bwMode="auto">
          <a:xfrm>
            <a:off x="3147001" y="2835496"/>
            <a:ext cx="2327011" cy="21799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Gradient Boosted  </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Nearest Neighbors </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SVM</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Bayesian Regression</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LGBM </a:t>
            </a:r>
          </a:p>
          <a:p>
            <a:pPr defTabSz="951028" fontAlgn="base">
              <a:lnSpc>
                <a:spcPct val="150000"/>
              </a:lnSpc>
              <a:spcBef>
                <a:spcPct val="0"/>
              </a:spcBef>
              <a:spcAft>
                <a:spcPts val="612"/>
              </a:spcAft>
              <a:defRPr/>
            </a:pPr>
            <a:r>
              <a:rPr lang="en-US" sz="1224">
                <a:solidFill>
                  <a:prstClr val="black">
                    <a:lumMod val="50000"/>
                    <a:lumOff val="50000"/>
                  </a:prstClr>
                </a:solidFill>
                <a:latin typeface="Segoe UI"/>
                <a:ea typeface="Segoe UI" pitchFamily="34" charset="0"/>
                <a:cs typeface="Segoe UI Semibold" panose="020B0702040204020203" pitchFamily="34" charset="0"/>
              </a:rPr>
              <a:t>…</a:t>
            </a:r>
          </a:p>
        </p:txBody>
      </p:sp>
      <p:sp>
        <p:nvSpPr>
          <p:cNvPr id="12" name="Rectangle 11">
            <a:extLst>
              <a:ext uri="{FF2B5EF4-FFF2-40B4-BE49-F238E27FC236}">
                <a16:creationId xmlns:a16="http://schemas.microsoft.com/office/drawing/2014/main" id="{839EEEBE-474C-4A48-8C83-5F1694ABB77B}"/>
              </a:ext>
            </a:extLst>
          </p:cNvPr>
          <p:cNvSpPr/>
          <p:nvPr/>
        </p:nvSpPr>
        <p:spPr bwMode="auto">
          <a:xfrm>
            <a:off x="3147001" y="3219335"/>
            <a:ext cx="2125705" cy="34506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ts val="612"/>
              </a:spcAft>
              <a:defRPr/>
            </a:pPr>
            <a:r>
              <a:rPr lang="en-US" sz="1224">
                <a:solidFill>
                  <a:prstClr val="white"/>
                </a:solidFill>
                <a:latin typeface="Segoe UI Semibold"/>
                <a:ea typeface="Segoe UI" pitchFamily="34" charset="0"/>
                <a:cs typeface="Segoe UI Semibold" panose="020B0702040204020203" pitchFamily="34" charset="0"/>
              </a:rPr>
              <a:t>Nearest Neighbors</a:t>
            </a:r>
          </a:p>
        </p:txBody>
      </p:sp>
      <p:grpSp>
        <p:nvGrpSpPr>
          <p:cNvPr id="14" name="Group 13">
            <a:extLst>
              <a:ext uri="{FF2B5EF4-FFF2-40B4-BE49-F238E27FC236}">
                <a16:creationId xmlns:a16="http://schemas.microsoft.com/office/drawing/2014/main" id="{EB7F8B3D-BA5D-451F-A1DB-80D9356B9AD0}"/>
              </a:ext>
            </a:extLst>
          </p:cNvPr>
          <p:cNvGrpSpPr/>
          <p:nvPr/>
        </p:nvGrpSpPr>
        <p:grpSpPr>
          <a:xfrm>
            <a:off x="7441166" y="2975708"/>
            <a:ext cx="1479492" cy="149929"/>
            <a:chOff x="8120217" y="3558128"/>
            <a:chExt cx="1940664" cy="147003"/>
          </a:xfrm>
        </p:grpSpPr>
        <p:cxnSp>
          <p:nvCxnSpPr>
            <p:cNvPr id="15" name="Straight Connector 14">
              <a:extLst>
                <a:ext uri="{FF2B5EF4-FFF2-40B4-BE49-F238E27FC236}">
                  <a16:creationId xmlns:a16="http://schemas.microsoft.com/office/drawing/2014/main" id="{36E66D7F-221D-4A0D-A9EC-9E8497E2AEA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F721B48-8884-4907-8896-F0A5619E29E6}"/>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570DBDBC-C4D7-4D6E-9975-A40CD248796E}"/>
                </a:ext>
              </a:extLst>
            </p:cNvPr>
            <p:cNvGrpSpPr/>
            <p:nvPr/>
          </p:nvGrpSpPr>
          <p:grpSpPr>
            <a:xfrm>
              <a:off x="8335846" y="3593256"/>
              <a:ext cx="1509402" cy="111875"/>
              <a:chOff x="8335846" y="3498555"/>
              <a:chExt cx="1509402" cy="206573"/>
            </a:xfrm>
          </p:grpSpPr>
          <p:cxnSp>
            <p:nvCxnSpPr>
              <p:cNvPr id="18" name="Straight Connector 17">
                <a:extLst>
                  <a:ext uri="{FF2B5EF4-FFF2-40B4-BE49-F238E27FC236}">
                    <a16:creationId xmlns:a16="http://schemas.microsoft.com/office/drawing/2014/main" id="{33F4E9F9-A7BB-417B-B7D8-44E513C1E35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4471F8A-A6FF-478F-B21C-16B27F79EA16}"/>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7BD7BAD-A456-4CDA-AAF2-5B28F66CF7AC}"/>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D93968D-4ED1-4D98-BC02-7CE789FA38B2}"/>
                  </a:ext>
                </a:extLst>
              </p:cNvPr>
              <p:cNvCxnSpPr>
                <a:cxnSpLocks/>
              </p:cNvCxnSpPr>
              <p:nvPr/>
            </p:nvCxnSpPr>
            <p:spPr>
              <a:xfrm flipV="1">
                <a:off x="8982733" y="3498555"/>
                <a:ext cx="0" cy="206573"/>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F79CF59-778A-4310-9EAA-73FC5193DBEB}"/>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35C58FA-21CF-4D4E-8F85-D218ABD5DBD4}"/>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307C462-2E34-4B78-AF4D-6D93FF61EB7D}"/>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82B236-4337-4E82-BF42-5F3BF652CD04}"/>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6" name="Group 25">
            <a:extLst>
              <a:ext uri="{FF2B5EF4-FFF2-40B4-BE49-F238E27FC236}">
                <a16:creationId xmlns:a16="http://schemas.microsoft.com/office/drawing/2014/main" id="{AE3E6691-849A-42CE-B310-226C974D8545}"/>
              </a:ext>
            </a:extLst>
          </p:cNvPr>
          <p:cNvGrpSpPr/>
          <p:nvPr/>
        </p:nvGrpSpPr>
        <p:grpSpPr>
          <a:xfrm>
            <a:off x="7441166" y="3322066"/>
            <a:ext cx="1479492" cy="149925"/>
            <a:chOff x="8120217" y="3558128"/>
            <a:chExt cx="1940664" cy="146999"/>
          </a:xfrm>
        </p:grpSpPr>
        <p:cxnSp>
          <p:nvCxnSpPr>
            <p:cNvPr id="27" name="Straight Connector 26">
              <a:extLst>
                <a:ext uri="{FF2B5EF4-FFF2-40B4-BE49-F238E27FC236}">
                  <a16:creationId xmlns:a16="http://schemas.microsoft.com/office/drawing/2014/main" id="{4A2AADB1-5ACB-4B06-8960-DA5B2CBA9577}"/>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971EAF7-2482-48BE-B9D1-ED930A7D5255}"/>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1B140EAB-319E-4A3D-BADD-1487F2A8610F}"/>
                </a:ext>
              </a:extLst>
            </p:cNvPr>
            <p:cNvGrpSpPr/>
            <p:nvPr/>
          </p:nvGrpSpPr>
          <p:grpSpPr>
            <a:xfrm>
              <a:off x="8335846" y="3592140"/>
              <a:ext cx="1509402" cy="112986"/>
              <a:chOff x="8335846" y="3496504"/>
              <a:chExt cx="1509402" cy="208625"/>
            </a:xfrm>
          </p:grpSpPr>
          <p:cxnSp>
            <p:nvCxnSpPr>
              <p:cNvPr id="31" name="Straight Connector 30">
                <a:extLst>
                  <a:ext uri="{FF2B5EF4-FFF2-40B4-BE49-F238E27FC236}">
                    <a16:creationId xmlns:a16="http://schemas.microsoft.com/office/drawing/2014/main" id="{E00BEBDB-ED9F-4CF4-86F8-6932A394656B}"/>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85136C-A8BF-418A-AC51-79F632211548}"/>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D7CE1A0-DB70-4794-98EC-7F2367C9D904}"/>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FE2E449-5E21-4074-AE06-FFA79787AFB8}"/>
                  </a:ext>
                </a:extLst>
              </p:cNvPr>
              <p:cNvCxnSpPr>
                <a:cxnSpLocks/>
              </p:cNvCxnSpPr>
              <p:nvPr/>
            </p:nvCxnSpPr>
            <p:spPr>
              <a:xfrm flipV="1">
                <a:off x="8982733" y="3496504"/>
                <a:ext cx="0" cy="208625"/>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7693B8E-21A1-4B6A-B15E-5563F05446D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8085440-B678-4A53-91EA-F68A0F5D3ABF}"/>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CADAF9-6666-4671-8DF5-6C4B0902B046}"/>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39F7B7-30CE-40EC-BD52-084CB961FCF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40" name="Group 39">
            <a:extLst>
              <a:ext uri="{FF2B5EF4-FFF2-40B4-BE49-F238E27FC236}">
                <a16:creationId xmlns:a16="http://schemas.microsoft.com/office/drawing/2014/main" id="{42862650-122D-478D-A643-4F78F1CFC9AD}"/>
              </a:ext>
            </a:extLst>
          </p:cNvPr>
          <p:cNvGrpSpPr/>
          <p:nvPr/>
        </p:nvGrpSpPr>
        <p:grpSpPr>
          <a:xfrm>
            <a:off x="7441166" y="3668420"/>
            <a:ext cx="1479492" cy="149926"/>
            <a:chOff x="8120217" y="3558128"/>
            <a:chExt cx="1940664" cy="147000"/>
          </a:xfrm>
        </p:grpSpPr>
        <p:cxnSp>
          <p:nvCxnSpPr>
            <p:cNvPr id="41" name="Straight Connector 40">
              <a:extLst>
                <a:ext uri="{FF2B5EF4-FFF2-40B4-BE49-F238E27FC236}">
                  <a16:creationId xmlns:a16="http://schemas.microsoft.com/office/drawing/2014/main" id="{9D607C2D-C5DF-442D-8A48-59D656A91493}"/>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DA20C60-AB0F-478B-8CA7-BFE6B3F9DBD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D0211F3B-8C0B-4A97-9EA8-D67A0CB21FF3}"/>
                </a:ext>
              </a:extLst>
            </p:cNvPr>
            <p:cNvGrpSpPr/>
            <p:nvPr/>
          </p:nvGrpSpPr>
          <p:grpSpPr>
            <a:xfrm>
              <a:off x="8335846" y="3593752"/>
              <a:ext cx="1509402" cy="111376"/>
              <a:chOff x="8335846" y="3499477"/>
              <a:chExt cx="1509402" cy="205652"/>
            </a:xfrm>
          </p:grpSpPr>
          <p:cxnSp>
            <p:nvCxnSpPr>
              <p:cNvPr id="45" name="Straight Connector 44">
                <a:extLst>
                  <a:ext uri="{FF2B5EF4-FFF2-40B4-BE49-F238E27FC236}">
                    <a16:creationId xmlns:a16="http://schemas.microsoft.com/office/drawing/2014/main" id="{7F1B9279-5D72-436B-AA70-8DE4EE1BA9C3}"/>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EFC06FA-2399-48C8-B905-D7338CDD3CDC}"/>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4B3B114-19EA-47E8-BE1A-AABBCF4D4F21}"/>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817593F-BEB3-4069-B7AD-0436D92788C8}"/>
                  </a:ext>
                </a:extLst>
              </p:cNvPr>
              <p:cNvCxnSpPr>
                <a:cxnSpLocks/>
              </p:cNvCxnSpPr>
              <p:nvPr/>
            </p:nvCxnSpPr>
            <p:spPr>
              <a:xfrm flipV="1">
                <a:off x="8982733" y="3499477"/>
                <a:ext cx="0" cy="205652"/>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A67F6FE-9B8F-4A1B-A058-5414093A731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9F0A976-453B-463F-91D6-0C611B815CBC}"/>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565DDC2-7B47-4B83-A0FB-2DC7C7C8BC1B}"/>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D3691DC-B356-4D59-99E2-0970AE2C758A}"/>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B4CEA875-FCA7-44FB-A4C6-37F4D145A96D}"/>
              </a:ext>
            </a:extLst>
          </p:cNvPr>
          <p:cNvGrpSpPr/>
          <p:nvPr/>
        </p:nvGrpSpPr>
        <p:grpSpPr>
          <a:xfrm>
            <a:off x="7441166" y="4014774"/>
            <a:ext cx="1479492" cy="149928"/>
            <a:chOff x="8120217" y="3558128"/>
            <a:chExt cx="1940664" cy="147002"/>
          </a:xfrm>
        </p:grpSpPr>
        <p:cxnSp>
          <p:nvCxnSpPr>
            <p:cNvPr id="54" name="Straight Connector 53">
              <a:extLst>
                <a:ext uri="{FF2B5EF4-FFF2-40B4-BE49-F238E27FC236}">
                  <a16:creationId xmlns:a16="http://schemas.microsoft.com/office/drawing/2014/main" id="{B967AD7B-F52F-4B1F-B557-CDADFF492C20}"/>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E85ECC0-806C-4FB5-AAC3-F83E14B7B51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1E82DF8A-9DA7-42CE-A9D7-D153E0037A75}"/>
                </a:ext>
              </a:extLst>
            </p:cNvPr>
            <p:cNvGrpSpPr/>
            <p:nvPr/>
          </p:nvGrpSpPr>
          <p:grpSpPr>
            <a:xfrm>
              <a:off x="8335846" y="3595364"/>
              <a:ext cx="1509402" cy="109766"/>
              <a:chOff x="8335846" y="3502450"/>
              <a:chExt cx="1509402" cy="202679"/>
            </a:xfrm>
          </p:grpSpPr>
          <p:cxnSp>
            <p:nvCxnSpPr>
              <p:cNvPr id="57" name="Straight Connector 56">
                <a:extLst>
                  <a:ext uri="{FF2B5EF4-FFF2-40B4-BE49-F238E27FC236}">
                    <a16:creationId xmlns:a16="http://schemas.microsoft.com/office/drawing/2014/main" id="{B49411CB-20CD-4961-BCEF-F473BF9DE50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03961EE-4D11-41B0-A80C-6F74F6E972D2}"/>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EB82067-4994-4ABF-9DFE-E6EDD20ACAD8}"/>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3EC73D7-0229-49D8-9310-B919F1C32BD2}"/>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EB320E5-A7E5-43E0-B8AA-F97D163948B3}"/>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048D1FB-D453-418E-825B-CD0FE7434ECD}"/>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29C819F-C82D-4546-96FF-9F6354F14FA0}"/>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438182D-82AE-4512-8139-D435A9D2FB23}"/>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66" name="Isosceles Triangle 65">
            <a:extLst>
              <a:ext uri="{FF2B5EF4-FFF2-40B4-BE49-F238E27FC236}">
                <a16:creationId xmlns:a16="http://schemas.microsoft.com/office/drawing/2014/main" id="{B0DD8EC6-0046-4274-B5A9-B81B57C48785}"/>
              </a:ext>
            </a:extLst>
          </p:cNvPr>
          <p:cNvSpPr/>
          <p:nvPr/>
        </p:nvSpPr>
        <p:spPr bwMode="auto">
          <a:xfrm>
            <a:off x="8521932" y="3032376"/>
            <a:ext cx="139891" cy="9326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Isosceles Triangle 66">
            <a:extLst>
              <a:ext uri="{FF2B5EF4-FFF2-40B4-BE49-F238E27FC236}">
                <a16:creationId xmlns:a16="http://schemas.microsoft.com/office/drawing/2014/main" id="{B25060C6-9AA8-42B4-9FAE-2F09F4C71448}"/>
              </a:ext>
            </a:extLst>
          </p:cNvPr>
          <p:cNvSpPr/>
          <p:nvPr/>
        </p:nvSpPr>
        <p:spPr bwMode="auto">
          <a:xfrm>
            <a:off x="7867336" y="3378732"/>
            <a:ext cx="139891" cy="9326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Isosceles Triangle 67">
            <a:extLst>
              <a:ext uri="{FF2B5EF4-FFF2-40B4-BE49-F238E27FC236}">
                <a16:creationId xmlns:a16="http://schemas.microsoft.com/office/drawing/2014/main" id="{3DD55A1A-0126-4F4B-8DAB-7170E3312892}"/>
              </a:ext>
            </a:extLst>
          </p:cNvPr>
          <p:cNvSpPr/>
          <p:nvPr/>
        </p:nvSpPr>
        <p:spPr bwMode="auto">
          <a:xfrm>
            <a:off x="8021220" y="3725087"/>
            <a:ext cx="139891" cy="9326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Isosceles Triangle 68">
            <a:extLst>
              <a:ext uri="{FF2B5EF4-FFF2-40B4-BE49-F238E27FC236}">
                <a16:creationId xmlns:a16="http://schemas.microsoft.com/office/drawing/2014/main" id="{D4F56831-466C-490B-994D-C4E766A67456}"/>
              </a:ext>
            </a:extLst>
          </p:cNvPr>
          <p:cNvSpPr/>
          <p:nvPr/>
        </p:nvSpPr>
        <p:spPr bwMode="auto">
          <a:xfrm>
            <a:off x="7693662" y="4071442"/>
            <a:ext cx="139891" cy="9326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8073F30B-1B75-468A-9E11-233BEF8B686E}"/>
              </a:ext>
            </a:extLst>
          </p:cNvPr>
          <p:cNvSpPr/>
          <p:nvPr/>
        </p:nvSpPr>
        <p:spPr bwMode="auto">
          <a:xfrm>
            <a:off x="9763117" y="3817971"/>
            <a:ext cx="666242" cy="4681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50%</a:t>
            </a:r>
          </a:p>
        </p:txBody>
      </p:sp>
      <p:sp>
        <p:nvSpPr>
          <p:cNvPr id="74" name="TextBox 73">
            <a:extLst>
              <a:ext uri="{FF2B5EF4-FFF2-40B4-BE49-F238E27FC236}">
                <a16:creationId xmlns:a16="http://schemas.microsoft.com/office/drawing/2014/main" id="{5819BF1A-393F-4DC0-AAFF-F23D33A65562}"/>
              </a:ext>
            </a:extLst>
          </p:cNvPr>
          <p:cNvSpPr txBox="1"/>
          <p:nvPr/>
        </p:nvSpPr>
        <p:spPr>
          <a:xfrm>
            <a:off x="9797704" y="4309379"/>
            <a:ext cx="597071" cy="249553"/>
          </a:xfrm>
          <a:prstGeom prst="rect">
            <a:avLst/>
          </a:prstGeom>
          <a:noFill/>
        </p:spPr>
        <p:txBody>
          <a:bodyPr wrap="none" lIns="93260" tIns="46630" rIns="93260" bIns="46630" rtlCol="0">
            <a:spAutoFit/>
          </a:bodyPr>
          <a:lstStyle/>
          <a:p>
            <a:pPr algn="ctr" defTabSz="932597">
              <a:lnSpc>
                <a:spcPct val="90000"/>
              </a:lnSpc>
              <a:spcAft>
                <a:spcPts val="612"/>
              </a:spcAft>
              <a:defRPr/>
            </a:pPr>
            <a:r>
              <a:rPr lang="en-US" sz="1071">
                <a:solidFill>
                  <a:srgbClr val="0078D4"/>
                </a:solidFill>
                <a:latin typeface="Segoe UI"/>
              </a:rPr>
              <a:t>Model</a:t>
            </a:r>
          </a:p>
        </p:txBody>
      </p:sp>
      <p:sp>
        <p:nvSpPr>
          <p:cNvPr id="75" name="Diamond 3">
            <a:extLst>
              <a:ext uri="{FF2B5EF4-FFF2-40B4-BE49-F238E27FC236}">
                <a16:creationId xmlns:a16="http://schemas.microsoft.com/office/drawing/2014/main" id="{59BED6B8-E637-4542-88C4-C688B7867D90}"/>
              </a:ext>
            </a:extLst>
          </p:cNvPr>
          <p:cNvSpPr/>
          <p:nvPr/>
        </p:nvSpPr>
        <p:spPr bwMode="auto">
          <a:xfrm>
            <a:off x="9162219" y="2822745"/>
            <a:ext cx="330367" cy="2458579"/>
          </a:xfrm>
          <a:custGeom>
            <a:avLst/>
            <a:gdLst>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0 w 594505"/>
              <a:gd name="connsiteY4" fmla="*/ 50945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91440 w 594505"/>
              <a:gd name="connsiteY4" fmla="*/ 60089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0" fmla="*/ 0 w 297252"/>
              <a:gd name="connsiteY0" fmla="*/ 0 h 1018903"/>
              <a:gd name="connsiteX1" fmla="*/ 297252 w 297252"/>
              <a:gd name="connsiteY1" fmla="*/ 509452 h 1018903"/>
              <a:gd name="connsiteX2" fmla="*/ 0 w 297252"/>
              <a:gd name="connsiteY2" fmla="*/ 1018903 h 1018903"/>
            </a:gdLst>
            <a:ahLst/>
            <a:cxnLst>
              <a:cxn ang="0">
                <a:pos x="connsiteX0" y="connsiteY0"/>
              </a:cxn>
              <a:cxn ang="0">
                <a:pos x="connsiteX1" y="connsiteY1"/>
              </a:cxn>
              <a:cxn ang="0">
                <a:pos x="connsiteX2" y="connsiteY2"/>
              </a:cxn>
            </a:cxnLst>
            <a:rect l="l" t="t" r="r" b="b"/>
            <a:pathLst>
              <a:path w="297252" h="1018903">
                <a:moveTo>
                  <a:pt x="0" y="0"/>
                </a:moveTo>
                <a:lnTo>
                  <a:pt x="297252" y="509452"/>
                </a:lnTo>
                <a:lnTo>
                  <a:pt x="0" y="1018903"/>
                </a:lnTo>
              </a:path>
            </a:pathLst>
          </a:custGeom>
          <a:ln w="12700">
            <a:solidFill>
              <a:schemeClr val="tx2"/>
            </a:solidFill>
            <a:headEnd type="none"/>
            <a:tailEnd type="none"/>
          </a:ln>
        </p:spPr>
        <p:style>
          <a:lnRef idx="1">
            <a:schemeClr val="accent4"/>
          </a:lnRef>
          <a:fillRef idx="0">
            <a:schemeClr val="accent4"/>
          </a:fillRef>
          <a:effectRef idx="0">
            <a:schemeClr val="accent4"/>
          </a:effectRef>
          <a:fontRef idx="minor">
            <a:schemeClr val="tx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7" name="Group 76">
            <a:extLst>
              <a:ext uri="{FF2B5EF4-FFF2-40B4-BE49-F238E27FC236}">
                <a16:creationId xmlns:a16="http://schemas.microsoft.com/office/drawing/2014/main" id="{77B495D5-2B30-4AA1-AA98-F45B619A2F83}"/>
              </a:ext>
            </a:extLst>
          </p:cNvPr>
          <p:cNvGrpSpPr/>
          <p:nvPr/>
        </p:nvGrpSpPr>
        <p:grpSpPr>
          <a:xfrm>
            <a:off x="600856" y="5793488"/>
            <a:ext cx="8833487" cy="680659"/>
            <a:chOff x="837632" y="5844616"/>
            <a:chExt cx="9792001" cy="667373"/>
          </a:xfrm>
        </p:grpSpPr>
        <p:cxnSp>
          <p:nvCxnSpPr>
            <p:cNvPr id="78" name="Connector: Elbow 77">
              <a:extLst>
                <a:ext uri="{FF2B5EF4-FFF2-40B4-BE49-F238E27FC236}">
                  <a16:creationId xmlns:a16="http://schemas.microsoft.com/office/drawing/2014/main" id="{CD9E5583-191B-46A7-89A0-4970E92444FC}"/>
                </a:ext>
              </a:extLst>
            </p:cNvPr>
            <p:cNvCxnSpPr>
              <a:cxnSpLocks/>
            </p:cNvCxnSpPr>
            <p:nvPr/>
          </p:nvCxnSpPr>
          <p:spPr>
            <a:xfrm rot="5400000">
              <a:off x="5727283" y="954965"/>
              <a:ext cx="12700" cy="9792001"/>
            </a:xfrm>
            <a:prstGeom prst="bentConnector3">
              <a:avLst>
                <a:gd name="adj1" fmla="val 2170835"/>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619FF23F-887C-46B1-9898-6C2E0700A7A2}"/>
                </a:ext>
              </a:extLst>
            </p:cNvPr>
            <p:cNvSpPr/>
            <p:nvPr/>
          </p:nvSpPr>
          <p:spPr bwMode="auto">
            <a:xfrm>
              <a:off x="5160653" y="6221910"/>
              <a:ext cx="1145960" cy="290079"/>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algn="ctr" defTabSz="951028" fontAlgn="base">
                <a:lnSpc>
                  <a:spcPct val="90000"/>
                </a:lnSpc>
                <a:spcBef>
                  <a:spcPct val="0"/>
                </a:spcBef>
                <a:spcAft>
                  <a:spcPct val="0"/>
                </a:spcAft>
                <a:defRPr/>
              </a:pPr>
              <a:r>
                <a:rPr lang="en-US" sz="1428">
                  <a:solidFill>
                    <a:srgbClr val="0078D4"/>
                  </a:solidFill>
                  <a:latin typeface="Segoe UI Semibold" panose="020B0702040204020203" pitchFamily="34" charset="0"/>
                  <a:ea typeface="Segoe UI" pitchFamily="34" charset="0"/>
                  <a:cs typeface="Segoe UI Semibold" panose="020B0702040204020203" pitchFamily="34" charset="0"/>
                </a:rPr>
                <a:t>Iterate</a:t>
              </a:r>
            </a:p>
          </p:txBody>
        </p:sp>
      </p:grpSp>
      <p:sp>
        <p:nvSpPr>
          <p:cNvPr id="80" name="Rectangle 79">
            <a:extLst>
              <a:ext uri="{FF2B5EF4-FFF2-40B4-BE49-F238E27FC236}">
                <a16:creationId xmlns:a16="http://schemas.microsoft.com/office/drawing/2014/main" id="{6C1DA2B4-1C0E-4041-B2C8-AE1DBE888000}"/>
              </a:ext>
            </a:extLst>
          </p:cNvPr>
          <p:cNvSpPr/>
          <p:nvPr/>
        </p:nvSpPr>
        <p:spPr bwMode="auto">
          <a:xfrm>
            <a:off x="9763117" y="3826557"/>
            <a:ext cx="666242" cy="4681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30%</a:t>
            </a:r>
          </a:p>
        </p:txBody>
      </p:sp>
      <p:sp>
        <p:nvSpPr>
          <p:cNvPr id="83" name="Rectangle 82">
            <a:extLst>
              <a:ext uri="{FF2B5EF4-FFF2-40B4-BE49-F238E27FC236}">
                <a16:creationId xmlns:a16="http://schemas.microsoft.com/office/drawing/2014/main" id="{766313DE-E1C9-40AE-938F-A49589B1BBD4}"/>
              </a:ext>
            </a:extLst>
          </p:cNvPr>
          <p:cNvSpPr/>
          <p:nvPr/>
        </p:nvSpPr>
        <p:spPr bwMode="auto">
          <a:xfrm>
            <a:off x="3147001" y="2861315"/>
            <a:ext cx="2125705" cy="34506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ts val="612"/>
              </a:spcAft>
              <a:defRPr/>
            </a:pPr>
            <a:r>
              <a:rPr lang="en-US" sz="1224">
                <a:solidFill>
                  <a:prstClr val="white"/>
                </a:solidFill>
                <a:latin typeface="Segoe UI Semibold"/>
                <a:ea typeface="Segoe UI" pitchFamily="34" charset="0"/>
                <a:cs typeface="Segoe UI Semibold" panose="020B0702040204020203" pitchFamily="34" charset="0"/>
              </a:rPr>
              <a:t>Gradient Boosted</a:t>
            </a:r>
          </a:p>
        </p:txBody>
      </p:sp>
      <p:grpSp>
        <p:nvGrpSpPr>
          <p:cNvPr id="97" name="Group 96">
            <a:extLst>
              <a:ext uri="{FF2B5EF4-FFF2-40B4-BE49-F238E27FC236}">
                <a16:creationId xmlns:a16="http://schemas.microsoft.com/office/drawing/2014/main" id="{A5076285-431D-44B4-824C-4F8DF6C6B7A4}"/>
              </a:ext>
            </a:extLst>
          </p:cNvPr>
          <p:cNvGrpSpPr/>
          <p:nvPr/>
        </p:nvGrpSpPr>
        <p:grpSpPr>
          <a:xfrm>
            <a:off x="751760" y="2885705"/>
            <a:ext cx="1896591" cy="1376226"/>
            <a:chOff x="887982" y="2979620"/>
            <a:chExt cx="1859572" cy="1349364"/>
          </a:xfrm>
          <a:solidFill>
            <a:schemeClr val="tx2"/>
          </a:solidFill>
        </p:grpSpPr>
        <p:sp>
          <p:nvSpPr>
            <p:cNvPr id="98" name="Rectangle 97">
              <a:extLst>
                <a:ext uri="{FF2B5EF4-FFF2-40B4-BE49-F238E27FC236}">
                  <a16:creationId xmlns:a16="http://schemas.microsoft.com/office/drawing/2014/main" id="{2DB19555-5C4A-423A-81BC-6D0081323C7C}"/>
                </a:ext>
              </a:extLst>
            </p:cNvPr>
            <p:cNvSpPr/>
            <p:nvPr/>
          </p:nvSpPr>
          <p:spPr bwMode="auto">
            <a:xfrm>
              <a:off x="887982" y="2979620"/>
              <a:ext cx="1859572" cy="29918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55956" rIns="93260" bIns="55956" numCol="1" spcCol="0" rtlCol="0" fromWordArt="0" anchor="ctr" anchorCtr="0" forceAA="0" compatLnSpc="1">
              <a:prstTxWarp prst="textNoShape">
                <a:avLst/>
              </a:prstTxWarp>
              <a:spAutoFit/>
            </a:bodyPr>
            <a:lstStyle/>
            <a:p>
              <a:pPr defTabSz="951028" fontAlgn="base">
                <a:spcBef>
                  <a:spcPct val="0"/>
                </a:spcBef>
                <a:spcAft>
                  <a:spcPts val="612"/>
                </a:spcAft>
                <a:defRPr/>
              </a:pPr>
              <a:r>
                <a:rPr lang="en-US" sz="1224">
                  <a:solidFill>
                    <a:prstClr val="white"/>
                  </a:solidFill>
                  <a:latin typeface="Segoe UI Semibold"/>
                  <a:ea typeface="Segoe UI" pitchFamily="34" charset="0"/>
                  <a:cs typeface="Segoe UI Semibold" panose="020B0702040204020203" pitchFamily="34" charset="0"/>
                </a:rPr>
                <a:t>Mileage</a:t>
              </a:r>
            </a:p>
          </p:txBody>
        </p:sp>
        <p:sp>
          <p:nvSpPr>
            <p:cNvPr id="99" name="Rectangle 98">
              <a:extLst>
                <a:ext uri="{FF2B5EF4-FFF2-40B4-BE49-F238E27FC236}">
                  <a16:creationId xmlns:a16="http://schemas.microsoft.com/office/drawing/2014/main" id="{71FE8245-9253-4C95-833E-F8CE7A73D919}"/>
                </a:ext>
              </a:extLst>
            </p:cNvPr>
            <p:cNvSpPr/>
            <p:nvPr/>
          </p:nvSpPr>
          <p:spPr bwMode="auto">
            <a:xfrm>
              <a:off x="887982" y="3679504"/>
              <a:ext cx="1859572" cy="29918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55956" rIns="93260" bIns="55956" numCol="1" spcCol="0" rtlCol="0" fromWordArt="0" anchor="ctr" anchorCtr="0" forceAA="0" compatLnSpc="1">
              <a:prstTxWarp prst="textNoShape">
                <a:avLst/>
              </a:prstTxWarp>
              <a:spAutoFit/>
            </a:bodyPr>
            <a:lstStyle/>
            <a:p>
              <a:pPr defTabSz="951028" fontAlgn="base">
                <a:spcBef>
                  <a:spcPct val="0"/>
                </a:spcBef>
                <a:spcAft>
                  <a:spcPts val="612"/>
                </a:spcAft>
                <a:defRPr/>
              </a:pPr>
              <a:r>
                <a:rPr lang="en-US" sz="1224">
                  <a:solidFill>
                    <a:prstClr val="white"/>
                  </a:solidFill>
                  <a:latin typeface="Segoe UI Semibold"/>
                  <a:ea typeface="Segoe UI" pitchFamily="34" charset="0"/>
                  <a:cs typeface="Segoe UI Semibold" panose="020B0702040204020203" pitchFamily="34" charset="0"/>
                </a:rPr>
                <a:t>Car brand</a:t>
              </a:r>
            </a:p>
          </p:txBody>
        </p:sp>
        <p:sp>
          <p:nvSpPr>
            <p:cNvPr id="103" name="Rectangle 102">
              <a:extLst>
                <a:ext uri="{FF2B5EF4-FFF2-40B4-BE49-F238E27FC236}">
                  <a16:creationId xmlns:a16="http://schemas.microsoft.com/office/drawing/2014/main" id="{A5C9A6E2-03E2-4179-B9E9-43BE2661A750}"/>
                </a:ext>
              </a:extLst>
            </p:cNvPr>
            <p:cNvSpPr/>
            <p:nvPr/>
          </p:nvSpPr>
          <p:spPr bwMode="auto">
            <a:xfrm>
              <a:off x="887982" y="4029800"/>
              <a:ext cx="1859572" cy="29918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55956" rIns="93260" bIns="55956" numCol="1" spcCol="0" rtlCol="0" fromWordArt="0" anchor="ctr" anchorCtr="0" forceAA="0" compatLnSpc="1">
              <a:prstTxWarp prst="textNoShape">
                <a:avLst/>
              </a:prstTxWarp>
              <a:spAutoFit/>
            </a:bodyPr>
            <a:lstStyle/>
            <a:p>
              <a:pPr defTabSz="951028" fontAlgn="base">
                <a:spcBef>
                  <a:spcPct val="0"/>
                </a:spcBef>
                <a:spcAft>
                  <a:spcPts val="612"/>
                </a:spcAft>
                <a:defRPr/>
              </a:pPr>
              <a:r>
                <a:rPr lang="en-US" sz="1224">
                  <a:solidFill>
                    <a:prstClr val="white"/>
                  </a:solidFill>
                  <a:latin typeface="Segoe UI Semibold"/>
                  <a:ea typeface="Segoe UI" pitchFamily="34" charset="0"/>
                  <a:cs typeface="Segoe UI Semibold" panose="020B0702040204020203" pitchFamily="34" charset="0"/>
                </a:rPr>
                <a:t>Year of make</a:t>
              </a:r>
            </a:p>
          </p:txBody>
        </p:sp>
      </p:grpSp>
      <p:sp>
        <p:nvSpPr>
          <p:cNvPr id="85" name="Title 2">
            <a:extLst>
              <a:ext uri="{FF2B5EF4-FFF2-40B4-BE49-F238E27FC236}">
                <a16:creationId xmlns:a16="http://schemas.microsoft.com/office/drawing/2014/main" id="{13F8367B-3F84-4C8E-A92F-13A42CD613E0}"/>
              </a:ext>
            </a:extLst>
          </p:cNvPr>
          <p:cNvSpPr txBox="1">
            <a:spLocks/>
          </p:cNvSpPr>
          <p:nvPr/>
        </p:nvSpPr>
        <p:spPr>
          <a:xfrm>
            <a:off x="600855" y="466301"/>
            <a:ext cx="11237870" cy="1130053"/>
          </a:xfrm>
          <a:prstGeom prst="rect">
            <a:avLst/>
          </a:prstGeom>
        </p:spPr>
        <p:txBody>
          <a:bodyPr vert="horz" wrap="square" lIns="0" tIns="167869" rIns="0" bIns="0" rtlCol="0" anchor="t">
            <a:noAutofit/>
          </a:bodyPr>
          <a:lst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a:lstStyle>
          <a:p>
            <a:pPr algn="ctr" defTabSz="932563">
              <a:defRPr/>
            </a:pPr>
            <a:r>
              <a:rPr lang="zh-CN" altLang="en-US" sz="4488" spc="0" dirty="0">
                <a:ln>
                  <a:noFill/>
                </a:ln>
                <a:solidFill>
                  <a:srgbClr val="0070C0"/>
                </a:solidFill>
                <a:latin typeface="微软雅黑" panose="020B0503020204020204" pitchFamily="34" charset="-122"/>
                <a:ea typeface="微软雅黑" panose="020B0503020204020204" pitchFamily="34" charset="-122"/>
              </a:rPr>
              <a:t>洞察市场的模型创建耗时耗力</a:t>
            </a:r>
            <a:endParaRPr lang="en-US" sz="4488" spc="0" dirty="0">
              <a:ln>
                <a:noFill/>
              </a:ln>
              <a:solidFill>
                <a:srgbClr val="0070C0"/>
              </a:solidFill>
              <a:latin typeface="微软雅黑" panose="020B0503020204020204" pitchFamily="34" charset="-122"/>
              <a:ea typeface="微软雅黑" panose="020B0503020204020204" pitchFamily="34" charset="-122"/>
            </a:endParaRPr>
          </a:p>
        </p:txBody>
      </p:sp>
      <p:grpSp>
        <p:nvGrpSpPr>
          <p:cNvPr id="82" name="Group 81">
            <a:extLst>
              <a:ext uri="{FF2B5EF4-FFF2-40B4-BE49-F238E27FC236}">
                <a16:creationId xmlns:a16="http://schemas.microsoft.com/office/drawing/2014/main" id="{112BEC75-D81D-4186-8772-659189043A0B}"/>
              </a:ext>
            </a:extLst>
          </p:cNvPr>
          <p:cNvGrpSpPr/>
          <p:nvPr/>
        </p:nvGrpSpPr>
        <p:grpSpPr>
          <a:xfrm>
            <a:off x="751760" y="3242614"/>
            <a:ext cx="1896591" cy="1019318"/>
            <a:chOff x="887982" y="3329562"/>
            <a:chExt cx="1859572" cy="999422"/>
          </a:xfrm>
          <a:solidFill>
            <a:schemeClr val="tx2"/>
          </a:solidFill>
        </p:grpSpPr>
        <p:sp>
          <p:nvSpPr>
            <p:cNvPr id="87" name="Rectangle 86">
              <a:extLst>
                <a:ext uri="{FF2B5EF4-FFF2-40B4-BE49-F238E27FC236}">
                  <a16:creationId xmlns:a16="http://schemas.microsoft.com/office/drawing/2014/main" id="{893B809B-6138-4491-82C4-842FA4297CF5}"/>
                </a:ext>
              </a:extLst>
            </p:cNvPr>
            <p:cNvSpPr/>
            <p:nvPr/>
          </p:nvSpPr>
          <p:spPr bwMode="auto">
            <a:xfrm>
              <a:off x="887982" y="3679504"/>
              <a:ext cx="1859572" cy="29918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55956" rIns="93260" bIns="55956" numCol="1" spcCol="0" rtlCol="0" fromWordArt="0" anchor="ctr" anchorCtr="0" forceAA="0" compatLnSpc="1">
              <a:prstTxWarp prst="textNoShape">
                <a:avLst/>
              </a:prstTxWarp>
              <a:spAutoFit/>
            </a:bodyPr>
            <a:lstStyle/>
            <a:p>
              <a:pPr defTabSz="951028" fontAlgn="base">
                <a:spcBef>
                  <a:spcPct val="0"/>
                </a:spcBef>
                <a:spcAft>
                  <a:spcPts val="612"/>
                </a:spcAft>
                <a:defRPr/>
              </a:pPr>
              <a:r>
                <a:rPr lang="en-US" sz="1224">
                  <a:solidFill>
                    <a:prstClr val="white"/>
                  </a:solidFill>
                  <a:latin typeface="Segoe UI Semibold"/>
                  <a:ea typeface="Segoe UI" pitchFamily="34" charset="0"/>
                  <a:cs typeface="Segoe UI Semibold" panose="020B0702040204020203" pitchFamily="34" charset="0"/>
                </a:rPr>
                <a:t>Car brand</a:t>
              </a:r>
            </a:p>
          </p:txBody>
        </p:sp>
        <p:sp>
          <p:nvSpPr>
            <p:cNvPr id="88" name="Rectangle 87">
              <a:extLst>
                <a:ext uri="{FF2B5EF4-FFF2-40B4-BE49-F238E27FC236}">
                  <a16:creationId xmlns:a16="http://schemas.microsoft.com/office/drawing/2014/main" id="{F10017AA-64D2-4E65-84D5-C84A8DD03586}"/>
                </a:ext>
              </a:extLst>
            </p:cNvPr>
            <p:cNvSpPr/>
            <p:nvPr/>
          </p:nvSpPr>
          <p:spPr bwMode="auto">
            <a:xfrm>
              <a:off x="887982" y="4029800"/>
              <a:ext cx="1859572" cy="29918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55956" rIns="93260" bIns="55956" numCol="1" spcCol="0" rtlCol="0" fromWordArt="0" anchor="ctr" anchorCtr="0" forceAA="0" compatLnSpc="1">
              <a:prstTxWarp prst="textNoShape">
                <a:avLst/>
              </a:prstTxWarp>
              <a:spAutoFit/>
            </a:bodyPr>
            <a:lstStyle/>
            <a:p>
              <a:pPr defTabSz="951028" fontAlgn="base">
                <a:spcBef>
                  <a:spcPct val="0"/>
                </a:spcBef>
                <a:spcAft>
                  <a:spcPts val="612"/>
                </a:spcAft>
                <a:defRPr/>
              </a:pPr>
              <a:r>
                <a:rPr lang="en-US" sz="1224">
                  <a:solidFill>
                    <a:prstClr val="white"/>
                  </a:solidFill>
                  <a:latin typeface="Segoe UI Semibold"/>
                  <a:ea typeface="Segoe UI" pitchFamily="34" charset="0"/>
                  <a:cs typeface="Segoe UI Semibold" panose="020B0702040204020203" pitchFamily="34" charset="0"/>
                </a:rPr>
                <a:t>Year of make</a:t>
              </a:r>
            </a:p>
          </p:txBody>
        </p:sp>
        <p:sp>
          <p:nvSpPr>
            <p:cNvPr id="89" name="Rectangle 88">
              <a:extLst>
                <a:ext uri="{FF2B5EF4-FFF2-40B4-BE49-F238E27FC236}">
                  <a16:creationId xmlns:a16="http://schemas.microsoft.com/office/drawing/2014/main" id="{EF5445C5-73C5-489C-9D10-B4969B450FE9}"/>
                </a:ext>
              </a:extLst>
            </p:cNvPr>
            <p:cNvSpPr/>
            <p:nvPr/>
          </p:nvSpPr>
          <p:spPr bwMode="auto">
            <a:xfrm>
              <a:off x="887982" y="3329562"/>
              <a:ext cx="1859572" cy="29918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55956" rIns="93260" bIns="55956" numCol="1" spcCol="0" rtlCol="0" fromWordArt="0" anchor="ctr" anchorCtr="0" forceAA="0" compatLnSpc="1">
              <a:prstTxWarp prst="textNoShape">
                <a:avLst/>
              </a:prstTxWarp>
              <a:spAutoFit/>
            </a:bodyPr>
            <a:lstStyle/>
            <a:p>
              <a:pPr defTabSz="951028" fontAlgn="base">
                <a:spcBef>
                  <a:spcPct val="0"/>
                </a:spcBef>
                <a:spcAft>
                  <a:spcPts val="612"/>
                </a:spcAft>
                <a:defRPr/>
              </a:pPr>
              <a:r>
                <a:rPr lang="en-US" sz="1224">
                  <a:solidFill>
                    <a:prstClr val="white"/>
                  </a:solidFill>
                  <a:latin typeface="Segoe UI Semibold"/>
                  <a:ea typeface="Segoe UI" pitchFamily="34" charset="0"/>
                  <a:cs typeface="Segoe UI Semibold" panose="020B0702040204020203" pitchFamily="34" charset="0"/>
                </a:rPr>
                <a:t>Condition</a:t>
              </a:r>
            </a:p>
          </p:txBody>
        </p:sp>
      </p:grpSp>
      <p:grpSp>
        <p:nvGrpSpPr>
          <p:cNvPr id="81" name="Group 80">
            <a:extLst>
              <a:ext uri="{FF2B5EF4-FFF2-40B4-BE49-F238E27FC236}">
                <a16:creationId xmlns:a16="http://schemas.microsoft.com/office/drawing/2014/main" id="{ACF85DC9-5BD9-4A30-A0F4-9AD7F813FBBF}"/>
              </a:ext>
            </a:extLst>
          </p:cNvPr>
          <p:cNvGrpSpPr/>
          <p:nvPr/>
        </p:nvGrpSpPr>
        <p:grpSpPr>
          <a:xfrm>
            <a:off x="7441166" y="4366601"/>
            <a:ext cx="1479492" cy="149928"/>
            <a:chOff x="8120217" y="3558128"/>
            <a:chExt cx="1940664" cy="147002"/>
          </a:xfrm>
        </p:grpSpPr>
        <p:cxnSp>
          <p:nvCxnSpPr>
            <p:cNvPr id="86" name="Straight Connector 85">
              <a:extLst>
                <a:ext uri="{FF2B5EF4-FFF2-40B4-BE49-F238E27FC236}">
                  <a16:creationId xmlns:a16="http://schemas.microsoft.com/office/drawing/2014/main" id="{FD831044-E06F-46BE-B791-C4588AA8B0FD}"/>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673CF05-855A-42F6-B8B4-6815B4183A86}"/>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70EB13C6-CB43-4DFB-ACBA-BA73ADB8BA5A}"/>
                </a:ext>
              </a:extLst>
            </p:cNvPr>
            <p:cNvGrpSpPr/>
            <p:nvPr/>
          </p:nvGrpSpPr>
          <p:grpSpPr>
            <a:xfrm>
              <a:off x="8335846" y="3595364"/>
              <a:ext cx="1509402" cy="109766"/>
              <a:chOff x="8335846" y="3502450"/>
              <a:chExt cx="1509402" cy="202679"/>
            </a:xfrm>
          </p:grpSpPr>
          <p:cxnSp>
            <p:nvCxnSpPr>
              <p:cNvPr id="92" name="Straight Connector 91">
                <a:extLst>
                  <a:ext uri="{FF2B5EF4-FFF2-40B4-BE49-F238E27FC236}">
                    <a16:creationId xmlns:a16="http://schemas.microsoft.com/office/drawing/2014/main" id="{36177D08-0A16-4664-BCEF-F8466BAA5189}"/>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B8327A26-4063-4476-A929-43C18A757171}"/>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135E53D-F0C8-4E22-A844-588BEFBD2306}"/>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87D8D64-1156-4C04-AC90-9AFA7DFFD56F}"/>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1925A22-FA2D-4017-A757-00855BF459B8}"/>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FF5EC524-7BB5-43E7-8A12-AB79994538B1}"/>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4FFD033-D313-436C-B4DD-4B40BA2517DF}"/>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B6C3F520-E24D-45F8-8BA0-3C8FC04BB182}"/>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104" name="Isosceles Triangle 103">
            <a:extLst>
              <a:ext uri="{FF2B5EF4-FFF2-40B4-BE49-F238E27FC236}">
                <a16:creationId xmlns:a16="http://schemas.microsoft.com/office/drawing/2014/main" id="{6445037D-370B-4B1F-84C2-A80D4B35AC29}"/>
              </a:ext>
            </a:extLst>
          </p:cNvPr>
          <p:cNvSpPr/>
          <p:nvPr/>
        </p:nvSpPr>
        <p:spPr bwMode="auto">
          <a:xfrm>
            <a:off x="8357545" y="4423266"/>
            <a:ext cx="139891" cy="9326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601942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wipe(right)">
                                      <p:cBhvr>
                                        <p:cTn id="7" dur="1000"/>
                                        <p:tgtEl>
                                          <p:spTgt spid="77"/>
                                        </p:tgtEl>
                                      </p:cBhvr>
                                    </p:animEffect>
                                  </p:childTnLst>
                                </p:cTn>
                              </p:par>
                              <p:par>
                                <p:cTn id="8" presetID="42" presetClass="path" presetSubtype="0" accel="50000" decel="50000" fill="hold" grpId="0" nodeType="withEffect">
                                  <p:stCondLst>
                                    <p:cond delay="0"/>
                                  </p:stCondLst>
                                  <p:childTnLst>
                                    <p:animMotion origin="layout" path="M 1.04167E-6 4.44444E-6 L 0.14284 -0.20348 " pathEditMode="relative" rAng="0" ptsTypes="AA">
                                      <p:cBhvr>
                                        <p:cTn id="9" dur="750" fill="hold"/>
                                        <p:tgtEl>
                                          <p:spTgt spid="80"/>
                                        </p:tgtEl>
                                        <p:attrNameLst>
                                          <p:attrName>ppt_x</p:attrName>
                                          <p:attrName>ppt_y</p:attrName>
                                        </p:attrNameLst>
                                      </p:cBhvr>
                                      <p:rCtr x="7135" y="-10185"/>
                                    </p:animMotion>
                                  </p:childTnLst>
                                </p:cTn>
                              </p:par>
                            </p:childTnLst>
                          </p:cTn>
                        </p:par>
                        <p:par>
                          <p:cTn id="10" fill="hold">
                            <p:stCondLst>
                              <p:cond delay="1000"/>
                            </p:stCondLst>
                            <p:childTnLst>
                              <p:par>
                                <p:cTn id="11" presetID="10" presetClass="entr" presetSubtype="0" fill="hold" nodeType="afterEffect">
                                  <p:stCondLst>
                                    <p:cond delay="250"/>
                                  </p:stCondLst>
                                  <p:childTnLst>
                                    <p:set>
                                      <p:cBhvr>
                                        <p:cTn id="12" dur="1" fill="hold">
                                          <p:stCondLst>
                                            <p:cond delay="0"/>
                                          </p:stCondLst>
                                        </p:cTn>
                                        <p:tgtEl>
                                          <p:spTgt spid="82"/>
                                        </p:tgtEl>
                                        <p:attrNameLst>
                                          <p:attrName>style.visibility</p:attrName>
                                        </p:attrNameLst>
                                      </p:cBhvr>
                                      <p:to>
                                        <p:strVal val="visible"/>
                                      </p:to>
                                    </p:set>
                                    <p:animEffect transition="in" filter="fade">
                                      <p:cBhvr>
                                        <p:cTn id="13" dur="500"/>
                                        <p:tgtEl>
                                          <p:spTgt spid="82"/>
                                        </p:tgtEl>
                                      </p:cBhvr>
                                    </p:animEffect>
                                  </p:childTnLst>
                                </p:cTn>
                              </p:par>
                            </p:childTnLst>
                          </p:cTn>
                        </p:par>
                        <p:par>
                          <p:cTn id="14" fill="hold">
                            <p:stCondLst>
                              <p:cond delay="1750"/>
                            </p:stCondLst>
                            <p:childTnLst>
                              <p:par>
                                <p:cTn id="15" presetID="22" presetClass="entr" presetSubtype="1" fill="hold" grpId="0"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wipe(up)">
                                      <p:cBhvr>
                                        <p:cTn id="17" dur="500"/>
                                        <p:tgtEl>
                                          <p:spTgt spid="12"/>
                                        </p:tgtEl>
                                      </p:cBhvr>
                                    </p:animEffect>
                                  </p:childTnLst>
                                </p:cTn>
                              </p:par>
                              <p:par>
                                <p:cTn id="18" presetID="22" presetClass="exit" presetSubtype="1" fill="hold" grpId="0" nodeType="withEffect">
                                  <p:stCondLst>
                                    <p:cond delay="0"/>
                                  </p:stCondLst>
                                  <p:childTnLst>
                                    <p:animEffect transition="out" filter="wipe(up)">
                                      <p:cBhvr>
                                        <p:cTn id="19" dur="500"/>
                                        <p:tgtEl>
                                          <p:spTgt spid="83"/>
                                        </p:tgtEl>
                                      </p:cBhvr>
                                    </p:animEffect>
                                    <p:set>
                                      <p:cBhvr>
                                        <p:cTn id="20" dur="1" fill="hold">
                                          <p:stCondLst>
                                            <p:cond delay="499"/>
                                          </p:stCondLst>
                                        </p:cTn>
                                        <p:tgtEl>
                                          <p:spTgt spid="83"/>
                                        </p:tgtEl>
                                        <p:attrNameLst>
                                          <p:attrName>style.visibility</p:attrName>
                                        </p:attrNameLst>
                                      </p:cBhvr>
                                      <p:to>
                                        <p:strVal val="hidden"/>
                                      </p:to>
                                    </p:set>
                                  </p:childTnLst>
                                </p:cTn>
                              </p:par>
                              <p:par>
                                <p:cTn id="21" presetID="10" presetClass="entr" presetSubtype="0" fill="hold" grpId="0" nodeType="withEffect">
                                  <p:stCondLst>
                                    <p:cond delay="0"/>
                                  </p:stCondLst>
                                  <p:childTnLst>
                                    <p:set>
                                      <p:cBhvr>
                                        <p:cTn id="22" dur="1" fill="hold">
                                          <p:stCondLst>
                                            <p:cond delay="0"/>
                                          </p:stCondLst>
                                        </p:cTn>
                                        <p:tgtEl>
                                          <p:spTgt spid="84"/>
                                        </p:tgtEl>
                                        <p:attrNameLst>
                                          <p:attrName>style.visibility</p:attrName>
                                        </p:attrNameLst>
                                      </p:cBhvr>
                                      <p:to>
                                        <p:strVal val="visible"/>
                                      </p:to>
                                    </p:set>
                                    <p:animEffect transition="in" filter="fade">
                                      <p:cBhvr>
                                        <p:cTn id="23" dur="500"/>
                                        <p:tgtEl>
                                          <p:spTgt spid="84"/>
                                        </p:tgtEl>
                                      </p:cBhvr>
                                    </p:animEffect>
                                  </p:childTnLst>
                                </p:cTn>
                              </p:par>
                              <p:par>
                                <p:cTn id="24" presetID="10" presetClass="exit" presetSubtype="0" fill="hold" grpId="0" nodeType="withEffect">
                                  <p:stCondLst>
                                    <p:cond delay="0"/>
                                  </p:stCondLst>
                                  <p:childTnLst>
                                    <p:animEffect transition="out" filter="fade">
                                      <p:cBhvr>
                                        <p:cTn id="25" dur="500"/>
                                        <p:tgtEl>
                                          <p:spTgt spid="13"/>
                                        </p:tgtEl>
                                      </p:cBhvr>
                                    </p:animEffect>
                                    <p:set>
                                      <p:cBhvr>
                                        <p:cTn id="26" dur="1" fill="hold">
                                          <p:stCondLst>
                                            <p:cond delay="499"/>
                                          </p:stCondLst>
                                        </p:cTn>
                                        <p:tgtEl>
                                          <p:spTgt spid="13"/>
                                        </p:tgtEl>
                                        <p:attrNameLst>
                                          <p:attrName>style.visibility</p:attrName>
                                        </p:attrNameLst>
                                      </p:cBhvr>
                                      <p:to>
                                        <p:strVal val="hidden"/>
                                      </p:to>
                                    </p:set>
                                  </p:childTnLst>
                                </p:cTn>
                              </p:par>
                            </p:childTnLst>
                          </p:cTn>
                        </p:par>
                        <p:par>
                          <p:cTn id="27" fill="hold">
                            <p:stCondLst>
                              <p:cond delay="2250"/>
                            </p:stCondLst>
                            <p:childTnLst>
                              <p:par>
                                <p:cTn id="28" presetID="63" presetClass="path" presetSubtype="0" accel="24000" decel="50000" fill="hold" grpId="0" nodeType="afterEffect">
                                  <p:stCondLst>
                                    <p:cond delay="0"/>
                                  </p:stCondLst>
                                  <p:childTnLst>
                                    <p:animMotion origin="layout" path="M 4.58333E-6 3.7037E-6 L -0.05287 3.7037E-6 " pathEditMode="relative" rAng="0" ptsTypes="AA">
                                      <p:cBhvr>
                                        <p:cTn id="29" dur="750" fill="hold"/>
                                        <p:tgtEl>
                                          <p:spTgt spid="66"/>
                                        </p:tgtEl>
                                        <p:attrNameLst>
                                          <p:attrName>ppt_x</p:attrName>
                                          <p:attrName>ppt_y</p:attrName>
                                        </p:attrNameLst>
                                      </p:cBhvr>
                                      <p:rCtr x="-2643" y="0"/>
                                    </p:animMotion>
                                  </p:childTnLst>
                                </p:cTn>
                              </p:par>
                              <p:par>
                                <p:cTn id="30" presetID="63" presetClass="path" presetSubtype="0" accel="24000" decel="50000" fill="hold" grpId="0" nodeType="withEffect">
                                  <p:stCondLst>
                                    <p:cond delay="0"/>
                                  </p:stCondLst>
                                  <p:childTnLst>
                                    <p:animMotion origin="layout" path="M -1.25E-6 -3.33333E-6 L 0.07904 -3.33333E-6 " pathEditMode="relative" rAng="0" ptsTypes="AA">
                                      <p:cBhvr>
                                        <p:cTn id="31" dur="750" fill="hold"/>
                                        <p:tgtEl>
                                          <p:spTgt spid="67"/>
                                        </p:tgtEl>
                                        <p:attrNameLst>
                                          <p:attrName>ppt_x</p:attrName>
                                          <p:attrName>ppt_y</p:attrName>
                                        </p:attrNameLst>
                                      </p:cBhvr>
                                      <p:rCtr x="3945" y="0"/>
                                    </p:animMotion>
                                  </p:childTnLst>
                                </p:cTn>
                              </p:par>
                              <p:par>
                                <p:cTn id="32" presetID="63" presetClass="path" presetSubtype="0" accel="50000" decel="50000" fill="hold" grpId="0" nodeType="withEffect">
                                  <p:stCondLst>
                                    <p:cond delay="0"/>
                                  </p:stCondLst>
                                  <p:childTnLst>
                                    <p:animMotion origin="layout" path="M -1.04167E-6 -3.7037E-7 L 0.0138 -3.7037E-7 " pathEditMode="relative" rAng="0" ptsTypes="AA">
                                      <p:cBhvr>
                                        <p:cTn id="33" dur="750" fill="hold"/>
                                        <p:tgtEl>
                                          <p:spTgt spid="68"/>
                                        </p:tgtEl>
                                        <p:attrNameLst>
                                          <p:attrName>ppt_x</p:attrName>
                                          <p:attrName>ppt_y</p:attrName>
                                        </p:attrNameLst>
                                      </p:cBhvr>
                                      <p:rCtr x="690" y="0"/>
                                    </p:animMotion>
                                  </p:childTnLst>
                                </p:cTn>
                              </p:par>
                              <p:par>
                                <p:cTn id="34" presetID="63" presetClass="path" presetSubtype="0" accel="24000" decel="50000" fill="hold" grpId="0" nodeType="withEffect">
                                  <p:stCondLst>
                                    <p:cond delay="0"/>
                                  </p:stCondLst>
                                  <p:childTnLst>
                                    <p:animMotion origin="layout" path="M 1.25E-6 2.59259E-6 L 0.06667 2.59259E-6 " pathEditMode="relative" rAng="0" ptsTypes="AA">
                                      <p:cBhvr>
                                        <p:cTn id="35" dur="750" fill="hold"/>
                                        <p:tgtEl>
                                          <p:spTgt spid="69"/>
                                        </p:tgtEl>
                                        <p:attrNameLst>
                                          <p:attrName>ppt_x</p:attrName>
                                          <p:attrName>ppt_y</p:attrName>
                                        </p:attrNameLst>
                                      </p:cBhvr>
                                      <p:rCtr x="3333" y="0"/>
                                    </p:animMotion>
                                  </p:childTnLst>
                                </p:cTn>
                              </p:par>
                              <p:par>
                                <p:cTn id="36" presetID="63" presetClass="path" presetSubtype="0" accel="24000" decel="50000" fill="hold" grpId="0" nodeType="withEffect">
                                  <p:stCondLst>
                                    <p:cond delay="0"/>
                                  </p:stCondLst>
                                  <p:childTnLst>
                                    <p:animMotion origin="layout" path="M -4.16667E-6 -3.7037E-7 L 0.02709 -3.7037E-7 " pathEditMode="relative" rAng="0" ptsTypes="AA">
                                      <p:cBhvr>
                                        <p:cTn id="37" dur="750" fill="hold"/>
                                        <p:tgtEl>
                                          <p:spTgt spid="104"/>
                                        </p:tgtEl>
                                        <p:attrNameLst>
                                          <p:attrName>ppt_x</p:attrName>
                                          <p:attrName>ppt_y</p:attrName>
                                        </p:attrNameLst>
                                      </p:cBhvr>
                                      <p:rCtr x="1354" y="0"/>
                                    </p:animMotion>
                                  </p:childTnLst>
                                </p:cTn>
                              </p:par>
                            </p:childTnLst>
                          </p:cTn>
                        </p:par>
                        <p:par>
                          <p:cTn id="38" fill="hold">
                            <p:stCondLst>
                              <p:cond delay="3000"/>
                            </p:stCondLst>
                            <p:childTnLst>
                              <p:par>
                                <p:cTn id="39" presetID="22" presetClass="entr" presetSubtype="8" fill="hold" grpId="0" nodeType="afterEffect">
                                  <p:stCondLst>
                                    <p:cond delay="0"/>
                                  </p:stCondLst>
                                  <p:childTnLst>
                                    <p:set>
                                      <p:cBhvr>
                                        <p:cTn id="40" dur="1" fill="hold">
                                          <p:stCondLst>
                                            <p:cond delay="0"/>
                                          </p:stCondLst>
                                        </p:cTn>
                                        <p:tgtEl>
                                          <p:spTgt spid="73"/>
                                        </p:tgtEl>
                                        <p:attrNameLst>
                                          <p:attrName>style.visibility</p:attrName>
                                        </p:attrNameLst>
                                      </p:cBhvr>
                                      <p:to>
                                        <p:strVal val="visible"/>
                                      </p:to>
                                    </p:set>
                                    <p:animEffect transition="in" filter="wipe(left)">
                                      <p:cBhvr>
                                        <p:cTn id="41" dur="500"/>
                                        <p:tgtEl>
                                          <p:spTgt spid="73"/>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74"/>
                                        </p:tgtEl>
                                        <p:attrNameLst>
                                          <p:attrName>style.visibility</p:attrName>
                                        </p:attrNameLst>
                                      </p:cBhvr>
                                      <p:to>
                                        <p:strVal val="visible"/>
                                      </p:to>
                                    </p:set>
                                    <p:animEffect transition="in" filter="wipe(left)">
                                      <p:cBhvr>
                                        <p:cTn id="44"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84" grpId="0"/>
      <p:bldP spid="12" grpId="0" animBg="1"/>
      <p:bldP spid="66" grpId="0" animBg="1"/>
      <p:bldP spid="67" grpId="0" animBg="1"/>
      <p:bldP spid="68" grpId="0" animBg="1"/>
      <p:bldP spid="69" grpId="0" animBg="1"/>
      <p:bldP spid="73" grpId="0" animBg="1"/>
      <p:bldP spid="74" grpId="0"/>
      <p:bldP spid="80" grpId="0" animBg="1"/>
      <p:bldP spid="83" grpId="0" animBg="1"/>
      <p:bldP spid="104"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D8AE1ED-2270-4A61-B841-2FB66EFCD65D}"/>
              </a:ext>
            </a:extLst>
          </p:cNvPr>
          <p:cNvGrpSpPr/>
          <p:nvPr/>
        </p:nvGrpSpPr>
        <p:grpSpPr>
          <a:xfrm>
            <a:off x="6002471" y="3105145"/>
            <a:ext cx="1479492" cy="1535350"/>
            <a:chOff x="5884446" y="3044537"/>
            <a:chExt cx="1450614" cy="1505382"/>
          </a:xfrm>
        </p:grpSpPr>
        <p:grpSp>
          <p:nvGrpSpPr>
            <p:cNvPr id="37" name="Group 36">
              <a:extLst>
                <a:ext uri="{FF2B5EF4-FFF2-40B4-BE49-F238E27FC236}">
                  <a16:creationId xmlns:a16="http://schemas.microsoft.com/office/drawing/2014/main" id="{A995BB77-5A05-41A6-9266-9ADBB2F88266}"/>
                </a:ext>
              </a:extLst>
            </p:cNvPr>
            <p:cNvGrpSpPr/>
            <p:nvPr/>
          </p:nvGrpSpPr>
          <p:grpSpPr>
            <a:xfrm>
              <a:off x="5884446" y="3044537"/>
              <a:ext cx="1450614" cy="147003"/>
              <a:chOff x="8120217" y="3558128"/>
              <a:chExt cx="1940664" cy="147003"/>
            </a:xfrm>
          </p:grpSpPr>
          <p:cxnSp>
            <p:nvCxnSpPr>
              <p:cNvPr id="38" name="Straight Connector 37">
                <a:extLst>
                  <a:ext uri="{FF2B5EF4-FFF2-40B4-BE49-F238E27FC236}">
                    <a16:creationId xmlns:a16="http://schemas.microsoft.com/office/drawing/2014/main" id="{A2C03983-943E-4E59-8383-78832CD2E20F}"/>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CFA1416-A1B0-46EB-AA53-BA421B3A6A62}"/>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63FEEBB4-CF81-4A62-A145-6BB88C917CEF}"/>
                  </a:ext>
                </a:extLst>
              </p:cNvPr>
              <p:cNvGrpSpPr/>
              <p:nvPr/>
            </p:nvGrpSpPr>
            <p:grpSpPr>
              <a:xfrm>
                <a:off x="8335846" y="3593256"/>
                <a:ext cx="1509402" cy="111875"/>
                <a:chOff x="8335846" y="3498555"/>
                <a:chExt cx="1509402" cy="206573"/>
              </a:xfrm>
            </p:grpSpPr>
            <p:cxnSp>
              <p:nvCxnSpPr>
                <p:cNvPr id="41" name="Straight Connector 40">
                  <a:extLst>
                    <a:ext uri="{FF2B5EF4-FFF2-40B4-BE49-F238E27FC236}">
                      <a16:creationId xmlns:a16="http://schemas.microsoft.com/office/drawing/2014/main" id="{ABE1743D-D1F2-43E7-B341-1A20A333C275}"/>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C39D94C-F515-4933-9AF5-4B2CFA4290EE}"/>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EC3DB11-A16E-4FA3-81C1-F37D64614F79}"/>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901AC9C-3A65-48E6-8B46-C286C1AB0A94}"/>
                    </a:ext>
                  </a:extLst>
                </p:cNvPr>
                <p:cNvCxnSpPr>
                  <a:cxnSpLocks/>
                </p:cNvCxnSpPr>
                <p:nvPr/>
              </p:nvCxnSpPr>
              <p:spPr>
                <a:xfrm flipV="1">
                  <a:off x="8982733" y="3498555"/>
                  <a:ext cx="0" cy="206573"/>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F4013FE-06AA-432A-B791-C38C54872705}"/>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40B3E34-315A-43D8-AA4B-023448EFED54}"/>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BC5764D-496A-4C25-8E2B-2168EE748EB2}"/>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3933A55-06DD-421E-8217-539D482A68B2}"/>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50" name="Group 49">
              <a:extLst>
                <a:ext uri="{FF2B5EF4-FFF2-40B4-BE49-F238E27FC236}">
                  <a16:creationId xmlns:a16="http://schemas.microsoft.com/office/drawing/2014/main" id="{FBC36DC7-6421-41AA-90FB-4B930E7F7699}"/>
                </a:ext>
              </a:extLst>
            </p:cNvPr>
            <p:cNvGrpSpPr/>
            <p:nvPr/>
          </p:nvGrpSpPr>
          <p:grpSpPr>
            <a:xfrm>
              <a:off x="5884446" y="3384135"/>
              <a:ext cx="1450614" cy="146999"/>
              <a:chOff x="8120217" y="3558128"/>
              <a:chExt cx="1940664" cy="146999"/>
            </a:xfrm>
          </p:grpSpPr>
          <p:cxnSp>
            <p:nvCxnSpPr>
              <p:cNvPr id="51" name="Straight Connector 50">
                <a:extLst>
                  <a:ext uri="{FF2B5EF4-FFF2-40B4-BE49-F238E27FC236}">
                    <a16:creationId xmlns:a16="http://schemas.microsoft.com/office/drawing/2014/main" id="{FF018632-D3DD-4FB4-B439-BA2DE4ECF3EB}"/>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DA117C8-247D-4054-83E9-865713E71A63}"/>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2349FF8E-577E-498D-AB2F-B28E2E1BD54A}"/>
                  </a:ext>
                </a:extLst>
              </p:cNvPr>
              <p:cNvGrpSpPr/>
              <p:nvPr/>
            </p:nvGrpSpPr>
            <p:grpSpPr>
              <a:xfrm>
                <a:off x="8335846" y="3592140"/>
                <a:ext cx="1509402" cy="112986"/>
                <a:chOff x="8335846" y="3496504"/>
                <a:chExt cx="1509402" cy="208625"/>
              </a:xfrm>
            </p:grpSpPr>
            <p:cxnSp>
              <p:nvCxnSpPr>
                <p:cNvPr id="54" name="Straight Connector 53">
                  <a:extLst>
                    <a:ext uri="{FF2B5EF4-FFF2-40B4-BE49-F238E27FC236}">
                      <a16:creationId xmlns:a16="http://schemas.microsoft.com/office/drawing/2014/main" id="{2EC5FF38-6339-4622-9F80-B1FD5D7DAF8A}"/>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F03DFD5-DB55-4A40-9412-5171EF8D1835}"/>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4710521-9101-48D4-90EE-618C4FDE2EF6}"/>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CBB89D8-D9DB-4D62-8272-8D713528E36F}"/>
                    </a:ext>
                  </a:extLst>
                </p:cNvPr>
                <p:cNvCxnSpPr>
                  <a:cxnSpLocks/>
                </p:cNvCxnSpPr>
                <p:nvPr/>
              </p:nvCxnSpPr>
              <p:spPr>
                <a:xfrm flipV="1">
                  <a:off x="8982733" y="3496504"/>
                  <a:ext cx="0" cy="208625"/>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B6CD139-D39D-4878-9E28-BE0C2BD8C6E2}"/>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4A0DD67-A763-48FD-A81D-8F04147AB311}"/>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2CEBA28-FAC1-4C37-B381-EAB4830EBCE2}"/>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1FEE2D7-34CB-46DC-B3D8-70A182BA7CB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62" name="Group 61">
              <a:extLst>
                <a:ext uri="{FF2B5EF4-FFF2-40B4-BE49-F238E27FC236}">
                  <a16:creationId xmlns:a16="http://schemas.microsoft.com/office/drawing/2014/main" id="{269E9AA7-0CA8-482A-999E-DCB9FD2B890B}"/>
                </a:ext>
              </a:extLst>
            </p:cNvPr>
            <p:cNvGrpSpPr/>
            <p:nvPr/>
          </p:nvGrpSpPr>
          <p:grpSpPr>
            <a:xfrm>
              <a:off x="5884446" y="3723729"/>
              <a:ext cx="1450614" cy="147000"/>
              <a:chOff x="8120217" y="3558128"/>
              <a:chExt cx="1940664" cy="147000"/>
            </a:xfrm>
          </p:grpSpPr>
          <p:cxnSp>
            <p:nvCxnSpPr>
              <p:cNvPr id="63" name="Straight Connector 62">
                <a:extLst>
                  <a:ext uri="{FF2B5EF4-FFF2-40B4-BE49-F238E27FC236}">
                    <a16:creationId xmlns:a16="http://schemas.microsoft.com/office/drawing/2014/main" id="{91AFD085-E71F-4890-99A1-521333659CB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EB1AE87-2B7B-44E9-BF9F-8CCF029CD1DD}"/>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4C0965D2-43FB-4D0F-81E7-FA62C2F0C0D3}"/>
                  </a:ext>
                </a:extLst>
              </p:cNvPr>
              <p:cNvGrpSpPr/>
              <p:nvPr/>
            </p:nvGrpSpPr>
            <p:grpSpPr>
              <a:xfrm>
                <a:off x="8335846" y="3593752"/>
                <a:ext cx="1509402" cy="111376"/>
                <a:chOff x="8335846" y="3499477"/>
                <a:chExt cx="1509402" cy="205652"/>
              </a:xfrm>
            </p:grpSpPr>
            <p:cxnSp>
              <p:nvCxnSpPr>
                <p:cNvPr id="67" name="Straight Connector 66">
                  <a:extLst>
                    <a:ext uri="{FF2B5EF4-FFF2-40B4-BE49-F238E27FC236}">
                      <a16:creationId xmlns:a16="http://schemas.microsoft.com/office/drawing/2014/main" id="{EC94363D-8C74-40A0-BFCB-17F1AD4F0698}"/>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A890D25-18AF-44F6-9B6F-D4F4487FF2C3}"/>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138C371-61A1-42C9-B4A2-79F976A960C6}"/>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4EF16B2-A7B8-470E-9C44-CDF47811A560}"/>
                    </a:ext>
                  </a:extLst>
                </p:cNvPr>
                <p:cNvCxnSpPr>
                  <a:cxnSpLocks/>
                </p:cNvCxnSpPr>
                <p:nvPr/>
              </p:nvCxnSpPr>
              <p:spPr>
                <a:xfrm flipV="1">
                  <a:off x="8982733" y="3499477"/>
                  <a:ext cx="0" cy="205652"/>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FA23ABB0-200B-48EE-A948-E4F8F37FB747}"/>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6385DD5-FF34-4167-BBD4-00747FF75FC6}"/>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87FC391A-47BA-4E02-8135-A6E71A404ACC}"/>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BD4B48A-796E-4BBD-B449-EA0E46FBC60F}"/>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76" name="Group 75">
              <a:extLst>
                <a:ext uri="{FF2B5EF4-FFF2-40B4-BE49-F238E27FC236}">
                  <a16:creationId xmlns:a16="http://schemas.microsoft.com/office/drawing/2014/main" id="{F8B8793F-DC9E-4FC7-AD81-64D579C99EDC}"/>
                </a:ext>
              </a:extLst>
            </p:cNvPr>
            <p:cNvGrpSpPr/>
            <p:nvPr/>
          </p:nvGrpSpPr>
          <p:grpSpPr>
            <a:xfrm>
              <a:off x="5884446" y="4063323"/>
              <a:ext cx="1450614" cy="147002"/>
              <a:chOff x="8120217" y="3558128"/>
              <a:chExt cx="1940664" cy="147002"/>
            </a:xfrm>
          </p:grpSpPr>
          <p:cxnSp>
            <p:nvCxnSpPr>
              <p:cNvPr id="82" name="Straight Connector 81">
                <a:extLst>
                  <a:ext uri="{FF2B5EF4-FFF2-40B4-BE49-F238E27FC236}">
                    <a16:creationId xmlns:a16="http://schemas.microsoft.com/office/drawing/2014/main" id="{491D9C4E-1A37-4B3D-B6C5-63A81C2A777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289FCC8D-A8D9-4D95-AA3D-2EFCC67F6C29}"/>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A9BFA321-5756-42FA-874C-3A83531A87B3}"/>
                  </a:ext>
                </a:extLst>
              </p:cNvPr>
              <p:cNvGrpSpPr/>
              <p:nvPr/>
            </p:nvGrpSpPr>
            <p:grpSpPr>
              <a:xfrm>
                <a:off x="8335846" y="3595364"/>
                <a:ext cx="1509402" cy="109766"/>
                <a:chOff x="8335846" y="3502450"/>
                <a:chExt cx="1509402" cy="202679"/>
              </a:xfrm>
            </p:grpSpPr>
            <p:cxnSp>
              <p:nvCxnSpPr>
                <p:cNvPr id="85" name="Straight Connector 84">
                  <a:extLst>
                    <a:ext uri="{FF2B5EF4-FFF2-40B4-BE49-F238E27FC236}">
                      <a16:creationId xmlns:a16="http://schemas.microsoft.com/office/drawing/2014/main" id="{65AD5B74-1B00-45C4-B604-AAA31870CB40}"/>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3C850950-BA30-47D6-9490-154EC1104819}"/>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92F841C-1B25-438E-9FF8-005F5F97D414}"/>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C7ACCF32-A9CE-483B-95B1-4F68EBFC981D}"/>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4FB3800-9155-4E5F-AF1E-F31284551263}"/>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602CA657-BE4B-4048-9C8A-8BB682F42557}"/>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9F36F5E-8B54-4B75-BCF9-C1D53DF4BE74}"/>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D904617-8559-4E41-BC9D-3E4881C0D034}"/>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5" name="Group 104">
              <a:extLst>
                <a:ext uri="{FF2B5EF4-FFF2-40B4-BE49-F238E27FC236}">
                  <a16:creationId xmlns:a16="http://schemas.microsoft.com/office/drawing/2014/main" id="{4264AE4F-C5AC-4148-B274-D99ABD4D60D6}"/>
                </a:ext>
              </a:extLst>
            </p:cNvPr>
            <p:cNvGrpSpPr/>
            <p:nvPr/>
          </p:nvGrpSpPr>
          <p:grpSpPr>
            <a:xfrm>
              <a:off x="5884446" y="4402917"/>
              <a:ext cx="1450614" cy="147002"/>
              <a:chOff x="8120217" y="3558128"/>
              <a:chExt cx="1940664" cy="147002"/>
            </a:xfrm>
          </p:grpSpPr>
          <p:cxnSp>
            <p:nvCxnSpPr>
              <p:cNvPr id="106" name="Straight Connector 105">
                <a:extLst>
                  <a:ext uri="{FF2B5EF4-FFF2-40B4-BE49-F238E27FC236}">
                    <a16:creationId xmlns:a16="http://schemas.microsoft.com/office/drawing/2014/main" id="{BEFF23A2-946C-4BAD-8E6B-7812762ACDD5}"/>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F9B64E9A-3596-4F19-9B91-6E0E6F82DF0F}"/>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8" name="Group 107">
                <a:extLst>
                  <a:ext uri="{FF2B5EF4-FFF2-40B4-BE49-F238E27FC236}">
                    <a16:creationId xmlns:a16="http://schemas.microsoft.com/office/drawing/2014/main" id="{AEF420FF-3ED7-4F4B-848D-720ED8C39485}"/>
                  </a:ext>
                </a:extLst>
              </p:cNvPr>
              <p:cNvGrpSpPr/>
              <p:nvPr/>
            </p:nvGrpSpPr>
            <p:grpSpPr>
              <a:xfrm>
                <a:off x="8335846" y="3595364"/>
                <a:ext cx="1509402" cy="109766"/>
                <a:chOff x="8335846" y="3502450"/>
                <a:chExt cx="1509402" cy="202679"/>
              </a:xfrm>
            </p:grpSpPr>
            <p:cxnSp>
              <p:nvCxnSpPr>
                <p:cNvPr id="112" name="Straight Connector 111">
                  <a:extLst>
                    <a:ext uri="{FF2B5EF4-FFF2-40B4-BE49-F238E27FC236}">
                      <a16:creationId xmlns:a16="http://schemas.microsoft.com/office/drawing/2014/main" id="{D6AF544E-ADDF-4260-8FBC-56810DB4448D}"/>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C9177729-9337-4D34-946B-DFE4481F5E46}"/>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8B5F39E7-EF92-481F-B897-34DA903E2595}"/>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73BDB3AA-CDE0-4C62-B51C-DC1F3A0E5CC8}"/>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67783E9-C504-4723-9867-5BFA3F01AFD6}"/>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48A591B9-6BAE-442B-9699-3B4856913C06}"/>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8AEBBB1-E1D2-423E-8C80-D660D7BF9FC7}"/>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82DBB156-D4D6-4F2B-BB8D-63740E75D9C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sp>
        <p:nvSpPr>
          <p:cNvPr id="136" name="Rectangle 135">
            <a:extLst>
              <a:ext uri="{FF2B5EF4-FFF2-40B4-BE49-F238E27FC236}">
                <a16:creationId xmlns:a16="http://schemas.microsoft.com/office/drawing/2014/main" id="{B876C16E-02E3-49C5-B773-9B262EC0EB00}"/>
              </a:ext>
            </a:extLst>
          </p:cNvPr>
          <p:cNvSpPr/>
          <p:nvPr/>
        </p:nvSpPr>
        <p:spPr bwMode="auto">
          <a:xfrm>
            <a:off x="3152533" y="2865436"/>
            <a:ext cx="2120166" cy="32652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55956" rIns="93260" bIns="55956" numCol="1" spcCol="0" rtlCol="0" fromWordArt="0" anchor="ctr" anchorCtr="0" forceAA="0" compatLnSpc="1">
            <a:prstTxWarp prst="textNoShape">
              <a:avLst/>
            </a:prstTxWarp>
            <a:noAutofit/>
          </a:bodyPr>
          <a:lstStyle/>
          <a:p>
            <a:pPr defTabSz="951028" fontAlgn="base">
              <a:spcBef>
                <a:spcPct val="0"/>
              </a:spcBef>
              <a:spcAft>
                <a:spcPts val="612"/>
              </a:spcAft>
              <a:defRPr/>
            </a:pPr>
            <a:endParaRPr lang="en-US" sz="1224">
              <a:solidFill>
                <a:prstClr val="white"/>
              </a:solidFill>
              <a:latin typeface="Segoe UI Semibold"/>
              <a:ea typeface="Segoe UI" pitchFamily="34" charset="0"/>
              <a:cs typeface="Segoe UI Semibold" panose="020B0702040204020203" pitchFamily="34" charset="0"/>
            </a:endParaRPr>
          </a:p>
        </p:txBody>
      </p:sp>
      <p:sp>
        <p:nvSpPr>
          <p:cNvPr id="147" name="Rectangle 146">
            <a:extLst>
              <a:ext uri="{FF2B5EF4-FFF2-40B4-BE49-F238E27FC236}">
                <a16:creationId xmlns:a16="http://schemas.microsoft.com/office/drawing/2014/main" id="{AF6BECDC-1136-474D-AD57-07C750BD7A6D}"/>
              </a:ext>
            </a:extLst>
          </p:cNvPr>
          <p:cNvSpPr/>
          <p:nvPr/>
        </p:nvSpPr>
        <p:spPr bwMode="auto">
          <a:xfrm>
            <a:off x="3152533" y="3581855"/>
            <a:ext cx="2120166" cy="3358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55956" rIns="93260" bIns="55956" numCol="1" spcCol="0" rtlCol="0" fromWordArt="0" anchor="ctr" anchorCtr="0" forceAA="0" compatLnSpc="1">
            <a:prstTxWarp prst="textNoShape">
              <a:avLst/>
            </a:prstTxWarp>
            <a:noAutofit/>
          </a:bodyPr>
          <a:lstStyle/>
          <a:p>
            <a:pPr defTabSz="951028" fontAlgn="base">
              <a:spcBef>
                <a:spcPct val="0"/>
              </a:spcBef>
              <a:spcAft>
                <a:spcPts val="612"/>
              </a:spcAft>
              <a:defRPr/>
            </a:pPr>
            <a:endParaRPr lang="en-US" sz="1224">
              <a:solidFill>
                <a:prstClr val="white"/>
              </a:solidFill>
              <a:latin typeface="Segoe UI Semibold"/>
              <a:ea typeface="Segoe UI" pitchFamily="34" charset="0"/>
              <a:cs typeface="Segoe UI Semibold" panose="020B0702040204020203" pitchFamily="34" charset="0"/>
            </a:endParaRPr>
          </a:p>
        </p:txBody>
      </p:sp>
      <p:sp>
        <p:nvSpPr>
          <p:cNvPr id="148" name="Rectangle 147">
            <a:extLst>
              <a:ext uri="{FF2B5EF4-FFF2-40B4-BE49-F238E27FC236}">
                <a16:creationId xmlns:a16="http://schemas.microsoft.com/office/drawing/2014/main" id="{781F9281-CBE0-4766-9CEB-2F25D7221217}"/>
              </a:ext>
            </a:extLst>
          </p:cNvPr>
          <p:cNvSpPr/>
          <p:nvPr/>
        </p:nvSpPr>
        <p:spPr bwMode="auto">
          <a:xfrm>
            <a:off x="3152533" y="3944744"/>
            <a:ext cx="2120166" cy="3358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55956" rIns="93260" bIns="55956" numCol="1" spcCol="0" rtlCol="0" fromWordArt="0" anchor="ctr" anchorCtr="0" forceAA="0" compatLnSpc="1">
            <a:prstTxWarp prst="textNoShape">
              <a:avLst/>
            </a:prstTxWarp>
            <a:noAutofit/>
          </a:bodyPr>
          <a:lstStyle/>
          <a:p>
            <a:pPr defTabSz="951028" fontAlgn="base">
              <a:spcBef>
                <a:spcPct val="0"/>
              </a:spcBef>
              <a:spcAft>
                <a:spcPts val="612"/>
              </a:spcAft>
              <a:defRPr/>
            </a:pPr>
            <a:endParaRPr lang="en-US" sz="1224">
              <a:solidFill>
                <a:prstClr val="white"/>
              </a:solidFill>
              <a:latin typeface="Segoe UI Semibold"/>
              <a:ea typeface="Segoe UI" pitchFamily="34" charset="0"/>
              <a:cs typeface="Segoe UI Semibold" panose="020B0702040204020203" pitchFamily="34" charset="0"/>
            </a:endParaRPr>
          </a:p>
        </p:txBody>
      </p:sp>
      <p:sp>
        <p:nvSpPr>
          <p:cNvPr id="149" name="Rectangle 148">
            <a:extLst>
              <a:ext uri="{FF2B5EF4-FFF2-40B4-BE49-F238E27FC236}">
                <a16:creationId xmlns:a16="http://schemas.microsoft.com/office/drawing/2014/main" id="{446FD518-64A8-443E-85DA-D36BBF1E57EC}"/>
              </a:ext>
            </a:extLst>
          </p:cNvPr>
          <p:cNvSpPr/>
          <p:nvPr/>
        </p:nvSpPr>
        <p:spPr bwMode="auto">
          <a:xfrm>
            <a:off x="3152533" y="4307635"/>
            <a:ext cx="2120166" cy="3358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55956" rIns="93260" bIns="55956" numCol="1" spcCol="0" rtlCol="0" fromWordArt="0" anchor="ctr" anchorCtr="0" forceAA="0" compatLnSpc="1">
            <a:prstTxWarp prst="textNoShape">
              <a:avLst/>
            </a:prstTxWarp>
            <a:noAutofit/>
          </a:bodyPr>
          <a:lstStyle/>
          <a:p>
            <a:pPr defTabSz="951028" fontAlgn="base">
              <a:spcBef>
                <a:spcPct val="0"/>
              </a:spcBef>
              <a:spcAft>
                <a:spcPts val="612"/>
              </a:spcAft>
              <a:defRPr/>
            </a:pPr>
            <a:endParaRPr lang="en-US" sz="1224">
              <a:solidFill>
                <a:prstClr val="white"/>
              </a:solidFill>
              <a:latin typeface="Segoe UI Semibold"/>
              <a:ea typeface="Segoe UI" pitchFamily="34" charset="0"/>
              <a:cs typeface="Segoe UI Semibold" panose="020B0702040204020203" pitchFamily="34" charset="0"/>
            </a:endParaRPr>
          </a:p>
        </p:txBody>
      </p:sp>
      <p:sp>
        <p:nvSpPr>
          <p:cNvPr id="150" name="Rectangle 149">
            <a:extLst>
              <a:ext uri="{FF2B5EF4-FFF2-40B4-BE49-F238E27FC236}">
                <a16:creationId xmlns:a16="http://schemas.microsoft.com/office/drawing/2014/main" id="{76003EBD-BBD0-43A8-ACD9-097C9F3C2F52}"/>
              </a:ext>
            </a:extLst>
          </p:cNvPr>
          <p:cNvSpPr/>
          <p:nvPr/>
        </p:nvSpPr>
        <p:spPr bwMode="auto">
          <a:xfrm>
            <a:off x="3152533" y="3218965"/>
            <a:ext cx="2120166" cy="3358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55956" rIns="93260" bIns="55956" numCol="1" spcCol="0" rtlCol="0" fromWordArt="0" anchor="ctr" anchorCtr="0" forceAA="0" compatLnSpc="1">
            <a:prstTxWarp prst="textNoShape">
              <a:avLst/>
            </a:prstTxWarp>
            <a:noAutofit/>
          </a:bodyPr>
          <a:lstStyle/>
          <a:p>
            <a:pPr defTabSz="951028" fontAlgn="base">
              <a:spcBef>
                <a:spcPct val="0"/>
              </a:spcBef>
              <a:spcAft>
                <a:spcPts val="612"/>
              </a:spcAft>
              <a:defRPr/>
            </a:pPr>
            <a:endParaRPr lang="en-US" sz="1224">
              <a:solidFill>
                <a:prstClr val="white"/>
              </a:solidFill>
              <a:latin typeface="Segoe UI Semibold"/>
              <a:ea typeface="Segoe UI" pitchFamily="34" charset="0"/>
              <a:cs typeface="Segoe UI Semibold" panose="020B0702040204020203" pitchFamily="34" charset="0"/>
            </a:endParaRPr>
          </a:p>
        </p:txBody>
      </p:sp>
      <p:sp>
        <p:nvSpPr>
          <p:cNvPr id="33" name="Rectangle 32">
            <a:extLst>
              <a:ext uri="{FF2B5EF4-FFF2-40B4-BE49-F238E27FC236}">
                <a16:creationId xmlns:a16="http://schemas.microsoft.com/office/drawing/2014/main" id="{E85050E8-530B-48B8-8D30-6B4189AAC40C}"/>
              </a:ext>
            </a:extLst>
          </p:cNvPr>
          <p:cNvSpPr/>
          <p:nvPr/>
        </p:nvSpPr>
        <p:spPr bwMode="auto">
          <a:xfrm>
            <a:off x="3146999" y="2313194"/>
            <a:ext cx="2255974" cy="353469"/>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defTabSz="951028" fontAlgn="base">
              <a:lnSpc>
                <a:spcPct val="90000"/>
              </a:lnSpc>
              <a:spcBef>
                <a:spcPct val="0"/>
              </a:spcBef>
              <a:spcAft>
                <a:spcPct val="0"/>
              </a:spcAft>
              <a:defRPr/>
            </a:pPr>
            <a:r>
              <a:rPr lang="en-US" sz="1836">
                <a:solidFill>
                  <a:srgbClr val="0078D4"/>
                </a:solidFill>
                <a:latin typeface="Segoe UI Semibold" panose="020B0702040204020203" pitchFamily="34" charset="0"/>
                <a:cs typeface="Segoe UI Semibold" panose="020B0702040204020203" pitchFamily="34" charset="0"/>
              </a:rPr>
              <a:t>Which algorithm?</a:t>
            </a:r>
          </a:p>
        </p:txBody>
      </p:sp>
      <p:sp>
        <p:nvSpPr>
          <p:cNvPr id="42" name="Rectangle 41">
            <a:extLst>
              <a:ext uri="{FF2B5EF4-FFF2-40B4-BE49-F238E27FC236}">
                <a16:creationId xmlns:a16="http://schemas.microsoft.com/office/drawing/2014/main" id="{8DFBE1EA-D672-4BA2-8AC5-8F9258F9AE8E}"/>
              </a:ext>
            </a:extLst>
          </p:cNvPr>
          <p:cNvSpPr/>
          <p:nvPr/>
        </p:nvSpPr>
        <p:spPr bwMode="auto">
          <a:xfrm>
            <a:off x="5689390" y="2313194"/>
            <a:ext cx="2458577" cy="353469"/>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defTabSz="951028" fontAlgn="base">
              <a:lnSpc>
                <a:spcPct val="90000"/>
              </a:lnSpc>
              <a:spcBef>
                <a:spcPct val="0"/>
              </a:spcBef>
              <a:spcAft>
                <a:spcPct val="0"/>
              </a:spcAft>
              <a:defRPr/>
            </a:pPr>
            <a:r>
              <a:rPr lang="en-US" sz="1836">
                <a:solidFill>
                  <a:srgbClr val="0078D4"/>
                </a:solidFill>
                <a:latin typeface="Segoe UI Semibold" panose="020B0702040204020203" pitchFamily="34" charset="0"/>
                <a:ea typeface="Segoe UI" pitchFamily="34" charset="0"/>
                <a:cs typeface="Segoe UI Semibold" panose="020B0702040204020203" pitchFamily="34" charset="0"/>
              </a:rPr>
              <a:t>Which parameters?</a:t>
            </a:r>
          </a:p>
        </p:txBody>
      </p:sp>
      <p:sp>
        <p:nvSpPr>
          <p:cNvPr id="29" name="Rectangle 28">
            <a:extLst>
              <a:ext uri="{FF2B5EF4-FFF2-40B4-BE49-F238E27FC236}">
                <a16:creationId xmlns:a16="http://schemas.microsoft.com/office/drawing/2014/main" id="{22EE7413-F083-4FA4-B233-0BE9A60054A1}"/>
              </a:ext>
            </a:extLst>
          </p:cNvPr>
          <p:cNvSpPr/>
          <p:nvPr/>
        </p:nvSpPr>
        <p:spPr bwMode="auto">
          <a:xfrm>
            <a:off x="751108" y="2313194"/>
            <a:ext cx="2109473" cy="353469"/>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defTabSz="951028" fontAlgn="base">
              <a:lnSpc>
                <a:spcPct val="90000"/>
              </a:lnSpc>
              <a:spcBef>
                <a:spcPct val="0"/>
              </a:spcBef>
              <a:spcAft>
                <a:spcPct val="0"/>
              </a:spcAft>
              <a:defRPr/>
            </a:pPr>
            <a:r>
              <a:rPr lang="en-US" sz="1836">
                <a:solidFill>
                  <a:srgbClr val="0078D4"/>
                </a:solidFill>
                <a:latin typeface="Segoe UI Semibold" panose="020B0702040204020203" pitchFamily="34" charset="0"/>
                <a:ea typeface="Segoe UI" pitchFamily="34" charset="0"/>
                <a:cs typeface="Segoe UI Semibold" panose="020B0702040204020203" pitchFamily="34" charset="0"/>
              </a:rPr>
              <a:t>Which features?</a:t>
            </a:r>
          </a:p>
        </p:txBody>
      </p:sp>
      <p:sp>
        <p:nvSpPr>
          <p:cNvPr id="75" name="Diamond 3">
            <a:extLst>
              <a:ext uri="{FF2B5EF4-FFF2-40B4-BE49-F238E27FC236}">
                <a16:creationId xmlns:a16="http://schemas.microsoft.com/office/drawing/2014/main" id="{59BED6B8-E637-4542-88C4-C688B7867D90}"/>
              </a:ext>
            </a:extLst>
          </p:cNvPr>
          <p:cNvSpPr/>
          <p:nvPr/>
        </p:nvSpPr>
        <p:spPr bwMode="auto">
          <a:xfrm>
            <a:off x="9162219" y="2822745"/>
            <a:ext cx="330367" cy="2458579"/>
          </a:xfrm>
          <a:custGeom>
            <a:avLst/>
            <a:gdLst>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0 w 594505"/>
              <a:gd name="connsiteY4" fmla="*/ 50945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91440 w 594505"/>
              <a:gd name="connsiteY4" fmla="*/ 60089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0" fmla="*/ 0 w 297252"/>
              <a:gd name="connsiteY0" fmla="*/ 0 h 1018903"/>
              <a:gd name="connsiteX1" fmla="*/ 297252 w 297252"/>
              <a:gd name="connsiteY1" fmla="*/ 509452 h 1018903"/>
              <a:gd name="connsiteX2" fmla="*/ 0 w 297252"/>
              <a:gd name="connsiteY2" fmla="*/ 1018903 h 1018903"/>
            </a:gdLst>
            <a:ahLst/>
            <a:cxnLst>
              <a:cxn ang="0">
                <a:pos x="connsiteX0" y="connsiteY0"/>
              </a:cxn>
              <a:cxn ang="0">
                <a:pos x="connsiteX1" y="connsiteY1"/>
              </a:cxn>
              <a:cxn ang="0">
                <a:pos x="connsiteX2" y="connsiteY2"/>
              </a:cxn>
            </a:cxnLst>
            <a:rect l="l" t="t" r="r" b="b"/>
            <a:pathLst>
              <a:path w="297252" h="1018903">
                <a:moveTo>
                  <a:pt x="0" y="0"/>
                </a:moveTo>
                <a:lnTo>
                  <a:pt x="297252" y="509452"/>
                </a:lnTo>
                <a:lnTo>
                  <a:pt x="0" y="1018903"/>
                </a:lnTo>
              </a:path>
            </a:pathLst>
          </a:custGeom>
          <a:ln w="12700">
            <a:solidFill>
              <a:schemeClr val="tx2"/>
            </a:solidFill>
            <a:headEnd type="none"/>
            <a:tailEnd type="none"/>
          </a:ln>
        </p:spPr>
        <p:style>
          <a:lnRef idx="1">
            <a:schemeClr val="accent4"/>
          </a:lnRef>
          <a:fillRef idx="0">
            <a:schemeClr val="accent4"/>
          </a:fillRef>
          <a:effectRef idx="0">
            <a:schemeClr val="accent4"/>
          </a:effectRef>
          <a:fontRef idx="minor">
            <a:schemeClr val="tx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extLst>
              <a:ext uri="{FF2B5EF4-FFF2-40B4-BE49-F238E27FC236}">
                <a16:creationId xmlns:a16="http://schemas.microsoft.com/office/drawing/2014/main" id="{6C1DA2B4-1C0E-4041-B2C8-AE1DBE888000}"/>
              </a:ext>
            </a:extLst>
          </p:cNvPr>
          <p:cNvSpPr/>
          <p:nvPr/>
        </p:nvSpPr>
        <p:spPr bwMode="auto">
          <a:xfrm>
            <a:off x="9763114" y="3823987"/>
            <a:ext cx="666242" cy="4681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50%</a:t>
            </a:r>
          </a:p>
        </p:txBody>
      </p:sp>
      <p:sp>
        <p:nvSpPr>
          <p:cNvPr id="81" name="Rectangle 80">
            <a:extLst>
              <a:ext uri="{FF2B5EF4-FFF2-40B4-BE49-F238E27FC236}">
                <a16:creationId xmlns:a16="http://schemas.microsoft.com/office/drawing/2014/main" id="{5843B82D-D9A4-4766-8C2A-684A866EB0F0}"/>
              </a:ext>
            </a:extLst>
          </p:cNvPr>
          <p:cNvSpPr/>
          <p:nvPr/>
        </p:nvSpPr>
        <p:spPr bwMode="auto">
          <a:xfrm>
            <a:off x="11536239" y="2400676"/>
            <a:ext cx="666242" cy="4681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30%</a:t>
            </a:r>
          </a:p>
        </p:txBody>
      </p:sp>
      <p:sp>
        <p:nvSpPr>
          <p:cNvPr id="90" name="Rectangle 89">
            <a:extLst>
              <a:ext uri="{FF2B5EF4-FFF2-40B4-BE49-F238E27FC236}">
                <a16:creationId xmlns:a16="http://schemas.microsoft.com/office/drawing/2014/main" id="{9E12CE79-1D28-42FF-A8D2-F17C5397AD4B}"/>
              </a:ext>
            </a:extLst>
          </p:cNvPr>
          <p:cNvSpPr/>
          <p:nvPr/>
        </p:nvSpPr>
        <p:spPr bwMode="auto">
          <a:xfrm>
            <a:off x="9763114" y="3823987"/>
            <a:ext cx="666242" cy="4681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70%</a:t>
            </a:r>
          </a:p>
        </p:txBody>
      </p:sp>
      <p:sp>
        <p:nvSpPr>
          <p:cNvPr id="91" name="Rectangle 90">
            <a:extLst>
              <a:ext uri="{FF2B5EF4-FFF2-40B4-BE49-F238E27FC236}">
                <a16:creationId xmlns:a16="http://schemas.microsoft.com/office/drawing/2014/main" id="{2C0B2D7F-DABA-4CF5-986F-41239206EBA7}"/>
              </a:ext>
            </a:extLst>
          </p:cNvPr>
          <p:cNvSpPr/>
          <p:nvPr/>
        </p:nvSpPr>
        <p:spPr bwMode="auto">
          <a:xfrm>
            <a:off x="9763114" y="3823987"/>
            <a:ext cx="666242" cy="4681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30%</a:t>
            </a:r>
          </a:p>
        </p:txBody>
      </p:sp>
      <p:sp>
        <p:nvSpPr>
          <p:cNvPr id="123" name="Rectangle 122">
            <a:extLst>
              <a:ext uri="{FF2B5EF4-FFF2-40B4-BE49-F238E27FC236}">
                <a16:creationId xmlns:a16="http://schemas.microsoft.com/office/drawing/2014/main" id="{C138F34D-E681-4EC2-A776-620ACB5B2ADA}"/>
              </a:ext>
            </a:extLst>
          </p:cNvPr>
          <p:cNvSpPr/>
          <p:nvPr/>
        </p:nvSpPr>
        <p:spPr bwMode="auto">
          <a:xfrm>
            <a:off x="9763114" y="3823987"/>
            <a:ext cx="666242" cy="4681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45%</a:t>
            </a:r>
          </a:p>
        </p:txBody>
      </p:sp>
      <p:sp>
        <p:nvSpPr>
          <p:cNvPr id="137" name="Rectangle 136">
            <a:extLst>
              <a:ext uri="{FF2B5EF4-FFF2-40B4-BE49-F238E27FC236}">
                <a16:creationId xmlns:a16="http://schemas.microsoft.com/office/drawing/2014/main" id="{C2BBE4FC-909C-4345-B6B7-CD98E0800549}"/>
              </a:ext>
            </a:extLst>
          </p:cNvPr>
          <p:cNvSpPr/>
          <p:nvPr/>
        </p:nvSpPr>
        <p:spPr bwMode="auto">
          <a:xfrm>
            <a:off x="9763114" y="3823987"/>
            <a:ext cx="666242" cy="4681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50%</a:t>
            </a:r>
          </a:p>
        </p:txBody>
      </p:sp>
      <p:sp>
        <p:nvSpPr>
          <p:cNvPr id="138" name="Rectangle 137">
            <a:extLst>
              <a:ext uri="{FF2B5EF4-FFF2-40B4-BE49-F238E27FC236}">
                <a16:creationId xmlns:a16="http://schemas.microsoft.com/office/drawing/2014/main" id="{E5DC31E9-1B38-490E-97B1-396F5BC8BD37}"/>
              </a:ext>
            </a:extLst>
          </p:cNvPr>
          <p:cNvSpPr/>
          <p:nvPr/>
        </p:nvSpPr>
        <p:spPr bwMode="auto">
          <a:xfrm>
            <a:off x="9763114" y="3823987"/>
            <a:ext cx="666242" cy="4681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65%</a:t>
            </a:r>
          </a:p>
        </p:txBody>
      </p:sp>
      <p:sp>
        <p:nvSpPr>
          <p:cNvPr id="139" name="Rectangle 138">
            <a:extLst>
              <a:ext uri="{FF2B5EF4-FFF2-40B4-BE49-F238E27FC236}">
                <a16:creationId xmlns:a16="http://schemas.microsoft.com/office/drawing/2014/main" id="{38AE8513-E5E7-4164-8B0A-DCBE47A37897}"/>
              </a:ext>
            </a:extLst>
          </p:cNvPr>
          <p:cNvSpPr/>
          <p:nvPr/>
        </p:nvSpPr>
        <p:spPr bwMode="auto">
          <a:xfrm>
            <a:off x="9763114" y="3823987"/>
            <a:ext cx="666242" cy="4681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95%</a:t>
            </a:r>
          </a:p>
        </p:txBody>
      </p:sp>
      <p:sp>
        <p:nvSpPr>
          <p:cNvPr id="140" name="Rectangle 139">
            <a:extLst>
              <a:ext uri="{FF2B5EF4-FFF2-40B4-BE49-F238E27FC236}">
                <a16:creationId xmlns:a16="http://schemas.microsoft.com/office/drawing/2014/main" id="{B6105E7D-98D4-444D-AAC0-1B90A43BA286}"/>
              </a:ext>
            </a:extLst>
          </p:cNvPr>
          <p:cNvSpPr/>
          <p:nvPr/>
        </p:nvSpPr>
        <p:spPr bwMode="auto">
          <a:xfrm>
            <a:off x="9763114" y="3823987"/>
            <a:ext cx="666242" cy="4681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35%</a:t>
            </a:r>
          </a:p>
        </p:txBody>
      </p:sp>
      <p:sp>
        <p:nvSpPr>
          <p:cNvPr id="141" name="Rectangle 140">
            <a:extLst>
              <a:ext uri="{FF2B5EF4-FFF2-40B4-BE49-F238E27FC236}">
                <a16:creationId xmlns:a16="http://schemas.microsoft.com/office/drawing/2014/main" id="{35207BB3-4EC0-47BD-9F49-6F6AC0CE2C82}"/>
              </a:ext>
            </a:extLst>
          </p:cNvPr>
          <p:cNvSpPr/>
          <p:nvPr/>
        </p:nvSpPr>
        <p:spPr bwMode="auto">
          <a:xfrm>
            <a:off x="9763114" y="3823987"/>
            <a:ext cx="666242" cy="4681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10%</a:t>
            </a:r>
          </a:p>
        </p:txBody>
      </p:sp>
      <p:sp>
        <p:nvSpPr>
          <p:cNvPr id="142" name="Rectangle 141">
            <a:extLst>
              <a:ext uri="{FF2B5EF4-FFF2-40B4-BE49-F238E27FC236}">
                <a16:creationId xmlns:a16="http://schemas.microsoft.com/office/drawing/2014/main" id="{A5FBACE0-802F-4F71-94F2-248DEFE1A4CA}"/>
              </a:ext>
            </a:extLst>
          </p:cNvPr>
          <p:cNvSpPr/>
          <p:nvPr/>
        </p:nvSpPr>
        <p:spPr bwMode="auto">
          <a:xfrm>
            <a:off x="9763114" y="3823987"/>
            <a:ext cx="666242" cy="4681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75%</a:t>
            </a:r>
          </a:p>
        </p:txBody>
      </p:sp>
      <p:sp>
        <p:nvSpPr>
          <p:cNvPr id="143" name="Rectangle 142">
            <a:extLst>
              <a:ext uri="{FF2B5EF4-FFF2-40B4-BE49-F238E27FC236}">
                <a16:creationId xmlns:a16="http://schemas.microsoft.com/office/drawing/2014/main" id="{2EE1EEEC-9147-48AC-AA51-F7D7C757720A}"/>
              </a:ext>
            </a:extLst>
          </p:cNvPr>
          <p:cNvSpPr/>
          <p:nvPr/>
        </p:nvSpPr>
        <p:spPr bwMode="auto">
          <a:xfrm>
            <a:off x="9763114" y="3823987"/>
            <a:ext cx="666242" cy="4681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20%</a:t>
            </a:r>
          </a:p>
        </p:txBody>
      </p:sp>
      <p:sp>
        <p:nvSpPr>
          <p:cNvPr id="144" name="Rectangle 143">
            <a:extLst>
              <a:ext uri="{FF2B5EF4-FFF2-40B4-BE49-F238E27FC236}">
                <a16:creationId xmlns:a16="http://schemas.microsoft.com/office/drawing/2014/main" id="{715BD311-5C47-4D16-84A4-CDE3875B2E28}"/>
              </a:ext>
            </a:extLst>
          </p:cNvPr>
          <p:cNvSpPr/>
          <p:nvPr/>
        </p:nvSpPr>
        <p:spPr bwMode="auto">
          <a:xfrm>
            <a:off x="9763114" y="3823987"/>
            <a:ext cx="666242" cy="4681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70%</a:t>
            </a:r>
          </a:p>
        </p:txBody>
      </p:sp>
      <p:sp>
        <p:nvSpPr>
          <p:cNvPr id="145" name="Rectangle 144">
            <a:extLst>
              <a:ext uri="{FF2B5EF4-FFF2-40B4-BE49-F238E27FC236}">
                <a16:creationId xmlns:a16="http://schemas.microsoft.com/office/drawing/2014/main" id="{5FCC3BB9-011E-43E2-8A6D-CF0B434AEC47}"/>
              </a:ext>
            </a:extLst>
          </p:cNvPr>
          <p:cNvSpPr/>
          <p:nvPr/>
        </p:nvSpPr>
        <p:spPr bwMode="auto">
          <a:xfrm>
            <a:off x="9763114" y="3823987"/>
            <a:ext cx="666242" cy="4681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30%</a:t>
            </a:r>
          </a:p>
        </p:txBody>
      </p:sp>
      <p:sp>
        <p:nvSpPr>
          <p:cNvPr id="146" name="Rectangle 145">
            <a:extLst>
              <a:ext uri="{FF2B5EF4-FFF2-40B4-BE49-F238E27FC236}">
                <a16:creationId xmlns:a16="http://schemas.microsoft.com/office/drawing/2014/main" id="{2E0AC568-B569-4102-91A1-BD4739EF7142}"/>
              </a:ext>
            </a:extLst>
          </p:cNvPr>
          <p:cNvSpPr/>
          <p:nvPr/>
        </p:nvSpPr>
        <p:spPr bwMode="auto">
          <a:xfrm>
            <a:off x="9763114" y="3823987"/>
            <a:ext cx="666242" cy="4681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15%</a:t>
            </a:r>
          </a:p>
        </p:txBody>
      </p:sp>
      <p:grpSp>
        <p:nvGrpSpPr>
          <p:cNvPr id="26" name="Group 25">
            <a:extLst>
              <a:ext uri="{FF2B5EF4-FFF2-40B4-BE49-F238E27FC236}">
                <a16:creationId xmlns:a16="http://schemas.microsoft.com/office/drawing/2014/main" id="{630C095D-36FC-4EBB-8DEE-D3469ACDD9BD}"/>
              </a:ext>
            </a:extLst>
          </p:cNvPr>
          <p:cNvGrpSpPr/>
          <p:nvPr/>
        </p:nvGrpSpPr>
        <p:grpSpPr>
          <a:xfrm>
            <a:off x="600856" y="5793488"/>
            <a:ext cx="8833487" cy="680659"/>
            <a:chOff x="837632" y="5844616"/>
            <a:chExt cx="9792001" cy="667373"/>
          </a:xfrm>
        </p:grpSpPr>
        <p:cxnSp>
          <p:nvCxnSpPr>
            <p:cNvPr id="27" name="Connector: Elbow 26">
              <a:extLst>
                <a:ext uri="{FF2B5EF4-FFF2-40B4-BE49-F238E27FC236}">
                  <a16:creationId xmlns:a16="http://schemas.microsoft.com/office/drawing/2014/main" id="{D6DBBF17-7678-4E03-A750-D716BF7D3406}"/>
                </a:ext>
              </a:extLst>
            </p:cNvPr>
            <p:cNvCxnSpPr>
              <a:cxnSpLocks/>
            </p:cNvCxnSpPr>
            <p:nvPr/>
          </p:nvCxnSpPr>
          <p:spPr>
            <a:xfrm rot="5400000">
              <a:off x="5727283" y="954965"/>
              <a:ext cx="12700" cy="9792001"/>
            </a:xfrm>
            <a:prstGeom prst="bentConnector3">
              <a:avLst>
                <a:gd name="adj1" fmla="val 2170835"/>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29C9708C-5222-4249-BB52-52E83A8D83AC}"/>
                </a:ext>
              </a:extLst>
            </p:cNvPr>
            <p:cNvSpPr/>
            <p:nvPr/>
          </p:nvSpPr>
          <p:spPr bwMode="auto">
            <a:xfrm>
              <a:off x="5160653" y="6221910"/>
              <a:ext cx="1145960" cy="290079"/>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algn="ctr" defTabSz="951028" fontAlgn="base">
                <a:lnSpc>
                  <a:spcPct val="90000"/>
                </a:lnSpc>
                <a:spcBef>
                  <a:spcPct val="0"/>
                </a:spcBef>
                <a:spcAft>
                  <a:spcPct val="0"/>
                </a:spcAft>
                <a:defRPr/>
              </a:pPr>
              <a:r>
                <a:rPr lang="en-US" sz="1428">
                  <a:solidFill>
                    <a:srgbClr val="0078D4"/>
                  </a:solidFill>
                  <a:latin typeface="Segoe UI Semibold" panose="020B0702040204020203" pitchFamily="34" charset="0"/>
                  <a:ea typeface="Segoe UI" pitchFamily="34" charset="0"/>
                  <a:cs typeface="Segoe UI Semibold" panose="020B0702040204020203" pitchFamily="34" charset="0"/>
                </a:rPr>
                <a:t>Iterate</a:t>
              </a:r>
            </a:p>
          </p:txBody>
        </p:sp>
      </p:grpSp>
      <p:sp>
        <p:nvSpPr>
          <p:cNvPr id="98" name="Isosceles Triangle 97">
            <a:extLst>
              <a:ext uri="{FF2B5EF4-FFF2-40B4-BE49-F238E27FC236}">
                <a16:creationId xmlns:a16="http://schemas.microsoft.com/office/drawing/2014/main" id="{FE4ADEB3-BA1A-4527-97B6-E7A5905F8282}"/>
              </a:ext>
            </a:extLst>
          </p:cNvPr>
          <p:cNvSpPr/>
          <p:nvPr/>
        </p:nvSpPr>
        <p:spPr bwMode="auto">
          <a:xfrm>
            <a:off x="6420046" y="4201225"/>
            <a:ext cx="139891" cy="9326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Isosceles Triangle 110">
            <a:extLst>
              <a:ext uri="{FF2B5EF4-FFF2-40B4-BE49-F238E27FC236}">
                <a16:creationId xmlns:a16="http://schemas.microsoft.com/office/drawing/2014/main" id="{DC995B4C-717D-4215-9C84-59A63A08436E}"/>
              </a:ext>
            </a:extLst>
          </p:cNvPr>
          <p:cNvSpPr/>
          <p:nvPr/>
        </p:nvSpPr>
        <p:spPr bwMode="auto">
          <a:xfrm>
            <a:off x="6590072" y="3855216"/>
            <a:ext cx="139891" cy="9326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Isosceles Triangle 123">
            <a:extLst>
              <a:ext uri="{FF2B5EF4-FFF2-40B4-BE49-F238E27FC236}">
                <a16:creationId xmlns:a16="http://schemas.microsoft.com/office/drawing/2014/main" id="{D97260E6-C543-4A04-8701-4A7AD6348720}"/>
              </a:ext>
            </a:extLst>
          </p:cNvPr>
          <p:cNvSpPr/>
          <p:nvPr/>
        </p:nvSpPr>
        <p:spPr bwMode="auto">
          <a:xfrm>
            <a:off x="7083238" y="3163199"/>
            <a:ext cx="139891" cy="9326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Isosceles Triangle 124">
            <a:extLst>
              <a:ext uri="{FF2B5EF4-FFF2-40B4-BE49-F238E27FC236}">
                <a16:creationId xmlns:a16="http://schemas.microsoft.com/office/drawing/2014/main" id="{084B5AF6-26A2-4842-A41A-6E0C87018759}"/>
              </a:ext>
            </a:extLst>
          </p:cNvPr>
          <p:cNvSpPr/>
          <p:nvPr/>
        </p:nvSpPr>
        <p:spPr bwMode="auto">
          <a:xfrm>
            <a:off x="7246243" y="3509207"/>
            <a:ext cx="139891" cy="9326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extLst>
              <a:ext uri="{FF2B5EF4-FFF2-40B4-BE49-F238E27FC236}">
                <a16:creationId xmlns:a16="http://schemas.microsoft.com/office/drawing/2014/main" id="{7ADB0596-0969-46D3-8F50-F5A45D799A8E}"/>
              </a:ext>
            </a:extLst>
          </p:cNvPr>
          <p:cNvSpPr/>
          <p:nvPr/>
        </p:nvSpPr>
        <p:spPr bwMode="auto">
          <a:xfrm>
            <a:off x="751760" y="4313339"/>
            <a:ext cx="1896591" cy="3051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55956" rIns="93260" bIns="55956" numCol="1" spcCol="0" rtlCol="0" fromWordArt="0" anchor="ctr" anchorCtr="0" forceAA="0" compatLnSpc="1">
            <a:prstTxWarp prst="textNoShape">
              <a:avLst/>
            </a:prstTxWarp>
            <a:spAutoFit/>
          </a:bodyPr>
          <a:lstStyle/>
          <a:p>
            <a:pPr defTabSz="951028" fontAlgn="base">
              <a:spcBef>
                <a:spcPct val="0"/>
              </a:spcBef>
              <a:spcAft>
                <a:spcPts val="612"/>
              </a:spcAft>
              <a:defRPr/>
            </a:pPr>
            <a:endParaRPr lang="en-US" sz="1224">
              <a:solidFill>
                <a:prstClr val="white"/>
              </a:solidFill>
              <a:latin typeface="Segoe UI Semibold"/>
              <a:ea typeface="Segoe UI" pitchFamily="34" charset="0"/>
              <a:cs typeface="Segoe UI Semibold" panose="020B0702040204020203" pitchFamily="34" charset="0"/>
            </a:endParaRPr>
          </a:p>
        </p:txBody>
      </p:sp>
      <p:sp>
        <p:nvSpPr>
          <p:cNvPr id="171" name="Rectangle 170">
            <a:extLst>
              <a:ext uri="{FF2B5EF4-FFF2-40B4-BE49-F238E27FC236}">
                <a16:creationId xmlns:a16="http://schemas.microsoft.com/office/drawing/2014/main" id="{FA033DC2-8489-4D03-B39C-76377D071DF5}"/>
              </a:ext>
            </a:extLst>
          </p:cNvPr>
          <p:cNvSpPr/>
          <p:nvPr/>
        </p:nvSpPr>
        <p:spPr bwMode="auto">
          <a:xfrm>
            <a:off x="751760" y="3242614"/>
            <a:ext cx="1896591" cy="3051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55956" rIns="93260" bIns="55956" numCol="1" spcCol="0" rtlCol="0" fromWordArt="0" anchor="ctr" anchorCtr="0" forceAA="0" compatLnSpc="1">
            <a:prstTxWarp prst="textNoShape">
              <a:avLst/>
            </a:prstTxWarp>
            <a:spAutoFit/>
          </a:bodyPr>
          <a:lstStyle/>
          <a:p>
            <a:pPr defTabSz="951028" fontAlgn="base">
              <a:spcBef>
                <a:spcPct val="0"/>
              </a:spcBef>
              <a:spcAft>
                <a:spcPts val="612"/>
              </a:spcAft>
              <a:defRPr/>
            </a:pPr>
            <a:endParaRPr lang="en-US" sz="1224">
              <a:solidFill>
                <a:prstClr val="white"/>
              </a:solidFill>
              <a:latin typeface="Segoe UI Semibold"/>
              <a:ea typeface="Segoe UI" pitchFamily="34" charset="0"/>
              <a:cs typeface="Segoe UI Semibold" panose="020B0702040204020203" pitchFamily="34" charset="0"/>
            </a:endParaRPr>
          </a:p>
        </p:txBody>
      </p:sp>
      <p:sp>
        <p:nvSpPr>
          <p:cNvPr id="173" name="Rectangle 172">
            <a:extLst>
              <a:ext uri="{FF2B5EF4-FFF2-40B4-BE49-F238E27FC236}">
                <a16:creationId xmlns:a16="http://schemas.microsoft.com/office/drawing/2014/main" id="{7465687A-7138-457A-AD69-9EA44E77B92B}"/>
              </a:ext>
            </a:extLst>
          </p:cNvPr>
          <p:cNvSpPr/>
          <p:nvPr/>
        </p:nvSpPr>
        <p:spPr bwMode="auto">
          <a:xfrm>
            <a:off x="751760" y="2885705"/>
            <a:ext cx="1896591" cy="3051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55956" rIns="93260" bIns="55956" numCol="1" spcCol="0" rtlCol="0" fromWordArt="0" anchor="ctr" anchorCtr="0" forceAA="0" compatLnSpc="1">
            <a:prstTxWarp prst="textNoShape">
              <a:avLst/>
            </a:prstTxWarp>
            <a:spAutoFit/>
          </a:bodyPr>
          <a:lstStyle/>
          <a:p>
            <a:pPr defTabSz="951028" fontAlgn="base">
              <a:spcBef>
                <a:spcPct val="0"/>
              </a:spcBef>
              <a:spcAft>
                <a:spcPts val="612"/>
              </a:spcAft>
              <a:defRPr/>
            </a:pPr>
            <a:endParaRPr lang="en-US" sz="1224">
              <a:solidFill>
                <a:prstClr val="white"/>
              </a:solidFill>
              <a:latin typeface="Segoe UI Semibold"/>
              <a:ea typeface="Segoe UI" pitchFamily="34" charset="0"/>
              <a:cs typeface="Segoe UI Semibold" panose="020B0702040204020203" pitchFamily="34" charset="0"/>
            </a:endParaRPr>
          </a:p>
        </p:txBody>
      </p:sp>
      <p:sp>
        <p:nvSpPr>
          <p:cNvPr id="174" name="Rectangle 173">
            <a:extLst>
              <a:ext uri="{FF2B5EF4-FFF2-40B4-BE49-F238E27FC236}">
                <a16:creationId xmlns:a16="http://schemas.microsoft.com/office/drawing/2014/main" id="{3ECF9070-C95C-4AEE-9B8E-522305BBBDAB}"/>
              </a:ext>
            </a:extLst>
          </p:cNvPr>
          <p:cNvSpPr/>
          <p:nvPr/>
        </p:nvSpPr>
        <p:spPr bwMode="auto">
          <a:xfrm>
            <a:off x="751760" y="3599522"/>
            <a:ext cx="1896591" cy="3051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55956" rIns="93260" bIns="55956" numCol="1" spcCol="0" rtlCol="0" fromWordArt="0" anchor="ctr" anchorCtr="0" forceAA="0" compatLnSpc="1">
            <a:prstTxWarp prst="textNoShape">
              <a:avLst/>
            </a:prstTxWarp>
            <a:spAutoFit/>
          </a:bodyPr>
          <a:lstStyle/>
          <a:p>
            <a:pPr defTabSz="951028" fontAlgn="base">
              <a:spcBef>
                <a:spcPct val="0"/>
              </a:spcBef>
              <a:spcAft>
                <a:spcPts val="612"/>
              </a:spcAft>
              <a:defRPr/>
            </a:pPr>
            <a:endParaRPr lang="en-US" sz="1224">
              <a:solidFill>
                <a:prstClr val="white"/>
              </a:solidFill>
              <a:latin typeface="Segoe UI Semibold"/>
              <a:ea typeface="Segoe UI" pitchFamily="34" charset="0"/>
              <a:cs typeface="Segoe UI Semibold" panose="020B0702040204020203" pitchFamily="34" charset="0"/>
            </a:endParaRPr>
          </a:p>
        </p:txBody>
      </p:sp>
      <p:sp>
        <p:nvSpPr>
          <p:cNvPr id="175" name="Rectangle 174">
            <a:extLst>
              <a:ext uri="{FF2B5EF4-FFF2-40B4-BE49-F238E27FC236}">
                <a16:creationId xmlns:a16="http://schemas.microsoft.com/office/drawing/2014/main" id="{AEFA5C18-DBD6-420E-8D38-357F8C70808D}"/>
              </a:ext>
            </a:extLst>
          </p:cNvPr>
          <p:cNvSpPr/>
          <p:nvPr/>
        </p:nvSpPr>
        <p:spPr bwMode="auto">
          <a:xfrm>
            <a:off x="751760" y="3956430"/>
            <a:ext cx="1896591" cy="3051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55956" rIns="93260" bIns="55956" numCol="1" spcCol="0" rtlCol="0" fromWordArt="0" anchor="ctr" anchorCtr="0" forceAA="0" compatLnSpc="1">
            <a:prstTxWarp prst="textNoShape">
              <a:avLst/>
            </a:prstTxWarp>
            <a:spAutoFit/>
          </a:bodyPr>
          <a:lstStyle/>
          <a:p>
            <a:pPr defTabSz="951028" fontAlgn="base">
              <a:spcBef>
                <a:spcPct val="0"/>
              </a:spcBef>
              <a:spcAft>
                <a:spcPts val="612"/>
              </a:spcAft>
              <a:defRPr/>
            </a:pPr>
            <a:endParaRPr lang="en-US" sz="1224">
              <a:solidFill>
                <a:prstClr val="white"/>
              </a:solidFill>
              <a:latin typeface="Segoe UI Semibold"/>
              <a:ea typeface="Segoe UI" pitchFamily="34" charset="0"/>
              <a:cs typeface="Segoe UI Semibold" panose="020B0702040204020203" pitchFamily="34" charset="0"/>
            </a:endParaRPr>
          </a:p>
        </p:txBody>
      </p:sp>
      <p:sp>
        <p:nvSpPr>
          <p:cNvPr id="120" name="Isosceles Triangle 119">
            <a:extLst>
              <a:ext uri="{FF2B5EF4-FFF2-40B4-BE49-F238E27FC236}">
                <a16:creationId xmlns:a16="http://schemas.microsoft.com/office/drawing/2014/main" id="{064EFD16-9865-43CE-AAC0-7320880D3E2A}"/>
              </a:ext>
            </a:extLst>
          </p:cNvPr>
          <p:cNvSpPr/>
          <p:nvPr/>
        </p:nvSpPr>
        <p:spPr bwMode="auto">
          <a:xfrm>
            <a:off x="6915785" y="4547231"/>
            <a:ext cx="139891" cy="9326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Title 2">
            <a:extLst>
              <a:ext uri="{FF2B5EF4-FFF2-40B4-BE49-F238E27FC236}">
                <a16:creationId xmlns:a16="http://schemas.microsoft.com/office/drawing/2014/main" id="{EFB7C633-5EDC-4D99-AD17-AA0763520118}"/>
              </a:ext>
            </a:extLst>
          </p:cNvPr>
          <p:cNvSpPr txBox="1">
            <a:spLocks/>
          </p:cNvSpPr>
          <p:nvPr/>
        </p:nvSpPr>
        <p:spPr>
          <a:xfrm>
            <a:off x="600855" y="466301"/>
            <a:ext cx="11237870" cy="1130053"/>
          </a:xfrm>
          <a:prstGeom prst="rect">
            <a:avLst/>
          </a:prstGeom>
        </p:spPr>
        <p:txBody>
          <a:bodyPr vert="horz" wrap="square" lIns="0" tIns="167869" rIns="0" bIns="0" rtlCol="0" anchor="t">
            <a:noAutofit/>
          </a:bodyPr>
          <a:lst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a:lstStyle>
          <a:p>
            <a:pPr algn="ctr" defTabSz="932563">
              <a:defRPr/>
            </a:pPr>
            <a:r>
              <a:rPr lang="zh-CN" altLang="en-US" sz="4488" spc="0" dirty="0">
                <a:ln>
                  <a:noFill/>
                </a:ln>
                <a:solidFill>
                  <a:srgbClr val="0070C0"/>
                </a:solidFill>
                <a:latin typeface="微软雅黑" panose="020B0503020204020204" pitchFamily="34" charset="-122"/>
                <a:ea typeface="微软雅黑" panose="020B0503020204020204" pitchFamily="34" charset="-122"/>
              </a:rPr>
              <a:t>洞察市场的模型创建耗时耗力</a:t>
            </a:r>
            <a:endParaRPr lang="en-US" sz="4488" spc="0" dirty="0">
              <a:ln>
                <a:noFill/>
              </a:ln>
              <a:solidFill>
                <a:srgbClr val="0070C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588250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afterEffect">
                                  <p:stCondLst>
                                    <p:cond delay="0"/>
                                  </p:stCondLst>
                                  <p:childTnLst>
                                    <p:animMotion origin="layout" path="M 1.04167E-6 -2.59259E-6 L 0.14284 -0.10347 " pathEditMode="relative" rAng="0" ptsTypes="AA">
                                      <p:cBhvr>
                                        <p:cTn id="6" dur="150" fill="hold"/>
                                        <p:tgtEl>
                                          <p:spTgt spid="80"/>
                                        </p:tgtEl>
                                        <p:attrNameLst>
                                          <p:attrName>ppt_x</p:attrName>
                                          <p:attrName>ppt_y</p:attrName>
                                        </p:attrNameLst>
                                      </p:cBhvr>
                                      <p:rCtr x="7135" y="-5185"/>
                                    </p:animMotion>
                                  </p:childTnLst>
                                </p:cTn>
                              </p:par>
                              <p:par>
                                <p:cTn id="7" presetID="12" presetClass="entr" presetSubtype="8" fill="hold" grpId="1" nodeType="withEffect">
                                  <p:stCondLst>
                                    <p:cond delay="100"/>
                                  </p:stCondLst>
                                  <p:childTnLst>
                                    <p:set>
                                      <p:cBhvr>
                                        <p:cTn id="8" dur="1" fill="hold">
                                          <p:stCondLst>
                                            <p:cond delay="0"/>
                                          </p:stCondLst>
                                        </p:cTn>
                                        <p:tgtEl>
                                          <p:spTgt spid="90"/>
                                        </p:tgtEl>
                                        <p:attrNameLst>
                                          <p:attrName>style.visibility</p:attrName>
                                        </p:attrNameLst>
                                      </p:cBhvr>
                                      <p:to>
                                        <p:strVal val="visible"/>
                                      </p:to>
                                    </p:set>
                                    <p:anim calcmode="lin" valueType="num">
                                      <p:cBhvr additive="base">
                                        <p:cTn id="9" dur="80"/>
                                        <p:tgtEl>
                                          <p:spTgt spid="90"/>
                                        </p:tgtEl>
                                        <p:attrNameLst>
                                          <p:attrName>ppt_x</p:attrName>
                                        </p:attrNameLst>
                                      </p:cBhvr>
                                      <p:tavLst>
                                        <p:tav tm="0">
                                          <p:val>
                                            <p:strVal val="#ppt_x-#ppt_w*1.125000"/>
                                          </p:val>
                                        </p:tav>
                                        <p:tav tm="100000">
                                          <p:val>
                                            <p:strVal val="#ppt_x"/>
                                          </p:val>
                                        </p:tav>
                                      </p:tavLst>
                                    </p:anim>
                                    <p:animEffect transition="in" filter="wipe(right)">
                                      <p:cBhvr>
                                        <p:cTn id="10" dur="80"/>
                                        <p:tgtEl>
                                          <p:spTgt spid="90"/>
                                        </p:tgtEl>
                                      </p:cBhvr>
                                    </p:animEffect>
                                  </p:childTnLst>
                                </p:cTn>
                              </p:par>
                              <p:par>
                                <p:cTn id="11" presetID="10" presetClass="exit" presetSubtype="0" fill="hold" grpId="1" nodeType="withEffect">
                                  <p:stCondLst>
                                    <p:cond delay="100"/>
                                  </p:stCondLst>
                                  <p:childTnLst>
                                    <p:animEffect transition="out" filter="fade">
                                      <p:cBhvr>
                                        <p:cTn id="12" dur="150"/>
                                        <p:tgtEl>
                                          <p:spTgt spid="136"/>
                                        </p:tgtEl>
                                      </p:cBhvr>
                                    </p:animEffect>
                                    <p:set>
                                      <p:cBhvr>
                                        <p:cTn id="13" dur="1" fill="hold">
                                          <p:stCondLst>
                                            <p:cond delay="149"/>
                                          </p:stCondLst>
                                        </p:cTn>
                                        <p:tgtEl>
                                          <p:spTgt spid="136"/>
                                        </p:tgtEl>
                                        <p:attrNameLst>
                                          <p:attrName>style.visibility</p:attrName>
                                        </p:attrNameLst>
                                      </p:cBhvr>
                                      <p:to>
                                        <p:strVal val="hidden"/>
                                      </p:to>
                                    </p:set>
                                  </p:childTnLst>
                                </p:cTn>
                              </p:par>
                              <p:par>
                                <p:cTn id="14" presetID="10" presetClass="entr" presetSubtype="0" fill="hold" grpId="0" nodeType="withEffect">
                                  <p:stCondLst>
                                    <p:cond delay="100"/>
                                  </p:stCondLst>
                                  <p:childTnLst>
                                    <p:set>
                                      <p:cBhvr>
                                        <p:cTn id="15" dur="1" fill="hold">
                                          <p:stCondLst>
                                            <p:cond delay="0"/>
                                          </p:stCondLst>
                                        </p:cTn>
                                        <p:tgtEl>
                                          <p:spTgt spid="147"/>
                                        </p:tgtEl>
                                        <p:attrNameLst>
                                          <p:attrName>style.visibility</p:attrName>
                                        </p:attrNameLst>
                                      </p:cBhvr>
                                      <p:to>
                                        <p:strVal val="visible"/>
                                      </p:to>
                                    </p:set>
                                    <p:animEffect transition="in" filter="fade">
                                      <p:cBhvr>
                                        <p:cTn id="16" dur="150"/>
                                        <p:tgtEl>
                                          <p:spTgt spid="147"/>
                                        </p:tgtEl>
                                      </p:cBhvr>
                                    </p:animEffect>
                                  </p:childTnLst>
                                </p:cTn>
                              </p:par>
                              <p:par>
                                <p:cTn id="17" presetID="42" presetClass="path" presetSubtype="0" accel="50000" decel="50000" fill="hold" grpId="0" nodeType="withEffect">
                                  <p:stCondLst>
                                    <p:cond delay="100"/>
                                  </p:stCondLst>
                                  <p:childTnLst>
                                    <p:animMotion origin="layout" path="M 1.04167E-6 -2.59259E-6 L 0.14284 -2.59259E-6 " pathEditMode="relative" rAng="0" ptsTypes="AA">
                                      <p:cBhvr>
                                        <p:cTn id="18" dur="150" fill="hold"/>
                                        <p:tgtEl>
                                          <p:spTgt spid="90"/>
                                        </p:tgtEl>
                                        <p:attrNameLst>
                                          <p:attrName>ppt_x</p:attrName>
                                          <p:attrName>ppt_y</p:attrName>
                                        </p:attrNameLst>
                                      </p:cBhvr>
                                      <p:rCtr x="7135" y="0"/>
                                    </p:animMotion>
                                  </p:childTnLst>
                                </p:cTn>
                              </p:par>
                              <p:par>
                                <p:cTn id="19" presetID="22" presetClass="entr" presetSubtype="1" fill="hold" grpId="0" nodeType="withEffect">
                                  <p:stCondLst>
                                    <p:cond delay="100"/>
                                  </p:stCondLst>
                                  <p:childTnLst>
                                    <p:set>
                                      <p:cBhvr>
                                        <p:cTn id="20" dur="1" fill="hold">
                                          <p:stCondLst>
                                            <p:cond delay="0"/>
                                          </p:stCondLst>
                                        </p:cTn>
                                        <p:tgtEl>
                                          <p:spTgt spid="175"/>
                                        </p:tgtEl>
                                        <p:attrNameLst>
                                          <p:attrName>style.visibility</p:attrName>
                                        </p:attrNameLst>
                                      </p:cBhvr>
                                      <p:to>
                                        <p:strVal val="visible"/>
                                      </p:to>
                                    </p:set>
                                    <p:animEffect transition="in" filter="wipe(up)">
                                      <p:cBhvr>
                                        <p:cTn id="21" dur="150"/>
                                        <p:tgtEl>
                                          <p:spTgt spid="175"/>
                                        </p:tgtEl>
                                      </p:cBhvr>
                                    </p:animEffect>
                                  </p:childTnLst>
                                </p:cTn>
                              </p:par>
                              <p:par>
                                <p:cTn id="22" presetID="22" presetClass="entr" presetSubtype="1" fill="hold" grpId="0" nodeType="withEffect">
                                  <p:stCondLst>
                                    <p:cond delay="100"/>
                                  </p:stCondLst>
                                  <p:childTnLst>
                                    <p:set>
                                      <p:cBhvr>
                                        <p:cTn id="23" dur="1" fill="hold">
                                          <p:stCondLst>
                                            <p:cond delay="0"/>
                                          </p:stCondLst>
                                        </p:cTn>
                                        <p:tgtEl>
                                          <p:spTgt spid="164"/>
                                        </p:tgtEl>
                                        <p:attrNameLst>
                                          <p:attrName>style.visibility</p:attrName>
                                        </p:attrNameLst>
                                      </p:cBhvr>
                                      <p:to>
                                        <p:strVal val="visible"/>
                                      </p:to>
                                    </p:set>
                                    <p:animEffect transition="in" filter="wipe(up)">
                                      <p:cBhvr>
                                        <p:cTn id="24" dur="150"/>
                                        <p:tgtEl>
                                          <p:spTgt spid="164"/>
                                        </p:tgtEl>
                                      </p:cBhvr>
                                    </p:animEffect>
                                  </p:childTnLst>
                                </p:cTn>
                              </p:par>
                              <p:par>
                                <p:cTn id="25" presetID="22" presetClass="exit" presetSubtype="1" fill="hold" grpId="0" nodeType="withEffect">
                                  <p:stCondLst>
                                    <p:cond delay="100"/>
                                  </p:stCondLst>
                                  <p:childTnLst>
                                    <p:animEffect transition="out" filter="wipe(up)">
                                      <p:cBhvr>
                                        <p:cTn id="26" dur="150"/>
                                        <p:tgtEl>
                                          <p:spTgt spid="173"/>
                                        </p:tgtEl>
                                      </p:cBhvr>
                                    </p:animEffect>
                                    <p:set>
                                      <p:cBhvr>
                                        <p:cTn id="27" dur="1" fill="hold">
                                          <p:stCondLst>
                                            <p:cond delay="149"/>
                                          </p:stCondLst>
                                        </p:cTn>
                                        <p:tgtEl>
                                          <p:spTgt spid="173"/>
                                        </p:tgtEl>
                                        <p:attrNameLst>
                                          <p:attrName>style.visibility</p:attrName>
                                        </p:attrNameLst>
                                      </p:cBhvr>
                                      <p:to>
                                        <p:strVal val="hidden"/>
                                      </p:to>
                                    </p:set>
                                  </p:childTnLst>
                                </p:cTn>
                              </p:par>
                              <p:par>
                                <p:cTn id="28" presetID="12" presetClass="entr" presetSubtype="8" fill="hold" grpId="1" nodeType="withEffect">
                                  <p:stCondLst>
                                    <p:cond delay="200"/>
                                  </p:stCondLst>
                                  <p:childTnLst>
                                    <p:set>
                                      <p:cBhvr>
                                        <p:cTn id="29" dur="1" fill="hold">
                                          <p:stCondLst>
                                            <p:cond delay="0"/>
                                          </p:stCondLst>
                                        </p:cTn>
                                        <p:tgtEl>
                                          <p:spTgt spid="123"/>
                                        </p:tgtEl>
                                        <p:attrNameLst>
                                          <p:attrName>style.visibility</p:attrName>
                                        </p:attrNameLst>
                                      </p:cBhvr>
                                      <p:to>
                                        <p:strVal val="visible"/>
                                      </p:to>
                                    </p:set>
                                    <p:anim calcmode="lin" valueType="num">
                                      <p:cBhvr additive="base">
                                        <p:cTn id="30" dur="80"/>
                                        <p:tgtEl>
                                          <p:spTgt spid="123"/>
                                        </p:tgtEl>
                                        <p:attrNameLst>
                                          <p:attrName>ppt_x</p:attrName>
                                        </p:attrNameLst>
                                      </p:cBhvr>
                                      <p:tavLst>
                                        <p:tav tm="0">
                                          <p:val>
                                            <p:strVal val="#ppt_x-#ppt_w*1.125000"/>
                                          </p:val>
                                        </p:tav>
                                        <p:tav tm="100000">
                                          <p:val>
                                            <p:strVal val="#ppt_x"/>
                                          </p:val>
                                        </p:tav>
                                      </p:tavLst>
                                    </p:anim>
                                    <p:animEffect transition="in" filter="wipe(right)">
                                      <p:cBhvr>
                                        <p:cTn id="31" dur="80"/>
                                        <p:tgtEl>
                                          <p:spTgt spid="123"/>
                                        </p:tgtEl>
                                      </p:cBhvr>
                                    </p:animEffect>
                                  </p:childTnLst>
                                </p:cTn>
                              </p:par>
                              <p:par>
                                <p:cTn id="32" presetID="10" presetClass="exit" presetSubtype="0" fill="hold" grpId="5" nodeType="withEffect">
                                  <p:stCondLst>
                                    <p:cond delay="200"/>
                                  </p:stCondLst>
                                  <p:childTnLst>
                                    <p:animEffect transition="out" filter="fade">
                                      <p:cBhvr>
                                        <p:cTn id="33" dur="150"/>
                                        <p:tgtEl>
                                          <p:spTgt spid="147"/>
                                        </p:tgtEl>
                                      </p:cBhvr>
                                    </p:animEffect>
                                    <p:set>
                                      <p:cBhvr>
                                        <p:cTn id="34" dur="1" fill="hold">
                                          <p:stCondLst>
                                            <p:cond delay="149"/>
                                          </p:stCondLst>
                                        </p:cTn>
                                        <p:tgtEl>
                                          <p:spTgt spid="147"/>
                                        </p:tgtEl>
                                        <p:attrNameLst>
                                          <p:attrName>style.visibility</p:attrName>
                                        </p:attrNameLst>
                                      </p:cBhvr>
                                      <p:to>
                                        <p:strVal val="hidden"/>
                                      </p:to>
                                    </p:set>
                                  </p:childTnLst>
                                </p:cTn>
                              </p:par>
                              <p:par>
                                <p:cTn id="35" presetID="10" presetClass="entr" presetSubtype="0" fill="hold" grpId="0" nodeType="withEffect">
                                  <p:stCondLst>
                                    <p:cond delay="200"/>
                                  </p:stCondLst>
                                  <p:childTnLst>
                                    <p:set>
                                      <p:cBhvr>
                                        <p:cTn id="36" dur="1" fill="hold">
                                          <p:stCondLst>
                                            <p:cond delay="0"/>
                                          </p:stCondLst>
                                        </p:cTn>
                                        <p:tgtEl>
                                          <p:spTgt spid="150"/>
                                        </p:tgtEl>
                                        <p:attrNameLst>
                                          <p:attrName>style.visibility</p:attrName>
                                        </p:attrNameLst>
                                      </p:cBhvr>
                                      <p:to>
                                        <p:strVal val="visible"/>
                                      </p:to>
                                    </p:set>
                                    <p:animEffect transition="in" filter="fade">
                                      <p:cBhvr>
                                        <p:cTn id="37" dur="150"/>
                                        <p:tgtEl>
                                          <p:spTgt spid="150"/>
                                        </p:tgtEl>
                                      </p:cBhvr>
                                    </p:animEffect>
                                  </p:childTnLst>
                                </p:cTn>
                              </p:par>
                              <p:par>
                                <p:cTn id="38" presetID="42" presetClass="path" presetSubtype="0" accel="50000" decel="50000" fill="hold" grpId="0" nodeType="withEffect">
                                  <p:stCondLst>
                                    <p:cond delay="200"/>
                                  </p:stCondLst>
                                  <p:childTnLst>
                                    <p:animMotion origin="layout" path="M 1.04167E-6 -2.59259E-6 L 0.1431 0.10139 " pathEditMode="relative" rAng="0" ptsTypes="AA">
                                      <p:cBhvr>
                                        <p:cTn id="39" dur="150" fill="hold"/>
                                        <p:tgtEl>
                                          <p:spTgt spid="123"/>
                                        </p:tgtEl>
                                        <p:attrNameLst>
                                          <p:attrName>ppt_x</p:attrName>
                                          <p:attrName>ppt_y</p:attrName>
                                        </p:attrNameLst>
                                      </p:cBhvr>
                                      <p:rCtr x="7148" y="5069"/>
                                    </p:animMotion>
                                  </p:childTnLst>
                                </p:cTn>
                              </p:par>
                              <p:par>
                                <p:cTn id="40" presetID="22" presetClass="exit" presetSubtype="4" fill="hold" grpId="1" nodeType="withEffect">
                                  <p:stCondLst>
                                    <p:cond delay="200"/>
                                  </p:stCondLst>
                                  <p:childTnLst>
                                    <p:animEffect transition="out" filter="wipe(down)">
                                      <p:cBhvr>
                                        <p:cTn id="41" dur="150"/>
                                        <p:tgtEl>
                                          <p:spTgt spid="164"/>
                                        </p:tgtEl>
                                      </p:cBhvr>
                                    </p:animEffect>
                                    <p:set>
                                      <p:cBhvr>
                                        <p:cTn id="42" dur="1" fill="hold">
                                          <p:stCondLst>
                                            <p:cond delay="149"/>
                                          </p:stCondLst>
                                        </p:cTn>
                                        <p:tgtEl>
                                          <p:spTgt spid="164"/>
                                        </p:tgtEl>
                                        <p:attrNameLst>
                                          <p:attrName>style.visibility</p:attrName>
                                        </p:attrNameLst>
                                      </p:cBhvr>
                                      <p:to>
                                        <p:strVal val="hidden"/>
                                      </p:to>
                                    </p:set>
                                  </p:childTnLst>
                                </p:cTn>
                              </p:par>
                              <p:par>
                                <p:cTn id="43" presetID="12" presetClass="entr" presetSubtype="8" fill="hold" grpId="1" nodeType="withEffect">
                                  <p:stCondLst>
                                    <p:cond delay="300"/>
                                  </p:stCondLst>
                                  <p:childTnLst>
                                    <p:set>
                                      <p:cBhvr>
                                        <p:cTn id="44" dur="1" fill="hold">
                                          <p:stCondLst>
                                            <p:cond delay="0"/>
                                          </p:stCondLst>
                                        </p:cTn>
                                        <p:tgtEl>
                                          <p:spTgt spid="91"/>
                                        </p:tgtEl>
                                        <p:attrNameLst>
                                          <p:attrName>style.visibility</p:attrName>
                                        </p:attrNameLst>
                                      </p:cBhvr>
                                      <p:to>
                                        <p:strVal val="visible"/>
                                      </p:to>
                                    </p:set>
                                    <p:anim calcmode="lin" valueType="num">
                                      <p:cBhvr additive="base">
                                        <p:cTn id="45" dur="80"/>
                                        <p:tgtEl>
                                          <p:spTgt spid="91"/>
                                        </p:tgtEl>
                                        <p:attrNameLst>
                                          <p:attrName>ppt_x</p:attrName>
                                        </p:attrNameLst>
                                      </p:cBhvr>
                                      <p:tavLst>
                                        <p:tav tm="0">
                                          <p:val>
                                            <p:strVal val="#ppt_x-#ppt_w*1.125000"/>
                                          </p:val>
                                        </p:tav>
                                        <p:tav tm="100000">
                                          <p:val>
                                            <p:strVal val="#ppt_x"/>
                                          </p:val>
                                        </p:tav>
                                      </p:tavLst>
                                    </p:anim>
                                    <p:animEffect transition="in" filter="wipe(right)">
                                      <p:cBhvr>
                                        <p:cTn id="46" dur="80"/>
                                        <p:tgtEl>
                                          <p:spTgt spid="91"/>
                                        </p:tgtEl>
                                      </p:cBhvr>
                                    </p:animEffect>
                                  </p:childTnLst>
                                </p:cTn>
                              </p:par>
                              <p:par>
                                <p:cTn id="47" presetID="10" presetClass="exit" presetSubtype="0" fill="hold" grpId="5" nodeType="withEffect">
                                  <p:stCondLst>
                                    <p:cond delay="300"/>
                                  </p:stCondLst>
                                  <p:childTnLst>
                                    <p:animEffect transition="out" filter="fade">
                                      <p:cBhvr>
                                        <p:cTn id="48" dur="150"/>
                                        <p:tgtEl>
                                          <p:spTgt spid="150"/>
                                        </p:tgtEl>
                                      </p:cBhvr>
                                    </p:animEffect>
                                    <p:set>
                                      <p:cBhvr>
                                        <p:cTn id="49" dur="1" fill="hold">
                                          <p:stCondLst>
                                            <p:cond delay="149"/>
                                          </p:stCondLst>
                                        </p:cTn>
                                        <p:tgtEl>
                                          <p:spTgt spid="150"/>
                                        </p:tgtEl>
                                        <p:attrNameLst>
                                          <p:attrName>style.visibility</p:attrName>
                                        </p:attrNameLst>
                                      </p:cBhvr>
                                      <p:to>
                                        <p:strVal val="hidden"/>
                                      </p:to>
                                    </p:set>
                                  </p:childTnLst>
                                </p:cTn>
                              </p:par>
                              <p:par>
                                <p:cTn id="50" presetID="10" presetClass="entr" presetSubtype="0" fill="hold" grpId="0" nodeType="withEffect">
                                  <p:stCondLst>
                                    <p:cond delay="300"/>
                                  </p:stCondLst>
                                  <p:childTnLst>
                                    <p:set>
                                      <p:cBhvr>
                                        <p:cTn id="51" dur="1" fill="hold">
                                          <p:stCondLst>
                                            <p:cond delay="0"/>
                                          </p:stCondLst>
                                        </p:cTn>
                                        <p:tgtEl>
                                          <p:spTgt spid="148"/>
                                        </p:tgtEl>
                                        <p:attrNameLst>
                                          <p:attrName>style.visibility</p:attrName>
                                        </p:attrNameLst>
                                      </p:cBhvr>
                                      <p:to>
                                        <p:strVal val="visible"/>
                                      </p:to>
                                    </p:set>
                                    <p:animEffect transition="in" filter="fade">
                                      <p:cBhvr>
                                        <p:cTn id="52" dur="150"/>
                                        <p:tgtEl>
                                          <p:spTgt spid="148"/>
                                        </p:tgtEl>
                                      </p:cBhvr>
                                    </p:animEffect>
                                  </p:childTnLst>
                                </p:cTn>
                              </p:par>
                              <p:par>
                                <p:cTn id="53" presetID="42" presetClass="path" presetSubtype="0" accel="50000" decel="50000" fill="hold" grpId="0" nodeType="withEffect">
                                  <p:stCondLst>
                                    <p:cond delay="300"/>
                                  </p:stCondLst>
                                  <p:childTnLst>
                                    <p:animMotion origin="layout" path="M 1.04167E-6 -2.59259E-6 L 0.14219 0.20301 " pathEditMode="relative" rAng="0" ptsTypes="AA">
                                      <p:cBhvr>
                                        <p:cTn id="54" dur="150" fill="hold"/>
                                        <p:tgtEl>
                                          <p:spTgt spid="91"/>
                                        </p:tgtEl>
                                        <p:attrNameLst>
                                          <p:attrName>ppt_x</p:attrName>
                                          <p:attrName>ppt_y</p:attrName>
                                        </p:attrNameLst>
                                      </p:cBhvr>
                                      <p:rCtr x="7109" y="10139"/>
                                    </p:animMotion>
                                  </p:childTnLst>
                                </p:cTn>
                              </p:par>
                              <p:par>
                                <p:cTn id="55" presetID="22" presetClass="entr" presetSubtype="4" fill="hold" grpId="1" nodeType="withEffect">
                                  <p:stCondLst>
                                    <p:cond delay="300"/>
                                  </p:stCondLst>
                                  <p:childTnLst>
                                    <p:set>
                                      <p:cBhvr>
                                        <p:cTn id="56" dur="1" fill="hold">
                                          <p:stCondLst>
                                            <p:cond delay="0"/>
                                          </p:stCondLst>
                                        </p:cTn>
                                        <p:tgtEl>
                                          <p:spTgt spid="173"/>
                                        </p:tgtEl>
                                        <p:attrNameLst>
                                          <p:attrName>style.visibility</p:attrName>
                                        </p:attrNameLst>
                                      </p:cBhvr>
                                      <p:to>
                                        <p:strVal val="visible"/>
                                      </p:to>
                                    </p:set>
                                    <p:animEffect transition="in" filter="wipe(down)">
                                      <p:cBhvr>
                                        <p:cTn id="57" dur="150"/>
                                        <p:tgtEl>
                                          <p:spTgt spid="173"/>
                                        </p:tgtEl>
                                      </p:cBhvr>
                                    </p:animEffect>
                                  </p:childTnLst>
                                </p:cTn>
                              </p:par>
                              <p:par>
                                <p:cTn id="58" presetID="12" presetClass="entr" presetSubtype="8" fill="hold" grpId="1" nodeType="withEffect">
                                  <p:stCondLst>
                                    <p:cond delay="400"/>
                                  </p:stCondLst>
                                  <p:childTnLst>
                                    <p:set>
                                      <p:cBhvr>
                                        <p:cTn id="59" dur="1" fill="hold">
                                          <p:stCondLst>
                                            <p:cond delay="0"/>
                                          </p:stCondLst>
                                        </p:cTn>
                                        <p:tgtEl>
                                          <p:spTgt spid="137"/>
                                        </p:tgtEl>
                                        <p:attrNameLst>
                                          <p:attrName>style.visibility</p:attrName>
                                        </p:attrNameLst>
                                      </p:cBhvr>
                                      <p:to>
                                        <p:strVal val="visible"/>
                                      </p:to>
                                    </p:set>
                                    <p:anim calcmode="lin" valueType="num">
                                      <p:cBhvr additive="base">
                                        <p:cTn id="60" dur="80"/>
                                        <p:tgtEl>
                                          <p:spTgt spid="137"/>
                                        </p:tgtEl>
                                        <p:attrNameLst>
                                          <p:attrName>ppt_x</p:attrName>
                                        </p:attrNameLst>
                                      </p:cBhvr>
                                      <p:tavLst>
                                        <p:tav tm="0">
                                          <p:val>
                                            <p:strVal val="#ppt_x-#ppt_w*1.125000"/>
                                          </p:val>
                                        </p:tav>
                                        <p:tav tm="100000">
                                          <p:val>
                                            <p:strVal val="#ppt_x"/>
                                          </p:val>
                                        </p:tav>
                                      </p:tavLst>
                                    </p:anim>
                                    <p:animEffect transition="in" filter="wipe(right)">
                                      <p:cBhvr>
                                        <p:cTn id="61" dur="80"/>
                                        <p:tgtEl>
                                          <p:spTgt spid="137"/>
                                        </p:tgtEl>
                                      </p:cBhvr>
                                    </p:animEffect>
                                  </p:childTnLst>
                                </p:cTn>
                              </p:par>
                              <p:par>
                                <p:cTn id="62" presetID="10" presetClass="exit" presetSubtype="0" fill="hold" grpId="3" nodeType="withEffect">
                                  <p:stCondLst>
                                    <p:cond delay="400"/>
                                  </p:stCondLst>
                                  <p:childTnLst>
                                    <p:animEffect transition="out" filter="fade">
                                      <p:cBhvr>
                                        <p:cTn id="63" dur="150"/>
                                        <p:tgtEl>
                                          <p:spTgt spid="148"/>
                                        </p:tgtEl>
                                      </p:cBhvr>
                                    </p:animEffect>
                                    <p:set>
                                      <p:cBhvr>
                                        <p:cTn id="64" dur="1" fill="hold">
                                          <p:stCondLst>
                                            <p:cond delay="149"/>
                                          </p:stCondLst>
                                        </p:cTn>
                                        <p:tgtEl>
                                          <p:spTgt spid="148"/>
                                        </p:tgtEl>
                                        <p:attrNameLst>
                                          <p:attrName>style.visibility</p:attrName>
                                        </p:attrNameLst>
                                      </p:cBhvr>
                                      <p:to>
                                        <p:strVal val="hidden"/>
                                      </p:to>
                                    </p:set>
                                  </p:childTnLst>
                                </p:cTn>
                              </p:par>
                              <p:par>
                                <p:cTn id="65" presetID="10" presetClass="entr" presetSubtype="0" fill="hold" grpId="1" nodeType="withEffect">
                                  <p:stCondLst>
                                    <p:cond delay="400"/>
                                  </p:stCondLst>
                                  <p:childTnLst>
                                    <p:set>
                                      <p:cBhvr>
                                        <p:cTn id="66" dur="1" fill="hold">
                                          <p:stCondLst>
                                            <p:cond delay="0"/>
                                          </p:stCondLst>
                                        </p:cTn>
                                        <p:tgtEl>
                                          <p:spTgt spid="147"/>
                                        </p:tgtEl>
                                        <p:attrNameLst>
                                          <p:attrName>style.visibility</p:attrName>
                                        </p:attrNameLst>
                                      </p:cBhvr>
                                      <p:to>
                                        <p:strVal val="visible"/>
                                      </p:to>
                                    </p:set>
                                    <p:animEffect transition="in" filter="fade">
                                      <p:cBhvr>
                                        <p:cTn id="67" dur="150"/>
                                        <p:tgtEl>
                                          <p:spTgt spid="147"/>
                                        </p:tgtEl>
                                      </p:cBhvr>
                                    </p:animEffect>
                                  </p:childTnLst>
                                </p:cTn>
                              </p:par>
                              <p:par>
                                <p:cTn id="68" presetID="42" presetClass="path" presetSubtype="0" accel="50000" decel="50000" fill="hold" grpId="0" nodeType="withEffect">
                                  <p:stCondLst>
                                    <p:cond delay="400"/>
                                  </p:stCondLst>
                                  <p:childTnLst>
                                    <p:animMotion origin="layout" path="M 1.04167E-6 -2.59259E-6 L 0.07161 -0.2037 " pathEditMode="relative" rAng="0" ptsTypes="AA">
                                      <p:cBhvr>
                                        <p:cTn id="69" dur="150" fill="hold"/>
                                        <p:tgtEl>
                                          <p:spTgt spid="137"/>
                                        </p:tgtEl>
                                        <p:attrNameLst>
                                          <p:attrName>ppt_x</p:attrName>
                                          <p:attrName>ppt_y</p:attrName>
                                        </p:attrNameLst>
                                      </p:cBhvr>
                                      <p:rCtr x="3581" y="-10185"/>
                                    </p:animMotion>
                                  </p:childTnLst>
                                </p:cTn>
                              </p:par>
                              <p:par>
                                <p:cTn id="70" presetID="22" presetClass="exit" presetSubtype="1" fill="hold" grpId="0" nodeType="withEffect">
                                  <p:stCondLst>
                                    <p:cond delay="400"/>
                                  </p:stCondLst>
                                  <p:childTnLst>
                                    <p:animEffect transition="out" filter="wipe(up)">
                                      <p:cBhvr>
                                        <p:cTn id="71" dur="150"/>
                                        <p:tgtEl>
                                          <p:spTgt spid="171"/>
                                        </p:tgtEl>
                                      </p:cBhvr>
                                    </p:animEffect>
                                    <p:set>
                                      <p:cBhvr>
                                        <p:cTn id="72" dur="1" fill="hold">
                                          <p:stCondLst>
                                            <p:cond delay="149"/>
                                          </p:stCondLst>
                                        </p:cTn>
                                        <p:tgtEl>
                                          <p:spTgt spid="171"/>
                                        </p:tgtEl>
                                        <p:attrNameLst>
                                          <p:attrName>style.visibility</p:attrName>
                                        </p:attrNameLst>
                                      </p:cBhvr>
                                      <p:to>
                                        <p:strVal val="hidden"/>
                                      </p:to>
                                    </p:set>
                                  </p:childTnLst>
                                </p:cTn>
                              </p:par>
                              <p:par>
                                <p:cTn id="73" presetID="12" presetClass="entr" presetSubtype="8" fill="hold" grpId="1" nodeType="withEffect">
                                  <p:stCondLst>
                                    <p:cond delay="500"/>
                                  </p:stCondLst>
                                  <p:childTnLst>
                                    <p:set>
                                      <p:cBhvr>
                                        <p:cTn id="74" dur="1" fill="hold">
                                          <p:stCondLst>
                                            <p:cond delay="0"/>
                                          </p:stCondLst>
                                        </p:cTn>
                                        <p:tgtEl>
                                          <p:spTgt spid="138"/>
                                        </p:tgtEl>
                                        <p:attrNameLst>
                                          <p:attrName>style.visibility</p:attrName>
                                        </p:attrNameLst>
                                      </p:cBhvr>
                                      <p:to>
                                        <p:strVal val="visible"/>
                                      </p:to>
                                    </p:set>
                                    <p:anim calcmode="lin" valueType="num">
                                      <p:cBhvr additive="base">
                                        <p:cTn id="75" dur="80"/>
                                        <p:tgtEl>
                                          <p:spTgt spid="138"/>
                                        </p:tgtEl>
                                        <p:attrNameLst>
                                          <p:attrName>ppt_x</p:attrName>
                                        </p:attrNameLst>
                                      </p:cBhvr>
                                      <p:tavLst>
                                        <p:tav tm="0">
                                          <p:val>
                                            <p:strVal val="#ppt_x-#ppt_w*1.125000"/>
                                          </p:val>
                                        </p:tav>
                                        <p:tav tm="100000">
                                          <p:val>
                                            <p:strVal val="#ppt_x"/>
                                          </p:val>
                                        </p:tav>
                                      </p:tavLst>
                                    </p:anim>
                                    <p:animEffect transition="in" filter="wipe(right)">
                                      <p:cBhvr>
                                        <p:cTn id="76" dur="80"/>
                                        <p:tgtEl>
                                          <p:spTgt spid="138"/>
                                        </p:tgtEl>
                                      </p:cBhvr>
                                    </p:animEffect>
                                  </p:childTnLst>
                                </p:cTn>
                              </p:par>
                              <p:par>
                                <p:cTn id="77" presetID="10" presetClass="exit" presetSubtype="0" fill="hold" grpId="3" nodeType="withEffect">
                                  <p:stCondLst>
                                    <p:cond delay="500"/>
                                  </p:stCondLst>
                                  <p:childTnLst>
                                    <p:animEffect transition="out" filter="fade">
                                      <p:cBhvr>
                                        <p:cTn id="78" dur="150"/>
                                        <p:tgtEl>
                                          <p:spTgt spid="147"/>
                                        </p:tgtEl>
                                      </p:cBhvr>
                                    </p:animEffect>
                                    <p:set>
                                      <p:cBhvr>
                                        <p:cTn id="79" dur="1" fill="hold">
                                          <p:stCondLst>
                                            <p:cond delay="149"/>
                                          </p:stCondLst>
                                        </p:cTn>
                                        <p:tgtEl>
                                          <p:spTgt spid="147"/>
                                        </p:tgtEl>
                                        <p:attrNameLst>
                                          <p:attrName>style.visibility</p:attrName>
                                        </p:attrNameLst>
                                      </p:cBhvr>
                                      <p:to>
                                        <p:strVal val="hidden"/>
                                      </p:to>
                                    </p:set>
                                  </p:childTnLst>
                                </p:cTn>
                              </p:par>
                              <p:par>
                                <p:cTn id="80" presetID="10" presetClass="entr" presetSubtype="0" fill="hold" grpId="0" nodeType="withEffect">
                                  <p:stCondLst>
                                    <p:cond delay="500"/>
                                  </p:stCondLst>
                                  <p:childTnLst>
                                    <p:set>
                                      <p:cBhvr>
                                        <p:cTn id="81" dur="1" fill="hold">
                                          <p:stCondLst>
                                            <p:cond delay="0"/>
                                          </p:stCondLst>
                                        </p:cTn>
                                        <p:tgtEl>
                                          <p:spTgt spid="149"/>
                                        </p:tgtEl>
                                        <p:attrNameLst>
                                          <p:attrName>style.visibility</p:attrName>
                                        </p:attrNameLst>
                                      </p:cBhvr>
                                      <p:to>
                                        <p:strVal val="visible"/>
                                      </p:to>
                                    </p:set>
                                    <p:animEffect transition="in" filter="fade">
                                      <p:cBhvr>
                                        <p:cTn id="82" dur="150"/>
                                        <p:tgtEl>
                                          <p:spTgt spid="149"/>
                                        </p:tgtEl>
                                      </p:cBhvr>
                                    </p:animEffect>
                                  </p:childTnLst>
                                </p:cTn>
                              </p:par>
                              <p:par>
                                <p:cTn id="83" presetID="42" presetClass="path" presetSubtype="0" accel="50000" decel="50000" fill="hold" grpId="0" nodeType="withEffect">
                                  <p:stCondLst>
                                    <p:cond delay="500"/>
                                  </p:stCondLst>
                                  <p:childTnLst>
                                    <p:animMotion origin="layout" path="M 1.04167E-6 -2.59259E-6 L 0.07161 -0.10185 " pathEditMode="relative" rAng="0" ptsTypes="AA">
                                      <p:cBhvr>
                                        <p:cTn id="84" dur="150" fill="hold"/>
                                        <p:tgtEl>
                                          <p:spTgt spid="138"/>
                                        </p:tgtEl>
                                        <p:attrNameLst>
                                          <p:attrName>ppt_x</p:attrName>
                                          <p:attrName>ppt_y</p:attrName>
                                        </p:attrNameLst>
                                      </p:cBhvr>
                                      <p:rCtr x="3581" y="-5093"/>
                                    </p:animMotion>
                                  </p:childTnLst>
                                </p:cTn>
                              </p:par>
                              <p:par>
                                <p:cTn id="85" presetID="22" presetClass="entr" presetSubtype="1" fill="hold" grpId="2" nodeType="withEffect">
                                  <p:stCondLst>
                                    <p:cond delay="500"/>
                                  </p:stCondLst>
                                  <p:childTnLst>
                                    <p:set>
                                      <p:cBhvr>
                                        <p:cTn id="86" dur="1" fill="hold">
                                          <p:stCondLst>
                                            <p:cond delay="0"/>
                                          </p:stCondLst>
                                        </p:cTn>
                                        <p:tgtEl>
                                          <p:spTgt spid="164"/>
                                        </p:tgtEl>
                                        <p:attrNameLst>
                                          <p:attrName>style.visibility</p:attrName>
                                        </p:attrNameLst>
                                      </p:cBhvr>
                                      <p:to>
                                        <p:strVal val="visible"/>
                                      </p:to>
                                    </p:set>
                                    <p:animEffect transition="in" filter="wipe(up)">
                                      <p:cBhvr>
                                        <p:cTn id="87" dur="150"/>
                                        <p:tgtEl>
                                          <p:spTgt spid="164"/>
                                        </p:tgtEl>
                                      </p:cBhvr>
                                    </p:animEffect>
                                  </p:childTnLst>
                                </p:cTn>
                              </p:par>
                              <p:par>
                                <p:cTn id="88" presetID="12" presetClass="entr" presetSubtype="8" fill="hold" grpId="1" nodeType="withEffect">
                                  <p:stCondLst>
                                    <p:cond delay="600"/>
                                  </p:stCondLst>
                                  <p:childTnLst>
                                    <p:set>
                                      <p:cBhvr>
                                        <p:cTn id="89" dur="1" fill="hold">
                                          <p:stCondLst>
                                            <p:cond delay="0"/>
                                          </p:stCondLst>
                                        </p:cTn>
                                        <p:tgtEl>
                                          <p:spTgt spid="139"/>
                                        </p:tgtEl>
                                        <p:attrNameLst>
                                          <p:attrName>style.visibility</p:attrName>
                                        </p:attrNameLst>
                                      </p:cBhvr>
                                      <p:to>
                                        <p:strVal val="visible"/>
                                      </p:to>
                                    </p:set>
                                    <p:anim calcmode="lin" valueType="num">
                                      <p:cBhvr additive="base">
                                        <p:cTn id="90" dur="80"/>
                                        <p:tgtEl>
                                          <p:spTgt spid="139"/>
                                        </p:tgtEl>
                                        <p:attrNameLst>
                                          <p:attrName>ppt_x</p:attrName>
                                        </p:attrNameLst>
                                      </p:cBhvr>
                                      <p:tavLst>
                                        <p:tav tm="0">
                                          <p:val>
                                            <p:strVal val="#ppt_x-#ppt_w*1.125000"/>
                                          </p:val>
                                        </p:tav>
                                        <p:tav tm="100000">
                                          <p:val>
                                            <p:strVal val="#ppt_x"/>
                                          </p:val>
                                        </p:tav>
                                      </p:tavLst>
                                    </p:anim>
                                    <p:animEffect transition="in" filter="wipe(right)">
                                      <p:cBhvr>
                                        <p:cTn id="91" dur="80"/>
                                        <p:tgtEl>
                                          <p:spTgt spid="139"/>
                                        </p:tgtEl>
                                      </p:cBhvr>
                                    </p:animEffect>
                                  </p:childTnLst>
                                </p:cTn>
                              </p:par>
                              <p:par>
                                <p:cTn id="92" presetID="10" presetClass="exit" presetSubtype="0" fill="hold" grpId="3" nodeType="withEffect">
                                  <p:stCondLst>
                                    <p:cond delay="600"/>
                                  </p:stCondLst>
                                  <p:childTnLst>
                                    <p:animEffect transition="out" filter="fade">
                                      <p:cBhvr>
                                        <p:cTn id="93" dur="150"/>
                                        <p:tgtEl>
                                          <p:spTgt spid="149"/>
                                        </p:tgtEl>
                                      </p:cBhvr>
                                    </p:animEffect>
                                    <p:set>
                                      <p:cBhvr>
                                        <p:cTn id="94" dur="1" fill="hold">
                                          <p:stCondLst>
                                            <p:cond delay="149"/>
                                          </p:stCondLst>
                                        </p:cTn>
                                        <p:tgtEl>
                                          <p:spTgt spid="149"/>
                                        </p:tgtEl>
                                        <p:attrNameLst>
                                          <p:attrName>style.visibility</p:attrName>
                                        </p:attrNameLst>
                                      </p:cBhvr>
                                      <p:to>
                                        <p:strVal val="hidden"/>
                                      </p:to>
                                    </p:set>
                                  </p:childTnLst>
                                </p:cTn>
                              </p:par>
                              <p:par>
                                <p:cTn id="95" presetID="10" presetClass="entr" presetSubtype="0" fill="hold" grpId="0" nodeType="withEffect">
                                  <p:stCondLst>
                                    <p:cond delay="600"/>
                                  </p:stCondLst>
                                  <p:childTnLst>
                                    <p:set>
                                      <p:cBhvr>
                                        <p:cTn id="96" dur="1" fill="hold">
                                          <p:stCondLst>
                                            <p:cond delay="0"/>
                                          </p:stCondLst>
                                        </p:cTn>
                                        <p:tgtEl>
                                          <p:spTgt spid="136"/>
                                        </p:tgtEl>
                                        <p:attrNameLst>
                                          <p:attrName>style.visibility</p:attrName>
                                        </p:attrNameLst>
                                      </p:cBhvr>
                                      <p:to>
                                        <p:strVal val="visible"/>
                                      </p:to>
                                    </p:set>
                                    <p:animEffect transition="in" filter="fade">
                                      <p:cBhvr>
                                        <p:cTn id="97" dur="150"/>
                                        <p:tgtEl>
                                          <p:spTgt spid="136"/>
                                        </p:tgtEl>
                                      </p:cBhvr>
                                    </p:animEffect>
                                  </p:childTnLst>
                                </p:cTn>
                              </p:par>
                              <p:par>
                                <p:cTn id="98" presetID="42" presetClass="path" presetSubtype="0" accel="50000" decel="50000" fill="hold" grpId="0" nodeType="withEffect">
                                  <p:stCondLst>
                                    <p:cond delay="600"/>
                                  </p:stCondLst>
                                  <p:childTnLst>
                                    <p:animMotion origin="layout" path="M 1.04167E-6 -2.59259E-6 L 0.07135 -0.00023 " pathEditMode="relative" rAng="0" ptsTypes="AA">
                                      <p:cBhvr>
                                        <p:cTn id="99" dur="150" fill="hold"/>
                                        <p:tgtEl>
                                          <p:spTgt spid="139"/>
                                        </p:tgtEl>
                                        <p:attrNameLst>
                                          <p:attrName>ppt_x</p:attrName>
                                          <p:attrName>ppt_y</p:attrName>
                                        </p:attrNameLst>
                                      </p:cBhvr>
                                      <p:rCtr x="3568" y="-23"/>
                                    </p:animMotion>
                                  </p:childTnLst>
                                </p:cTn>
                              </p:par>
                              <p:par>
                                <p:cTn id="100" presetID="22" presetClass="entr" presetSubtype="4" fill="hold" grpId="1" nodeType="withEffect">
                                  <p:stCondLst>
                                    <p:cond delay="600"/>
                                  </p:stCondLst>
                                  <p:childTnLst>
                                    <p:set>
                                      <p:cBhvr>
                                        <p:cTn id="101" dur="1" fill="hold">
                                          <p:stCondLst>
                                            <p:cond delay="0"/>
                                          </p:stCondLst>
                                        </p:cTn>
                                        <p:tgtEl>
                                          <p:spTgt spid="171"/>
                                        </p:tgtEl>
                                        <p:attrNameLst>
                                          <p:attrName>style.visibility</p:attrName>
                                        </p:attrNameLst>
                                      </p:cBhvr>
                                      <p:to>
                                        <p:strVal val="visible"/>
                                      </p:to>
                                    </p:set>
                                    <p:animEffect transition="in" filter="wipe(down)">
                                      <p:cBhvr>
                                        <p:cTn id="102" dur="150"/>
                                        <p:tgtEl>
                                          <p:spTgt spid="171"/>
                                        </p:tgtEl>
                                      </p:cBhvr>
                                    </p:animEffect>
                                  </p:childTnLst>
                                </p:cTn>
                              </p:par>
                              <p:par>
                                <p:cTn id="103" presetID="22" presetClass="exit" presetSubtype="1" fill="hold" grpId="2" nodeType="withEffect">
                                  <p:stCondLst>
                                    <p:cond delay="600"/>
                                  </p:stCondLst>
                                  <p:childTnLst>
                                    <p:animEffect transition="out" filter="wipe(up)">
                                      <p:cBhvr>
                                        <p:cTn id="104" dur="150"/>
                                        <p:tgtEl>
                                          <p:spTgt spid="173"/>
                                        </p:tgtEl>
                                      </p:cBhvr>
                                    </p:animEffect>
                                    <p:set>
                                      <p:cBhvr>
                                        <p:cTn id="105" dur="1" fill="hold">
                                          <p:stCondLst>
                                            <p:cond delay="149"/>
                                          </p:stCondLst>
                                        </p:cTn>
                                        <p:tgtEl>
                                          <p:spTgt spid="173"/>
                                        </p:tgtEl>
                                        <p:attrNameLst>
                                          <p:attrName>style.visibility</p:attrName>
                                        </p:attrNameLst>
                                      </p:cBhvr>
                                      <p:to>
                                        <p:strVal val="hidden"/>
                                      </p:to>
                                    </p:set>
                                  </p:childTnLst>
                                </p:cTn>
                              </p:par>
                              <p:par>
                                <p:cTn id="106" presetID="12" presetClass="entr" presetSubtype="8" fill="hold" grpId="1" nodeType="withEffect">
                                  <p:stCondLst>
                                    <p:cond delay="700"/>
                                  </p:stCondLst>
                                  <p:childTnLst>
                                    <p:set>
                                      <p:cBhvr>
                                        <p:cTn id="107" dur="1" fill="hold">
                                          <p:stCondLst>
                                            <p:cond delay="0"/>
                                          </p:stCondLst>
                                        </p:cTn>
                                        <p:tgtEl>
                                          <p:spTgt spid="140"/>
                                        </p:tgtEl>
                                        <p:attrNameLst>
                                          <p:attrName>style.visibility</p:attrName>
                                        </p:attrNameLst>
                                      </p:cBhvr>
                                      <p:to>
                                        <p:strVal val="visible"/>
                                      </p:to>
                                    </p:set>
                                    <p:anim calcmode="lin" valueType="num">
                                      <p:cBhvr additive="base">
                                        <p:cTn id="108" dur="80"/>
                                        <p:tgtEl>
                                          <p:spTgt spid="140"/>
                                        </p:tgtEl>
                                        <p:attrNameLst>
                                          <p:attrName>ppt_x</p:attrName>
                                        </p:attrNameLst>
                                      </p:cBhvr>
                                      <p:tavLst>
                                        <p:tav tm="0">
                                          <p:val>
                                            <p:strVal val="#ppt_x-#ppt_w*1.125000"/>
                                          </p:val>
                                        </p:tav>
                                        <p:tav tm="100000">
                                          <p:val>
                                            <p:strVal val="#ppt_x"/>
                                          </p:val>
                                        </p:tav>
                                      </p:tavLst>
                                    </p:anim>
                                    <p:animEffect transition="in" filter="wipe(right)">
                                      <p:cBhvr>
                                        <p:cTn id="109" dur="80"/>
                                        <p:tgtEl>
                                          <p:spTgt spid="140"/>
                                        </p:tgtEl>
                                      </p:cBhvr>
                                    </p:animEffect>
                                  </p:childTnLst>
                                </p:cTn>
                              </p:par>
                              <p:par>
                                <p:cTn id="110" presetID="10" presetClass="exit" presetSubtype="0" fill="hold" grpId="2" nodeType="withEffect">
                                  <p:stCondLst>
                                    <p:cond delay="700"/>
                                  </p:stCondLst>
                                  <p:childTnLst>
                                    <p:animEffect transition="out" filter="fade">
                                      <p:cBhvr>
                                        <p:cTn id="111" dur="150"/>
                                        <p:tgtEl>
                                          <p:spTgt spid="136"/>
                                        </p:tgtEl>
                                      </p:cBhvr>
                                    </p:animEffect>
                                    <p:set>
                                      <p:cBhvr>
                                        <p:cTn id="112" dur="1" fill="hold">
                                          <p:stCondLst>
                                            <p:cond delay="149"/>
                                          </p:stCondLst>
                                        </p:cTn>
                                        <p:tgtEl>
                                          <p:spTgt spid="136"/>
                                        </p:tgtEl>
                                        <p:attrNameLst>
                                          <p:attrName>style.visibility</p:attrName>
                                        </p:attrNameLst>
                                      </p:cBhvr>
                                      <p:to>
                                        <p:strVal val="hidden"/>
                                      </p:to>
                                    </p:set>
                                  </p:childTnLst>
                                </p:cTn>
                              </p:par>
                              <p:par>
                                <p:cTn id="113" presetID="10" presetClass="entr" presetSubtype="0" fill="hold" grpId="1" nodeType="withEffect">
                                  <p:stCondLst>
                                    <p:cond delay="700"/>
                                  </p:stCondLst>
                                  <p:childTnLst>
                                    <p:set>
                                      <p:cBhvr>
                                        <p:cTn id="114" dur="1" fill="hold">
                                          <p:stCondLst>
                                            <p:cond delay="0"/>
                                          </p:stCondLst>
                                        </p:cTn>
                                        <p:tgtEl>
                                          <p:spTgt spid="150"/>
                                        </p:tgtEl>
                                        <p:attrNameLst>
                                          <p:attrName>style.visibility</p:attrName>
                                        </p:attrNameLst>
                                      </p:cBhvr>
                                      <p:to>
                                        <p:strVal val="visible"/>
                                      </p:to>
                                    </p:set>
                                    <p:animEffect transition="in" filter="fade">
                                      <p:cBhvr>
                                        <p:cTn id="115" dur="150"/>
                                        <p:tgtEl>
                                          <p:spTgt spid="150"/>
                                        </p:tgtEl>
                                      </p:cBhvr>
                                    </p:animEffect>
                                  </p:childTnLst>
                                </p:cTn>
                              </p:par>
                              <p:par>
                                <p:cTn id="116" presetID="42" presetClass="path" presetSubtype="0" accel="50000" decel="50000" fill="hold" grpId="0" nodeType="withEffect">
                                  <p:stCondLst>
                                    <p:cond delay="700"/>
                                  </p:stCondLst>
                                  <p:childTnLst>
                                    <p:animMotion origin="layout" path="M 1.04167E-6 -2.59259E-6 L 0.07174 0.10185 " pathEditMode="relative" rAng="0" ptsTypes="AA">
                                      <p:cBhvr>
                                        <p:cTn id="117" dur="150" fill="hold"/>
                                        <p:tgtEl>
                                          <p:spTgt spid="140"/>
                                        </p:tgtEl>
                                        <p:attrNameLst>
                                          <p:attrName>ppt_x</p:attrName>
                                          <p:attrName>ppt_y</p:attrName>
                                        </p:attrNameLst>
                                      </p:cBhvr>
                                      <p:rCtr x="3581" y="5093"/>
                                    </p:animMotion>
                                  </p:childTnLst>
                                </p:cTn>
                              </p:par>
                              <p:par>
                                <p:cTn id="118" presetID="22" presetClass="exit" presetSubtype="4" fill="hold" grpId="1" nodeType="withEffect">
                                  <p:stCondLst>
                                    <p:cond delay="700"/>
                                  </p:stCondLst>
                                  <p:childTnLst>
                                    <p:animEffect transition="out" filter="wipe(down)">
                                      <p:cBhvr>
                                        <p:cTn id="119" dur="150"/>
                                        <p:tgtEl>
                                          <p:spTgt spid="175"/>
                                        </p:tgtEl>
                                      </p:cBhvr>
                                    </p:animEffect>
                                    <p:set>
                                      <p:cBhvr>
                                        <p:cTn id="120" dur="1" fill="hold">
                                          <p:stCondLst>
                                            <p:cond delay="149"/>
                                          </p:stCondLst>
                                        </p:cTn>
                                        <p:tgtEl>
                                          <p:spTgt spid="175"/>
                                        </p:tgtEl>
                                        <p:attrNameLst>
                                          <p:attrName>style.visibility</p:attrName>
                                        </p:attrNameLst>
                                      </p:cBhvr>
                                      <p:to>
                                        <p:strVal val="hidden"/>
                                      </p:to>
                                    </p:set>
                                  </p:childTnLst>
                                </p:cTn>
                              </p:par>
                              <p:par>
                                <p:cTn id="121" presetID="22" presetClass="exit" presetSubtype="4" fill="hold" grpId="3" nodeType="withEffect">
                                  <p:stCondLst>
                                    <p:cond delay="700"/>
                                  </p:stCondLst>
                                  <p:childTnLst>
                                    <p:animEffect transition="out" filter="wipe(down)">
                                      <p:cBhvr>
                                        <p:cTn id="122" dur="150"/>
                                        <p:tgtEl>
                                          <p:spTgt spid="164"/>
                                        </p:tgtEl>
                                      </p:cBhvr>
                                    </p:animEffect>
                                    <p:set>
                                      <p:cBhvr>
                                        <p:cTn id="123" dur="1" fill="hold">
                                          <p:stCondLst>
                                            <p:cond delay="149"/>
                                          </p:stCondLst>
                                        </p:cTn>
                                        <p:tgtEl>
                                          <p:spTgt spid="164"/>
                                        </p:tgtEl>
                                        <p:attrNameLst>
                                          <p:attrName>style.visibility</p:attrName>
                                        </p:attrNameLst>
                                      </p:cBhvr>
                                      <p:to>
                                        <p:strVal val="hidden"/>
                                      </p:to>
                                    </p:set>
                                  </p:childTnLst>
                                </p:cTn>
                              </p:par>
                              <p:par>
                                <p:cTn id="124" presetID="22" presetClass="exit" presetSubtype="4" fill="hold" grpId="0" nodeType="withEffect">
                                  <p:stCondLst>
                                    <p:cond delay="700"/>
                                  </p:stCondLst>
                                  <p:childTnLst>
                                    <p:animEffect transition="out" filter="wipe(down)">
                                      <p:cBhvr>
                                        <p:cTn id="125" dur="150"/>
                                        <p:tgtEl>
                                          <p:spTgt spid="174"/>
                                        </p:tgtEl>
                                      </p:cBhvr>
                                    </p:animEffect>
                                    <p:set>
                                      <p:cBhvr>
                                        <p:cTn id="126" dur="1" fill="hold">
                                          <p:stCondLst>
                                            <p:cond delay="149"/>
                                          </p:stCondLst>
                                        </p:cTn>
                                        <p:tgtEl>
                                          <p:spTgt spid="174"/>
                                        </p:tgtEl>
                                        <p:attrNameLst>
                                          <p:attrName>style.visibility</p:attrName>
                                        </p:attrNameLst>
                                      </p:cBhvr>
                                      <p:to>
                                        <p:strVal val="hidden"/>
                                      </p:to>
                                    </p:set>
                                  </p:childTnLst>
                                </p:cTn>
                              </p:par>
                              <p:par>
                                <p:cTn id="127" presetID="12" presetClass="entr" presetSubtype="8" fill="hold" grpId="1" nodeType="withEffect">
                                  <p:stCondLst>
                                    <p:cond delay="800"/>
                                  </p:stCondLst>
                                  <p:childTnLst>
                                    <p:set>
                                      <p:cBhvr>
                                        <p:cTn id="128" dur="1" fill="hold">
                                          <p:stCondLst>
                                            <p:cond delay="0"/>
                                          </p:stCondLst>
                                        </p:cTn>
                                        <p:tgtEl>
                                          <p:spTgt spid="141"/>
                                        </p:tgtEl>
                                        <p:attrNameLst>
                                          <p:attrName>style.visibility</p:attrName>
                                        </p:attrNameLst>
                                      </p:cBhvr>
                                      <p:to>
                                        <p:strVal val="visible"/>
                                      </p:to>
                                    </p:set>
                                    <p:anim calcmode="lin" valueType="num">
                                      <p:cBhvr additive="base">
                                        <p:cTn id="129" dur="80"/>
                                        <p:tgtEl>
                                          <p:spTgt spid="141"/>
                                        </p:tgtEl>
                                        <p:attrNameLst>
                                          <p:attrName>ppt_x</p:attrName>
                                        </p:attrNameLst>
                                      </p:cBhvr>
                                      <p:tavLst>
                                        <p:tav tm="0">
                                          <p:val>
                                            <p:strVal val="#ppt_x-#ppt_w*1.125000"/>
                                          </p:val>
                                        </p:tav>
                                        <p:tav tm="100000">
                                          <p:val>
                                            <p:strVal val="#ppt_x"/>
                                          </p:val>
                                        </p:tav>
                                      </p:tavLst>
                                    </p:anim>
                                    <p:animEffect transition="in" filter="wipe(right)">
                                      <p:cBhvr>
                                        <p:cTn id="130" dur="80"/>
                                        <p:tgtEl>
                                          <p:spTgt spid="141"/>
                                        </p:tgtEl>
                                      </p:cBhvr>
                                    </p:animEffect>
                                  </p:childTnLst>
                                </p:cTn>
                              </p:par>
                              <p:par>
                                <p:cTn id="131" presetID="10" presetClass="exit" presetSubtype="0" fill="hold" grpId="3" nodeType="withEffect">
                                  <p:stCondLst>
                                    <p:cond delay="800"/>
                                  </p:stCondLst>
                                  <p:childTnLst>
                                    <p:animEffect transition="out" filter="fade">
                                      <p:cBhvr>
                                        <p:cTn id="132" dur="150"/>
                                        <p:tgtEl>
                                          <p:spTgt spid="150"/>
                                        </p:tgtEl>
                                      </p:cBhvr>
                                    </p:animEffect>
                                    <p:set>
                                      <p:cBhvr>
                                        <p:cTn id="133" dur="1" fill="hold">
                                          <p:stCondLst>
                                            <p:cond delay="149"/>
                                          </p:stCondLst>
                                        </p:cTn>
                                        <p:tgtEl>
                                          <p:spTgt spid="150"/>
                                        </p:tgtEl>
                                        <p:attrNameLst>
                                          <p:attrName>style.visibility</p:attrName>
                                        </p:attrNameLst>
                                      </p:cBhvr>
                                      <p:to>
                                        <p:strVal val="hidden"/>
                                      </p:to>
                                    </p:set>
                                  </p:childTnLst>
                                </p:cTn>
                              </p:par>
                              <p:par>
                                <p:cTn id="134" presetID="10" presetClass="entr" presetSubtype="0" fill="hold" grpId="1" nodeType="withEffect">
                                  <p:stCondLst>
                                    <p:cond delay="800"/>
                                  </p:stCondLst>
                                  <p:childTnLst>
                                    <p:set>
                                      <p:cBhvr>
                                        <p:cTn id="135" dur="1" fill="hold">
                                          <p:stCondLst>
                                            <p:cond delay="0"/>
                                          </p:stCondLst>
                                        </p:cTn>
                                        <p:tgtEl>
                                          <p:spTgt spid="149"/>
                                        </p:tgtEl>
                                        <p:attrNameLst>
                                          <p:attrName>style.visibility</p:attrName>
                                        </p:attrNameLst>
                                      </p:cBhvr>
                                      <p:to>
                                        <p:strVal val="visible"/>
                                      </p:to>
                                    </p:set>
                                    <p:animEffect transition="in" filter="fade">
                                      <p:cBhvr>
                                        <p:cTn id="136" dur="150"/>
                                        <p:tgtEl>
                                          <p:spTgt spid="149"/>
                                        </p:tgtEl>
                                      </p:cBhvr>
                                    </p:animEffect>
                                  </p:childTnLst>
                                </p:cTn>
                              </p:par>
                              <p:par>
                                <p:cTn id="137" presetID="42" presetClass="path" presetSubtype="0" accel="50000" decel="50000" fill="hold" grpId="0" nodeType="withEffect">
                                  <p:stCondLst>
                                    <p:cond delay="800"/>
                                  </p:stCondLst>
                                  <p:childTnLst>
                                    <p:animMotion origin="layout" path="M 1.04167E-6 -2.59259E-6 L 0.07161 0.20278 " pathEditMode="relative" rAng="0" ptsTypes="AA">
                                      <p:cBhvr>
                                        <p:cTn id="138" dur="150" fill="hold"/>
                                        <p:tgtEl>
                                          <p:spTgt spid="141"/>
                                        </p:tgtEl>
                                        <p:attrNameLst>
                                          <p:attrName>ppt_x</p:attrName>
                                          <p:attrName>ppt_y</p:attrName>
                                        </p:attrNameLst>
                                      </p:cBhvr>
                                      <p:rCtr x="3581" y="10139"/>
                                    </p:animMotion>
                                  </p:childTnLst>
                                </p:cTn>
                              </p:par>
                              <p:par>
                                <p:cTn id="139" presetID="12" presetClass="entr" presetSubtype="4" fill="hold" grpId="1" nodeType="withEffect">
                                  <p:stCondLst>
                                    <p:cond delay="900"/>
                                  </p:stCondLst>
                                  <p:childTnLst>
                                    <p:set>
                                      <p:cBhvr>
                                        <p:cTn id="140" dur="1" fill="hold">
                                          <p:stCondLst>
                                            <p:cond delay="0"/>
                                          </p:stCondLst>
                                        </p:cTn>
                                        <p:tgtEl>
                                          <p:spTgt spid="142"/>
                                        </p:tgtEl>
                                        <p:attrNameLst>
                                          <p:attrName>style.visibility</p:attrName>
                                        </p:attrNameLst>
                                      </p:cBhvr>
                                      <p:to>
                                        <p:strVal val="visible"/>
                                      </p:to>
                                    </p:set>
                                    <p:anim calcmode="lin" valueType="num">
                                      <p:cBhvr additive="base">
                                        <p:cTn id="141" dur="80"/>
                                        <p:tgtEl>
                                          <p:spTgt spid="142"/>
                                        </p:tgtEl>
                                        <p:attrNameLst>
                                          <p:attrName>ppt_y</p:attrName>
                                        </p:attrNameLst>
                                      </p:cBhvr>
                                      <p:tavLst>
                                        <p:tav tm="0">
                                          <p:val>
                                            <p:strVal val="#ppt_y+#ppt_h*1.125000"/>
                                          </p:val>
                                        </p:tav>
                                        <p:tav tm="100000">
                                          <p:val>
                                            <p:strVal val="#ppt_y"/>
                                          </p:val>
                                        </p:tav>
                                      </p:tavLst>
                                    </p:anim>
                                    <p:animEffect transition="in" filter="wipe(up)">
                                      <p:cBhvr>
                                        <p:cTn id="142" dur="80"/>
                                        <p:tgtEl>
                                          <p:spTgt spid="142"/>
                                        </p:tgtEl>
                                      </p:cBhvr>
                                    </p:animEffect>
                                  </p:childTnLst>
                                </p:cTn>
                              </p:par>
                              <p:par>
                                <p:cTn id="143" presetID="10" presetClass="exit" presetSubtype="0" fill="hold" grpId="4" nodeType="withEffect">
                                  <p:stCondLst>
                                    <p:cond delay="900"/>
                                  </p:stCondLst>
                                  <p:childTnLst>
                                    <p:animEffect transition="out" filter="fade">
                                      <p:cBhvr>
                                        <p:cTn id="144" dur="150"/>
                                        <p:tgtEl>
                                          <p:spTgt spid="149"/>
                                        </p:tgtEl>
                                      </p:cBhvr>
                                    </p:animEffect>
                                    <p:set>
                                      <p:cBhvr>
                                        <p:cTn id="145" dur="1" fill="hold">
                                          <p:stCondLst>
                                            <p:cond delay="149"/>
                                          </p:stCondLst>
                                        </p:cTn>
                                        <p:tgtEl>
                                          <p:spTgt spid="149"/>
                                        </p:tgtEl>
                                        <p:attrNameLst>
                                          <p:attrName>style.visibility</p:attrName>
                                        </p:attrNameLst>
                                      </p:cBhvr>
                                      <p:to>
                                        <p:strVal val="hidden"/>
                                      </p:to>
                                    </p:set>
                                  </p:childTnLst>
                                </p:cTn>
                              </p:par>
                              <p:par>
                                <p:cTn id="146" presetID="10" presetClass="entr" presetSubtype="0" fill="hold" grpId="2" nodeType="withEffect">
                                  <p:stCondLst>
                                    <p:cond delay="900"/>
                                  </p:stCondLst>
                                  <p:childTnLst>
                                    <p:set>
                                      <p:cBhvr>
                                        <p:cTn id="147" dur="1" fill="hold">
                                          <p:stCondLst>
                                            <p:cond delay="0"/>
                                          </p:stCondLst>
                                        </p:cTn>
                                        <p:tgtEl>
                                          <p:spTgt spid="147"/>
                                        </p:tgtEl>
                                        <p:attrNameLst>
                                          <p:attrName>style.visibility</p:attrName>
                                        </p:attrNameLst>
                                      </p:cBhvr>
                                      <p:to>
                                        <p:strVal val="visible"/>
                                      </p:to>
                                    </p:set>
                                    <p:animEffect transition="in" filter="fade">
                                      <p:cBhvr>
                                        <p:cTn id="148" dur="150"/>
                                        <p:tgtEl>
                                          <p:spTgt spid="147"/>
                                        </p:tgtEl>
                                      </p:cBhvr>
                                    </p:animEffect>
                                  </p:childTnLst>
                                </p:cTn>
                              </p:par>
                              <p:par>
                                <p:cTn id="149" presetID="42" presetClass="path" presetSubtype="0" accel="50000" decel="50000" fill="hold" grpId="0" nodeType="withEffect">
                                  <p:stCondLst>
                                    <p:cond delay="900"/>
                                  </p:stCondLst>
                                  <p:childTnLst>
                                    <p:animMotion origin="layout" path="M 1.04167E-6 -2.59259E-6 L 0.00026 -0.20486 " pathEditMode="relative" rAng="0" ptsTypes="AA">
                                      <p:cBhvr>
                                        <p:cTn id="150" dur="150" fill="hold"/>
                                        <p:tgtEl>
                                          <p:spTgt spid="142"/>
                                        </p:tgtEl>
                                        <p:attrNameLst>
                                          <p:attrName>ppt_x</p:attrName>
                                          <p:attrName>ppt_y</p:attrName>
                                        </p:attrNameLst>
                                      </p:cBhvr>
                                      <p:rCtr x="13" y="-10255"/>
                                    </p:animMotion>
                                  </p:childTnLst>
                                </p:cTn>
                              </p:par>
                              <p:par>
                                <p:cTn id="151" presetID="22" presetClass="entr" presetSubtype="1" fill="hold" grpId="2" nodeType="withEffect">
                                  <p:stCondLst>
                                    <p:cond delay="900"/>
                                  </p:stCondLst>
                                  <p:childTnLst>
                                    <p:set>
                                      <p:cBhvr>
                                        <p:cTn id="152" dur="1" fill="hold">
                                          <p:stCondLst>
                                            <p:cond delay="0"/>
                                          </p:stCondLst>
                                        </p:cTn>
                                        <p:tgtEl>
                                          <p:spTgt spid="175"/>
                                        </p:tgtEl>
                                        <p:attrNameLst>
                                          <p:attrName>style.visibility</p:attrName>
                                        </p:attrNameLst>
                                      </p:cBhvr>
                                      <p:to>
                                        <p:strVal val="visible"/>
                                      </p:to>
                                    </p:set>
                                    <p:animEffect transition="in" filter="wipe(up)">
                                      <p:cBhvr>
                                        <p:cTn id="153" dur="150"/>
                                        <p:tgtEl>
                                          <p:spTgt spid="175"/>
                                        </p:tgtEl>
                                      </p:cBhvr>
                                    </p:animEffect>
                                  </p:childTnLst>
                                </p:cTn>
                              </p:par>
                              <p:par>
                                <p:cTn id="154" presetID="22" presetClass="entr" presetSubtype="1" fill="hold" grpId="1" nodeType="withEffect">
                                  <p:stCondLst>
                                    <p:cond delay="900"/>
                                  </p:stCondLst>
                                  <p:childTnLst>
                                    <p:set>
                                      <p:cBhvr>
                                        <p:cTn id="155" dur="1" fill="hold">
                                          <p:stCondLst>
                                            <p:cond delay="0"/>
                                          </p:stCondLst>
                                        </p:cTn>
                                        <p:tgtEl>
                                          <p:spTgt spid="174"/>
                                        </p:tgtEl>
                                        <p:attrNameLst>
                                          <p:attrName>style.visibility</p:attrName>
                                        </p:attrNameLst>
                                      </p:cBhvr>
                                      <p:to>
                                        <p:strVal val="visible"/>
                                      </p:to>
                                    </p:set>
                                    <p:animEffect transition="in" filter="wipe(up)">
                                      <p:cBhvr>
                                        <p:cTn id="156" dur="150"/>
                                        <p:tgtEl>
                                          <p:spTgt spid="174"/>
                                        </p:tgtEl>
                                      </p:cBhvr>
                                    </p:animEffect>
                                  </p:childTnLst>
                                </p:cTn>
                              </p:par>
                              <p:par>
                                <p:cTn id="157" presetID="22" presetClass="entr" presetSubtype="4" fill="hold" grpId="3" nodeType="withEffect">
                                  <p:stCondLst>
                                    <p:cond delay="900"/>
                                  </p:stCondLst>
                                  <p:childTnLst>
                                    <p:set>
                                      <p:cBhvr>
                                        <p:cTn id="158" dur="1" fill="hold">
                                          <p:stCondLst>
                                            <p:cond delay="0"/>
                                          </p:stCondLst>
                                        </p:cTn>
                                        <p:tgtEl>
                                          <p:spTgt spid="173"/>
                                        </p:tgtEl>
                                        <p:attrNameLst>
                                          <p:attrName>style.visibility</p:attrName>
                                        </p:attrNameLst>
                                      </p:cBhvr>
                                      <p:to>
                                        <p:strVal val="visible"/>
                                      </p:to>
                                    </p:set>
                                    <p:animEffect transition="in" filter="wipe(down)">
                                      <p:cBhvr>
                                        <p:cTn id="159" dur="150"/>
                                        <p:tgtEl>
                                          <p:spTgt spid="173"/>
                                        </p:tgtEl>
                                      </p:cBhvr>
                                    </p:animEffect>
                                  </p:childTnLst>
                                </p:cTn>
                              </p:par>
                              <p:par>
                                <p:cTn id="160" presetID="12" presetClass="entr" presetSubtype="4" fill="hold" grpId="1" nodeType="withEffect">
                                  <p:stCondLst>
                                    <p:cond delay="1000"/>
                                  </p:stCondLst>
                                  <p:childTnLst>
                                    <p:set>
                                      <p:cBhvr>
                                        <p:cTn id="161" dur="1" fill="hold">
                                          <p:stCondLst>
                                            <p:cond delay="0"/>
                                          </p:stCondLst>
                                        </p:cTn>
                                        <p:tgtEl>
                                          <p:spTgt spid="143"/>
                                        </p:tgtEl>
                                        <p:attrNameLst>
                                          <p:attrName>style.visibility</p:attrName>
                                        </p:attrNameLst>
                                      </p:cBhvr>
                                      <p:to>
                                        <p:strVal val="visible"/>
                                      </p:to>
                                    </p:set>
                                    <p:anim calcmode="lin" valueType="num">
                                      <p:cBhvr additive="base">
                                        <p:cTn id="162" dur="80"/>
                                        <p:tgtEl>
                                          <p:spTgt spid="143"/>
                                        </p:tgtEl>
                                        <p:attrNameLst>
                                          <p:attrName>ppt_y</p:attrName>
                                        </p:attrNameLst>
                                      </p:cBhvr>
                                      <p:tavLst>
                                        <p:tav tm="0">
                                          <p:val>
                                            <p:strVal val="#ppt_y+#ppt_h*1.125000"/>
                                          </p:val>
                                        </p:tav>
                                        <p:tav tm="100000">
                                          <p:val>
                                            <p:strVal val="#ppt_y"/>
                                          </p:val>
                                        </p:tav>
                                      </p:tavLst>
                                    </p:anim>
                                    <p:animEffect transition="in" filter="wipe(up)">
                                      <p:cBhvr>
                                        <p:cTn id="163" dur="80"/>
                                        <p:tgtEl>
                                          <p:spTgt spid="143"/>
                                        </p:tgtEl>
                                      </p:cBhvr>
                                    </p:animEffect>
                                  </p:childTnLst>
                                </p:cTn>
                              </p:par>
                              <p:par>
                                <p:cTn id="164" presetID="10" presetClass="exit" presetSubtype="0" fill="hold" grpId="4" nodeType="withEffect">
                                  <p:stCondLst>
                                    <p:cond delay="1000"/>
                                  </p:stCondLst>
                                  <p:childTnLst>
                                    <p:animEffect transition="out" filter="fade">
                                      <p:cBhvr>
                                        <p:cTn id="165" dur="150"/>
                                        <p:tgtEl>
                                          <p:spTgt spid="147"/>
                                        </p:tgtEl>
                                      </p:cBhvr>
                                    </p:animEffect>
                                    <p:set>
                                      <p:cBhvr>
                                        <p:cTn id="166" dur="1" fill="hold">
                                          <p:stCondLst>
                                            <p:cond delay="149"/>
                                          </p:stCondLst>
                                        </p:cTn>
                                        <p:tgtEl>
                                          <p:spTgt spid="147"/>
                                        </p:tgtEl>
                                        <p:attrNameLst>
                                          <p:attrName>style.visibility</p:attrName>
                                        </p:attrNameLst>
                                      </p:cBhvr>
                                      <p:to>
                                        <p:strVal val="hidden"/>
                                      </p:to>
                                    </p:set>
                                  </p:childTnLst>
                                </p:cTn>
                              </p:par>
                              <p:par>
                                <p:cTn id="167" presetID="10" presetClass="entr" presetSubtype="0" fill="hold" grpId="2" nodeType="withEffect">
                                  <p:stCondLst>
                                    <p:cond delay="1000"/>
                                  </p:stCondLst>
                                  <p:childTnLst>
                                    <p:set>
                                      <p:cBhvr>
                                        <p:cTn id="168" dur="1" fill="hold">
                                          <p:stCondLst>
                                            <p:cond delay="0"/>
                                          </p:stCondLst>
                                        </p:cTn>
                                        <p:tgtEl>
                                          <p:spTgt spid="148"/>
                                        </p:tgtEl>
                                        <p:attrNameLst>
                                          <p:attrName>style.visibility</p:attrName>
                                        </p:attrNameLst>
                                      </p:cBhvr>
                                      <p:to>
                                        <p:strVal val="visible"/>
                                      </p:to>
                                    </p:set>
                                    <p:animEffect transition="in" filter="fade">
                                      <p:cBhvr>
                                        <p:cTn id="169" dur="150"/>
                                        <p:tgtEl>
                                          <p:spTgt spid="148"/>
                                        </p:tgtEl>
                                      </p:cBhvr>
                                    </p:animEffect>
                                  </p:childTnLst>
                                </p:cTn>
                              </p:par>
                              <p:par>
                                <p:cTn id="170" presetID="42" presetClass="path" presetSubtype="0" accel="50000" decel="50000" fill="hold" grpId="0" nodeType="withEffect">
                                  <p:stCondLst>
                                    <p:cond delay="1000"/>
                                  </p:stCondLst>
                                  <p:childTnLst>
                                    <p:animMotion origin="layout" path="M 1.04167E-6 -2.59259E-6 L 1.04167E-6 -0.10208 " pathEditMode="relative" rAng="0" ptsTypes="AA">
                                      <p:cBhvr>
                                        <p:cTn id="171" dur="150" fill="hold"/>
                                        <p:tgtEl>
                                          <p:spTgt spid="143"/>
                                        </p:tgtEl>
                                        <p:attrNameLst>
                                          <p:attrName>ppt_x</p:attrName>
                                          <p:attrName>ppt_y</p:attrName>
                                        </p:attrNameLst>
                                      </p:cBhvr>
                                      <p:rCtr x="0" y="-5116"/>
                                    </p:animMotion>
                                  </p:childTnLst>
                                </p:cTn>
                              </p:par>
                              <p:par>
                                <p:cTn id="172" presetID="22" presetClass="entr" presetSubtype="1" fill="hold" grpId="4" nodeType="withEffect">
                                  <p:stCondLst>
                                    <p:cond delay="1000"/>
                                  </p:stCondLst>
                                  <p:childTnLst>
                                    <p:set>
                                      <p:cBhvr>
                                        <p:cTn id="173" dur="1" fill="hold">
                                          <p:stCondLst>
                                            <p:cond delay="0"/>
                                          </p:stCondLst>
                                        </p:cTn>
                                        <p:tgtEl>
                                          <p:spTgt spid="164"/>
                                        </p:tgtEl>
                                        <p:attrNameLst>
                                          <p:attrName>style.visibility</p:attrName>
                                        </p:attrNameLst>
                                      </p:cBhvr>
                                      <p:to>
                                        <p:strVal val="visible"/>
                                      </p:to>
                                    </p:set>
                                    <p:animEffect transition="in" filter="wipe(up)">
                                      <p:cBhvr>
                                        <p:cTn id="174" dur="150"/>
                                        <p:tgtEl>
                                          <p:spTgt spid="164"/>
                                        </p:tgtEl>
                                      </p:cBhvr>
                                    </p:animEffect>
                                  </p:childTnLst>
                                </p:cTn>
                              </p:par>
                              <p:par>
                                <p:cTn id="175" presetID="12" presetClass="entr" presetSubtype="1" fill="hold" grpId="1" nodeType="withEffect">
                                  <p:stCondLst>
                                    <p:cond delay="1100"/>
                                  </p:stCondLst>
                                  <p:childTnLst>
                                    <p:set>
                                      <p:cBhvr>
                                        <p:cTn id="176" dur="1" fill="hold">
                                          <p:stCondLst>
                                            <p:cond delay="0"/>
                                          </p:stCondLst>
                                        </p:cTn>
                                        <p:tgtEl>
                                          <p:spTgt spid="145"/>
                                        </p:tgtEl>
                                        <p:attrNameLst>
                                          <p:attrName>style.visibility</p:attrName>
                                        </p:attrNameLst>
                                      </p:cBhvr>
                                      <p:to>
                                        <p:strVal val="visible"/>
                                      </p:to>
                                    </p:set>
                                    <p:anim calcmode="lin" valueType="num">
                                      <p:cBhvr additive="base">
                                        <p:cTn id="177" dur="80"/>
                                        <p:tgtEl>
                                          <p:spTgt spid="145"/>
                                        </p:tgtEl>
                                        <p:attrNameLst>
                                          <p:attrName>ppt_y</p:attrName>
                                        </p:attrNameLst>
                                      </p:cBhvr>
                                      <p:tavLst>
                                        <p:tav tm="0">
                                          <p:val>
                                            <p:strVal val="#ppt_y-#ppt_h*1.125000"/>
                                          </p:val>
                                        </p:tav>
                                        <p:tav tm="100000">
                                          <p:val>
                                            <p:strVal val="#ppt_y"/>
                                          </p:val>
                                        </p:tav>
                                      </p:tavLst>
                                    </p:anim>
                                    <p:animEffect transition="in" filter="wipe(down)">
                                      <p:cBhvr>
                                        <p:cTn id="178" dur="80"/>
                                        <p:tgtEl>
                                          <p:spTgt spid="145"/>
                                        </p:tgtEl>
                                      </p:cBhvr>
                                    </p:animEffect>
                                  </p:childTnLst>
                                </p:cTn>
                              </p:par>
                              <p:par>
                                <p:cTn id="179" presetID="10" presetClass="entr" presetSubtype="0" fill="hold" grpId="2" nodeType="withEffect">
                                  <p:stCondLst>
                                    <p:cond delay="1100"/>
                                  </p:stCondLst>
                                  <p:childTnLst>
                                    <p:set>
                                      <p:cBhvr>
                                        <p:cTn id="180" dur="1" fill="hold">
                                          <p:stCondLst>
                                            <p:cond delay="0"/>
                                          </p:stCondLst>
                                        </p:cTn>
                                        <p:tgtEl>
                                          <p:spTgt spid="149"/>
                                        </p:tgtEl>
                                        <p:attrNameLst>
                                          <p:attrName>style.visibility</p:attrName>
                                        </p:attrNameLst>
                                      </p:cBhvr>
                                      <p:to>
                                        <p:strVal val="visible"/>
                                      </p:to>
                                    </p:set>
                                    <p:animEffect transition="in" filter="fade">
                                      <p:cBhvr>
                                        <p:cTn id="181" dur="150"/>
                                        <p:tgtEl>
                                          <p:spTgt spid="149"/>
                                        </p:tgtEl>
                                      </p:cBhvr>
                                    </p:animEffect>
                                  </p:childTnLst>
                                </p:cTn>
                              </p:par>
                              <p:par>
                                <p:cTn id="182" presetID="10" presetClass="exit" presetSubtype="0" fill="hold" grpId="4" nodeType="withEffect">
                                  <p:stCondLst>
                                    <p:cond delay="1100"/>
                                  </p:stCondLst>
                                  <p:childTnLst>
                                    <p:animEffect transition="out" filter="fade">
                                      <p:cBhvr>
                                        <p:cTn id="183" dur="150"/>
                                        <p:tgtEl>
                                          <p:spTgt spid="148"/>
                                        </p:tgtEl>
                                      </p:cBhvr>
                                    </p:animEffect>
                                    <p:set>
                                      <p:cBhvr>
                                        <p:cTn id="184" dur="1" fill="hold">
                                          <p:stCondLst>
                                            <p:cond delay="149"/>
                                          </p:stCondLst>
                                        </p:cTn>
                                        <p:tgtEl>
                                          <p:spTgt spid="148"/>
                                        </p:tgtEl>
                                        <p:attrNameLst>
                                          <p:attrName>style.visibility</p:attrName>
                                        </p:attrNameLst>
                                      </p:cBhvr>
                                      <p:to>
                                        <p:strVal val="hidden"/>
                                      </p:to>
                                    </p:set>
                                  </p:childTnLst>
                                </p:cTn>
                              </p:par>
                              <p:par>
                                <p:cTn id="185" presetID="42" presetClass="path" presetSubtype="0" accel="50000" decel="50000" fill="hold" grpId="0" nodeType="withEffect">
                                  <p:stCondLst>
                                    <p:cond delay="1100"/>
                                  </p:stCondLst>
                                  <p:childTnLst>
                                    <p:animMotion origin="layout" path="M 1.04167E-6 -2.59259E-6 L -0.00026 0.10047 " pathEditMode="relative" rAng="0" ptsTypes="AA">
                                      <p:cBhvr>
                                        <p:cTn id="186" dur="150" fill="hold"/>
                                        <p:tgtEl>
                                          <p:spTgt spid="145"/>
                                        </p:tgtEl>
                                        <p:attrNameLst>
                                          <p:attrName>ppt_x</p:attrName>
                                          <p:attrName>ppt_y</p:attrName>
                                        </p:attrNameLst>
                                      </p:cBhvr>
                                      <p:rCtr x="-13" y="5023"/>
                                    </p:animMotion>
                                  </p:childTnLst>
                                </p:cTn>
                              </p:par>
                              <p:par>
                                <p:cTn id="187" presetID="22" presetClass="exit" presetSubtype="1" fill="hold" grpId="4" nodeType="withEffect">
                                  <p:stCondLst>
                                    <p:cond delay="1100"/>
                                  </p:stCondLst>
                                  <p:childTnLst>
                                    <p:animEffect transition="out" filter="wipe(up)">
                                      <p:cBhvr>
                                        <p:cTn id="188" dur="150"/>
                                        <p:tgtEl>
                                          <p:spTgt spid="173"/>
                                        </p:tgtEl>
                                      </p:cBhvr>
                                    </p:animEffect>
                                    <p:set>
                                      <p:cBhvr>
                                        <p:cTn id="189" dur="1" fill="hold">
                                          <p:stCondLst>
                                            <p:cond delay="149"/>
                                          </p:stCondLst>
                                        </p:cTn>
                                        <p:tgtEl>
                                          <p:spTgt spid="173"/>
                                        </p:tgtEl>
                                        <p:attrNameLst>
                                          <p:attrName>style.visibility</p:attrName>
                                        </p:attrNameLst>
                                      </p:cBhvr>
                                      <p:to>
                                        <p:strVal val="hidden"/>
                                      </p:to>
                                    </p:set>
                                  </p:childTnLst>
                                </p:cTn>
                              </p:par>
                              <p:par>
                                <p:cTn id="190" presetID="22" presetClass="exit" presetSubtype="1" fill="hold" grpId="2" nodeType="withEffect">
                                  <p:stCondLst>
                                    <p:cond delay="1100"/>
                                  </p:stCondLst>
                                  <p:childTnLst>
                                    <p:animEffect transition="out" filter="wipe(up)">
                                      <p:cBhvr>
                                        <p:cTn id="191" dur="150"/>
                                        <p:tgtEl>
                                          <p:spTgt spid="171"/>
                                        </p:tgtEl>
                                      </p:cBhvr>
                                    </p:animEffect>
                                    <p:set>
                                      <p:cBhvr>
                                        <p:cTn id="192" dur="1" fill="hold">
                                          <p:stCondLst>
                                            <p:cond delay="149"/>
                                          </p:stCondLst>
                                        </p:cTn>
                                        <p:tgtEl>
                                          <p:spTgt spid="171"/>
                                        </p:tgtEl>
                                        <p:attrNameLst>
                                          <p:attrName>style.visibility</p:attrName>
                                        </p:attrNameLst>
                                      </p:cBhvr>
                                      <p:to>
                                        <p:strVal val="hidden"/>
                                      </p:to>
                                    </p:set>
                                  </p:childTnLst>
                                </p:cTn>
                              </p:par>
                              <p:par>
                                <p:cTn id="193" presetID="22" presetClass="exit" presetSubtype="1" fill="hold" grpId="2" nodeType="withEffect">
                                  <p:stCondLst>
                                    <p:cond delay="1100"/>
                                  </p:stCondLst>
                                  <p:childTnLst>
                                    <p:animEffect transition="out" filter="wipe(up)">
                                      <p:cBhvr>
                                        <p:cTn id="194" dur="150"/>
                                        <p:tgtEl>
                                          <p:spTgt spid="174"/>
                                        </p:tgtEl>
                                      </p:cBhvr>
                                    </p:animEffect>
                                    <p:set>
                                      <p:cBhvr>
                                        <p:cTn id="195" dur="1" fill="hold">
                                          <p:stCondLst>
                                            <p:cond delay="149"/>
                                          </p:stCondLst>
                                        </p:cTn>
                                        <p:tgtEl>
                                          <p:spTgt spid="174"/>
                                        </p:tgtEl>
                                        <p:attrNameLst>
                                          <p:attrName>style.visibility</p:attrName>
                                        </p:attrNameLst>
                                      </p:cBhvr>
                                      <p:to>
                                        <p:strVal val="hidden"/>
                                      </p:to>
                                    </p:set>
                                  </p:childTnLst>
                                </p:cTn>
                              </p:par>
                              <p:par>
                                <p:cTn id="196" presetID="12" presetClass="entr" presetSubtype="1" fill="hold" grpId="1" nodeType="withEffect">
                                  <p:stCondLst>
                                    <p:cond delay="1200"/>
                                  </p:stCondLst>
                                  <p:childTnLst>
                                    <p:set>
                                      <p:cBhvr>
                                        <p:cTn id="197" dur="1" fill="hold">
                                          <p:stCondLst>
                                            <p:cond delay="0"/>
                                          </p:stCondLst>
                                        </p:cTn>
                                        <p:tgtEl>
                                          <p:spTgt spid="146"/>
                                        </p:tgtEl>
                                        <p:attrNameLst>
                                          <p:attrName>style.visibility</p:attrName>
                                        </p:attrNameLst>
                                      </p:cBhvr>
                                      <p:to>
                                        <p:strVal val="visible"/>
                                      </p:to>
                                    </p:set>
                                    <p:anim calcmode="lin" valueType="num">
                                      <p:cBhvr additive="base">
                                        <p:cTn id="198" dur="80"/>
                                        <p:tgtEl>
                                          <p:spTgt spid="146"/>
                                        </p:tgtEl>
                                        <p:attrNameLst>
                                          <p:attrName>ppt_y</p:attrName>
                                        </p:attrNameLst>
                                      </p:cBhvr>
                                      <p:tavLst>
                                        <p:tav tm="0">
                                          <p:val>
                                            <p:strVal val="#ppt_y-#ppt_h*1.125000"/>
                                          </p:val>
                                        </p:tav>
                                        <p:tav tm="100000">
                                          <p:val>
                                            <p:strVal val="#ppt_y"/>
                                          </p:val>
                                        </p:tav>
                                      </p:tavLst>
                                    </p:anim>
                                    <p:animEffect transition="in" filter="wipe(down)">
                                      <p:cBhvr>
                                        <p:cTn id="199" dur="80"/>
                                        <p:tgtEl>
                                          <p:spTgt spid="146"/>
                                        </p:tgtEl>
                                      </p:cBhvr>
                                    </p:animEffect>
                                  </p:childTnLst>
                                </p:cTn>
                              </p:par>
                              <p:par>
                                <p:cTn id="200" presetID="10" presetClass="exit" presetSubtype="0" fill="hold" grpId="5" nodeType="withEffect">
                                  <p:stCondLst>
                                    <p:cond delay="1200"/>
                                  </p:stCondLst>
                                  <p:childTnLst>
                                    <p:animEffect transition="out" filter="fade">
                                      <p:cBhvr>
                                        <p:cTn id="201" dur="150"/>
                                        <p:tgtEl>
                                          <p:spTgt spid="149"/>
                                        </p:tgtEl>
                                      </p:cBhvr>
                                    </p:animEffect>
                                    <p:set>
                                      <p:cBhvr>
                                        <p:cTn id="202" dur="1" fill="hold">
                                          <p:stCondLst>
                                            <p:cond delay="149"/>
                                          </p:stCondLst>
                                        </p:cTn>
                                        <p:tgtEl>
                                          <p:spTgt spid="149"/>
                                        </p:tgtEl>
                                        <p:attrNameLst>
                                          <p:attrName>style.visibility</p:attrName>
                                        </p:attrNameLst>
                                      </p:cBhvr>
                                      <p:to>
                                        <p:strVal val="hidden"/>
                                      </p:to>
                                    </p:set>
                                  </p:childTnLst>
                                </p:cTn>
                              </p:par>
                              <p:par>
                                <p:cTn id="203" presetID="10" presetClass="entr" presetSubtype="0" fill="hold" grpId="2" nodeType="withEffect">
                                  <p:stCondLst>
                                    <p:cond delay="1200"/>
                                  </p:stCondLst>
                                  <p:childTnLst>
                                    <p:set>
                                      <p:cBhvr>
                                        <p:cTn id="204" dur="1" fill="hold">
                                          <p:stCondLst>
                                            <p:cond delay="0"/>
                                          </p:stCondLst>
                                        </p:cTn>
                                        <p:tgtEl>
                                          <p:spTgt spid="150"/>
                                        </p:tgtEl>
                                        <p:attrNameLst>
                                          <p:attrName>style.visibility</p:attrName>
                                        </p:attrNameLst>
                                      </p:cBhvr>
                                      <p:to>
                                        <p:strVal val="visible"/>
                                      </p:to>
                                    </p:set>
                                    <p:animEffect transition="in" filter="fade">
                                      <p:cBhvr>
                                        <p:cTn id="205" dur="150"/>
                                        <p:tgtEl>
                                          <p:spTgt spid="150"/>
                                        </p:tgtEl>
                                      </p:cBhvr>
                                    </p:animEffect>
                                  </p:childTnLst>
                                </p:cTn>
                              </p:par>
                              <p:par>
                                <p:cTn id="206" presetID="42" presetClass="path" presetSubtype="0" accel="50000" decel="50000" fill="hold" grpId="0" nodeType="withEffect">
                                  <p:stCondLst>
                                    <p:cond delay="1200"/>
                                  </p:stCondLst>
                                  <p:childTnLst>
                                    <p:animMotion origin="layout" path="M 1.04167E-6 -2.59259E-6 L -0.00013 0.20139 " pathEditMode="relative" rAng="0" ptsTypes="AA">
                                      <p:cBhvr>
                                        <p:cTn id="207" dur="150" fill="hold"/>
                                        <p:tgtEl>
                                          <p:spTgt spid="146"/>
                                        </p:tgtEl>
                                        <p:attrNameLst>
                                          <p:attrName>ppt_x</p:attrName>
                                          <p:attrName>ppt_y</p:attrName>
                                        </p:attrNameLst>
                                      </p:cBhvr>
                                      <p:rCtr x="-13" y="10069"/>
                                    </p:animMotion>
                                  </p:childTnLst>
                                </p:cTn>
                              </p:par>
                              <p:par>
                                <p:cTn id="208" presetID="22" presetClass="entr" presetSubtype="4" fill="hold" grpId="3" nodeType="withEffect">
                                  <p:stCondLst>
                                    <p:cond delay="1250"/>
                                  </p:stCondLst>
                                  <p:childTnLst>
                                    <p:set>
                                      <p:cBhvr>
                                        <p:cTn id="209" dur="1" fill="hold">
                                          <p:stCondLst>
                                            <p:cond delay="0"/>
                                          </p:stCondLst>
                                        </p:cTn>
                                        <p:tgtEl>
                                          <p:spTgt spid="174"/>
                                        </p:tgtEl>
                                        <p:attrNameLst>
                                          <p:attrName>style.visibility</p:attrName>
                                        </p:attrNameLst>
                                      </p:cBhvr>
                                      <p:to>
                                        <p:strVal val="visible"/>
                                      </p:to>
                                    </p:set>
                                    <p:animEffect transition="in" filter="wipe(down)">
                                      <p:cBhvr>
                                        <p:cTn id="210" dur="150"/>
                                        <p:tgtEl>
                                          <p:spTgt spid="174"/>
                                        </p:tgtEl>
                                      </p:cBhvr>
                                    </p:animEffect>
                                  </p:childTnLst>
                                </p:cTn>
                              </p:par>
                              <p:par>
                                <p:cTn id="211" presetID="12" presetClass="entr" presetSubtype="8" fill="hold" grpId="0" nodeType="withEffect">
                                  <p:stCondLst>
                                    <p:cond delay="1300"/>
                                  </p:stCondLst>
                                  <p:childTnLst>
                                    <p:set>
                                      <p:cBhvr>
                                        <p:cTn id="212" dur="1" fill="hold">
                                          <p:stCondLst>
                                            <p:cond delay="0"/>
                                          </p:stCondLst>
                                        </p:cTn>
                                        <p:tgtEl>
                                          <p:spTgt spid="144"/>
                                        </p:tgtEl>
                                        <p:attrNameLst>
                                          <p:attrName>style.visibility</p:attrName>
                                        </p:attrNameLst>
                                      </p:cBhvr>
                                      <p:to>
                                        <p:strVal val="visible"/>
                                      </p:to>
                                    </p:set>
                                    <p:anim calcmode="lin" valueType="num">
                                      <p:cBhvr additive="base">
                                        <p:cTn id="213" dur="80"/>
                                        <p:tgtEl>
                                          <p:spTgt spid="144"/>
                                        </p:tgtEl>
                                        <p:attrNameLst>
                                          <p:attrName>ppt_x</p:attrName>
                                        </p:attrNameLst>
                                      </p:cBhvr>
                                      <p:tavLst>
                                        <p:tav tm="0">
                                          <p:val>
                                            <p:strVal val="#ppt_x-#ppt_w*1.125000"/>
                                          </p:val>
                                        </p:tav>
                                        <p:tav tm="100000">
                                          <p:val>
                                            <p:strVal val="#ppt_x"/>
                                          </p:val>
                                        </p:tav>
                                      </p:tavLst>
                                    </p:anim>
                                    <p:animEffect transition="in" filter="wipe(right)">
                                      <p:cBhvr>
                                        <p:cTn id="214" dur="80"/>
                                        <p:tgtEl>
                                          <p:spTgt spid="144"/>
                                        </p:tgtEl>
                                      </p:cBhvr>
                                    </p:animEffect>
                                  </p:childTnLst>
                                </p:cTn>
                              </p:par>
                              <p:par>
                                <p:cTn id="215" presetID="10" presetClass="exit" presetSubtype="0" fill="hold" grpId="4" nodeType="withEffect">
                                  <p:stCondLst>
                                    <p:cond delay="1300"/>
                                  </p:stCondLst>
                                  <p:childTnLst>
                                    <p:animEffect transition="out" filter="fade">
                                      <p:cBhvr>
                                        <p:cTn id="216" dur="150"/>
                                        <p:tgtEl>
                                          <p:spTgt spid="150"/>
                                        </p:tgtEl>
                                      </p:cBhvr>
                                    </p:animEffect>
                                    <p:set>
                                      <p:cBhvr>
                                        <p:cTn id="217" dur="1" fill="hold">
                                          <p:stCondLst>
                                            <p:cond delay="149"/>
                                          </p:stCondLst>
                                        </p:cTn>
                                        <p:tgtEl>
                                          <p:spTgt spid="150"/>
                                        </p:tgtEl>
                                        <p:attrNameLst>
                                          <p:attrName>style.visibility</p:attrName>
                                        </p:attrNameLst>
                                      </p:cBhvr>
                                      <p:to>
                                        <p:strVal val="hidden"/>
                                      </p:to>
                                    </p:set>
                                  </p:childTnLst>
                                </p:cTn>
                              </p:par>
                              <p:par>
                                <p:cTn id="218" presetID="10" presetClass="entr" presetSubtype="0" fill="hold" grpId="1" nodeType="withEffect">
                                  <p:stCondLst>
                                    <p:cond delay="1400"/>
                                  </p:stCondLst>
                                  <p:childTnLst>
                                    <p:set>
                                      <p:cBhvr>
                                        <p:cTn id="219" dur="1" fill="hold">
                                          <p:stCondLst>
                                            <p:cond delay="0"/>
                                          </p:stCondLst>
                                        </p:cTn>
                                        <p:tgtEl>
                                          <p:spTgt spid="148"/>
                                        </p:tgtEl>
                                        <p:attrNameLst>
                                          <p:attrName>style.visibility</p:attrName>
                                        </p:attrNameLst>
                                      </p:cBhvr>
                                      <p:to>
                                        <p:strVal val="visible"/>
                                      </p:to>
                                    </p:set>
                                    <p:animEffect transition="in" filter="fade">
                                      <p:cBhvr>
                                        <p:cTn id="220" dur="150"/>
                                        <p:tgtEl>
                                          <p:spTgt spid="148"/>
                                        </p:tgtEl>
                                      </p:cBhvr>
                                    </p:animEffect>
                                  </p:childTnLst>
                                </p:cTn>
                              </p:par>
                              <p:par>
                                <p:cTn id="221" presetID="0" presetClass="path" presetSubtype="0" accel="3226" decel="3226" fill="hold" grpId="0" nodeType="withEffect">
                                  <p:stCondLst>
                                    <p:cond delay="0"/>
                                  </p:stCondLst>
                                  <p:childTnLst>
                                    <p:animMotion origin="layout" path="M -0.00013 0.00046 L -0.05299 0.00046 L -0.02656 0.00046 L -0.07904 0.00046 L 0.01328 0.00046 " pathEditMode="relative" ptsTypes="AAAAA">
                                      <p:cBhvr>
                                        <p:cTn id="222" dur="1550" fill="hold"/>
                                        <p:tgtEl>
                                          <p:spTgt spid="124"/>
                                        </p:tgtEl>
                                        <p:attrNameLst>
                                          <p:attrName>ppt_x</p:attrName>
                                          <p:attrName>ppt_y</p:attrName>
                                        </p:attrNameLst>
                                      </p:cBhvr>
                                    </p:animMotion>
                                  </p:childTnLst>
                                </p:cTn>
                              </p:par>
                              <p:par>
                                <p:cTn id="223" presetID="0" presetClass="path" presetSubtype="0" accel="3226" decel="3226" fill="hold" grpId="0" nodeType="withEffect">
                                  <p:stCondLst>
                                    <p:cond delay="0"/>
                                  </p:stCondLst>
                                  <p:childTnLst>
                                    <p:animMotion origin="layout" path="M -1.25E-6 0.00047 L -0.06601 0.00047 L -0.0263 0.00047 L -0.10573 0.00047 L -0.03945 0.00047 L -0.06601 0.00047 " pathEditMode="relative" ptsTypes="AAAAAA">
                                      <p:cBhvr>
                                        <p:cTn id="224" dur="1550" fill="hold"/>
                                        <p:tgtEl>
                                          <p:spTgt spid="125"/>
                                        </p:tgtEl>
                                        <p:attrNameLst>
                                          <p:attrName>ppt_x</p:attrName>
                                          <p:attrName>ppt_y</p:attrName>
                                        </p:attrNameLst>
                                      </p:cBhvr>
                                    </p:animMotion>
                                  </p:childTnLst>
                                </p:cTn>
                              </p:par>
                              <p:par>
                                <p:cTn id="225" presetID="0" presetClass="path" presetSubtype="0" accel="3226" decel="3226" fill="hold" grpId="0" nodeType="withEffect">
                                  <p:stCondLst>
                                    <p:cond delay="0"/>
                                  </p:stCondLst>
                                  <p:childTnLst>
                                    <p:animMotion origin="layout" path="M 3.125E-6 0.00046 L -0.02657 0.00046 L 0.0401 0.00046 L 0.01341 0.00046 L 0.05299 0.00046 L -0.01328 0.00046 " pathEditMode="relative" ptsTypes="AAAAAA">
                                      <p:cBhvr>
                                        <p:cTn id="226" dur="1550" fill="hold"/>
                                        <p:tgtEl>
                                          <p:spTgt spid="111"/>
                                        </p:tgtEl>
                                        <p:attrNameLst>
                                          <p:attrName>ppt_x</p:attrName>
                                          <p:attrName>ppt_y</p:attrName>
                                        </p:attrNameLst>
                                      </p:cBhvr>
                                    </p:animMotion>
                                  </p:childTnLst>
                                </p:cTn>
                              </p:par>
                              <p:par>
                                <p:cTn id="227" presetID="0" presetClass="path" presetSubtype="0" accel="3226" decel="3226" fill="hold" grpId="0" nodeType="withEffect">
                                  <p:stCondLst>
                                    <p:cond delay="0"/>
                                  </p:stCondLst>
                                  <p:childTnLst>
                                    <p:animMotion origin="layout" path="M 5E-6 0.00092 L 0.01355 0.00092 L -0.02578 0.00092 L 0.03985 0.00092 L 0.0668 0.00092 L 0.05313 0.00092 " pathEditMode="relative" ptsTypes="AAAAAA">
                                      <p:cBhvr>
                                        <p:cTn id="228" dur="1550" fill="hold"/>
                                        <p:tgtEl>
                                          <p:spTgt spid="98"/>
                                        </p:tgtEl>
                                        <p:attrNameLst>
                                          <p:attrName>ppt_x</p:attrName>
                                          <p:attrName>ppt_y</p:attrName>
                                        </p:attrNameLst>
                                      </p:cBhvr>
                                    </p:animMotion>
                                  </p:childTnLst>
                                </p:cTn>
                              </p:par>
                              <p:par>
                                <p:cTn id="229" presetID="0" presetClass="path" presetSubtype="0" accel="3226" decel="3226" fill="hold" grpId="0" nodeType="withEffect">
                                  <p:stCondLst>
                                    <p:cond delay="0"/>
                                  </p:stCondLst>
                                  <p:childTnLst>
                                    <p:animMotion origin="layout" path="M -0.00013 0.00047 L 0.0263 0.00047 L -0.01289 0.00047 L 0.03997 0.00047 L -0.05274 0.00047 L -0.02682 0.00047 " pathEditMode="relative" ptsTypes="AAAAAA">
                                      <p:cBhvr>
                                        <p:cTn id="230" dur="1550" fill="hold"/>
                                        <p:tgtEl>
                                          <p:spTgt spid="120"/>
                                        </p:tgtEl>
                                        <p:attrNameLst>
                                          <p:attrName>ppt_x</p:attrName>
                                          <p:attrName>ppt_y</p:attrName>
                                        </p:attrNameLst>
                                      </p:cBhvr>
                                    </p:animMotion>
                                  </p:childTnLst>
                                </p:cTn>
                              </p:par>
                            </p:childTnLst>
                          </p:cTn>
                        </p:par>
                        <p:par>
                          <p:cTn id="231" fill="hold">
                            <p:stCondLst>
                              <p:cond delay="1550"/>
                            </p:stCondLst>
                            <p:childTnLst>
                              <p:par>
                                <p:cTn id="232" presetID="1" presetClass="emph" presetSubtype="2" fill="hold" nodeType="afterEffect">
                                  <p:stCondLst>
                                    <p:cond delay="500"/>
                                  </p:stCondLst>
                                  <p:childTnLst>
                                    <p:animClr clrSpc="rgb" dir="cw">
                                      <p:cBhvr>
                                        <p:cTn id="233" dur="500" fill="hold"/>
                                        <p:tgtEl>
                                          <p:spTgt spid="139"/>
                                        </p:tgtEl>
                                        <p:attrNameLst>
                                          <p:attrName>fillcolor</p:attrName>
                                        </p:attrNameLst>
                                      </p:cBhvr>
                                      <p:to>
                                        <a:srgbClr val="50E6FF"/>
                                      </p:to>
                                    </p:animClr>
                                    <p:set>
                                      <p:cBhvr>
                                        <p:cTn id="234" dur="500" fill="hold"/>
                                        <p:tgtEl>
                                          <p:spTgt spid="139"/>
                                        </p:tgtEl>
                                        <p:attrNameLst>
                                          <p:attrName>fill.type</p:attrName>
                                        </p:attrNameLst>
                                      </p:cBhvr>
                                      <p:to>
                                        <p:strVal val="solid"/>
                                      </p:to>
                                    </p:set>
                                    <p:set>
                                      <p:cBhvr>
                                        <p:cTn id="235" dur="500" fill="hold"/>
                                        <p:tgtEl>
                                          <p:spTgt spid="139"/>
                                        </p:tgtEl>
                                        <p:attrNameLst>
                                          <p:attrName>fill.on</p:attrName>
                                        </p:attrNameLst>
                                      </p:cBhvr>
                                      <p:to>
                                        <p:strVal val="true"/>
                                      </p:to>
                                    </p:set>
                                  </p:childTnLst>
                                </p:cTn>
                              </p:par>
                              <p:par>
                                <p:cTn id="236" presetID="3" presetClass="emph" presetSubtype="2" fill="hold" grpId="2" nodeType="withEffect">
                                  <p:stCondLst>
                                    <p:cond delay="500"/>
                                  </p:stCondLst>
                                  <p:childTnLst>
                                    <p:animClr clrSpc="rgb" dir="cw">
                                      <p:cBhvr override="childStyle">
                                        <p:cTn id="237" dur="500" fill="hold"/>
                                        <p:tgtEl>
                                          <p:spTgt spid="139"/>
                                        </p:tgtEl>
                                        <p:attrNameLst>
                                          <p:attrName>style.color</p:attrName>
                                        </p:attrNameLst>
                                      </p:cBhvr>
                                      <p:to>
                                        <a:srgbClr val="0000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P spid="136" grpId="1" animBg="1"/>
      <p:bldP spid="136" grpId="2" animBg="1"/>
      <p:bldP spid="147" grpId="0" animBg="1"/>
      <p:bldP spid="147" grpId="1" animBg="1"/>
      <p:bldP spid="147" grpId="2" animBg="1"/>
      <p:bldP spid="147" grpId="3" animBg="1"/>
      <p:bldP spid="147" grpId="4" animBg="1"/>
      <p:bldP spid="147" grpId="5" animBg="1"/>
      <p:bldP spid="148" grpId="0" animBg="1"/>
      <p:bldP spid="148" grpId="1" animBg="1"/>
      <p:bldP spid="148" grpId="2" animBg="1"/>
      <p:bldP spid="148" grpId="3" animBg="1"/>
      <p:bldP spid="148" grpId="4" animBg="1"/>
      <p:bldP spid="149" grpId="0" animBg="1"/>
      <p:bldP spid="149" grpId="1" animBg="1"/>
      <p:bldP spid="149" grpId="2" animBg="1"/>
      <p:bldP spid="149" grpId="3" animBg="1"/>
      <p:bldP spid="149" grpId="4" animBg="1"/>
      <p:bldP spid="149" grpId="5" animBg="1"/>
      <p:bldP spid="150" grpId="0" animBg="1"/>
      <p:bldP spid="150" grpId="1" animBg="1"/>
      <p:bldP spid="150" grpId="2" animBg="1"/>
      <p:bldP spid="150" grpId="3" animBg="1"/>
      <p:bldP spid="150" grpId="4" animBg="1"/>
      <p:bldP spid="150" grpId="5" animBg="1"/>
      <p:bldP spid="80" grpId="0" animBg="1"/>
      <p:bldP spid="90" grpId="0" animBg="1"/>
      <p:bldP spid="90" grpId="1" animBg="1"/>
      <p:bldP spid="91" grpId="0" animBg="1"/>
      <p:bldP spid="91" grpId="1" animBg="1"/>
      <p:bldP spid="123" grpId="0" animBg="1"/>
      <p:bldP spid="123" grpId="1" animBg="1"/>
      <p:bldP spid="137" grpId="0" animBg="1"/>
      <p:bldP spid="137" grpId="1" animBg="1"/>
      <p:bldP spid="138" grpId="0" animBg="1"/>
      <p:bldP spid="138" grpId="1" animBg="1"/>
      <p:bldP spid="139" grpId="0" animBg="1"/>
      <p:bldP spid="139" grpId="1" animBg="1"/>
      <p:bldP spid="139" grpId="2" animBg="1"/>
      <p:bldP spid="140" grpId="0" animBg="1"/>
      <p:bldP spid="140" grpId="1" animBg="1"/>
      <p:bldP spid="141" grpId="0" animBg="1"/>
      <p:bldP spid="141" grpId="1" animBg="1"/>
      <p:bldP spid="142" grpId="0" animBg="1"/>
      <p:bldP spid="142" grpId="1" animBg="1"/>
      <p:bldP spid="143" grpId="0" animBg="1"/>
      <p:bldP spid="143" grpId="1" animBg="1"/>
      <p:bldP spid="144" grpId="0" animBg="1"/>
      <p:bldP spid="145" grpId="0" animBg="1"/>
      <p:bldP spid="145" grpId="1" animBg="1"/>
      <p:bldP spid="146" grpId="0" animBg="1"/>
      <p:bldP spid="146" grpId="1" animBg="1"/>
      <p:bldP spid="98" grpId="0" animBg="1"/>
      <p:bldP spid="111" grpId="0" animBg="1"/>
      <p:bldP spid="124" grpId="0" animBg="1"/>
      <p:bldP spid="125" grpId="0" animBg="1"/>
      <p:bldP spid="164" grpId="0" animBg="1"/>
      <p:bldP spid="164" grpId="1" animBg="1"/>
      <p:bldP spid="164" grpId="2" animBg="1"/>
      <p:bldP spid="164" grpId="3" animBg="1"/>
      <p:bldP spid="164" grpId="4" animBg="1"/>
      <p:bldP spid="171" grpId="0" animBg="1"/>
      <p:bldP spid="171" grpId="1" animBg="1"/>
      <p:bldP spid="171" grpId="2" animBg="1"/>
      <p:bldP spid="173" grpId="0" animBg="1"/>
      <p:bldP spid="173" grpId="1" animBg="1"/>
      <p:bldP spid="173" grpId="2" animBg="1"/>
      <p:bldP spid="173" grpId="3" animBg="1"/>
      <p:bldP spid="173" grpId="4" animBg="1"/>
      <p:bldP spid="174" grpId="0" animBg="1"/>
      <p:bldP spid="174" grpId="1" animBg="1"/>
      <p:bldP spid="174" grpId="2" animBg="1"/>
      <p:bldP spid="174" grpId="3" animBg="1"/>
      <p:bldP spid="175" grpId="0" animBg="1"/>
      <p:bldP spid="175" grpId="1" animBg="1"/>
      <p:bldP spid="175" grpId="2" animBg="1"/>
      <p:bldP spid="120"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C4C1EBAD-99B4-4706-8B9B-A388FD36E136}"/>
              </a:ext>
            </a:extLst>
          </p:cNvPr>
          <p:cNvSpPr/>
          <p:nvPr/>
        </p:nvSpPr>
        <p:spPr bwMode="auto">
          <a:xfrm>
            <a:off x="10465453" y="3616491"/>
            <a:ext cx="640492" cy="2445838"/>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6850986F-25EF-462E-AFE9-B47AC9F7A7CB}"/>
              </a:ext>
            </a:extLst>
          </p:cNvPr>
          <p:cNvGrpSpPr/>
          <p:nvPr/>
        </p:nvGrpSpPr>
        <p:grpSpPr>
          <a:xfrm>
            <a:off x="3844562" y="2790984"/>
            <a:ext cx="4747351" cy="3271695"/>
            <a:chOff x="3768656" y="2736507"/>
            <a:chExt cx="4654688" cy="3207835"/>
          </a:xfrm>
        </p:grpSpPr>
        <p:sp>
          <p:nvSpPr>
            <p:cNvPr id="54" name="Rectangle 53">
              <a:extLst>
                <a:ext uri="{FF2B5EF4-FFF2-40B4-BE49-F238E27FC236}">
                  <a16:creationId xmlns:a16="http://schemas.microsoft.com/office/drawing/2014/main" id="{2F280D36-48C5-447B-B202-4C95CFA079B5}"/>
                </a:ext>
              </a:extLst>
            </p:cNvPr>
            <p:cNvSpPr/>
            <p:nvPr/>
          </p:nvSpPr>
          <p:spPr bwMode="auto">
            <a:xfrm>
              <a:off x="7638318"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911B5D77-C0C2-4145-BD1A-23C098262C5A}"/>
                </a:ext>
              </a:extLst>
            </p:cNvPr>
            <p:cNvSpPr/>
            <p:nvPr/>
          </p:nvSpPr>
          <p:spPr bwMode="auto">
            <a:xfrm>
              <a:off x="3768656"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46F07090-D3E6-4F22-840A-A1A7876F0CB0}"/>
                </a:ext>
              </a:extLst>
            </p:cNvPr>
            <p:cNvSpPr/>
            <p:nvPr/>
          </p:nvSpPr>
          <p:spPr bwMode="auto">
            <a:xfrm>
              <a:off x="3768656"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151BDBBC-CBDB-454C-86CB-D40DD7A8FCAE}"/>
                </a:ext>
              </a:extLst>
            </p:cNvPr>
            <p:cNvSpPr/>
            <p:nvPr/>
          </p:nvSpPr>
          <p:spPr bwMode="auto">
            <a:xfrm>
              <a:off x="3768656"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729D55AD-1FD2-44DE-A533-2064B590377F}"/>
                </a:ext>
              </a:extLst>
            </p:cNvPr>
            <p:cNvSpPr/>
            <p:nvPr/>
          </p:nvSpPr>
          <p:spPr bwMode="auto">
            <a:xfrm>
              <a:off x="3768656"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46646093-E38D-416A-A6FB-7A79E33EF466}"/>
                </a:ext>
              </a:extLst>
            </p:cNvPr>
            <p:cNvSpPr/>
            <p:nvPr/>
          </p:nvSpPr>
          <p:spPr bwMode="auto">
            <a:xfrm>
              <a:off x="3768656"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2AD37EB6-3E23-4256-AC82-87CD99253BA7}"/>
                </a:ext>
              </a:extLst>
            </p:cNvPr>
            <p:cNvSpPr/>
            <p:nvPr/>
          </p:nvSpPr>
          <p:spPr bwMode="auto">
            <a:xfrm>
              <a:off x="4736071"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51E1F55E-0711-4784-B8DB-762D99B7512C}"/>
                </a:ext>
              </a:extLst>
            </p:cNvPr>
            <p:cNvSpPr/>
            <p:nvPr/>
          </p:nvSpPr>
          <p:spPr bwMode="auto">
            <a:xfrm>
              <a:off x="4736071"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216754CB-9E46-4C69-9476-B1D1F92DEC53}"/>
                </a:ext>
              </a:extLst>
            </p:cNvPr>
            <p:cNvSpPr/>
            <p:nvPr/>
          </p:nvSpPr>
          <p:spPr bwMode="auto">
            <a:xfrm>
              <a:off x="4736071"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83BE506A-5DAA-4185-95F5-34E93169B513}"/>
                </a:ext>
              </a:extLst>
            </p:cNvPr>
            <p:cNvSpPr/>
            <p:nvPr/>
          </p:nvSpPr>
          <p:spPr bwMode="auto">
            <a:xfrm>
              <a:off x="4736071"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FB0E5C7B-D9FC-46F4-9BC4-F675B3D147F1}"/>
                </a:ext>
              </a:extLst>
            </p:cNvPr>
            <p:cNvSpPr/>
            <p:nvPr/>
          </p:nvSpPr>
          <p:spPr bwMode="auto">
            <a:xfrm>
              <a:off x="4736071"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122F9112-C498-41E6-B942-83CE8CDB695B}"/>
                </a:ext>
              </a:extLst>
            </p:cNvPr>
            <p:cNvSpPr/>
            <p:nvPr/>
          </p:nvSpPr>
          <p:spPr bwMode="auto">
            <a:xfrm>
              <a:off x="5703486"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9284BF3E-7D38-4F0E-8CE7-187DB72A64A6}"/>
                </a:ext>
              </a:extLst>
            </p:cNvPr>
            <p:cNvSpPr/>
            <p:nvPr/>
          </p:nvSpPr>
          <p:spPr bwMode="auto">
            <a:xfrm>
              <a:off x="5703486"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33CA47B7-CC0F-4BC6-B542-2B5E008C7CDD}"/>
                </a:ext>
              </a:extLst>
            </p:cNvPr>
            <p:cNvSpPr/>
            <p:nvPr/>
          </p:nvSpPr>
          <p:spPr bwMode="auto">
            <a:xfrm>
              <a:off x="5703486"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9D39ECB3-6E34-4CC1-BA3B-3381CCD0D7B2}"/>
                </a:ext>
              </a:extLst>
            </p:cNvPr>
            <p:cNvSpPr/>
            <p:nvPr/>
          </p:nvSpPr>
          <p:spPr bwMode="auto">
            <a:xfrm>
              <a:off x="5703486"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577A7A81-C685-4E8A-ACC7-BB0CCB1B8BC8}"/>
                </a:ext>
              </a:extLst>
            </p:cNvPr>
            <p:cNvSpPr/>
            <p:nvPr/>
          </p:nvSpPr>
          <p:spPr bwMode="auto">
            <a:xfrm>
              <a:off x="5703486"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85AB8895-B7EE-4D06-85DD-C090D731E57B}"/>
                </a:ext>
              </a:extLst>
            </p:cNvPr>
            <p:cNvSpPr/>
            <p:nvPr/>
          </p:nvSpPr>
          <p:spPr bwMode="auto">
            <a:xfrm>
              <a:off x="6670901"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F8C7BCEA-2BBE-4C8C-AB56-2ED6CAE5D49D}"/>
                </a:ext>
              </a:extLst>
            </p:cNvPr>
            <p:cNvSpPr/>
            <p:nvPr/>
          </p:nvSpPr>
          <p:spPr bwMode="auto">
            <a:xfrm>
              <a:off x="6670901"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3F7D14D3-6831-4949-9821-E1AECEEFC079}"/>
                </a:ext>
              </a:extLst>
            </p:cNvPr>
            <p:cNvSpPr/>
            <p:nvPr/>
          </p:nvSpPr>
          <p:spPr bwMode="auto">
            <a:xfrm>
              <a:off x="6670901" y="4085734"/>
              <a:ext cx="785026" cy="508572"/>
            </a:xfrm>
            <a:prstGeom prst="rect">
              <a:avLst/>
            </a:prstGeom>
            <a:solidFill>
              <a:schemeClr val="bg2"/>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652576AB-3056-454D-9838-42C062584668}"/>
                </a:ext>
              </a:extLst>
            </p:cNvPr>
            <p:cNvSpPr/>
            <p:nvPr/>
          </p:nvSpPr>
          <p:spPr bwMode="auto">
            <a:xfrm>
              <a:off x="6670901"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AFD01C8B-464C-45EE-88E6-3BE6CDBFE865}"/>
                </a:ext>
              </a:extLst>
            </p:cNvPr>
            <p:cNvSpPr/>
            <p:nvPr/>
          </p:nvSpPr>
          <p:spPr bwMode="auto">
            <a:xfrm>
              <a:off x="6670901"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A04224F8-EF3B-4190-9FA6-1AD26DC0CB6C}"/>
                </a:ext>
              </a:extLst>
            </p:cNvPr>
            <p:cNvSpPr/>
            <p:nvPr/>
          </p:nvSpPr>
          <p:spPr bwMode="auto">
            <a:xfrm>
              <a:off x="7638318"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69DD1ED9-5170-4CD2-A03F-FFE54E0B6EB4}"/>
                </a:ext>
              </a:extLst>
            </p:cNvPr>
            <p:cNvSpPr/>
            <p:nvPr/>
          </p:nvSpPr>
          <p:spPr bwMode="auto">
            <a:xfrm>
              <a:off x="7638318"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958144E3-5EE1-4ACA-857B-25FAB64D3CE8}"/>
                </a:ext>
              </a:extLst>
            </p:cNvPr>
            <p:cNvSpPr/>
            <p:nvPr/>
          </p:nvSpPr>
          <p:spPr bwMode="auto">
            <a:xfrm>
              <a:off x="7638318"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68435E11-A669-4147-9B5B-702060863759}"/>
                </a:ext>
              </a:extLst>
            </p:cNvPr>
            <p:cNvSpPr/>
            <p:nvPr/>
          </p:nvSpPr>
          <p:spPr bwMode="auto">
            <a:xfrm>
              <a:off x="7638318"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92" name="Rectangle 91">
            <a:extLst>
              <a:ext uri="{FF2B5EF4-FFF2-40B4-BE49-F238E27FC236}">
                <a16:creationId xmlns:a16="http://schemas.microsoft.com/office/drawing/2014/main" id="{76F03795-B707-4403-8A51-C424E70CB4DB}"/>
              </a:ext>
            </a:extLst>
          </p:cNvPr>
          <p:cNvSpPr/>
          <p:nvPr/>
        </p:nvSpPr>
        <p:spPr bwMode="auto">
          <a:xfrm>
            <a:off x="7791258" y="5543982"/>
            <a:ext cx="800654" cy="518696"/>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6" name="Rectangle 205">
            <a:extLst>
              <a:ext uri="{FF2B5EF4-FFF2-40B4-BE49-F238E27FC236}">
                <a16:creationId xmlns:a16="http://schemas.microsoft.com/office/drawing/2014/main" id="{8D4B9434-C667-4D5C-9D51-409FE8A78B2D}"/>
              </a:ext>
            </a:extLst>
          </p:cNvPr>
          <p:cNvSpPr/>
          <p:nvPr/>
        </p:nvSpPr>
        <p:spPr bwMode="auto">
          <a:xfrm>
            <a:off x="3844562" y="5543982"/>
            <a:ext cx="800654" cy="518696"/>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7" name="Rectangle 206">
            <a:extLst>
              <a:ext uri="{FF2B5EF4-FFF2-40B4-BE49-F238E27FC236}">
                <a16:creationId xmlns:a16="http://schemas.microsoft.com/office/drawing/2014/main" id="{87158868-88E1-4F87-9176-674B6F20E510}"/>
              </a:ext>
            </a:extLst>
          </p:cNvPr>
          <p:cNvSpPr/>
          <p:nvPr/>
        </p:nvSpPr>
        <p:spPr bwMode="auto">
          <a:xfrm>
            <a:off x="4831235" y="2790983"/>
            <a:ext cx="800654" cy="518696"/>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8" name="Rectangle 207">
            <a:extLst>
              <a:ext uri="{FF2B5EF4-FFF2-40B4-BE49-F238E27FC236}">
                <a16:creationId xmlns:a16="http://schemas.microsoft.com/office/drawing/2014/main" id="{E7D7F2FF-0BE7-4CDA-B98A-490AD764A8AB}"/>
              </a:ext>
            </a:extLst>
          </p:cNvPr>
          <p:cNvSpPr/>
          <p:nvPr/>
        </p:nvSpPr>
        <p:spPr bwMode="auto">
          <a:xfrm>
            <a:off x="4831235" y="4856177"/>
            <a:ext cx="800654" cy="518696"/>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9" name="Rectangle 208">
            <a:extLst>
              <a:ext uri="{FF2B5EF4-FFF2-40B4-BE49-F238E27FC236}">
                <a16:creationId xmlns:a16="http://schemas.microsoft.com/office/drawing/2014/main" id="{A01BB4A5-07ED-4097-8C35-52BD90A6CE81}"/>
              </a:ext>
            </a:extLst>
          </p:cNvPr>
          <p:cNvSpPr/>
          <p:nvPr/>
        </p:nvSpPr>
        <p:spPr bwMode="auto">
          <a:xfrm>
            <a:off x="6804583" y="4167070"/>
            <a:ext cx="800654" cy="518696"/>
          </a:xfrm>
          <a:prstGeom prst="rect">
            <a:avLst/>
          </a:prstGeom>
          <a:solidFill>
            <a:srgbClr val="B8D0E2"/>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0" name="Rectangle 209">
            <a:extLst>
              <a:ext uri="{FF2B5EF4-FFF2-40B4-BE49-F238E27FC236}">
                <a16:creationId xmlns:a16="http://schemas.microsoft.com/office/drawing/2014/main" id="{170AB3A0-9CA8-4E81-B798-5DA14A42FEDC}"/>
              </a:ext>
            </a:extLst>
          </p:cNvPr>
          <p:cNvSpPr/>
          <p:nvPr/>
        </p:nvSpPr>
        <p:spPr bwMode="auto">
          <a:xfrm>
            <a:off x="7791258" y="3479027"/>
            <a:ext cx="800654" cy="518696"/>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7" name="Rectangle 146">
            <a:extLst>
              <a:ext uri="{FF2B5EF4-FFF2-40B4-BE49-F238E27FC236}">
                <a16:creationId xmlns:a16="http://schemas.microsoft.com/office/drawing/2014/main" id="{8802926F-928E-4C99-BCA6-C50A340B4827}"/>
              </a:ext>
            </a:extLst>
          </p:cNvPr>
          <p:cNvSpPr/>
          <p:nvPr/>
        </p:nvSpPr>
        <p:spPr>
          <a:xfrm>
            <a:off x="843658" y="3564891"/>
            <a:ext cx="1627395" cy="3182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6630" rtlCol="0" anchor="t">
            <a:spAutoFit/>
          </a:bodyPr>
          <a:lstStyle/>
          <a:p>
            <a:pPr algn="ctr" defTabSz="932597">
              <a:defRPr/>
            </a:pPr>
            <a:r>
              <a:rPr lang="en-US" sz="1428">
                <a:solidFill>
                  <a:srgbClr val="0078D4"/>
                </a:solidFill>
                <a:latin typeface="Segoe UI Semibold"/>
              </a:rPr>
              <a:t>Enter data</a:t>
            </a:r>
          </a:p>
        </p:txBody>
      </p:sp>
      <p:sp>
        <p:nvSpPr>
          <p:cNvPr id="148" name="Rectangle 147">
            <a:extLst>
              <a:ext uri="{FF2B5EF4-FFF2-40B4-BE49-F238E27FC236}">
                <a16:creationId xmlns:a16="http://schemas.microsoft.com/office/drawing/2014/main" id="{C8B504DD-81B2-4C36-98A7-1A6BE77AB9CC}"/>
              </a:ext>
            </a:extLst>
          </p:cNvPr>
          <p:cNvSpPr/>
          <p:nvPr/>
        </p:nvSpPr>
        <p:spPr>
          <a:xfrm>
            <a:off x="835773" y="4592311"/>
            <a:ext cx="1643165" cy="3182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6630" rtlCol="0" anchor="ctr">
            <a:spAutoFit/>
          </a:bodyPr>
          <a:lstStyle/>
          <a:p>
            <a:pPr algn="ctr" defTabSz="932597">
              <a:defRPr/>
            </a:pPr>
            <a:r>
              <a:rPr lang="en-US" sz="1428">
                <a:solidFill>
                  <a:srgbClr val="0078D4"/>
                </a:solidFill>
                <a:latin typeface="Segoe UI Semibold"/>
              </a:rPr>
              <a:t>Define goals</a:t>
            </a:r>
          </a:p>
        </p:txBody>
      </p:sp>
      <p:sp>
        <p:nvSpPr>
          <p:cNvPr id="149" name="Rectangle 148">
            <a:extLst>
              <a:ext uri="{FF2B5EF4-FFF2-40B4-BE49-F238E27FC236}">
                <a16:creationId xmlns:a16="http://schemas.microsoft.com/office/drawing/2014/main" id="{C858710D-2E37-4079-A01B-AC799219DA2A}"/>
              </a:ext>
            </a:extLst>
          </p:cNvPr>
          <p:cNvSpPr/>
          <p:nvPr/>
        </p:nvSpPr>
        <p:spPr>
          <a:xfrm>
            <a:off x="835773" y="5624569"/>
            <a:ext cx="1643165" cy="312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6630" rtlCol="0" anchor="ctr">
            <a:spAutoFit/>
          </a:bodyPr>
          <a:lstStyle/>
          <a:p>
            <a:pPr algn="ctr" defTabSz="932597">
              <a:defRPr/>
            </a:pPr>
            <a:r>
              <a:rPr lang="en-US" sz="1428">
                <a:solidFill>
                  <a:srgbClr val="0078D4"/>
                </a:solidFill>
                <a:latin typeface="Segoe UI Semibold"/>
              </a:rPr>
              <a:t>Apply constraints</a:t>
            </a:r>
          </a:p>
        </p:txBody>
      </p:sp>
      <p:sp>
        <p:nvSpPr>
          <p:cNvPr id="18" name="Rectangle 17">
            <a:extLst>
              <a:ext uri="{FF2B5EF4-FFF2-40B4-BE49-F238E27FC236}">
                <a16:creationId xmlns:a16="http://schemas.microsoft.com/office/drawing/2014/main" id="{E3CB927C-248B-41A1-AFD0-3C4D3735AD94}"/>
              </a:ext>
            </a:extLst>
          </p:cNvPr>
          <p:cNvSpPr/>
          <p:nvPr/>
        </p:nvSpPr>
        <p:spPr bwMode="auto">
          <a:xfrm>
            <a:off x="9613799" y="1970332"/>
            <a:ext cx="2343796" cy="414353"/>
          </a:xfrm>
          <a:prstGeom prst="rect">
            <a:avLst/>
          </a:prstGeom>
          <a:solidFill>
            <a:schemeClr val="bg1"/>
          </a:solidFill>
        </p:spPr>
        <p:txBody>
          <a:bodyPr wrap="square">
            <a:spAutoFit/>
          </a:bodyPr>
          <a:lstStyle/>
          <a:p>
            <a:pPr algn="ctr" defTabSz="932597">
              <a:defRPr/>
            </a:pPr>
            <a:r>
              <a:rPr lang="en-US" sz="2040">
                <a:solidFill>
                  <a:srgbClr val="0078D4"/>
                </a:solidFill>
                <a:latin typeface="Segoe UI Semibold"/>
              </a:rPr>
              <a:t>Output</a:t>
            </a:r>
          </a:p>
        </p:txBody>
      </p:sp>
      <p:sp>
        <p:nvSpPr>
          <p:cNvPr id="64" name="Title 2"/>
          <p:cNvSpPr>
            <a:spLocks noGrp="1"/>
          </p:cNvSpPr>
          <p:nvPr>
            <p:ph type="title"/>
          </p:nvPr>
        </p:nvSpPr>
        <p:spPr>
          <a:xfrm>
            <a:off x="600855" y="466301"/>
            <a:ext cx="11237870" cy="1130053"/>
          </a:xfrm>
        </p:spPr>
        <p:txBody>
          <a:bodyPr/>
          <a:lstStyle/>
          <a:p>
            <a:pPr algn="ctr"/>
            <a:r>
              <a:rPr lang="zh-CN" altLang="en-US" sz="4488" spc="0" dirty="0">
                <a:ln>
                  <a:noFill/>
                </a:ln>
                <a:solidFill>
                  <a:srgbClr val="0070C0"/>
                </a:solidFill>
                <a:latin typeface="微软雅黑" panose="020B0503020204020204" pitchFamily="34" charset="-122"/>
                <a:ea typeface="微软雅黑" panose="020B0503020204020204" pitchFamily="34" charset="-122"/>
              </a:rPr>
              <a:t>微软机器学习加速模型开发</a:t>
            </a:r>
            <a:br>
              <a:rPr lang="en-US" sz="4488" dirty="0">
                <a:latin typeface="微软雅黑 Light" panose="020B0502040204020203" pitchFamily="34" charset="-122"/>
                <a:ea typeface="微软雅黑 Light" panose="020B0502040204020203" pitchFamily="34" charset="-122"/>
              </a:rPr>
            </a:br>
            <a:r>
              <a:rPr lang="zh-CN" altLang="en-US" sz="2448" b="1" spc="0" dirty="0">
                <a:ln>
                  <a:noFill/>
                </a:ln>
                <a:solidFill>
                  <a:srgbClr val="0078D4"/>
                </a:solidFill>
                <a:latin typeface="微软雅黑 Light" panose="020B0502040204020203" pitchFamily="34" charset="-122"/>
                <a:ea typeface="微软雅黑 Light" panose="020B0502040204020203" pitchFamily="34" charset="-122"/>
                <a:cs typeface="+mn-cs"/>
              </a:rPr>
              <a:t>使用自动化机器学习</a:t>
            </a:r>
            <a:endParaRPr lang="en-US" sz="3672" b="1" spc="0" dirty="0">
              <a:ln>
                <a:noFill/>
              </a:ln>
              <a:solidFill>
                <a:srgbClr val="0078D4"/>
              </a:solidFill>
              <a:latin typeface="微软雅黑 Light" panose="020B0502040204020203" pitchFamily="34" charset="-122"/>
              <a:ea typeface="微软雅黑 Light" panose="020B0502040204020203" pitchFamily="34" charset="-122"/>
              <a:cs typeface="+mn-cs"/>
            </a:endParaRPr>
          </a:p>
        </p:txBody>
      </p:sp>
      <p:sp>
        <p:nvSpPr>
          <p:cNvPr id="150" name="Rectangle 149">
            <a:extLst>
              <a:ext uri="{FF2B5EF4-FFF2-40B4-BE49-F238E27FC236}">
                <a16:creationId xmlns:a16="http://schemas.microsoft.com/office/drawing/2014/main" id="{59D6A392-230C-4B26-9F20-B4A0E248B97E}"/>
              </a:ext>
            </a:extLst>
          </p:cNvPr>
          <p:cNvSpPr/>
          <p:nvPr/>
        </p:nvSpPr>
        <p:spPr>
          <a:xfrm>
            <a:off x="481987" y="1974261"/>
            <a:ext cx="2343796" cy="414353"/>
          </a:xfrm>
          <a:prstGeom prst="rect">
            <a:avLst/>
          </a:prstGeom>
          <a:noFill/>
        </p:spPr>
        <p:txBody>
          <a:bodyPr wrap="square">
            <a:spAutoFit/>
          </a:bodyPr>
          <a:lstStyle/>
          <a:p>
            <a:pPr algn="ctr" defTabSz="932597">
              <a:defRPr/>
            </a:pPr>
            <a:r>
              <a:rPr lang="en-US" sz="2040">
                <a:solidFill>
                  <a:srgbClr val="0078D4"/>
                </a:solidFill>
                <a:latin typeface="Segoe UI Semibold"/>
              </a:rPr>
              <a:t>Input</a:t>
            </a:r>
          </a:p>
        </p:txBody>
      </p:sp>
      <p:sp>
        <p:nvSpPr>
          <p:cNvPr id="32" name="Isosceles Triangle 31">
            <a:extLst>
              <a:ext uri="{FF2B5EF4-FFF2-40B4-BE49-F238E27FC236}">
                <a16:creationId xmlns:a16="http://schemas.microsoft.com/office/drawing/2014/main" id="{A8E8B731-2F28-4A34-834B-B2F0FBC2414D}"/>
              </a:ext>
            </a:extLst>
          </p:cNvPr>
          <p:cNvSpPr/>
          <p:nvPr/>
        </p:nvSpPr>
        <p:spPr>
          <a:xfrm rot="5400000">
            <a:off x="2174282" y="4378476"/>
            <a:ext cx="2141783" cy="324423"/>
          </a:xfrm>
          <a:custGeom>
            <a:avLst/>
            <a:gdLst>
              <a:gd name="connsiteX0" fmla="*/ 0 w 3934939"/>
              <a:gd name="connsiteY0" fmla="*/ 384890 h 384890"/>
              <a:gd name="connsiteX1" fmla="*/ 1967470 w 3934939"/>
              <a:gd name="connsiteY1" fmla="*/ 0 h 384890"/>
              <a:gd name="connsiteX2" fmla="*/ 3934939 w 3934939"/>
              <a:gd name="connsiteY2" fmla="*/ 384890 h 384890"/>
              <a:gd name="connsiteX3" fmla="*/ 0 w 3934939"/>
              <a:gd name="connsiteY3" fmla="*/ 384890 h 384890"/>
              <a:gd name="connsiteX0" fmla="*/ 0 w 3934939"/>
              <a:gd name="connsiteY0" fmla="*/ 384890 h 469590"/>
              <a:gd name="connsiteX1" fmla="*/ 1967470 w 3934939"/>
              <a:gd name="connsiteY1" fmla="*/ 0 h 469590"/>
              <a:gd name="connsiteX2" fmla="*/ 3934939 w 3934939"/>
              <a:gd name="connsiteY2" fmla="*/ 384890 h 469590"/>
              <a:gd name="connsiteX3" fmla="*/ 2070893 w 3934939"/>
              <a:gd name="connsiteY3" fmla="*/ 469590 h 469590"/>
              <a:gd name="connsiteX4" fmla="*/ 0 w 3934939"/>
              <a:gd name="connsiteY4" fmla="*/ 384890 h 469590"/>
              <a:gd name="connsiteX0" fmla="*/ 2070893 w 3934939"/>
              <a:gd name="connsiteY0" fmla="*/ 469590 h 561030"/>
              <a:gd name="connsiteX1" fmla="*/ 0 w 3934939"/>
              <a:gd name="connsiteY1" fmla="*/ 384890 h 561030"/>
              <a:gd name="connsiteX2" fmla="*/ 1967470 w 3934939"/>
              <a:gd name="connsiteY2" fmla="*/ 0 h 561030"/>
              <a:gd name="connsiteX3" fmla="*/ 3934939 w 3934939"/>
              <a:gd name="connsiteY3" fmla="*/ 384890 h 561030"/>
              <a:gd name="connsiteX4" fmla="*/ 2162333 w 3934939"/>
              <a:gd name="connsiteY4" fmla="*/ 561030 h 561030"/>
              <a:gd name="connsiteX0" fmla="*/ 0 w 3934939"/>
              <a:gd name="connsiteY0" fmla="*/ 384890 h 561030"/>
              <a:gd name="connsiteX1" fmla="*/ 1967470 w 3934939"/>
              <a:gd name="connsiteY1" fmla="*/ 0 h 561030"/>
              <a:gd name="connsiteX2" fmla="*/ 3934939 w 3934939"/>
              <a:gd name="connsiteY2" fmla="*/ 384890 h 561030"/>
              <a:gd name="connsiteX3" fmla="*/ 2162333 w 3934939"/>
              <a:gd name="connsiteY3" fmla="*/ 561030 h 561030"/>
              <a:gd name="connsiteX0" fmla="*/ 0 w 3934939"/>
              <a:gd name="connsiteY0" fmla="*/ 384890 h 384890"/>
              <a:gd name="connsiteX1" fmla="*/ 1967470 w 3934939"/>
              <a:gd name="connsiteY1" fmla="*/ 0 h 384890"/>
              <a:gd name="connsiteX2" fmla="*/ 3934939 w 3934939"/>
              <a:gd name="connsiteY2" fmla="*/ 384890 h 384890"/>
            </a:gdLst>
            <a:ahLst/>
            <a:cxnLst>
              <a:cxn ang="0">
                <a:pos x="connsiteX0" y="connsiteY0"/>
              </a:cxn>
              <a:cxn ang="0">
                <a:pos x="connsiteX1" y="connsiteY1"/>
              </a:cxn>
              <a:cxn ang="0">
                <a:pos x="connsiteX2" y="connsiteY2"/>
              </a:cxn>
            </a:cxnLst>
            <a:rect l="l" t="t" r="r" b="b"/>
            <a:pathLst>
              <a:path w="3934939" h="384890">
                <a:moveTo>
                  <a:pt x="0" y="384890"/>
                </a:moveTo>
                <a:lnTo>
                  <a:pt x="1967470" y="0"/>
                </a:lnTo>
                <a:lnTo>
                  <a:pt x="3934939" y="384890"/>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a:endParaRPr>
          </a:p>
        </p:txBody>
      </p:sp>
      <p:sp>
        <p:nvSpPr>
          <p:cNvPr id="71" name="Isosceles Triangle 70">
            <a:extLst>
              <a:ext uri="{FF2B5EF4-FFF2-40B4-BE49-F238E27FC236}">
                <a16:creationId xmlns:a16="http://schemas.microsoft.com/office/drawing/2014/main" id="{974664E9-2BCA-4C60-950C-8E23DBE06A88}"/>
              </a:ext>
            </a:extLst>
          </p:cNvPr>
          <p:cNvSpPr/>
          <p:nvPr/>
        </p:nvSpPr>
        <p:spPr>
          <a:xfrm rot="5400000">
            <a:off x="8308505" y="4417362"/>
            <a:ext cx="2141785" cy="271716"/>
          </a:xfrm>
          <a:custGeom>
            <a:avLst/>
            <a:gdLst>
              <a:gd name="connsiteX0" fmla="*/ 0 w 3934939"/>
              <a:gd name="connsiteY0" fmla="*/ 322358 h 322358"/>
              <a:gd name="connsiteX1" fmla="*/ 1967470 w 3934939"/>
              <a:gd name="connsiteY1" fmla="*/ 0 h 322358"/>
              <a:gd name="connsiteX2" fmla="*/ 3934939 w 3934939"/>
              <a:gd name="connsiteY2" fmla="*/ 322358 h 322358"/>
              <a:gd name="connsiteX3" fmla="*/ 0 w 3934939"/>
              <a:gd name="connsiteY3" fmla="*/ 322358 h 322358"/>
              <a:gd name="connsiteX0" fmla="*/ 0 w 3934939"/>
              <a:gd name="connsiteY0" fmla="*/ 322358 h 631863"/>
              <a:gd name="connsiteX1" fmla="*/ 1967470 w 3934939"/>
              <a:gd name="connsiteY1" fmla="*/ 0 h 631863"/>
              <a:gd name="connsiteX2" fmla="*/ 3934939 w 3934939"/>
              <a:gd name="connsiteY2" fmla="*/ 322358 h 631863"/>
              <a:gd name="connsiteX3" fmla="*/ 2029576 w 3934939"/>
              <a:gd name="connsiteY3" fmla="*/ 631863 h 631863"/>
              <a:gd name="connsiteX4" fmla="*/ 0 w 3934939"/>
              <a:gd name="connsiteY4" fmla="*/ 322358 h 631863"/>
              <a:gd name="connsiteX0" fmla="*/ 2029576 w 3934939"/>
              <a:gd name="connsiteY0" fmla="*/ 631863 h 723303"/>
              <a:gd name="connsiteX1" fmla="*/ 0 w 3934939"/>
              <a:gd name="connsiteY1" fmla="*/ 322358 h 723303"/>
              <a:gd name="connsiteX2" fmla="*/ 1967470 w 3934939"/>
              <a:gd name="connsiteY2" fmla="*/ 0 h 723303"/>
              <a:gd name="connsiteX3" fmla="*/ 3934939 w 3934939"/>
              <a:gd name="connsiteY3" fmla="*/ 322358 h 723303"/>
              <a:gd name="connsiteX4" fmla="*/ 2121016 w 3934939"/>
              <a:gd name="connsiteY4" fmla="*/ 723303 h 723303"/>
              <a:gd name="connsiteX0" fmla="*/ 0 w 3934939"/>
              <a:gd name="connsiteY0" fmla="*/ 322358 h 723303"/>
              <a:gd name="connsiteX1" fmla="*/ 1967470 w 3934939"/>
              <a:gd name="connsiteY1" fmla="*/ 0 h 723303"/>
              <a:gd name="connsiteX2" fmla="*/ 3934939 w 3934939"/>
              <a:gd name="connsiteY2" fmla="*/ 322358 h 723303"/>
              <a:gd name="connsiteX3" fmla="*/ 2121016 w 3934939"/>
              <a:gd name="connsiteY3" fmla="*/ 723303 h 723303"/>
              <a:gd name="connsiteX0" fmla="*/ 0 w 3934939"/>
              <a:gd name="connsiteY0" fmla="*/ 322358 h 322358"/>
              <a:gd name="connsiteX1" fmla="*/ 1967470 w 3934939"/>
              <a:gd name="connsiteY1" fmla="*/ 0 h 322358"/>
              <a:gd name="connsiteX2" fmla="*/ 3934939 w 3934939"/>
              <a:gd name="connsiteY2" fmla="*/ 322358 h 322358"/>
            </a:gdLst>
            <a:ahLst/>
            <a:cxnLst>
              <a:cxn ang="0">
                <a:pos x="connsiteX0" y="connsiteY0"/>
              </a:cxn>
              <a:cxn ang="0">
                <a:pos x="connsiteX1" y="connsiteY1"/>
              </a:cxn>
              <a:cxn ang="0">
                <a:pos x="connsiteX2" y="connsiteY2"/>
              </a:cxn>
            </a:cxnLst>
            <a:rect l="l" t="t" r="r" b="b"/>
            <a:pathLst>
              <a:path w="3934939" h="322358">
                <a:moveTo>
                  <a:pt x="0" y="322358"/>
                </a:moveTo>
                <a:lnTo>
                  <a:pt x="1967470" y="0"/>
                </a:lnTo>
                <a:lnTo>
                  <a:pt x="3934939" y="322358"/>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a:endParaRPr>
          </a:p>
        </p:txBody>
      </p:sp>
      <p:sp>
        <p:nvSpPr>
          <p:cNvPr id="3" name="Rectangle 2">
            <a:extLst>
              <a:ext uri="{FF2B5EF4-FFF2-40B4-BE49-F238E27FC236}">
                <a16:creationId xmlns:a16="http://schemas.microsoft.com/office/drawing/2014/main" id="{3F453347-C82D-4EA0-B4DF-408A2100FEBE}"/>
              </a:ext>
            </a:extLst>
          </p:cNvPr>
          <p:cNvSpPr/>
          <p:nvPr/>
        </p:nvSpPr>
        <p:spPr>
          <a:xfrm>
            <a:off x="3540948" y="1970333"/>
            <a:ext cx="5354575" cy="406265"/>
          </a:xfrm>
          <a:prstGeom prst="rect">
            <a:avLst/>
          </a:prstGeom>
          <a:solidFill>
            <a:schemeClr val="bg1"/>
          </a:solidFill>
        </p:spPr>
        <p:txBody>
          <a:bodyPr wrap="square">
            <a:spAutoFit/>
          </a:bodyPr>
          <a:lstStyle/>
          <a:p>
            <a:pPr algn="ctr" defTabSz="932597">
              <a:defRPr/>
            </a:pPr>
            <a:r>
              <a:rPr lang="en-US" sz="2040">
                <a:solidFill>
                  <a:srgbClr val="0078D4"/>
                </a:solidFill>
                <a:latin typeface="Segoe UI Semibold"/>
              </a:rPr>
              <a:t>Intelligently test multiple models in parallel</a:t>
            </a:r>
          </a:p>
        </p:txBody>
      </p:sp>
      <p:sp>
        <p:nvSpPr>
          <p:cNvPr id="56" name="Rectangle 55">
            <a:extLst>
              <a:ext uri="{FF2B5EF4-FFF2-40B4-BE49-F238E27FC236}">
                <a16:creationId xmlns:a16="http://schemas.microsoft.com/office/drawing/2014/main" id="{346B9977-B3BB-4F82-B05A-89F2C5823D34}"/>
              </a:ext>
            </a:extLst>
          </p:cNvPr>
          <p:cNvSpPr/>
          <p:nvPr/>
        </p:nvSpPr>
        <p:spPr bwMode="auto">
          <a:xfrm>
            <a:off x="3844564" y="5545633"/>
            <a:ext cx="800650" cy="515394"/>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defTabSz="951028" fontAlgn="base">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25%</a:t>
            </a:r>
          </a:p>
        </p:txBody>
      </p:sp>
      <p:sp>
        <p:nvSpPr>
          <p:cNvPr id="57" name="Rectangle 56">
            <a:extLst>
              <a:ext uri="{FF2B5EF4-FFF2-40B4-BE49-F238E27FC236}">
                <a16:creationId xmlns:a16="http://schemas.microsoft.com/office/drawing/2014/main" id="{9521235A-368A-4639-A773-C6E2F81D58B3}"/>
              </a:ext>
            </a:extLst>
          </p:cNvPr>
          <p:cNvSpPr/>
          <p:nvPr/>
        </p:nvSpPr>
        <p:spPr bwMode="auto">
          <a:xfrm>
            <a:off x="4831237" y="2792634"/>
            <a:ext cx="800650" cy="515394"/>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defTabSz="951028" fontAlgn="base">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25%</a:t>
            </a:r>
          </a:p>
        </p:txBody>
      </p:sp>
      <p:sp>
        <p:nvSpPr>
          <p:cNvPr id="58" name="Rectangle 57">
            <a:extLst>
              <a:ext uri="{FF2B5EF4-FFF2-40B4-BE49-F238E27FC236}">
                <a16:creationId xmlns:a16="http://schemas.microsoft.com/office/drawing/2014/main" id="{675C0FA6-2D64-4834-A491-6EF039ACEEC8}"/>
              </a:ext>
            </a:extLst>
          </p:cNvPr>
          <p:cNvSpPr/>
          <p:nvPr/>
        </p:nvSpPr>
        <p:spPr bwMode="auto">
          <a:xfrm>
            <a:off x="4831237" y="4857828"/>
            <a:ext cx="800650" cy="515394"/>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defTabSz="951028" fontAlgn="base">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25%</a:t>
            </a:r>
          </a:p>
        </p:txBody>
      </p:sp>
      <p:sp>
        <p:nvSpPr>
          <p:cNvPr id="62" name="Rectangle 61">
            <a:extLst>
              <a:ext uri="{FF2B5EF4-FFF2-40B4-BE49-F238E27FC236}">
                <a16:creationId xmlns:a16="http://schemas.microsoft.com/office/drawing/2014/main" id="{5EF08468-D16A-4ED4-8701-7980A78BDED0}"/>
              </a:ext>
            </a:extLst>
          </p:cNvPr>
          <p:cNvSpPr/>
          <p:nvPr/>
        </p:nvSpPr>
        <p:spPr bwMode="auto">
          <a:xfrm>
            <a:off x="6804585" y="4168721"/>
            <a:ext cx="800650" cy="515394"/>
          </a:xfrm>
          <a:prstGeom prst="rect">
            <a:avLst/>
          </a:prstGeom>
          <a:solidFill>
            <a:srgbClr val="8ABADF"/>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defTabSz="951028" fontAlgn="base">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25%</a:t>
            </a:r>
          </a:p>
        </p:txBody>
      </p:sp>
      <p:sp>
        <p:nvSpPr>
          <p:cNvPr id="63" name="Rectangle 62">
            <a:extLst>
              <a:ext uri="{FF2B5EF4-FFF2-40B4-BE49-F238E27FC236}">
                <a16:creationId xmlns:a16="http://schemas.microsoft.com/office/drawing/2014/main" id="{B432A898-81C5-4603-BFAF-4B2E5F642B1A}"/>
              </a:ext>
            </a:extLst>
          </p:cNvPr>
          <p:cNvSpPr/>
          <p:nvPr/>
        </p:nvSpPr>
        <p:spPr bwMode="auto">
          <a:xfrm>
            <a:off x="7791260" y="3480678"/>
            <a:ext cx="800650" cy="515394"/>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defTabSz="951028" fontAlgn="base">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25%</a:t>
            </a:r>
          </a:p>
        </p:txBody>
      </p:sp>
      <p:sp>
        <p:nvSpPr>
          <p:cNvPr id="65" name="Rectangle 64">
            <a:extLst>
              <a:ext uri="{FF2B5EF4-FFF2-40B4-BE49-F238E27FC236}">
                <a16:creationId xmlns:a16="http://schemas.microsoft.com/office/drawing/2014/main" id="{59CC870D-04DB-4F1E-9745-CCDD2D891D77}"/>
              </a:ext>
            </a:extLst>
          </p:cNvPr>
          <p:cNvSpPr/>
          <p:nvPr/>
        </p:nvSpPr>
        <p:spPr bwMode="auto">
          <a:xfrm>
            <a:off x="7791258" y="5543982"/>
            <a:ext cx="800650" cy="515394"/>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defTabSz="951028" fontAlgn="base">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25%</a:t>
            </a:r>
          </a:p>
        </p:txBody>
      </p:sp>
      <p:sp>
        <p:nvSpPr>
          <p:cNvPr id="69" name="Rectangle 68">
            <a:extLst>
              <a:ext uri="{FF2B5EF4-FFF2-40B4-BE49-F238E27FC236}">
                <a16:creationId xmlns:a16="http://schemas.microsoft.com/office/drawing/2014/main" id="{B56BE929-4E78-4328-9FCD-06D03936F734}"/>
              </a:ext>
            </a:extLst>
          </p:cNvPr>
          <p:cNvSpPr/>
          <p:nvPr/>
        </p:nvSpPr>
        <p:spPr bwMode="auto">
          <a:xfrm>
            <a:off x="10463163" y="3487764"/>
            <a:ext cx="645071" cy="2574566"/>
          </a:xfrm>
          <a:prstGeom prst="rect">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9" name="Group 20">
            <a:extLst>
              <a:ext uri="{FF2B5EF4-FFF2-40B4-BE49-F238E27FC236}">
                <a16:creationId xmlns:a16="http://schemas.microsoft.com/office/drawing/2014/main" id="{4EB75E30-B3D2-4C3B-A35B-9B27FF1C15BB}"/>
              </a:ext>
            </a:extLst>
          </p:cNvPr>
          <p:cNvGrpSpPr>
            <a:grpSpLocks noChangeAspect="1"/>
          </p:cNvGrpSpPr>
          <p:nvPr/>
        </p:nvGrpSpPr>
        <p:grpSpPr bwMode="auto">
          <a:xfrm>
            <a:off x="1403171" y="3093557"/>
            <a:ext cx="508369" cy="445002"/>
            <a:chOff x="3764" y="3313"/>
            <a:chExt cx="353" cy="309"/>
          </a:xfrm>
          <a:noFill/>
        </p:grpSpPr>
        <p:sp>
          <p:nvSpPr>
            <p:cNvPr id="110" name="Freeform 21">
              <a:extLst>
                <a:ext uri="{FF2B5EF4-FFF2-40B4-BE49-F238E27FC236}">
                  <a16:creationId xmlns:a16="http://schemas.microsoft.com/office/drawing/2014/main" id="{BD1FEC2F-B3EF-4D54-A4F0-54A076AB7B40}"/>
                </a:ext>
              </a:extLst>
            </p:cNvPr>
            <p:cNvSpPr>
              <a:spLocks/>
            </p:cNvSpPr>
            <p:nvPr/>
          </p:nvSpPr>
          <p:spPr bwMode="auto">
            <a:xfrm>
              <a:off x="3764"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1" name="Freeform 22">
              <a:extLst>
                <a:ext uri="{FF2B5EF4-FFF2-40B4-BE49-F238E27FC236}">
                  <a16:creationId xmlns:a16="http://schemas.microsoft.com/office/drawing/2014/main" id="{7F63B60E-7DB5-488E-866F-93EFD0A370F2}"/>
                </a:ext>
              </a:extLst>
            </p:cNvPr>
            <p:cNvSpPr>
              <a:spLocks/>
            </p:cNvSpPr>
            <p:nvPr/>
          </p:nvSpPr>
          <p:spPr bwMode="auto">
            <a:xfrm>
              <a:off x="3897"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2" name="Freeform 23">
              <a:extLst>
                <a:ext uri="{FF2B5EF4-FFF2-40B4-BE49-F238E27FC236}">
                  <a16:creationId xmlns:a16="http://schemas.microsoft.com/office/drawing/2014/main" id="{57635241-C845-49E4-AB91-802F219852CB}"/>
                </a:ext>
              </a:extLst>
            </p:cNvPr>
            <p:cNvSpPr>
              <a:spLocks/>
            </p:cNvSpPr>
            <p:nvPr/>
          </p:nvSpPr>
          <p:spPr bwMode="auto">
            <a:xfrm>
              <a:off x="4028"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3" name="Freeform 24">
              <a:extLst>
                <a:ext uri="{FF2B5EF4-FFF2-40B4-BE49-F238E27FC236}">
                  <a16:creationId xmlns:a16="http://schemas.microsoft.com/office/drawing/2014/main" id="{7AC8221E-05C5-44FD-AE36-2F8BEAD0849B}"/>
                </a:ext>
              </a:extLst>
            </p:cNvPr>
            <p:cNvSpPr>
              <a:spLocks/>
            </p:cNvSpPr>
            <p:nvPr/>
          </p:nvSpPr>
          <p:spPr bwMode="auto">
            <a:xfrm>
              <a:off x="3807" y="3313"/>
              <a:ext cx="47"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grpFill/>
            <a:ln w="12700" cap="flat">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4" name="Freeform 25">
              <a:extLst>
                <a:ext uri="{FF2B5EF4-FFF2-40B4-BE49-F238E27FC236}">
                  <a16:creationId xmlns:a16="http://schemas.microsoft.com/office/drawing/2014/main" id="{9949F84B-2E66-4817-B219-AD61CE8ED48F}"/>
                </a:ext>
              </a:extLst>
            </p:cNvPr>
            <p:cNvSpPr>
              <a:spLocks/>
            </p:cNvSpPr>
            <p:nvPr/>
          </p:nvSpPr>
          <p:spPr bwMode="auto">
            <a:xfrm>
              <a:off x="3940" y="3313"/>
              <a:ext cx="44" cy="7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grpFill/>
            <a:ln w="12700" cap="flat">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5" name="Freeform 26">
              <a:extLst>
                <a:ext uri="{FF2B5EF4-FFF2-40B4-BE49-F238E27FC236}">
                  <a16:creationId xmlns:a16="http://schemas.microsoft.com/office/drawing/2014/main" id="{0742F126-3B94-4368-A3B6-4552957A4C9E}"/>
                </a:ext>
              </a:extLst>
            </p:cNvPr>
            <p:cNvSpPr>
              <a:spLocks/>
            </p:cNvSpPr>
            <p:nvPr/>
          </p:nvSpPr>
          <p:spPr bwMode="auto">
            <a:xfrm>
              <a:off x="4071" y="3313"/>
              <a:ext cx="46"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grpFill/>
            <a:ln w="12700" cap="flat">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6" name="Freeform 27">
              <a:extLst>
                <a:ext uri="{FF2B5EF4-FFF2-40B4-BE49-F238E27FC236}">
                  <a16:creationId xmlns:a16="http://schemas.microsoft.com/office/drawing/2014/main" id="{1BCE99C9-C0BF-4E7C-AC5C-B51B77D3081F}"/>
                </a:ext>
              </a:extLst>
            </p:cNvPr>
            <p:cNvSpPr>
              <a:spLocks/>
            </p:cNvSpPr>
            <p:nvPr/>
          </p:nvSpPr>
          <p:spPr bwMode="auto">
            <a:xfrm>
              <a:off x="3764"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7" name="Freeform 28">
              <a:extLst>
                <a:ext uri="{FF2B5EF4-FFF2-40B4-BE49-F238E27FC236}">
                  <a16:creationId xmlns:a16="http://schemas.microsoft.com/office/drawing/2014/main" id="{398C6C3A-DB5A-4EBA-85EC-2D420F4549E2}"/>
                </a:ext>
              </a:extLst>
            </p:cNvPr>
            <p:cNvSpPr>
              <a:spLocks/>
            </p:cNvSpPr>
            <p:nvPr/>
          </p:nvSpPr>
          <p:spPr bwMode="auto">
            <a:xfrm>
              <a:off x="3897"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8" name="Freeform 29">
              <a:extLst>
                <a:ext uri="{FF2B5EF4-FFF2-40B4-BE49-F238E27FC236}">
                  <a16:creationId xmlns:a16="http://schemas.microsoft.com/office/drawing/2014/main" id="{B1B01E7D-6DF1-4886-9B59-7BD5243E3D42}"/>
                </a:ext>
              </a:extLst>
            </p:cNvPr>
            <p:cNvSpPr>
              <a:spLocks/>
            </p:cNvSpPr>
            <p:nvPr/>
          </p:nvSpPr>
          <p:spPr bwMode="auto">
            <a:xfrm>
              <a:off x="4028"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9" name="Freeform 30">
              <a:extLst>
                <a:ext uri="{FF2B5EF4-FFF2-40B4-BE49-F238E27FC236}">
                  <a16:creationId xmlns:a16="http://schemas.microsoft.com/office/drawing/2014/main" id="{A56F16CC-423F-4F28-9CC4-6A2300AC7993}"/>
                </a:ext>
              </a:extLst>
            </p:cNvPr>
            <p:cNvSpPr>
              <a:spLocks/>
            </p:cNvSpPr>
            <p:nvPr/>
          </p:nvSpPr>
          <p:spPr bwMode="auto">
            <a:xfrm>
              <a:off x="3807" y="3550"/>
              <a:ext cx="47"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grpFill/>
            <a:ln w="12700" cap="flat">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0" name="Freeform 31">
              <a:extLst>
                <a:ext uri="{FF2B5EF4-FFF2-40B4-BE49-F238E27FC236}">
                  <a16:creationId xmlns:a16="http://schemas.microsoft.com/office/drawing/2014/main" id="{BFDE09ED-D17C-4D80-8907-DDC02A4B1980}"/>
                </a:ext>
              </a:extLst>
            </p:cNvPr>
            <p:cNvSpPr>
              <a:spLocks/>
            </p:cNvSpPr>
            <p:nvPr/>
          </p:nvSpPr>
          <p:spPr bwMode="auto">
            <a:xfrm>
              <a:off x="3940" y="3550"/>
              <a:ext cx="44" cy="7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grpFill/>
            <a:ln w="12700" cap="flat">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1" name="Freeform 32">
              <a:extLst>
                <a:ext uri="{FF2B5EF4-FFF2-40B4-BE49-F238E27FC236}">
                  <a16:creationId xmlns:a16="http://schemas.microsoft.com/office/drawing/2014/main" id="{609C7B92-A8DD-4959-8248-CA063018AFC6}"/>
                </a:ext>
              </a:extLst>
            </p:cNvPr>
            <p:cNvSpPr>
              <a:spLocks/>
            </p:cNvSpPr>
            <p:nvPr/>
          </p:nvSpPr>
          <p:spPr bwMode="auto">
            <a:xfrm>
              <a:off x="4071" y="3550"/>
              <a:ext cx="46"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grpFill/>
            <a:ln w="12700" cap="flat">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2" name="Freeform 33">
              <a:extLst>
                <a:ext uri="{FF2B5EF4-FFF2-40B4-BE49-F238E27FC236}">
                  <a16:creationId xmlns:a16="http://schemas.microsoft.com/office/drawing/2014/main" id="{C9DF86B1-D780-4B1F-B717-254F3C2F0BB5}"/>
                </a:ext>
              </a:extLst>
            </p:cNvPr>
            <p:cNvSpPr>
              <a:spLocks/>
            </p:cNvSpPr>
            <p:nvPr/>
          </p:nvSpPr>
          <p:spPr bwMode="auto">
            <a:xfrm>
              <a:off x="385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 name="Freeform 34">
              <a:extLst>
                <a:ext uri="{FF2B5EF4-FFF2-40B4-BE49-F238E27FC236}">
                  <a16:creationId xmlns:a16="http://schemas.microsoft.com/office/drawing/2014/main" id="{807DD4F0-A770-4045-927B-A19790AA5830}"/>
                </a:ext>
              </a:extLst>
            </p:cNvPr>
            <p:cNvSpPr>
              <a:spLocks/>
            </p:cNvSpPr>
            <p:nvPr/>
          </p:nvSpPr>
          <p:spPr bwMode="auto">
            <a:xfrm>
              <a:off x="398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 name="Freeform 35">
              <a:extLst>
                <a:ext uri="{FF2B5EF4-FFF2-40B4-BE49-F238E27FC236}">
                  <a16:creationId xmlns:a16="http://schemas.microsoft.com/office/drawing/2014/main" id="{F2EB3B8B-3349-4C49-9DA2-BE2CB6CA5FEF}"/>
                </a:ext>
              </a:extLst>
            </p:cNvPr>
            <p:cNvSpPr>
              <a:spLocks/>
            </p:cNvSpPr>
            <p:nvPr/>
          </p:nvSpPr>
          <p:spPr bwMode="auto">
            <a:xfrm>
              <a:off x="3764" y="3435"/>
              <a:ext cx="46" cy="7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grpFill/>
            <a:ln w="12700" cap="flat">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 name="Freeform 36">
              <a:extLst>
                <a:ext uri="{FF2B5EF4-FFF2-40B4-BE49-F238E27FC236}">
                  <a16:creationId xmlns:a16="http://schemas.microsoft.com/office/drawing/2014/main" id="{C3210E19-2877-4D2D-8799-5C996EDB3163}"/>
                </a:ext>
              </a:extLst>
            </p:cNvPr>
            <p:cNvSpPr>
              <a:spLocks/>
            </p:cNvSpPr>
            <p:nvPr/>
          </p:nvSpPr>
          <p:spPr bwMode="auto">
            <a:xfrm>
              <a:off x="3897"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grpFill/>
            <a:ln w="12700" cap="flat">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6" name="Freeform 37">
              <a:extLst>
                <a:ext uri="{FF2B5EF4-FFF2-40B4-BE49-F238E27FC236}">
                  <a16:creationId xmlns:a16="http://schemas.microsoft.com/office/drawing/2014/main" id="{F44E29D8-3D29-4BAF-8E02-EC2BC5774ED8}"/>
                </a:ext>
              </a:extLst>
            </p:cNvPr>
            <p:cNvSpPr>
              <a:spLocks/>
            </p:cNvSpPr>
            <p:nvPr/>
          </p:nvSpPr>
          <p:spPr bwMode="auto">
            <a:xfrm>
              <a:off x="4028"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grpFill/>
            <a:ln w="12700" cap="flat">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7" name="Freeform 38">
              <a:extLst>
                <a:ext uri="{FF2B5EF4-FFF2-40B4-BE49-F238E27FC236}">
                  <a16:creationId xmlns:a16="http://schemas.microsoft.com/office/drawing/2014/main" id="{863F6220-B897-446E-91E3-C0B7172FC292}"/>
                </a:ext>
              </a:extLst>
            </p:cNvPr>
            <p:cNvSpPr>
              <a:spLocks/>
            </p:cNvSpPr>
            <p:nvPr/>
          </p:nvSpPr>
          <p:spPr bwMode="auto">
            <a:xfrm>
              <a:off x="4117"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54" name="Rectangle 153">
            <a:extLst>
              <a:ext uri="{FF2B5EF4-FFF2-40B4-BE49-F238E27FC236}">
                <a16:creationId xmlns:a16="http://schemas.microsoft.com/office/drawing/2014/main" id="{56F8C412-B3B9-4D8E-96A2-650D8AA38881}"/>
              </a:ext>
            </a:extLst>
          </p:cNvPr>
          <p:cNvSpPr/>
          <p:nvPr/>
        </p:nvSpPr>
        <p:spPr bwMode="auto">
          <a:xfrm>
            <a:off x="3844564" y="5545633"/>
            <a:ext cx="800650" cy="515394"/>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defTabSz="951028" fontAlgn="base">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40%</a:t>
            </a:r>
          </a:p>
        </p:txBody>
      </p:sp>
      <p:sp>
        <p:nvSpPr>
          <p:cNvPr id="156" name="Rectangle 155">
            <a:extLst>
              <a:ext uri="{FF2B5EF4-FFF2-40B4-BE49-F238E27FC236}">
                <a16:creationId xmlns:a16="http://schemas.microsoft.com/office/drawing/2014/main" id="{B1BD5EB7-7D25-4A2E-9890-4D22892EA68F}"/>
              </a:ext>
            </a:extLst>
          </p:cNvPr>
          <p:cNvSpPr/>
          <p:nvPr/>
        </p:nvSpPr>
        <p:spPr bwMode="auto">
          <a:xfrm>
            <a:off x="4831237" y="4857828"/>
            <a:ext cx="800650" cy="515394"/>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defTabSz="951028" fontAlgn="base">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40%</a:t>
            </a:r>
          </a:p>
        </p:txBody>
      </p:sp>
      <p:sp>
        <p:nvSpPr>
          <p:cNvPr id="160" name="Rectangle 159">
            <a:extLst>
              <a:ext uri="{FF2B5EF4-FFF2-40B4-BE49-F238E27FC236}">
                <a16:creationId xmlns:a16="http://schemas.microsoft.com/office/drawing/2014/main" id="{52810F27-F6D4-44ED-A959-4307288B0F0F}"/>
              </a:ext>
            </a:extLst>
          </p:cNvPr>
          <p:cNvSpPr/>
          <p:nvPr/>
        </p:nvSpPr>
        <p:spPr bwMode="auto">
          <a:xfrm>
            <a:off x="6804585" y="4168721"/>
            <a:ext cx="800650" cy="515394"/>
          </a:xfrm>
          <a:prstGeom prst="rect">
            <a:avLst/>
          </a:prstGeom>
          <a:solidFill>
            <a:srgbClr val="5CA4DB"/>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defTabSz="951028" fontAlgn="base">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40%</a:t>
            </a:r>
          </a:p>
        </p:txBody>
      </p:sp>
      <p:sp>
        <p:nvSpPr>
          <p:cNvPr id="161" name="Rectangle 160">
            <a:extLst>
              <a:ext uri="{FF2B5EF4-FFF2-40B4-BE49-F238E27FC236}">
                <a16:creationId xmlns:a16="http://schemas.microsoft.com/office/drawing/2014/main" id="{3DFD0CFB-7493-447A-9739-F92717140711}"/>
              </a:ext>
            </a:extLst>
          </p:cNvPr>
          <p:cNvSpPr/>
          <p:nvPr/>
        </p:nvSpPr>
        <p:spPr bwMode="auto">
          <a:xfrm>
            <a:off x="7791260" y="3480678"/>
            <a:ext cx="800650" cy="515394"/>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defTabSz="951028" fontAlgn="base">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40%</a:t>
            </a:r>
          </a:p>
        </p:txBody>
      </p:sp>
      <p:sp>
        <p:nvSpPr>
          <p:cNvPr id="162" name="Rectangle 161">
            <a:extLst>
              <a:ext uri="{FF2B5EF4-FFF2-40B4-BE49-F238E27FC236}">
                <a16:creationId xmlns:a16="http://schemas.microsoft.com/office/drawing/2014/main" id="{0B7E7B3B-A7D6-4B9E-9B43-CAA1A8D42874}"/>
              </a:ext>
            </a:extLst>
          </p:cNvPr>
          <p:cNvSpPr/>
          <p:nvPr/>
        </p:nvSpPr>
        <p:spPr bwMode="auto">
          <a:xfrm>
            <a:off x="7791258" y="5543982"/>
            <a:ext cx="800650" cy="515394"/>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defTabSz="951028" fontAlgn="base">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40%</a:t>
            </a:r>
          </a:p>
        </p:txBody>
      </p:sp>
      <p:sp>
        <p:nvSpPr>
          <p:cNvPr id="178" name="Rectangle 177">
            <a:extLst>
              <a:ext uri="{FF2B5EF4-FFF2-40B4-BE49-F238E27FC236}">
                <a16:creationId xmlns:a16="http://schemas.microsoft.com/office/drawing/2014/main" id="{69F286C7-A72E-4B19-BECC-2AD322B91A55}"/>
              </a:ext>
            </a:extLst>
          </p:cNvPr>
          <p:cNvSpPr/>
          <p:nvPr/>
        </p:nvSpPr>
        <p:spPr bwMode="auto">
          <a:xfrm>
            <a:off x="4831237" y="4857828"/>
            <a:ext cx="800650" cy="515394"/>
          </a:xfrm>
          <a:prstGeom prst="rect">
            <a:avLst/>
          </a:prstGeom>
          <a:solidFill>
            <a:srgbClr val="2E8E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defTabSz="951028" fontAlgn="base">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70%</a:t>
            </a:r>
          </a:p>
        </p:txBody>
      </p:sp>
      <p:sp>
        <p:nvSpPr>
          <p:cNvPr id="182" name="Rectangle 181">
            <a:extLst>
              <a:ext uri="{FF2B5EF4-FFF2-40B4-BE49-F238E27FC236}">
                <a16:creationId xmlns:a16="http://schemas.microsoft.com/office/drawing/2014/main" id="{F6960B95-9AED-453D-8147-4BE64D2AA752}"/>
              </a:ext>
            </a:extLst>
          </p:cNvPr>
          <p:cNvSpPr/>
          <p:nvPr/>
        </p:nvSpPr>
        <p:spPr bwMode="auto">
          <a:xfrm>
            <a:off x="6804585" y="4168721"/>
            <a:ext cx="800650" cy="515394"/>
          </a:xfrm>
          <a:prstGeom prst="rect">
            <a:avLst/>
          </a:prstGeom>
          <a:solidFill>
            <a:srgbClr val="2E8ED8"/>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defTabSz="951028" fontAlgn="base">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70%</a:t>
            </a:r>
          </a:p>
        </p:txBody>
      </p:sp>
      <p:sp>
        <p:nvSpPr>
          <p:cNvPr id="183" name="Rectangle 182">
            <a:extLst>
              <a:ext uri="{FF2B5EF4-FFF2-40B4-BE49-F238E27FC236}">
                <a16:creationId xmlns:a16="http://schemas.microsoft.com/office/drawing/2014/main" id="{5E1D3D7E-AE78-461B-8984-8550F13D2CAC}"/>
              </a:ext>
            </a:extLst>
          </p:cNvPr>
          <p:cNvSpPr/>
          <p:nvPr/>
        </p:nvSpPr>
        <p:spPr bwMode="auto">
          <a:xfrm>
            <a:off x="7791260" y="3480678"/>
            <a:ext cx="800650" cy="515394"/>
          </a:xfrm>
          <a:prstGeom prst="rect">
            <a:avLst/>
          </a:prstGeom>
          <a:solidFill>
            <a:srgbClr val="2E8E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defTabSz="951028" fontAlgn="base">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70%</a:t>
            </a:r>
          </a:p>
        </p:txBody>
      </p:sp>
      <p:sp>
        <p:nvSpPr>
          <p:cNvPr id="184" name="Rectangle 183">
            <a:extLst>
              <a:ext uri="{FF2B5EF4-FFF2-40B4-BE49-F238E27FC236}">
                <a16:creationId xmlns:a16="http://schemas.microsoft.com/office/drawing/2014/main" id="{7AB63D05-2235-48E1-AC5A-5332C75C07D7}"/>
              </a:ext>
            </a:extLst>
          </p:cNvPr>
          <p:cNvSpPr/>
          <p:nvPr/>
        </p:nvSpPr>
        <p:spPr bwMode="auto">
          <a:xfrm>
            <a:off x="7791258" y="5543982"/>
            <a:ext cx="800650" cy="515394"/>
          </a:xfrm>
          <a:prstGeom prst="rect">
            <a:avLst/>
          </a:prstGeom>
          <a:solidFill>
            <a:srgbClr val="2E8E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defTabSz="951028" fontAlgn="base">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70%</a:t>
            </a:r>
          </a:p>
        </p:txBody>
      </p:sp>
      <p:sp>
        <p:nvSpPr>
          <p:cNvPr id="195" name="Rectangle 194">
            <a:extLst>
              <a:ext uri="{FF2B5EF4-FFF2-40B4-BE49-F238E27FC236}">
                <a16:creationId xmlns:a16="http://schemas.microsoft.com/office/drawing/2014/main" id="{195437A0-E144-4350-B464-A76A69AAF11F}"/>
              </a:ext>
            </a:extLst>
          </p:cNvPr>
          <p:cNvSpPr/>
          <p:nvPr/>
        </p:nvSpPr>
        <p:spPr bwMode="auto">
          <a:xfrm>
            <a:off x="6804585" y="4168721"/>
            <a:ext cx="800650" cy="515394"/>
          </a:xfrm>
          <a:prstGeom prst="rect">
            <a:avLst/>
          </a:prstGeom>
          <a:solidFill>
            <a:schemeClr val="tx2"/>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defTabSz="951028" fontAlgn="base">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95%</a:t>
            </a:r>
          </a:p>
        </p:txBody>
      </p:sp>
      <p:sp>
        <p:nvSpPr>
          <p:cNvPr id="196" name="Freeform 5">
            <a:extLst>
              <a:ext uri="{FF2B5EF4-FFF2-40B4-BE49-F238E27FC236}">
                <a16:creationId xmlns:a16="http://schemas.microsoft.com/office/drawing/2014/main" id="{DF9FDED0-2500-4374-B5B2-ED86C9D5D9D3}"/>
              </a:ext>
            </a:extLst>
          </p:cNvPr>
          <p:cNvSpPr>
            <a:spLocks noEditPoints="1"/>
          </p:cNvSpPr>
          <p:nvPr/>
        </p:nvSpPr>
        <p:spPr bwMode="auto">
          <a:xfrm>
            <a:off x="10557691" y="2760243"/>
            <a:ext cx="448931" cy="270087"/>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latin typeface="Segoe UI Semilight"/>
            </a:endParaRPr>
          </a:p>
        </p:txBody>
      </p:sp>
      <p:sp>
        <p:nvSpPr>
          <p:cNvPr id="199" name="Rectangle 198">
            <a:extLst>
              <a:ext uri="{FF2B5EF4-FFF2-40B4-BE49-F238E27FC236}">
                <a16:creationId xmlns:a16="http://schemas.microsoft.com/office/drawing/2014/main" id="{22602F01-A6AD-4809-AE58-134198AE5A95}"/>
              </a:ext>
            </a:extLst>
          </p:cNvPr>
          <p:cNvSpPr/>
          <p:nvPr/>
        </p:nvSpPr>
        <p:spPr bwMode="auto">
          <a:xfrm>
            <a:off x="10337715" y="6073768"/>
            <a:ext cx="895964" cy="9207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E9A9F4A2-34D2-4122-B219-A325533A8008}"/>
              </a:ext>
            </a:extLst>
          </p:cNvPr>
          <p:cNvSpPr txBox="1"/>
          <p:nvPr/>
        </p:nvSpPr>
        <p:spPr>
          <a:xfrm>
            <a:off x="9807359" y="3075643"/>
            <a:ext cx="1956676" cy="3182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defPPr>
              <a:defRPr lang="en-US"/>
            </a:defPPr>
            <a:lvl1pPr algn="ctr">
              <a:defRPr sz="1400">
                <a:solidFill>
                  <a:schemeClr val="accent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597">
              <a:defRPr/>
            </a:pPr>
            <a:r>
              <a:rPr lang="en-US" sz="1428">
                <a:solidFill>
                  <a:srgbClr val="0078D4"/>
                </a:solidFill>
                <a:latin typeface="Segoe UI Semibold"/>
              </a:rPr>
              <a:t>Optimized model</a:t>
            </a:r>
          </a:p>
        </p:txBody>
      </p:sp>
      <p:sp>
        <p:nvSpPr>
          <p:cNvPr id="197" name="Rectangle 196">
            <a:extLst>
              <a:ext uri="{FF2B5EF4-FFF2-40B4-BE49-F238E27FC236}">
                <a16:creationId xmlns:a16="http://schemas.microsoft.com/office/drawing/2014/main" id="{A85EB74B-FDD2-45CB-A236-74C66623A549}"/>
              </a:ext>
            </a:extLst>
          </p:cNvPr>
          <p:cNvSpPr/>
          <p:nvPr/>
        </p:nvSpPr>
        <p:spPr bwMode="auto">
          <a:xfrm>
            <a:off x="6951053" y="4272379"/>
            <a:ext cx="507714" cy="308079"/>
          </a:xfrm>
          <a:prstGeom prst="rect">
            <a:avLst/>
          </a:prstGeom>
          <a:no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951028" fontAlgn="base">
              <a:spcBef>
                <a:spcPct val="0"/>
              </a:spcBef>
              <a:spcAft>
                <a:spcPct val="0"/>
              </a:spcAft>
              <a:defRPr/>
            </a:pPr>
            <a:r>
              <a:rPr lang="en-US" sz="1632">
                <a:gradFill>
                  <a:gsLst>
                    <a:gs pos="0">
                      <a:srgbClr val="FFFFFF"/>
                    </a:gs>
                    <a:gs pos="100000">
                      <a:srgbClr val="FFFFFF"/>
                    </a:gs>
                  </a:gsLst>
                  <a:lin ang="5400000" scaled="0"/>
                </a:gradFill>
                <a:latin typeface="Segoe UI Semibold"/>
                <a:ea typeface="Segoe UI" pitchFamily="34" charset="0"/>
                <a:cs typeface="Segoe UI" pitchFamily="34" charset="0"/>
              </a:rPr>
              <a:t>95%</a:t>
            </a:r>
          </a:p>
        </p:txBody>
      </p:sp>
      <p:grpSp>
        <p:nvGrpSpPr>
          <p:cNvPr id="212" name="Group 211">
            <a:extLst>
              <a:ext uri="{FF2B5EF4-FFF2-40B4-BE49-F238E27FC236}">
                <a16:creationId xmlns:a16="http://schemas.microsoft.com/office/drawing/2014/main" id="{49DE720E-16FD-4BAD-BC4A-AB88F4C6E793}"/>
              </a:ext>
            </a:extLst>
          </p:cNvPr>
          <p:cNvGrpSpPr/>
          <p:nvPr/>
        </p:nvGrpSpPr>
        <p:grpSpPr>
          <a:xfrm>
            <a:off x="1465816" y="4138255"/>
            <a:ext cx="383079" cy="433181"/>
            <a:chOff x="9005455" y="6149108"/>
            <a:chExt cx="1115925" cy="1261885"/>
          </a:xfrm>
          <a:noFill/>
        </p:grpSpPr>
        <p:sp>
          <p:nvSpPr>
            <p:cNvPr id="213" name="Freeform 938">
              <a:extLst>
                <a:ext uri="{FF2B5EF4-FFF2-40B4-BE49-F238E27FC236}">
                  <a16:creationId xmlns:a16="http://schemas.microsoft.com/office/drawing/2014/main" id="{E6153D3D-A39E-4FF3-9DD7-BF527CAF6B4A}"/>
                </a:ext>
              </a:extLst>
            </p:cNvPr>
            <p:cNvSpPr/>
            <p:nvPr/>
          </p:nvSpPr>
          <p:spPr>
            <a:xfrm>
              <a:off x="9005455" y="6282459"/>
              <a:ext cx="555625" cy="1123950"/>
            </a:xfrm>
            <a:custGeom>
              <a:avLst/>
              <a:gdLst>
                <a:gd name="connsiteX0" fmla="*/ 555625 w 555625"/>
                <a:gd name="connsiteY0" fmla="*/ 1123950 h 1123950"/>
                <a:gd name="connsiteX1" fmla="*/ 0 w 555625"/>
                <a:gd name="connsiteY1" fmla="*/ 1123950 h 1123950"/>
                <a:gd name="connsiteX2" fmla="*/ 0 w 555625"/>
                <a:gd name="connsiteY2" fmla="*/ 0 h 1123950"/>
                <a:gd name="connsiteX3" fmla="*/ 219075 w 555625"/>
                <a:gd name="connsiteY3" fmla="*/ 0 h 1123950"/>
              </a:gdLst>
              <a:ahLst/>
              <a:cxnLst>
                <a:cxn ang="0">
                  <a:pos x="connsiteX0" y="connsiteY0"/>
                </a:cxn>
                <a:cxn ang="0">
                  <a:pos x="connsiteX1" y="connsiteY1"/>
                </a:cxn>
                <a:cxn ang="0">
                  <a:pos x="connsiteX2" y="connsiteY2"/>
                </a:cxn>
                <a:cxn ang="0">
                  <a:pos x="connsiteX3" y="connsiteY3"/>
                </a:cxn>
              </a:cxnLst>
              <a:rect l="l" t="t" r="r" b="b"/>
              <a:pathLst>
                <a:path w="555625" h="1123950">
                  <a:moveTo>
                    <a:pt x="555625" y="1123950"/>
                  </a:moveTo>
                  <a:lnTo>
                    <a:pt x="0" y="1123950"/>
                  </a:lnTo>
                  <a:lnTo>
                    <a:pt x="0" y="0"/>
                  </a:lnTo>
                  <a:lnTo>
                    <a:pt x="219075" y="0"/>
                  </a:lnTo>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a:endParaRPr>
            </a:p>
          </p:txBody>
        </p:sp>
        <p:sp>
          <p:nvSpPr>
            <p:cNvPr id="214" name="Freeform 939">
              <a:extLst>
                <a:ext uri="{FF2B5EF4-FFF2-40B4-BE49-F238E27FC236}">
                  <a16:creationId xmlns:a16="http://schemas.microsoft.com/office/drawing/2014/main" id="{F26CC79B-EF9A-47A6-80E3-4A5AE6DBC57A}"/>
                </a:ext>
              </a:extLst>
            </p:cNvPr>
            <p:cNvSpPr/>
            <p:nvPr/>
          </p:nvSpPr>
          <p:spPr>
            <a:xfrm>
              <a:off x="9707130" y="6282459"/>
              <a:ext cx="215900" cy="485775"/>
            </a:xfrm>
            <a:custGeom>
              <a:avLst/>
              <a:gdLst>
                <a:gd name="connsiteX0" fmla="*/ 0 w 215900"/>
                <a:gd name="connsiteY0" fmla="*/ 0 h 485775"/>
                <a:gd name="connsiteX1" fmla="*/ 215900 w 215900"/>
                <a:gd name="connsiteY1" fmla="*/ 0 h 485775"/>
                <a:gd name="connsiteX2" fmla="*/ 215900 w 215900"/>
                <a:gd name="connsiteY2" fmla="*/ 485775 h 485775"/>
              </a:gdLst>
              <a:ahLst/>
              <a:cxnLst>
                <a:cxn ang="0">
                  <a:pos x="connsiteX0" y="connsiteY0"/>
                </a:cxn>
                <a:cxn ang="0">
                  <a:pos x="connsiteX1" y="connsiteY1"/>
                </a:cxn>
                <a:cxn ang="0">
                  <a:pos x="connsiteX2" y="connsiteY2"/>
                </a:cxn>
              </a:cxnLst>
              <a:rect l="l" t="t" r="r" b="b"/>
              <a:pathLst>
                <a:path w="215900" h="485775">
                  <a:moveTo>
                    <a:pt x="0" y="0"/>
                  </a:moveTo>
                  <a:lnTo>
                    <a:pt x="215900" y="0"/>
                  </a:lnTo>
                  <a:lnTo>
                    <a:pt x="215900" y="485775"/>
                  </a:lnTo>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a:endParaRPr>
            </a:p>
          </p:txBody>
        </p:sp>
        <p:sp>
          <p:nvSpPr>
            <p:cNvPr id="215" name="Freeform 940">
              <a:extLst>
                <a:ext uri="{FF2B5EF4-FFF2-40B4-BE49-F238E27FC236}">
                  <a16:creationId xmlns:a16="http://schemas.microsoft.com/office/drawing/2014/main" id="{B00F6E1D-6062-4D94-B78A-CD286D3C86D9}"/>
                </a:ext>
              </a:extLst>
            </p:cNvPr>
            <p:cNvSpPr/>
            <p:nvPr/>
          </p:nvSpPr>
          <p:spPr>
            <a:xfrm>
              <a:off x="9221355" y="6149108"/>
              <a:ext cx="482600" cy="190500"/>
            </a:xfrm>
            <a:custGeom>
              <a:avLst/>
              <a:gdLst>
                <a:gd name="connsiteX0" fmla="*/ 142875 w 482600"/>
                <a:gd name="connsiteY0" fmla="*/ 0 h 190500"/>
                <a:gd name="connsiteX1" fmla="*/ 339725 w 482600"/>
                <a:gd name="connsiteY1" fmla="*/ 0 h 190500"/>
                <a:gd name="connsiteX2" fmla="*/ 339725 w 482600"/>
                <a:gd name="connsiteY2" fmla="*/ 47625 h 190500"/>
                <a:gd name="connsiteX3" fmla="*/ 482600 w 482600"/>
                <a:gd name="connsiteY3" fmla="*/ 47625 h 190500"/>
                <a:gd name="connsiteX4" fmla="*/ 482600 w 482600"/>
                <a:gd name="connsiteY4" fmla="*/ 190500 h 190500"/>
                <a:gd name="connsiteX5" fmla="*/ 0 w 482600"/>
                <a:gd name="connsiteY5" fmla="*/ 190500 h 190500"/>
                <a:gd name="connsiteX6" fmla="*/ 0 w 482600"/>
                <a:gd name="connsiteY6" fmla="*/ 47625 h 190500"/>
                <a:gd name="connsiteX7" fmla="*/ 142875 w 482600"/>
                <a:gd name="connsiteY7" fmla="*/ 4762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600" h="190500">
                  <a:moveTo>
                    <a:pt x="142875" y="0"/>
                  </a:moveTo>
                  <a:lnTo>
                    <a:pt x="339725" y="0"/>
                  </a:lnTo>
                  <a:lnTo>
                    <a:pt x="339725" y="47625"/>
                  </a:lnTo>
                  <a:lnTo>
                    <a:pt x="482600" y="47625"/>
                  </a:lnTo>
                  <a:lnTo>
                    <a:pt x="482600" y="190500"/>
                  </a:lnTo>
                  <a:lnTo>
                    <a:pt x="0" y="190500"/>
                  </a:lnTo>
                  <a:lnTo>
                    <a:pt x="0" y="47625"/>
                  </a:lnTo>
                  <a:lnTo>
                    <a:pt x="142875" y="47625"/>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a:endParaRPr>
            </a:p>
          </p:txBody>
        </p:sp>
        <p:sp>
          <p:nvSpPr>
            <p:cNvPr id="216" name="Freeform 941">
              <a:extLst>
                <a:ext uri="{FF2B5EF4-FFF2-40B4-BE49-F238E27FC236}">
                  <a16:creationId xmlns:a16="http://schemas.microsoft.com/office/drawing/2014/main" id="{17392C07-5E2D-4739-A4F2-D9DF08D5495D}"/>
                </a:ext>
              </a:extLst>
            </p:cNvPr>
            <p:cNvSpPr/>
            <p:nvPr/>
          </p:nvSpPr>
          <p:spPr bwMode="auto">
            <a:xfrm>
              <a:off x="9671568" y="7021832"/>
              <a:ext cx="333569" cy="212271"/>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prstClr val="white"/>
                </a:solidFill>
                <a:latin typeface="Segoe UI"/>
              </a:endParaRPr>
            </a:p>
          </p:txBody>
        </p:sp>
        <p:sp>
          <p:nvSpPr>
            <p:cNvPr id="217" name="Oval 216">
              <a:extLst>
                <a:ext uri="{FF2B5EF4-FFF2-40B4-BE49-F238E27FC236}">
                  <a16:creationId xmlns:a16="http://schemas.microsoft.com/office/drawing/2014/main" id="{25A47A8E-8060-42E3-A4D3-7A039E09BDC7}"/>
                </a:ext>
              </a:extLst>
            </p:cNvPr>
            <p:cNvSpPr/>
            <p:nvPr/>
          </p:nvSpPr>
          <p:spPr bwMode="auto">
            <a:xfrm>
              <a:off x="9555323" y="6844938"/>
              <a:ext cx="566057" cy="566055"/>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18" name="Group 10">
            <a:extLst>
              <a:ext uri="{FF2B5EF4-FFF2-40B4-BE49-F238E27FC236}">
                <a16:creationId xmlns:a16="http://schemas.microsoft.com/office/drawing/2014/main" id="{830091A3-D67E-42AD-A0B0-88B8CF8365E6}"/>
              </a:ext>
            </a:extLst>
          </p:cNvPr>
          <p:cNvGrpSpPr>
            <a:grpSpLocks noChangeAspect="1"/>
          </p:cNvGrpSpPr>
          <p:nvPr/>
        </p:nvGrpSpPr>
        <p:grpSpPr bwMode="auto">
          <a:xfrm>
            <a:off x="1467597" y="5224825"/>
            <a:ext cx="379519" cy="376222"/>
            <a:chOff x="2536" y="833"/>
            <a:chExt cx="2764" cy="2740"/>
          </a:xfrm>
          <a:noFill/>
        </p:grpSpPr>
        <p:sp>
          <p:nvSpPr>
            <p:cNvPr id="219" name="Freeform 11">
              <a:extLst>
                <a:ext uri="{FF2B5EF4-FFF2-40B4-BE49-F238E27FC236}">
                  <a16:creationId xmlns:a16="http://schemas.microsoft.com/office/drawing/2014/main" id="{E4CB3829-6B57-4320-B2A5-02C096E3EBF1}"/>
                </a:ext>
              </a:extLst>
            </p:cNvPr>
            <p:cNvSpPr>
              <a:spLocks noEditPoints="1"/>
            </p:cNvSpPr>
            <p:nvPr/>
          </p:nvSpPr>
          <p:spPr bwMode="auto">
            <a:xfrm>
              <a:off x="2536" y="833"/>
              <a:ext cx="2739" cy="2740"/>
            </a:xfrm>
            <a:custGeom>
              <a:avLst/>
              <a:gdLst>
                <a:gd name="T0" fmla="*/ 292 w 2739"/>
                <a:gd name="T1" fmla="*/ 1639 h 2740"/>
                <a:gd name="T2" fmla="*/ 1100 w 2739"/>
                <a:gd name="T3" fmla="*/ 1639 h 2740"/>
                <a:gd name="T4" fmla="*/ 1100 w 2739"/>
                <a:gd name="T5" fmla="*/ 2448 h 2740"/>
                <a:gd name="T6" fmla="*/ 1100 w 2739"/>
                <a:gd name="T7" fmla="*/ 1639 h 2740"/>
                <a:gd name="T8" fmla="*/ 0 w 2739"/>
                <a:gd name="T9" fmla="*/ 2740 h 2740"/>
                <a:gd name="T10" fmla="*/ 1639 w 2739"/>
                <a:gd name="T11" fmla="*/ 291 h 2740"/>
                <a:gd name="T12" fmla="*/ 1639 w 2739"/>
                <a:gd name="T13" fmla="*/ 1100 h 2740"/>
                <a:gd name="T14" fmla="*/ 2447 w 2739"/>
                <a:gd name="T15" fmla="*/ 1100 h 2740"/>
                <a:gd name="T16" fmla="*/ 2739 w 2739"/>
                <a:gd name="T17" fmla="*/ 0 h 2740"/>
                <a:gd name="T18" fmla="*/ 1639 w 2739"/>
                <a:gd name="T19" fmla="*/ 110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9" h="2740">
                  <a:moveTo>
                    <a:pt x="292" y="1639"/>
                  </a:moveTo>
                  <a:lnTo>
                    <a:pt x="1100" y="1639"/>
                  </a:lnTo>
                  <a:lnTo>
                    <a:pt x="1100" y="2448"/>
                  </a:lnTo>
                  <a:moveTo>
                    <a:pt x="1100" y="1639"/>
                  </a:moveTo>
                  <a:lnTo>
                    <a:pt x="0" y="2740"/>
                  </a:lnTo>
                  <a:moveTo>
                    <a:pt x="1639" y="291"/>
                  </a:moveTo>
                  <a:lnTo>
                    <a:pt x="1639" y="1100"/>
                  </a:lnTo>
                  <a:lnTo>
                    <a:pt x="2447" y="1100"/>
                  </a:lnTo>
                  <a:moveTo>
                    <a:pt x="2739" y="0"/>
                  </a:moveTo>
                  <a:lnTo>
                    <a:pt x="1639" y="1100"/>
                  </a:ln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Semilight"/>
              </a:endParaRPr>
            </a:p>
          </p:txBody>
        </p:sp>
        <p:sp>
          <p:nvSpPr>
            <p:cNvPr id="220" name="Freeform 12">
              <a:extLst>
                <a:ext uri="{FF2B5EF4-FFF2-40B4-BE49-F238E27FC236}">
                  <a16:creationId xmlns:a16="http://schemas.microsoft.com/office/drawing/2014/main" id="{72B9D2CD-B1E1-4394-A96E-E2E15CE45E8D}"/>
                </a:ext>
              </a:extLst>
            </p:cNvPr>
            <p:cNvSpPr>
              <a:spLocks noEditPoints="1"/>
            </p:cNvSpPr>
            <p:nvPr/>
          </p:nvSpPr>
          <p:spPr bwMode="auto">
            <a:xfrm>
              <a:off x="2561" y="833"/>
              <a:ext cx="2739" cy="2740"/>
            </a:xfrm>
            <a:custGeom>
              <a:avLst/>
              <a:gdLst>
                <a:gd name="T0" fmla="*/ 1638 w 2739"/>
                <a:gd name="T1" fmla="*/ 2448 h 2740"/>
                <a:gd name="T2" fmla="*/ 1638 w 2739"/>
                <a:gd name="T3" fmla="*/ 1639 h 2740"/>
                <a:gd name="T4" fmla="*/ 2446 w 2739"/>
                <a:gd name="T5" fmla="*/ 1639 h 2740"/>
                <a:gd name="T6" fmla="*/ 2739 w 2739"/>
                <a:gd name="T7" fmla="*/ 2740 h 2740"/>
                <a:gd name="T8" fmla="*/ 1638 w 2739"/>
                <a:gd name="T9" fmla="*/ 1639 h 2740"/>
                <a:gd name="T10" fmla="*/ 291 w 2739"/>
                <a:gd name="T11" fmla="*/ 1100 h 2740"/>
                <a:gd name="T12" fmla="*/ 1099 w 2739"/>
                <a:gd name="T13" fmla="*/ 1100 h 2740"/>
                <a:gd name="T14" fmla="*/ 1099 w 2739"/>
                <a:gd name="T15" fmla="*/ 291 h 2740"/>
                <a:gd name="T16" fmla="*/ 1099 w 2739"/>
                <a:gd name="T17" fmla="*/ 1100 h 2740"/>
                <a:gd name="T18" fmla="*/ 0 w 2739"/>
                <a:gd name="T19" fmla="*/ 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9" h="2740">
                  <a:moveTo>
                    <a:pt x="1638" y="2448"/>
                  </a:moveTo>
                  <a:lnTo>
                    <a:pt x="1638" y="1639"/>
                  </a:lnTo>
                  <a:lnTo>
                    <a:pt x="2446" y="1639"/>
                  </a:lnTo>
                  <a:moveTo>
                    <a:pt x="2739" y="2740"/>
                  </a:moveTo>
                  <a:lnTo>
                    <a:pt x="1638" y="1639"/>
                  </a:lnTo>
                  <a:moveTo>
                    <a:pt x="291" y="1100"/>
                  </a:moveTo>
                  <a:lnTo>
                    <a:pt x="1099" y="1100"/>
                  </a:lnTo>
                  <a:lnTo>
                    <a:pt x="1099" y="291"/>
                  </a:lnTo>
                  <a:moveTo>
                    <a:pt x="1099" y="1100"/>
                  </a:moveTo>
                  <a:lnTo>
                    <a:pt x="0" y="0"/>
                  </a:ln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Semilight"/>
              </a:endParaRPr>
            </a:p>
          </p:txBody>
        </p:sp>
      </p:grpSp>
      <p:grpSp>
        <p:nvGrpSpPr>
          <p:cNvPr id="93" name="Group 92">
            <a:extLst>
              <a:ext uri="{FF2B5EF4-FFF2-40B4-BE49-F238E27FC236}">
                <a16:creationId xmlns:a16="http://schemas.microsoft.com/office/drawing/2014/main" id="{FD316AA3-19A9-42FA-8AAB-F3758407BD09}"/>
              </a:ext>
            </a:extLst>
          </p:cNvPr>
          <p:cNvGrpSpPr/>
          <p:nvPr/>
        </p:nvGrpSpPr>
        <p:grpSpPr>
          <a:xfrm>
            <a:off x="9763116" y="2400676"/>
            <a:ext cx="2439365" cy="3306275"/>
            <a:chOff x="9571688" y="2353818"/>
            <a:chExt cx="2391751" cy="3241740"/>
          </a:xfrm>
          <a:solidFill>
            <a:schemeClr val="tx2"/>
          </a:solidFill>
        </p:grpSpPr>
        <p:grpSp>
          <p:nvGrpSpPr>
            <p:cNvPr id="94" name="Group 93">
              <a:extLst>
                <a:ext uri="{FF2B5EF4-FFF2-40B4-BE49-F238E27FC236}">
                  <a16:creationId xmlns:a16="http://schemas.microsoft.com/office/drawing/2014/main" id="{977C835F-68EE-4491-9370-AD6B93543529}"/>
                </a:ext>
              </a:extLst>
            </p:cNvPr>
            <p:cNvGrpSpPr/>
            <p:nvPr/>
          </p:nvGrpSpPr>
          <p:grpSpPr>
            <a:xfrm>
              <a:off x="11310201" y="2353818"/>
              <a:ext cx="653238" cy="3241740"/>
              <a:chOff x="12076928" y="2353818"/>
              <a:chExt cx="653238" cy="3241740"/>
            </a:xfrm>
            <a:grpFill/>
          </p:grpSpPr>
          <p:sp>
            <p:nvSpPr>
              <p:cNvPr id="107" name="Rectangle 106">
                <a:extLst>
                  <a:ext uri="{FF2B5EF4-FFF2-40B4-BE49-F238E27FC236}">
                    <a16:creationId xmlns:a16="http://schemas.microsoft.com/office/drawing/2014/main" id="{019D642A-52B1-41AF-B289-568D576B1625}"/>
                  </a:ext>
                </a:extLst>
              </p:cNvPr>
              <p:cNvSpPr/>
              <p:nvPr/>
            </p:nvSpPr>
            <p:spPr bwMode="auto">
              <a:xfrm>
                <a:off x="12076928" y="235381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08" name="Rectangle 107">
                <a:extLst>
                  <a:ext uri="{FF2B5EF4-FFF2-40B4-BE49-F238E27FC236}">
                    <a16:creationId xmlns:a16="http://schemas.microsoft.com/office/drawing/2014/main" id="{C22FF296-1C13-424A-877D-765717B945FD}"/>
                  </a:ext>
                </a:extLst>
              </p:cNvPr>
              <p:cNvSpPr/>
              <p:nvPr/>
            </p:nvSpPr>
            <p:spPr bwMode="auto">
              <a:xfrm>
                <a:off x="12076928" y="3049506"/>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28" name="Rectangle 127">
                <a:extLst>
                  <a:ext uri="{FF2B5EF4-FFF2-40B4-BE49-F238E27FC236}">
                    <a16:creationId xmlns:a16="http://schemas.microsoft.com/office/drawing/2014/main" id="{24498DD1-3C59-4026-90A6-E26C2E5BFD1C}"/>
                  </a:ext>
                </a:extLst>
              </p:cNvPr>
              <p:cNvSpPr/>
              <p:nvPr/>
            </p:nvSpPr>
            <p:spPr bwMode="auto">
              <a:xfrm>
                <a:off x="12076928" y="3745193"/>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29" name="Rectangle 128">
                <a:extLst>
                  <a:ext uri="{FF2B5EF4-FFF2-40B4-BE49-F238E27FC236}">
                    <a16:creationId xmlns:a16="http://schemas.microsoft.com/office/drawing/2014/main" id="{DFA15762-E962-4C98-A7F3-FCA2BC38D0D0}"/>
                  </a:ext>
                </a:extLst>
              </p:cNvPr>
              <p:cNvSpPr/>
              <p:nvPr/>
            </p:nvSpPr>
            <p:spPr bwMode="auto">
              <a:xfrm>
                <a:off x="12076928" y="4440881"/>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30" name="Rectangle 129">
                <a:extLst>
                  <a:ext uri="{FF2B5EF4-FFF2-40B4-BE49-F238E27FC236}">
                    <a16:creationId xmlns:a16="http://schemas.microsoft.com/office/drawing/2014/main" id="{340D374C-A398-48E7-9830-A0FCC1E94E77}"/>
                  </a:ext>
                </a:extLst>
              </p:cNvPr>
              <p:cNvSpPr/>
              <p:nvPr/>
            </p:nvSpPr>
            <p:spPr bwMode="auto">
              <a:xfrm>
                <a:off x="12076928" y="513656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bold"/>
                  <a:ea typeface="Segoe UI" pitchFamily="34" charset="0"/>
                  <a:cs typeface="Segoe UI" pitchFamily="34" charset="0"/>
                </a:endParaRPr>
              </a:p>
            </p:txBody>
          </p:sp>
        </p:grpSp>
        <p:grpSp>
          <p:nvGrpSpPr>
            <p:cNvPr id="95" name="Group 94">
              <a:extLst>
                <a:ext uri="{FF2B5EF4-FFF2-40B4-BE49-F238E27FC236}">
                  <a16:creationId xmlns:a16="http://schemas.microsoft.com/office/drawing/2014/main" id="{07B89E3D-C38A-4B20-B033-852F0FD39555}"/>
                </a:ext>
              </a:extLst>
            </p:cNvPr>
            <p:cNvGrpSpPr/>
            <p:nvPr/>
          </p:nvGrpSpPr>
          <p:grpSpPr>
            <a:xfrm>
              <a:off x="10440944" y="2353818"/>
              <a:ext cx="653238" cy="3241740"/>
              <a:chOff x="12076928" y="2353818"/>
              <a:chExt cx="653238" cy="3241740"/>
            </a:xfrm>
            <a:grpFill/>
          </p:grpSpPr>
          <p:sp>
            <p:nvSpPr>
              <p:cNvPr id="102" name="Rectangle 101">
                <a:extLst>
                  <a:ext uri="{FF2B5EF4-FFF2-40B4-BE49-F238E27FC236}">
                    <a16:creationId xmlns:a16="http://schemas.microsoft.com/office/drawing/2014/main" id="{C1D3738B-9C16-41D8-A676-3993C5351106}"/>
                  </a:ext>
                </a:extLst>
              </p:cNvPr>
              <p:cNvSpPr/>
              <p:nvPr/>
            </p:nvSpPr>
            <p:spPr bwMode="auto">
              <a:xfrm>
                <a:off x="12076928" y="235381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03" name="Rectangle 102">
                <a:extLst>
                  <a:ext uri="{FF2B5EF4-FFF2-40B4-BE49-F238E27FC236}">
                    <a16:creationId xmlns:a16="http://schemas.microsoft.com/office/drawing/2014/main" id="{B1A7BF7F-84E6-40B6-A7EC-29EA87D247DC}"/>
                  </a:ext>
                </a:extLst>
              </p:cNvPr>
              <p:cNvSpPr/>
              <p:nvPr/>
            </p:nvSpPr>
            <p:spPr bwMode="auto">
              <a:xfrm>
                <a:off x="12076928" y="3049506"/>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04" name="Rectangle 103">
                <a:extLst>
                  <a:ext uri="{FF2B5EF4-FFF2-40B4-BE49-F238E27FC236}">
                    <a16:creationId xmlns:a16="http://schemas.microsoft.com/office/drawing/2014/main" id="{9273ABB3-4EA8-4BF1-9A20-E110EC58AB5C}"/>
                  </a:ext>
                </a:extLst>
              </p:cNvPr>
              <p:cNvSpPr/>
              <p:nvPr/>
            </p:nvSpPr>
            <p:spPr bwMode="auto">
              <a:xfrm>
                <a:off x="12076928" y="3745193"/>
                <a:ext cx="653238" cy="4589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05" name="Rectangle 104">
                <a:extLst>
                  <a:ext uri="{FF2B5EF4-FFF2-40B4-BE49-F238E27FC236}">
                    <a16:creationId xmlns:a16="http://schemas.microsoft.com/office/drawing/2014/main" id="{CAEC7D98-1785-4AA8-ACBA-2803A5D92604}"/>
                  </a:ext>
                </a:extLst>
              </p:cNvPr>
              <p:cNvSpPr/>
              <p:nvPr/>
            </p:nvSpPr>
            <p:spPr bwMode="auto">
              <a:xfrm>
                <a:off x="12076928" y="4440881"/>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06" name="Rectangle 105">
                <a:extLst>
                  <a:ext uri="{FF2B5EF4-FFF2-40B4-BE49-F238E27FC236}">
                    <a16:creationId xmlns:a16="http://schemas.microsoft.com/office/drawing/2014/main" id="{27582DD6-E929-4B0D-A601-1A9083C5F771}"/>
                  </a:ext>
                </a:extLst>
              </p:cNvPr>
              <p:cNvSpPr/>
              <p:nvPr/>
            </p:nvSpPr>
            <p:spPr bwMode="auto">
              <a:xfrm>
                <a:off x="12076928" y="513656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bold"/>
                  <a:ea typeface="Segoe UI" pitchFamily="34" charset="0"/>
                  <a:cs typeface="Segoe UI" pitchFamily="34" charset="0"/>
                </a:endParaRPr>
              </a:p>
            </p:txBody>
          </p:sp>
        </p:grpSp>
        <p:grpSp>
          <p:nvGrpSpPr>
            <p:cNvPr id="96" name="Group 95">
              <a:extLst>
                <a:ext uri="{FF2B5EF4-FFF2-40B4-BE49-F238E27FC236}">
                  <a16:creationId xmlns:a16="http://schemas.microsoft.com/office/drawing/2014/main" id="{F192391C-0131-4AD8-988A-96634C4F150E}"/>
                </a:ext>
              </a:extLst>
            </p:cNvPr>
            <p:cNvGrpSpPr/>
            <p:nvPr/>
          </p:nvGrpSpPr>
          <p:grpSpPr>
            <a:xfrm>
              <a:off x="9571688" y="2353818"/>
              <a:ext cx="653238" cy="3241740"/>
              <a:chOff x="12076928" y="2353818"/>
              <a:chExt cx="653238" cy="3241740"/>
            </a:xfrm>
            <a:grpFill/>
          </p:grpSpPr>
          <p:sp>
            <p:nvSpPr>
              <p:cNvPr id="97" name="Rectangle 96">
                <a:extLst>
                  <a:ext uri="{FF2B5EF4-FFF2-40B4-BE49-F238E27FC236}">
                    <a16:creationId xmlns:a16="http://schemas.microsoft.com/office/drawing/2014/main" id="{6B4F7ED2-6589-4C79-B565-4958E6ECE145}"/>
                  </a:ext>
                </a:extLst>
              </p:cNvPr>
              <p:cNvSpPr/>
              <p:nvPr/>
            </p:nvSpPr>
            <p:spPr bwMode="auto">
              <a:xfrm>
                <a:off x="12076928" y="235381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98" name="Rectangle 97">
                <a:extLst>
                  <a:ext uri="{FF2B5EF4-FFF2-40B4-BE49-F238E27FC236}">
                    <a16:creationId xmlns:a16="http://schemas.microsoft.com/office/drawing/2014/main" id="{527FA763-23A7-49C7-B1ED-B12087F71970}"/>
                  </a:ext>
                </a:extLst>
              </p:cNvPr>
              <p:cNvSpPr/>
              <p:nvPr/>
            </p:nvSpPr>
            <p:spPr bwMode="auto">
              <a:xfrm>
                <a:off x="12076928" y="3049506"/>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99" name="Rectangle 98">
                <a:extLst>
                  <a:ext uri="{FF2B5EF4-FFF2-40B4-BE49-F238E27FC236}">
                    <a16:creationId xmlns:a16="http://schemas.microsoft.com/office/drawing/2014/main" id="{1FA201D8-95C4-4E67-972E-68C9431637B3}"/>
                  </a:ext>
                </a:extLst>
              </p:cNvPr>
              <p:cNvSpPr/>
              <p:nvPr/>
            </p:nvSpPr>
            <p:spPr bwMode="auto">
              <a:xfrm>
                <a:off x="12076928" y="3745193"/>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00" name="Rectangle 99">
                <a:extLst>
                  <a:ext uri="{FF2B5EF4-FFF2-40B4-BE49-F238E27FC236}">
                    <a16:creationId xmlns:a16="http://schemas.microsoft.com/office/drawing/2014/main" id="{813107D5-145B-4F26-90D8-591D95FFBF2C}"/>
                  </a:ext>
                </a:extLst>
              </p:cNvPr>
              <p:cNvSpPr/>
              <p:nvPr/>
            </p:nvSpPr>
            <p:spPr bwMode="auto">
              <a:xfrm>
                <a:off x="12076928" y="4440881"/>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01" name="Rectangle 100">
                <a:extLst>
                  <a:ext uri="{FF2B5EF4-FFF2-40B4-BE49-F238E27FC236}">
                    <a16:creationId xmlns:a16="http://schemas.microsoft.com/office/drawing/2014/main" id="{ED195665-23B6-4D98-A84B-5BF1D2F02772}"/>
                  </a:ext>
                </a:extLst>
              </p:cNvPr>
              <p:cNvSpPr/>
              <p:nvPr/>
            </p:nvSpPr>
            <p:spPr bwMode="auto">
              <a:xfrm>
                <a:off x="12076928" y="513656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bold"/>
                  <a:ea typeface="Segoe UI" pitchFamily="34" charset="0"/>
                  <a:cs typeface="Segoe UI" pitchFamily="34" charset="0"/>
                </a:endParaRPr>
              </a:p>
            </p:txBody>
          </p:sp>
        </p:grpSp>
      </p:grpSp>
      <p:sp>
        <p:nvSpPr>
          <p:cNvPr id="155" name="Freeform: Shape 154">
            <a:extLst>
              <a:ext uri="{FF2B5EF4-FFF2-40B4-BE49-F238E27FC236}">
                <a16:creationId xmlns:a16="http://schemas.microsoft.com/office/drawing/2014/main" id="{EF783045-44B2-41D9-B7F6-6239D9773C13}"/>
              </a:ext>
            </a:extLst>
          </p:cNvPr>
          <p:cNvSpPr/>
          <p:nvPr/>
        </p:nvSpPr>
        <p:spPr bwMode="auto">
          <a:xfrm>
            <a:off x="9763116" y="2400676"/>
            <a:ext cx="2439365" cy="3306275"/>
          </a:xfrm>
          <a:custGeom>
            <a:avLst/>
            <a:gdLst>
              <a:gd name="connsiteX0" fmla="*/ 1738513 w 2391751"/>
              <a:gd name="connsiteY0" fmla="*/ 2782750 h 3241740"/>
              <a:gd name="connsiteX1" fmla="*/ 2391751 w 2391751"/>
              <a:gd name="connsiteY1" fmla="*/ 2782750 h 3241740"/>
              <a:gd name="connsiteX2" fmla="*/ 2391751 w 2391751"/>
              <a:gd name="connsiteY2" fmla="*/ 3241740 h 3241740"/>
              <a:gd name="connsiteX3" fmla="*/ 1738513 w 2391751"/>
              <a:gd name="connsiteY3" fmla="*/ 3241740 h 3241740"/>
              <a:gd name="connsiteX4" fmla="*/ 869256 w 2391751"/>
              <a:gd name="connsiteY4" fmla="*/ 2782750 h 3241740"/>
              <a:gd name="connsiteX5" fmla="*/ 1522494 w 2391751"/>
              <a:gd name="connsiteY5" fmla="*/ 2782750 h 3241740"/>
              <a:gd name="connsiteX6" fmla="*/ 1522494 w 2391751"/>
              <a:gd name="connsiteY6" fmla="*/ 3241740 h 3241740"/>
              <a:gd name="connsiteX7" fmla="*/ 869256 w 2391751"/>
              <a:gd name="connsiteY7" fmla="*/ 3241740 h 3241740"/>
              <a:gd name="connsiteX8" fmla="*/ 0 w 2391751"/>
              <a:gd name="connsiteY8" fmla="*/ 2782750 h 3241740"/>
              <a:gd name="connsiteX9" fmla="*/ 653238 w 2391751"/>
              <a:gd name="connsiteY9" fmla="*/ 2782750 h 3241740"/>
              <a:gd name="connsiteX10" fmla="*/ 653238 w 2391751"/>
              <a:gd name="connsiteY10" fmla="*/ 3241740 h 3241740"/>
              <a:gd name="connsiteX11" fmla="*/ 0 w 2391751"/>
              <a:gd name="connsiteY11" fmla="*/ 3241740 h 3241740"/>
              <a:gd name="connsiteX12" fmla="*/ 1738513 w 2391751"/>
              <a:gd name="connsiteY12" fmla="*/ 2087063 h 3241740"/>
              <a:gd name="connsiteX13" fmla="*/ 2391751 w 2391751"/>
              <a:gd name="connsiteY13" fmla="*/ 2087063 h 3241740"/>
              <a:gd name="connsiteX14" fmla="*/ 2391751 w 2391751"/>
              <a:gd name="connsiteY14" fmla="*/ 2546053 h 3241740"/>
              <a:gd name="connsiteX15" fmla="*/ 1738513 w 2391751"/>
              <a:gd name="connsiteY15" fmla="*/ 2546053 h 3241740"/>
              <a:gd name="connsiteX16" fmla="*/ 869256 w 2391751"/>
              <a:gd name="connsiteY16" fmla="*/ 2087063 h 3241740"/>
              <a:gd name="connsiteX17" fmla="*/ 1522494 w 2391751"/>
              <a:gd name="connsiteY17" fmla="*/ 2087063 h 3241740"/>
              <a:gd name="connsiteX18" fmla="*/ 1522494 w 2391751"/>
              <a:gd name="connsiteY18" fmla="*/ 2546053 h 3241740"/>
              <a:gd name="connsiteX19" fmla="*/ 869256 w 2391751"/>
              <a:gd name="connsiteY19" fmla="*/ 2546053 h 3241740"/>
              <a:gd name="connsiteX20" fmla="*/ 0 w 2391751"/>
              <a:gd name="connsiteY20" fmla="*/ 2087063 h 3241740"/>
              <a:gd name="connsiteX21" fmla="*/ 653238 w 2391751"/>
              <a:gd name="connsiteY21" fmla="*/ 2087063 h 3241740"/>
              <a:gd name="connsiteX22" fmla="*/ 653238 w 2391751"/>
              <a:gd name="connsiteY22" fmla="*/ 2546053 h 3241740"/>
              <a:gd name="connsiteX23" fmla="*/ 0 w 2391751"/>
              <a:gd name="connsiteY23" fmla="*/ 2546053 h 3241740"/>
              <a:gd name="connsiteX24" fmla="*/ 1738513 w 2391751"/>
              <a:gd name="connsiteY24" fmla="*/ 1391375 h 3241740"/>
              <a:gd name="connsiteX25" fmla="*/ 2391751 w 2391751"/>
              <a:gd name="connsiteY25" fmla="*/ 1391375 h 3241740"/>
              <a:gd name="connsiteX26" fmla="*/ 2391751 w 2391751"/>
              <a:gd name="connsiteY26" fmla="*/ 1850365 h 3241740"/>
              <a:gd name="connsiteX27" fmla="*/ 1738513 w 2391751"/>
              <a:gd name="connsiteY27" fmla="*/ 1850365 h 3241740"/>
              <a:gd name="connsiteX28" fmla="*/ 869256 w 2391751"/>
              <a:gd name="connsiteY28" fmla="*/ 1391375 h 3241740"/>
              <a:gd name="connsiteX29" fmla="*/ 1522494 w 2391751"/>
              <a:gd name="connsiteY29" fmla="*/ 1391375 h 3241740"/>
              <a:gd name="connsiteX30" fmla="*/ 1522494 w 2391751"/>
              <a:gd name="connsiteY30" fmla="*/ 1850365 h 3241740"/>
              <a:gd name="connsiteX31" fmla="*/ 869256 w 2391751"/>
              <a:gd name="connsiteY31" fmla="*/ 1850365 h 3241740"/>
              <a:gd name="connsiteX32" fmla="*/ 0 w 2391751"/>
              <a:gd name="connsiteY32" fmla="*/ 1391375 h 3241740"/>
              <a:gd name="connsiteX33" fmla="*/ 653238 w 2391751"/>
              <a:gd name="connsiteY33" fmla="*/ 1391375 h 3241740"/>
              <a:gd name="connsiteX34" fmla="*/ 653238 w 2391751"/>
              <a:gd name="connsiteY34" fmla="*/ 1850365 h 3241740"/>
              <a:gd name="connsiteX35" fmla="*/ 0 w 2391751"/>
              <a:gd name="connsiteY35" fmla="*/ 1850365 h 3241740"/>
              <a:gd name="connsiteX36" fmla="*/ 1738513 w 2391751"/>
              <a:gd name="connsiteY36" fmla="*/ 695688 h 3241740"/>
              <a:gd name="connsiteX37" fmla="*/ 2391751 w 2391751"/>
              <a:gd name="connsiteY37" fmla="*/ 695688 h 3241740"/>
              <a:gd name="connsiteX38" fmla="*/ 2391751 w 2391751"/>
              <a:gd name="connsiteY38" fmla="*/ 1154678 h 3241740"/>
              <a:gd name="connsiteX39" fmla="*/ 1738513 w 2391751"/>
              <a:gd name="connsiteY39" fmla="*/ 1154678 h 3241740"/>
              <a:gd name="connsiteX40" fmla="*/ 869256 w 2391751"/>
              <a:gd name="connsiteY40" fmla="*/ 695688 h 3241740"/>
              <a:gd name="connsiteX41" fmla="*/ 1522494 w 2391751"/>
              <a:gd name="connsiteY41" fmla="*/ 695688 h 3241740"/>
              <a:gd name="connsiteX42" fmla="*/ 1522494 w 2391751"/>
              <a:gd name="connsiteY42" fmla="*/ 1154678 h 3241740"/>
              <a:gd name="connsiteX43" fmla="*/ 869256 w 2391751"/>
              <a:gd name="connsiteY43" fmla="*/ 1154678 h 3241740"/>
              <a:gd name="connsiteX44" fmla="*/ 0 w 2391751"/>
              <a:gd name="connsiteY44" fmla="*/ 695688 h 3241740"/>
              <a:gd name="connsiteX45" fmla="*/ 653238 w 2391751"/>
              <a:gd name="connsiteY45" fmla="*/ 695688 h 3241740"/>
              <a:gd name="connsiteX46" fmla="*/ 653238 w 2391751"/>
              <a:gd name="connsiteY46" fmla="*/ 1154678 h 3241740"/>
              <a:gd name="connsiteX47" fmla="*/ 0 w 2391751"/>
              <a:gd name="connsiteY47" fmla="*/ 1154678 h 3241740"/>
              <a:gd name="connsiteX48" fmla="*/ 1738513 w 2391751"/>
              <a:gd name="connsiteY48" fmla="*/ 0 h 3241740"/>
              <a:gd name="connsiteX49" fmla="*/ 2391751 w 2391751"/>
              <a:gd name="connsiteY49" fmla="*/ 0 h 3241740"/>
              <a:gd name="connsiteX50" fmla="*/ 2391751 w 2391751"/>
              <a:gd name="connsiteY50" fmla="*/ 458990 h 3241740"/>
              <a:gd name="connsiteX51" fmla="*/ 1738513 w 2391751"/>
              <a:gd name="connsiteY51" fmla="*/ 458990 h 3241740"/>
              <a:gd name="connsiteX52" fmla="*/ 869256 w 2391751"/>
              <a:gd name="connsiteY52" fmla="*/ 0 h 3241740"/>
              <a:gd name="connsiteX53" fmla="*/ 1522494 w 2391751"/>
              <a:gd name="connsiteY53" fmla="*/ 0 h 3241740"/>
              <a:gd name="connsiteX54" fmla="*/ 1522494 w 2391751"/>
              <a:gd name="connsiteY54" fmla="*/ 458990 h 3241740"/>
              <a:gd name="connsiteX55" fmla="*/ 869256 w 2391751"/>
              <a:gd name="connsiteY55" fmla="*/ 458990 h 3241740"/>
              <a:gd name="connsiteX56" fmla="*/ 0 w 2391751"/>
              <a:gd name="connsiteY56" fmla="*/ 0 h 3241740"/>
              <a:gd name="connsiteX57" fmla="*/ 653238 w 2391751"/>
              <a:gd name="connsiteY57" fmla="*/ 0 h 3241740"/>
              <a:gd name="connsiteX58" fmla="*/ 653238 w 2391751"/>
              <a:gd name="connsiteY58" fmla="*/ 458990 h 3241740"/>
              <a:gd name="connsiteX59" fmla="*/ 0 w 2391751"/>
              <a:gd name="connsiteY59" fmla="*/ 458990 h 324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391751" h="3241740">
                <a:moveTo>
                  <a:pt x="1738513" y="2782750"/>
                </a:moveTo>
                <a:lnTo>
                  <a:pt x="2391751" y="2782750"/>
                </a:lnTo>
                <a:lnTo>
                  <a:pt x="2391751" y="3241740"/>
                </a:lnTo>
                <a:lnTo>
                  <a:pt x="1738513" y="3241740"/>
                </a:lnTo>
                <a:close/>
                <a:moveTo>
                  <a:pt x="869256" y="2782750"/>
                </a:moveTo>
                <a:lnTo>
                  <a:pt x="1522494" y="2782750"/>
                </a:lnTo>
                <a:lnTo>
                  <a:pt x="1522494" y="3241740"/>
                </a:lnTo>
                <a:lnTo>
                  <a:pt x="869256" y="3241740"/>
                </a:lnTo>
                <a:close/>
                <a:moveTo>
                  <a:pt x="0" y="2782750"/>
                </a:moveTo>
                <a:lnTo>
                  <a:pt x="653238" y="2782750"/>
                </a:lnTo>
                <a:lnTo>
                  <a:pt x="653238" y="3241740"/>
                </a:lnTo>
                <a:lnTo>
                  <a:pt x="0" y="3241740"/>
                </a:lnTo>
                <a:close/>
                <a:moveTo>
                  <a:pt x="1738513" y="2087063"/>
                </a:moveTo>
                <a:lnTo>
                  <a:pt x="2391751" y="2087063"/>
                </a:lnTo>
                <a:lnTo>
                  <a:pt x="2391751" y="2546053"/>
                </a:lnTo>
                <a:lnTo>
                  <a:pt x="1738513" y="2546053"/>
                </a:lnTo>
                <a:close/>
                <a:moveTo>
                  <a:pt x="869256" y="2087063"/>
                </a:moveTo>
                <a:lnTo>
                  <a:pt x="1522494" y="2087063"/>
                </a:lnTo>
                <a:lnTo>
                  <a:pt x="1522494" y="2546053"/>
                </a:lnTo>
                <a:lnTo>
                  <a:pt x="869256" y="2546053"/>
                </a:lnTo>
                <a:close/>
                <a:moveTo>
                  <a:pt x="0" y="2087063"/>
                </a:moveTo>
                <a:lnTo>
                  <a:pt x="653238" y="2087063"/>
                </a:lnTo>
                <a:lnTo>
                  <a:pt x="653238" y="2546053"/>
                </a:lnTo>
                <a:lnTo>
                  <a:pt x="0" y="2546053"/>
                </a:lnTo>
                <a:close/>
                <a:moveTo>
                  <a:pt x="1738513" y="1391375"/>
                </a:moveTo>
                <a:lnTo>
                  <a:pt x="2391751" y="1391375"/>
                </a:lnTo>
                <a:lnTo>
                  <a:pt x="2391751" y="1850365"/>
                </a:lnTo>
                <a:lnTo>
                  <a:pt x="1738513" y="1850365"/>
                </a:lnTo>
                <a:close/>
                <a:moveTo>
                  <a:pt x="869256" y="1391375"/>
                </a:moveTo>
                <a:lnTo>
                  <a:pt x="1522494" y="1391375"/>
                </a:lnTo>
                <a:lnTo>
                  <a:pt x="1522494" y="1850365"/>
                </a:lnTo>
                <a:lnTo>
                  <a:pt x="869256" y="1850365"/>
                </a:lnTo>
                <a:close/>
                <a:moveTo>
                  <a:pt x="0" y="1391375"/>
                </a:moveTo>
                <a:lnTo>
                  <a:pt x="653238" y="1391375"/>
                </a:lnTo>
                <a:lnTo>
                  <a:pt x="653238" y="1850365"/>
                </a:lnTo>
                <a:lnTo>
                  <a:pt x="0" y="1850365"/>
                </a:lnTo>
                <a:close/>
                <a:moveTo>
                  <a:pt x="1738513" y="695688"/>
                </a:moveTo>
                <a:lnTo>
                  <a:pt x="2391751" y="695688"/>
                </a:lnTo>
                <a:lnTo>
                  <a:pt x="2391751" y="1154678"/>
                </a:lnTo>
                <a:lnTo>
                  <a:pt x="1738513" y="1154678"/>
                </a:lnTo>
                <a:close/>
                <a:moveTo>
                  <a:pt x="869256" y="695688"/>
                </a:moveTo>
                <a:lnTo>
                  <a:pt x="1522494" y="695688"/>
                </a:lnTo>
                <a:lnTo>
                  <a:pt x="1522494" y="1154678"/>
                </a:lnTo>
                <a:lnTo>
                  <a:pt x="869256" y="1154678"/>
                </a:lnTo>
                <a:close/>
                <a:moveTo>
                  <a:pt x="0" y="695688"/>
                </a:moveTo>
                <a:lnTo>
                  <a:pt x="653238" y="695688"/>
                </a:lnTo>
                <a:lnTo>
                  <a:pt x="653238" y="1154678"/>
                </a:lnTo>
                <a:lnTo>
                  <a:pt x="0" y="1154678"/>
                </a:lnTo>
                <a:close/>
                <a:moveTo>
                  <a:pt x="1738513" y="0"/>
                </a:moveTo>
                <a:lnTo>
                  <a:pt x="2391751" y="0"/>
                </a:lnTo>
                <a:lnTo>
                  <a:pt x="2391751" y="458990"/>
                </a:lnTo>
                <a:lnTo>
                  <a:pt x="1738513" y="458990"/>
                </a:lnTo>
                <a:close/>
                <a:moveTo>
                  <a:pt x="869256" y="0"/>
                </a:moveTo>
                <a:lnTo>
                  <a:pt x="1522494" y="0"/>
                </a:lnTo>
                <a:lnTo>
                  <a:pt x="1522494" y="458990"/>
                </a:lnTo>
                <a:lnTo>
                  <a:pt x="869256" y="458990"/>
                </a:lnTo>
                <a:close/>
                <a:moveTo>
                  <a:pt x="0" y="0"/>
                </a:moveTo>
                <a:lnTo>
                  <a:pt x="653238" y="0"/>
                </a:lnTo>
                <a:lnTo>
                  <a:pt x="653238" y="458990"/>
                </a:lnTo>
                <a:lnTo>
                  <a:pt x="0" y="45899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51028"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Tree>
    <p:extLst>
      <p:ext uri="{BB962C8B-B14F-4D97-AF65-F5344CB8AC3E}">
        <p14:creationId xmlns:p14="http://schemas.microsoft.com/office/powerpoint/2010/main" val="2919320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500"/>
                                  </p:stCondLst>
                                  <p:childTnLst>
                                    <p:animEffect transition="out" filter="fade">
                                      <p:cBhvr>
                                        <p:cTn id="6" dur="500"/>
                                        <p:tgtEl>
                                          <p:spTgt spid="93"/>
                                        </p:tgtEl>
                                      </p:cBhvr>
                                    </p:animEffect>
                                    <p:set>
                                      <p:cBhvr>
                                        <p:cTn id="7" dur="1" fill="hold">
                                          <p:stCondLst>
                                            <p:cond delay="499"/>
                                          </p:stCondLst>
                                        </p:cTn>
                                        <p:tgtEl>
                                          <p:spTgt spid="93"/>
                                        </p:tgtEl>
                                        <p:attrNameLst>
                                          <p:attrName>style.visibility</p:attrName>
                                        </p:attrNameLst>
                                      </p:cBhvr>
                                      <p:to>
                                        <p:strVal val="hidden"/>
                                      </p:to>
                                    </p:set>
                                  </p:childTnLst>
                                </p:cTn>
                              </p:par>
                              <p:par>
                                <p:cTn id="8" presetID="10" presetClass="entr" presetSubtype="0" fill="hold" grpId="2" nodeType="withEffect">
                                  <p:stCondLst>
                                    <p:cond delay="500"/>
                                  </p:stCondLst>
                                  <p:childTnLst>
                                    <p:set>
                                      <p:cBhvr>
                                        <p:cTn id="9" dur="1" fill="hold">
                                          <p:stCondLst>
                                            <p:cond delay="0"/>
                                          </p:stCondLst>
                                        </p:cTn>
                                        <p:tgtEl>
                                          <p:spTgt spid="155"/>
                                        </p:tgtEl>
                                        <p:attrNameLst>
                                          <p:attrName>style.visibility</p:attrName>
                                        </p:attrNameLst>
                                      </p:cBhvr>
                                      <p:to>
                                        <p:strVal val="visible"/>
                                      </p:to>
                                    </p:set>
                                    <p:animEffect transition="in" filter="fade">
                                      <p:cBhvr>
                                        <p:cTn id="10" dur="500"/>
                                        <p:tgtEl>
                                          <p:spTgt spid="155"/>
                                        </p:tgtEl>
                                      </p:cBhvr>
                                    </p:animEffect>
                                  </p:childTnLst>
                                </p:cTn>
                              </p:par>
                            </p:childTnLst>
                          </p:cTn>
                        </p:par>
                        <p:par>
                          <p:cTn id="11" fill="hold">
                            <p:stCondLst>
                              <p:cond delay="1000"/>
                            </p:stCondLst>
                            <p:childTnLst>
                              <p:par>
                                <p:cTn id="12" presetID="42" presetClass="path" presetSubtype="0" accel="50000" decel="50000" fill="hold" grpId="0" nodeType="afterEffect">
                                  <p:stCondLst>
                                    <p:cond delay="0"/>
                                  </p:stCondLst>
                                  <p:childTnLst>
                                    <p:animMotion origin="layout" path="M -2.91667E-6 3.7037E-7 L -0.38307 0.05301 " pathEditMode="relative" rAng="0" ptsTypes="AA">
                                      <p:cBhvr>
                                        <p:cTn id="13" dur="1500" fill="hold"/>
                                        <p:tgtEl>
                                          <p:spTgt spid="155"/>
                                        </p:tgtEl>
                                        <p:attrNameLst>
                                          <p:attrName>ppt_x</p:attrName>
                                          <p:attrName>ppt_y</p:attrName>
                                        </p:attrNameLst>
                                      </p:cBhvr>
                                      <p:rCtr x="-19154" y="2639"/>
                                    </p:animMotion>
                                  </p:childTnLst>
                                </p:cTn>
                              </p:par>
                              <p:par>
                                <p:cTn id="14" presetID="10" presetClass="exit" presetSubtype="0" fill="hold" grpId="1" nodeType="withEffect">
                                  <p:stCondLst>
                                    <p:cond delay="1000"/>
                                  </p:stCondLst>
                                  <p:childTnLst>
                                    <p:animEffect transition="out" filter="fade">
                                      <p:cBhvr>
                                        <p:cTn id="15" dur="500"/>
                                        <p:tgtEl>
                                          <p:spTgt spid="155"/>
                                        </p:tgtEl>
                                      </p:cBhvr>
                                    </p:animEffect>
                                    <p:set>
                                      <p:cBhvr>
                                        <p:cTn id="16" dur="1" fill="hold">
                                          <p:stCondLst>
                                            <p:cond delay="499"/>
                                          </p:stCondLst>
                                        </p:cTn>
                                        <p:tgtEl>
                                          <p:spTgt spid="155"/>
                                        </p:tgtEl>
                                        <p:attrNameLst>
                                          <p:attrName>style.visibility</p:attrName>
                                        </p:attrNameLst>
                                      </p:cBhvr>
                                      <p:to>
                                        <p:strVal val="hidden"/>
                                      </p:to>
                                    </p:set>
                                  </p:childTnLst>
                                </p:cTn>
                              </p:par>
                              <p:par>
                                <p:cTn id="17" presetID="6" presetClass="emph" presetSubtype="0" fill="hold" grpId="3" nodeType="withEffect">
                                  <p:stCondLst>
                                    <p:cond delay="250"/>
                                  </p:stCondLst>
                                  <p:childTnLst>
                                    <p:animScale>
                                      <p:cBhvr>
                                        <p:cTn id="18" dur="1250" fill="hold"/>
                                        <p:tgtEl>
                                          <p:spTgt spid="155"/>
                                        </p:tgtEl>
                                      </p:cBhvr>
                                      <p:by x="115000" y="100000"/>
                                    </p:animScale>
                                  </p:childTnLst>
                                </p:cTn>
                              </p:par>
                              <p:par>
                                <p:cTn id="19" presetID="10" presetClass="entr" presetSubtype="0" fill="hold" grpId="0" nodeType="withEffect">
                                  <p:stCondLst>
                                    <p:cond delay="75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750"/>
                                        <p:tgtEl>
                                          <p:spTgt spid="18"/>
                                        </p:tgtEl>
                                      </p:cBhvr>
                                    </p:animEffect>
                                  </p:childTnLst>
                                </p:cTn>
                              </p:par>
                              <p:par>
                                <p:cTn id="22" presetID="10" presetClass="entr" presetSubtype="0" fill="hold" grpId="0" nodeType="withEffect">
                                  <p:stCondLst>
                                    <p:cond delay="750"/>
                                  </p:stCondLst>
                                  <p:childTnLst>
                                    <p:set>
                                      <p:cBhvr>
                                        <p:cTn id="23" dur="1" fill="hold">
                                          <p:stCondLst>
                                            <p:cond delay="0"/>
                                          </p:stCondLst>
                                        </p:cTn>
                                        <p:tgtEl>
                                          <p:spTgt spid="196"/>
                                        </p:tgtEl>
                                        <p:attrNameLst>
                                          <p:attrName>style.visibility</p:attrName>
                                        </p:attrNameLst>
                                      </p:cBhvr>
                                      <p:to>
                                        <p:strVal val="visible"/>
                                      </p:to>
                                    </p:set>
                                    <p:animEffect transition="in" filter="fade">
                                      <p:cBhvr>
                                        <p:cTn id="24" dur="750"/>
                                        <p:tgtEl>
                                          <p:spTgt spid="196"/>
                                        </p:tgtEl>
                                      </p:cBhvr>
                                    </p:animEffect>
                                  </p:childTnLst>
                                </p:cTn>
                              </p:par>
                              <p:par>
                                <p:cTn id="25" presetID="10" presetClass="entr" presetSubtype="0" fill="hold" grpId="0" nodeType="withEffect">
                                  <p:stCondLst>
                                    <p:cond delay="75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750"/>
                                        <p:tgtEl>
                                          <p:spTgt spid="5"/>
                                        </p:tgtEl>
                                      </p:cBhvr>
                                    </p:animEffect>
                                  </p:childTnLst>
                                </p:cTn>
                              </p:par>
                              <p:par>
                                <p:cTn id="28" presetID="10" presetClass="entr" presetSubtype="0" fill="hold" grpId="0" nodeType="withEffect">
                                  <p:stCondLst>
                                    <p:cond delay="750"/>
                                  </p:stCondLst>
                                  <p:childTnLst>
                                    <p:set>
                                      <p:cBhvr>
                                        <p:cTn id="29" dur="1" fill="hold">
                                          <p:stCondLst>
                                            <p:cond delay="0"/>
                                          </p:stCondLst>
                                        </p:cTn>
                                        <p:tgtEl>
                                          <p:spTgt spid="69"/>
                                        </p:tgtEl>
                                        <p:attrNameLst>
                                          <p:attrName>style.visibility</p:attrName>
                                        </p:attrNameLst>
                                      </p:cBhvr>
                                      <p:to>
                                        <p:strVal val="visible"/>
                                      </p:to>
                                    </p:set>
                                    <p:animEffect transition="in" filter="fade">
                                      <p:cBhvr>
                                        <p:cTn id="30" dur="750"/>
                                        <p:tgtEl>
                                          <p:spTgt spid="69"/>
                                        </p:tgtEl>
                                      </p:cBhvr>
                                    </p:animEffect>
                                  </p:childTnLst>
                                </p:cTn>
                              </p:par>
                              <p:par>
                                <p:cTn id="31" presetID="10" presetClass="entr" presetSubtype="0" fill="hold" nodeType="withEffect">
                                  <p:stCondLst>
                                    <p:cond delay="750"/>
                                  </p:stCondLst>
                                  <p:childTnLst>
                                    <p:set>
                                      <p:cBhvr>
                                        <p:cTn id="32" dur="1" fill="hold">
                                          <p:stCondLst>
                                            <p:cond delay="0"/>
                                          </p:stCondLst>
                                        </p:cTn>
                                        <p:tgtEl>
                                          <p:spTgt spid="2"/>
                                        </p:tgtEl>
                                        <p:attrNameLst>
                                          <p:attrName>style.visibility</p:attrName>
                                        </p:attrNameLst>
                                      </p:cBhvr>
                                      <p:to>
                                        <p:strVal val="visible"/>
                                      </p:to>
                                    </p:set>
                                    <p:animEffect transition="in" filter="fade">
                                      <p:cBhvr>
                                        <p:cTn id="33" dur="750"/>
                                        <p:tgtEl>
                                          <p:spTgt spid="2"/>
                                        </p:tgtEl>
                                      </p:cBhvr>
                                    </p:animEffect>
                                  </p:childTnLst>
                                </p:cTn>
                              </p:par>
                              <p:par>
                                <p:cTn id="34" presetID="10" presetClass="entr" presetSubtype="0" fill="hold" grpId="0" nodeType="withEffect">
                                  <p:stCondLst>
                                    <p:cond delay="750"/>
                                  </p:stCondLst>
                                  <p:childTnLst>
                                    <p:set>
                                      <p:cBhvr>
                                        <p:cTn id="35" dur="1" fill="hold">
                                          <p:stCondLst>
                                            <p:cond delay="0"/>
                                          </p:stCondLst>
                                        </p:cTn>
                                        <p:tgtEl>
                                          <p:spTgt spid="147"/>
                                        </p:tgtEl>
                                        <p:attrNameLst>
                                          <p:attrName>style.visibility</p:attrName>
                                        </p:attrNameLst>
                                      </p:cBhvr>
                                      <p:to>
                                        <p:strVal val="visible"/>
                                      </p:to>
                                    </p:set>
                                    <p:animEffect transition="in" filter="fade">
                                      <p:cBhvr>
                                        <p:cTn id="36" dur="750"/>
                                        <p:tgtEl>
                                          <p:spTgt spid="147"/>
                                        </p:tgtEl>
                                      </p:cBhvr>
                                    </p:animEffect>
                                  </p:childTnLst>
                                </p:cTn>
                              </p:par>
                              <p:par>
                                <p:cTn id="37" presetID="10" presetClass="entr" presetSubtype="0" fill="hold" grpId="0" nodeType="withEffect">
                                  <p:stCondLst>
                                    <p:cond delay="750"/>
                                  </p:stCondLst>
                                  <p:childTnLst>
                                    <p:set>
                                      <p:cBhvr>
                                        <p:cTn id="38" dur="1" fill="hold">
                                          <p:stCondLst>
                                            <p:cond delay="0"/>
                                          </p:stCondLst>
                                        </p:cTn>
                                        <p:tgtEl>
                                          <p:spTgt spid="148"/>
                                        </p:tgtEl>
                                        <p:attrNameLst>
                                          <p:attrName>style.visibility</p:attrName>
                                        </p:attrNameLst>
                                      </p:cBhvr>
                                      <p:to>
                                        <p:strVal val="visible"/>
                                      </p:to>
                                    </p:set>
                                    <p:animEffect transition="in" filter="fade">
                                      <p:cBhvr>
                                        <p:cTn id="39" dur="750"/>
                                        <p:tgtEl>
                                          <p:spTgt spid="148"/>
                                        </p:tgtEl>
                                      </p:cBhvr>
                                    </p:animEffect>
                                  </p:childTnLst>
                                </p:cTn>
                              </p:par>
                              <p:par>
                                <p:cTn id="40" presetID="10" presetClass="entr" presetSubtype="0" fill="hold" grpId="0" nodeType="withEffect">
                                  <p:stCondLst>
                                    <p:cond delay="750"/>
                                  </p:stCondLst>
                                  <p:childTnLst>
                                    <p:set>
                                      <p:cBhvr>
                                        <p:cTn id="41" dur="1" fill="hold">
                                          <p:stCondLst>
                                            <p:cond delay="0"/>
                                          </p:stCondLst>
                                        </p:cTn>
                                        <p:tgtEl>
                                          <p:spTgt spid="149"/>
                                        </p:tgtEl>
                                        <p:attrNameLst>
                                          <p:attrName>style.visibility</p:attrName>
                                        </p:attrNameLst>
                                      </p:cBhvr>
                                      <p:to>
                                        <p:strVal val="visible"/>
                                      </p:to>
                                    </p:set>
                                    <p:animEffect transition="in" filter="fade">
                                      <p:cBhvr>
                                        <p:cTn id="42" dur="750"/>
                                        <p:tgtEl>
                                          <p:spTgt spid="149"/>
                                        </p:tgtEl>
                                      </p:cBhvr>
                                    </p:animEffect>
                                  </p:childTnLst>
                                </p:cTn>
                              </p:par>
                              <p:par>
                                <p:cTn id="43" presetID="10" presetClass="entr" presetSubtype="0" fill="hold" grpId="0" nodeType="withEffect">
                                  <p:stCondLst>
                                    <p:cond delay="750"/>
                                  </p:stCondLst>
                                  <p:childTnLst>
                                    <p:set>
                                      <p:cBhvr>
                                        <p:cTn id="44" dur="1" fill="hold">
                                          <p:stCondLst>
                                            <p:cond delay="0"/>
                                          </p:stCondLst>
                                        </p:cTn>
                                        <p:tgtEl>
                                          <p:spTgt spid="150"/>
                                        </p:tgtEl>
                                        <p:attrNameLst>
                                          <p:attrName>style.visibility</p:attrName>
                                        </p:attrNameLst>
                                      </p:cBhvr>
                                      <p:to>
                                        <p:strVal val="visible"/>
                                      </p:to>
                                    </p:set>
                                    <p:animEffect transition="in" filter="fade">
                                      <p:cBhvr>
                                        <p:cTn id="45" dur="750"/>
                                        <p:tgtEl>
                                          <p:spTgt spid="150"/>
                                        </p:tgtEl>
                                      </p:cBhvr>
                                    </p:animEffect>
                                  </p:childTnLst>
                                </p:cTn>
                              </p:par>
                              <p:par>
                                <p:cTn id="46" presetID="10" presetClass="entr" presetSubtype="0" fill="hold" grpId="0" nodeType="withEffect">
                                  <p:stCondLst>
                                    <p:cond delay="750"/>
                                  </p:stCondLst>
                                  <p:childTnLst>
                                    <p:set>
                                      <p:cBhvr>
                                        <p:cTn id="47" dur="1" fill="hold">
                                          <p:stCondLst>
                                            <p:cond delay="0"/>
                                          </p:stCondLst>
                                        </p:cTn>
                                        <p:tgtEl>
                                          <p:spTgt spid="32"/>
                                        </p:tgtEl>
                                        <p:attrNameLst>
                                          <p:attrName>style.visibility</p:attrName>
                                        </p:attrNameLst>
                                      </p:cBhvr>
                                      <p:to>
                                        <p:strVal val="visible"/>
                                      </p:to>
                                    </p:set>
                                    <p:animEffect transition="in" filter="fade">
                                      <p:cBhvr>
                                        <p:cTn id="48" dur="750"/>
                                        <p:tgtEl>
                                          <p:spTgt spid="32"/>
                                        </p:tgtEl>
                                      </p:cBhvr>
                                    </p:animEffect>
                                  </p:childTnLst>
                                </p:cTn>
                              </p:par>
                              <p:par>
                                <p:cTn id="49" presetID="10" presetClass="entr" presetSubtype="0" fill="hold" nodeType="withEffect">
                                  <p:stCondLst>
                                    <p:cond delay="750"/>
                                  </p:stCondLst>
                                  <p:childTnLst>
                                    <p:set>
                                      <p:cBhvr>
                                        <p:cTn id="50" dur="1" fill="hold">
                                          <p:stCondLst>
                                            <p:cond delay="0"/>
                                          </p:stCondLst>
                                        </p:cTn>
                                        <p:tgtEl>
                                          <p:spTgt spid="109"/>
                                        </p:tgtEl>
                                        <p:attrNameLst>
                                          <p:attrName>style.visibility</p:attrName>
                                        </p:attrNameLst>
                                      </p:cBhvr>
                                      <p:to>
                                        <p:strVal val="visible"/>
                                      </p:to>
                                    </p:set>
                                    <p:animEffect transition="in" filter="fade">
                                      <p:cBhvr>
                                        <p:cTn id="51" dur="750"/>
                                        <p:tgtEl>
                                          <p:spTgt spid="109"/>
                                        </p:tgtEl>
                                      </p:cBhvr>
                                    </p:animEffect>
                                  </p:childTnLst>
                                </p:cTn>
                              </p:par>
                              <p:par>
                                <p:cTn id="52" presetID="10" presetClass="entr" presetSubtype="0" fill="hold" nodeType="withEffect">
                                  <p:stCondLst>
                                    <p:cond delay="750"/>
                                  </p:stCondLst>
                                  <p:childTnLst>
                                    <p:set>
                                      <p:cBhvr>
                                        <p:cTn id="53" dur="1" fill="hold">
                                          <p:stCondLst>
                                            <p:cond delay="0"/>
                                          </p:stCondLst>
                                        </p:cTn>
                                        <p:tgtEl>
                                          <p:spTgt spid="212"/>
                                        </p:tgtEl>
                                        <p:attrNameLst>
                                          <p:attrName>style.visibility</p:attrName>
                                        </p:attrNameLst>
                                      </p:cBhvr>
                                      <p:to>
                                        <p:strVal val="visible"/>
                                      </p:to>
                                    </p:set>
                                    <p:animEffect transition="in" filter="fade">
                                      <p:cBhvr>
                                        <p:cTn id="54" dur="750"/>
                                        <p:tgtEl>
                                          <p:spTgt spid="212"/>
                                        </p:tgtEl>
                                      </p:cBhvr>
                                    </p:animEffect>
                                  </p:childTnLst>
                                </p:cTn>
                              </p:par>
                              <p:par>
                                <p:cTn id="55" presetID="10" presetClass="entr" presetSubtype="0" fill="hold" grpId="0" nodeType="withEffect">
                                  <p:stCondLst>
                                    <p:cond delay="750"/>
                                  </p:stCondLst>
                                  <p:childTnLst>
                                    <p:set>
                                      <p:cBhvr>
                                        <p:cTn id="56" dur="1" fill="hold">
                                          <p:stCondLst>
                                            <p:cond delay="0"/>
                                          </p:stCondLst>
                                        </p:cTn>
                                        <p:tgtEl>
                                          <p:spTgt spid="71"/>
                                        </p:tgtEl>
                                        <p:attrNameLst>
                                          <p:attrName>style.visibility</p:attrName>
                                        </p:attrNameLst>
                                      </p:cBhvr>
                                      <p:to>
                                        <p:strVal val="visible"/>
                                      </p:to>
                                    </p:set>
                                    <p:animEffect transition="in" filter="fade">
                                      <p:cBhvr>
                                        <p:cTn id="57" dur="750"/>
                                        <p:tgtEl>
                                          <p:spTgt spid="71"/>
                                        </p:tgtEl>
                                      </p:cBhvr>
                                    </p:animEffect>
                                  </p:childTnLst>
                                </p:cTn>
                              </p:par>
                              <p:par>
                                <p:cTn id="58" presetID="10" presetClass="entr" presetSubtype="0" fill="hold" nodeType="withEffect">
                                  <p:stCondLst>
                                    <p:cond delay="750"/>
                                  </p:stCondLst>
                                  <p:childTnLst>
                                    <p:set>
                                      <p:cBhvr>
                                        <p:cTn id="59" dur="1" fill="hold">
                                          <p:stCondLst>
                                            <p:cond delay="0"/>
                                          </p:stCondLst>
                                        </p:cTn>
                                        <p:tgtEl>
                                          <p:spTgt spid="218"/>
                                        </p:tgtEl>
                                        <p:attrNameLst>
                                          <p:attrName>style.visibility</p:attrName>
                                        </p:attrNameLst>
                                      </p:cBhvr>
                                      <p:to>
                                        <p:strVal val="visible"/>
                                      </p:to>
                                    </p:set>
                                    <p:animEffect transition="in" filter="fade">
                                      <p:cBhvr>
                                        <p:cTn id="60" dur="750"/>
                                        <p:tgtEl>
                                          <p:spTgt spid="218"/>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250"/>
                                  </p:stCondLst>
                                  <p:childTnLst>
                                    <p:set>
                                      <p:cBhvr>
                                        <p:cTn id="64" dur="1" fill="hold">
                                          <p:stCondLst>
                                            <p:cond delay="0"/>
                                          </p:stCondLst>
                                        </p:cTn>
                                        <p:tgtEl>
                                          <p:spTgt spid="206"/>
                                        </p:tgtEl>
                                        <p:attrNameLst>
                                          <p:attrName>style.visibility</p:attrName>
                                        </p:attrNameLst>
                                      </p:cBhvr>
                                      <p:to>
                                        <p:strVal val="visible"/>
                                      </p:to>
                                    </p:set>
                                    <p:animEffect transition="in" filter="fade">
                                      <p:cBhvr>
                                        <p:cTn id="65" dur="500"/>
                                        <p:tgtEl>
                                          <p:spTgt spid="206"/>
                                        </p:tgtEl>
                                      </p:cBhvr>
                                    </p:animEffect>
                                  </p:childTnLst>
                                </p:cTn>
                              </p:par>
                              <p:par>
                                <p:cTn id="66" presetID="10" presetClass="entr" presetSubtype="0" fill="hold" grpId="0" nodeType="withEffect">
                                  <p:stCondLst>
                                    <p:cond delay="250"/>
                                  </p:stCondLst>
                                  <p:childTnLst>
                                    <p:set>
                                      <p:cBhvr>
                                        <p:cTn id="67" dur="1" fill="hold">
                                          <p:stCondLst>
                                            <p:cond delay="0"/>
                                          </p:stCondLst>
                                        </p:cTn>
                                        <p:tgtEl>
                                          <p:spTgt spid="3"/>
                                        </p:tgtEl>
                                        <p:attrNameLst>
                                          <p:attrName>style.visibility</p:attrName>
                                        </p:attrNameLst>
                                      </p:cBhvr>
                                      <p:to>
                                        <p:strVal val="visible"/>
                                      </p:to>
                                    </p:set>
                                    <p:animEffect transition="in" filter="fade">
                                      <p:cBhvr>
                                        <p:cTn id="68" dur="750"/>
                                        <p:tgtEl>
                                          <p:spTgt spid="3"/>
                                        </p:tgtEl>
                                      </p:cBhvr>
                                    </p:animEffect>
                                  </p:childTnLst>
                                </p:cTn>
                              </p:par>
                              <p:par>
                                <p:cTn id="69" presetID="10" presetClass="entr" presetSubtype="0" fill="hold" grpId="0" nodeType="withEffect">
                                  <p:stCondLst>
                                    <p:cond delay="500"/>
                                  </p:stCondLst>
                                  <p:childTnLst>
                                    <p:set>
                                      <p:cBhvr>
                                        <p:cTn id="70" dur="1" fill="hold">
                                          <p:stCondLst>
                                            <p:cond delay="0"/>
                                          </p:stCondLst>
                                        </p:cTn>
                                        <p:tgtEl>
                                          <p:spTgt spid="207"/>
                                        </p:tgtEl>
                                        <p:attrNameLst>
                                          <p:attrName>style.visibility</p:attrName>
                                        </p:attrNameLst>
                                      </p:cBhvr>
                                      <p:to>
                                        <p:strVal val="visible"/>
                                      </p:to>
                                    </p:set>
                                    <p:animEffect transition="in" filter="fade">
                                      <p:cBhvr>
                                        <p:cTn id="71" dur="750"/>
                                        <p:tgtEl>
                                          <p:spTgt spid="207"/>
                                        </p:tgtEl>
                                      </p:cBhvr>
                                    </p:animEffect>
                                  </p:childTnLst>
                                </p:cTn>
                              </p:par>
                              <p:par>
                                <p:cTn id="72" presetID="10" presetClass="entr" presetSubtype="0" fill="hold" grpId="0" nodeType="withEffect">
                                  <p:stCondLst>
                                    <p:cond delay="250"/>
                                  </p:stCondLst>
                                  <p:childTnLst>
                                    <p:set>
                                      <p:cBhvr>
                                        <p:cTn id="73" dur="1" fill="hold">
                                          <p:stCondLst>
                                            <p:cond delay="0"/>
                                          </p:stCondLst>
                                        </p:cTn>
                                        <p:tgtEl>
                                          <p:spTgt spid="208"/>
                                        </p:tgtEl>
                                        <p:attrNameLst>
                                          <p:attrName>style.visibility</p:attrName>
                                        </p:attrNameLst>
                                      </p:cBhvr>
                                      <p:to>
                                        <p:strVal val="visible"/>
                                      </p:to>
                                    </p:set>
                                    <p:animEffect transition="in" filter="fade">
                                      <p:cBhvr>
                                        <p:cTn id="74" dur="750"/>
                                        <p:tgtEl>
                                          <p:spTgt spid="208"/>
                                        </p:tgtEl>
                                      </p:cBhvr>
                                    </p:animEffect>
                                  </p:childTnLst>
                                </p:cTn>
                              </p:par>
                              <p:par>
                                <p:cTn id="75" presetID="10" presetClass="entr" presetSubtype="0" fill="hold" grpId="0" nodeType="withEffect">
                                  <p:stCondLst>
                                    <p:cond delay="500"/>
                                  </p:stCondLst>
                                  <p:childTnLst>
                                    <p:set>
                                      <p:cBhvr>
                                        <p:cTn id="76" dur="1" fill="hold">
                                          <p:stCondLst>
                                            <p:cond delay="0"/>
                                          </p:stCondLst>
                                        </p:cTn>
                                        <p:tgtEl>
                                          <p:spTgt spid="209"/>
                                        </p:tgtEl>
                                        <p:attrNameLst>
                                          <p:attrName>style.visibility</p:attrName>
                                        </p:attrNameLst>
                                      </p:cBhvr>
                                      <p:to>
                                        <p:strVal val="visible"/>
                                      </p:to>
                                    </p:set>
                                    <p:animEffect transition="in" filter="fade">
                                      <p:cBhvr>
                                        <p:cTn id="77" dur="750"/>
                                        <p:tgtEl>
                                          <p:spTgt spid="209"/>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210"/>
                                        </p:tgtEl>
                                        <p:attrNameLst>
                                          <p:attrName>style.visibility</p:attrName>
                                        </p:attrNameLst>
                                      </p:cBhvr>
                                      <p:to>
                                        <p:strVal val="visible"/>
                                      </p:to>
                                    </p:set>
                                    <p:animEffect transition="in" filter="fade">
                                      <p:cBhvr>
                                        <p:cTn id="80" dur="500"/>
                                        <p:tgtEl>
                                          <p:spTgt spid="210"/>
                                        </p:tgtEl>
                                      </p:cBhvr>
                                    </p:animEffect>
                                  </p:childTnLst>
                                </p:cTn>
                              </p:par>
                              <p:par>
                                <p:cTn id="81" presetID="10" presetClass="entr" presetSubtype="0" fill="hold" grpId="0" nodeType="withEffect">
                                  <p:stCondLst>
                                    <p:cond delay="250"/>
                                  </p:stCondLst>
                                  <p:childTnLst>
                                    <p:set>
                                      <p:cBhvr>
                                        <p:cTn id="82" dur="1" fill="hold">
                                          <p:stCondLst>
                                            <p:cond delay="0"/>
                                          </p:stCondLst>
                                        </p:cTn>
                                        <p:tgtEl>
                                          <p:spTgt spid="92"/>
                                        </p:tgtEl>
                                        <p:attrNameLst>
                                          <p:attrName>style.visibility</p:attrName>
                                        </p:attrNameLst>
                                      </p:cBhvr>
                                      <p:to>
                                        <p:strVal val="visible"/>
                                      </p:to>
                                    </p:set>
                                    <p:animEffect transition="in" filter="fade">
                                      <p:cBhvr>
                                        <p:cTn id="83" dur="650"/>
                                        <p:tgtEl>
                                          <p:spTgt spid="92"/>
                                        </p:tgtEl>
                                      </p:cBhvr>
                                    </p:animEffect>
                                  </p:childTnLst>
                                </p:cTn>
                              </p:par>
                              <p:par>
                                <p:cTn id="84" presetID="10" presetClass="entr" presetSubtype="0" fill="hold" grpId="0" nodeType="withEffect">
                                  <p:stCondLst>
                                    <p:cond delay="750"/>
                                  </p:stCondLst>
                                  <p:childTnLst>
                                    <p:set>
                                      <p:cBhvr>
                                        <p:cTn id="85" dur="1" fill="hold">
                                          <p:stCondLst>
                                            <p:cond delay="0"/>
                                          </p:stCondLst>
                                        </p:cTn>
                                        <p:tgtEl>
                                          <p:spTgt spid="56"/>
                                        </p:tgtEl>
                                        <p:attrNameLst>
                                          <p:attrName>style.visibility</p:attrName>
                                        </p:attrNameLst>
                                      </p:cBhvr>
                                      <p:to>
                                        <p:strVal val="visible"/>
                                      </p:to>
                                    </p:set>
                                    <p:animEffect transition="in" filter="fade">
                                      <p:cBhvr>
                                        <p:cTn id="86" dur="500"/>
                                        <p:tgtEl>
                                          <p:spTgt spid="56"/>
                                        </p:tgtEl>
                                      </p:cBhvr>
                                    </p:animEffect>
                                  </p:childTnLst>
                                </p:cTn>
                              </p:par>
                              <p:par>
                                <p:cTn id="87" presetID="10" presetClass="entr" presetSubtype="0" fill="hold" grpId="0" nodeType="withEffect">
                                  <p:stCondLst>
                                    <p:cond delay="1250"/>
                                  </p:stCondLst>
                                  <p:childTnLst>
                                    <p:set>
                                      <p:cBhvr>
                                        <p:cTn id="88" dur="1" fill="hold">
                                          <p:stCondLst>
                                            <p:cond delay="0"/>
                                          </p:stCondLst>
                                        </p:cTn>
                                        <p:tgtEl>
                                          <p:spTgt spid="57"/>
                                        </p:tgtEl>
                                        <p:attrNameLst>
                                          <p:attrName>style.visibility</p:attrName>
                                        </p:attrNameLst>
                                      </p:cBhvr>
                                      <p:to>
                                        <p:strVal val="visible"/>
                                      </p:to>
                                    </p:set>
                                    <p:animEffect transition="in" filter="fade">
                                      <p:cBhvr>
                                        <p:cTn id="89" dur="750"/>
                                        <p:tgtEl>
                                          <p:spTgt spid="57"/>
                                        </p:tgtEl>
                                      </p:cBhvr>
                                    </p:animEffect>
                                  </p:childTnLst>
                                </p:cTn>
                              </p:par>
                              <p:par>
                                <p:cTn id="90" presetID="10" presetClass="entr" presetSubtype="0" fill="hold" grpId="0" nodeType="withEffect">
                                  <p:stCondLst>
                                    <p:cond delay="1000"/>
                                  </p:stCondLst>
                                  <p:childTnLst>
                                    <p:set>
                                      <p:cBhvr>
                                        <p:cTn id="91" dur="1" fill="hold">
                                          <p:stCondLst>
                                            <p:cond delay="0"/>
                                          </p:stCondLst>
                                        </p:cTn>
                                        <p:tgtEl>
                                          <p:spTgt spid="58"/>
                                        </p:tgtEl>
                                        <p:attrNameLst>
                                          <p:attrName>style.visibility</p:attrName>
                                        </p:attrNameLst>
                                      </p:cBhvr>
                                      <p:to>
                                        <p:strVal val="visible"/>
                                      </p:to>
                                    </p:set>
                                    <p:animEffect transition="in" filter="fade">
                                      <p:cBhvr>
                                        <p:cTn id="92" dur="750"/>
                                        <p:tgtEl>
                                          <p:spTgt spid="58"/>
                                        </p:tgtEl>
                                      </p:cBhvr>
                                    </p:animEffect>
                                  </p:childTnLst>
                                </p:cTn>
                              </p:par>
                              <p:par>
                                <p:cTn id="93" presetID="10" presetClass="entr" presetSubtype="0" fill="hold" grpId="0" nodeType="withEffect">
                                  <p:stCondLst>
                                    <p:cond delay="1250"/>
                                  </p:stCondLst>
                                  <p:childTnLst>
                                    <p:set>
                                      <p:cBhvr>
                                        <p:cTn id="94" dur="1" fill="hold">
                                          <p:stCondLst>
                                            <p:cond delay="0"/>
                                          </p:stCondLst>
                                        </p:cTn>
                                        <p:tgtEl>
                                          <p:spTgt spid="62"/>
                                        </p:tgtEl>
                                        <p:attrNameLst>
                                          <p:attrName>style.visibility</p:attrName>
                                        </p:attrNameLst>
                                      </p:cBhvr>
                                      <p:to>
                                        <p:strVal val="visible"/>
                                      </p:to>
                                    </p:set>
                                    <p:animEffect transition="in" filter="fade">
                                      <p:cBhvr>
                                        <p:cTn id="95" dur="750"/>
                                        <p:tgtEl>
                                          <p:spTgt spid="62"/>
                                        </p:tgtEl>
                                      </p:cBhvr>
                                    </p:animEffect>
                                  </p:childTnLst>
                                </p:cTn>
                              </p:par>
                              <p:par>
                                <p:cTn id="96" presetID="10" presetClass="entr" presetSubtype="0" fill="hold" grpId="0" nodeType="withEffect">
                                  <p:stCondLst>
                                    <p:cond delay="500"/>
                                  </p:stCondLst>
                                  <p:childTnLst>
                                    <p:set>
                                      <p:cBhvr>
                                        <p:cTn id="97" dur="1" fill="hold">
                                          <p:stCondLst>
                                            <p:cond delay="0"/>
                                          </p:stCondLst>
                                        </p:cTn>
                                        <p:tgtEl>
                                          <p:spTgt spid="63"/>
                                        </p:tgtEl>
                                        <p:attrNameLst>
                                          <p:attrName>style.visibility</p:attrName>
                                        </p:attrNameLst>
                                      </p:cBhvr>
                                      <p:to>
                                        <p:strVal val="visible"/>
                                      </p:to>
                                    </p:set>
                                    <p:animEffect transition="in" filter="fade">
                                      <p:cBhvr>
                                        <p:cTn id="98" dur="500"/>
                                        <p:tgtEl>
                                          <p:spTgt spid="63"/>
                                        </p:tgtEl>
                                      </p:cBhvr>
                                    </p:animEffect>
                                  </p:childTnLst>
                                </p:cTn>
                              </p:par>
                              <p:par>
                                <p:cTn id="99" presetID="10" presetClass="entr" presetSubtype="0" fill="hold" grpId="0" nodeType="withEffect">
                                  <p:stCondLst>
                                    <p:cond delay="650"/>
                                  </p:stCondLst>
                                  <p:childTnLst>
                                    <p:set>
                                      <p:cBhvr>
                                        <p:cTn id="100" dur="1" fill="hold">
                                          <p:stCondLst>
                                            <p:cond delay="0"/>
                                          </p:stCondLst>
                                        </p:cTn>
                                        <p:tgtEl>
                                          <p:spTgt spid="65"/>
                                        </p:tgtEl>
                                        <p:attrNameLst>
                                          <p:attrName>style.visibility</p:attrName>
                                        </p:attrNameLst>
                                      </p:cBhvr>
                                      <p:to>
                                        <p:strVal val="visible"/>
                                      </p:to>
                                    </p:set>
                                    <p:animEffect transition="in" filter="fade">
                                      <p:cBhvr>
                                        <p:cTn id="101" dur="650"/>
                                        <p:tgtEl>
                                          <p:spTgt spid="65"/>
                                        </p:tgtEl>
                                      </p:cBhvr>
                                    </p:animEffect>
                                  </p:childTnLst>
                                </p:cTn>
                              </p:par>
                              <p:par>
                                <p:cTn id="102" presetID="10" presetClass="entr" presetSubtype="0" fill="hold" grpId="0" nodeType="withEffect">
                                  <p:stCondLst>
                                    <p:cond delay="1250"/>
                                  </p:stCondLst>
                                  <p:childTnLst>
                                    <p:set>
                                      <p:cBhvr>
                                        <p:cTn id="103" dur="1" fill="hold">
                                          <p:stCondLst>
                                            <p:cond delay="0"/>
                                          </p:stCondLst>
                                        </p:cTn>
                                        <p:tgtEl>
                                          <p:spTgt spid="154"/>
                                        </p:tgtEl>
                                        <p:attrNameLst>
                                          <p:attrName>style.visibility</p:attrName>
                                        </p:attrNameLst>
                                      </p:cBhvr>
                                      <p:to>
                                        <p:strVal val="visible"/>
                                      </p:to>
                                    </p:set>
                                    <p:animEffect transition="in" filter="fade">
                                      <p:cBhvr>
                                        <p:cTn id="104" dur="500"/>
                                        <p:tgtEl>
                                          <p:spTgt spid="154"/>
                                        </p:tgtEl>
                                      </p:cBhvr>
                                    </p:animEffect>
                                  </p:childTnLst>
                                </p:cTn>
                              </p:par>
                              <p:par>
                                <p:cTn id="105" presetID="10" presetClass="entr" presetSubtype="0" fill="hold" grpId="0" nodeType="withEffect">
                                  <p:stCondLst>
                                    <p:cond delay="1750"/>
                                  </p:stCondLst>
                                  <p:childTnLst>
                                    <p:set>
                                      <p:cBhvr>
                                        <p:cTn id="106" dur="1" fill="hold">
                                          <p:stCondLst>
                                            <p:cond delay="0"/>
                                          </p:stCondLst>
                                        </p:cTn>
                                        <p:tgtEl>
                                          <p:spTgt spid="156"/>
                                        </p:tgtEl>
                                        <p:attrNameLst>
                                          <p:attrName>style.visibility</p:attrName>
                                        </p:attrNameLst>
                                      </p:cBhvr>
                                      <p:to>
                                        <p:strVal val="visible"/>
                                      </p:to>
                                    </p:set>
                                    <p:animEffect transition="in" filter="fade">
                                      <p:cBhvr>
                                        <p:cTn id="107" dur="750"/>
                                        <p:tgtEl>
                                          <p:spTgt spid="156"/>
                                        </p:tgtEl>
                                      </p:cBhvr>
                                    </p:animEffect>
                                  </p:childTnLst>
                                </p:cTn>
                              </p:par>
                              <p:par>
                                <p:cTn id="108" presetID="10" presetClass="entr" presetSubtype="0" fill="hold" grpId="0" nodeType="withEffect">
                                  <p:stCondLst>
                                    <p:cond delay="2000"/>
                                  </p:stCondLst>
                                  <p:childTnLst>
                                    <p:set>
                                      <p:cBhvr>
                                        <p:cTn id="109" dur="1" fill="hold">
                                          <p:stCondLst>
                                            <p:cond delay="0"/>
                                          </p:stCondLst>
                                        </p:cTn>
                                        <p:tgtEl>
                                          <p:spTgt spid="160"/>
                                        </p:tgtEl>
                                        <p:attrNameLst>
                                          <p:attrName>style.visibility</p:attrName>
                                        </p:attrNameLst>
                                      </p:cBhvr>
                                      <p:to>
                                        <p:strVal val="visible"/>
                                      </p:to>
                                    </p:set>
                                    <p:animEffect transition="in" filter="fade">
                                      <p:cBhvr>
                                        <p:cTn id="110" dur="750"/>
                                        <p:tgtEl>
                                          <p:spTgt spid="160"/>
                                        </p:tgtEl>
                                      </p:cBhvr>
                                    </p:animEffect>
                                  </p:childTnLst>
                                </p:cTn>
                              </p:par>
                              <p:par>
                                <p:cTn id="111" presetID="10" presetClass="entr" presetSubtype="0" fill="hold" grpId="0" nodeType="withEffect">
                                  <p:stCondLst>
                                    <p:cond delay="1000"/>
                                  </p:stCondLst>
                                  <p:childTnLst>
                                    <p:set>
                                      <p:cBhvr>
                                        <p:cTn id="112" dur="1" fill="hold">
                                          <p:stCondLst>
                                            <p:cond delay="0"/>
                                          </p:stCondLst>
                                        </p:cTn>
                                        <p:tgtEl>
                                          <p:spTgt spid="161"/>
                                        </p:tgtEl>
                                        <p:attrNameLst>
                                          <p:attrName>style.visibility</p:attrName>
                                        </p:attrNameLst>
                                      </p:cBhvr>
                                      <p:to>
                                        <p:strVal val="visible"/>
                                      </p:to>
                                    </p:set>
                                    <p:animEffect transition="in" filter="fade">
                                      <p:cBhvr>
                                        <p:cTn id="113" dur="500"/>
                                        <p:tgtEl>
                                          <p:spTgt spid="161"/>
                                        </p:tgtEl>
                                      </p:cBhvr>
                                    </p:animEffect>
                                  </p:childTnLst>
                                </p:cTn>
                              </p:par>
                              <p:par>
                                <p:cTn id="114" presetID="10" presetClass="entr" presetSubtype="0" fill="hold" grpId="0" nodeType="withEffect">
                                  <p:stCondLst>
                                    <p:cond delay="1300"/>
                                  </p:stCondLst>
                                  <p:childTnLst>
                                    <p:set>
                                      <p:cBhvr>
                                        <p:cTn id="115" dur="1" fill="hold">
                                          <p:stCondLst>
                                            <p:cond delay="0"/>
                                          </p:stCondLst>
                                        </p:cTn>
                                        <p:tgtEl>
                                          <p:spTgt spid="162"/>
                                        </p:tgtEl>
                                        <p:attrNameLst>
                                          <p:attrName>style.visibility</p:attrName>
                                        </p:attrNameLst>
                                      </p:cBhvr>
                                      <p:to>
                                        <p:strVal val="visible"/>
                                      </p:to>
                                    </p:set>
                                    <p:animEffect transition="in" filter="fade">
                                      <p:cBhvr>
                                        <p:cTn id="116" dur="650"/>
                                        <p:tgtEl>
                                          <p:spTgt spid="162"/>
                                        </p:tgtEl>
                                      </p:cBhvr>
                                    </p:animEffect>
                                  </p:childTnLst>
                                </p:cTn>
                              </p:par>
                              <p:par>
                                <p:cTn id="117" presetID="10" presetClass="entr" presetSubtype="0" fill="hold" grpId="0" nodeType="withEffect">
                                  <p:stCondLst>
                                    <p:cond delay="2500"/>
                                  </p:stCondLst>
                                  <p:childTnLst>
                                    <p:set>
                                      <p:cBhvr>
                                        <p:cTn id="118" dur="1" fill="hold">
                                          <p:stCondLst>
                                            <p:cond delay="0"/>
                                          </p:stCondLst>
                                        </p:cTn>
                                        <p:tgtEl>
                                          <p:spTgt spid="178"/>
                                        </p:tgtEl>
                                        <p:attrNameLst>
                                          <p:attrName>style.visibility</p:attrName>
                                        </p:attrNameLst>
                                      </p:cBhvr>
                                      <p:to>
                                        <p:strVal val="visible"/>
                                      </p:to>
                                    </p:set>
                                    <p:animEffect transition="in" filter="fade">
                                      <p:cBhvr>
                                        <p:cTn id="119" dur="750"/>
                                        <p:tgtEl>
                                          <p:spTgt spid="178"/>
                                        </p:tgtEl>
                                      </p:cBhvr>
                                    </p:animEffect>
                                  </p:childTnLst>
                                </p:cTn>
                              </p:par>
                              <p:par>
                                <p:cTn id="120" presetID="10" presetClass="entr" presetSubtype="0" fill="hold" grpId="0" nodeType="withEffect">
                                  <p:stCondLst>
                                    <p:cond delay="2750"/>
                                  </p:stCondLst>
                                  <p:childTnLst>
                                    <p:set>
                                      <p:cBhvr>
                                        <p:cTn id="121" dur="1" fill="hold">
                                          <p:stCondLst>
                                            <p:cond delay="0"/>
                                          </p:stCondLst>
                                        </p:cTn>
                                        <p:tgtEl>
                                          <p:spTgt spid="182"/>
                                        </p:tgtEl>
                                        <p:attrNameLst>
                                          <p:attrName>style.visibility</p:attrName>
                                        </p:attrNameLst>
                                      </p:cBhvr>
                                      <p:to>
                                        <p:strVal val="visible"/>
                                      </p:to>
                                    </p:set>
                                    <p:animEffect transition="in" filter="fade">
                                      <p:cBhvr>
                                        <p:cTn id="122" dur="750"/>
                                        <p:tgtEl>
                                          <p:spTgt spid="182"/>
                                        </p:tgtEl>
                                      </p:cBhvr>
                                    </p:animEffect>
                                  </p:childTnLst>
                                </p:cTn>
                              </p:par>
                              <p:par>
                                <p:cTn id="123" presetID="10" presetClass="entr" presetSubtype="0" fill="hold" grpId="0" nodeType="withEffect">
                                  <p:stCondLst>
                                    <p:cond delay="1500"/>
                                  </p:stCondLst>
                                  <p:childTnLst>
                                    <p:set>
                                      <p:cBhvr>
                                        <p:cTn id="124" dur="1" fill="hold">
                                          <p:stCondLst>
                                            <p:cond delay="0"/>
                                          </p:stCondLst>
                                        </p:cTn>
                                        <p:tgtEl>
                                          <p:spTgt spid="183"/>
                                        </p:tgtEl>
                                        <p:attrNameLst>
                                          <p:attrName>style.visibility</p:attrName>
                                        </p:attrNameLst>
                                      </p:cBhvr>
                                      <p:to>
                                        <p:strVal val="visible"/>
                                      </p:to>
                                    </p:set>
                                    <p:animEffect transition="in" filter="fade">
                                      <p:cBhvr>
                                        <p:cTn id="125" dur="500"/>
                                        <p:tgtEl>
                                          <p:spTgt spid="183"/>
                                        </p:tgtEl>
                                      </p:cBhvr>
                                    </p:animEffect>
                                  </p:childTnLst>
                                </p:cTn>
                              </p:par>
                              <p:par>
                                <p:cTn id="126" presetID="10" presetClass="entr" presetSubtype="0" fill="hold" grpId="0" nodeType="withEffect">
                                  <p:stCondLst>
                                    <p:cond delay="1950"/>
                                  </p:stCondLst>
                                  <p:childTnLst>
                                    <p:set>
                                      <p:cBhvr>
                                        <p:cTn id="127" dur="1" fill="hold">
                                          <p:stCondLst>
                                            <p:cond delay="0"/>
                                          </p:stCondLst>
                                        </p:cTn>
                                        <p:tgtEl>
                                          <p:spTgt spid="184"/>
                                        </p:tgtEl>
                                        <p:attrNameLst>
                                          <p:attrName>style.visibility</p:attrName>
                                        </p:attrNameLst>
                                      </p:cBhvr>
                                      <p:to>
                                        <p:strVal val="visible"/>
                                      </p:to>
                                    </p:set>
                                    <p:animEffect transition="in" filter="fade">
                                      <p:cBhvr>
                                        <p:cTn id="128" dur="650"/>
                                        <p:tgtEl>
                                          <p:spTgt spid="184"/>
                                        </p:tgtEl>
                                      </p:cBhvr>
                                    </p:animEffect>
                                  </p:childTnLst>
                                </p:cTn>
                              </p:par>
                              <p:par>
                                <p:cTn id="129" presetID="10" presetClass="entr" presetSubtype="0" fill="hold" grpId="0" nodeType="withEffect">
                                  <p:stCondLst>
                                    <p:cond delay="3500"/>
                                  </p:stCondLst>
                                  <p:childTnLst>
                                    <p:set>
                                      <p:cBhvr>
                                        <p:cTn id="130" dur="1" fill="hold">
                                          <p:stCondLst>
                                            <p:cond delay="0"/>
                                          </p:stCondLst>
                                        </p:cTn>
                                        <p:tgtEl>
                                          <p:spTgt spid="195"/>
                                        </p:tgtEl>
                                        <p:attrNameLst>
                                          <p:attrName>style.visibility</p:attrName>
                                        </p:attrNameLst>
                                      </p:cBhvr>
                                      <p:to>
                                        <p:strVal val="visible"/>
                                      </p:to>
                                    </p:set>
                                    <p:animEffect transition="in" filter="fade">
                                      <p:cBhvr>
                                        <p:cTn id="131" dur="750"/>
                                        <p:tgtEl>
                                          <p:spTgt spid="195"/>
                                        </p:tgtEl>
                                      </p:cBhvr>
                                    </p:animEffect>
                                  </p:childTnLst>
                                </p:cTn>
                              </p:par>
                            </p:childTnLst>
                          </p:cTn>
                        </p:par>
                        <p:par>
                          <p:cTn id="132" fill="hold">
                            <p:stCondLst>
                              <p:cond delay="4250"/>
                            </p:stCondLst>
                            <p:childTnLst>
                              <p:par>
                                <p:cTn id="133" presetID="10" presetClass="entr" presetSubtype="0" fill="hold" grpId="0" nodeType="afterEffect">
                                  <p:stCondLst>
                                    <p:cond delay="500"/>
                                  </p:stCondLst>
                                  <p:childTnLst>
                                    <p:set>
                                      <p:cBhvr>
                                        <p:cTn id="134" dur="1" fill="hold">
                                          <p:stCondLst>
                                            <p:cond delay="0"/>
                                          </p:stCondLst>
                                        </p:cTn>
                                        <p:tgtEl>
                                          <p:spTgt spid="197"/>
                                        </p:tgtEl>
                                        <p:attrNameLst>
                                          <p:attrName>style.visibility</p:attrName>
                                        </p:attrNameLst>
                                      </p:cBhvr>
                                      <p:to>
                                        <p:strVal val="visible"/>
                                      </p:to>
                                    </p:set>
                                    <p:animEffect transition="in" filter="fade">
                                      <p:cBhvr>
                                        <p:cTn id="135" dur="500"/>
                                        <p:tgtEl>
                                          <p:spTgt spid="197"/>
                                        </p:tgtEl>
                                      </p:cBhvr>
                                    </p:animEffect>
                                  </p:childTnLst>
                                </p:cTn>
                              </p:par>
                              <p:par>
                                <p:cTn id="136" presetID="1" presetClass="emph" presetSubtype="2" fill="hold" nodeType="withEffect">
                                  <p:stCondLst>
                                    <p:cond delay="500"/>
                                  </p:stCondLst>
                                  <p:childTnLst>
                                    <p:animClr clrSpc="rgb" dir="cw">
                                      <p:cBhvr>
                                        <p:cTn id="137" dur="500" fill="hold"/>
                                        <p:tgtEl>
                                          <p:spTgt spid="195"/>
                                        </p:tgtEl>
                                        <p:attrNameLst>
                                          <p:attrName>fillcolor</p:attrName>
                                        </p:attrNameLst>
                                      </p:cBhvr>
                                      <p:to>
                                        <a:srgbClr val="50E6FF"/>
                                      </p:to>
                                    </p:animClr>
                                    <p:set>
                                      <p:cBhvr>
                                        <p:cTn id="138" dur="500" fill="hold"/>
                                        <p:tgtEl>
                                          <p:spTgt spid="195"/>
                                        </p:tgtEl>
                                        <p:attrNameLst>
                                          <p:attrName>fill.type</p:attrName>
                                        </p:attrNameLst>
                                      </p:cBhvr>
                                      <p:to>
                                        <p:strVal val="solid"/>
                                      </p:to>
                                    </p:set>
                                    <p:set>
                                      <p:cBhvr>
                                        <p:cTn id="139" dur="500" fill="hold"/>
                                        <p:tgtEl>
                                          <p:spTgt spid="195"/>
                                        </p:tgtEl>
                                        <p:attrNameLst>
                                          <p:attrName>fill.on</p:attrName>
                                        </p:attrNameLst>
                                      </p:cBhvr>
                                      <p:to>
                                        <p:strVal val="true"/>
                                      </p:to>
                                    </p:set>
                                  </p:childTnLst>
                                </p:cTn>
                              </p:par>
                              <p:par>
                                <p:cTn id="140" presetID="3" presetClass="emph" presetSubtype="2" fill="hold" grpId="1" nodeType="withEffect">
                                  <p:stCondLst>
                                    <p:cond delay="500"/>
                                  </p:stCondLst>
                                  <p:childTnLst>
                                    <p:animClr clrSpc="rgb" dir="cw">
                                      <p:cBhvr override="childStyle">
                                        <p:cTn id="141" dur="500" fill="hold"/>
                                        <p:tgtEl>
                                          <p:spTgt spid="195"/>
                                        </p:tgtEl>
                                        <p:attrNameLst>
                                          <p:attrName>style.color</p:attrName>
                                        </p:attrNameLst>
                                      </p:cBhvr>
                                      <p:to>
                                        <a:srgbClr val="000000"/>
                                      </p:to>
                                    </p:animClr>
                                  </p:childTnLst>
                                </p:cTn>
                              </p:par>
                              <p:par>
                                <p:cTn id="142" presetID="63" presetClass="path" presetSubtype="0" accel="50000" decel="50000" fill="hold" grpId="1" nodeType="withEffect">
                                  <p:stCondLst>
                                    <p:cond delay="500"/>
                                  </p:stCondLst>
                                  <p:childTnLst>
                                    <p:animMotion origin="layout" path="M 3.125E-6 -3.7037E-7 L 0.28776 -3.7037E-7 " pathEditMode="relative" rAng="0" ptsTypes="AA">
                                      <p:cBhvr>
                                        <p:cTn id="143" dur="1750" fill="hold"/>
                                        <p:tgtEl>
                                          <p:spTgt spid="197"/>
                                        </p:tgtEl>
                                        <p:attrNameLst>
                                          <p:attrName>ppt_x</p:attrName>
                                          <p:attrName>ppt_y</p:attrName>
                                        </p:attrNameLst>
                                      </p:cBhvr>
                                      <p:rCtr x="14388" y="0"/>
                                    </p:animMotion>
                                  </p:childTnLst>
                                </p:cTn>
                              </p:par>
                              <p:par>
                                <p:cTn id="144" presetID="2" presetClass="entr" presetSubtype="4" decel="50000" fill="hold" grpId="0" nodeType="withEffect">
                                  <p:stCondLst>
                                    <p:cond delay="500"/>
                                  </p:stCondLst>
                                  <p:childTnLst>
                                    <p:set>
                                      <p:cBhvr>
                                        <p:cTn id="145" dur="1" fill="hold">
                                          <p:stCondLst>
                                            <p:cond delay="0"/>
                                          </p:stCondLst>
                                        </p:cTn>
                                        <p:tgtEl>
                                          <p:spTgt spid="19"/>
                                        </p:tgtEl>
                                        <p:attrNameLst>
                                          <p:attrName>style.visibility</p:attrName>
                                        </p:attrNameLst>
                                      </p:cBhvr>
                                      <p:to>
                                        <p:strVal val="visible"/>
                                      </p:to>
                                    </p:set>
                                    <p:anim calcmode="lin" valueType="num">
                                      <p:cBhvr additive="base">
                                        <p:cTn id="146" dur="1750" fill="hold"/>
                                        <p:tgtEl>
                                          <p:spTgt spid="19"/>
                                        </p:tgtEl>
                                        <p:attrNameLst>
                                          <p:attrName>ppt_x</p:attrName>
                                        </p:attrNameLst>
                                      </p:cBhvr>
                                      <p:tavLst>
                                        <p:tav tm="0">
                                          <p:val>
                                            <p:strVal val="#ppt_x"/>
                                          </p:val>
                                        </p:tav>
                                        <p:tav tm="100000">
                                          <p:val>
                                            <p:strVal val="#ppt_x"/>
                                          </p:val>
                                        </p:tav>
                                      </p:tavLst>
                                    </p:anim>
                                    <p:anim calcmode="lin" valueType="num">
                                      <p:cBhvr additive="base">
                                        <p:cTn id="147" dur="1750" fill="hold"/>
                                        <p:tgtEl>
                                          <p:spTgt spid="19"/>
                                        </p:tgtEl>
                                        <p:attrNameLst>
                                          <p:attrName>ppt_y</p:attrName>
                                        </p:attrNameLst>
                                      </p:cBhvr>
                                      <p:tavLst>
                                        <p:tav tm="0">
                                          <p:val>
                                            <p:strVal val="1+#ppt_h/2"/>
                                          </p:val>
                                        </p:tav>
                                        <p:tav tm="100000">
                                          <p:val>
                                            <p:strVal val="#ppt_y"/>
                                          </p:val>
                                        </p:tav>
                                      </p:tavLst>
                                    </p:anim>
                                  </p:childTnLst>
                                </p:cTn>
                              </p:par>
                              <p:par>
                                <p:cTn id="148" presetID="3" presetClass="emph" presetSubtype="2" fill="hold" grpId="2" nodeType="withEffect">
                                  <p:stCondLst>
                                    <p:cond delay="1750"/>
                                  </p:stCondLst>
                                  <p:childTnLst>
                                    <p:animClr clrSpc="rgb" dir="cw">
                                      <p:cBhvr override="childStyle">
                                        <p:cTn id="149" dur="500" fill="hold"/>
                                        <p:tgtEl>
                                          <p:spTgt spid="197"/>
                                        </p:tgtEl>
                                        <p:attrNameLst>
                                          <p:attrName>style.color</p:attrName>
                                        </p:attrNameLst>
                                      </p:cBhvr>
                                      <p:to>
                                        <a:srgbClr val="0000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92" grpId="0" animBg="1"/>
      <p:bldP spid="206" grpId="0" animBg="1"/>
      <p:bldP spid="207" grpId="0" animBg="1"/>
      <p:bldP spid="208" grpId="0" animBg="1"/>
      <p:bldP spid="209" grpId="0" animBg="1"/>
      <p:bldP spid="210" grpId="0" animBg="1"/>
      <p:bldP spid="147" grpId="0"/>
      <p:bldP spid="148" grpId="0"/>
      <p:bldP spid="149" grpId="0"/>
      <p:bldP spid="18" grpId="0" animBg="1"/>
      <p:bldP spid="150" grpId="0"/>
      <p:bldP spid="32" grpId="0" animBg="1"/>
      <p:bldP spid="71" grpId="0" animBg="1"/>
      <p:bldP spid="3" grpId="0" animBg="1"/>
      <p:bldP spid="56" grpId="0" animBg="1"/>
      <p:bldP spid="57" grpId="0" animBg="1"/>
      <p:bldP spid="58" grpId="0" animBg="1"/>
      <p:bldP spid="62" grpId="0" animBg="1"/>
      <p:bldP spid="63" grpId="0" animBg="1"/>
      <p:bldP spid="65" grpId="0" animBg="1"/>
      <p:bldP spid="69" grpId="0" animBg="1"/>
      <p:bldP spid="154" grpId="0" animBg="1"/>
      <p:bldP spid="156" grpId="0" animBg="1"/>
      <p:bldP spid="160" grpId="0" animBg="1"/>
      <p:bldP spid="161" grpId="0" animBg="1"/>
      <p:bldP spid="162" grpId="0" animBg="1"/>
      <p:bldP spid="178" grpId="0" animBg="1"/>
      <p:bldP spid="182" grpId="0" animBg="1"/>
      <p:bldP spid="183" grpId="0" animBg="1"/>
      <p:bldP spid="184" grpId="0" animBg="1"/>
      <p:bldP spid="195" grpId="0" animBg="1"/>
      <p:bldP spid="195" grpId="1" animBg="1"/>
      <p:bldP spid="196" grpId="0" animBg="1"/>
      <p:bldP spid="5" grpId="0"/>
      <p:bldP spid="197" grpId="0"/>
      <p:bldP spid="197" grpId="1"/>
      <p:bldP spid="197" grpId="2"/>
      <p:bldP spid="155" grpId="0" animBg="1"/>
      <p:bldP spid="155" grpId="1" animBg="1"/>
      <p:bldP spid="155" grpId="2" animBg="1"/>
      <p:bldP spid="155" grpId="3"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7157A7F2-352A-4988-B5D6-B0F93F9FFDA9}"/>
              </a:ext>
            </a:extLst>
          </p:cNvPr>
          <p:cNvPicPr>
            <a:picLocks noChangeAspect="1"/>
          </p:cNvPicPr>
          <p:nvPr/>
        </p:nvPicPr>
        <p:blipFill rotWithShape="1">
          <a:blip r:embed="rId2"/>
          <a:srcRect l="3574" t="7675" r="34905"/>
          <a:stretch/>
        </p:blipFill>
        <p:spPr>
          <a:xfrm>
            <a:off x="5739945" y="297918"/>
            <a:ext cx="6397659" cy="6397659"/>
          </a:xfrm>
          <a:prstGeom prst="rect">
            <a:avLst/>
          </a:prstGeom>
          <a:solidFill>
            <a:schemeClr val="bg1"/>
          </a:solidFill>
          <a:ln w="10795" cap="flat" cmpd="sng" algn="ctr">
            <a:noFill/>
            <a:prstDash val="solid"/>
          </a:ln>
          <a:effectLst>
            <a:outerShdw blurRad="254000" dist="50800" dir="2700000" sx="101000" sy="101000" algn="tl" rotWithShape="0">
              <a:prstClr val="black">
                <a:alpha val="28000"/>
              </a:prstClr>
            </a:outerShdw>
          </a:effectLst>
        </p:spPr>
      </p:pic>
      <p:sp>
        <p:nvSpPr>
          <p:cNvPr id="37" name="Picture Placeholder 3">
            <a:extLst>
              <a:ext uri="{FF2B5EF4-FFF2-40B4-BE49-F238E27FC236}">
                <a16:creationId xmlns:a16="http://schemas.microsoft.com/office/drawing/2014/main" id="{3B4B9613-0D8F-4E95-A745-11A692139DC0}"/>
              </a:ext>
            </a:extLst>
          </p:cNvPr>
          <p:cNvSpPr txBox="1">
            <a:spLocks/>
          </p:cNvSpPr>
          <p:nvPr/>
        </p:nvSpPr>
        <p:spPr>
          <a:xfrm>
            <a:off x="5737438" y="297919"/>
            <a:ext cx="6400166" cy="6398687"/>
          </a:xfrm>
          <a:prstGeom prst="rect">
            <a:avLst/>
          </a:prstGeom>
          <a:solidFill>
            <a:srgbClr val="141213">
              <a:alpha val="40000"/>
            </a:srgbClr>
          </a:solidFill>
        </p:spPr>
        <p:txBody>
          <a:bodyP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1304">
              <a:buNone/>
              <a:defRPr/>
            </a:pPr>
            <a:endParaRPr lang="en-US" sz="3264">
              <a:gradFill>
                <a:gsLst>
                  <a:gs pos="1250">
                    <a:srgbClr val="1A1A1A"/>
                  </a:gs>
                  <a:gs pos="100000">
                    <a:srgbClr val="1A1A1A"/>
                  </a:gs>
                </a:gsLst>
                <a:lin ang="5400000" scaled="0"/>
              </a:gradFill>
              <a:latin typeface="Microsoft YaHei" charset="-122"/>
              <a:ea typeface="Microsoft YaHei" charset="-122"/>
              <a:cs typeface="Microsoft YaHei" charset="-122"/>
            </a:endParaRPr>
          </a:p>
        </p:txBody>
      </p:sp>
      <p:grpSp>
        <p:nvGrpSpPr>
          <p:cNvPr id="2" name="Group 1">
            <a:extLst>
              <a:ext uri="{FF2B5EF4-FFF2-40B4-BE49-F238E27FC236}">
                <a16:creationId xmlns:a16="http://schemas.microsoft.com/office/drawing/2014/main" id="{B7AE9D19-744F-4DB0-B141-AFE3E26EF5CD}"/>
              </a:ext>
            </a:extLst>
          </p:cNvPr>
          <p:cNvGrpSpPr/>
          <p:nvPr/>
        </p:nvGrpSpPr>
        <p:grpSpPr>
          <a:xfrm>
            <a:off x="6875066" y="948422"/>
            <a:ext cx="4124911" cy="2377349"/>
            <a:chOff x="6740008" y="929910"/>
            <a:chExt cx="4044398" cy="2330946"/>
          </a:xfrm>
        </p:grpSpPr>
        <p:sp>
          <p:nvSpPr>
            <p:cNvPr id="39" name="cloud">
              <a:extLst>
                <a:ext uri="{FF2B5EF4-FFF2-40B4-BE49-F238E27FC236}">
                  <a16:creationId xmlns:a16="http://schemas.microsoft.com/office/drawing/2014/main" id="{10C4C30D-B9BC-4F40-A5CB-BE40932C9B34}"/>
                </a:ext>
              </a:extLst>
            </p:cNvPr>
            <p:cNvSpPr>
              <a:spLocks noChangeAspect="1"/>
            </p:cNvSpPr>
            <p:nvPr/>
          </p:nvSpPr>
          <p:spPr bwMode="black">
            <a:xfrm>
              <a:off x="6740008" y="929910"/>
              <a:ext cx="4044398" cy="233094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a:noFill/>
            </a:ln>
            <a:effectLst>
              <a:outerShdw blurRad="482600" dist="38100" dir="2700000" algn="tl"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40" name="TextBox 39">
              <a:extLst>
                <a:ext uri="{FF2B5EF4-FFF2-40B4-BE49-F238E27FC236}">
                  <a16:creationId xmlns:a16="http://schemas.microsoft.com/office/drawing/2014/main" id="{DB6E60E6-7407-4C86-A6B0-05D41C02B19C}"/>
                </a:ext>
              </a:extLst>
            </p:cNvPr>
            <p:cNvSpPr txBox="1"/>
            <p:nvPr/>
          </p:nvSpPr>
          <p:spPr>
            <a:xfrm>
              <a:off x="8136298" y="2130507"/>
              <a:ext cx="1251818" cy="596445"/>
            </a:xfrm>
            <a:prstGeom prst="rect">
              <a:avLst/>
            </a:prstGeom>
            <a:noFill/>
          </p:spPr>
          <p:txBody>
            <a:bodyPr wrap="none" lIns="0" tIns="0" rIns="0" bIns="0" rtlCol="0">
              <a:spAutoFit/>
            </a:bodyPr>
            <a:lstStyle/>
            <a:p>
              <a:pPr algn="ctr" defTabSz="932563">
                <a:defRPr/>
              </a:pPr>
              <a:r>
                <a:rPr lang="en-US" sz="3876" dirty="0">
                  <a:gradFill>
                    <a:gsLst>
                      <a:gs pos="10030">
                        <a:srgbClr val="0078D4"/>
                      </a:gs>
                      <a:gs pos="99000">
                        <a:srgbClr val="0078D4"/>
                      </a:gs>
                    </a:gsLst>
                    <a:lin ang="5400000" scaled="0"/>
                  </a:gradFill>
                  <a:latin typeface="Segoe UI" panose="020B0502040204020203" pitchFamily="34" charset="0"/>
                  <a:ea typeface="Segoe UI" panose="020B0502040204020203" pitchFamily="34" charset="0"/>
                  <a:cs typeface="Segoe UI" panose="020B0502040204020203" pitchFamily="34" charset="0"/>
                </a:rPr>
                <a:t>Azure</a:t>
              </a:r>
            </a:p>
          </p:txBody>
        </p:sp>
      </p:grpSp>
      <p:grpSp>
        <p:nvGrpSpPr>
          <p:cNvPr id="41" name="Group 40">
            <a:extLst>
              <a:ext uri="{FF2B5EF4-FFF2-40B4-BE49-F238E27FC236}">
                <a16:creationId xmlns:a16="http://schemas.microsoft.com/office/drawing/2014/main" id="{72FB751C-4A4F-4BE5-97A7-A3934D485FB4}"/>
              </a:ext>
            </a:extLst>
          </p:cNvPr>
          <p:cNvGrpSpPr/>
          <p:nvPr/>
        </p:nvGrpSpPr>
        <p:grpSpPr>
          <a:xfrm>
            <a:off x="5737438" y="3060105"/>
            <a:ext cx="6400166" cy="3660791"/>
            <a:chOff x="5624586" y="3157540"/>
            <a:chExt cx="6275242" cy="3432172"/>
          </a:xfrm>
        </p:grpSpPr>
        <p:sp>
          <p:nvSpPr>
            <p:cNvPr id="45" name="Freeform: Shape 44">
              <a:extLst>
                <a:ext uri="{FF2B5EF4-FFF2-40B4-BE49-F238E27FC236}">
                  <a16:creationId xmlns:a16="http://schemas.microsoft.com/office/drawing/2014/main" id="{A4EFAC97-8084-47CF-8844-69D8CF2720F5}"/>
                </a:ext>
              </a:extLst>
            </p:cNvPr>
            <p:cNvSpPr/>
            <p:nvPr/>
          </p:nvSpPr>
          <p:spPr bwMode="auto">
            <a:xfrm>
              <a:off x="5624586" y="3157541"/>
              <a:ext cx="6275242" cy="3432171"/>
            </a:xfrm>
            <a:custGeom>
              <a:avLst/>
              <a:gdLst>
                <a:gd name="connsiteX0" fmla="*/ 1929298 w 6275242"/>
                <a:gd name="connsiteY0" fmla="*/ 0 h 3432171"/>
                <a:gd name="connsiteX1" fmla="*/ 4345944 w 6275242"/>
                <a:gd name="connsiteY1" fmla="*/ 0 h 3432171"/>
                <a:gd name="connsiteX2" fmla="*/ 4387130 w 6275242"/>
                <a:gd name="connsiteY2" fmla="*/ 230634 h 3432171"/>
                <a:gd name="connsiteX3" fmla="*/ 6119968 w 6275242"/>
                <a:gd name="connsiteY3" fmla="*/ 3268161 h 3432171"/>
                <a:gd name="connsiteX4" fmla="*/ 6275242 w 6275242"/>
                <a:gd name="connsiteY4" fmla="*/ 3402662 h 3432171"/>
                <a:gd name="connsiteX5" fmla="*/ 6275242 w 6275242"/>
                <a:gd name="connsiteY5" fmla="*/ 3432171 h 3432171"/>
                <a:gd name="connsiteX6" fmla="*/ 0 w 6275242"/>
                <a:gd name="connsiteY6" fmla="*/ 3432171 h 3432171"/>
                <a:gd name="connsiteX7" fmla="*/ 0 w 6275242"/>
                <a:gd name="connsiteY7" fmla="*/ 3402662 h 3432171"/>
                <a:gd name="connsiteX8" fmla="*/ 155274 w 6275242"/>
                <a:gd name="connsiteY8" fmla="*/ 3268161 h 3432171"/>
                <a:gd name="connsiteX9" fmla="*/ 1888112 w 6275242"/>
                <a:gd name="connsiteY9" fmla="*/ 230634 h 3432171"/>
                <a:gd name="connsiteX10" fmla="*/ 1929298 w 6275242"/>
                <a:gd name="connsiteY10" fmla="*/ 0 h 3432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75242" h="3432171">
                  <a:moveTo>
                    <a:pt x="1929298" y="0"/>
                  </a:moveTo>
                  <a:lnTo>
                    <a:pt x="4345944" y="0"/>
                  </a:lnTo>
                  <a:lnTo>
                    <a:pt x="4387130" y="230634"/>
                  </a:lnTo>
                  <a:cubicBezTo>
                    <a:pt x="4631250" y="1423619"/>
                    <a:pt x="5252107" y="2479372"/>
                    <a:pt x="6119968" y="3268161"/>
                  </a:cubicBezTo>
                  <a:lnTo>
                    <a:pt x="6275242" y="3402662"/>
                  </a:lnTo>
                  <a:lnTo>
                    <a:pt x="6275242" y="3432171"/>
                  </a:lnTo>
                  <a:lnTo>
                    <a:pt x="0" y="3432171"/>
                  </a:lnTo>
                  <a:lnTo>
                    <a:pt x="0" y="3402662"/>
                  </a:lnTo>
                  <a:lnTo>
                    <a:pt x="155274" y="3268161"/>
                  </a:lnTo>
                  <a:cubicBezTo>
                    <a:pt x="1023135" y="2479372"/>
                    <a:pt x="1643991" y="1423619"/>
                    <a:pt x="1888112" y="230634"/>
                  </a:cubicBezTo>
                  <a:lnTo>
                    <a:pt x="1929298" y="0"/>
                  </a:lnTo>
                  <a:close/>
                </a:path>
              </a:pathLst>
            </a:custGeom>
            <a:solidFill>
              <a:schemeClr val="bg1">
                <a:alpha val="1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44" name="Freeform: Shape 43">
              <a:extLst>
                <a:ext uri="{FF2B5EF4-FFF2-40B4-BE49-F238E27FC236}">
                  <a16:creationId xmlns:a16="http://schemas.microsoft.com/office/drawing/2014/main" id="{61288DC3-9AD0-4A11-B5BF-F732C93C79B2}"/>
                </a:ext>
              </a:extLst>
            </p:cNvPr>
            <p:cNvSpPr/>
            <p:nvPr/>
          </p:nvSpPr>
          <p:spPr bwMode="auto">
            <a:xfrm>
              <a:off x="5624586" y="3157540"/>
              <a:ext cx="1929298" cy="3402662"/>
            </a:xfrm>
            <a:custGeom>
              <a:avLst/>
              <a:gdLst>
                <a:gd name="connsiteX0" fmla="*/ 1542944 w 1929298"/>
                <a:gd name="connsiteY0" fmla="*/ 0 h 3402662"/>
                <a:gd name="connsiteX1" fmla="*/ 1929298 w 1929298"/>
                <a:gd name="connsiteY1" fmla="*/ 0 h 3402662"/>
                <a:gd name="connsiteX2" fmla="*/ 1888112 w 1929298"/>
                <a:gd name="connsiteY2" fmla="*/ 230634 h 3402662"/>
                <a:gd name="connsiteX3" fmla="*/ 155274 w 1929298"/>
                <a:gd name="connsiteY3" fmla="*/ 3268161 h 3402662"/>
                <a:gd name="connsiteX4" fmla="*/ 0 w 1929298"/>
                <a:gd name="connsiteY4" fmla="*/ 3402662 h 3402662"/>
                <a:gd name="connsiteX5" fmla="*/ 0 w 1929298"/>
                <a:gd name="connsiteY5" fmla="*/ 1984464 h 3402662"/>
                <a:gd name="connsiteX6" fmla="*/ 91795 w 1929298"/>
                <a:gd name="connsiteY6" fmla="*/ 1919187 h 3402662"/>
                <a:gd name="connsiteX7" fmla="*/ 1488733 w 1929298"/>
                <a:gd name="connsiteY7" fmla="*/ 137492 h 3402662"/>
                <a:gd name="connsiteX8" fmla="*/ 1542944 w 1929298"/>
                <a:gd name="connsiteY8" fmla="*/ 0 h 34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9298" h="3402662">
                  <a:moveTo>
                    <a:pt x="1542944" y="0"/>
                  </a:moveTo>
                  <a:lnTo>
                    <a:pt x="1929298" y="0"/>
                  </a:lnTo>
                  <a:lnTo>
                    <a:pt x="1888112" y="230634"/>
                  </a:lnTo>
                  <a:cubicBezTo>
                    <a:pt x="1643991" y="1423619"/>
                    <a:pt x="1023135" y="2479372"/>
                    <a:pt x="155274" y="3268161"/>
                  </a:cubicBezTo>
                  <a:lnTo>
                    <a:pt x="0" y="3402662"/>
                  </a:lnTo>
                  <a:lnTo>
                    <a:pt x="0" y="1984464"/>
                  </a:lnTo>
                  <a:lnTo>
                    <a:pt x="91795" y="1919187"/>
                  </a:lnTo>
                  <a:cubicBezTo>
                    <a:pt x="702171" y="1462714"/>
                    <a:pt x="1187904" y="848728"/>
                    <a:pt x="1488733" y="137492"/>
                  </a:cubicBezTo>
                  <a:lnTo>
                    <a:pt x="1542944" y="0"/>
                  </a:lnTo>
                  <a:close/>
                </a:path>
              </a:pathLst>
            </a:cu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46" name="Freeform: Shape 45">
              <a:extLst>
                <a:ext uri="{FF2B5EF4-FFF2-40B4-BE49-F238E27FC236}">
                  <a16:creationId xmlns:a16="http://schemas.microsoft.com/office/drawing/2014/main" id="{6559B69B-892F-4ED7-97D3-D9339A08D7F8}"/>
                </a:ext>
              </a:extLst>
            </p:cNvPr>
            <p:cNvSpPr/>
            <p:nvPr/>
          </p:nvSpPr>
          <p:spPr bwMode="auto">
            <a:xfrm>
              <a:off x="9970530" y="3157540"/>
              <a:ext cx="1929298" cy="3402662"/>
            </a:xfrm>
            <a:custGeom>
              <a:avLst/>
              <a:gdLst>
                <a:gd name="connsiteX0" fmla="*/ 0 w 1929298"/>
                <a:gd name="connsiteY0" fmla="*/ 0 h 3402662"/>
                <a:gd name="connsiteX1" fmla="*/ 386355 w 1929298"/>
                <a:gd name="connsiteY1" fmla="*/ 0 h 3402662"/>
                <a:gd name="connsiteX2" fmla="*/ 440566 w 1929298"/>
                <a:gd name="connsiteY2" fmla="*/ 137492 h 3402662"/>
                <a:gd name="connsiteX3" fmla="*/ 1837504 w 1929298"/>
                <a:gd name="connsiteY3" fmla="*/ 1919187 h 3402662"/>
                <a:gd name="connsiteX4" fmla="*/ 1929298 w 1929298"/>
                <a:gd name="connsiteY4" fmla="*/ 1984463 h 3402662"/>
                <a:gd name="connsiteX5" fmla="*/ 1929298 w 1929298"/>
                <a:gd name="connsiteY5" fmla="*/ 3402662 h 3402662"/>
                <a:gd name="connsiteX6" fmla="*/ 1774024 w 1929298"/>
                <a:gd name="connsiteY6" fmla="*/ 3268161 h 3402662"/>
                <a:gd name="connsiteX7" fmla="*/ 41186 w 1929298"/>
                <a:gd name="connsiteY7" fmla="*/ 230634 h 3402662"/>
                <a:gd name="connsiteX8" fmla="*/ 0 w 1929298"/>
                <a:gd name="connsiteY8" fmla="*/ 0 h 34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9298" h="3402662">
                  <a:moveTo>
                    <a:pt x="0" y="0"/>
                  </a:moveTo>
                  <a:lnTo>
                    <a:pt x="386355" y="0"/>
                  </a:lnTo>
                  <a:lnTo>
                    <a:pt x="440566" y="137492"/>
                  </a:lnTo>
                  <a:cubicBezTo>
                    <a:pt x="741394" y="848728"/>
                    <a:pt x="1227127" y="1462714"/>
                    <a:pt x="1837504" y="1919187"/>
                  </a:cubicBezTo>
                  <a:lnTo>
                    <a:pt x="1929298" y="1984463"/>
                  </a:lnTo>
                  <a:lnTo>
                    <a:pt x="1929298" y="3402662"/>
                  </a:lnTo>
                  <a:lnTo>
                    <a:pt x="1774024" y="3268161"/>
                  </a:lnTo>
                  <a:cubicBezTo>
                    <a:pt x="906163" y="2479372"/>
                    <a:pt x="285306" y="1423619"/>
                    <a:pt x="41186" y="230634"/>
                  </a:cubicBezTo>
                  <a:lnTo>
                    <a:pt x="0" y="0"/>
                  </a:lnTo>
                  <a:close/>
                </a:path>
              </a:pathLst>
            </a:cu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Microsoft YaHei" charset="-122"/>
                <a:ea typeface="Microsoft YaHei" charset="-122"/>
                <a:cs typeface="Microsoft YaHei" charset="-122"/>
              </a:endParaRPr>
            </a:p>
          </p:txBody>
        </p:sp>
      </p:grpSp>
      <p:sp>
        <p:nvSpPr>
          <p:cNvPr id="47" name="Rectangle 46">
            <a:extLst>
              <a:ext uri="{FF2B5EF4-FFF2-40B4-BE49-F238E27FC236}">
                <a16:creationId xmlns:a16="http://schemas.microsoft.com/office/drawing/2014/main" id="{00387E46-C2A2-47E0-A87D-5B8631F15130}"/>
              </a:ext>
            </a:extLst>
          </p:cNvPr>
          <p:cNvSpPr/>
          <p:nvPr/>
        </p:nvSpPr>
        <p:spPr bwMode="auto">
          <a:xfrm>
            <a:off x="394565" y="1220274"/>
            <a:ext cx="4205247" cy="17007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1121" fontAlgn="base">
              <a:lnSpc>
                <a:spcPct val="90000"/>
              </a:lnSpc>
              <a:spcBef>
                <a:spcPct val="0"/>
              </a:spcBef>
              <a:spcAft>
                <a:spcPct val="0"/>
              </a:spcAft>
              <a:defRPr/>
            </a:pPr>
            <a:r>
              <a:rPr lang="en-US" sz="4080" spc="-51" dirty="0">
                <a:ln w="3175">
                  <a:noFill/>
                </a:ln>
                <a:gradFill>
                  <a:gsLst>
                    <a:gs pos="0">
                      <a:srgbClr val="1A1A1A"/>
                    </a:gs>
                    <a:gs pos="100000">
                      <a:srgbClr val="1A1A1A"/>
                    </a:gs>
                  </a:gsLst>
                  <a:lin ang="5400000" scaled="0"/>
                </a:gradFill>
                <a:latin typeface="Segoe UI" panose="020B0502040204020203" pitchFamily="34" charset="0"/>
                <a:ea typeface="Segoe UI" panose="020B0502040204020203" pitchFamily="34" charset="0"/>
                <a:cs typeface="Segoe UI" panose="020B0502040204020203" pitchFamily="34" charset="0"/>
              </a:rPr>
              <a:t>Azure </a:t>
            </a:r>
            <a:r>
              <a:rPr lang="en-US" sz="4080" spc="-51" dirty="0" err="1">
                <a:ln w="3175">
                  <a:noFill/>
                </a:ln>
                <a:gradFill>
                  <a:gsLst>
                    <a:gs pos="0">
                      <a:srgbClr val="1A1A1A"/>
                    </a:gs>
                    <a:gs pos="100000">
                      <a:srgbClr val="1A1A1A"/>
                    </a:gs>
                  </a:gsLst>
                  <a:lin ang="5400000" scaled="0"/>
                </a:gradFill>
                <a:latin typeface="Segoe UI" panose="020B0502040204020203" pitchFamily="34" charset="0"/>
                <a:ea typeface="Segoe UI" panose="020B0502040204020203" pitchFamily="34" charset="0"/>
                <a:cs typeface="Segoe UI" panose="020B0502040204020203" pitchFamily="34" charset="0"/>
              </a:rPr>
              <a:t>IoT</a:t>
            </a:r>
            <a:r>
              <a:rPr lang="en-US" sz="4080" spc="-51" dirty="0">
                <a:ln w="3175">
                  <a:noFill/>
                </a:ln>
                <a:gradFill>
                  <a:gsLst>
                    <a:gs pos="0">
                      <a:srgbClr val="1A1A1A"/>
                    </a:gs>
                    <a:gs pos="100000">
                      <a:srgbClr val="1A1A1A"/>
                    </a:gs>
                  </a:gsLst>
                  <a:lin ang="5400000" scaled="0"/>
                </a:gradFill>
                <a:latin typeface="Segoe UI" panose="020B0502040204020203" pitchFamily="34" charset="0"/>
                <a:ea typeface="Segoe UI" panose="020B0502040204020203" pitchFamily="34" charset="0"/>
                <a:cs typeface="Segoe UI" panose="020B0502040204020203" pitchFamily="34" charset="0"/>
              </a:rPr>
              <a:t> Edge </a:t>
            </a:r>
          </a:p>
          <a:p>
            <a:pPr defTabSz="951121" fontAlgn="base">
              <a:lnSpc>
                <a:spcPct val="90000"/>
              </a:lnSpc>
              <a:spcBef>
                <a:spcPct val="0"/>
              </a:spcBef>
              <a:spcAft>
                <a:spcPts val="408"/>
              </a:spcAft>
              <a:defRPr/>
            </a:pPr>
            <a:r>
              <a:rPr lang="zh-CN" altLang="en-US" sz="4080" spc="-51" dirty="0">
                <a:ln w="3175">
                  <a:noFill/>
                </a:ln>
                <a:gradFill>
                  <a:gsLst>
                    <a:gs pos="0">
                      <a:srgbClr val="1A1A1A"/>
                    </a:gs>
                    <a:gs pos="100000">
                      <a:srgbClr val="1A1A1A"/>
                    </a:gs>
                  </a:gsLst>
                  <a:lin ang="5400000" scaled="0"/>
                </a:gradFill>
                <a:latin typeface="Microsoft YaHei" charset="-122"/>
                <a:ea typeface="Microsoft YaHei" charset="-122"/>
                <a:cs typeface="Microsoft YaHei" charset="-122"/>
              </a:rPr>
              <a:t>物联网</a:t>
            </a:r>
            <a:endParaRPr lang="en-US" altLang="zh-CN" sz="4080" spc="-51" dirty="0">
              <a:ln w="3175">
                <a:noFill/>
              </a:ln>
              <a:gradFill>
                <a:gsLst>
                  <a:gs pos="0">
                    <a:srgbClr val="1A1A1A"/>
                  </a:gs>
                  <a:gs pos="100000">
                    <a:srgbClr val="1A1A1A"/>
                  </a:gs>
                </a:gsLst>
                <a:lin ang="5400000" scaled="0"/>
              </a:gradFill>
              <a:latin typeface="Microsoft YaHei" charset="-122"/>
              <a:ea typeface="Microsoft YaHei" charset="-122"/>
              <a:cs typeface="Microsoft YaHei" charset="-122"/>
            </a:endParaRPr>
          </a:p>
          <a:p>
            <a:pPr defTabSz="951121" fontAlgn="base">
              <a:lnSpc>
                <a:spcPct val="90000"/>
              </a:lnSpc>
              <a:spcBef>
                <a:spcPct val="0"/>
              </a:spcBef>
              <a:spcAft>
                <a:spcPct val="0"/>
              </a:spcAft>
              <a:defRPr/>
            </a:pPr>
            <a:r>
              <a:rPr lang="en-US" altLang="zh-CN" sz="2448" b="1" spc="-51" dirty="0">
                <a:ln w="3175">
                  <a:noFill/>
                </a:ln>
                <a:solidFill>
                  <a:srgbClr val="2B78D7"/>
                </a:solidFill>
                <a:latin typeface="Microsoft YaHei Light" charset="-122"/>
                <a:ea typeface="Microsoft YaHei Light" charset="-122"/>
                <a:cs typeface="Microsoft YaHei Light" charset="-122"/>
              </a:rPr>
              <a:t>Internet of Things</a:t>
            </a:r>
          </a:p>
        </p:txBody>
      </p:sp>
      <p:grpSp>
        <p:nvGrpSpPr>
          <p:cNvPr id="48" name="Group 47">
            <a:extLst>
              <a:ext uri="{FF2B5EF4-FFF2-40B4-BE49-F238E27FC236}">
                <a16:creationId xmlns:a16="http://schemas.microsoft.com/office/drawing/2014/main" id="{A1E0D43A-D1DF-484D-94D6-BA366AE91A26}"/>
              </a:ext>
            </a:extLst>
          </p:cNvPr>
          <p:cNvGrpSpPr/>
          <p:nvPr/>
        </p:nvGrpSpPr>
        <p:grpSpPr>
          <a:xfrm>
            <a:off x="7387368" y="4279324"/>
            <a:ext cx="3086379" cy="448228"/>
            <a:chOff x="7085655" y="4233755"/>
            <a:chExt cx="3026136" cy="439479"/>
          </a:xfrm>
        </p:grpSpPr>
        <p:sp>
          <p:nvSpPr>
            <p:cNvPr id="49" name="Frame 5">
              <a:extLst>
                <a:ext uri="{FF2B5EF4-FFF2-40B4-BE49-F238E27FC236}">
                  <a16:creationId xmlns:a16="http://schemas.microsoft.com/office/drawing/2014/main" id="{49A07EE3-A474-4CE5-9881-D6AF13FA6402}"/>
                </a:ext>
              </a:extLst>
            </p:cNvPr>
            <p:cNvSpPr>
              <a:spLocks noChangeAspect="1"/>
            </p:cNvSpPr>
            <p:nvPr/>
          </p:nvSpPr>
          <p:spPr bwMode="auto">
            <a:xfrm>
              <a:off x="7085655" y="4238182"/>
              <a:ext cx="422146" cy="422032"/>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3175" cap="flat" cmpd="sng" algn="ctr">
              <a:noFill/>
              <a:prstDash val="solid"/>
              <a:miter lim="800000"/>
              <a:headEnd type="none" w="med" len="med"/>
              <a:tailEnd type="none" w="med" len="med"/>
            </a:ln>
            <a:effectLst/>
          </p:spPr>
          <p:txBody>
            <a:bodyPr rot="0" spcFirstLastPara="0" vertOverflow="overflow" horzOverflow="overflow" vert="horz" wrap="square" lIns="95090" tIns="47544" rIns="47544" bIns="95090" numCol="1" spcCol="0" rtlCol="0" fromWordArt="0" anchor="b" anchorCtr="0" forceAA="0" compatLnSpc="1">
              <a:prstTxWarp prst="textNoShape">
                <a:avLst/>
              </a:prstTxWarp>
              <a:noAutofit/>
            </a:bodyPr>
            <a:lstStyle/>
            <a:p>
              <a:pPr algn="ctr" defTabSz="950477" fontAlgn="base">
                <a:spcBef>
                  <a:spcPct val="0"/>
                </a:spcBef>
                <a:spcAft>
                  <a:spcPct val="0"/>
                </a:spcAft>
                <a:defRPr/>
              </a:pPr>
              <a:endParaRPr lang="en-US" sz="1873" kern="0" spc="-52">
                <a:solidFill>
                  <a:prstClr val="black"/>
                </a:solidFill>
                <a:latin typeface="Microsoft YaHei" charset="-122"/>
                <a:ea typeface="Microsoft YaHei" charset="-122"/>
                <a:cs typeface="Microsoft YaHei" charset="-122"/>
              </a:endParaRPr>
            </a:p>
          </p:txBody>
        </p:sp>
        <p:sp>
          <p:nvSpPr>
            <p:cNvPr id="50" name="TextBox 49">
              <a:extLst>
                <a:ext uri="{FF2B5EF4-FFF2-40B4-BE49-F238E27FC236}">
                  <a16:creationId xmlns:a16="http://schemas.microsoft.com/office/drawing/2014/main" id="{9865271F-FD1A-4206-876F-E5C54ACE7C3D}"/>
                </a:ext>
              </a:extLst>
            </p:cNvPr>
            <p:cNvSpPr txBox="1"/>
            <p:nvPr/>
          </p:nvSpPr>
          <p:spPr>
            <a:xfrm>
              <a:off x="7675226" y="4233755"/>
              <a:ext cx="2436565" cy="439479"/>
            </a:xfrm>
            <a:prstGeom prst="rect">
              <a:avLst/>
            </a:prstGeom>
            <a:noFill/>
          </p:spPr>
          <p:txBody>
            <a:bodyPr wrap="none" lIns="0" tIns="0" rIns="0" bIns="0" rtlCol="0">
              <a:spAutoFit/>
            </a:bodyPr>
            <a:lstStyle/>
            <a:p>
              <a:pPr algn="ctr" defTabSz="932563">
                <a:defRPr/>
              </a:pPr>
              <a:r>
                <a:rPr lang="en-US" sz="2856" dirty="0">
                  <a:gradFill>
                    <a:gsLst>
                      <a:gs pos="304">
                        <a:srgbClr val="FFFFFF"/>
                      </a:gs>
                      <a:gs pos="76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zure </a:t>
              </a:r>
              <a:r>
                <a:rPr lang="en-US" sz="2856" dirty="0" err="1">
                  <a:gradFill>
                    <a:gsLst>
                      <a:gs pos="304">
                        <a:srgbClr val="FFFFFF"/>
                      </a:gs>
                      <a:gs pos="76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IoT</a:t>
              </a:r>
              <a:r>
                <a:rPr lang="en-US" sz="2856" dirty="0">
                  <a:gradFill>
                    <a:gsLst>
                      <a:gs pos="304">
                        <a:srgbClr val="FFFFFF"/>
                      </a:gs>
                      <a:gs pos="76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Edge</a:t>
              </a:r>
            </a:p>
          </p:txBody>
        </p:sp>
      </p:grpSp>
      <p:grpSp>
        <p:nvGrpSpPr>
          <p:cNvPr id="51" name="Group 50">
            <a:extLst>
              <a:ext uri="{FF2B5EF4-FFF2-40B4-BE49-F238E27FC236}">
                <a16:creationId xmlns:a16="http://schemas.microsoft.com/office/drawing/2014/main" id="{5E9EDBD2-4874-4FDF-BD62-21687C4480A6}"/>
              </a:ext>
            </a:extLst>
          </p:cNvPr>
          <p:cNvGrpSpPr/>
          <p:nvPr/>
        </p:nvGrpSpPr>
        <p:grpSpPr>
          <a:xfrm>
            <a:off x="7420789" y="5242238"/>
            <a:ext cx="3033464" cy="515291"/>
            <a:chOff x="6636398" y="5201112"/>
            <a:chExt cx="2337926" cy="397141"/>
          </a:xfrm>
        </p:grpSpPr>
        <p:grpSp>
          <p:nvGrpSpPr>
            <p:cNvPr id="52" name="Group 51">
              <a:extLst>
                <a:ext uri="{FF2B5EF4-FFF2-40B4-BE49-F238E27FC236}">
                  <a16:creationId xmlns:a16="http://schemas.microsoft.com/office/drawing/2014/main" id="{2D70236F-6C4C-4DEC-B40B-79EAC4EA9D52}"/>
                </a:ext>
              </a:extLst>
            </p:cNvPr>
            <p:cNvGrpSpPr/>
            <p:nvPr/>
          </p:nvGrpSpPr>
          <p:grpSpPr>
            <a:xfrm>
              <a:off x="6636398" y="5201112"/>
              <a:ext cx="875079" cy="397141"/>
              <a:chOff x="7445961" y="4576738"/>
              <a:chExt cx="3379505" cy="1533736"/>
            </a:xfrm>
          </p:grpSpPr>
          <p:pic>
            <p:nvPicPr>
              <p:cNvPr id="54" name="Picture 53">
                <a:extLst>
                  <a:ext uri="{FF2B5EF4-FFF2-40B4-BE49-F238E27FC236}">
                    <a16:creationId xmlns:a16="http://schemas.microsoft.com/office/drawing/2014/main" id="{47B1624A-EFF2-4952-856C-0A212C6BAD07}"/>
                  </a:ext>
                </a:extLst>
              </p:cNvPr>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9519234" y="4576738"/>
                <a:ext cx="1306232" cy="1533736"/>
              </a:xfrm>
              <a:prstGeom prst="rect">
                <a:avLst/>
              </a:prstGeom>
            </p:spPr>
          </p:pic>
          <p:pic>
            <p:nvPicPr>
              <p:cNvPr id="55" name="Picture 54">
                <a:extLst>
                  <a:ext uri="{FF2B5EF4-FFF2-40B4-BE49-F238E27FC236}">
                    <a16:creationId xmlns:a16="http://schemas.microsoft.com/office/drawing/2014/main" id="{866108F9-D98F-4B86-8E06-6301D299059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45961" y="4648099"/>
                <a:ext cx="1993651" cy="1257143"/>
              </a:xfrm>
              <a:prstGeom prst="rect">
                <a:avLst/>
              </a:prstGeom>
            </p:spPr>
          </p:pic>
        </p:grpSp>
        <p:sp>
          <p:nvSpPr>
            <p:cNvPr id="53" name="Freeform 15">
              <a:extLst>
                <a:ext uri="{FF2B5EF4-FFF2-40B4-BE49-F238E27FC236}">
                  <a16:creationId xmlns:a16="http://schemas.microsoft.com/office/drawing/2014/main" id="{1B44CE2C-66DB-4A08-ACA5-55DF3E494320}"/>
                </a:ext>
              </a:extLst>
            </p:cNvPr>
            <p:cNvSpPr>
              <a:spLocks noChangeAspect="1" noEditPoints="1"/>
            </p:cNvSpPr>
            <p:nvPr/>
          </p:nvSpPr>
          <p:spPr bwMode="black">
            <a:xfrm>
              <a:off x="7736092" y="5261570"/>
              <a:ext cx="1238232" cy="276225"/>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932563">
                <a:defRPr/>
              </a:pPr>
              <a:endParaRPr lang="en-US" sz="1428">
                <a:solidFill>
                  <a:srgbClr val="1A1A1A"/>
                </a:solidFill>
                <a:latin typeface="Microsoft YaHei" charset="-122"/>
                <a:ea typeface="Microsoft YaHei" charset="-122"/>
                <a:cs typeface="Microsoft YaHei" charset="-122"/>
              </a:endParaRPr>
            </a:p>
          </p:txBody>
        </p:sp>
      </p:grpSp>
      <p:cxnSp>
        <p:nvCxnSpPr>
          <p:cNvPr id="58" name="Straight Connector 57">
            <a:extLst>
              <a:ext uri="{FF2B5EF4-FFF2-40B4-BE49-F238E27FC236}">
                <a16:creationId xmlns:a16="http://schemas.microsoft.com/office/drawing/2014/main" id="{C31E1E06-ADE0-425B-9DD4-CEC56F603402}"/>
              </a:ext>
            </a:extLst>
          </p:cNvPr>
          <p:cNvCxnSpPr>
            <a:cxnSpLocks/>
          </p:cNvCxnSpPr>
          <p:nvPr/>
        </p:nvCxnSpPr>
        <p:spPr>
          <a:xfrm>
            <a:off x="7237472" y="5018117"/>
            <a:ext cx="3400116" cy="0"/>
          </a:xfrm>
          <a:prstGeom prst="line">
            <a:avLst/>
          </a:prstGeom>
          <a:ln w="19050">
            <a:solidFill>
              <a:schemeClr val="bg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79BF1D40-63B7-4A72-8E18-54AF1F471193}"/>
              </a:ext>
            </a:extLst>
          </p:cNvPr>
          <p:cNvGrpSpPr/>
          <p:nvPr/>
        </p:nvGrpSpPr>
        <p:grpSpPr>
          <a:xfrm>
            <a:off x="8868006" y="3609249"/>
            <a:ext cx="139053" cy="500035"/>
            <a:chOff x="6299328" y="1259023"/>
            <a:chExt cx="202947" cy="729799"/>
          </a:xfrm>
        </p:grpSpPr>
        <p:cxnSp>
          <p:nvCxnSpPr>
            <p:cNvPr id="63" name="Straight Connector 62">
              <a:extLst>
                <a:ext uri="{FF2B5EF4-FFF2-40B4-BE49-F238E27FC236}">
                  <a16:creationId xmlns:a16="http://schemas.microsoft.com/office/drawing/2014/main" id="{4E8698B7-7A7E-426F-A3FD-37D3628B740A}"/>
                </a:ext>
              </a:extLst>
            </p:cNvPr>
            <p:cNvCxnSpPr>
              <a:cxnSpLocks/>
            </p:cNvCxnSpPr>
            <p:nvPr/>
          </p:nvCxnSpPr>
          <p:spPr>
            <a:xfrm>
              <a:off x="6400800" y="1259023"/>
              <a:ext cx="0" cy="729799"/>
            </a:xfrm>
            <a:prstGeom prst="line">
              <a:avLst/>
            </a:prstGeom>
            <a:ln w="285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4" name="Rectangle 4">
              <a:extLst>
                <a:ext uri="{FF2B5EF4-FFF2-40B4-BE49-F238E27FC236}">
                  <a16:creationId xmlns:a16="http://schemas.microsoft.com/office/drawing/2014/main" id="{FEDB9114-A2C7-4343-96D7-192771B43311}"/>
                </a:ext>
              </a:extLst>
            </p:cNvPr>
            <p:cNvSpPr/>
            <p:nvPr/>
          </p:nvSpPr>
          <p:spPr bwMode="auto">
            <a:xfrm rot="2700000">
              <a:off x="6299327" y="1305650"/>
              <a:ext cx="202946" cy="202944"/>
            </a:xfrm>
            <a:custGeom>
              <a:avLst/>
              <a:gdLst>
                <a:gd name="connsiteX0" fmla="*/ 0 w 477877"/>
                <a:gd name="connsiteY0" fmla="*/ 0 h 477877"/>
                <a:gd name="connsiteX1" fmla="*/ 477877 w 477877"/>
                <a:gd name="connsiteY1" fmla="*/ 0 h 477877"/>
                <a:gd name="connsiteX2" fmla="*/ 477877 w 477877"/>
                <a:gd name="connsiteY2" fmla="*/ 477877 h 477877"/>
                <a:gd name="connsiteX3" fmla="*/ 0 w 477877"/>
                <a:gd name="connsiteY3" fmla="*/ 477877 h 477877"/>
                <a:gd name="connsiteX4" fmla="*/ 0 w 477877"/>
                <a:gd name="connsiteY4" fmla="*/ 0 h 477877"/>
                <a:gd name="connsiteX0" fmla="*/ 477877 w 569317"/>
                <a:gd name="connsiteY0" fmla="*/ 477877 h 569317"/>
                <a:gd name="connsiteX1" fmla="*/ 0 w 569317"/>
                <a:gd name="connsiteY1" fmla="*/ 477877 h 569317"/>
                <a:gd name="connsiteX2" fmla="*/ 0 w 569317"/>
                <a:gd name="connsiteY2" fmla="*/ 0 h 569317"/>
                <a:gd name="connsiteX3" fmla="*/ 477877 w 569317"/>
                <a:gd name="connsiteY3" fmla="*/ 0 h 569317"/>
                <a:gd name="connsiteX4" fmla="*/ 569317 w 569317"/>
                <a:gd name="connsiteY4" fmla="*/ 569317 h 569317"/>
                <a:gd name="connsiteX0" fmla="*/ 477877 w 477877"/>
                <a:gd name="connsiteY0" fmla="*/ 477877 h 477877"/>
                <a:gd name="connsiteX1" fmla="*/ 0 w 477877"/>
                <a:gd name="connsiteY1" fmla="*/ 477877 h 477877"/>
                <a:gd name="connsiteX2" fmla="*/ 0 w 477877"/>
                <a:gd name="connsiteY2" fmla="*/ 0 h 477877"/>
                <a:gd name="connsiteX3" fmla="*/ 477877 w 477877"/>
                <a:gd name="connsiteY3" fmla="*/ 0 h 477877"/>
                <a:gd name="connsiteX0" fmla="*/ 0 w 477877"/>
                <a:gd name="connsiteY0" fmla="*/ 477877 h 477877"/>
                <a:gd name="connsiteX1" fmla="*/ 0 w 477877"/>
                <a:gd name="connsiteY1" fmla="*/ 0 h 477877"/>
                <a:gd name="connsiteX2" fmla="*/ 477877 w 477877"/>
                <a:gd name="connsiteY2" fmla="*/ 0 h 477877"/>
              </a:gdLst>
              <a:ahLst/>
              <a:cxnLst>
                <a:cxn ang="0">
                  <a:pos x="connsiteX0" y="connsiteY0"/>
                </a:cxn>
                <a:cxn ang="0">
                  <a:pos x="connsiteX1" y="connsiteY1"/>
                </a:cxn>
                <a:cxn ang="0">
                  <a:pos x="connsiteX2" y="connsiteY2"/>
                </a:cxn>
              </a:cxnLst>
              <a:rect l="l" t="t" r="r" b="b"/>
              <a:pathLst>
                <a:path w="477877" h="477877">
                  <a:moveTo>
                    <a:pt x="0" y="477877"/>
                  </a:moveTo>
                  <a:lnTo>
                    <a:pt x="0" y="0"/>
                  </a:lnTo>
                  <a:lnTo>
                    <a:pt x="477877" y="0"/>
                  </a:lnTo>
                </a:path>
              </a:pathLst>
            </a:custGeom>
            <a:ln w="285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65" name="Rectangle 4">
              <a:extLst>
                <a:ext uri="{FF2B5EF4-FFF2-40B4-BE49-F238E27FC236}">
                  <a16:creationId xmlns:a16="http://schemas.microsoft.com/office/drawing/2014/main" id="{8D3C5AD8-EFBC-46D5-B62B-9314F6525889}"/>
                </a:ext>
              </a:extLst>
            </p:cNvPr>
            <p:cNvSpPr/>
            <p:nvPr/>
          </p:nvSpPr>
          <p:spPr bwMode="auto">
            <a:xfrm rot="13500000">
              <a:off x="6299330" y="1769876"/>
              <a:ext cx="202944" cy="202946"/>
            </a:xfrm>
            <a:custGeom>
              <a:avLst/>
              <a:gdLst>
                <a:gd name="connsiteX0" fmla="*/ 0 w 477877"/>
                <a:gd name="connsiteY0" fmla="*/ 0 h 477877"/>
                <a:gd name="connsiteX1" fmla="*/ 477877 w 477877"/>
                <a:gd name="connsiteY1" fmla="*/ 0 h 477877"/>
                <a:gd name="connsiteX2" fmla="*/ 477877 w 477877"/>
                <a:gd name="connsiteY2" fmla="*/ 477877 h 477877"/>
                <a:gd name="connsiteX3" fmla="*/ 0 w 477877"/>
                <a:gd name="connsiteY3" fmla="*/ 477877 h 477877"/>
                <a:gd name="connsiteX4" fmla="*/ 0 w 477877"/>
                <a:gd name="connsiteY4" fmla="*/ 0 h 477877"/>
                <a:gd name="connsiteX0" fmla="*/ 477877 w 569317"/>
                <a:gd name="connsiteY0" fmla="*/ 477877 h 569317"/>
                <a:gd name="connsiteX1" fmla="*/ 0 w 569317"/>
                <a:gd name="connsiteY1" fmla="*/ 477877 h 569317"/>
                <a:gd name="connsiteX2" fmla="*/ 0 w 569317"/>
                <a:gd name="connsiteY2" fmla="*/ 0 h 569317"/>
                <a:gd name="connsiteX3" fmla="*/ 477877 w 569317"/>
                <a:gd name="connsiteY3" fmla="*/ 0 h 569317"/>
                <a:gd name="connsiteX4" fmla="*/ 569317 w 569317"/>
                <a:gd name="connsiteY4" fmla="*/ 569317 h 569317"/>
                <a:gd name="connsiteX0" fmla="*/ 477877 w 477877"/>
                <a:gd name="connsiteY0" fmla="*/ 477877 h 477877"/>
                <a:gd name="connsiteX1" fmla="*/ 0 w 477877"/>
                <a:gd name="connsiteY1" fmla="*/ 477877 h 477877"/>
                <a:gd name="connsiteX2" fmla="*/ 0 w 477877"/>
                <a:gd name="connsiteY2" fmla="*/ 0 h 477877"/>
                <a:gd name="connsiteX3" fmla="*/ 477877 w 477877"/>
                <a:gd name="connsiteY3" fmla="*/ 0 h 477877"/>
                <a:gd name="connsiteX0" fmla="*/ 0 w 477877"/>
                <a:gd name="connsiteY0" fmla="*/ 477877 h 477877"/>
                <a:gd name="connsiteX1" fmla="*/ 0 w 477877"/>
                <a:gd name="connsiteY1" fmla="*/ 0 h 477877"/>
                <a:gd name="connsiteX2" fmla="*/ 477877 w 477877"/>
                <a:gd name="connsiteY2" fmla="*/ 0 h 477877"/>
              </a:gdLst>
              <a:ahLst/>
              <a:cxnLst>
                <a:cxn ang="0">
                  <a:pos x="connsiteX0" y="connsiteY0"/>
                </a:cxn>
                <a:cxn ang="0">
                  <a:pos x="connsiteX1" y="connsiteY1"/>
                </a:cxn>
                <a:cxn ang="0">
                  <a:pos x="connsiteX2" y="connsiteY2"/>
                </a:cxn>
              </a:cxnLst>
              <a:rect l="l" t="t" r="r" b="b"/>
              <a:pathLst>
                <a:path w="477877" h="477877">
                  <a:moveTo>
                    <a:pt x="0" y="477877"/>
                  </a:moveTo>
                  <a:lnTo>
                    <a:pt x="0" y="0"/>
                  </a:lnTo>
                  <a:lnTo>
                    <a:pt x="477877" y="0"/>
                  </a:lnTo>
                </a:path>
              </a:pathLst>
            </a:custGeom>
            <a:ln w="285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Microsoft YaHei" charset="-122"/>
                <a:ea typeface="Microsoft YaHei" charset="-122"/>
                <a:cs typeface="Microsoft YaHei" charset="-122"/>
              </a:endParaRPr>
            </a:p>
          </p:txBody>
        </p:sp>
      </p:grpSp>
      <p:sp>
        <p:nvSpPr>
          <p:cNvPr id="68" name="Text Placeholder 5">
            <a:extLst>
              <a:ext uri="{FF2B5EF4-FFF2-40B4-BE49-F238E27FC236}">
                <a16:creationId xmlns:a16="http://schemas.microsoft.com/office/drawing/2014/main" id="{5174CCF7-7D4D-499B-ACA7-AD37DCEC46FE}"/>
              </a:ext>
            </a:extLst>
          </p:cNvPr>
          <p:cNvSpPr txBox="1">
            <a:spLocks/>
          </p:cNvSpPr>
          <p:nvPr/>
        </p:nvSpPr>
        <p:spPr>
          <a:xfrm>
            <a:off x="532977" y="3336745"/>
            <a:ext cx="5240699" cy="313149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418">
              <a:lnSpc>
                <a:spcPts val="2448"/>
              </a:lnSpc>
              <a:spcBef>
                <a:spcPts val="1224"/>
              </a:spcBef>
              <a:spcAft>
                <a:spcPts val="612"/>
              </a:spcAft>
              <a:buSzTx/>
              <a:buNone/>
              <a:defRPr/>
            </a:pPr>
            <a:r>
              <a:rPr lang="zh-CN" altLang="en-US" sz="2040" dirty="0">
                <a:gradFill>
                  <a:gsLst>
                    <a:gs pos="0">
                      <a:srgbClr val="0078D7"/>
                    </a:gs>
                    <a:gs pos="100000">
                      <a:srgbClr val="0078D7"/>
                    </a:gs>
                  </a:gsLst>
                  <a:lin ang="5400000" scaled="0"/>
                </a:gradFill>
                <a:latin typeface="Microsoft YaHei" charset="-122"/>
                <a:ea typeface="Microsoft YaHei" charset="-122"/>
                <a:cs typeface="Microsoft YaHei" charset="-122"/>
              </a:rPr>
              <a:t>开源的</a:t>
            </a:r>
            <a:r>
              <a:rPr lang="en-US" sz="2040" dirty="0">
                <a:gradFill>
                  <a:gsLst>
                    <a:gs pos="0">
                      <a:srgbClr val="0078D7"/>
                    </a:gs>
                    <a:gs pos="100000">
                      <a:srgbClr val="0078D7"/>
                    </a:gs>
                  </a:gsLst>
                  <a:lin ang="5400000" scaled="0"/>
                </a:gradFill>
                <a:latin typeface="Microsoft YaHei" charset="-122"/>
                <a:ea typeface="Microsoft YaHei" charset="-122"/>
                <a:cs typeface="Microsoft YaHei" charset="-122"/>
              </a:rPr>
              <a:t> </a:t>
            </a:r>
            <a:r>
              <a:rPr lang="en-US" sz="2040" dirty="0">
                <a:gradFill>
                  <a:gsLst>
                    <a:gs pos="0">
                      <a:srgbClr val="0078D7"/>
                    </a:gs>
                    <a:gs pos="100000">
                      <a:srgbClr val="0078D7"/>
                    </a:gs>
                  </a:gsLst>
                  <a:lin ang="5400000" scaled="0"/>
                </a:gradFill>
                <a:latin typeface="Segoe UI" panose="020B0502040204020203" pitchFamily="34" charset="0"/>
                <a:ea typeface="Segoe UI" panose="020B0502040204020203" pitchFamily="34" charset="0"/>
                <a:cs typeface="Segoe UI" panose="020B0502040204020203" pitchFamily="34" charset="0"/>
              </a:rPr>
              <a:t>Azure </a:t>
            </a:r>
            <a:r>
              <a:rPr lang="en-US" sz="2040" dirty="0" err="1">
                <a:gradFill>
                  <a:gsLst>
                    <a:gs pos="0">
                      <a:srgbClr val="0078D7"/>
                    </a:gs>
                    <a:gs pos="100000">
                      <a:srgbClr val="0078D7"/>
                    </a:gs>
                  </a:gsLst>
                  <a:lin ang="5400000" scaled="0"/>
                </a:gradFill>
                <a:latin typeface="Segoe UI" panose="020B0502040204020203" pitchFamily="34" charset="0"/>
                <a:ea typeface="Segoe UI" panose="020B0502040204020203" pitchFamily="34" charset="0"/>
                <a:cs typeface="Segoe UI" panose="020B0502040204020203" pitchFamily="34" charset="0"/>
              </a:rPr>
              <a:t>IoT</a:t>
            </a:r>
            <a:r>
              <a:rPr lang="en-US" sz="2040" dirty="0">
                <a:gradFill>
                  <a:gsLst>
                    <a:gs pos="0">
                      <a:srgbClr val="0078D7"/>
                    </a:gs>
                    <a:gs pos="100000">
                      <a:srgbClr val="0078D7"/>
                    </a:gs>
                  </a:gsLst>
                  <a:lin ang="5400000" scaled="0"/>
                </a:gradFill>
                <a:latin typeface="Segoe UI" panose="020B0502040204020203" pitchFamily="34" charset="0"/>
                <a:ea typeface="Segoe UI" panose="020B0502040204020203" pitchFamily="34" charset="0"/>
                <a:cs typeface="Segoe UI" panose="020B0502040204020203" pitchFamily="34" charset="0"/>
              </a:rPr>
              <a:t> Edge </a:t>
            </a:r>
            <a:r>
              <a:rPr lang="zh-CN" altLang="en-US" sz="2040" dirty="0">
                <a:gradFill>
                  <a:gsLst>
                    <a:gs pos="0">
                      <a:srgbClr val="0078D7"/>
                    </a:gs>
                    <a:gs pos="100000">
                      <a:srgbClr val="0078D7"/>
                    </a:gs>
                  </a:gsLst>
                  <a:lin ang="5400000" scaled="0"/>
                </a:gradFill>
                <a:latin typeface="Microsoft YaHei" charset="-122"/>
                <a:ea typeface="Microsoft YaHei" charset="-122"/>
                <a:cs typeface="Microsoft YaHei" charset="-122"/>
              </a:rPr>
              <a:t>物联网运行时</a:t>
            </a:r>
            <a:br>
              <a:rPr lang="en-US" altLang="zh-CN" sz="2040" dirty="0">
                <a:gradFill>
                  <a:gsLst>
                    <a:gs pos="0">
                      <a:srgbClr val="0078D7"/>
                    </a:gs>
                    <a:gs pos="100000">
                      <a:srgbClr val="0078D7"/>
                    </a:gs>
                  </a:gsLst>
                  <a:lin ang="5400000" scaled="0"/>
                </a:gradFill>
                <a:latin typeface="Microsoft YaHei" charset="-122"/>
                <a:ea typeface="Microsoft YaHei" charset="-122"/>
                <a:cs typeface="Microsoft YaHei" charset="-122"/>
              </a:rPr>
            </a:br>
            <a:r>
              <a:rPr lang="en-US" altLang="zh-CN" sz="1632" dirty="0">
                <a:gradFill>
                  <a:gsLst>
                    <a:gs pos="0">
                      <a:srgbClr val="0078D7"/>
                    </a:gs>
                    <a:gs pos="100000">
                      <a:srgbClr val="0078D7"/>
                    </a:gs>
                  </a:gsLst>
                  <a:lin ang="5400000" scaled="0"/>
                </a:gradFill>
                <a:latin typeface="Microsoft YaHei Light" charset="-122"/>
                <a:ea typeface="Microsoft YaHei Light" charset="-122"/>
                <a:cs typeface="Microsoft YaHei Light" charset="-122"/>
              </a:rPr>
              <a:t>Open source Azure IoT Edge Runtime</a:t>
            </a:r>
          </a:p>
          <a:p>
            <a:pPr marL="0" indent="0" defTabSz="932418">
              <a:lnSpc>
                <a:spcPts val="2448"/>
              </a:lnSpc>
              <a:spcBef>
                <a:spcPts val="1224"/>
              </a:spcBef>
              <a:spcAft>
                <a:spcPts val="612"/>
              </a:spcAft>
              <a:buSzTx/>
              <a:buNone/>
              <a:defRPr/>
            </a:pPr>
            <a:r>
              <a:rPr lang="zh-CN" altLang="en-US" sz="2040" dirty="0">
                <a:gradFill>
                  <a:gsLst>
                    <a:gs pos="0">
                      <a:srgbClr val="0078D7"/>
                    </a:gs>
                    <a:gs pos="100000">
                      <a:srgbClr val="0078D7"/>
                    </a:gs>
                  </a:gsLst>
                  <a:lin ang="5400000" scaled="0"/>
                </a:gradFill>
                <a:latin typeface="Microsoft YaHei" charset="-122"/>
                <a:ea typeface="Microsoft YaHei" charset="-122"/>
                <a:cs typeface="Microsoft YaHei" charset="-122"/>
              </a:rPr>
              <a:t>人工智能开发工具</a:t>
            </a:r>
            <a:br>
              <a:rPr lang="en-US" altLang="zh-CN" sz="2040" dirty="0">
                <a:gradFill>
                  <a:gsLst>
                    <a:gs pos="0">
                      <a:srgbClr val="0078D7"/>
                    </a:gs>
                    <a:gs pos="100000">
                      <a:srgbClr val="0078D7"/>
                    </a:gs>
                  </a:gsLst>
                  <a:lin ang="5400000" scaled="0"/>
                </a:gradFill>
                <a:latin typeface="Microsoft YaHei" charset="-122"/>
                <a:ea typeface="Microsoft YaHei" charset="-122"/>
                <a:cs typeface="Microsoft YaHei" charset="-122"/>
              </a:rPr>
            </a:br>
            <a:r>
              <a:rPr lang="en-US" altLang="zh-CN" sz="1632" dirty="0">
                <a:gradFill>
                  <a:gsLst>
                    <a:gs pos="0">
                      <a:srgbClr val="0078D7"/>
                    </a:gs>
                    <a:gs pos="100000">
                      <a:srgbClr val="0078D7"/>
                    </a:gs>
                  </a:gsLst>
                  <a:lin ang="5400000" scaled="0"/>
                </a:gradFill>
                <a:latin typeface="Microsoft YaHei Light" charset="-122"/>
                <a:ea typeface="Microsoft YaHei Light" charset="-122"/>
                <a:cs typeface="Microsoft YaHei Light" charset="-122"/>
              </a:rPr>
              <a:t>AI development tools</a:t>
            </a:r>
          </a:p>
        </p:txBody>
      </p:sp>
    </p:spTree>
    <p:extLst>
      <p:ext uri="{BB962C8B-B14F-4D97-AF65-F5344CB8AC3E}">
        <p14:creationId xmlns:p14="http://schemas.microsoft.com/office/powerpoint/2010/main" val="4208821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42" presetClass="path" presetSubtype="0" decel="100000" fill="hold" nodeType="withEffect">
                                  <p:stCondLst>
                                    <p:cond delay="0"/>
                                  </p:stCondLst>
                                  <p:childTnLst>
                                    <p:animMotion origin="layout" path="M 0 -2.59259E-6 L 0 0.0544 " pathEditMode="relative" rAng="0" ptsTypes="AA">
                                      <p:cBhvr>
                                        <p:cTn id="9" dur="500" spd="-100000" fill="hold"/>
                                        <p:tgtEl>
                                          <p:spTgt spid="32"/>
                                        </p:tgtEl>
                                        <p:attrNameLst>
                                          <p:attrName>ppt_x</p:attrName>
                                          <p:attrName>ppt_y</p:attrName>
                                        </p:attrNameLst>
                                      </p:cBhvr>
                                      <p:rCtr x="0" y="2708"/>
                                    </p:animMotion>
                                  </p:childTnLst>
                                </p:cTn>
                              </p:par>
                              <p:par>
                                <p:cTn id="10" presetID="10" presetClass="entr" presetSubtype="0" fill="hold" grpId="0" nodeType="withEffect">
                                  <p:stCondLst>
                                    <p:cond delay="50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par>
                                <p:cTn id="13" presetID="10" presetClass="entr" presetSubtype="0" fill="hold" nodeType="withEffect">
                                  <p:stCondLst>
                                    <p:cond delay="500"/>
                                  </p:stCondLst>
                                  <p:childTnLst>
                                    <p:set>
                                      <p:cBhvr>
                                        <p:cTn id="14" dur="1" fill="hold">
                                          <p:stCondLst>
                                            <p:cond delay="0"/>
                                          </p:stCondLst>
                                        </p:cTn>
                                        <p:tgtEl>
                                          <p:spTgt spid="41"/>
                                        </p:tgtEl>
                                        <p:attrNameLst>
                                          <p:attrName>style.visibility</p:attrName>
                                        </p:attrNameLst>
                                      </p:cBhvr>
                                      <p:to>
                                        <p:strVal val="visible"/>
                                      </p:to>
                                    </p:set>
                                    <p:animEffect transition="in" filter="fade">
                                      <p:cBhvr>
                                        <p:cTn id="15" dur="500"/>
                                        <p:tgtEl>
                                          <p:spTgt spid="41"/>
                                        </p:tgtEl>
                                      </p:cBhvr>
                                    </p:animEffect>
                                  </p:childTnLst>
                                </p:cTn>
                              </p:par>
                              <p:par>
                                <p:cTn id="16" presetID="10" presetClass="entr" presetSubtype="0" fill="hold" nodeType="withEffect">
                                  <p:stCondLst>
                                    <p:cond delay="25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500"/>
                                        <p:tgtEl>
                                          <p:spTgt spid="2"/>
                                        </p:tgtEl>
                                      </p:cBhvr>
                                    </p:animEffect>
                                  </p:childTnLst>
                                </p:cTn>
                              </p:par>
                              <p:par>
                                <p:cTn id="19" presetID="42" presetClass="path" presetSubtype="0" decel="100000" fill="hold" nodeType="withEffect">
                                  <p:stCondLst>
                                    <p:cond delay="250"/>
                                  </p:stCondLst>
                                  <p:childTnLst>
                                    <p:animMotion origin="layout" path="M 0 -2.59259E-6 L 0 0.0544 " pathEditMode="relative" rAng="0" ptsTypes="AA">
                                      <p:cBhvr>
                                        <p:cTn id="20" dur="500" spd="-100000" fill="hold"/>
                                        <p:tgtEl>
                                          <p:spTgt spid="2"/>
                                        </p:tgtEl>
                                        <p:attrNameLst>
                                          <p:attrName>ppt_x</p:attrName>
                                          <p:attrName>ppt_y</p:attrName>
                                        </p:attrNameLst>
                                      </p:cBhvr>
                                      <p:rCtr x="0" y="2708"/>
                                    </p:animMotion>
                                  </p:childTnLst>
                                </p:cTn>
                              </p:par>
                              <p:par>
                                <p:cTn id="21" presetID="10" presetClass="entr" presetSubtype="0" fill="hold" nodeType="withEffect">
                                  <p:stCondLst>
                                    <p:cond delay="300"/>
                                  </p:stCondLst>
                                  <p:childTnLst>
                                    <p:set>
                                      <p:cBhvr>
                                        <p:cTn id="22" dur="1" fill="hold">
                                          <p:stCondLst>
                                            <p:cond delay="0"/>
                                          </p:stCondLst>
                                        </p:cTn>
                                        <p:tgtEl>
                                          <p:spTgt spid="61"/>
                                        </p:tgtEl>
                                        <p:attrNameLst>
                                          <p:attrName>style.visibility</p:attrName>
                                        </p:attrNameLst>
                                      </p:cBhvr>
                                      <p:to>
                                        <p:strVal val="visible"/>
                                      </p:to>
                                    </p:set>
                                    <p:animEffect transition="in" filter="fade">
                                      <p:cBhvr>
                                        <p:cTn id="23" dur="500"/>
                                        <p:tgtEl>
                                          <p:spTgt spid="61"/>
                                        </p:tgtEl>
                                      </p:cBhvr>
                                    </p:animEffect>
                                  </p:childTnLst>
                                </p:cTn>
                              </p:par>
                              <p:par>
                                <p:cTn id="24" presetID="42" presetClass="path" presetSubtype="0" decel="100000" fill="hold" nodeType="withEffect">
                                  <p:stCondLst>
                                    <p:cond delay="300"/>
                                  </p:stCondLst>
                                  <p:childTnLst>
                                    <p:animMotion origin="layout" path="M 0 -2.59259E-6 L 0 0.0544 " pathEditMode="relative" rAng="0" ptsTypes="AA">
                                      <p:cBhvr>
                                        <p:cTn id="25" dur="500" spd="-100000" fill="hold"/>
                                        <p:tgtEl>
                                          <p:spTgt spid="61"/>
                                        </p:tgtEl>
                                        <p:attrNameLst>
                                          <p:attrName>ppt_x</p:attrName>
                                          <p:attrName>ppt_y</p:attrName>
                                        </p:attrNameLst>
                                      </p:cBhvr>
                                      <p:rCtr x="0" y="2708"/>
                                    </p:animMotion>
                                  </p:childTnLst>
                                </p:cTn>
                              </p:par>
                              <p:par>
                                <p:cTn id="26" presetID="10" presetClass="entr" presetSubtype="0" fill="hold" nodeType="withEffect">
                                  <p:stCondLst>
                                    <p:cond delay="350"/>
                                  </p:stCondLst>
                                  <p:childTnLst>
                                    <p:set>
                                      <p:cBhvr>
                                        <p:cTn id="27" dur="1" fill="hold">
                                          <p:stCondLst>
                                            <p:cond delay="0"/>
                                          </p:stCondLst>
                                        </p:cTn>
                                        <p:tgtEl>
                                          <p:spTgt spid="48"/>
                                        </p:tgtEl>
                                        <p:attrNameLst>
                                          <p:attrName>style.visibility</p:attrName>
                                        </p:attrNameLst>
                                      </p:cBhvr>
                                      <p:to>
                                        <p:strVal val="visible"/>
                                      </p:to>
                                    </p:set>
                                    <p:animEffect transition="in" filter="fade">
                                      <p:cBhvr>
                                        <p:cTn id="28" dur="500"/>
                                        <p:tgtEl>
                                          <p:spTgt spid="48"/>
                                        </p:tgtEl>
                                      </p:cBhvr>
                                    </p:animEffect>
                                  </p:childTnLst>
                                </p:cTn>
                              </p:par>
                              <p:par>
                                <p:cTn id="29" presetID="42" presetClass="path" presetSubtype="0" decel="100000" fill="hold" nodeType="withEffect">
                                  <p:stCondLst>
                                    <p:cond delay="350"/>
                                  </p:stCondLst>
                                  <p:childTnLst>
                                    <p:animMotion origin="layout" path="M 0 -2.59259E-6 L 0 0.0544 " pathEditMode="relative" rAng="0" ptsTypes="AA">
                                      <p:cBhvr>
                                        <p:cTn id="30" dur="500" spd="-100000" fill="hold"/>
                                        <p:tgtEl>
                                          <p:spTgt spid="48"/>
                                        </p:tgtEl>
                                        <p:attrNameLst>
                                          <p:attrName>ppt_x</p:attrName>
                                          <p:attrName>ppt_y</p:attrName>
                                        </p:attrNameLst>
                                      </p:cBhvr>
                                      <p:rCtr x="0" y="2708"/>
                                    </p:animMotion>
                                  </p:childTnLst>
                                </p:cTn>
                              </p:par>
                              <p:par>
                                <p:cTn id="31" presetID="10" presetClass="entr" presetSubtype="0" fill="hold" nodeType="withEffect">
                                  <p:stCondLst>
                                    <p:cond delay="40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42" presetClass="path" presetSubtype="0" decel="100000" fill="hold" nodeType="withEffect">
                                  <p:stCondLst>
                                    <p:cond delay="400"/>
                                  </p:stCondLst>
                                  <p:childTnLst>
                                    <p:animMotion origin="layout" path="M 0 -2.59259E-6 L 0 0.0544 " pathEditMode="relative" rAng="0" ptsTypes="AA">
                                      <p:cBhvr>
                                        <p:cTn id="35" dur="500" spd="-100000" fill="hold"/>
                                        <p:tgtEl>
                                          <p:spTgt spid="58"/>
                                        </p:tgtEl>
                                        <p:attrNameLst>
                                          <p:attrName>ppt_x</p:attrName>
                                          <p:attrName>ppt_y</p:attrName>
                                        </p:attrNameLst>
                                      </p:cBhvr>
                                      <p:rCtr x="0" y="2708"/>
                                    </p:animMotion>
                                  </p:childTnLst>
                                </p:cTn>
                              </p:par>
                              <p:par>
                                <p:cTn id="36" presetID="10" presetClass="entr" presetSubtype="0" fill="hold" nodeType="withEffect">
                                  <p:stCondLst>
                                    <p:cond delay="400"/>
                                  </p:stCondLst>
                                  <p:childTnLst>
                                    <p:set>
                                      <p:cBhvr>
                                        <p:cTn id="37" dur="1" fill="hold">
                                          <p:stCondLst>
                                            <p:cond delay="0"/>
                                          </p:stCondLst>
                                        </p:cTn>
                                        <p:tgtEl>
                                          <p:spTgt spid="51"/>
                                        </p:tgtEl>
                                        <p:attrNameLst>
                                          <p:attrName>style.visibility</p:attrName>
                                        </p:attrNameLst>
                                      </p:cBhvr>
                                      <p:to>
                                        <p:strVal val="visible"/>
                                      </p:to>
                                    </p:set>
                                    <p:animEffect transition="in" filter="fade">
                                      <p:cBhvr>
                                        <p:cTn id="38" dur="500"/>
                                        <p:tgtEl>
                                          <p:spTgt spid="51"/>
                                        </p:tgtEl>
                                      </p:cBhvr>
                                    </p:animEffect>
                                  </p:childTnLst>
                                </p:cTn>
                              </p:par>
                              <p:par>
                                <p:cTn id="39" presetID="42" presetClass="path" presetSubtype="0" decel="100000" fill="hold" nodeType="withEffect">
                                  <p:stCondLst>
                                    <p:cond delay="400"/>
                                  </p:stCondLst>
                                  <p:childTnLst>
                                    <p:animMotion origin="layout" path="M 0 -2.59259E-6 L 0 0.0544 " pathEditMode="relative" rAng="0" ptsTypes="AA">
                                      <p:cBhvr>
                                        <p:cTn id="40" dur="500" spd="-100000" fill="hold"/>
                                        <p:tgtEl>
                                          <p:spTgt spid="51"/>
                                        </p:tgtEl>
                                        <p:attrNameLst>
                                          <p:attrName>ppt_x</p:attrName>
                                          <p:attrName>ppt_y</p:attrName>
                                        </p:attrNameLst>
                                      </p:cBhvr>
                                      <p:rCtr x="0" y="2708"/>
                                    </p:animMotion>
                                  </p:childTnLst>
                                </p:cTn>
                              </p:par>
                              <p:par>
                                <p:cTn id="41" presetID="10" presetClass="entr" presetSubtype="0" fill="hold" grpId="0" nodeType="withEffect">
                                  <p:stCondLst>
                                    <p:cond delay="0"/>
                                  </p:stCondLst>
                                  <p:childTnLst>
                                    <p:set>
                                      <p:cBhvr>
                                        <p:cTn id="42" dur="1" fill="hold">
                                          <p:stCondLst>
                                            <p:cond delay="0"/>
                                          </p:stCondLst>
                                        </p:cTn>
                                        <p:tgtEl>
                                          <p:spTgt spid="47"/>
                                        </p:tgtEl>
                                        <p:attrNameLst>
                                          <p:attrName>style.visibility</p:attrName>
                                        </p:attrNameLst>
                                      </p:cBhvr>
                                      <p:to>
                                        <p:strVal val="visible"/>
                                      </p:to>
                                    </p:set>
                                    <p:animEffect transition="in" filter="fade">
                                      <p:cBhvr>
                                        <p:cTn id="43" dur="350"/>
                                        <p:tgtEl>
                                          <p:spTgt spid="47"/>
                                        </p:tgtEl>
                                      </p:cBhvr>
                                    </p:animEffect>
                                  </p:childTnLst>
                                </p:cTn>
                              </p:par>
                              <p:par>
                                <p:cTn id="44" presetID="35" presetClass="path" presetSubtype="0" decel="100000" fill="hold" grpId="1" nodeType="withEffect">
                                  <p:stCondLst>
                                    <p:cond delay="0"/>
                                  </p:stCondLst>
                                  <p:childTnLst>
                                    <p:animMotion origin="layout" path="M 2.91667E-6 -7.40741E-7 L -0.04857 -7.40741E-7 " pathEditMode="relative" rAng="0" ptsTypes="AA">
                                      <p:cBhvr>
                                        <p:cTn id="45" dur="500" spd="-100000" fill="hold"/>
                                        <p:tgtEl>
                                          <p:spTgt spid="47"/>
                                        </p:tgtEl>
                                        <p:attrNameLst>
                                          <p:attrName>ppt_x</p:attrName>
                                          <p:attrName>ppt_y</p:attrName>
                                        </p:attrNameLst>
                                      </p:cBhvr>
                                      <p:rCtr x="-2435" y="0"/>
                                    </p:animMotion>
                                  </p:childTnLst>
                                </p:cTn>
                              </p:par>
                              <p:par>
                                <p:cTn id="46" presetID="10" presetClass="entr" presetSubtype="0" fill="hold" grpId="0" nodeType="withEffect">
                                  <p:stCondLst>
                                    <p:cond delay="100"/>
                                  </p:stCondLst>
                                  <p:childTnLst>
                                    <p:set>
                                      <p:cBhvr>
                                        <p:cTn id="47" dur="1" fill="hold">
                                          <p:stCondLst>
                                            <p:cond delay="0"/>
                                          </p:stCondLst>
                                        </p:cTn>
                                        <p:tgtEl>
                                          <p:spTgt spid="68"/>
                                        </p:tgtEl>
                                        <p:attrNameLst>
                                          <p:attrName>style.visibility</p:attrName>
                                        </p:attrNameLst>
                                      </p:cBhvr>
                                      <p:to>
                                        <p:strVal val="visible"/>
                                      </p:to>
                                    </p:set>
                                    <p:animEffect transition="in" filter="fade">
                                      <p:cBhvr>
                                        <p:cTn id="48" dur="500"/>
                                        <p:tgtEl>
                                          <p:spTgt spid="68"/>
                                        </p:tgtEl>
                                      </p:cBhvr>
                                    </p:animEffect>
                                  </p:childTnLst>
                                </p:cTn>
                              </p:par>
                              <p:par>
                                <p:cTn id="49" presetID="42" presetClass="path" presetSubtype="0" decel="100000" fill="hold" grpId="1" nodeType="withEffect">
                                  <p:stCondLst>
                                    <p:cond delay="100"/>
                                  </p:stCondLst>
                                  <p:childTnLst>
                                    <p:animMotion origin="layout" path="M 0 -2.59259E-6 L 0 0.0544 " pathEditMode="relative" rAng="0" ptsTypes="AA">
                                      <p:cBhvr>
                                        <p:cTn id="50" dur="500" spd="-100000" fill="hold"/>
                                        <p:tgtEl>
                                          <p:spTgt spid="68"/>
                                        </p:tgtEl>
                                        <p:attrNameLst>
                                          <p:attrName>ppt_x</p:attrName>
                                          <p:attrName>ppt_y</p:attrName>
                                        </p:attrNameLst>
                                      </p:cBhvr>
                                      <p:rCtr x="0" y="270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47" grpId="0"/>
      <p:bldP spid="47" grpId="1"/>
      <p:bldP spid="68" grpId="0"/>
      <p:bldP spid="68"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19AED9A6-A524-445C-9489-B1836E628FCD}"/>
              </a:ext>
            </a:extLst>
          </p:cNvPr>
          <p:cNvSpPr/>
          <p:nvPr/>
        </p:nvSpPr>
        <p:spPr>
          <a:xfrm>
            <a:off x="273983" y="267823"/>
            <a:ext cx="11380967" cy="734534"/>
          </a:xfrm>
          <a:prstGeom prst="rect">
            <a:avLst/>
          </a:prstGeom>
        </p:spPr>
        <p:txBody>
          <a:bodyPr wrap="none">
            <a:spAutoFit/>
          </a:bodyPr>
          <a:lstStyle/>
          <a:p>
            <a:pPr defTabSz="932597">
              <a:defRPr/>
            </a:pPr>
            <a:r>
              <a:rPr lang="zh-CN" altLang="en-US" sz="4080" dirty="0">
                <a:solidFill>
                  <a:prstClr val="white"/>
                </a:solidFill>
                <a:latin typeface="微软雅黑" panose="020B0503020204020204" pitchFamily="34" charset="-122"/>
                <a:ea typeface="微软雅黑" panose="020B0503020204020204" pitchFamily="34" charset="-122"/>
              </a:rPr>
              <a:t>微软云，为即将到来的工业物联提供完备的工具</a:t>
            </a:r>
          </a:p>
        </p:txBody>
      </p:sp>
      <p:sp>
        <p:nvSpPr>
          <p:cNvPr id="4" name="TextBox 3">
            <a:extLst>
              <a:ext uri="{FF2B5EF4-FFF2-40B4-BE49-F238E27FC236}">
                <a16:creationId xmlns:a16="http://schemas.microsoft.com/office/drawing/2014/main" id="{B811C0A1-50AC-414E-8E50-53FD7EEEE9A1}"/>
              </a:ext>
            </a:extLst>
          </p:cNvPr>
          <p:cNvSpPr txBox="1"/>
          <p:nvPr/>
        </p:nvSpPr>
        <p:spPr>
          <a:xfrm>
            <a:off x="3352208" y="2257750"/>
            <a:ext cx="2184057" cy="674057"/>
          </a:xfrm>
          <a:prstGeom prst="rect">
            <a:avLst/>
          </a:prstGeom>
          <a:solidFill>
            <a:schemeClr val="bg1"/>
          </a:solidFill>
          <a:ln w="38100">
            <a:solidFill>
              <a:srgbClr val="D83B01"/>
            </a:solidFill>
          </a:ln>
        </p:spPr>
        <p:txBody>
          <a:bodyPr wrap="square" lIns="0" tIns="0" rIns="0" bIns="0" rtlCol="0" anchor="ctr" anchorCtr="1">
            <a:noAutofit/>
          </a:bodyPr>
          <a:lstStyle>
            <a:defPPr>
              <a:defRPr lang="en-US"/>
            </a:defPPr>
            <a:lvl1pPr algn="ctr">
              <a:lnSpc>
                <a:spcPct val="90000"/>
              </a:lnSpc>
              <a:spcAft>
                <a:spcPts val="600"/>
              </a:spcAft>
              <a:defRPr sz="1600" b="1">
                <a:solidFill>
                  <a:srgbClr val="C00000"/>
                </a:solidFill>
              </a:defRPr>
            </a:lvl1pPr>
          </a:lstStyle>
          <a:p>
            <a:pPr defTabSz="950573">
              <a:spcAft>
                <a:spcPts val="612"/>
              </a:spcAft>
              <a:defRPr/>
            </a:pPr>
            <a:r>
              <a:rPr lang="zh-CN" altLang="en-US" sz="1630" b="0" kern="0" dirty="0">
                <a:solidFill>
                  <a:prstClr val="black"/>
                </a:solidFill>
                <a:latin typeface="微软雅黑" panose="020B0503020204020204" pitchFamily="34" charset="-122"/>
                <a:ea typeface="微软雅黑" panose="020B0503020204020204" pitchFamily="34" charset="-122"/>
              </a:rPr>
              <a:t>数据采集</a:t>
            </a:r>
            <a:endParaRPr lang="en-US" sz="1630" b="0" kern="0" dirty="0" err="1">
              <a:solidFill>
                <a:prstClr val="black"/>
              </a:solidFill>
              <a:latin typeface="微软雅黑" panose="020B0503020204020204" pitchFamily="34" charset="-122"/>
              <a:ea typeface="微软雅黑" panose="020B0503020204020204" pitchFamily="34" charset="-122"/>
            </a:endParaRPr>
          </a:p>
        </p:txBody>
      </p:sp>
      <p:sp>
        <p:nvSpPr>
          <p:cNvPr id="5" name="TextBox 87">
            <a:extLst>
              <a:ext uri="{FF2B5EF4-FFF2-40B4-BE49-F238E27FC236}">
                <a16:creationId xmlns:a16="http://schemas.microsoft.com/office/drawing/2014/main" id="{E5E6351B-E145-4BC7-88D4-5C628133B317}"/>
              </a:ext>
            </a:extLst>
          </p:cNvPr>
          <p:cNvSpPr txBox="1"/>
          <p:nvPr/>
        </p:nvSpPr>
        <p:spPr>
          <a:xfrm>
            <a:off x="5654535" y="2485669"/>
            <a:ext cx="1062310" cy="230243"/>
          </a:xfrm>
          <a:prstGeom prst="rect">
            <a:avLst/>
          </a:prstGeom>
          <a:solidFill>
            <a:schemeClr val="bg1"/>
          </a:solidFill>
          <a:ln w="38100">
            <a:solidFill>
              <a:srgbClr val="D83B01"/>
            </a:solidFill>
          </a:ln>
        </p:spPr>
        <p:txBody>
          <a:bodyPr wrap="square" lIns="0" tIns="0" rIns="0" bIns="0" rtlCol="0" anchor="ctr" anchorCtr="1">
            <a:spAutoFit/>
          </a:bodyPr>
          <a:lstStyle>
            <a:defPPr>
              <a:defRPr lang="en-US"/>
            </a:defPPr>
            <a:lvl1pPr algn="ctr">
              <a:lnSpc>
                <a:spcPct val="90000"/>
              </a:lnSpc>
              <a:spcAft>
                <a:spcPts val="600"/>
              </a:spcAft>
              <a:defRPr sz="1600" b="1">
                <a:solidFill>
                  <a:srgbClr val="C00000"/>
                </a:solidFill>
              </a:defRPr>
            </a:lvl1pPr>
          </a:lstStyle>
          <a:p>
            <a:pPr defTabSz="950573">
              <a:spcAft>
                <a:spcPts val="612"/>
              </a:spcAft>
              <a:defRPr/>
            </a:pPr>
            <a:r>
              <a:rPr lang="zh-CN" altLang="en-US" sz="1630" b="0" kern="0" dirty="0">
                <a:solidFill>
                  <a:prstClr val="black"/>
                </a:solidFill>
                <a:latin typeface="微软雅黑" panose="020B0503020204020204" pitchFamily="34" charset="-122"/>
                <a:ea typeface="微软雅黑" panose="020B0503020204020204" pitchFamily="34" charset="-122"/>
              </a:rPr>
              <a:t>数据过滤</a:t>
            </a:r>
            <a:endParaRPr lang="en-US" sz="1630" b="0" kern="0" dirty="0" err="1">
              <a:solidFill>
                <a:prstClr val="black"/>
              </a:solidFill>
              <a:latin typeface="微软雅黑" panose="020B0503020204020204" pitchFamily="34" charset="-122"/>
              <a:ea typeface="微软雅黑" panose="020B0503020204020204" pitchFamily="34" charset="-122"/>
            </a:endParaRPr>
          </a:p>
        </p:txBody>
      </p:sp>
      <p:sp>
        <p:nvSpPr>
          <p:cNvPr id="6" name="TextBox 88">
            <a:extLst>
              <a:ext uri="{FF2B5EF4-FFF2-40B4-BE49-F238E27FC236}">
                <a16:creationId xmlns:a16="http://schemas.microsoft.com/office/drawing/2014/main" id="{8C851619-7968-4149-8DE7-0324C59895D3}"/>
              </a:ext>
            </a:extLst>
          </p:cNvPr>
          <p:cNvSpPr txBox="1"/>
          <p:nvPr/>
        </p:nvSpPr>
        <p:spPr>
          <a:xfrm>
            <a:off x="6835113" y="2488757"/>
            <a:ext cx="1561286" cy="230243"/>
          </a:xfrm>
          <a:prstGeom prst="rect">
            <a:avLst/>
          </a:prstGeom>
          <a:solidFill>
            <a:schemeClr val="bg1"/>
          </a:solidFill>
          <a:ln w="38100">
            <a:solidFill>
              <a:srgbClr val="D83B01"/>
            </a:solidFill>
          </a:ln>
        </p:spPr>
        <p:txBody>
          <a:bodyPr wrap="square" lIns="0" tIns="0" rIns="0" bIns="0" rtlCol="0" anchor="ctr" anchorCtr="1">
            <a:spAutoFit/>
          </a:bodyPr>
          <a:lstStyle>
            <a:defPPr>
              <a:defRPr lang="en-US"/>
            </a:defPPr>
            <a:lvl1pPr algn="ctr" defTabSz="914192">
              <a:lnSpc>
                <a:spcPct val="90000"/>
              </a:lnSpc>
              <a:spcAft>
                <a:spcPts val="588"/>
              </a:spcAft>
              <a:defRPr sz="1567" b="1" kern="0">
                <a:solidFill>
                  <a:srgbClr val="C00000"/>
                </a:solidFill>
                <a:latin typeface="Segoe UI"/>
              </a:defRPr>
            </a:lvl1pPr>
          </a:lstStyle>
          <a:p>
            <a:pPr defTabSz="950573">
              <a:spcAft>
                <a:spcPts val="599"/>
              </a:spcAft>
              <a:defRPr/>
            </a:pPr>
            <a:r>
              <a:rPr lang="zh-CN" altLang="en-US" sz="1630" b="0" dirty="0">
                <a:solidFill>
                  <a:prstClr val="black"/>
                </a:solidFill>
                <a:latin typeface="微软雅黑" panose="020B0503020204020204" pitchFamily="34" charset="-122"/>
                <a:ea typeface="微软雅黑" panose="020B0503020204020204" pitchFamily="34" charset="-122"/>
              </a:rPr>
              <a:t>数据存储</a:t>
            </a:r>
            <a:endParaRPr lang="en-US" sz="1630" b="0" dirty="0" err="1">
              <a:solidFill>
                <a:prstClr val="black"/>
              </a:solidFill>
              <a:latin typeface="微软雅黑" panose="020B0503020204020204" pitchFamily="34" charset="-122"/>
              <a:ea typeface="微软雅黑" panose="020B0503020204020204" pitchFamily="34" charset="-122"/>
            </a:endParaRPr>
          </a:p>
        </p:txBody>
      </p:sp>
      <p:sp>
        <p:nvSpPr>
          <p:cNvPr id="7" name="TextBox 90">
            <a:extLst>
              <a:ext uri="{FF2B5EF4-FFF2-40B4-BE49-F238E27FC236}">
                <a16:creationId xmlns:a16="http://schemas.microsoft.com/office/drawing/2014/main" id="{8B8823FA-65E0-4865-AA2F-42E553153F6D}"/>
              </a:ext>
            </a:extLst>
          </p:cNvPr>
          <p:cNvSpPr txBox="1"/>
          <p:nvPr/>
        </p:nvSpPr>
        <p:spPr>
          <a:xfrm>
            <a:off x="8632938" y="2473613"/>
            <a:ext cx="1875943" cy="230243"/>
          </a:xfrm>
          <a:prstGeom prst="rect">
            <a:avLst/>
          </a:prstGeom>
          <a:solidFill>
            <a:schemeClr val="bg1"/>
          </a:solidFill>
          <a:ln w="38100">
            <a:solidFill>
              <a:schemeClr val="tx1">
                <a:lumMod val="50000"/>
                <a:lumOff val="50000"/>
              </a:schemeClr>
            </a:solidFill>
          </a:ln>
        </p:spPr>
        <p:txBody>
          <a:bodyPr wrap="square" lIns="0" tIns="0" rIns="0" bIns="0" rtlCol="0" anchor="ctr" anchorCtr="1">
            <a:spAutoFit/>
          </a:bodyPr>
          <a:lstStyle>
            <a:defPPr>
              <a:defRPr lang="en-US"/>
            </a:defPPr>
            <a:lvl1pPr algn="ctr" defTabSz="914192">
              <a:lnSpc>
                <a:spcPct val="90000"/>
              </a:lnSpc>
              <a:spcAft>
                <a:spcPts val="588"/>
              </a:spcAft>
              <a:defRPr sz="1567" b="1" kern="0">
                <a:solidFill>
                  <a:srgbClr val="C00000"/>
                </a:solidFill>
                <a:latin typeface="Segoe UI"/>
              </a:defRPr>
            </a:lvl1pPr>
          </a:lstStyle>
          <a:p>
            <a:pPr defTabSz="950573">
              <a:spcAft>
                <a:spcPts val="599"/>
              </a:spcAft>
              <a:defRPr/>
            </a:pPr>
            <a:r>
              <a:rPr lang="zh-CN" altLang="en-US" sz="1630" b="0" dirty="0">
                <a:solidFill>
                  <a:prstClr val="black"/>
                </a:solidFill>
                <a:latin typeface="微软雅黑" panose="020B0503020204020204" pitchFamily="34" charset="-122"/>
                <a:ea typeface="微软雅黑" panose="020B0503020204020204" pitchFamily="34" charset="-122"/>
              </a:rPr>
              <a:t>数据分析</a:t>
            </a:r>
            <a:endParaRPr lang="en-US" sz="1630" b="0" dirty="0" err="1">
              <a:solidFill>
                <a:prstClr val="black"/>
              </a:solidFill>
              <a:latin typeface="微软雅黑" panose="020B0503020204020204" pitchFamily="34" charset="-122"/>
              <a:ea typeface="微软雅黑" panose="020B0503020204020204" pitchFamily="34" charset="-122"/>
            </a:endParaRPr>
          </a:p>
        </p:txBody>
      </p:sp>
      <p:sp>
        <p:nvSpPr>
          <p:cNvPr id="8" name="TextBox 91">
            <a:extLst>
              <a:ext uri="{FF2B5EF4-FFF2-40B4-BE49-F238E27FC236}">
                <a16:creationId xmlns:a16="http://schemas.microsoft.com/office/drawing/2014/main" id="{B5688821-C432-4025-BF5A-3057DEEB7823}"/>
              </a:ext>
            </a:extLst>
          </p:cNvPr>
          <p:cNvSpPr txBox="1"/>
          <p:nvPr/>
        </p:nvSpPr>
        <p:spPr>
          <a:xfrm>
            <a:off x="1716097" y="2270476"/>
            <a:ext cx="1424489" cy="674057"/>
          </a:xfrm>
          <a:prstGeom prst="rect">
            <a:avLst/>
          </a:prstGeom>
          <a:solidFill>
            <a:schemeClr val="bg1"/>
          </a:solidFill>
          <a:ln w="38100">
            <a:solidFill>
              <a:srgbClr val="7030A0"/>
            </a:solidFill>
          </a:ln>
        </p:spPr>
        <p:txBody>
          <a:bodyPr wrap="square" lIns="0" tIns="0" rIns="0" bIns="0" rtlCol="0" anchor="ctr" anchorCtr="1">
            <a:noAutofit/>
          </a:bodyPr>
          <a:lstStyle>
            <a:defPPr>
              <a:defRPr lang="en-US"/>
            </a:defPPr>
            <a:lvl1pPr algn="ctr" defTabSz="914192">
              <a:lnSpc>
                <a:spcPct val="90000"/>
              </a:lnSpc>
              <a:spcAft>
                <a:spcPts val="588"/>
              </a:spcAft>
              <a:defRPr sz="1567" b="1" kern="0">
                <a:solidFill>
                  <a:srgbClr val="0070C0"/>
                </a:solidFill>
                <a:latin typeface="Segoe UI"/>
              </a:defRPr>
            </a:lvl1pPr>
          </a:lstStyle>
          <a:p>
            <a:pPr defTabSz="950573">
              <a:spcAft>
                <a:spcPts val="599"/>
              </a:spcAft>
              <a:defRPr/>
            </a:pPr>
            <a:r>
              <a:rPr lang="zh-CN" altLang="en-US" sz="1630" b="0" dirty="0">
                <a:solidFill>
                  <a:prstClr val="black"/>
                </a:solidFill>
                <a:latin typeface="微软雅黑" panose="020B0503020204020204" pitchFamily="34" charset="-122"/>
                <a:ea typeface="微软雅黑" panose="020B0503020204020204" pitchFamily="34" charset="-122"/>
              </a:rPr>
              <a:t>数据接入</a:t>
            </a:r>
            <a:endParaRPr lang="en-US" sz="1630" b="0" dirty="0" err="1">
              <a:solidFill>
                <a:prstClr val="black"/>
              </a:solidFill>
              <a:latin typeface="微软雅黑" panose="020B0503020204020204" pitchFamily="34" charset="-122"/>
              <a:ea typeface="微软雅黑" panose="020B0503020204020204" pitchFamily="34" charset="-122"/>
            </a:endParaRPr>
          </a:p>
        </p:txBody>
      </p:sp>
      <p:sp>
        <p:nvSpPr>
          <p:cNvPr id="9" name="TextBox 109">
            <a:extLst>
              <a:ext uri="{FF2B5EF4-FFF2-40B4-BE49-F238E27FC236}">
                <a16:creationId xmlns:a16="http://schemas.microsoft.com/office/drawing/2014/main" id="{6D42CDD1-0672-445F-8CCF-3F7C3707A861}"/>
              </a:ext>
            </a:extLst>
          </p:cNvPr>
          <p:cNvSpPr txBox="1"/>
          <p:nvPr/>
        </p:nvSpPr>
        <p:spPr>
          <a:xfrm>
            <a:off x="10723782" y="2248593"/>
            <a:ext cx="1609634" cy="674057"/>
          </a:xfrm>
          <a:prstGeom prst="rect">
            <a:avLst/>
          </a:prstGeom>
          <a:solidFill>
            <a:schemeClr val="bg1"/>
          </a:solidFill>
          <a:ln w="38100">
            <a:solidFill>
              <a:srgbClr val="00B050"/>
            </a:solidFill>
          </a:ln>
        </p:spPr>
        <p:txBody>
          <a:bodyPr wrap="square" lIns="0" tIns="0" rIns="0" bIns="0" rtlCol="0" anchor="ctr" anchorCtr="1">
            <a:noAutofit/>
          </a:bodyPr>
          <a:lstStyle>
            <a:defPPr>
              <a:defRPr lang="en-US"/>
            </a:defPPr>
            <a:lvl1pPr algn="ctr" defTabSz="914192">
              <a:lnSpc>
                <a:spcPct val="90000"/>
              </a:lnSpc>
              <a:spcAft>
                <a:spcPts val="588"/>
              </a:spcAft>
              <a:defRPr sz="1567" b="1" kern="0">
                <a:solidFill>
                  <a:srgbClr val="C00000"/>
                </a:solidFill>
                <a:latin typeface="Segoe UI"/>
              </a:defRPr>
            </a:lvl1pPr>
          </a:lstStyle>
          <a:p>
            <a:pPr defTabSz="950573">
              <a:spcAft>
                <a:spcPts val="599"/>
              </a:spcAft>
              <a:defRPr/>
            </a:pPr>
            <a:r>
              <a:rPr lang="zh-CN" altLang="en-US" sz="1630" b="0" dirty="0">
                <a:solidFill>
                  <a:prstClr val="black"/>
                </a:solidFill>
                <a:latin typeface="微软雅黑" panose="020B0503020204020204" pitchFamily="34" charset="-122"/>
                <a:ea typeface="微软雅黑" panose="020B0503020204020204" pitchFamily="34" charset="-122"/>
              </a:rPr>
              <a:t>用户端</a:t>
            </a:r>
            <a:endParaRPr lang="en-US" sz="1630" b="0" dirty="0" err="1">
              <a:solidFill>
                <a:prstClr val="black"/>
              </a:solidFill>
              <a:latin typeface="微软雅黑" panose="020B0503020204020204" pitchFamily="34" charset="-122"/>
              <a:ea typeface="微软雅黑" panose="020B0503020204020204" pitchFamily="34" charset="-122"/>
            </a:endParaRPr>
          </a:p>
        </p:txBody>
      </p:sp>
      <p:sp>
        <p:nvSpPr>
          <p:cNvPr id="10" name="Rectangle 89">
            <a:extLst>
              <a:ext uri="{FF2B5EF4-FFF2-40B4-BE49-F238E27FC236}">
                <a16:creationId xmlns:a16="http://schemas.microsoft.com/office/drawing/2014/main" id="{8DE7C09D-7C8D-417D-B26D-1D80D1811C50}"/>
              </a:ext>
            </a:extLst>
          </p:cNvPr>
          <p:cNvSpPr/>
          <p:nvPr/>
        </p:nvSpPr>
        <p:spPr>
          <a:xfrm>
            <a:off x="1716098" y="948937"/>
            <a:ext cx="1424488" cy="1263084"/>
          </a:xfrm>
          <a:prstGeom prst="rect">
            <a:avLst/>
          </a:pr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112343" tIns="93221" rtlCol="0" anchor="ctr"/>
          <a:lstStyle/>
          <a:p>
            <a:pPr algn="ctr" defTabSz="951121">
              <a:defRPr/>
            </a:pPr>
            <a:r>
              <a:rPr lang="zh-CN" altLang="en-US" sz="2081" b="1" dirty="0">
                <a:solidFill>
                  <a:srgbClr val="FFFFFF"/>
                </a:solidFill>
                <a:latin typeface="微软雅黑" panose="020B0503020204020204" pitchFamily="34" charset="-122"/>
                <a:ea typeface="微软雅黑" panose="020B0503020204020204" pitchFamily="34" charset="-122"/>
              </a:rPr>
              <a:t>连接</a:t>
            </a:r>
            <a:endParaRPr lang="en-US" sz="2081" b="1" dirty="0">
              <a:solidFill>
                <a:srgbClr val="FFFFFF"/>
              </a:solidFill>
              <a:latin typeface="微软雅黑" panose="020B0503020204020204" pitchFamily="34" charset="-122"/>
              <a:ea typeface="微软雅黑" panose="020B0503020204020204" pitchFamily="34" charset="-122"/>
            </a:endParaRPr>
          </a:p>
        </p:txBody>
      </p:sp>
      <p:sp>
        <p:nvSpPr>
          <p:cNvPr id="11" name="Rectangle 112">
            <a:extLst>
              <a:ext uri="{FF2B5EF4-FFF2-40B4-BE49-F238E27FC236}">
                <a16:creationId xmlns:a16="http://schemas.microsoft.com/office/drawing/2014/main" id="{FE4E38F3-0385-4CD7-BB37-9C4C49C37824}"/>
              </a:ext>
            </a:extLst>
          </p:cNvPr>
          <p:cNvSpPr/>
          <p:nvPr/>
        </p:nvSpPr>
        <p:spPr>
          <a:xfrm>
            <a:off x="3332946" y="948937"/>
            <a:ext cx="5074646" cy="1263084"/>
          </a:xfrm>
          <a:prstGeom prst="rect">
            <a:avLst/>
          </a:pr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186441" tIns="93221" rtlCol="0" anchor="ctr"/>
          <a:lstStyle/>
          <a:p>
            <a:pPr algn="ctr" defTabSz="951121">
              <a:defRPr/>
            </a:pPr>
            <a:r>
              <a:rPr lang="zh-CN" altLang="en-US" sz="2081" b="1" dirty="0">
                <a:solidFill>
                  <a:srgbClr val="FFFFFF"/>
                </a:solidFill>
                <a:latin typeface="微软雅黑" panose="020B0503020204020204" pitchFamily="34" charset="-122"/>
                <a:ea typeface="微软雅黑" panose="020B0503020204020204" pitchFamily="34" charset="-122"/>
              </a:rPr>
              <a:t>数据</a:t>
            </a:r>
            <a:endParaRPr lang="en-US" sz="2081" b="1" dirty="0">
              <a:solidFill>
                <a:srgbClr val="FFFFFF"/>
              </a:solidFill>
              <a:latin typeface="微软雅黑" panose="020B0503020204020204" pitchFamily="34" charset="-122"/>
              <a:ea typeface="微软雅黑" panose="020B0503020204020204" pitchFamily="34" charset="-122"/>
            </a:endParaRPr>
          </a:p>
        </p:txBody>
      </p:sp>
      <p:sp>
        <p:nvSpPr>
          <p:cNvPr id="12" name="Rectangle 118">
            <a:extLst>
              <a:ext uri="{FF2B5EF4-FFF2-40B4-BE49-F238E27FC236}">
                <a16:creationId xmlns:a16="http://schemas.microsoft.com/office/drawing/2014/main" id="{78C1391D-701A-4360-8192-1FD42E2B9117}"/>
              </a:ext>
            </a:extLst>
          </p:cNvPr>
          <p:cNvSpPr/>
          <p:nvPr/>
        </p:nvSpPr>
        <p:spPr>
          <a:xfrm>
            <a:off x="8632939" y="948937"/>
            <a:ext cx="1875941" cy="1257957"/>
          </a:xfrm>
          <a:prstGeom prst="rect">
            <a:avLst/>
          </a:pr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74895" tIns="93221" rtlCol="0" anchor="ctr"/>
          <a:lstStyle/>
          <a:p>
            <a:pPr algn="ctr" defTabSz="951121">
              <a:defRPr/>
            </a:pPr>
            <a:r>
              <a:rPr lang="zh-CN" altLang="en-US" sz="2081" b="1" dirty="0">
                <a:solidFill>
                  <a:srgbClr val="FFFFFF"/>
                </a:solidFill>
                <a:latin typeface="微软雅黑" panose="020B0503020204020204" pitchFamily="34" charset="-122"/>
                <a:ea typeface="微软雅黑" panose="020B0503020204020204" pitchFamily="34" charset="-122"/>
              </a:rPr>
              <a:t>分析</a:t>
            </a:r>
            <a:endParaRPr lang="en-US" sz="2081" b="1" dirty="0">
              <a:solidFill>
                <a:srgbClr val="FFFFFF"/>
              </a:solidFill>
              <a:latin typeface="微软雅黑" panose="020B0503020204020204" pitchFamily="34" charset="-122"/>
              <a:ea typeface="微软雅黑" panose="020B0503020204020204" pitchFamily="34" charset="-122"/>
            </a:endParaRPr>
          </a:p>
        </p:txBody>
      </p:sp>
      <p:sp>
        <p:nvSpPr>
          <p:cNvPr id="13" name="Rectangle 119">
            <a:extLst>
              <a:ext uri="{FF2B5EF4-FFF2-40B4-BE49-F238E27FC236}">
                <a16:creationId xmlns:a16="http://schemas.microsoft.com/office/drawing/2014/main" id="{57E650DF-F8DC-4601-9EDD-E4C95A9D1F54}"/>
              </a:ext>
            </a:extLst>
          </p:cNvPr>
          <p:cNvSpPr/>
          <p:nvPr/>
        </p:nvSpPr>
        <p:spPr>
          <a:xfrm>
            <a:off x="227652" y="948937"/>
            <a:ext cx="1360432" cy="1263084"/>
          </a:xfrm>
          <a:prstGeom prst="rect">
            <a:avLst/>
          </a:pr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112343" tIns="93221" rtlCol="0" anchor="ctr"/>
          <a:lstStyle/>
          <a:p>
            <a:pPr algn="ctr" defTabSz="951121">
              <a:defRPr/>
            </a:pPr>
            <a:r>
              <a:rPr lang="zh-CN" altLang="en-US" sz="2081" b="1" dirty="0">
                <a:solidFill>
                  <a:srgbClr val="FFFFFF"/>
                </a:solidFill>
                <a:latin typeface="微软雅黑" panose="020B0503020204020204" pitchFamily="34" charset="-122"/>
                <a:ea typeface="微软雅黑" panose="020B0503020204020204" pitchFamily="34" charset="-122"/>
              </a:rPr>
              <a:t>设备</a:t>
            </a:r>
            <a:endParaRPr lang="en-US" sz="2081" b="1" dirty="0">
              <a:solidFill>
                <a:srgbClr val="FFFFFF"/>
              </a:solidFill>
              <a:latin typeface="微软雅黑" panose="020B0503020204020204" pitchFamily="34" charset="-122"/>
              <a:ea typeface="微软雅黑" panose="020B0503020204020204" pitchFamily="34" charset="-122"/>
            </a:endParaRPr>
          </a:p>
        </p:txBody>
      </p:sp>
      <p:sp>
        <p:nvSpPr>
          <p:cNvPr id="14" name="Rectangle 120">
            <a:extLst>
              <a:ext uri="{FF2B5EF4-FFF2-40B4-BE49-F238E27FC236}">
                <a16:creationId xmlns:a16="http://schemas.microsoft.com/office/drawing/2014/main" id="{6CD9846F-455D-4358-A2AF-168953784D03}"/>
              </a:ext>
            </a:extLst>
          </p:cNvPr>
          <p:cNvSpPr/>
          <p:nvPr/>
        </p:nvSpPr>
        <p:spPr>
          <a:xfrm>
            <a:off x="10723782" y="958981"/>
            <a:ext cx="1609634" cy="1247913"/>
          </a:xfrm>
          <a:prstGeom prst="rect">
            <a:avLst/>
          </a:pr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112343" tIns="93221" rtlCol="0" anchor="ctr"/>
          <a:lstStyle/>
          <a:p>
            <a:pPr algn="ctr" defTabSz="951121">
              <a:defRPr/>
            </a:pPr>
            <a:r>
              <a:rPr lang="zh-CN" altLang="en-US" sz="2081" b="1" dirty="0">
                <a:solidFill>
                  <a:srgbClr val="FFFFFF"/>
                </a:solidFill>
                <a:latin typeface="微软雅黑" panose="020B0503020204020204" pitchFamily="34" charset="-122"/>
                <a:ea typeface="微软雅黑" panose="020B0503020204020204" pitchFamily="34" charset="-122"/>
              </a:rPr>
              <a:t>行动</a:t>
            </a:r>
            <a:endParaRPr lang="en-US" sz="2081" b="1" dirty="0">
              <a:solidFill>
                <a:srgbClr val="FFFFFF"/>
              </a:solidFill>
              <a:latin typeface="微软雅黑" panose="020B0503020204020204" pitchFamily="34" charset="-122"/>
              <a:ea typeface="微软雅黑" panose="020B0503020204020204" pitchFamily="34" charset="-122"/>
            </a:endParaRPr>
          </a:p>
        </p:txBody>
      </p:sp>
      <p:sp>
        <p:nvSpPr>
          <p:cNvPr id="15" name="TextBox 121">
            <a:extLst>
              <a:ext uri="{FF2B5EF4-FFF2-40B4-BE49-F238E27FC236}">
                <a16:creationId xmlns:a16="http://schemas.microsoft.com/office/drawing/2014/main" id="{10FDCEF2-F3D1-4F6F-B46F-4776CDFFD620}"/>
              </a:ext>
            </a:extLst>
          </p:cNvPr>
          <p:cNvSpPr txBox="1"/>
          <p:nvPr/>
        </p:nvSpPr>
        <p:spPr>
          <a:xfrm>
            <a:off x="227652" y="2266849"/>
            <a:ext cx="1360432" cy="674057"/>
          </a:xfrm>
          <a:prstGeom prst="rect">
            <a:avLst/>
          </a:prstGeom>
          <a:solidFill>
            <a:schemeClr val="bg1"/>
          </a:solidFill>
          <a:ln w="38100">
            <a:solidFill>
              <a:srgbClr val="0070C0"/>
            </a:solidFill>
          </a:ln>
        </p:spPr>
        <p:txBody>
          <a:bodyPr wrap="square" lIns="0" tIns="0" rIns="0" bIns="0" rtlCol="0" anchor="ctr" anchorCtr="1">
            <a:noAutofit/>
          </a:bodyPr>
          <a:lstStyle>
            <a:defPPr>
              <a:defRPr lang="en-US"/>
            </a:defPPr>
            <a:lvl1pPr algn="ctr" defTabSz="914192">
              <a:lnSpc>
                <a:spcPct val="90000"/>
              </a:lnSpc>
              <a:spcAft>
                <a:spcPts val="588"/>
              </a:spcAft>
              <a:defRPr sz="1567" b="1" kern="0">
                <a:solidFill>
                  <a:srgbClr val="0070C0"/>
                </a:solidFill>
                <a:latin typeface="Segoe UI"/>
              </a:defRPr>
            </a:lvl1pPr>
          </a:lstStyle>
          <a:p>
            <a:pPr defTabSz="950573">
              <a:spcAft>
                <a:spcPts val="599"/>
              </a:spcAft>
              <a:defRPr/>
            </a:pPr>
            <a:r>
              <a:rPr lang="zh-CN" altLang="en-US" sz="1630" b="0" dirty="0">
                <a:solidFill>
                  <a:prstClr val="black"/>
                </a:solidFill>
                <a:latin typeface="微软雅黑" panose="020B0503020204020204" pitchFamily="34" charset="-122"/>
                <a:ea typeface="微软雅黑" panose="020B0503020204020204" pitchFamily="34" charset="-122"/>
              </a:rPr>
              <a:t>产生数据</a:t>
            </a:r>
            <a:endParaRPr lang="en-US" sz="1630" b="0" dirty="0" err="1">
              <a:solidFill>
                <a:prstClr val="black"/>
              </a:solidFill>
              <a:latin typeface="微软雅黑" panose="020B0503020204020204" pitchFamily="34" charset="-122"/>
              <a:ea typeface="微软雅黑" panose="020B0503020204020204" pitchFamily="34" charset="-122"/>
            </a:endParaRPr>
          </a:p>
        </p:txBody>
      </p:sp>
      <p:grpSp>
        <p:nvGrpSpPr>
          <p:cNvPr id="16" name="组合 15">
            <a:extLst>
              <a:ext uri="{FF2B5EF4-FFF2-40B4-BE49-F238E27FC236}">
                <a16:creationId xmlns:a16="http://schemas.microsoft.com/office/drawing/2014/main" id="{ECF5AE98-FB96-465C-9B42-0EFA43C1B5CE}"/>
              </a:ext>
            </a:extLst>
          </p:cNvPr>
          <p:cNvGrpSpPr/>
          <p:nvPr/>
        </p:nvGrpSpPr>
        <p:grpSpPr>
          <a:xfrm>
            <a:off x="226288" y="3009255"/>
            <a:ext cx="1404864" cy="4010587"/>
            <a:chOff x="215827" y="2892927"/>
            <a:chExt cx="1350557" cy="3855551"/>
          </a:xfrm>
        </p:grpSpPr>
        <p:sp>
          <p:nvSpPr>
            <p:cNvPr id="39" name="TextBox 519">
              <a:extLst>
                <a:ext uri="{FF2B5EF4-FFF2-40B4-BE49-F238E27FC236}">
                  <a16:creationId xmlns:a16="http://schemas.microsoft.com/office/drawing/2014/main" id="{BECD460B-22DC-46E0-BBE2-BDDA18493B14}"/>
                </a:ext>
              </a:extLst>
            </p:cNvPr>
            <p:cNvSpPr txBox="1"/>
            <p:nvPr/>
          </p:nvSpPr>
          <p:spPr>
            <a:xfrm>
              <a:off x="242898" y="3888669"/>
              <a:ext cx="687853" cy="116588"/>
            </a:xfrm>
            <a:prstGeom prst="rect">
              <a:avLst/>
            </a:prstGeom>
            <a:noFill/>
          </p:spPr>
          <p:txBody>
            <a:bodyPr wrap="square" lIns="0" tIns="0" rIns="0" bIns="0" rtlCol="0">
              <a:noAutofit/>
            </a:bodyPr>
            <a:lstStyle/>
            <a:p>
              <a:pPr algn="ctr" defTabSz="970048">
                <a:lnSpc>
                  <a:spcPct val="90000"/>
                </a:lnSpc>
                <a:spcAft>
                  <a:spcPts val="624"/>
                </a:spcAft>
                <a:defRPr/>
              </a:pPr>
              <a:r>
                <a:rPr lang="en-US" altLang="zh-CN" sz="832" kern="0" dirty="0" err="1">
                  <a:solidFill>
                    <a:srgbClr val="FFFFFF"/>
                  </a:solidFill>
                  <a:latin typeface="Segoe UI"/>
                  <a:ea typeface="宋体" panose="02010600030101010101" pitchFamily="2" charset="-122"/>
                </a:rPr>
                <a:t>Linghts</a:t>
              </a:r>
              <a:endParaRPr lang="en-US" sz="832" kern="0" dirty="0">
                <a:solidFill>
                  <a:srgbClr val="FFFFFF"/>
                </a:solidFill>
                <a:latin typeface="Segoe UI"/>
              </a:endParaRPr>
            </a:p>
          </p:txBody>
        </p:sp>
        <p:grpSp>
          <p:nvGrpSpPr>
            <p:cNvPr id="18" name="Group 166">
              <a:extLst>
                <a:ext uri="{FF2B5EF4-FFF2-40B4-BE49-F238E27FC236}">
                  <a16:creationId xmlns:a16="http://schemas.microsoft.com/office/drawing/2014/main" id="{8053FD3A-50A7-4A03-A3D2-85781097262B}"/>
                </a:ext>
              </a:extLst>
            </p:cNvPr>
            <p:cNvGrpSpPr/>
            <p:nvPr/>
          </p:nvGrpSpPr>
          <p:grpSpPr>
            <a:xfrm>
              <a:off x="884256" y="4387054"/>
              <a:ext cx="640726" cy="596088"/>
              <a:chOff x="7677830" y="3994622"/>
              <a:chExt cx="968599" cy="824796"/>
            </a:xfrm>
          </p:grpSpPr>
          <p:sp>
            <p:nvSpPr>
              <p:cNvPr id="36" name="Freeform 193">
                <a:extLst>
                  <a:ext uri="{FF2B5EF4-FFF2-40B4-BE49-F238E27FC236}">
                    <a16:creationId xmlns:a16="http://schemas.microsoft.com/office/drawing/2014/main" id="{2F7EF98E-B335-4F05-BD46-76CF8ACF31C3}"/>
                  </a:ext>
                </a:extLst>
              </p:cNvPr>
              <p:cNvSpPr>
                <a:spLocks noChangeAspect="1" noEditPoints="1"/>
              </p:cNvSpPr>
              <p:nvPr/>
            </p:nvSpPr>
            <p:spPr bwMode="auto">
              <a:xfrm>
                <a:off x="7838096" y="3994622"/>
                <a:ext cx="514500" cy="634914"/>
              </a:xfrm>
              <a:custGeom>
                <a:avLst/>
                <a:gdLst>
                  <a:gd name="T0" fmla="*/ 152 w 159"/>
                  <a:gd name="T1" fmla="*/ 189 h 196"/>
                  <a:gd name="T2" fmla="*/ 143 w 159"/>
                  <a:gd name="T3" fmla="*/ 46 h 196"/>
                  <a:gd name="T4" fmla="*/ 116 w 159"/>
                  <a:gd name="T5" fmla="*/ 49 h 196"/>
                  <a:gd name="T6" fmla="*/ 95 w 159"/>
                  <a:gd name="T7" fmla="*/ 109 h 196"/>
                  <a:gd name="T8" fmla="*/ 93 w 159"/>
                  <a:gd name="T9" fmla="*/ 90 h 196"/>
                  <a:gd name="T10" fmla="*/ 60 w 159"/>
                  <a:gd name="T11" fmla="*/ 106 h 196"/>
                  <a:gd name="T12" fmla="*/ 45 w 159"/>
                  <a:gd name="T13" fmla="*/ 109 h 196"/>
                  <a:gd name="T14" fmla="*/ 43 w 159"/>
                  <a:gd name="T15" fmla="*/ 90 h 196"/>
                  <a:gd name="T16" fmla="*/ 13 w 159"/>
                  <a:gd name="T17" fmla="*/ 106 h 196"/>
                  <a:gd name="T18" fmla="*/ 2 w 159"/>
                  <a:gd name="T19" fmla="*/ 189 h 196"/>
                  <a:gd name="T20" fmla="*/ 0 w 159"/>
                  <a:gd name="T21" fmla="*/ 196 h 196"/>
                  <a:gd name="T22" fmla="*/ 159 w 159"/>
                  <a:gd name="T23" fmla="*/ 191 h 196"/>
                  <a:gd name="T24" fmla="*/ 44 w 159"/>
                  <a:gd name="T25" fmla="*/ 143 h 196"/>
                  <a:gd name="T26" fmla="*/ 27 w 159"/>
                  <a:gd name="T27" fmla="*/ 147 h 196"/>
                  <a:gd name="T28" fmla="*/ 23 w 159"/>
                  <a:gd name="T29" fmla="*/ 130 h 196"/>
                  <a:gd name="T30" fmla="*/ 40 w 159"/>
                  <a:gd name="T31" fmla="*/ 126 h 196"/>
                  <a:gd name="T32" fmla="*/ 44 w 159"/>
                  <a:gd name="T33" fmla="*/ 143 h 196"/>
                  <a:gd name="T34" fmla="*/ 71 w 159"/>
                  <a:gd name="T35" fmla="*/ 147 h 196"/>
                  <a:gd name="T36" fmla="*/ 54 w 159"/>
                  <a:gd name="T37" fmla="*/ 143 h 196"/>
                  <a:gd name="T38" fmla="*/ 57 w 159"/>
                  <a:gd name="T39" fmla="*/ 126 h 196"/>
                  <a:gd name="T40" fmla="*/ 75 w 159"/>
                  <a:gd name="T41" fmla="*/ 130 h 196"/>
                  <a:gd name="T42" fmla="*/ 106 w 159"/>
                  <a:gd name="T43" fmla="*/ 143 h 196"/>
                  <a:gd name="T44" fmla="*/ 88 w 159"/>
                  <a:gd name="T45" fmla="*/ 147 h 196"/>
                  <a:gd name="T46" fmla="*/ 84 w 159"/>
                  <a:gd name="T47" fmla="*/ 130 h 196"/>
                  <a:gd name="T48" fmla="*/ 102 w 159"/>
                  <a:gd name="T49" fmla="*/ 126 h 196"/>
                  <a:gd name="T50" fmla="*/ 106 w 159"/>
                  <a:gd name="T51" fmla="*/ 143 h 196"/>
                  <a:gd name="T52" fmla="*/ 133 w 159"/>
                  <a:gd name="T53" fmla="*/ 147 h 196"/>
                  <a:gd name="T54" fmla="*/ 115 w 159"/>
                  <a:gd name="T55" fmla="*/ 143 h 196"/>
                  <a:gd name="T56" fmla="*/ 119 w 159"/>
                  <a:gd name="T57" fmla="*/ 126 h 196"/>
                  <a:gd name="T58" fmla="*/ 136 w 159"/>
                  <a:gd name="T59" fmla="*/ 130 h 196"/>
                  <a:gd name="T60" fmla="*/ 86 w 159"/>
                  <a:gd name="T61" fmla="*/ 12 h 196"/>
                  <a:gd name="T62" fmla="*/ 113 w 159"/>
                  <a:gd name="T63" fmla="*/ 17 h 196"/>
                  <a:gd name="T64" fmla="*/ 114 w 159"/>
                  <a:gd name="T65" fmla="*/ 17 h 196"/>
                  <a:gd name="T66" fmla="*/ 133 w 159"/>
                  <a:gd name="T67" fmla="*/ 30 h 196"/>
                  <a:gd name="T68" fmla="*/ 138 w 159"/>
                  <a:gd name="T69" fmla="*/ 28 h 196"/>
                  <a:gd name="T70" fmla="*/ 116 w 159"/>
                  <a:gd name="T71" fmla="*/ 10 h 196"/>
                  <a:gd name="T72" fmla="*/ 115 w 159"/>
                  <a:gd name="T73" fmla="*/ 10 h 196"/>
                  <a:gd name="T74" fmla="*/ 114 w 159"/>
                  <a:gd name="T75" fmla="*/ 9 h 196"/>
                  <a:gd name="T76" fmla="*/ 80 w 159"/>
                  <a:gd name="T77" fmla="*/ 1 h 196"/>
                  <a:gd name="T78" fmla="*/ 86 w 159"/>
                  <a:gd name="T79" fmla="*/ 12 h 196"/>
                  <a:gd name="T80" fmla="*/ 92 w 159"/>
                  <a:gd name="T81" fmla="*/ 31 h 196"/>
                  <a:gd name="T82" fmla="*/ 93 w 159"/>
                  <a:gd name="T83" fmla="*/ 31 h 196"/>
                  <a:gd name="T84" fmla="*/ 94 w 159"/>
                  <a:gd name="T85" fmla="*/ 31 h 196"/>
                  <a:gd name="T86" fmla="*/ 115 w 159"/>
                  <a:gd name="T87" fmla="*/ 32 h 196"/>
                  <a:gd name="T88" fmla="*/ 118 w 159"/>
                  <a:gd name="T89" fmla="*/ 28 h 196"/>
                  <a:gd name="T90" fmla="*/ 93 w 159"/>
                  <a:gd name="T91" fmla="*/ 24 h 196"/>
                  <a:gd name="T92" fmla="*/ 92 w 159"/>
                  <a:gd name="T93" fmla="*/ 24 h 196"/>
                  <a:gd name="T94" fmla="*/ 91 w 159"/>
                  <a:gd name="T95" fmla="*/ 24 h 196"/>
                  <a:gd name="T96" fmla="*/ 70 w 159"/>
                  <a:gd name="T97" fmla="*/ 20 h 196"/>
                  <a:gd name="T98" fmla="*/ 67 w 159"/>
                  <a:gd name="T99" fmla="*/ 2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9" h="196">
                    <a:moveTo>
                      <a:pt x="157" y="189"/>
                    </a:moveTo>
                    <a:cubicBezTo>
                      <a:pt x="152" y="189"/>
                      <a:pt x="152" y="189"/>
                      <a:pt x="152" y="189"/>
                    </a:cubicBezTo>
                    <a:cubicBezTo>
                      <a:pt x="146" y="49"/>
                      <a:pt x="146" y="49"/>
                      <a:pt x="146" y="49"/>
                    </a:cubicBezTo>
                    <a:cubicBezTo>
                      <a:pt x="146" y="47"/>
                      <a:pt x="145" y="46"/>
                      <a:pt x="143" y="46"/>
                    </a:cubicBezTo>
                    <a:cubicBezTo>
                      <a:pt x="119" y="46"/>
                      <a:pt x="119" y="46"/>
                      <a:pt x="119" y="46"/>
                    </a:cubicBezTo>
                    <a:cubicBezTo>
                      <a:pt x="118" y="46"/>
                      <a:pt x="116" y="47"/>
                      <a:pt x="116" y="49"/>
                    </a:cubicBezTo>
                    <a:cubicBezTo>
                      <a:pt x="111" y="109"/>
                      <a:pt x="111" y="109"/>
                      <a:pt x="111" y="109"/>
                    </a:cubicBezTo>
                    <a:cubicBezTo>
                      <a:pt x="95" y="109"/>
                      <a:pt x="95" y="109"/>
                      <a:pt x="95" y="109"/>
                    </a:cubicBezTo>
                    <a:cubicBezTo>
                      <a:pt x="95" y="91"/>
                      <a:pt x="95" y="91"/>
                      <a:pt x="95" y="91"/>
                    </a:cubicBezTo>
                    <a:cubicBezTo>
                      <a:pt x="95" y="90"/>
                      <a:pt x="94" y="89"/>
                      <a:pt x="93" y="90"/>
                    </a:cubicBezTo>
                    <a:cubicBezTo>
                      <a:pt x="63" y="102"/>
                      <a:pt x="63" y="102"/>
                      <a:pt x="63" y="102"/>
                    </a:cubicBezTo>
                    <a:cubicBezTo>
                      <a:pt x="61" y="102"/>
                      <a:pt x="60" y="104"/>
                      <a:pt x="60" y="106"/>
                    </a:cubicBezTo>
                    <a:cubicBezTo>
                      <a:pt x="60" y="109"/>
                      <a:pt x="60" y="109"/>
                      <a:pt x="60" y="109"/>
                    </a:cubicBezTo>
                    <a:cubicBezTo>
                      <a:pt x="45" y="109"/>
                      <a:pt x="45" y="109"/>
                      <a:pt x="45" y="109"/>
                    </a:cubicBezTo>
                    <a:cubicBezTo>
                      <a:pt x="45" y="91"/>
                      <a:pt x="45" y="91"/>
                      <a:pt x="45" y="91"/>
                    </a:cubicBezTo>
                    <a:cubicBezTo>
                      <a:pt x="45" y="90"/>
                      <a:pt x="44" y="89"/>
                      <a:pt x="43" y="90"/>
                    </a:cubicBezTo>
                    <a:cubicBezTo>
                      <a:pt x="16" y="102"/>
                      <a:pt x="16" y="102"/>
                      <a:pt x="16" y="102"/>
                    </a:cubicBezTo>
                    <a:cubicBezTo>
                      <a:pt x="15" y="102"/>
                      <a:pt x="13" y="104"/>
                      <a:pt x="13" y="106"/>
                    </a:cubicBezTo>
                    <a:cubicBezTo>
                      <a:pt x="8" y="189"/>
                      <a:pt x="8" y="189"/>
                      <a:pt x="8" y="189"/>
                    </a:cubicBezTo>
                    <a:cubicBezTo>
                      <a:pt x="2" y="189"/>
                      <a:pt x="2" y="189"/>
                      <a:pt x="2" y="189"/>
                    </a:cubicBezTo>
                    <a:cubicBezTo>
                      <a:pt x="1" y="189"/>
                      <a:pt x="0" y="190"/>
                      <a:pt x="0" y="191"/>
                    </a:cubicBezTo>
                    <a:cubicBezTo>
                      <a:pt x="0" y="196"/>
                      <a:pt x="0" y="196"/>
                      <a:pt x="0" y="196"/>
                    </a:cubicBezTo>
                    <a:cubicBezTo>
                      <a:pt x="159" y="196"/>
                      <a:pt x="159" y="196"/>
                      <a:pt x="159" y="196"/>
                    </a:cubicBezTo>
                    <a:cubicBezTo>
                      <a:pt x="159" y="191"/>
                      <a:pt x="159" y="191"/>
                      <a:pt x="159" y="191"/>
                    </a:cubicBezTo>
                    <a:cubicBezTo>
                      <a:pt x="159" y="190"/>
                      <a:pt x="158" y="189"/>
                      <a:pt x="157" y="189"/>
                    </a:cubicBezTo>
                    <a:close/>
                    <a:moveTo>
                      <a:pt x="44" y="143"/>
                    </a:moveTo>
                    <a:cubicBezTo>
                      <a:pt x="44" y="145"/>
                      <a:pt x="42" y="147"/>
                      <a:pt x="40" y="147"/>
                    </a:cubicBezTo>
                    <a:cubicBezTo>
                      <a:pt x="27" y="147"/>
                      <a:pt x="27" y="147"/>
                      <a:pt x="27" y="147"/>
                    </a:cubicBezTo>
                    <a:cubicBezTo>
                      <a:pt x="25" y="147"/>
                      <a:pt x="23" y="145"/>
                      <a:pt x="23" y="143"/>
                    </a:cubicBezTo>
                    <a:cubicBezTo>
                      <a:pt x="23" y="130"/>
                      <a:pt x="23" y="130"/>
                      <a:pt x="23" y="130"/>
                    </a:cubicBezTo>
                    <a:cubicBezTo>
                      <a:pt x="23" y="127"/>
                      <a:pt x="25" y="126"/>
                      <a:pt x="27" y="126"/>
                    </a:cubicBezTo>
                    <a:cubicBezTo>
                      <a:pt x="40" y="126"/>
                      <a:pt x="40" y="126"/>
                      <a:pt x="40" y="126"/>
                    </a:cubicBezTo>
                    <a:cubicBezTo>
                      <a:pt x="42" y="126"/>
                      <a:pt x="44" y="127"/>
                      <a:pt x="44" y="130"/>
                    </a:cubicBezTo>
                    <a:lnTo>
                      <a:pt x="44" y="143"/>
                    </a:lnTo>
                    <a:close/>
                    <a:moveTo>
                      <a:pt x="75" y="143"/>
                    </a:moveTo>
                    <a:cubicBezTo>
                      <a:pt x="75" y="145"/>
                      <a:pt x="73" y="147"/>
                      <a:pt x="71" y="147"/>
                    </a:cubicBezTo>
                    <a:cubicBezTo>
                      <a:pt x="57" y="147"/>
                      <a:pt x="57" y="147"/>
                      <a:pt x="57" y="147"/>
                    </a:cubicBezTo>
                    <a:cubicBezTo>
                      <a:pt x="55" y="147"/>
                      <a:pt x="54" y="145"/>
                      <a:pt x="54" y="143"/>
                    </a:cubicBezTo>
                    <a:cubicBezTo>
                      <a:pt x="54" y="130"/>
                      <a:pt x="54" y="130"/>
                      <a:pt x="54" y="130"/>
                    </a:cubicBezTo>
                    <a:cubicBezTo>
                      <a:pt x="54" y="127"/>
                      <a:pt x="55" y="126"/>
                      <a:pt x="57" y="126"/>
                    </a:cubicBezTo>
                    <a:cubicBezTo>
                      <a:pt x="71" y="126"/>
                      <a:pt x="71" y="126"/>
                      <a:pt x="71" y="126"/>
                    </a:cubicBezTo>
                    <a:cubicBezTo>
                      <a:pt x="73" y="126"/>
                      <a:pt x="75" y="127"/>
                      <a:pt x="75" y="130"/>
                    </a:cubicBezTo>
                    <a:lnTo>
                      <a:pt x="75" y="143"/>
                    </a:lnTo>
                    <a:close/>
                    <a:moveTo>
                      <a:pt x="106" y="143"/>
                    </a:moveTo>
                    <a:cubicBezTo>
                      <a:pt x="106" y="145"/>
                      <a:pt x="104" y="147"/>
                      <a:pt x="102" y="147"/>
                    </a:cubicBezTo>
                    <a:cubicBezTo>
                      <a:pt x="88" y="147"/>
                      <a:pt x="88" y="147"/>
                      <a:pt x="88" y="147"/>
                    </a:cubicBezTo>
                    <a:cubicBezTo>
                      <a:pt x="86" y="147"/>
                      <a:pt x="84" y="145"/>
                      <a:pt x="84" y="143"/>
                    </a:cubicBezTo>
                    <a:cubicBezTo>
                      <a:pt x="84" y="130"/>
                      <a:pt x="84" y="130"/>
                      <a:pt x="84" y="130"/>
                    </a:cubicBezTo>
                    <a:cubicBezTo>
                      <a:pt x="84" y="127"/>
                      <a:pt x="86" y="126"/>
                      <a:pt x="88" y="126"/>
                    </a:cubicBezTo>
                    <a:cubicBezTo>
                      <a:pt x="102" y="126"/>
                      <a:pt x="102" y="126"/>
                      <a:pt x="102" y="126"/>
                    </a:cubicBezTo>
                    <a:cubicBezTo>
                      <a:pt x="104" y="126"/>
                      <a:pt x="106" y="127"/>
                      <a:pt x="106" y="130"/>
                    </a:cubicBezTo>
                    <a:lnTo>
                      <a:pt x="106" y="143"/>
                    </a:lnTo>
                    <a:close/>
                    <a:moveTo>
                      <a:pt x="136" y="143"/>
                    </a:moveTo>
                    <a:cubicBezTo>
                      <a:pt x="136" y="145"/>
                      <a:pt x="135" y="147"/>
                      <a:pt x="133" y="147"/>
                    </a:cubicBezTo>
                    <a:cubicBezTo>
                      <a:pt x="119" y="147"/>
                      <a:pt x="119" y="147"/>
                      <a:pt x="119" y="147"/>
                    </a:cubicBezTo>
                    <a:cubicBezTo>
                      <a:pt x="117" y="147"/>
                      <a:pt x="115" y="145"/>
                      <a:pt x="115" y="143"/>
                    </a:cubicBezTo>
                    <a:cubicBezTo>
                      <a:pt x="115" y="130"/>
                      <a:pt x="115" y="130"/>
                      <a:pt x="115" y="130"/>
                    </a:cubicBezTo>
                    <a:cubicBezTo>
                      <a:pt x="115" y="127"/>
                      <a:pt x="117" y="126"/>
                      <a:pt x="119" y="126"/>
                    </a:cubicBezTo>
                    <a:cubicBezTo>
                      <a:pt x="133" y="126"/>
                      <a:pt x="133" y="126"/>
                      <a:pt x="133" y="126"/>
                    </a:cubicBezTo>
                    <a:cubicBezTo>
                      <a:pt x="135" y="126"/>
                      <a:pt x="136" y="127"/>
                      <a:pt x="136" y="130"/>
                    </a:cubicBezTo>
                    <a:lnTo>
                      <a:pt x="136" y="143"/>
                    </a:lnTo>
                    <a:close/>
                    <a:moveTo>
                      <a:pt x="86" y="12"/>
                    </a:moveTo>
                    <a:cubicBezTo>
                      <a:pt x="94" y="16"/>
                      <a:pt x="104" y="15"/>
                      <a:pt x="113" y="17"/>
                    </a:cubicBezTo>
                    <a:cubicBezTo>
                      <a:pt x="113" y="17"/>
                      <a:pt x="113" y="17"/>
                      <a:pt x="113" y="17"/>
                    </a:cubicBezTo>
                    <a:cubicBezTo>
                      <a:pt x="114" y="17"/>
                      <a:pt x="114" y="17"/>
                      <a:pt x="114" y="17"/>
                    </a:cubicBezTo>
                    <a:cubicBezTo>
                      <a:pt x="114" y="17"/>
                      <a:pt x="114" y="17"/>
                      <a:pt x="114" y="17"/>
                    </a:cubicBezTo>
                    <a:cubicBezTo>
                      <a:pt x="114" y="17"/>
                      <a:pt x="114" y="17"/>
                      <a:pt x="114" y="17"/>
                    </a:cubicBezTo>
                    <a:cubicBezTo>
                      <a:pt x="123" y="19"/>
                      <a:pt x="129" y="24"/>
                      <a:pt x="133" y="30"/>
                    </a:cubicBezTo>
                    <a:cubicBezTo>
                      <a:pt x="137" y="36"/>
                      <a:pt x="139" y="40"/>
                      <a:pt x="140" y="40"/>
                    </a:cubicBezTo>
                    <a:cubicBezTo>
                      <a:pt x="141" y="39"/>
                      <a:pt x="141" y="35"/>
                      <a:pt x="138" y="28"/>
                    </a:cubicBezTo>
                    <a:cubicBezTo>
                      <a:pt x="136" y="24"/>
                      <a:pt x="134" y="20"/>
                      <a:pt x="130" y="17"/>
                    </a:cubicBezTo>
                    <a:cubicBezTo>
                      <a:pt x="126" y="13"/>
                      <a:pt x="121" y="11"/>
                      <a:pt x="116" y="10"/>
                    </a:cubicBezTo>
                    <a:cubicBezTo>
                      <a:pt x="116" y="10"/>
                      <a:pt x="116" y="10"/>
                      <a:pt x="116" y="10"/>
                    </a:cubicBezTo>
                    <a:cubicBezTo>
                      <a:pt x="115" y="10"/>
                      <a:pt x="115" y="10"/>
                      <a:pt x="115" y="10"/>
                    </a:cubicBezTo>
                    <a:cubicBezTo>
                      <a:pt x="114" y="9"/>
                      <a:pt x="114" y="9"/>
                      <a:pt x="114" y="9"/>
                    </a:cubicBezTo>
                    <a:cubicBezTo>
                      <a:pt x="114" y="9"/>
                      <a:pt x="114" y="9"/>
                      <a:pt x="114" y="9"/>
                    </a:cubicBezTo>
                    <a:cubicBezTo>
                      <a:pt x="104" y="8"/>
                      <a:pt x="94" y="9"/>
                      <a:pt x="89" y="7"/>
                    </a:cubicBezTo>
                    <a:cubicBezTo>
                      <a:pt x="83" y="5"/>
                      <a:pt x="81" y="0"/>
                      <a:pt x="80" y="1"/>
                    </a:cubicBezTo>
                    <a:cubicBezTo>
                      <a:pt x="80" y="1"/>
                      <a:pt x="80" y="2"/>
                      <a:pt x="80" y="4"/>
                    </a:cubicBezTo>
                    <a:cubicBezTo>
                      <a:pt x="81" y="6"/>
                      <a:pt x="83" y="10"/>
                      <a:pt x="86" y="12"/>
                    </a:cubicBezTo>
                    <a:close/>
                    <a:moveTo>
                      <a:pt x="78" y="30"/>
                    </a:moveTo>
                    <a:cubicBezTo>
                      <a:pt x="83" y="31"/>
                      <a:pt x="88" y="31"/>
                      <a:pt x="92" y="31"/>
                    </a:cubicBezTo>
                    <a:cubicBezTo>
                      <a:pt x="92" y="31"/>
                      <a:pt x="92" y="31"/>
                      <a:pt x="92" y="31"/>
                    </a:cubicBezTo>
                    <a:cubicBezTo>
                      <a:pt x="93" y="31"/>
                      <a:pt x="93" y="31"/>
                      <a:pt x="93" y="31"/>
                    </a:cubicBezTo>
                    <a:cubicBezTo>
                      <a:pt x="94" y="31"/>
                      <a:pt x="94" y="31"/>
                      <a:pt x="94" y="31"/>
                    </a:cubicBezTo>
                    <a:cubicBezTo>
                      <a:pt x="94" y="31"/>
                      <a:pt x="94" y="31"/>
                      <a:pt x="94" y="31"/>
                    </a:cubicBezTo>
                    <a:cubicBezTo>
                      <a:pt x="98" y="30"/>
                      <a:pt x="102" y="29"/>
                      <a:pt x="106" y="29"/>
                    </a:cubicBezTo>
                    <a:cubicBezTo>
                      <a:pt x="110" y="30"/>
                      <a:pt x="113" y="31"/>
                      <a:pt x="115" y="32"/>
                    </a:cubicBezTo>
                    <a:cubicBezTo>
                      <a:pt x="120" y="35"/>
                      <a:pt x="123" y="39"/>
                      <a:pt x="124" y="38"/>
                    </a:cubicBezTo>
                    <a:cubicBezTo>
                      <a:pt x="124" y="38"/>
                      <a:pt x="124" y="33"/>
                      <a:pt x="118" y="28"/>
                    </a:cubicBezTo>
                    <a:cubicBezTo>
                      <a:pt x="116" y="26"/>
                      <a:pt x="111" y="24"/>
                      <a:pt x="107" y="23"/>
                    </a:cubicBezTo>
                    <a:cubicBezTo>
                      <a:pt x="102" y="23"/>
                      <a:pt x="97" y="23"/>
                      <a:pt x="93" y="24"/>
                    </a:cubicBezTo>
                    <a:cubicBezTo>
                      <a:pt x="93" y="24"/>
                      <a:pt x="93" y="24"/>
                      <a:pt x="93" y="24"/>
                    </a:cubicBezTo>
                    <a:cubicBezTo>
                      <a:pt x="92" y="24"/>
                      <a:pt x="92" y="24"/>
                      <a:pt x="92" y="24"/>
                    </a:cubicBezTo>
                    <a:cubicBezTo>
                      <a:pt x="92" y="24"/>
                      <a:pt x="92" y="24"/>
                      <a:pt x="92" y="24"/>
                    </a:cubicBezTo>
                    <a:cubicBezTo>
                      <a:pt x="91" y="24"/>
                      <a:pt x="91" y="24"/>
                      <a:pt x="91" y="24"/>
                    </a:cubicBezTo>
                    <a:cubicBezTo>
                      <a:pt x="87" y="24"/>
                      <a:pt x="83" y="25"/>
                      <a:pt x="79" y="24"/>
                    </a:cubicBezTo>
                    <a:cubicBezTo>
                      <a:pt x="76" y="23"/>
                      <a:pt x="73" y="22"/>
                      <a:pt x="70" y="20"/>
                    </a:cubicBezTo>
                    <a:cubicBezTo>
                      <a:pt x="66" y="16"/>
                      <a:pt x="63" y="13"/>
                      <a:pt x="62" y="13"/>
                    </a:cubicBezTo>
                    <a:cubicBezTo>
                      <a:pt x="62" y="14"/>
                      <a:pt x="62" y="18"/>
                      <a:pt x="67" y="24"/>
                    </a:cubicBezTo>
                    <a:cubicBezTo>
                      <a:pt x="70" y="26"/>
                      <a:pt x="73" y="29"/>
                      <a:pt x="78" y="30"/>
                    </a:cubicBez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117" tIns="47558" rIns="47558" bIns="95117" numCol="1" spcCol="0" rtlCol="0" fromWordArt="0" anchor="b" anchorCtr="0" forceAA="0" compatLnSpc="1">
                <a:prstTxWarp prst="textNoShape">
                  <a:avLst/>
                </a:prstTxWarp>
                <a:noAutofit/>
              </a:bodyPr>
              <a:lstStyle/>
              <a:p>
                <a:pPr algn="ctr" defTabSz="950843" fontAlgn="base">
                  <a:spcBef>
                    <a:spcPct val="0"/>
                  </a:spcBef>
                  <a:spcAft>
                    <a:spcPct val="0"/>
                  </a:spcAft>
                  <a:defRPr/>
                </a:pPr>
                <a:endParaRPr lang="en-US" sz="832" kern="0" spc="-52">
                  <a:solidFill>
                    <a:srgbClr val="FFFFFF"/>
                  </a:solidFill>
                  <a:latin typeface="Segoe UI"/>
                  <a:ea typeface="Segoe UI" pitchFamily="34" charset="0"/>
                  <a:cs typeface="Segoe UI" pitchFamily="34" charset="0"/>
                </a:endParaRPr>
              </a:p>
            </p:txBody>
          </p:sp>
          <p:sp>
            <p:nvSpPr>
              <p:cNvPr id="37" name="TextBox 538">
                <a:extLst>
                  <a:ext uri="{FF2B5EF4-FFF2-40B4-BE49-F238E27FC236}">
                    <a16:creationId xmlns:a16="http://schemas.microsoft.com/office/drawing/2014/main" id="{8CF6C86B-7F57-4FA4-9E6D-616EEC80373F}"/>
                  </a:ext>
                </a:extLst>
              </p:cNvPr>
              <p:cNvSpPr txBox="1"/>
              <p:nvPr/>
            </p:nvSpPr>
            <p:spPr>
              <a:xfrm>
                <a:off x="7677830" y="4653219"/>
                <a:ext cx="968599" cy="166199"/>
              </a:xfrm>
              <a:prstGeom prst="rect">
                <a:avLst/>
              </a:prstGeom>
              <a:noFill/>
            </p:spPr>
            <p:txBody>
              <a:bodyPr wrap="square" lIns="0" tIns="0" rIns="0" bIns="0" rtlCol="0">
                <a:noAutofit/>
              </a:bodyPr>
              <a:lstStyle/>
              <a:p>
                <a:pPr algn="ctr" defTabSz="970048">
                  <a:lnSpc>
                    <a:spcPct val="90000"/>
                  </a:lnSpc>
                  <a:spcAft>
                    <a:spcPts val="624"/>
                  </a:spcAft>
                  <a:defRPr/>
                </a:pPr>
                <a:r>
                  <a:rPr lang="en-US" sz="832" kern="0" dirty="0">
                    <a:solidFill>
                      <a:srgbClr val="FFFFFF"/>
                    </a:solidFill>
                    <a:latin typeface="Segoe UI"/>
                  </a:rPr>
                  <a:t>Factory floor</a:t>
                </a:r>
              </a:p>
            </p:txBody>
          </p:sp>
        </p:grpSp>
        <p:grpSp>
          <p:nvGrpSpPr>
            <p:cNvPr id="19" name="Group 159">
              <a:extLst>
                <a:ext uri="{FF2B5EF4-FFF2-40B4-BE49-F238E27FC236}">
                  <a16:creationId xmlns:a16="http://schemas.microsoft.com/office/drawing/2014/main" id="{35FECD59-D44D-4CAF-A0B9-F0D51FAA2085}"/>
                </a:ext>
              </a:extLst>
            </p:cNvPr>
            <p:cNvGrpSpPr/>
            <p:nvPr/>
          </p:nvGrpSpPr>
          <p:grpSpPr>
            <a:xfrm>
              <a:off x="250424" y="4144791"/>
              <a:ext cx="574611" cy="747479"/>
              <a:chOff x="9449520" y="2320292"/>
              <a:chExt cx="1074174" cy="896375"/>
            </a:xfrm>
          </p:grpSpPr>
          <p:sp>
            <p:nvSpPr>
              <p:cNvPr id="34" name="Rectangle 2048">
                <a:extLst>
                  <a:ext uri="{FF2B5EF4-FFF2-40B4-BE49-F238E27FC236}">
                    <a16:creationId xmlns:a16="http://schemas.microsoft.com/office/drawing/2014/main" id="{7B71B318-2D8C-4653-B1B4-B41D7D5C1B5F}"/>
                  </a:ext>
                </a:extLst>
              </p:cNvPr>
              <p:cNvSpPr>
                <a:spLocks noChangeAspect="1"/>
              </p:cNvSpPr>
              <p:nvPr/>
            </p:nvSpPr>
            <p:spPr bwMode="auto">
              <a:xfrm flipV="1">
                <a:off x="9911750" y="2320292"/>
                <a:ext cx="244943" cy="516861"/>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117" tIns="47558" rIns="47558" bIns="95117" numCol="1" spcCol="0" rtlCol="0" fromWordArt="0" anchor="b" anchorCtr="0" forceAA="0" compatLnSpc="1">
                <a:prstTxWarp prst="textNoShape">
                  <a:avLst/>
                </a:prstTxWarp>
                <a:noAutofit/>
              </a:bodyPr>
              <a:lstStyle/>
              <a:p>
                <a:pPr algn="ctr" defTabSz="950843" fontAlgn="base">
                  <a:spcBef>
                    <a:spcPct val="0"/>
                  </a:spcBef>
                  <a:spcAft>
                    <a:spcPct val="0"/>
                  </a:spcAft>
                  <a:defRPr/>
                </a:pPr>
                <a:endParaRPr lang="en-US" sz="832" kern="0" spc="-52" dirty="0" err="1">
                  <a:solidFill>
                    <a:srgbClr val="FFFFFF"/>
                  </a:solidFill>
                  <a:latin typeface="Segoe UI"/>
                  <a:ea typeface="Segoe UI" pitchFamily="34" charset="0"/>
                  <a:cs typeface="Segoe UI" pitchFamily="34" charset="0"/>
                </a:endParaRPr>
              </a:p>
            </p:txBody>
          </p:sp>
          <p:sp>
            <p:nvSpPr>
              <p:cNvPr id="35" name="TextBox 593">
                <a:extLst>
                  <a:ext uri="{FF2B5EF4-FFF2-40B4-BE49-F238E27FC236}">
                    <a16:creationId xmlns:a16="http://schemas.microsoft.com/office/drawing/2014/main" id="{3DA559B0-0A7A-4F09-8FE4-07287C5CF6A5}"/>
                  </a:ext>
                </a:extLst>
              </p:cNvPr>
              <p:cNvSpPr txBox="1"/>
              <p:nvPr/>
            </p:nvSpPr>
            <p:spPr>
              <a:xfrm>
                <a:off x="9449520" y="2884268"/>
                <a:ext cx="1074174" cy="332399"/>
              </a:xfrm>
              <a:prstGeom prst="rect">
                <a:avLst/>
              </a:prstGeom>
              <a:noFill/>
            </p:spPr>
            <p:txBody>
              <a:bodyPr wrap="square" lIns="0" tIns="0" rIns="0" bIns="0" rtlCol="0">
                <a:noAutofit/>
              </a:bodyPr>
              <a:lstStyle/>
              <a:p>
                <a:pPr algn="ctr" defTabSz="970048">
                  <a:lnSpc>
                    <a:spcPct val="90000"/>
                  </a:lnSpc>
                  <a:spcAft>
                    <a:spcPts val="624"/>
                  </a:spcAft>
                  <a:defRPr/>
                </a:pPr>
                <a:r>
                  <a:rPr lang="en-US" sz="832" kern="0" dirty="0">
                    <a:solidFill>
                      <a:srgbClr val="FFFFFF"/>
                    </a:solidFill>
                    <a:latin typeface="Segoe UI"/>
                  </a:rPr>
                  <a:t>Vending machines</a:t>
                </a:r>
              </a:p>
            </p:txBody>
          </p:sp>
        </p:grpSp>
        <p:grpSp>
          <p:nvGrpSpPr>
            <p:cNvPr id="20" name="Group 160">
              <a:extLst>
                <a:ext uri="{FF2B5EF4-FFF2-40B4-BE49-F238E27FC236}">
                  <a16:creationId xmlns:a16="http://schemas.microsoft.com/office/drawing/2014/main" id="{39A3E65C-55A2-40DF-BA50-DA323CB2C7F0}"/>
                </a:ext>
              </a:extLst>
            </p:cNvPr>
            <p:cNvGrpSpPr/>
            <p:nvPr/>
          </p:nvGrpSpPr>
          <p:grpSpPr>
            <a:xfrm>
              <a:off x="699284" y="3802170"/>
              <a:ext cx="867100" cy="565686"/>
              <a:chOff x="10958500" y="2961475"/>
              <a:chExt cx="968599" cy="612811"/>
            </a:xfrm>
          </p:grpSpPr>
          <p:sp>
            <p:nvSpPr>
              <p:cNvPr id="32" name="Freeform 352">
                <a:extLst>
                  <a:ext uri="{FF2B5EF4-FFF2-40B4-BE49-F238E27FC236}">
                    <a16:creationId xmlns:a16="http://schemas.microsoft.com/office/drawing/2014/main" id="{E909F2A0-00A4-4A20-B027-F76AAC34B67D}"/>
                  </a:ext>
                </a:extLst>
              </p:cNvPr>
              <p:cNvSpPr>
                <a:spLocks noChangeAspect="1" noEditPoints="1"/>
              </p:cNvSpPr>
              <p:nvPr/>
            </p:nvSpPr>
            <p:spPr bwMode="auto">
              <a:xfrm>
                <a:off x="11248716" y="2961475"/>
                <a:ext cx="447798" cy="396000"/>
              </a:xfrm>
              <a:custGeom>
                <a:avLst/>
                <a:gdLst>
                  <a:gd name="T0" fmla="*/ 1263 w 1874"/>
                  <a:gd name="T1" fmla="*/ 1435 h 1657"/>
                  <a:gd name="T2" fmla="*/ 1264 w 1874"/>
                  <a:gd name="T3" fmla="*/ 1426 h 1657"/>
                  <a:gd name="T4" fmla="*/ 1271 w 1874"/>
                  <a:gd name="T5" fmla="*/ 1409 h 1657"/>
                  <a:gd name="T6" fmla="*/ 1284 w 1874"/>
                  <a:gd name="T7" fmla="*/ 1396 h 1657"/>
                  <a:gd name="T8" fmla="*/ 1301 w 1874"/>
                  <a:gd name="T9" fmla="*/ 1389 h 1657"/>
                  <a:gd name="T10" fmla="*/ 1492 w 1874"/>
                  <a:gd name="T11" fmla="*/ 1388 h 1657"/>
                  <a:gd name="T12" fmla="*/ 1501 w 1874"/>
                  <a:gd name="T13" fmla="*/ 1389 h 1657"/>
                  <a:gd name="T14" fmla="*/ 1518 w 1874"/>
                  <a:gd name="T15" fmla="*/ 1396 h 1657"/>
                  <a:gd name="T16" fmla="*/ 1531 w 1874"/>
                  <a:gd name="T17" fmla="*/ 1409 h 1657"/>
                  <a:gd name="T18" fmla="*/ 1538 w 1874"/>
                  <a:gd name="T19" fmla="*/ 1426 h 1657"/>
                  <a:gd name="T20" fmla="*/ 1539 w 1874"/>
                  <a:gd name="T21" fmla="*/ 1657 h 1657"/>
                  <a:gd name="T22" fmla="*/ 1873 w 1874"/>
                  <a:gd name="T23" fmla="*/ 885 h 1657"/>
                  <a:gd name="T24" fmla="*/ 930 w 1874"/>
                  <a:gd name="T25" fmla="*/ 0 h 1657"/>
                  <a:gd name="T26" fmla="*/ 0 w 1874"/>
                  <a:gd name="T27" fmla="*/ 552 h 1657"/>
                  <a:gd name="T28" fmla="*/ 1263 w 1874"/>
                  <a:gd name="T29" fmla="*/ 1657 h 1657"/>
                  <a:gd name="T30" fmla="*/ 1707 w 1874"/>
                  <a:gd name="T31" fmla="*/ 220 h 1657"/>
                  <a:gd name="T32" fmla="*/ 1472 w 1874"/>
                  <a:gd name="T33" fmla="*/ 372 h 1657"/>
                  <a:gd name="T34" fmla="*/ 1472 w 1874"/>
                  <a:gd name="T35" fmla="*/ 490 h 1657"/>
                  <a:gd name="T36" fmla="*/ 1707 w 1874"/>
                  <a:gd name="T37" fmla="*/ 643 h 1657"/>
                  <a:gd name="T38" fmla="*/ 1472 w 1874"/>
                  <a:gd name="T39" fmla="*/ 490 h 1657"/>
                  <a:gd name="T40" fmla="*/ 1707 w 1874"/>
                  <a:gd name="T41" fmla="*/ 760 h 1657"/>
                  <a:gd name="T42" fmla="*/ 1472 w 1874"/>
                  <a:gd name="T43" fmla="*/ 914 h 1657"/>
                  <a:gd name="T44" fmla="*/ 1472 w 1874"/>
                  <a:gd name="T45" fmla="*/ 1031 h 1657"/>
                  <a:gd name="T46" fmla="*/ 1707 w 1874"/>
                  <a:gd name="T47" fmla="*/ 1185 h 1657"/>
                  <a:gd name="T48" fmla="*/ 1472 w 1874"/>
                  <a:gd name="T49" fmla="*/ 1031 h 1657"/>
                  <a:gd name="T50" fmla="*/ 1331 w 1874"/>
                  <a:gd name="T51" fmla="*/ 220 h 1657"/>
                  <a:gd name="T52" fmla="*/ 1096 w 1874"/>
                  <a:gd name="T53" fmla="*/ 372 h 1657"/>
                  <a:gd name="T54" fmla="*/ 1096 w 1874"/>
                  <a:gd name="T55" fmla="*/ 490 h 1657"/>
                  <a:gd name="T56" fmla="*/ 1331 w 1874"/>
                  <a:gd name="T57" fmla="*/ 643 h 1657"/>
                  <a:gd name="T58" fmla="*/ 1096 w 1874"/>
                  <a:gd name="T59" fmla="*/ 490 h 1657"/>
                  <a:gd name="T60" fmla="*/ 1331 w 1874"/>
                  <a:gd name="T61" fmla="*/ 760 h 1657"/>
                  <a:gd name="T62" fmla="*/ 1096 w 1874"/>
                  <a:gd name="T63" fmla="*/ 914 h 1657"/>
                  <a:gd name="T64" fmla="*/ 1096 w 1874"/>
                  <a:gd name="T65" fmla="*/ 1031 h 1657"/>
                  <a:gd name="T66" fmla="*/ 1331 w 1874"/>
                  <a:gd name="T67" fmla="*/ 1185 h 1657"/>
                  <a:gd name="T68" fmla="*/ 1096 w 1874"/>
                  <a:gd name="T69" fmla="*/ 1031 h 1657"/>
                  <a:gd name="T70" fmla="*/ 866 w 1874"/>
                  <a:gd name="T71" fmla="*/ 767 h 1657"/>
                  <a:gd name="T72" fmla="*/ 690 w 1874"/>
                  <a:gd name="T73" fmla="*/ 932 h 1657"/>
                  <a:gd name="T74" fmla="*/ 690 w 1874"/>
                  <a:gd name="T75" fmla="*/ 1058 h 1657"/>
                  <a:gd name="T76" fmla="*/ 866 w 1874"/>
                  <a:gd name="T77" fmla="*/ 1222 h 1657"/>
                  <a:gd name="T78" fmla="*/ 690 w 1874"/>
                  <a:gd name="T79" fmla="*/ 1058 h 1657"/>
                  <a:gd name="T80" fmla="*/ 866 w 1874"/>
                  <a:gd name="T81" fmla="*/ 1348 h 1657"/>
                  <a:gd name="T82" fmla="*/ 690 w 1874"/>
                  <a:gd name="T83" fmla="*/ 1512 h 1657"/>
                  <a:gd name="T84" fmla="*/ 405 w 1874"/>
                  <a:gd name="T85" fmla="*/ 767 h 1657"/>
                  <a:gd name="T86" fmla="*/ 581 w 1874"/>
                  <a:gd name="T87" fmla="*/ 932 h 1657"/>
                  <a:gd name="T88" fmla="*/ 405 w 1874"/>
                  <a:gd name="T89" fmla="*/ 767 h 1657"/>
                  <a:gd name="T90" fmla="*/ 581 w 1874"/>
                  <a:gd name="T91" fmla="*/ 1058 h 1657"/>
                  <a:gd name="T92" fmla="*/ 405 w 1874"/>
                  <a:gd name="T93" fmla="*/ 1222 h 1657"/>
                  <a:gd name="T94" fmla="*/ 405 w 1874"/>
                  <a:gd name="T95" fmla="*/ 1348 h 1657"/>
                  <a:gd name="T96" fmla="*/ 581 w 1874"/>
                  <a:gd name="T97" fmla="*/ 1512 h 1657"/>
                  <a:gd name="T98" fmla="*/ 405 w 1874"/>
                  <a:gd name="T99" fmla="*/ 1348 h 1657"/>
                  <a:gd name="T100" fmla="*/ 295 w 1874"/>
                  <a:gd name="T101" fmla="*/ 767 h 1657"/>
                  <a:gd name="T102" fmla="*/ 119 w 1874"/>
                  <a:gd name="T103" fmla="*/ 932 h 1657"/>
                  <a:gd name="T104" fmla="*/ 119 w 1874"/>
                  <a:gd name="T105" fmla="*/ 1058 h 1657"/>
                  <a:gd name="T106" fmla="*/ 295 w 1874"/>
                  <a:gd name="T107" fmla="*/ 1222 h 1657"/>
                  <a:gd name="T108" fmla="*/ 119 w 1874"/>
                  <a:gd name="T109" fmla="*/ 1058 h 1657"/>
                  <a:gd name="T110" fmla="*/ 295 w 1874"/>
                  <a:gd name="T111" fmla="*/ 1512 h 1657"/>
                  <a:gd name="T112" fmla="*/ 119 w 1874"/>
                  <a:gd name="T113" fmla="*/ 1348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4" h="1657">
                    <a:moveTo>
                      <a:pt x="1263" y="1657"/>
                    </a:moveTo>
                    <a:lnTo>
                      <a:pt x="1263" y="1435"/>
                    </a:lnTo>
                    <a:lnTo>
                      <a:pt x="1263" y="1435"/>
                    </a:lnTo>
                    <a:lnTo>
                      <a:pt x="1264" y="1426"/>
                    </a:lnTo>
                    <a:lnTo>
                      <a:pt x="1267" y="1417"/>
                    </a:lnTo>
                    <a:lnTo>
                      <a:pt x="1271" y="1409"/>
                    </a:lnTo>
                    <a:lnTo>
                      <a:pt x="1277" y="1402"/>
                    </a:lnTo>
                    <a:lnTo>
                      <a:pt x="1284" y="1396"/>
                    </a:lnTo>
                    <a:lnTo>
                      <a:pt x="1293" y="1392"/>
                    </a:lnTo>
                    <a:lnTo>
                      <a:pt x="1301" y="1389"/>
                    </a:lnTo>
                    <a:lnTo>
                      <a:pt x="1310" y="1388"/>
                    </a:lnTo>
                    <a:lnTo>
                      <a:pt x="1492" y="1388"/>
                    </a:lnTo>
                    <a:lnTo>
                      <a:pt x="1492" y="1388"/>
                    </a:lnTo>
                    <a:lnTo>
                      <a:pt x="1501" y="1389"/>
                    </a:lnTo>
                    <a:lnTo>
                      <a:pt x="1510" y="1392"/>
                    </a:lnTo>
                    <a:lnTo>
                      <a:pt x="1518" y="1396"/>
                    </a:lnTo>
                    <a:lnTo>
                      <a:pt x="1525" y="1402"/>
                    </a:lnTo>
                    <a:lnTo>
                      <a:pt x="1531" y="1409"/>
                    </a:lnTo>
                    <a:lnTo>
                      <a:pt x="1535" y="1417"/>
                    </a:lnTo>
                    <a:lnTo>
                      <a:pt x="1538" y="1426"/>
                    </a:lnTo>
                    <a:lnTo>
                      <a:pt x="1539" y="1435"/>
                    </a:lnTo>
                    <a:lnTo>
                      <a:pt x="1539" y="1657"/>
                    </a:lnTo>
                    <a:lnTo>
                      <a:pt x="1873" y="1657"/>
                    </a:lnTo>
                    <a:lnTo>
                      <a:pt x="1873" y="885"/>
                    </a:lnTo>
                    <a:lnTo>
                      <a:pt x="1874" y="0"/>
                    </a:lnTo>
                    <a:lnTo>
                      <a:pt x="930" y="0"/>
                    </a:lnTo>
                    <a:lnTo>
                      <a:pt x="928" y="552"/>
                    </a:lnTo>
                    <a:lnTo>
                      <a:pt x="0" y="552"/>
                    </a:lnTo>
                    <a:lnTo>
                      <a:pt x="3" y="1657"/>
                    </a:lnTo>
                    <a:lnTo>
                      <a:pt x="1263" y="1657"/>
                    </a:lnTo>
                    <a:close/>
                    <a:moveTo>
                      <a:pt x="1472" y="220"/>
                    </a:moveTo>
                    <a:lnTo>
                      <a:pt x="1707" y="220"/>
                    </a:lnTo>
                    <a:lnTo>
                      <a:pt x="1707" y="372"/>
                    </a:lnTo>
                    <a:lnTo>
                      <a:pt x="1472" y="372"/>
                    </a:lnTo>
                    <a:lnTo>
                      <a:pt x="1472" y="220"/>
                    </a:lnTo>
                    <a:close/>
                    <a:moveTo>
                      <a:pt x="1472" y="490"/>
                    </a:moveTo>
                    <a:lnTo>
                      <a:pt x="1707" y="490"/>
                    </a:lnTo>
                    <a:lnTo>
                      <a:pt x="1707" y="643"/>
                    </a:lnTo>
                    <a:lnTo>
                      <a:pt x="1472" y="643"/>
                    </a:lnTo>
                    <a:lnTo>
                      <a:pt x="1472" y="490"/>
                    </a:lnTo>
                    <a:close/>
                    <a:moveTo>
                      <a:pt x="1472" y="760"/>
                    </a:moveTo>
                    <a:lnTo>
                      <a:pt x="1707" y="760"/>
                    </a:lnTo>
                    <a:lnTo>
                      <a:pt x="1707" y="914"/>
                    </a:lnTo>
                    <a:lnTo>
                      <a:pt x="1472" y="914"/>
                    </a:lnTo>
                    <a:lnTo>
                      <a:pt x="1472" y="760"/>
                    </a:lnTo>
                    <a:close/>
                    <a:moveTo>
                      <a:pt x="1472" y="1031"/>
                    </a:moveTo>
                    <a:lnTo>
                      <a:pt x="1707" y="1031"/>
                    </a:lnTo>
                    <a:lnTo>
                      <a:pt x="1707" y="1185"/>
                    </a:lnTo>
                    <a:lnTo>
                      <a:pt x="1472" y="1185"/>
                    </a:lnTo>
                    <a:lnTo>
                      <a:pt x="1472" y="1031"/>
                    </a:lnTo>
                    <a:close/>
                    <a:moveTo>
                      <a:pt x="1096" y="220"/>
                    </a:moveTo>
                    <a:lnTo>
                      <a:pt x="1331" y="220"/>
                    </a:lnTo>
                    <a:lnTo>
                      <a:pt x="1331" y="372"/>
                    </a:lnTo>
                    <a:lnTo>
                      <a:pt x="1096" y="372"/>
                    </a:lnTo>
                    <a:lnTo>
                      <a:pt x="1096" y="220"/>
                    </a:lnTo>
                    <a:close/>
                    <a:moveTo>
                      <a:pt x="1096" y="490"/>
                    </a:moveTo>
                    <a:lnTo>
                      <a:pt x="1331" y="490"/>
                    </a:lnTo>
                    <a:lnTo>
                      <a:pt x="1331" y="643"/>
                    </a:lnTo>
                    <a:lnTo>
                      <a:pt x="1096" y="643"/>
                    </a:lnTo>
                    <a:lnTo>
                      <a:pt x="1096" y="490"/>
                    </a:lnTo>
                    <a:close/>
                    <a:moveTo>
                      <a:pt x="1096" y="760"/>
                    </a:moveTo>
                    <a:lnTo>
                      <a:pt x="1331" y="760"/>
                    </a:lnTo>
                    <a:lnTo>
                      <a:pt x="1331" y="914"/>
                    </a:lnTo>
                    <a:lnTo>
                      <a:pt x="1096" y="914"/>
                    </a:lnTo>
                    <a:lnTo>
                      <a:pt x="1096" y="760"/>
                    </a:lnTo>
                    <a:close/>
                    <a:moveTo>
                      <a:pt x="1096" y="1031"/>
                    </a:moveTo>
                    <a:lnTo>
                      <a:pt x="1331" y="1031"/>
                    </a:lnTo>
                    <a:lnTo>
                      <a:pt x="1331" y="1185"/>
                    </a:lnTo>
                    <a:lnTo>
                      <a:pt x="1096" y="1185"/>
                    </a:lnTo>
                    <a:lnTo>
                      <a:pt x="1096" y="1031"/>
                    </a:lnTo>
                    <a:close/>
                    <a:moveTo>
                      <a:pt x="690" y="767"/>
                    </a:moveTo>
                    <a:lnTo>
                      <a:pt x="866" y="767"/>
                    </a:lnTo>
                    <a:lnTo>
                      <a:pt x="866" y="932"/>
                    </a:lnTo>
                    <a:lnTo>
                      <a:pt x="690" y="932"/>
                    </a:lnTo>
                    <a:lnTo>
                      <a:pt x="690" y="767"/>
                    </a:lnTo>
                    <a:close/>
                    <a:moveTo>
                      <a:pt x="690" y="1058"/>
                    </a:moveTo>
                    <a:lnTo>
                      <a:pt x="866" y="1058"/>
                    </a:lnTo>
                    <a:lnTo>
                      <a:pt x="866" y="1222"/>
                    </a:lnTo>
                    <a:lnTo>
                      <a:pt x="690" y="1222"/>
                    </a:lnTo>
                    <a:lnTo>
                      <a:pt x="690" y="1058"/>
                    </a:lnTo>
                    <a:close/>
                    <a:moveTo>
                      <a:pt x="690" y="1348"/>
                    </a:moveTo>
                    <a:lnTo>
                      <a:pt x="866" y="1348"/>
                    </a:lnTo>
                    <a:lnTo>
                      <a:pt x="866" y="1512"/>
                    </a:lnTo>
                    <a:lnTo>
                      <a:pt x="690" y="1512"/>
                    </a:lnTo>
                    <a:lnTo>
                      <a:pt x="690" y="1348"/>
                    </a:lnTo>
                    <a:close/>
                    <a:moveTo>
                      <a:pt x="405" y="767"/>
                    </a:moveTo>
                    <a:lnTo>
                      <a:pt x="581" y="767"/>
                    </a:lnTo>
                    <a:lnTo>
                      <a:pt x="581" y="932"/>
                    </a:lnTo>
                    <a:lnTo>
                      <a:pt x="405" y="932"/>
                    </a:lnTo>
                    <a:lnTo>
                      <a:pt x="405" y="767"/>
                    </a:lnTo>
                    <a:close/>
                    <a:moveTo>
                      <a:pt x="405" y="1058"/>
                    </a:moveTo>
                    <a:lnTo>
                      <a:pt x="581" y="1058"/>
                    </a:lnTo>
                    <a:lnTo>
                      <a:pt x="581" y="1222"/>
                    </a:lnTo>
                    <a:lnTo>
                      <a:pt x="405" y="1222"/>
                    </a:lnTo>
                    <a:lnTo>
                      <a:pt x="405" y="1058"/>
                    </a:lnTo>
                    <a:close/>
                    <a:moveTo>
                      <a:pt x="405" y="1348"/>
                    </a:moveTo>
                    <a:lnTo>
                      <a:pt x="581" y="1348"/>
                    </a:lnTo>
                    <a:lnTo>
                      <a:pt x="581" y="1512"/>
                    </a:lnTo>
                    <a:lnTo>
                      <a:pt x="405" y="1512"/>
                    </a:lnTo>
                    <a:lnTo>
                      <a:pt x="405" y="1348"/>
                    </a:lnTo>
                    <a:close/>
                    <a:moveTo>
                      <a:pt x="119" y="767"/>
                    </a:moveTo>
                    <a:lnTo>
                      <a:pt x="295" y="767"/>
                    </a:lnTo>
                    <a:lnTo>
                      <a:pt x="295" y="932"/>
                    </a:lnTo>
                    <a:lnTo>
                      <a:pt x="119" y="932"/>
                    </a:lnTo>
                    <a:lnTo>
                      <a:pt x="119" y="767"/>
                    </a:lnTo>
                    <a:close/>
                    <a:moveTo>
                      <a:pt x="119" y="1058"/>
                    </a:moveTo>
                    <a:lnTo>
                      <a:pt x="295" y="1058"/>
                    </a:lnTo>
                    <a:lnTo>
                      <a:pt x="295" y="1222"/>
                    </a:lnTo>
                    <a:lnTo>
                      <a:pt x="119" y="1222"/>
                    </a:lnTo>
                    <a:lnTo>
                      <a:pt x="119" y="1058"/>
                    </a:lnTo>
                    <a:close/>
                    <a:moveTo>
                      <a:pt x="295" y="1348"/>
                    </a:moveTo>
                    <a:lnTo>
                      <a:pt x="295" y="1512"/>
                    </a:lnTo>
                    <a:lnTo>
                      <a:pt x="119" y="1512"/>
                    </a:lnTo>
                    <a:lnTo>
                      <a:pt x="119" y="1348"/>
                    </a:lnTo>
                    <a:lnTo>
                      <a:pt x="295" y="1348"/>
                    </a:ln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117" tIns="47558" rIns="47558" bIns="95117" numCol="1" spcCol="0" rtlCol="0" fromWordArt="0" anchor="b" anchorCtr="0" forceAA="0" compatLnSpc="1">
                <a:prstTxWarp prst="textNoShape">
                  <a:avLst/>
                </a:prstTxWarp>
                <a:noAutofit/>
              </a:bodyPr>
              <a:lstStyle/>
              <a:p>
                <a:pPr algn="ctr" defTabSz="950843" fontAlgn="base">
                  <a:spcBef>
                    <a:spcPct val="0"/>
                  </a:spcBef>
                  <a:spcAft>
                    <a:spcPct val="0"/>
                  </a:spcAft>
                  <a:defRPr/>
                </a:pPr>
                <a:endParaRPr lang="en-US" sz="832" kern="0" spc="-52">
                  <a:solidFill>
                    <a:srgbClr val="FFFFFF"/>
                  </a:solidFill>
                  <a:latin typeface="Segoe UI"/>
                  <a:ea typeface="Segoe UI" pitchFamily="34" charset="0"/>
                  <a:cs typeface="Segoe UI" pitchFamily="34" charset="0"/>
                </a:endParaRPr>
              </a:p>
            </p:txBody>
          </p:sp>
          <p:sp>
            <p:nvSpPr>
              <p:cNvPr id="33" name="TextBox 596">
                <a:extLst>
                  <a:ext uri="{FF2B5EF4-FFF2-40B4-BE49-F238E27FC236}">
                    <a16:creationId xmlns:a16="http://schemas.microsoft.com/office/drawing/2014/main" id="{AD1E44A3-F8EA-4A9F-8EAA-7EB49233089A}"/>
                  </a:ext>
                </a:extLst>
              </p:cNvPr>
              <p:cNvSpPr txBox="1"/>
              <p:nvPr/>
            </p:nvSpPr>
            <p:spPr>
              <a:xfrm>
                <a:off x="10958500" y="3408087"/>
                <a:ext cx="968599" cy="166199"/>
              </a:xfrm>
              <a:prstGeom prst="rect">
                <a:avLst/>
              </a:prstGeom>
              <a:noFill/>
            </p:spPr>
            <p:txBody>
              <a:bodyPr wrap="square" lIns="0" tIns="0" rIns="0" bIns="0" rtlCol="0">
                <a:noAutofit/>
              </a:bodyPr>
              <a:lstStyle/>
              <a:p>
                <a:pPr algn="ctr" defTabSz="970048">
                  <a:lnSpc>
                    <a:spcPct val="90000"/>
                  </a:lnSpc>
                  <a:spcAft>
                    <a:spcPts val="624"/>
                  </a:spcAft>
                  <a:defRPr/>
                </a:pPr>
                <a:r>
                  <a:rPr lang="en-US" sz="832" kern="0" dirty="0">
                    <a:solidFill>
                      <a:srgbClr val="FFFFFF"/>
                    </a:solidFill>
                    <a:latin typeface="Segoe UI"/>
                  </a:rPr>
                  <a:t>Buildings</a:t>
                </a:r>
              </a:p>
            </p:txBody>
          </p:sp>
        </p:grpSp>
        <p:grpSp>
          <p:nvGrpSpPr>
            <p:cNvPr id="21" name="Group 176">
              <a:extLst>
                <a:ext uri="{FF2B5EF4-FFF2-40B4-BE49-F238E27FC236}">
                  <a16:creationId xmlns:a16="http://schemas.microsoft.com/office/drawing/2014/main" id="{E04860F1-F781-47B3-ACD1-CBB0F1E7B758}"/>
                </a:ext>
              </a:extLst>
            </p:cNvPr>
            <p:cNvGrpSpPr/>
            <p:nvPr/>
          </p:nvGrpSpPr>
          <p:grpSpPr>
            <a:xfrm>
              <a:off x="802045" y="2941090"/>
              <a:ext cx="764338" cy="718705"/>
              <a:chOff x="3312504" y="5442422"/>
              <a:chExt cx="968599" cy="873018"/>
            </a:xfrm>
          </p:grpSpPr>
          <p:sp>
            <p:nvSpPr>
              <p:cNvPr id="26" name="TextBox 502">
                <a:extLst>
                  <a:ext uri="{FF2B5EF4-FFF2-40B4-BE49-F238E27FC236}">
                    <a16:creationId xmlns:a16="http://schemas.microsoft.com/office/drawing/2014/main" id="{8F90690F-442F-4444-B24D-BFC57E5C89F9}"/>
                  </a:ext>
                </a:extLst>
              </p:cNvPr>
              <p:cNvSpPr txBox="1"/>
              <p:nvPr/>
            </p:nvSpPr>
            <p:spPr>
              <a:xfrm>
                <a:off x="3312504" y="6149241"/>
                <a:ext cx="968599" cy="166199"/>
              </a:xfrm>
              <a:prstGeom prst="rect">
                <a:avLst/>
              </a:prstGeom>
              <a:noFill/>
            </p:spPr>
            <p:txBody>
              <a:bodyPr wrap="square" lIns="0" tIns="0" rIns="0" bIns="0" rtlCol="0">
                <a:noAutofit/>
              </a:bodyPr>
              <a:lstStyle/>
              <a:p>
                <a:pPr algn="ctr" defTabSz="970048">
                  <a:lnSpc>
                    <a:spcPct val="90000"/>
                  </a:lnSpc>
                  <a:spcAft>
                    <a:spcPts val="624"/>
                  </a:spcAft>
                  <a:defRPr/>
                </a:pPr>
                <a:r>
                  <a:rPr lang="en-US" sz="832" kern="0" dirty="0">
                    <a:solidFill>
                      <a:srgbClr val="FFFFFF"/>
                    </a:solidFill>
                    <a:latin typeface="Segoe UI"/>
                  </a:rPr>
                  <a:t>Smart meters</a:t>
                </a:r>
              </a:p>
            </p:txBody>
          </p:sp>
          <p:grpSp>
            <p:nvGrpSpPr>
              <p:cNvPr id="27" name="Group 173">
                <a:extLst>
                  <a:ext uri="{FF2B5EF4-FFF2-40B4-BE49-F238E27FC236}">
                    <a16:creationId xmlns:a16="http://schemas.microsoft.com/office/drawing/2014/main" id="{7BE1EE75-0810-4E07-8121-68AB6F300F60}"/>
                  </a:ext>
                </a:extLst>
              </p:cNvPr>
              <p:cNvGrpSpPr/>
              <p:nvPr/>
            </p:nvGrpSpPr>
            <p:grpSpPr>
              <a:xfrm>
                <a:off x="3661466" y="5442422"/>
                <a:ext cx="269077" cy="677391"/>
                <a:chOff x="3661466" y="5442422"/>
                <a:chExt cx="269077" cy="677391"/>
              </a:xfrm>
            </p:grpSpPr>
            <p:sp>
              <p:nvSpPr>
                <p:cNvPr id="28" name="Freeform 5">
                  <a:extLst>
                    <a:ext uri="{FF2B5EF4-FFF2-40B4-BE49-F238E27FC236}">
                      <a16:creationId xmlns:a16="http://schemas.microsoft.com/office/drawing/2014/main" id="{4A7F63D6-D022-431C-8608-06601F832338}"/>
                    </a:ext>
                  </a:extLst>
                </p:cNvPr>
                <p:cNvSpPr>
                  <a:spLocks noEditPoints="1"/>
                </p:cNvSpPr>
                <p:nvPr/>
              </p:nvSpPr>
              <p:spPr bwMode="auto">
                <a:xfrm>
                  <a:off x="3769772" y="5649914"/>
                  <a:ext cx="54567" cy="86697"/>
                </a:xfrm>
                <a:custGeom>
                  <a:avLst/>
                  <a:gdLst>
                    <a:gd name="T0" fmla="*/ 2613 w 2719"/>
                    <a:gd name="T1" fmla="*/ 2366 h 4320"/>
                    <a:gd name="T2" fmla="*/ 2390 w 2719"/>
                    <a:gd name="T3" fmla="*/ 2102 h 4320"/>
                    <a:gd name="T4" fmla="*/ 2101 w 2719"/>
                    <a:gd name="T5" fmla="*/ 1938 h 4320"/>
                    <a:gd name="T6" fmla="*/ 1624 w 2719"/>
                    <a:gd name="T7" fmla="*/ 1896 h 4320"/>
                    <a:gd name="T8" fmla="*/ 2331 w 2719"/>
                    <a:gd name="T9" fmla="*/ 1150 h 4320"/>
                    <a:gd name="T10" fmla="*/ 2440 w 2719"/>
                    <a:gd name="T11" fmla="*/ 1082 h 4320"/>
                    <a:gd name="T12" fmla="*/ 2508 w 2719"/>
                    <a:gd name="T13" fmla="*/ 973 h 4320"/>
                    <a:gd name="T14" fmla="*/ 2508 w 2719"/>
                    <a:gd name="T15" fmla="*/ 813 h 4320"/>
                    <a:gd name="T16" fmla="*/ 2440 w 2719"/>
                    <a:gd name="T17" fmla="*/ 704 h 4320"/>
                    <a:gd name="T18" fmla="*/ 2331 w 2719"/>
                    <a:gd name="T19" fmla="*/ 636 h 4320"/>
                    <a:gd name="T20" fmla="*/ 1624 w 2719"/>
                    <a:gd name="T21" fmla="*/ 271 h 4320"/>
                    <a:gd name="T22" fmla="*/ 1595 w 2719"/>
                    <a:gd name="T23" fmla="*/ 143 h 4320"/>
                    <a:gd name="T24" fmla="*/ 1506 w 2719"/>
                    <a:gd name="T25" fmla="*/ 43 h 4320"/>
                    <a:gd name="T26" fmla="*/ 1410 w 2719"/>
                    <a:gd name="T27" fmla="*/ 5 h 4320"/>
                    <a:gd name="T28" fmla="*/ 1255 w 2719"/>
                    <a:gd name="T29" fmla="*/ 18 h 4320"/>
                    <a:gd name="T30" fmla="*/ 1170 w 2719"/>
                    <a:gd name="T31" fmla="*/ 81 h 4320"/>
                    <a:gd name="T32" fmla="*/ 1112 w 2719"/>
                    <a:gd name="T33" fmla="*/ 164 h 4320"/>
                    <a:gd name="T34" fmla="*/ 1091 w 2719"/>
                    <a:gd name="T35" fmla="*/ 628 h 4320"/>
                    <a:gd name="T36" fmla="*/ 614 w 2719"/>
                    <a:gd name="T37" fmla="*/ 665 h 4320"/>
                    <a:gd name="T38" fmla="*/ 332 w 2719"/>
                    <a:gd name="T39" fmla="*/ 830 h 4320"/>
                    <a:gd name="T40" fmla="*/ 102 w 2719"/>
                    <a:gd name="T41" fmla="*/ 1103 h 4320"/>
                    <a:gd name="T42" fmla="*/ 5 w 2719"/>
                    <a:gd name="T43" fmla="*/ 1437 h 4320"/>
                    <a:gd name="T44" fmla="*/ 39 w 2719"/>
                    <a:gd name="T45" fmla="*/ 1790 h 4320"/>
                    <a:gd name="T46" fmla="*/ 202 w 2719"/>
                    <a:gd name="T47" fmla="*/ 2097 h 4320"/>
                    <a:gd name="T48" fmla="*/ 468 w 2719"/>
                    <a:gd name="T49" fmla="*/ 2321 h 4320"/>
                    <a:gd name="T50" fmla="*/ 778 w 2719"/>
                    <a:gd name="T51" fmla="*/ 2423 h 4320"/>
                    <a:gd name="T52" fmla="*/ 350 w 2719"/>
                    <a:gd name="T53" fmla="*/ 3163 h 4320"/>
                    <a:gd name="T54" fmla="*/ 244 w 2719"/>
                    <a:gd name="T55" fmla="*/ 3184 h 4320"/>
                    <a:gd name="T56" fmla="*/ 123 w 2719"/>
                    <a:gd name="T57" fmla="*/ 3284 h 4320"/>
                    <a:gd name="T58" fmla="*/ 84 w 2719"/>
                    <a:gd name="T59" fmla="*/ 3373 h 4320"/>
                    <a:gd name="T60" fmla="*/ 102 w 2719"/>
                    <a:gd name="T61" fmla="*/ 3534 h 4320"/>
                    <a:gd name="T62" fmla="*/ 160 w 2719"/>
                    <a:gd name="T63" fmla="*/ 3621 h 4320"/>
                    <a:gd name="T64" fmla="*/ 269 w 2719"/>
                    <a:gd name="T65" fmla="*/ 3685 h 4320"/>
                    <a:gd name="T66" fmla="*/ 1091 w 2719"/>
                    <a:gd name="T67" fmla="*/ 4059 h 4320"/>
                    <a:gd name="T68" fmla="*/ 1120 w 2719"/>
                    <a:gd name="T69" fmla="*/ 4178 h 4320"/>
                    <a:gd name="T70" fmla="*/ 1212 w 2719"/>
                    <a:gd name="T71" fmla="*/ 4278 h 4320"/>
                    <a:gd name="T72" fmla="*/ 1360 w 2719"/>
                    <a:gd name="T73" fmla="*/ 4320 h 4320"/>
                    <a:gd name="T74" fmla="*/ 1506 w 2719"/>
                    <a:gd name="T75" fmla="*/ 4278 h 4320"/>
                    <a:gd name="T76" fmla="*/ 1595 w 2719"/>
                    <a:gd name="T77" fmla="*/ 4178 h 4320"/>
                    <a:gd name="T78" fmla="*/ 1624 w 2719"/>
                    <a:gd name="T79" fmla="*/ 4059 h 4320"/>
                    <a:gd name="T80" fmla="*/ 2025 w 2719"/>
                    <a:gd name="T81" fmla="*/ 3676 h 4320"/>
                    <a:gd name="T82" fmla="*/ 2323 w 2719"/>
                    <a:gd name="T83" fmla="*/ 3542 h 4320"/>
                    <a:gd name="T84" fmla="*/ 2516 w 2719"/>
                    <a:gd name="T85" fmla="*/ 3365 h 4320"/>
                    <a:gd name="T86" fmla="*/ 2680 w 2719"/>
                    <a:gd name="T87" fmla="*/ 3062 h 4320"/>
                    <a:gd name="T88" fmla="*/ 2719 w 2719"/>
                    <a:gd name="T89" fmla="*/ 2793 h 4320"/>
                    <a:gd name="T90" fmla="*/ 956 w 2719"/>
                    <a:gd name="T91" fmla="*/ 1893 h 4320"/>
                    <a:gd name="T92" fmla="*/ 820 w 2719"/>
                    <a:gd name="T93" fmla="*/ 1859 h 4320"/>
                    <a:gd name="T94" fmla="*/ 711 w 2719"/>
                    <a:gd name="T95" fmla="*/ 1785 h 4320"/>
                    <a:gd name="T96" fmla="*/ 624 w 2719"/>
                    <a:gd name="T97" fmla="*/ 1667 h 4320"/>
                    <a:gd name="T98" fmla="*/ 598 w 2719"/>
                    <a:gd name="T99" fmla="*/ 1529 h 4320"/>
                    <a:gd name="T100" fmla="*/ 624 w 2719"/>
                    <a:gd name="T101" fmla="*/ 1390 h 4320"/>
                    <a:gd name="T102" fmla="*/ 711 w 2719"/>
                    <a:gd name="T103" fmla="*/ 1269 h 4320"/>
                    <a:gd name="T104" fmla="*/ 820 w 2719"/>
                    <a:gd name="T105" fmla="*/ 1189 h 4320"/>
                    <a:gd name="T106" fmla="*/ 956 w 2719"/>
                    <a:gd name="T107" fmla="*/ 1160 h 4320"/>
                    <a:gd name="T108" fmla="*/ 2221 w 2719"/>
                    <a:gd name="T109" fmla="*/ 2783 h 4320"/>
                    <a:gd name="T110" fmla="*/ 2197 w 2719"/>
                    <a:gd name="T111" fmla="*/ 2927 h 4320"/>
                    <a:gd name="T112" fmla="*/ 2118 w 2719"/>
                    <a:gd name="T113" fmla="*/ 3044 h 4320"/>
                    <a:gd name="T114" fmla="*/ 2020 w 2719"/>
                    <a:gd name="T115" fmla="*/ 3122 h 4320"/>
                    <a:gd name="T116" fmla="*/ 1896 w 2719"/>
                    <a:gd name="T117" fmla="*/ 3151 h 4320"/>
                    <a:gd name="T118" fmla="*/ 1923 w 2719"/>
                    <a:gd name="T119" fmla="*/ 2421 h 4320"/>
                    <a:gd name="T120" fmla="*/ 2047 w 2719"/>
                    <a:gd name="T121" fmla="*/ 2460 h 4320"/>
                    <a:gd name="T122" fmla="*/ 2142 w 2719"/>
                    <a:gd name="T123" fmla="*/ 2551 h 4320"/>
                    <a:gd name="T124" fmla="*/ 2210 w 2719"/>
                    <a:gd name="T125" fmla="*/ 2674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19" h="4320">
                      <a:moveTo>
                        <a:pt x="2701" y="2616"/>
                      </a:moveTo>
                      <a:lnTo>
                        <a:pt x="2680" y="2527"/>
                      </a:lnTo>
                      <a:lnTo>
                        <a:pt x="2651" y="2447"/>
                      </a:lnTo>
                      <a:lnTo>
                        <a:pt x="2613" y="2366"/>
                      </a:lnTo>
                      <a:lnTo>
                        <a:pt x="2568" y="2295"/>
                      </a:lnTo>
                      <a:lnTo>
                        <a:pt x="2516" y="2228"/>
                      </a:lnTo>
                      <a:lnTo>
                        <a:pt x="2453" y="2160"/>
                      </a:lnTo>
                      <a:lnTo>
                        <a:pt x="2390" y="2102"/>
                      </a:lnTo>
                      <a:lnTo>
                        <a:pt x="2323" y="2050"/>
                      </a:lnTo>
                      <a:lnTo>
                        <a:pt x="2252" y="2005"/>
                      </a:lnTo>
                      <a:lnTo>
                        <a:pt x="2179" y="1967"/>
                      </a:lnTo>
                      <a:lnTo>
                        <a:pt x="2101" y="1938"/>
                      </a:lnTo>
                      <a:lnTo>
                        <a:pt x="2025" y="1917"/>
                      </a:lnTo>
                      <a:lnTo>
                        <a:pt x="1936" y="1904"/>
                      </a:lnTo>
                      <a:lnTo>
                        <a:pt x="1856" y="1896"/>
                      </a:lnTo>
                      <a:lnTo>
                        <a:pt x="1624" y="1896"/>
                      </a:lnTo>
                      <a:lnTo>
                        <a:pt x="1624" y="1158"/>
                      </a:lnTo>
                      <a:lnTo>
                        <a:pt x="2252" y="1158"/>
                      </a:lnTo>
                      <a:lnTo>
                        <a:pt x="2307" y="1155"/>
                      </a:lnTo>
                      <a:lnTo>
                        <a:pt x="2331" y="1150"/>
                      </a:lnTo>
                      <a:lnTo>
                        <a:pt x="2357" y="1142"/>
                      </a:lnTo>
                      <a:lnTo>
                        <a:pt x="2378" y="1129"/>
                      </a:lnTo>
                      <a:lnTo>
                        <a:pt x="2399" y="1116"/>
                      </a:lnTo>
                      <a:lnTo>
                        <a:pt x="2440" y="1082"/>
                      </a:lnTo>
                      <a:lnTo>
                        <a:pt x="2479" y="1041"/>
                      </a:lnTo>
                      <a:lnTo>
                        <a:pt x="2492" y="1020"/>
                      </a:lnTo>
                      <a:lnTo>
                        <a:pt x="2500" y="994"/>
                      </a:lnTo>
                      <a:lnTo>
                        <a:pt x="2508" y="973"/>
                      </a:lnTo>
                      <a:lnTo>
                        <a:pt x="2516" y="949"/>
                      </a:lnTo>
                      <a:lnTo>
                        <a:pt x="2521" y="897"/>
                      </a:lnTo>
                      <a:lnTo>
                        <a:pt x="2516" y="839"/>
                      </a:lnTo>
                      <a:lnTo>
                        <a:pt x="2508" y="813"/>
                      </a:lnTo>
                      <a:lnTo>
                        <a:pt x="2500" y="792"/>
                      </a:lnTo>
                      <a:lnTo>
                        <a:pt x="2492" y="767"/>
                      </a:lnTo>
                      <a:lnTo>
                        <a:pt x="2479" y="746"/>
                      </a:lnTo>
                      <a:lnTo>
                        <a:pt x="2440" y="704"/>
                      </a:lnTo>
                      <a:lnTo>
                        <a:pt x="2399" y="670"/>
                      </a:lnTo>
                      <a:lnTo>
                        <a:pt x="2378" y="657"/>
                      </a:lnTo>
                      <a:lnTo>
                        <a:pt x="2357" y="644"/>
                      </a:lnTo>
                      <a:lnTo>
                        <a:pt x="2331" y="636"/>
                      </a:lnTo>
                      <a:lnTo>
                        <a:pt x="2307" y="633"/>
                      </a:lnTo>
                      <a:lnTo>
                        <a:pt x="2252" y="628"/>
                      </a:lnTo>
                      <a:lnTo>
                        <a:pt x="1624" y="628"/>
                      </a:lnTo>
                      <a:lnTo>
                        <a:pt x="1624" y="271"/>
                      </a:lnTo>
                      <a:lnTo>
                        <a:pt x="1621" y="219"/>
                      </a:lnTo>
                      <a:lnTo>
                        <a:pt x="1613" y="190"/>
                      </a:lnTo>
                      <a:lnTo>
                        <a:pt x="1603" y="164"/>
                      </a:lnTo>
                      <a:lnTo>
                        <a:pt x="1595" y="143"/>
                      </a:lnTo>
                      <a:lnTo>
                        <a:pt x="1582" y="122"/>
                      </a:lnTo>
                      <a:lnTo>
                        <a:pt x="1566" y="101"/>
                      </a:lnTo>
                      <a:lnTo>
                        <a:pt x="1548" y="81"/>
                      </a:lnTo>
                      <a:lnTo>
                        <a:pt x="1506" y="43"/>
                      </a:lnTo>
                      <a:lnTo>
                        <a:pt x="1485" y="31"/>
                      </a:lnTo>
                      <a:lnTo>
                        <a:pt x="1461" y="18"/>
                      </a:lnTo>
                      <a:lnTo>
                        <a:pt x="1435" y="10"/>
                      </a:lnTo>
                      <a:lnTo>
                        <a:pt x="1410" y="5"/>
                      </a:lnTo>
                      <a:lnTo>
                        <a:pt x="1360" y="0"/>
                      </a:lnTo>
                      <a:lnTo>
                        <a:pt x="1310" y="5"/>
                      </a:lnTo>
                      <a:lnTo>
                        <a:pt x="1279" y="10"/>
                      </a:lnTo>
                      <a:lnTo>
                        <a:pt x="1255" y="18"/>
                      </a:lnTo>
                      <a:lnTo>
                        <a:pt x="1233" y="31"/>
                      </a:lnTo>
                      <a:lnTo>
                        <a:pt x="1212" y="43"/>
                      </a:lnTo>
                      <a:lnTo>
                        <a:pt x="1191" y="64"/>
                      </a:lnTo>
                      <a:lnTo>
                        <a:pt x="1170" y="81"/>
                      </a:lnTo>
                      <a:lnTo>
                        <a:pt x="1154" y="101"/>
                      </a:lnTo>
                      <a:lnTo>
                        <a:pt x="1136" y="122"/>
                      </a:lnTo>
                      <a:lnTo>
                        <a:pt x="1120" y="143"/>
                      </a:lnTo>
                      <a:lnTo>
                        <a:pt x="1112" y="164"/>
                      </a:lnTo>
                      <a:lnTo>
                        <a:pt x="1102" y="190"/>
                      </a:lnTo>
                      <a:lnTo>
                        <a:pt x="1094" y="219"/>
                      </a:lnTo>
                      <a:lnTo>
                        <a:pt x="1091" y="271"/>
                      </a:lnTo>
                      <a:lnTo>
                        <a:pt x="1091" y="628"/>
                      </a:lnTo>
                      <a:lnTo>
                        <a:pt x="867" y="628"/>
                      </a:lnTo>
                      <a:lnTo>
                        <a:pt x="778" y="633"/>
                      </a:lnTo>
                      <a:lnTo>
                        <a:pt x="699" y="644"/>
                      </a:lnTo>
                      <a:lnTo>
                        <a:pt x="614" y="665"/>
                      </a:lnTo>
                      <a:lnTo>
                        <a:pt x="543" y="696"/>
                      </a:lnTo>
                      <a:lnTo>
                        <a:pt x="468" y="738"/>
                      </a:lnTo>
                      <a:lnTo>
                        <a:pt x="397" y="780"/>
                      </a:lnTo>
                      <a:lnTo>
                        <a:pt x="332" y="830"/>
                      </a:lnTo>
                      <a:lnTo>
                        <a:pt x="261" y="894"/>
                      </a:lnTo>
                      <a:lnTo>
                        <a:pt x="202" y="957"/>
                      </a:lnTo>
                      <a:lnTo>
                        <a:pt x="147" y="1028"/>
                      </a:lnTo>
                      <a:lnTo>
                        <a:pt x="102" y="1103"/>
                      </a:lnTo>
                      <a:lnTo>
                        <a:pt x="63" y="1179"/>
                      </a:lnTo>
                      <a:lnTo>
                        <a:pt x="39" y="1264"/>
                      </a:lnTo>
                      <a:lnTo>
                        <a:pt x="17" y="1348"/>
                      </a:lnTo>
                      <a:lnTo>
                        <a:pt x="5" y="1437"/>
                      </a:lnTo>
                      <a:lnTo>
                        <a:pt x="0" y="1529"/>
                      </a:lnTo>
                      <a:lnTo>
                        <a:pt x="5" y="1622"/>
                      </a:lnTo>
                      <a:lnTo>
                        <a:pt x="17" y="1706"/>
                      </a:lnTo>
                      <a:lnTo>
                        <a:pt x="39" y="1790"/>
                      </a:lnTo>
                      <a:lnTo>
                        <a:pt x="63" y="1870"/>
                      </a:lnTo>
                      <a:lnTo>
                        <a:pt x="102" y="1951"/>
                      </a:lnTo>
                      <a:lnTo>
                        <a:pt x="147" y="2026"/>
                      </a:lnTo>
                      <a:lnTo>
                        <a:pt x="202" y="2097"/>
                      </a:lnTo>
                      <a:lnTo>
                        <a:pt x="261" y="2165"/>
                      </a:lnTo>
                      <a:lnTo>
                        <a:pt x="332" y="2228"/>
                      </a:lnTo>
                      <a:lnTo>
                        <a:pt x="397" y="2279"/>
                      </a:lnTo>
                      <a:lnTo>
                        <a:pt x="468" y="2321"/>
                      </a:lnTo>
                      <a:lnTo>
                        <a:pt x="543" y="2355"/>
                      </a:lnTo>
                      <a:lnTo>
                        <a:pt x="614" y="2389"/>
                      </a:lnTo>
                      <a:lnTo>
                        <a:pt x="699" y="2410"/>
                      </a:lnTo>
                      <a:lnTo>
                        <a:pt x="778" y="2423"/>
                      </a:lnTo>
                      <a:lnTo>
                        <a:pt x="867" y="2431"/>
                      </a:lnTo>
                      <a:lnTo>
                        <a:pt x="1091" y="2431"/>
                      </a:lnTo>
                      <a:lnTo>
                        <a:pt x="1091" y="3163"/>
                      </a:lnTo>
                      <a:lnTo>
                        <a:pt x="350" y="3163"/>
                      </a:lnTo>
                      <a:lnTo>
                        <a:pt x="324" y="3163"/>
                      </a:lnTo>
                      <a:lnTo>
                        <a:pt x="295" y="3167"/>
                      </a:lnTo>
                      <a:lnTo>
                        <a:pt x="269" y="3175"/>
                      </a:lnTo>
                      <a:lnTo>
                        <a:pt x="244" y="3184"/>
                      </a:lnTo>
                      <a:lnTo>
                        <a:pt x="224" y="3192"/>
                      </a:lnTo>
                      <a:lnTo>
                        <a:pt x="202" y="3205"/>
                      </a:lnTo>
                      <a:lnTo>
                        <a:pt x="160" y="3242"/>
                      </a:lnTo>
                      <a:lnTo>
                        <a:pt x="123" y="3284"/>
                      </a:lnTo>
                      <a:lnTo>
                        <a:pt x="110" y="3305"/>
                      </a:lnTo>
                      <a:lnTo>
                        <a:pt x="102" y="3326"/>
                      </a:lnTo>
                      <a:lnTo>
                        <a:pt x="94" y="3352"/>
                      </a:lnTo>
                      <a:lnTo>
                        <a:pt x="84" y="3373"/>
                      </a:lnTo>
                      <a:lnTo>
                        <a:pt x="81" y="3432"/>
                      </a:lnTo>
                      <a:lnTo>
                        <a:pt x="84" y="3482"/>
                      </a:lnTo>
                      <a:lnTo>
                        <a:pt x="94" y="3508"/>
                      </a:lnTo>
                      <a:lnTo>
                        <a:pt x="102" y="3534"/>
                      </a:lnTo>
                      <a:lnTo>
                        <a:pt x="110" y="3558"/>
                      </a:lnTo>
                      <a:lnTo>
                        <a:pt x="123" y="3579"/>
                      </a:lnTo>
                      <a:lnTo>
                        <a:pt x="139" y="3600"/>
                      </a:lnTo>
                      <a:lnTo>
                        <a:pt x="160" y="3621"/>
                      </a:lnTo>
                      <a:lnTo>
                        <a:pt x="202" y="3655"/>
                      </a:lnTo>
                      <a:lnTo>
                        <a:pt x="224" y="3668"/>
                      </a:lnTo>
                      <a:lnTo>
                        <a:pt x="244" y="3676"/>
                      </a:lnTo>
                      <a:lnTo>
                        <a:pt x="269" y="3685"/>
                      </a:lnTo>
                      <a:lnTo>
                        <a:pt x="295" y="3693"/>
                      </a:lnTo>
                      <a:lnTo>
                        <a:pt x="350" y="3698"/>
                      </a:lnTo>
                      <a:lnTo>
                        <a:pt x="1091" y="3698"/>
                      </a:lnTo>
                      <a:lnTo>
                        <a:pt x="1091" y="4059"/>
                      </a:lnTo>
                      <a:lnTo>
                        <a:pt x="1094" y="4111"/>
                      </a:lnTo>
                      <a:lnTo>
                        <a:pt x="1102" y="4132"/>
                      </a:lnTo>
                      <a:lnTo>
                        <a:pt x="1112" y="4157"/>
                      </a:lnTo>
                      <a:lnTo>
                        <a:pt x="1120" y="4178"/>
                      </a:lnTo>
                      <a:lnTo>
                        <a:pt x="1136" y="4202"/>
                      </a:lnTo>
                      <a:lnTo>
                        <a:pt x="1154" y="4223"/>
                      </a:lnTo>
                      <a:lnTo>
                        <a:pt x="1170" y="4244"/>
                      </a:lnTo>
                      <a:lnTo>
                        <a:pt x="1212" y="4278"/>
                      </a:lnTo>
                      <a:lnTo>
                        <a:pt x="1233" y="4291"/>
                      </a:lnTo>
                      <a:lnTo>
                        <a:pt x="1255" y="4304"/>
                      </a:lnTo>
                      <a:lnTo>
                        <a:pt x="1310" y="4317"/>
                      </a:lnTo>
                      <a:lnTo>
                        <a:pt x="1360" y="4320"/>
                      </a:lnTo>
                      <a:lnTo>
                        <a:pt x="1410" y="4317"/>
                      </a:lnTo>
                      <a:lnTo>
                        <a:pt x="1461" y="4304"/>
                      </a:lnTo>
                      <a:lnTo>
                        <a:pt x="1485" y="4291"/>
                      </a:lnTo>
                      <a:lnTo>
                        <a:pt x="1506" y="4278"/>
                      </a:lnTo>
                      <a:lnTo>
                        <a:pt x="1548" y="4244"/>
                      </a:lnTo>
                      <a:lnTo>
                        <a:pt x="1566" y="4223"/>
                      </a:lnTo>
                      <a:lnTo>
                        <a:pt x="1582" y="4202"/>
                      </a:lnTo>
                      <a:lnTo>
                        <a:pt x="1595" y="4178"/>
                      </a:lnTo>
                      <a:lnTo>
                        <a:pt x="1603" y="4157"/>
                      </a:lnTo>
                      <a:lnTo>
                        <a:pt x="1613" y="4132"/>
                      </a:lnTo>
                      <a:lnTo>
                        <a:pt x="1621" y="4111"/>
                      </a:lnTo>
                      <a:lnTo>
                        <a:pt x="1624" y="4059"/>
                      </a:lnTo>
                      <a:lnTo>
                        <a:pt x="1624" y="3698"/>
                      </a:lnTo>
                      <a:lnTo>
                        <a:pt x="1856" y="3698"/>
                      </a:lnTo>
                      <a:lnTo>
                        <a:pt x="1940" y="3689"/>
                      </a:lnTo>
                      <a:lnTo>
                        <a:pt x="2025" y="3676"/>
                      </a:lnTo>
                      <a:lnTo>
                        <a:pt x="2101" y="3655"/>
                      </a:lnTo>
                      <a:lnTo>
                        <a:pt x="2179" y="3626"/>
                      </a:lnTo>
                      <a:lnTo>
                        <a:pt x="2252" y="3589"/>
                      </a:lnTo>
                      <a:lnTo>
                        <a:pt x="2323" y="3542"/>
                      </a:lnTo>
                      <a:lnTo>
                        <a:pt x="2386" y="3495"/>
                      </a:lnTo>
                      <a:lnTo>
                        <a:pt x="2448" y="3436"/>
                      </a:lnTo>
                      <a:lnTo>
                        <a:pt x="2453" y="3432"/>
                      </a:lnTo>
                      <a:lnTo>
                        <a:pt x="2516" y="3365"/>
                      </a:lnTo>
                      <a:lnTo>
                        <a:pt x="2568" y="3294"/>
                      </a:lnTo>
                      <a:lnTo>
                        <a:pt x="2613" y="3221"/>
                      </a:lnTo>
                      <a:lnTo>
                        <a:pt x="2651" y="3141"/>
                      </a:lnTo>
                      <a:lnTo>
                        <a:pt x="2680" y="3062"/>
                      </a:lnTo>
                      <a:lnTo>
                        <a:pt x="2701" y="2978"/>
                      </a:lnTo>
                      <a:lnTo>
                        <a:pt x="2714" y="2890"/>
                      </a:lnTo>
                      <a:lnTo>
                        <a:pt x="2719" y="2796"/>
                      </a:lnTo>
                      <a:lnTo>
                        <a:pt x="2719" y="2793"/>
                      </a:lnTo>
                      <a:lnTo>
                        <a:pt x="2714" y="2700"/>
                      </a:lnTo>
                      <a:lnTo>
                        <a:pt x="2701" y="2616"/>
                      </a:lnTo>
                      <a:close/>
                      <a:moveTo>
                        <a:pt x="1175" y="1893"/>
                      </a:moveTo>
                      <a:lnTo>
                        <a:pt x="956" y="1893"/>
                      </a:lnTo>
                      <a:lnTo>
                        <a:pt x="922" y="1889"/>
                      </a:lnTo>
                      <a:lnTo>
                        <a:pt x="891" y="1885"/>
                      </a:lnTo>
                      <a:lnTo>
                        <a:pt x="851" y="1872"/>
                      </a:lnTo>
                      <a:lnTo>
                        <a:pt x="820" y="1859"/>
                      </a:lnTo>
                      <a:lnTo>
                        <a:pt x="794" y="1848"/>
                      </a:lnTo>
                      <a:lnTo>
                        <a:pt x="764" y="1830"/>
                      </a:lnTo>
                      <a:lnTo>
                        <a:pt x="738" y="1809"/>
                      </a:lnTo>
                      <a:lnTo>
                        <a:pt x="711" y="1785"/>
                      </a:lnTo>
                      <a:lnTo>
                        <a:pt x="680" y="1759"/>
                      </a:lnTo>
                      <a:lnTo>
                        <a:pt x="659" y="1730"/>
                      </a:lnTo>
                      <a:lnTo>
                        <a:pt x="641" y="1696"/>
                      </a:lnTo>
                      <a:lnTo>
                        <a:pt x="624" y="1667"/>
                      </a:lnTo>
                      <a:lnTo>
                        <a:pt x="611" y="1633"/>
                      </a:lnTo>
                      <a:lnTo>
                        <a:pt x="603" y="1599"/>
                      </a:lnTo>
                      <a:lnTo>
                        <a:pt x="598" y="1566"/>
                      </a:lnTo>
                      <a:lnTo>
                        <a:pt x="598" y="1529"/>
                      </a:lnTo>
                      <a:lnTo>
                        <a:pt x="598" y="1492"/>
                      </a:lnTo>
                      <a:lnTo>
                        <a:pt x="603" y="1458"/>
                      </a:lnTo>
                      <a:lnTo>
                        <a:pt x="611" y="1424"/>
                      </a:lnTo>
                      <a:lnTo>
                        <a:pt x="624" y="1390"/>
                      </a:lnTo>
                      <a:lnTo>
                        <a:pt x="641" y="1353"/>
                      </a:lnTo>
                      <a:lnTo>
                        <a:pt x="659" y="1322"/>
                      </a:lnTo>
                      <a:lnTo>
                        <a:pt x="680" y="1293"/>
                      </a:lnTo>
                      <a:lnTo>
                        <a:pt x="711" y="1269"/>
                      </a:lnTo>
                      <a:lnTo>
                        <a:pt x="738" y="1243"/>
                      </a:lnTo>
                      <a:lnTo>
                        <a:pt x="764" y="1227"/>
                      </a:lnTo>
                      <a:lnTo>
                        <a:pt x="794" y="1206"/>
                      </a:lnTo>
                      <a:lnTo>
                        <a:pt x="820" y="1189"/>
                      </a:lnTo>
                      <a:lnTo>
                        <a:pt x="851" y="1176"/>
                      </a:lnTo>
                      <a:lnTo>
                        <a:pt x="891" y="1168"/>
                      </a:lnTo>
                      <a:lnTo>
                        <a:pt x="922" y="1165"/>
                      </a:lnTo>
                      <a:lnTo>
                        <a:pt x="956" y="1160"/>
                      </a:lnTo>
                      <a:lnTo>
                        <a:pt x="1175" y="1160"/>
                      </a:lnTo>
                      <a:lnTo>
                        <a:pt x="1175" y="1893"/>
                      </a:lnTo>
                      <a:close/>
                      <a:moveTo>
                        <a:pt x="2221" y="2780"/>
                      </a:moveTo>
                      <a:lnTo>
                        <a:pt x="2221" y="2783"/>
                      </a:lnTo>
                      <a:lnTo>
                        <a:pt x="2221" y="2822"/>
                      </a:lnTo>
                      <a:lnTo>
                        <a:pt x="2218" y="2856"/>
                      </a:lnTo>
                      <a:lnTo>
                        <a:pt x="2205" y="2893"/>
                      </a:lnTo>
                      <a:lnTo>
                        <a:pt x="2197" y="2927"/>
                      </a:lnTo>
                      <a:lnTo>
                        <a:pt x="2183" y="2957"/>
                      </a:lnTo>
                      <a:lnTo>
                        <a:pt x="2167" y="2986"/>
                      </a:lnTo>
                      <a:lnTo>
                        <a:pt x="2142" y="3015"/>
                      </a:lnTo>
                      <a:lnTo>
                        <a:pt x="2118" y="3044"/>
                      </a:lnTo>
                      <a:lnTo>
                        <a:pt x="2094" y="3070"/>
                      </a:lnTo>
                      <a:lnTo>
                        <a:pt x="2072" y="3088"/>
                      </a:lnTo>
                      <a:lnTo>
                        <a:pt x="2047" y="3104"/>
                      </a:lnTo>
                      <a:lnTo>
                        <a:pt x="2020" y="3122"/>
                      </a:lnTo>
                      <a:lnTo>
                        <a:pt x="1988" y="3133"/>
                      </a:lnTo>
                      <a:lnTo>
                        <a:pt x="1956" y="3143"/>
                      </a:lnTo>
                      <a:lnTo>
                        <a:pt x="1928" y="3146"/>
                      </a:lnTo>
                      <a:lnTo>
                        <a:pt x="1896" y="3151"/>
                      </a:lnTo>
                      <a:lnTo>
                        <a:pt x="1698" y="3151"/>
                      </a:lnTo>
                      <a:lnTo>
                        <a:pt x="1698" y="2418"/>
                      </a:lnTo>
                      <a:lnTo>
                        <a:pt x="1896" y="2418"/>
                      </a:lnTo>
                      <a:lnTo>
                        <a:pt x="1923" y="2421"/>
                      </a:lnTo>
                      <a:lnTo>
                        <a:pt x="1956" y="2426"/>
                      </a:lnTo>
                      <a:lnTo>
                        <a:pt x="1988" y="2434"/>
                      </a:lnTo>
                      <a:lnTo>
                        <a:pt x="2020" y="2447"/>
                      </a:lnTo>
                      <a:lnTo>
                        <a:pt x="2047" y="2460"/>
                      </a:lnTo>
                      <a:lnTo>
                        <a:pt x="2072" y="2481"/>
                      </a:lnTo>
                      <a:lnTo>
                        <a:pt x="2094" y="2497"/>
                      </a:lnTo>
                      <a:lnTo>
                        <a:pt x="2118" y="2522"/>
                      </a:lnTo>
                      <a:lnTo>
                        <a:pt x="2142" y="2551"/>
                      </a:lnTo>
                      <a:lnTo>
                        <a:pt x="2167" y="2582"/>
                      </a:lnTo>
                      <a:lnTo>
                        <a:pt x="2183" y="2611"/>
                      </a:lnTo>
                      <a:lnTo>
                        <a:pt x="2197" y="2640"/>
                      </a:lnTo>
                      <a:lnTo>
                        <a:pt x="2210" y="2674"/>
                      </a:lnTo>
                      <a:lnTo>
                        <a:pt x="2218" y="2708"/>
                      </a:lnTo>
                      <a:lnTo>
                        <a:pt x="2221" y="2746"/>
                      </a:lnTo>
                      <a:lnTo>
                        <a:pt x="2221" y="2780"/>
                      </a:lnTo>
                      <a:close/>
                    </a:path>
                  </a:pathLst>
                </a:cu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117" tIns="47558" rIns="47558" bIns="95117" numCol="1" spcCol="0" rtlCol="0" fromWordArt="0" anchor="b" anchorCtr="0" forceAA="0" compatLnSpc="1">
                  <a:prstTxWarp prst="textNoShape">
                    <a:avLst/>
                  </a:prstTxWarp>
                  <a:noAutofit/>
                </a:bodyPr>
                <a:lstStyle/>
                <a:p>
                  <a:pPr algn="ctr" defTabSz="950843" fontAlgn="base">
                    <a:spcBef>
                      <a:spcPct val="0"/>
                    </a:spcBef>
                    <a:spcAft>
                      <a:spcPct val="0"/>
                    </a:spcAft>
                    <a:defRPr/>
                  </a:pPr>
                  <a:endParaRPr lang="en-US" sz="832" kern="0" spc="-52" dirty="0">
                    <a:solidFill>
                      <a:srgbClr val="FFFFFF"/>
                    </a:solidFill>
                    <a:latin typeface="Segoe UI"/>
                    <a:ea typeface="Segoe UI" pitchFamily="34" charset="0"/>
                    <a:cs typeface="Segoe UI" pitchFamily="34" charset="0"/>
                  </a:endParaRPr>
                </a:p>
              </p:txBody>
            </p:sp>
            <p:grpSp>
              <p:nvGrpSpPr>
                <p:cNvPr id="29" name="Group 86">
                  <a:extLst>
                    <a:ext uri="{FF2B5EF4-FFF2-40B4-BE49-F238E27FC236}">
                      <a16:creationId xmlns:a16="http://schemas.microsoft.com/office/drawing/2014/main" id="{DE4B5ED7-FB29-489D-B121-905EE84EFC9C}"/>
                    </a:ext>
                  </a:extLst>
                </p:cNvPr>
                <p:cNvGrpSpPr/>
                <p:nvPr/>
              </p:nvGrpSpPr>
              <p:grpSpPr>
                <a:xfrm>
                  <a:off x="3661466" y="5442422"/>
                  <a:ext cx="269077" cy="677391"/>
                  <a:chOff x="3661466" y="5442422"/>
                  <a:chExt cx="269077" cy="677391"/>
                </a:xfrm>
              </p:grpSpPr>
              <p:sp>
                <p:nvSpPr>
                  <p:cNvPr id="30" name="Freeform: Shape 772">
                    <a:extLst>
                      <a:ext uri="{FF2B5EF4-FFF2-40B4-BE49-F238E27FC236}">
                        <a16:creationId xmlns:a16="http://schemas.microsoft.com/office/drawing/2014/main" id="{BBB2D165-F6B0-4D64-B9EF-D0C7C2BB0F4B}"/>
                      </a:ext>
                    </a:extLst>
                  </p:cNvPr>
                  <p:cNvSpPr/>
                  <p:nvPr/>
                </p:nvSpPr>
                <p:spPr bwMode="auto">
                  <a:xfrm>
                    <a:off x="3661466" y="5442422"/>
                    <a:ext cx="269077" cy="373571"/>
                  </a:xfrm>
                  <a:custGeom>
                    <a:avLst/>
                    <a:gdLst>
                      <a:gd name="connsiteX0" fmla="*/ 147140 w 269077"/>
                      <a:gd name="connsiteY0" fmla="*/ 177466 h 373571"/>
                      <a:gd name="connsiteX1" fmla="*/ 146522 w 269077"/>
                      <a:gd name="connsiteY1" fmla="*/ 177635 h 373571"/>
                      <a:gd name="connsiteX2" fmla="*/ 145737 w 269077"/>
                      <a:gd name="connsiteY2" fmla="*/ 177915 h 373571"/>
                      <a:gd name="connsiteX3" fmla="*/ 133670 w 269077"/>
                      <a:gd name="connsiteY3" fmla="*/ 183640 h 373571"/>
                      <a:gd name="connsiteX4" fmla="*/ 121324 w 269077"/>
                      <a:gd name="connsiteY4" fmla="*/ 179038 h 373571"/>
                      <a:gd name="connsiteX5" fmla="*/ 120594 w 269077"/>
                      <a:gd name="connsiteY5" fmla="*/ 178757 h 373571"/>
                      <a:gd name="connsiteX6" fmla="*/ 119752 w 269077"/>
                      <a:gd name="connsiteY6" fmla="*/ 178645 h 373571"/>
                      <a:gd name="connsiteX7" fmla="*/ 119079 w 269077"/>
                      <a:gd name="connsiteY7" fmla="*/ 178645 h 373571"/>
                      <a:gd name="connsiteX8" fmla="*/ 118237 w 269077"/>
                      <a:gd name="connsiteY8" fmla="*/ 178757 h 373571"/>
                      <a:gd name="connsiteX9" fmla="*/ 117451 w 269077"/>
                      <a:gd name="connsiteY9" fmla="*/ 179038 h 373571"/>
                      <a:gd name="connsiteX10" fmla="*/ 116778 w 269077"/>
                      <a:gd name="connsiteY10" fmla="*/ 179374 h 373571"/>
                      <a:gd name="connsiteX11" fmla="*/ 116160 w 269077"/>
                      <a:gd name="connsiteY11" fmla="*/ 179711 h 373571"/>
                      <a:gd name="connsiteX12" fmla="*/ 115543 w 269077"/>
                      <a:gd name="connsiteY12" fmla="*/ 180385 h 373571"/>
                      <a:gd name="connsiteX13" fmla="*/ 106564 w 269077"/>
                      <a:gd name="connsiteY13" fmla="*/ 190038 h 373571"/>
                      <a:gd name="connsiteX14" fmla="*/ 93319 w 269077"/>
                      <a:gd name="connsiteY14" fmla="*/ 190487 h 373571"/>
                      <a:gd name="connsiteX15" fmla="*/ 92365 w 269077"/>
                      <a:gd name="connsiteY15" fmla="*/ 190599 h 373571"/>
                      <a:gd name="connsiteX16" fmla="*/ 91747 w 269077"/>
                      <a:gd name="connsiteY16" fmla="*/ 190767 h 373571"/>
                      <a:gd name="connsiteX17" fmla="*/ 91018 w 269077"/>
                      <a:gd name="connsiteY17" fmla="*/ 191048 h 373571"/>
                      <a:gd name="connsiteX18" fmla="*/ 90288 w 269077"/>
                      <a:gd name="connsiteY18" fmla="*/ 191553 h 373571"/>
                      <a:gd name="connsiteX19" fmla="*/ 90401 w 269077"/>
                      <a:gd name="connsiteY19" fmla="*/ 191553 h 373571"/>
                      <a:gd name="connsiteX20" fmla="*/ 89783 w 269077"/>
                      <a:gd name="connsiteY20" fmla="*/ 192002 h 373571"/>
                      <a:gd name="connsiteX21" fmla="*/ 89166 w 269077"/>
                      <a:gd name="connsiteY21" fmla="*/ 192563 h 373571"/>
                      <a:gd name="connsiteX22" fmla="*/ 88885 w 269077"/>
                      <a:gd name="connsiteY22" fmla="*/ 193180 h 373571"/>
                      <a:gd name="connsiteX23" fmla="*/ 88492 w 269077"/>
                      <a:gd name="connsiteY23" fmla="*/ 193910 h 373571"/>
                      <a:gd name="connsiteX24" fmla="*/ 84003 w 269077"/>
                      <a:gd name="connsiteY24" fmla="*/ 206425 h 373571"/>
                      <a:gd name="connsiteX25" fmla="*/ 71880 w 269077"/>
                      <a:gd name="connsiteY25" fmla="*/ 211925 h 373571"/>
                      <a:gd name="connsiteX26" fmla="*/ 71151 w 269077"/>
                      <a:gd name="connsiteY26" fmla="*/ 212262 h 373571"/>
                      <a:gd name="connsiteX27" fmla="*/ 70590 w 269077"/>
                      <a:gd name="connsiteY27" fmla="*/ 212711 h 373571"/>
                      <a:gd name="connsiteX28" fmla="*/ 70084 w 269077"/>
                      <a:gd name="connsiteY28" fmla="*/ 213272 h 373571"/>
                      <a:gd name="connsiteX29" fmla="*/ 69636 w 269077"/>
                      <a:gd name="connsiteY29" fmla="*/ 213889 h 373571"/>
                      <a:gd name="connsiteX30" fmla="*/ 69187 w 269077"/>
                      <a:gd name="connsiteY30" fmla="*/ 214619 h 373571"/>
                      <a:gd name="connsiteX31" fmla="*/ 68906 w 269077"/>
                      <a:gd name="connsiteY31" fmla="*/ 215348 h 373571"/>
                      <a:gd name="connsiteX32" fmla="*/ 68794 w 269077"/>
                      <a:gd name="connsiteY32" fmla="*/ 216078 h 373571"/>
                      <a:gd name="connsiteX33" fmla="*/ 68738 w 269077"/>
                      <a:gd name="connsiteY33" fmla="*/ 216808 h 373571"/>
                      <a:gd name="connsiteX34" fmla="*/ 69355 w 269077"/>
                      <a:gd name="connsiteY34" fmla="*/ 229996 h 373571"/>
                      <a:gd name="connsiteX35" fmla="*/ 60375 w 269077"/>
                      <a:gd name="connsiteY35" fmla="*/ 239649 h 373571"/>
                      <a:gd name="connsiteX36" fmla="*/ 59870 w 269077"/>
                      <a:gd name="connsiteY36" fmla="*/ 240210 h 373571"/>
                      <a:gd name="connsiteX37" fmla="*/ 59421 w 269077"/>
                      <a:gd name="connsiteY37" fmla="*/ 241052 h 373571"/>
                      <a:gd name="connsiteX38" fmla="*/ 59141 w 269077"/>
                      <a:gd name="connsiteY38" fmla="*/ 241670 h 373571"/>
                      <a:gd name="connsiteX39" fmla="*/ 58972 w 269077"/>
                      <a:gd name="connsiteY39" fmla="*/ 242399 h 373571"/>
                      <a:gd name="connsiteX40" fmla="*/ 58860 w 269077"/>
                      <a:gd name="connsiteY40" fmla="*/ 243185 h 373571"/>
                      <a:gd name="connsiteX41" fmla="*/ 58972 w 269077"/>
                      <a:gd name="connsiteY41" fmla="*/ 243914 h 373571"/>
                      <a:gd name="connsiteX42" fmla="*/ 59028 w 269077"/>
                      <a:gd name="connsiteY42" fmla="*/ 244756 h 373571"/>
                      <a:gd name="connsiteX43" fmla="*/ 59421 w 269077"/>
                      <a:gd name="connsiteY43" fmla="*/ 245430 h 373571"/>
                      <a:gd name="connsiteX44" fmla="*/ 65034 w 269077"/>
                      <a:gd name="connsiteY44" fmla="*/ 257496 h 373571"/>
                      <a:gd name="connsiteX45" fmla="*/ 60375 w 269077"/>
                      <a:gd name="connsiteY45" fmla="*/ 269787 h 373571"/>
                      <a:gd name="connsiteX46" fmla="*/ 60151 w 269077"/>
                      <a:gd name="connsiteY46" fmla="*/ 270572 h 373571"/>
                      <a:gd name="connsiteX47" fmla="*/ 60039 w 269077"/>
                      <a:gd name="connsiteY47" fmla="*/ 271414 h 373571"/>
                      <a:gd name="connsiteX48" fmla="*/ 60039 w 269077"/>
                      <a:gd name="connsiteY48" fmla="*/ 272144 h 373571"/>
                      <a:gd name="connsiteX49" fmla="*/ 60207 w 269077"/>
                      <a:gd name="connsiteY49" fmla="*/ 272817 h 373571"/>
                      <a:gd name="connsiteX50" fmla="*/ 60488 w 269077"/>
                      <a:gd name="connsiteY50" fmla="*/ 273659 h 373571"/>
                      <a:gd name="connsiteX51" fmla="*/ 60768 w 269077"/>
                      <a:gd name="connsiteY51" fmla="*/ 274389 h 373571"/>
                      <a:gd name="connsiteX52" fmla="*/ 61217 w 269077"/>
                      <a:gd name="connsiteY52" fmla="*/ 274950 h 373571"/>
                      <a:gd name="connsiteX53" fmla="*/ 61666 w 269077"/>
                      <a:gd name="connsiteY53" fmla="*/ 275567 h 373571"/>
                      <a:gd name="connsiteX54" fmla="*/ 71488 w 269077"/>
                      <a:gd name="connsiteY54" fmla="*/ 284434 h 373571"/>
                      <a:gd name="connsiteX55" fmla="*/ 71993 w 269077"/>
                      <a:gd name="connsiteY55" fmla="*/ 297679 h 373571"/>
                      <a:gd name="connsiteX56" fmla="*/ 72049 w 269077"/>
                      <a:gd name="connsiteY56" fmla="*/ 298521 h 373571"/>
                      <a:gd name="connsiteX57" fmla="*/ 72217 w 269077"/>
                      <a:gd name="connsiteY57" fmla="*/ 299138 h 373571"/>
                      <a:gd name="connsiteX58" fmla="*/ 72610 w 269077"/>
                      <a:gd name="connsiteY58" fmla="*/ 299868 h 373571"/>
                      <a:gd name="connsiteX59" fmla="*/ 72947 w 269077"/>
                      <a:gd name="connsiteY59" fmla="*/ 300598 h 373571"/>
                      <a:gd name="connsiteX60" fmla="*/ 73508 w 269077"/>
                      <a:gd name="connsiteY60" fmla="*/ 301159 h 373571"/>
                      <a:gd name="connsiteX61" fmla="*/ 74125 w 269077"/>
                      <a:gd name="connsiteY61" fmla="*/ 301664 h 373571"/>
                      <a:gd name="connsiteX62" fmla="*/ 74743 w 269077"/>
                      <a:gd name="connsiteY62" fmla="*/ 302057 h 373571"/>
                      <a:gd name="connsiteX63" fmla="*/ 75416 w 269077"/>
                      <a:gd name="connsiteY63" fmla="*/ 302393 h 373571"/>
                      <a:gd name="connsiteX64" fmla="*/ 87875 w 269077"/>
                      <a:gd name="connsiteY64" fmla="*/ 306995 h 373571"/>
                      <a:gd name="connsiteX65" fmla="*/ 93487 w 269077"/>
                      <a:gd name="connsiteY65" fmla="*/ 318837 h 373571"/>
                      <a:gd name="connsiteX66" fmla="*/ 93824 w 269077"/>
                      <a:gd name="connsiteY66" fmla="*/ 319567 h 373571"/>
                      <a:gd name="connsiteX67" fmla="*/ 94273 w 269077"/>
                      <a:gd name="connsiteY67" fmla="*/ 320240 h 373571"/>
                      <a:gd name="connsiteX68" fmla="*/ 94834 w 269077"/>
                      <a:gd name="connsiteY68" fmla="*/ 320857 h 373571"/>
                      <a:gd name="connsiteX69" fmla="*/ 95452 w 269077"/>
                      <a:gd name="connsiteY69" fmla="*/ 321194 h 373571"/>
                      <a:gd name="connsiteX70" fmla="*/ 96181 w 269077"/>
                      <a:gd name="connsiteY70" fmla="*/ 321587 h 373571"/>
                      <a:gd name="connsiteX71" fmla="*/ 96911 w 269077"/>
                      <a:gd name="connsiteY71" fmla="*/ 321868 h 373571"/>
                      <a:gd name="connsiteX72" fmla="*/ 97640 w 269077"/>
                      <a:gd name="connsiteY72" fmla="*/ 321924 h 373571"/>
                      <a:gd name="connsiteX73" fmla="*/ 98426 w 269077"/>
                      <a:gd name="connsiteY73" fmla="*/ 321924 h 373571"/>
                      <a:gd name="connsiteX74" fmla="*/ 111671 w 269077"/>
                      <a:gd name="connsiteY74" fmla="*/ 321363 h 373571"/>
                      <a:gd name="connsiteX75" fmla="*/ 121492 w 269077"/>
                      <a:gd name="connsiteY75" fmla="*/ 330454 h 373571"/>
                      <a:gd name="connsiteX76" fmla="*/ 122053 w 269077"/>
                      <a:gd name="connsiteY76" fmla="*/ 330959 h 373571"/>
                      <a:gd name="connsiteX77" fmla="*/ 122839 w 269077"/>
                      <a:gd name="connsiteY77" fmla="*/ 331352 h 373571"/>
                      <a:gd name="connsiteX78" fmla="*/ 123512 w 269077"/>
                      <a:gd name="connsiteY78" fmla="*/ 331521 h 373571"/>
                      <a:gd name="connsiteX79" fmla="*/ 124186 w 269077"/>
                      <a:gd name="connsiteY79" fmla="*/ 331801 h 373571"/>
                      <a:gd name="connsiteX80" fmla="*/ 125028 w 269077"/>
                      <a:gd name="connsiteY80" fmla="*/ 331801 h 373571"/>
                      <a:gd name="connsiteX81" fmla="*/ 125813 w 269077"/>
                      <a:gd name="connsiteY81" fmla="*/ 331801 h 373571"/>
                      <a:gd name="connsiteX82" fmla="*/ 126543 w 269077"/>
                      <a:gd name="connsiteY82" fmla="*/ 331577 h 373571"/>
                      <a:gd name="connsiteX83" fmla="*/ 127273 w 269077"/>
                      <a:gd name="connsiteY83" fmla="*/ 331352 h 373571"/>
                      <a:gd name="connsiteX84" fmla="*/ 139395 w 269077"/>
                      <a:gd name="connsiteY84" fmla="*/ 325740 h 373571"/>
                      <a:gd name="connsiteX85" fmla="*/ 151798 w 269077"/>
                      <a:gd name="connsiteY85" fmla="*/ 330454 h 373571"/>
                      <a:gd name="connsiteX86" fmla="*/ 152584 w 269077"/>
                      <a:gd name="connsiteY86" fmla="*/ 330623 h 373571"/>
                      <a:gd name="connsiteX87" fmla="*/ 153425 w 269077"/>
                      <a:gd name="connsiteY87" fmla="*/ 330679 h 373571"/>
                      <a:gd name="connsiteX88" fmla="*/ 154043 w 269077"/>
                      <a:gd name="connsiteY88" fmla="*/ 330679 h 373571"/>
                      <a:gd name="connsiteX89" fmla="*/ 154828 w 269077"/>
                      <a:gd name="connsiteY89" fmla="*/ 330510 h 373571"/>
                      <a:gd name="connsiteX90" fmla="*/ 155670 w 269077"/>
                      <a:gd name="connsiteY90" fmla="*/ 330342 h 373571"/>
                      <a:gd name="connsiteX91" fmla="*/ 156288 w 269077"/>
                      <a:gd name="connsiteY91" fmla="*/ 330061 h 373571"/>
                      <a:gd name="connsiteX92" fmla="*/ 156905 w 269077"/>
                      <a:gd name="connsiteY92" fmla="*/ 329500 h 373571"/>
                      <a:gd name="connsiteX93" fmla="*/ 157466 w 269077"/>
                      <a:gd name="connsiteY93" fmla="*/ 328995 h 373571"/>
                      <a:gd name="connsiteX94" fmla="*/ 166502 w 269077"/>
                      <a:gd name="connsiteY94" fmla="*/ 319230 h 373571"/>
                      <a:gd name="connsiteX95" fmla="*/ 179803 w 269077"/>
                      <a:gd name="connsiteY95" fmla="*/ 318781 h 373571"/>
                      <a:gd name="connsiteX96" fmla="*/ 180588 w 269077"/>
                      <a:gd name="connsiteY96" fmla="*/ 318781 h 373571"/>
                      <a:gd name="connsiteX97" fmla="*/ 181262 w 269077"/>
                      <a:gd name="connsiteY97" fmla="*/ 318613 h 373571"/>
                      <a:gd name="connsiteX98" fmla="*/ 182047 w 269077"/>
                      <a:gd name="connsiteY98" fmla="*/ 318220 h 373571"/>
                      <a:gd name="connsiteX99" fmla="*/ 182665 w 269077"/>
                      <a:gd name="connsiteY99" fmla="*/ 317771 h 373571"/>
                      <a:gd name="connsiteX100" fmla="*/ 183226 w 269077"/>
                      <a:gd name="connsiteY100" fmla="*/ 317322 h 373571"/>
                      <a:gd name="connsiteX101" fmla="*/ 183787 w 269077"/>
                      <a:gd name="connsiteY101" fmla="*/ 316761 h 373571"/>
                      <a:gd name="connsiteX102" fmla="*/ 184236 w 269077"/>
                      <a:gd name="connsiteY102" fmla="*/ 316031 h 373571"/>
                      <a:gd name="connsiteX103" fmla="*/ 184517 w 269077"/>
                      <a:gd name="connsiteY103" fmla="*/ 315414 h 373571"/>
                      <a:gd name="connsiteX104" fmla="*/ 189119 w 269077"/>
                      <a:gd name="connsiteY104" fmla="*/ 302955 h 373571"/>
                      <a:gd name="connsiteX105" fmla="*/ 201241 w 269077"/>
                      <a:gd name="connsiteY105" fmla="*/ 297511 h 373571"/>
                      <a:gd name="connsiteX106" fmla="*/ 201915 w 269077"/>
                      <a:gd name="connsiteY106" fmla="*/ 297174 h 373571"/>
                      <a:gd name="connsiteX107" fmla="*/ 202588 w 269077"/>
                      <a:gd name="connsiteY107" fmla="*/ 296613 h 373571"/>
                      <a:gd name="connsiteX108" fmla="*/ 203037 w 269077"/>
                      <a:gd name="connsiteY108" fmla="*/ 296052 h 373571"/>
                      <a:gd name="connsiteX109" fmla="*/ 203486 w 269077"/>
                      <a:gd name="connsiteY109" fmla="*/ 295547 h 373571"/>
                      <a:gd name="connsiteX110" fmla="*/ 203542 w 269077"/>
                      <a:gd name="connsiteY110" fmla="*/ 295547 h 373571"/>
                      <a:gd name="connsiteX111" fmla="*/ 203823 w 269077"/>
                      <a:gd name="connsiteY111" fmla="*/ 294705 h 373571"/>
                      <a:gd name="connsiteX112" fmla="*/ 204103 w 269077"/>
                      <a:gd name="connsiteY112" fmla="*/ 294087 h 373571"/>
                      <a:gd name="connsiteX113" fmla="*/ 204216 w 269077"/>
                      <a:gd name="connsiteY113" fmla="*/ 293302 h 373571"/>
                      <a:gd name="connsiteX114" fmla="*/ 204272 w 269077"/>
                      <a:gd name="connsiteY114" fmla="*/ 292572 h 373571"/>
                      <a:gd name="connsiteX115" fmla="*/ 203654 w 269077"/>
                      <a:gd name="connsiteY115" fmla="*/ 279271 h 373571"/>
                      <a:gd name="connsiteX116" fmla="*/ 212802 w 269077"/>
                      <a:gd name="connsiteY116" fmla="*/ 269618 h 373571"/>
                      <a:gd name="connsiteX117" fmla="*/ 213251 w 269077"/>
                      <a:gd name="connsiteY117" fmla="*/ 269057 h 373571"/>
                      <a:gd name="connsiteX118" fmla="*/ 213700 w 269077"/>
                      <a:gd name="connsiteY118" fmla="*/ 268440 h 373571"/>
                      <a:gd name="connsiteX119" fmla="*/ 213869 w 269077"/>
                      <a:gd name="connsiteY119" fmla="*/ 267710 h 373571"/>
                      <a:gd name="connsiteX120" fmla="*/ 214037 w 269077"/>
                      <a:gd name="connsiteY120" fmla="*/ 266868 h 373571"/>
                      <a:gd name="connsiteX121" fmla="*/ 214149 w 269077"/>
                      <a:gd name="connsiteY121" fmla="*/ 266083 h 373571"/>
                      <a:gd name="connsiteX122" fmla="*/ 214037 w 269077"/>
                      <a:gd name="connsiteY122" fmla="*/ 265353 h 373571"/>
                      <a:gd name="connsiteX123" fmla="*/ 213869 w 269077"/>
                      <a:gd name="connsiteY123" fmla="*/ 264623 h 373571"/>
                      <a:gd name="connsiteX124" fmla="*/ 213700 w 269077"/>
                      <a:gd name="connsiteY124" fmla="*/ 263782 h 373571"/>
                      <a:gd name="connsiteX125" fmla="*/ 208200 w 269077"/>
                      <a:gd name="connsiteY125" fmla="*/ 251884 h 373571"/>
                      <a:gd name="connsiteX126" fmla="*/ 212802 w 269077"/>
                      <a:gd name="connsiteY126" fmla="*/ 239481 h 373571"/>
                      <a:gd name="connsiteX127" fmla="*/ 212971 w 269077"/>
                      <a:gd name="connsiteY127" fmla="*/ 238751 h 373571"/>
                      <a:gd name="connsiteX128" fmla="*/ 213083 w 269077"/>
                      <a:gd name="connsiteY128" fmla="*/ 238022 h 373571"/>
                      <a:gd name="connsiteX129" fmla="*/ 213083 w 269077"/>
                      <a:gd name="connsiteY129" fmla="*/ 237124 h 373571"/>
                      <a:gd name="connsiteX130" fmla="*/ 212858 w 269077"/>
                      <a:gd name="connsiteY130" fmla="*/ 236394 h 373571"/>
                      <a:gd name="connsiteX131" fmla="*/ 212690 w 269077"/>
                      <a:gd name="connsiteY131" fmla="*/ 235665 h 373571"/>
                      <a:gd name="connsiteX132" fmla="*/ 212353 w 269077"/>
                      <a:gd name="connsiteY132" fmla="*/ 234991 h 373571"/>
                      <a:gd name="connsiteX133" fmla="*/ 211904 w 269077"/>
                      <a:gd name="connsiteY133" fmla="*/ 234430 h 373571"/>
                      <a:gd name="connsiteX134" fmla="*/ 211455 w 269077"/>
                      <a:gd name="connsiteY134" fmla="*/ 233813 h 373571"/>
                      <a:gd name="connsiteX135" fmla="*/ 201466 w 269077"/>
                      <a:gd name="connsiteY135" fmla="*/ 224945 h 373571"/>
                      <a:gd name="connsiteX136" fmla="*/ 201129 w 269077"/>
                      <a:gd name="connsiteY136" fmla="*/ 211757 h 373571"/>
                      <a:gd name="connsiteX137" fmla="*/ 201017 w 269077"/>
                      <a:gd name="connsiteY137" fmla="*/ 210915 h 373571"/>
                      <a:gd name="connsiteX138" fmla="*/ 200736 w 269077"/>
                      <a:gd name="connsiteY138" fmla="*/ 210129 h 373571"/>
                      <a:gd name="connsiteX139" fmla="*/ 200512 w 269077"/>
                      <a:gd name="connsiteY139" fmla="*/ 209456 h 373571"/>
                      <a:gd name="connsiteX140" fmla="*/ 200119 w 269077"/>
                      <a:gd name="connsiteY140" fmla="*/ 208838 h 373571"/>
                      <a:gd name="connsiteX141" fmla="*/ 199614 w 269077"/>
                      <a:gd name="connsiteY141" fmla="*/ 208221 h 373571"/>
                      <a:gd name="connsiteX142" fmla="*/ 199052 w 269077"/>
                      <a:gd name="connsiteY142" fmla="*/ 207660 h 373571"/>
                      <a:gd name="connsiteX143" fmla="*/ 198435 w 269077"/>
                      <a:gd name="connsiteY143" fmla="*/ 207323 h 373571"/>
                      <a:gd name="connsiteX144" fmla="*/ 197705 w 269077"/>
                      <a:gd name="connsiteY144" fmla="*/ 206930 h 373571"/>
                      <a:gd name="connsiteX145" fmla="*/ 197593 w 269077"/>
                      <a:gd name="connsiteY145" fmla="*/ 206930 h 373571"/>
                      <a:gd name="connsiteX146" fmla="*/ 185190 w 269077"/>
                      <a:gd name="connsiteY146" fmla="*/ 202440 h 373571"/>
                      <a:gd name="connsiteX147" fmla="*/ 179634 w 269077"/>
                      <a:gd name="connsiteY147" fmla="*/ 190318 h 373571"/>
                      <a:gd name="connsiteX148" fmla="*/ 179241 w 269077"/>
                      <a:gd name="connsiteY148" fmla="*/ 189701 h 373571"/>
                      <a:gd name="connsiteX149" fmla="*/ 178792 w 269077"/>
                      <a:gd name="connsiteY149" fmla="*/ 189027 h 373571"/>
                      <a:gd name="connsiteX150" fmla="*/ 178175 w 269077"/>
                      <a:gd name="connsiteY150" fmla="*/ 188578 h 373571"/>
                      <a:gd name="connsiteX151" fmla="*/ 177558 w 269077"/>
                      <a:gd name="connsiteY151" fmla="*/ 188073 h 373571"/>
                      <a:gd name="connsiteX152" fmla="*/ 177558 w 269077"/>
                      <a:gd name="connsiteY152" fmla="*/ 187961 h 373571"/>
                      <a:gd name="connsiteX153" fmla="*/ 176828 w 269077"/>
                      <a:gd name="connsiteY153" fmla="*/ 187680 h 373571"/>
                      <a:gd name="connsiteX154" fmla="*/ 176155 w 269077"/>
                      <a:gd name="connsiteY154" fmla="*/ 187512 h 373571"/>
                      <a:gd name="connsiteX155" fmla="*/ 175369 w 269077"/>
                      <a:gd name="connsiteY155" fmla="*/ 187344 h 373571"/>
                      <a:gd name="connsiteX156" fmla="*/ 174527 w 269077"/>
                      <a:gd name="connsiteY156" fmla="*/ 187344 h 373571"/>
                      <a:gd name="connsiteX157" fmla="*/ 161282 w 269077"/>
                      <a:gd name="connsiteY157" fmla="*/ 187849 h 373571"/>
                      <a:gd name="connsiteX158" fmla="*/ 151517 w 269077"/>
                      <a:gd name="connsiteY158" fmla="*/ 178925 h 373571"/>
                      <a:gd name="connsiteX159" fmla="*/ 150956 w 269077"/>
                      <a:gd name="connsiteY159" fmla="*/ 178364 h 373571"/>
                      <a:gd name="connsiteX160" fmla="*/ 150226 w 269077"/>
                      <a:gd name="connsiteY160" fmla="*/ 178027 h 373571"/>
                      <a:gd name="connsiteX161" fmla="*/ 149609 w 269077"/>
                      <a:gd name="connsiteY161" fmla="*/ 177635 h 373571"/>
                      <a:gd name="connsiteX162" fmla="*/ 148879 w 269077"/>
                      <a:gd name="connsiteY162" fmla="*/ 177466 h 373571"/>
                      <a:gd name="connsiteX163" fmla="*/ 147982 w 269077"/>
                      <a:gd name="connsiteY163" fmla="*/ 177466 h 373571"/>
                      <a:gd name="connsiteX164" fmla="*/ 176577 w 269077"/>
                      <a:gd name="connsiteY164" fmla="*/ 81430 h 373571"/>
                      <a:gd name="connsiteX165" fmla="*/ 182682 w 269077"/>
                      <a:gd name="connsiteY165" fmla="*/ 84002 h 373571"/>
                      <a:gd name="connsiteX166" fmla="*/ 184912 w 269077"/>
                      <a:gd name="connsiteY166" fmla="*/ 91197 h 373571"/>
                      <a:gd name="connsiteX167" fmla="*/ 166908 w 269077"/>
                      <a:gd name="connsiteY167" fmla="*/ 91197 h 373571"/>
                      <a:gd name="connsiteX168" fmla="*/ 170164 w 269077"/>
                      <a:gd name="connsiteY168" fmla="*/ 84132 h 373571"/>
                      <a:gd name="connsiteX169" fmla="*/ 176577 w 269077"/>
                      <a:gd name="connsiteY169" fmla="*/ 81430 h 373571"/>
                      <a:gd name="connsiteX170" fmla="*/ 119427 w 269077"/>
                      <a:gd name="connsiteY170" fmla="*/ 81430 h 373571"/>
                      <a:gd name="connsiteX171" fmla="*/ 125532 w 269077"/>
                      <a:gd name="connsiteY171" fmla="*/ 84002 h 373571"/>
                      <a:gd name="connsiteX172" fmla="*/ 127762 w 269077"/>
                      <a:gd name="connsiteY172" fmla="*/ 91197 h 373571"/>
                      <a:gd name="connsiteX173" fmla="*/ 109758 w 269077"/>
                      <a:gd name="connsiteY173" fmla="*/ 91197 h 373571"/>
                      <a:gd name="connsiteX174" fmla="*/ 113014 w 269077"/>
                      <a:gd name="connsiteY174" fmla="*/ 84132 h 373571"/>
                      <a:gd name="connsiteX175" fmla="*/ 119427 w 269077"/>
                      <a:gd name="connsiteY175" fmla="*/ 81430 h 373571"/>
                      <a:gd name="connsiteX176" fmla="*/ 215882 w 269077"/>
                      <a:gd name="connsiteY176" fmla="*/ 77133 h 373571"/>
                      <a:gd name="connsiteX177" fmla="*/ 210640 w 269077"/>
                      <a:gd name="connsiteY177" fmla="*/ 79102 h 373571"/>
                      <a:gd name="connsiteX178" fmla="*/ 207157 w 269077"/>
                      <a:gd name="connsiteY178" fmla="*/ 84588 h 373571"/>
                      <a:gd name="connsiteX179" fmla="*/ 207027 w 269077"/>
                      <a:gd name="connsiteY179" fmla="*/ 84588 h 373571"/>
                      <a:gd name="connsiteX180" fmla="*/ 207027 w 269077"/>
                      <a:gd name="connsiteY180" fmla="*/ 77719 h 373571"/>
                      <a:gd name="connsiteX181" fmla="*/ 201687 w 269077"/>
                      <a:gd name="connsiteY181" fmla="*/ 77719 h 373571"/>
                      <a:gd name="connsiteX182" fmla="*/ 201687 w 269077"/>
                      <a:gd name="connsiteY182" fmla="*/ 111056 h 373571"/>
                      <a:gd name="connsiteX183" fmla="*/ 207027 w 269077"/>
                      <a:gd name="connsiteY183" fmla="*/ 111056 h 373571"/>
                      <a:gd name="connsiteX184" fmla="*/ 207027 w 269077"/>
                      <a:gd name="connsiteY184" fmla="*/ 94062 h 373571"/>
                      <a:gd name="connsiteX185" fmla="*/ 209322 w 269077"/>
                      <a:gd name="connsiteY185" fmla="*/ 85272 h 373571"/>
                      <a:gd name="connsiteX186" fmla="*/ 215035 w 269077"/>
                      <a:gd name="connsiteY186" fmla="*/ 82049 h 373571"/>
                      <a:gd name="connsiteX187" fmla="*/ 219072 w 269077"/>
                      <a:gd name="connsiteY187" fmla="*/ 83123 h 373571"/>
                      <a:gd name="connsiteX188" fmla="*/ 219072 w 269077"/>
                      <a:gd name="connsiteY188" fmla="*/ 77589 h 373571"/>
                      <a:gd name="connsiteX189" fmla="*/ 215882 w 269077"/>
                      <a:gd name="connsiteY189" fmla="*/ 77133 h 373571"/>
                      <a:gd name="connsiteX190" fmla="*/ 176675 w 269077"/>
                      <a:gd name="connsiteY190" fmla="*/ 76937 h 373571"/>
                      <a:gd name="connsiteX191" fmla="*/ 165720 w 269077"/>
                      <a:gd name="connsiteY191" fmla="*/ 81837 h 373571"/>
                      <a:gd name="connsiteX192" fmla="*/ 161309 w 269077"/>
                      <a:gd name="connsiteY192" fmla="*/ 94518 h 373571"/>
                      <a:gd name="connsiteX193" fmla="*/ 165345 w 269077"/>
                      <a:gd name="connsiteY193" fmla="*/ 107296 h 373571"/>
                      <a:gd name="connsiteX194" fmla="*/ 176447 w 269077"/>
                      <a:gd name="connsiteY194" fmla="*/ 111838 h 373571"/>
                      <a:gd name="connsiteX195" fmla="*/ 188070 w 269077"/>
                      <a:gd name="connsiteY195" fmla="*/ 108647 h 373571"/>
                      <a:gd name="connsiteX196" fmla="*/ 188070 w 269077"/>
                      <a:gd name="connsiteY196" fmla="*/ 103633 h 373571"/>
                      <a:gd name="connsiteX197" fmla="*/ 177717 w 269077"/>
                      <a:gd name="connsiteY197" fmla="*/ 107345 h 373571"/>
                      <a:gd name="connsiteX198" fmla="*/ 169838 w 269077"/>
                      <a:gd name="connsiteY198" fmla="*/ 104317 h 373571"/>
                      <a:gd name="connsiteX199" fmla="*/ 166843 w 269077"/>
                      <a:gd name="connsiteY199" fmla="*/ 95722 h 373571"/>
                      <a:gd name="connsiteX200" fmla="*/ 190381 w 269077"/>
                      <a:gd name="connsiteY200" fmla="*/ 95722 h 373571"/>
                      <a:gd name="connsiteX201" fmla="*/ 190381 w 269077"/>
                      <a:gd name="connsiteY201" fmla="*/ 92922 h 373571"/>
                      <a:gd name="connsiteX202" fmla="*/ 186800 w 269077"/>
                      <a:gd name="connsiteY202" fmla="*/ 81170 h 373571"/>
                      <a:gd name="connsiteX203" fmla="*/ 176675 w 269077"/>
                      <a:gd name="connsiteY203" fmla="*/ 76937 h 373571"/>
                      <a:gd name="connsiteX204" fmla="*/ 119525 w 269077"/>
                      <a:gd name="connsiteY204" fmla="*/ 76937 h 373571"/>
                      <a:gd name="connsiteX205" fmla="*/ 108570 w 269077"/>
                      <a:gd name="connsiteY205" fmla="*/ 81837 h 373571"/>
                      <a:gd name="connsiteX206" fmla="*/ 104159 w 269077"/>
                      <a:gd name="connsiteY206" fmla="*/ 94518 h 373571"/>
                      <a:gd name="connsiteX207" fmla="*/ 108195 w 269077"/>
                      <a:gd name="connsiteY207" fmla="*/ 107296 h 373571"/>
                      <a:gd name="connsiteX208" fmla="*/ 119297 w 269077"/>
                      <a:gd name="connsiteY208" fmla="*/ 111838 h 373571"/>
                      <a:gd name="connsiteX209" fmla="*/ 130920 w 269077"/>
                      <a:gd name="connsiteY209" fmla="*/ 108647 h 373571"/>
                      <a:gd name="connsiteX210" fmla="*/ 130920 w 269077"/>
                      <a:gd name="connsiteY210" fmla="*/ 103633 h 373571"/>
                      <a:gd name="connsiteX211" fmla="*/ 120567 w 269077"/>
                      <a:gd name="connsiteY211" fmla="*/ 107345 h 373571"/>
                      <a:gd name="connsiteX212" fmla="*/ 112688 w 269077"/>
                      <a:gd name="connsiteY212" fmla="*/ 104317 h 373571"/>
                      <a:gd name="connsiteX213" fmla="*/ 109693 w 269077"/>
                      <a:gd name="connsiteY213" fmla="*/ 95722 h 373571"/>
                      <a:gd name="connsiteX214" fmla="*/ 133231 w 269077"/>
                      <a:gd name="connsiteY214" fmla="*/ 95722 h 373571"/>
                      <a:gd name="connsiteX215" fmla="*/ 133231 w 269077"/>
                      <a:gd name="connsiteY215" fmla="*/ 92922 h 373571"/>
                      <a:gd name="connsiteX216" fmla="*/ 129650 w 269077"/>
                      <a:gd name="connsiteY216" fmla="*/ 81170 h 373571"/>
                      <a:gd name="connsiteX217" fmla="*/ 119525 w 269077"/>
                      <a:gd name="connsiteY217" fmla="*/ 76937 h 373571"/>
                      <a:gd name="connsiteX218" fmla="*/ 151602 w 269077"/>
                      <a:gd name="connsiteY218" fmla="*/ 67854 h 373571"/>
                      <a:gd name="connsiteX219" fmla="*/ 146263 w 269077"/>
                      <a:gd name="connsiteY219" fmla="*/ 69580 h 373571"/>
                      <a:gd name="connsiteX220" fmla="*/ 146263 w 269077"/>
                      <a:gd name="connsiteY220" fmla="*/ 77719 h 373571"/>
                      <a:gd name="connsiteX221" fmla="*/ 140533 w 269077"/>
                      <a:gd name="connsiteY221" fmla="*/ 77719 h 373571"/>
                      <a:gd name="connsiteX222" fmla="*/ 140533 w 269077"/>
                      <a:gd name="connsiteY222" fmla="*/ 82277 h 373571"/>
                      <a:gd name="connsiteX223" fmla="*/ 146263 w 269077"/>
                      <a:gd name="connsiteY223" fmla="*/ 82277 h 373571"/>
                      <a:gd name="connsiteX224" fmla="*/ 146263 w 269077"/>
                      <a:gd name="connsiteY224" fmla="*/ 102006 h 373571"/>
                      <a:gd name="connsiteX225" fmla="*/ 155021 w 269077"/>
                      <a:gd name="connsiteY225" fmla="*/ 111772 h 373571"/>
                      <a:gd name="connsiteX226" fmla="*/ 160002 w 269077"/>
                      <a:gd name="connsiteY226" fmla="*/ 110731 h 373571"/>
                      <a:gd name="connsiteX227" fmla="*/ 160002 w 269077"/>
                      <a:gd name="connsiteY227" fmla="*/ 106173 h 373571"/>
                      <a:gd name="connsiteX228" fmla="*/ 156518 w 269077"/>
                      <a:gd name="connsiteY228" fmla="*/ 107280 h 373571"/>
                      <a:gd name="connsiteX229" fmla="*/ 152742 w 269077"/>
                      <a:gd name="connsiteY229" fmla="*/ 105847 h 373571"/>
                      <a:gd name="connsiteX230" fmla="*/ 151602 w 269077"/>
                      <a:gd name="connsiteY230" fmla="*/ 101062 h 373571"/>
                      <a:gd name="connsiteX231" fmla="*/ 151602 w 269077"/>
                      <a:gd name="connsiteY231" fmla="*/ 82277 h 373571"/>
                      <a:gd name="connsiteX232" fmla="*/ 160002 w 269077"/>
                      <a:gd name="connsiteY232" fmla="*/ 82277 h 373571"/>
                      <a:gd name="connsiteX233" fmla="*/ 160002 w 269077"/>
                      <a:gd name="connsiteY233" fmla="*/ 77719 h 373571"/>
                      <a:gd name="connsiteX234" fmla="*/ 151602 w 269077"/>
                      <a:gd name="connsiteY234" fmla="*/ 77719 h 373571"/>
                      <a:gd name="connsiteX235" fmla="*/ 50004 w 269077"/>
                      <a:gd name="connsiteY235" fmla="*/ 64371 h 373571"/>
                      <a:gd name="connsiteX236" fmla="*/ 50004 w 269077"/>
                      <a:gd name="connsiteY236" fmla="*/ 111056 h 373571"/>
                      <a:gd name="connsiteX237" fmla="*/ 55278 w 269077"/>
                      <a:gd name="connsiteY237" fmla="*/ 111056 h 373571"/>
                      <a:gd name="connsiteX238" fmla="*/ 55278 w 269077"/>
                      <a:gd name="connsiteY238" fmla="*/ 79802 h 373571"/>
                      <a:gd name="connsiteX239" fmla="*/ 55017 w 269077"/>
                      <a:gd name="connsiteY239" fmla="*/ 70654 h 373571"/>
                      <a:gd name="connsiteX240" fmla="*/ 55148 w 269077"/>
                      <a:gd name="connsiteY240" fmla="*/ 70654 h 373571"/>
                      <a:gd name="connsiteX241" fmla="*/ 56547 w 269077"/>
                      <a:gd name="connsiteY241" fmla="*/ 75440 h 373571"/>
                      <a:gd name="connsiteX242" fmla="*/ 72467 w 269077"/>
                      <a:gd name="connsiteY242" fmla="*/ 111056 h 373571"/>
                      <a:gd name="connsiteX243" fmla="*/ 75137 w 269077"/>
                      <a:gd name="connsiteY243" fmla="*/ 111056 h 373571"/>
                      <a:gd name="connsiteX244" fmla="*/ 91090 w 269077"/>
                      <a:gd name="connsiteY244" fmla="*/ 75179 h 373571"/>
                      <a:gd name="connsiteX245" fmla="*/ 92489 w 269077"/>
                      <a:gd name="connsiteY245" fmla="*/ 70654 h 373571"/>
                      <a:gd name="connsiteX246" fmla="*/ 92620 w 269077"/>
                      <a:gd name="connsiteY246" fmla="*/ 70654 h 373571"/>
                      <a:gd name="connsiteX247" fmla="*/ 92164 w 269077"/>
                      <a:gd name="connsiteY247" fmla="*/ 79737 h 373571"/>
                      <a:gd name="connsiteX248" fmla="*/ 92164 w 269077"/>
                      <a:gd name="connsiteY248" fmla="*/ 111056 h 373571"/>
                      <a:gd name="connsiteX249" fmla="*/ 97601 w 269077"/>
                      <a:gd name="connsiteY249" fmla="*/ 111056 h 373571"/>
                      <a:gd name="connsiteX250" fmla="*/ 97601 w 269077"/>
                      <a:gd name="connsiteY250" fmla="*/ 64371 h 373571"/>
                      <a:gd name="connsiteX251" fmla="*/ 90764 w 269077"/>
                      <a:gd name="connsiteY251" fmla="*/ 64371 h 373571"/>
                      <a:gd name="connsiteX252" fmla="*/ 76146 w 269077"/>
                      <a:gd name="connsiteY252" fmla="*/ 96797 h 373571"/>
                      <a:gd name="connsiteX253" fmla="*/ 73900 w 269077"/>
                      <a:gd name="connsiteY253" fmla="*/ 102527 h 373571"/>
                      <a:gd name="connsiteX254" fmla="*/ 73705 w 269077"/>
                      <a:gd name="connsiteY254" fmla="*/ 102527 h 373571"/>
                      <a:gd name="connsiteX255" fmla="*/ 71556 w 269077"/>
                      <a:gd name="connsiteY255" fmla="*/ 96927 h 373571"/>
                      <a:gd name="connsiteX256" fmla="*/ 57231 w 269077"/>
                      <a:gd name="connsiteY256" fmla="*/ 64371 h 373571"/>
                      <a:gd name="connsiteX257" fmla="*/ 44847 w 269077"/>
                      <a:gd name="connsiteY257" fmla="*/ 0 h 373571"/>
                      <a:gd name="connsiteX258" fmla="*/ 224230 w 269077"/>
                      <a:gd name="connsiteY258" fmla="*/ 0 h 373571"/>
                      <a:gd name="connsiteX259" fmla="*/ 269077 w 269077"/>
                      <a:gd name="connsiteY259" fmla="*/ 44847 h 373571"/>
                      <a:gd name="connsiteX260" fmla="*/ 269077 w 269077"/>
                      <a:gd name="connsiteY260" fmla="*/ 328724 h 373571"/>
                      <a:gd name="connsiteX261" fmla="*/ 224230 w 269077"/>
                      <a:gd name="connsiteY261" fmla="*/ 373571 h 373571"/>
                      <a:gd name="connsiteX262" fmla="*/ 44847 w 269077"/>
                      <a:gd name="connsiteY262" fmla="*/ 373571 h 373571"/>
                      <a:gd name="connsiteX263" fmla="*/ 0 w 269077"/>
                      <a:gd name="connsiteY263" fmla="*/ 328724 h 373571"/>
                      <a:gd name="connsiteX264" fmla="*/ 0 w 269077"/>
                      <a:gd name="connsiteY264" fmla="*/ 44847 h 373571"/>
                      <a:gd name="connsiteX265" fmla="*/ 44847 w 269077"/>
                      <a:gd name="connsiteY265" fmla="*/ 0 h 373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269077" h="373571">
                        <a:moveTo>
                          <a:pt x="147140" y="177466"/>
                        </a:moveTo>
                        <a:lnTo>
                          <a:pt x="146522" y="177635"/>
                        </a:lnTo>
                        <a:lnTo>
                          <a:pt x="145737" y="177915"/>
                        </a:lnTo>
                        <a:lnTo>
                          <a:pt x="133670" y="183640"/>
                        </a:lnTo>
                        <a:lnTo>
                          <a:pt x="121324" y="179038"/>
                        </a:lnTo>
                        <a:lnTo>
                          <a:pt x="120594" y="178757"/>
                        </a:lnTo>
                        <a:lnTo>
                          <a:pt x="119752" y="178645"/>
                        </a:lnTo>
                        <a:lnTo>
                          <a:pt x="119079" y="178645"/>
                        </a:lnTo>
                        <a:lnTo>
                          <a:pt x="118237" y="178757"/>
                        </a:lnTo>
                        <a:lnTo>
                          <a:pt x="117451" y="179038"/>
                        </a:lnTo>
                        <a:lnTo>
                          <a:pt x="116778" y="179374"/>
                        </a:lnTo>
                        <a:lnTo>
                          <a:pt x="116160" y="179711"/>
                        </a:lnTo>
                        <a:lnTo>
                          <a:pt x="115543" y="180385"/>
                        </a:lnTo>
                        <a:lnTo>
                          <a:pt x="106564" y="190038"/>
                        </a:lnTo>
                        <a:lnTo>
                          <a:pt x="93319" y="190487"/>
                        </a:lnTo>
                        <a:lnTo>
                          <a:pt x="92365" y="190599"/>
                        </a:lnTo>
                        <a:lnTo>
                          <a:pt x="91747" y="190767"/>
                        </a:lnTo>
                        <a:lnTo>
                          <a:pt x="91018" y="191048"/>
                        </a:lnTo>
                        <a:lnTo>
                          <a:pt x="90288" y="191553"/>
                        </a:lnTo>
                        <a:lnTo>
                          <a:pt x="90401" y="191553"/>
                        </a:lnTo>
                        <a:lnTo>
                          <a:pt x="89783" y="192002"/>
                        </a:lnTo>
                        <a:lnTo>
                          <a:pt x="89166" y="192563"/>
                        </a:lnTo>
                        <a:lnTo>
                          <a:pt x="88885" y="193180"/>
                        </a:lnTo>
                        <a:lnTo>
                          <a:pt x="88492" y="193910"/>
                        </a:lnTo>
                        <a:lnTo>
                          <a:pt x="84003" y="206425"/>
                        </a:lnTo>
                        <a:lnTo>
                          <a:pt x="71880" y="211925"/>
                        </a:lnTo>
                        <a:lnTo>
                          <a:pt x="71151" y="212262"/>
                        </a:lnTo>
                        <a:lnTo>
                          <a:pt x="70590" y="212711"/>
                        </a:lnTo>
                        <a:lnTo>
                          <a:pt x="70084" y="213272"/>
                        </a:lnTo>
                        <a:lnTo>
                          <a:pt x="69636" y="213889"/>
                        </a:lnTo>
                        <a:lnTo>
                          <a:pt x="69187" y="214619"/>
                        </a:lnTo>
                        <a:lnTo>
                          <a:pt x="68906" y="215348"/>
                        </a:lnTo>
                        <a:lnTo>
                          <a:pt x="68794" y="216078"/>
                        </a:lnTo>
                        <a:lnTo>
                          <a:pt x="68738" y="216808"/>
                        </a:lnTo>
                        <a:lnTo>
                          <a:pt x="69355" y="229996"/>
                        </a:lnTo>
                        <a:lnTo>
                          <a:pt x="60375" y="239649"/>
                        </a:lnTo>
                        <a:lnTo>
                          <a:pt x="59870" y="240210"/>
                        </a:lnTo>
                        <a:lnTo>
                          <a:pt x="59421" y="241052"/>
                        </a:lnTo>
                        <a:lnTo>
                          <a:pt x="59141" y="241670"/>
                        </a:lnTo>
                        <a:lnTo>
                          <a:pt x="58972" y="242399"/>
                        </a:lnTo>
                        <a:lnTo>
                          <a:pt x="58860" y="243185"/>
                        </a:lnTo>
                        <a:lnTo>
                          <a:pt x="58972" y="243914"/>
                        </a:lnTo>
                        <a:lnTo>
                          <a:pt x="59028" y="244756"/>
                        </a:lnTo>
                        <a:lnTo>
                          <a:pt x="59421" y="245430"/>
                        </a:lnTo>
                        <a:lnTo>
                          <a:pt x="65034" y="257496"/>
                        </a:lnTo>
                        <a:lnTo>
                          <a:pt x="60375" y="269787"/>
                        </a:lnTo>
                        <a:lnTo>
                          <a:pt x="60151" y="270572"/>
                        </a:lnTo>
                        <a:lnTo>
                          <a:pt x="60039" y="271414"/>
                        </a:lnTo>
                        <a:lnTo>
                          <a:pt x="60039" y="272144"/>
                        </a:lnTo>
                        <a:lnTo>
                          <a:pt x="60207" y="272817"/>
                        </a:lnTo>
                        <a:lnTo>
                          <a:pt x="60488" y="273659"/>
                        </a:lnTo>
                        <a:lnTo>
                          <a:pt x="60768" y="274389"/>
                        </a:lnTo>
                        <a:lnTo>
                          <a:pt x="61217" y="274950"/>
                        </a:lnTo>
                        <a:lnTo>
                          <a:pt x="61666" y="275567"/>
                        </a:lnTo>
                        <a:lnTo>
                          <a:pt x="71488" y="284434"/>
                        </a:lnTo>
                        <a:lnTo>
                          <a:pt x="71993" y="297679"/>
                        </a:lnTo>
                        <a:lnTo>
                          <a:pt x="72049" y="298521"/>
                        </a:lnTo>
                        <a:lnTo>
                          <a:pt x="72217" y="299138"/>
                        </a:lnTo>
                        <a:lnTo>
                          <a:pt x="72610" y="299868"/>
                        </a:lnTo>
                        <a:lnTo>
                          <a:pt x="72947" y="300598"/>
                        </a:lnTo>
                        <a:lnTo>
                          <a:pt x="73508" y="301159"/>
                        </a:lnTo>
                        <a:lnTo>
                          <a:pt x="74125" y="301664"/>
                        </a:lnTo>
                        <a:lnTo>
                          <a:pt x="74743" y="302057"/>
                        </a:lnTo>
                        <a:lnTo>
                          <a:pt x="75416" y="302393"/>
                        </a:lnTo>
                        <a:lnTo>
                          <a:pt x="87875" y="306995"/>
                        </a:lnTo>
                        <a:lnTo>
                          <a:pt x="93487" y="318837"/>
                        </a:lnTo>
                        <a:lnTo>
                          <a:pt x="93824" y="319567"/>
                        </a:lnTo>
                        <a:lnTo>
                          <a:pt x="94273" y="320240"/>
                        </a:lnTo>
                        <a:lnTo>
                          <a:pt x="94834" y="320857"/>
                        </a:lnTo>
                        <a:lnTo>
                          <a:pt x="95452" y="321194"/>
                        </a:lnTo>
                        <a:lnTo>
                          <a:pt x="96181" y="321587"/>
                        </a:lnTo>
                        <a:lnTo>
                          <a:pt x="96911" y="321868"/>
                        </a:lnTo>
                        <a:lnTo>
                          <a:pt x="97640" y="321924"/>
                        </a:lnTo>
                        <a:lnTo>
                          <a:pt x="98426" y="321924"/>
                        </a:lnTo>
                        <a:lnTo>
                          <a:pt x="111671" y="321363"/>
                        </a:lnTo>
                        <a:lnTo>
                          <a:pt x="121492" y="330454"/>
                        </a:lnTo>
                        <a:lnTo>
                          <a:pt x="122053" y="330959"/>
                        </a:lnTo>
                        <a:lnTo>
                          <a:pt x="122839" y="331352"/>
                        </a:lnTo>
                        <a:lnTo>
                          <a:pt x="123512" y="331521"/>
                        </a:lnTo>
                        <a:lnTo>
                          <a:pt x="124186" y="331801"/>
                        </a:lnTo>
                        <a:lnTo>
                          <a:pt x="125028" y="331801"/>
                        </a:lnTo>
                        <a:lnTo>
                          <a:pt x="125813" y="331801"/>
                        </a:lnTo>
                        <a:lnTo>
                          <a:pt x="126543" y="331577"/>
                        </a:lnTo>
                        <a:lnTo>
                          <a:pt x="127273" y="331352"/>
                        </a:lnTo>
                        <a:lnTo>
                          <a:pt x="139395" y="325740"/>
                        </a:lnTo>
                        <a:lnTo>
                          <a:pt x="151798" y="330454"/>
                        </a:lnTo>
                        <a:lnTo>
                          <a:pt x="152584" y="330623"/>
                        </a:lnTo>
                        <a:lnTo>
                          <a:pt x="153425" y="330679"/>
                        </a:lnTo>
                        <a:lnTo>
                          <a:pt x="154043" y="330679"/>
                        </a:lnTo>
                        <a:lnTo>
                          <a:pt x="154828" y="330510"/>
                        </a:lnTo>
                        <a:lnTo>
                          <a:pt x="155670" y="330342"/>
                        </a:lnTo>
                        <a:lnTo>
                          <a:pt x="156288" y="330061"/>
                        </a:lnTo>
                        <a:lnTo>
                          <a:pt x="156905" y="329500"/>
                        </a:lnTo>
                        <a:lnTo>
                          <a:pt x="157466" y="328995"/>
                        </a:lnTo>
                        <a:lnTo>
                          <a:pt x="166502" y="319230"/>
                        </a:lnTo>
                        <a:lnTo>
                          <a:pt x="179803" y="318781"/>
                        </a:lnTo>
                        <a:lnTo>
                          <a:pt x="180588" y="318781"/>
                        </a:lnTo>
                        <a:lnTo>
                          <a:pt x="181262" y="318613"/>
                        </a:lnTo>
                        <a:lnTo>
                          <a:pt x="182047" y="318220"/>
                        </a:lnTo>
                        <a:lnTo>
                          <a:pt x="182665" y="317771"/>
                        </a:lnTo>
                        <a:lnTo>
                          <a:pt x="183226" y="317322"/>
                        </a:lnTo>
                        <a:lnTo>
                          <a:pt x="183787" y="316761"/>
                        </a:lnTo>
                        <a:lnTo>
                          <a:pt x="184236" y="316031"/>
                        </a:lnTo>
                        <a:lnTo>
                          <a:pt x="184517" y="315414"/>
                        </a:lnTo>
                        <a:lnTo>
                          <a:pt x="189119" y="302955"/>
                        </a:lnTo>
                        <a:lnTo>
                          <a:pt x="201241" y="297511"/>
                        </a:lnTo>
                        <a:lnTo>
                          <a:pt x="201915" y="297174"/>
                        </a:lnTo>
                        <a:lnTo>
                          <a:pt x="202588" y="296613"/>
                        </a:lnTo>
                        <a:lnTo>
                          <a:pt x="203037" y="296052"/>
                        </a:lnTo>
                        <a:lnTo>
                          <a:pt x="203486" y="295547"/>
                        </a:lnTo>
                        <a:lnTo>
                          <a:pt x="203542" y="295547"/>
                        </a:lnTo>
                        <a:lnTo>
                          <a:pt x="203823" y="294705"/>
                        </a:lnTo>
                        <a:lnTo>
                          <a:pt x="204103" y="294087"/>
                        </a:lnTo>
                        <a:lnTo>
                          <a:pt x="204216" y="293302"/>
                        </a:lnTo>
                        <a:lnTo>
                          <a:pt x="204272" y="292572"/>
                        </a:lnTo>
                        <a:lnTo>
                          <a:pt x="203654" y="279271"/>
                        </a:lnTo>
                        <a:lnTo>
                          <a:pt x="212802" y="269618"/>
                        </a:lnTo>
                        <a:lnTo>
                          <a:pt x="213251" y="269057"/>
                        </a:lnTo>
                        <a:lnTo>
                          <a:pt x="213700" y="268440"/>
                        </a:lnTo>
                        <a:lnTo>
                          <a:pt x="213869" y="267710"/>
                        </a:lnTo>
                        <a:lnTo>
                          <a:pt x="214037" y="266868"/>
                        </a:lnTo>
                        <a:lnTo>
                          <a:pt x="214149" y="266083"/>
                        </a:lnTo>
                        <a:lnTo>
                          <a:pt x="214037" y="265353"/>
                        </a:lnTo>
                        <a:lnTo>
                          <a:pt x="213869" y="264623"/>
                        </a:lnTo>
                        <a:lnTo>
                          <a:pt x="213700" y="263782"/>
                        </a:lnTo>
                        <a:lnTo>
                          <a:pt x="208200" y="251884"/>
                        </a:lnTo>
                        <a:lnTo>
                          <a:pt x="212802" y="239481"/>
                        </a:lnTo>
                        <a:lnTo>
                          <a:pt x="212971" y="238751"/>
                        </a:lnTo>
                        <a:lnTo>
                          <a:pt x="213083" y="238022"/>
                        </a:lnTo>
                        <a:lnTo>
                          <a:pt x="213083" y="237124"/>
                        </a:lnTo>
                        <a:lnTo>
                          <a:pt x="212858" y="236394"/>
                        </a:lnTo>
                        <a:lnTo>
                          <a:pt x="212690" y="235665"/>
                        </a:lnTo>
                        <a:lnTo>
                          <a:pt x="212353" y="234991"/>
                        </a:lnTo>
                        <a:lnTo>
                          <a:pt x="211904" y="234430"/>
                        </a:lnTo>
                        <a:lnTo>
                          <a:pt x="211455" y="233813"/>
                        </a:lnTo>
                        <a:lnTo>
                          <a:pt x="201466" y="224945"/>
                        </a:lnTo>
                        <a:lnTo>
                          <a:pt x="201129" y="211757"/>
                        </a:lnTo>
                        <a:lnTo>
                          <a:pt x="201017" y="210915"/>
                        </a:lnTo>
                        <a:lnTo>
                          <a:pt x="200736" y="210129"/>
                        </a:lnTo>
                        <a:lnTo>
                          <a:pt x="200512" y="209456"/>
                        </a:lnTo>
                        <a:lnTo>
                          <a:pt x="200119" y="208838"/>
                        </a:lnTo>
                        <a:lnTo>
                          <a:pt x="199614" y="208221"/>
                        </a:lnTo>
                        <a:lnTo>
                          <a:pt x="199052" y="207660"/>
                        </a:lnTo>
                        <a:lnTo>
                          <a:pt x="198435" y="207323"/>
                        </a:lnTo>
                        <a:lnTo>
                          <a:pt x="197705" y="206930"/>
                        </a:lnTo>
                        <a:lnTo>
                          <a:pt x="197593" y="206930"/>
                        </a:lnTo>
                        <a:lnTo>
                          <a:pt x="185190" y="202440"/>
                        </a:lnTo>
                        <a:lnTo>
                          <a:pt x="179634" y="190318"/>
                        </a:lnTo>
                        <a:lnTo>
                          <a:pt x="179241" y="189701"/>
                        </a:lnTo>
                        <a:lnTo>
                          <a:pt x="178792" y="189027"/>
                        </a:lnTo>
                        <a:lnTo>
                          <a:pt x="178175" y="188578"/>
                        </a:lnTo>
                        <a:lnTo>
                          <a:pt x="177558" y="188073"/>
                        </a:lnTo>
                        <a:lnTo>
                          <a:pt x="177558" y="187961"/>
                        </a:lnTo>
                        <a:lnTo>
                          <a:pt x="176828" y="187680"/>
                        </a:lnTo>
                        <a:lnTo>
                          <a:pt x="176155" y="187512"/>
                        </a:lnTo>
                        <a:lnTo>
                          <a:pt x="175369" y="187344"/>
                        </a:lnTo>
                        <a:lnTo>
                          <a:pt x="174527" y="187344"/>
                        </a:lnTo>
                        <a:lnTo>
                          <a:pt x="161282" y="187849"/>
                        </a:lnTo>
                        <a:lnTo>
                          <a:pt x="151517" y="178925"/>
                        </a:lnTo>
                        <a:lnTo>
                          <a:pt x="150956" y="178364"/>
                        </a:lnTo>
                        <a:lnTo>
                          <a:pt x="150226" y="178027"/>
                        </a:lnTo>
                        <a:lnTo>
                          <a:pt x="149609" y="177635"/>
                        </a:lnTo>
                        <a:lnTo>
                          <a:pt x="148879" y="177466"/>
                        </a:lnTo>
                        <a:lnTo>
                          <a:pt x="147982" y="177466"/>
                        </a:lnTo>
                        <a:close/>
                        <a:moveTo>
                          <a:pt x="176577" y="81430"/>
                        </a:moveTo>
                        <a:cubicBezTo>
                          <a:pt x="179182" y="81430"/>
                          <a:pt x="181217" y="82287"/>
                          <a:pt x="182682" y="84002"/>
                        </a:cubicBezTo>
                        <a:cubicBezTo>
                          <a:pt x="184147" y="85717"/>
                          <a:pt x="184890" y="88115"/>
                          <a:pt x="184912" y="91197"/>
                        </a:cubicBezTo>
                        <a:lnTo>
                          <a:pt x="166908" y="91197"/>
                        </a:lnTo>
                        <a:cubicBezTo>
                          <a:pt x="167321" y="88289"/>
                          <a:pt x="168406" y="85934"/>
                          <a:pt x="170164" y="84132"/>
                        </a:cubicBezTo>
                        <a:cubicBezTo>
                          <a:pt x="171922" y="82331"/>
                          <a:pt x="174060" y="81430"/>
                          <a:pt x="176577" y="81430"/>
                        </a:cubicBezTo>
                        <a:close/>
                        <a:moveTo>
                          <a:pt x="119427" y="81430"/>
                        </a:moveTo>
                        <a:cubicBezTo>
                          <a:pt x="122032" y="81430"/>
                          <a:pt x="124067" y="82287"/>
                          <a:pt x="125532" y="84002"/>
                        </a:cubicBezTo>
                        <a:cubicBezTo>
                          <a:pt x="126997" y="85717"/>
                          <a:pt x="127740" y="88115"/>
                          <a:pt x="127762" y="91197"/>
                        </a:cubicBezTo>
                        <a:lnTo>
                          <a:pt x="109758" y="91197"/>
                        </a:lnTo>
                        <a:cubicBezTo>
                          <a:pt x="110171" y="88289"/>
                          <a:pt x="111256" y="85934"/>
                          <a:pt x="113014" y="84132"/>
                        </a:cubicBezTo>
                        <a:cubicBezTo>
                          <a:pt x="114772" y="82331"/>
                          <a:pt x="116910" y="81430"/>
                          <a:pt x="119427" y="81430"/>
                        </a:cubicBezTo>
                        <a:close/>
                        <a:moveTo>
                          <a:pt x="215882" y="77133"/>
                        </a:moveTo>
                        <a:cubicBezTo>
                          <a:pt x="213950" y="77133"/>
                          <a:pt x="212203" y="77789"/>
                          <a:pt x="210640" y="79102"/>
                        </a:cubicBezTo>
                        <a:cubicBezTo>
                          <a:pt x="209078" y="80415"/>
                          <a:pt x="207917" y="82244"/>
                          <a:pt x="207157" y="84588"/>
                        </a:cubicBezTo>
                        <a:lnTo>
                          <a:pt x="207027" y="84588"/>
                        </a:lnTo>
                        <a:lnTo>
                          <a:pt x="207027" y="77719"/>
                        </a:lnTo>
                        <a:lnTo>
                          <a:pt x="201687" y="77719"/>
                        </a:lnTo>
                        <a:lnTo>
                          <a:pt x="201687" y="111056"/>
                        </a:lnTo>
                        <a:lnTo>
                          <a:pt x="207027" y="111056"/>
                        </a:lnTo>
                        <a:lnTo>
                          <a:pt x="207027" y="94062"/>
                        </a:lnTo>
                        <a:cubicBezTo>
                          <a:pt x="207027" y="90351"/>
                          <a:pt x="207792" y="87420"/>
                          <a:pt x="209322" y="85272"/>
                        </a:cubicBezTo>
                        <a:cubicBezTo>
                          <a:pt x="210852" y="83123"/>
                          <a:pt x="212757" y="82049"/>
                          <a:pt x="215035" y="82049"/>
                        </a:cubicBezTo>
                        <a:cubicBezTo>
                          <a:pt x="216794" y="82049"/>
                          <a:pt x="218139" y="82407"/>
                          <a:pt x="219072" y="83123"/>
                        </a:cubicBezTo>
                        <a:lnTo>
                          <a:pt x="219072" y="77589"/>
                        </a:lnTo>
                        <a:cubicBezTo>
                          <a:pt x="218334" y="77285"/>
                          <a:pt x="217271" y="77133"/>
                          <a:pt x="215882" y="77133"/>
                        </a:cubicBezTo>
                        <a:close/>
                        <a:moveTo>
                          <a:pt x="176675" y="76937"/>
                        </a:moveTo>
                        <a:cubicBezTo>
                          <a:pt x="172313" y="76937"/>
                          <a:pt x="168661" y="78571"/>
                          <a:pt x="165720" y="81837"/>
                        </a:cubicBezTo>
                        <a:cubicBezTo>
                          <a:pt x="162779" y="85104"/>
                          <a:pt x="161309" y="89330"/>
                          <a:pt x="161309" y="94518"/>
                        </a:cubicBezTo>
                        <a:cubicBezTo>
                          <a:pt x="161309" y="100009"/>
                          <a:pt x="162654" y="104268"/>
                          <a:pt x="165345" y="107296"/>
                        </a:cubicBezTo>
                        <a:cubicBezTo>
                          <a:pt x="168037" y="110324"/>
                          <a:pt x="171737" y="111838"/>
                          <a:pt x="176447" y="111838"/>
                        </a:cubicBezTo>
                        <a:cubicBezTo>
                          <a:pt x="181265" y="111838"/>
                          <a:pt x="185140" y="110774"/>
                          <a:pt x="188070" y="108647"/>
                        </a:cubicBezTo>
                        <a:lnTo>
                          <a:pt x="188070" y="103633"/>
                        </a:lnTo>
                        <a:cubicBezTo>
                          <a:pt x="184923" y="106108"/>
                          <a:pt x="181472" y="107345"/>
                          <a:pt x="177717" y="107345"/>
                        </a:cubicBezTo>
                        <a:cubicBezTo>
                          <a:pt x="174374" y="107345"/>
                          <a:pt x="171748" y="106336"/>
                          <a:pt x="169838" y="104317"/>
                        </a:cubicBezTo>
                        <a:cubicBezTo>
                          <a:pt x="167928" y="102299"/>
                          <a:pt x="166930" y="99434"/>
                          <a:pt x="166843" y="95722"/>
                        </a:cubicBezTo>
                        <a:lnTo>
                          <a:pt x="190381" y="95722"/>
                        </a:lnTo>
                        <a:lnTo>
                          <a:pt x="190381" y="92922"/>
                        </a:lnTo>
                        <a:cubicBezTo>
                          <a:pt x="190381" y="87909"/>
                          <a:pt x="189187" y="83991"/>
                          <a:pt x="186800" y="81170"/>
                        </a:cubicBezTo>
                        <a:cubicBezTo>
                          <a:pt x="184413" y="78348"/>
                          <a:pt x="181038" y="76937"/>
                          <a:pt x="176675" y="76937"/>
                        </a:cubicBezTo>
                        <a:close/>
                        <a:moveTo>
                          <a:pt x="119525" y="76937"/>
                        </a:moveTo>
                        <a:cubicBezTo>
                          <a:pt x="115162" y="76937"/>
                          <a:pt x="111511" y="78571"/>
                          <a:pt x="108570" y="81837"/>
                        </a:cubicBezTo>
                        <a:cubicBezTo>
                          <a:pt x="105629" y="85104"/>
                          <a:pt x="104159" y="89330"/>
                          <a:pt x="104159" y="94518"/>
                        </a:cubicBezTo>
                        <a:cubicBezTo>
                          <a:pt x="104159" y="100009"/>
                          <a:pt x="105504" y="104268"/>
                          <a:pt x="108195" y="107296"/>
                        </a:cubicBezTo>
                        <a:cubicBezTo>
                          <a:pt x="110887" y="110324"/>
                          <a:pt x="114587" y="111838"/>
                          <a:pt x="119297" y="111838"/>
                        </a:cubicBezTo>
                        <a:cubicBezTo>
                          <a:pt x="124115" y="111838"/>
                          <a:pt x="127990" y="110774"/>
                          <a:pt x="130920" y="108647"/>
                        </a:cubicBezTo>
                        <a:lnTo>
                          <a:pt x="130920" y="103633"/>
                        </a:lnTo>
                        <a:cubicBezTo>
                          <a:pt x="127773" y="106108"/>
                          <a:pt x="124322" y="107345"/>
                          <a:pt x="120567" y="107345"/>
                        </a:cubicBezTo>
                        <a:cubicBezTo>
                          <a:pt x="117224" y="107345"/>
                          <a:pt x="114598" y="106336"/>
                          <a:pt x="112688" y="104317"/>
                        </a:cubicBezTo>
                        <a:cubicBezTo>
                          <a:pt x="110778" y="102299"/>
                          <a:pt x="109780" y="99434"/>
                          <a:pt x="109693" y="95722"/>
                        </a:cubicBezTo>
                        <a:lnTo>
                          <a:pt x="133231" y="95722"/>
                        </a:lnTo>
                        <a:lnTo>
                          <a:pt x="133231" y="92922"/>
                        </a:lnTo>
                        <a:cubicBezTo>
                          <a:pt x="133231" y="87909"/>
                          <a:pt x="132037" y="83991"/>
                          <a:pt x="129650" y="81170"/>
                        </a:cubicBezTo>
                        <a:cubicBezTo>
                          <a:pt x="127263" y="78348"/>
                          <a:pt x="123888" y="76937"/>
                          <a:pt x="119525" y="76937"/>
                        </a:cubicBezTo>
                        <a:close/>
                        <a:moveTo>
                          <a:pt x="151602" y="67854"/>
                        </a:moveTo>
                        <a:lnTo>
                          <a:pt x="146263" y="69580"/>
                        </a:lnTo>
                        <a:lnTo>
                          <a:pt x="146263" y="77719"/>
                        </a:lnTo>
                        <a:lnTo>
                          <a:pt x="140533" y="77719"/>
                        </a:lnTo>
                        <a:lnTo>
                          <a:pt x="140533" y="82277"/>
                        </a:lnTo>
                        <a:lnTo>
                          <a:pt x="146263" y="82277"/>
                        </a:lnTo>
                        <a:lnTo>
                          <a:pt x="146263" y="102006"/>
                        </a:lnTo>
                        <a:cubicBezTo>
                          <a:pt x="146263" y="108517"/>
                          <a:pt x="149182" y="111772"/>
                          <a:pt x="155021" y="111772"/>
                        </a:cubicBezTo>
                        <a:cubicBezTo>
                          <a:pt x="157082" y="111772"/>
                          <a:pt x="158743" y="111425"/>
                          <a:pt x="160002" y="110731"/>
                        </a:cubicBezTo>
                        <a:lnTo>
                          <a:pt x="160002" y="106173"/>
                        </a:lnTo>
                        <a:cubicBezTo>
                          <a:pt x="159025" y="106911"/>
                          <a:pt x="157864" y="107280"/>
                          <a:pt x="156518" y="107280"/>
                        </a:cubicBezTo>
                        <a:cubicBezTo>
                          <a:pt x="154760" y="107280"/>
                          <a:pt x="153501" y="106802"/>
                          <a:pt x="152742" y="105847"/>
                        </a:cubicBezTo>
                        <a:cubicBezTo>
                          <a:pt x="151982" y="104892"/>
                          <a:pt x="151602" y="103297"/>
                          <a:pt x="151602" y="101062"/>
                        </a:cubicBezTo>
                        <a:lnTo>
                          <a:pt x="151602" y="82277"/>
                        </a:lnTo>
                        <a:lnTo>
                          <a:pt x="160002" y="82277"/>
                        </a:lnTo>
                        <a:lnTo>
                          <a:pt x="160002" y="77719"/>
                        </a:lnTo>
                        <a:lnTo>
                          <a:pt x="151602" y="77719"/>
                        </a:lnTo>
                        <a:close/>
                        <a:moveTo>
                          <a:pt x="50004" y="64371"/>
                        </a:moveTo>
                        <a:lnTo>
                          <a:pt x="50004" y="111056"/>
                        </a:lnTo>
                        <a:lnTo>
                          <a:pt x="55278" y="111056"/>
                        </a:lnTo>
                        <a:lnTo>
                          <a:pt x="55278" y="79802"/>
                        </a:lnTo>
                        <a:cubicBezTo>
                          <a:pt x="55278" y="75570"/>
                          <a:pt x="55191" y="72521"/>
                          <a:pt x="55017" y="70654"/>
                        </a:cubicBezTo>
                        <a:lnTo>
                          <a:pt x="55148" y="70654"/>
                        </a:lnTo>
                        <a:cubicBezTo>
                          <a:pt x="55625" y="72803"/>
                          <a:pt x="56092" y="74398"/>
                          <a:pt x="56547" y="75440"/>
                        </a:cubicBezTo>
                        <a:lnTo>
                          <a:pt x="72467" y="111056"/>
                        </a:lnTo>
                        <a:lnTo>
                          <a:pt x="75137" y="111056"/>
                        </a:lnTo>
                        <a:lnTo>
                          <a:pt x="91090" y="75179"/>
                        </a:lnTo>
                        <a:cubicBezTo>
                          <a:pt x="91502" y="74268"/>
                          <a:pt x="91969" y="72759"/>
                          <a:pt x="92489" y="70654"/>
                        </a:cubicBezTo>
                        <a:lnTo>
                          <a:pt x="92620" y="70654"/>
                        </a:lnTo>
                        <a:cubicBezTo>
                          <a:pt x="92316" y="74235"/>
                          <a:pt x="92164" y="77263"/>
                          <a:pt x="92164" y="79737"/>
                        </a:cubicBezTo>
                        <a:lnTo>
                          <a:pt x="92164" y="111056"/>
                        </a:lnTo>
                        <a:lnTo>
                          <a:pt x="97601" y="111056"/>
                        </a:lnTo>
                        <a:lnTo>
                          <a:pt x="97601" y="64371"/>
                        </a:lnTo>
                        <a:lnTo>
                          <a:pt x="90764" y="64371"/>
                        </a:lnTo>
                        <a:lnTo>
                          <a:pt x="76146" y="96797"/>
                        </a:lnTo>
                        <a:cubicBezTo>
                          <a:pt x="75582" y="98055"/>
                          <a:pt x="74833" y="99965"/>
                          <a:pt x="73900" y="102527"/>
                        </a:cubicBezTo>
                        <a:lnTo>
                          <a:pt x="73705" y="102527"/>
                        </a:lnTo>
                        <a:cubicBezTo>
                          <a:pt x="73379" y="101289"/>
                          <a:pt x="72663" y="99423"/>
                          <a:pt x="71556" y="96927"/>
                        </a:cubicBezTo>
                        <a:lnTo>
                          <a:pt x="57231" y="64371"/>
                        </a:lnTo>
                        <a:close/>
                        <a:moveTo>
                          <a:pt x="44847" y="0"/>
                        </a:moveTo>
                        <a:lnTo>
                          <a:pt x="224230" y="0"/>
                        </a:lnTo>
                        <a:cubicBezTo>
                          <a:pt x="248998" y="0"/>
                          <a:pt x="269077" y="20079"/>
                          <a:pt x="269077" y="44847"/>
                        </a:cubicBezTo>
                        <a:lnTo>
                          <a:pt x="269077" y="328724"/>
                        </a:lnTo>
                        <a:cubicBezTo>
                          <a:pt x="269077" y="353492"/>
                          <a:pt x="248998" y="373571"/>
                          <a:pt x="224230" y="373571"/>
                        </a:cubicBezTo>
                        <a:lnTo>
                          <a:pt x="44847" y="373571"/>
                        </a:lnTo>
                        <a:cubicBezTo>
                          <a:pt x="20079" y="373571"/>
                          <a:pt x="0" y="353492"/>
                          <a:pt x="0" y="328724"/>
                        </a:cubicBezTo>
                        <a:lnTo>
                          <a:pt x="0" y="44847"/>
                        </a:lnTo>
                        <a:cubicBezTo>
                          <a:pt x="0" y="20079"/>
                          <a:pt x="20079" y="0"/>
                          <a:pt x="44847" y="0"/>
                        </a:cubicBez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117" tIns="47558" rIns="47558" bIns="95117" numCol="1" spcCol="0" rtlCol="0" fromWordArt="0" anchor="b" anchorCtr="0" forceAA="0" compatLnSpc="1">
                    <a:prstTxWarp prst="textNoShape">
                      <a:avLst/>
                    </a:prstTxWarp>
                    <a:noAutofit/>
                  </a:bodyPr>
                  <a:lstStyle/>
                  <a:p>
                    <a:pPr algn="ctr" defTabSz="950843" fontAlgn="base">
                      <a:spcBef>
                        <a:spcPct val="0"/>
                      </a:spcBef>
                      <a:spcAft>
                        <a:spcPct val="0"/>
                      </a:spcAft>
                      <a:defRPr/>
                    </a:pPr>
                    <a:endParaRPr lang="en-US" sz="832" kern="0" spc="-52" dirty="0">
                      <a:solidFill>
                        <a:srgbClr val="FFFFFF"/>
                      </a:solidFill>
                      <a:latin typeface="Segoe UI"/>
                      <a:ea typeface="Segoe UI" pitchFamily="34" charset="0"/>
                      <a:cs typeface="Segoe UI" pitchFamily="34" charset="0"/>
                    </a:endParaRPr>
                  </a:p>
                </p:txBody>
              </p:sp>
              <p:sp>
                <p:nvSpPr>
                  <p:cNvPr id="31" name="Rectangle 85">
                    <a:extLst>
                      <a:ext uri="{FF2B5EF4-FFF2-40B4-BE49-F238E27FC236}">
                        <a16:creationId xmlns:a16="http://schemas.microsoft.com/office/drawing/2014/main" id="{4B452ACA-633B-46A9-8485-8D96D1E76EC8}"/>
                      </a:ext>
                    </a:extLst>
                  </p:cNvPr>
                  <p:cNvSpPr/>
                  <p:nvPr/>
                </p:nvSpPr>
                <p:spPr bwMode="auto">
                  <a:xfrm>
                    <a:off x="3757612" y="5803106"/>
                    <a:ext cx="92870" cy="316707"/>
                  </a:xfrm>
                  <a:prstGeom prst="rect">
                    <a:avLst/>
                  </a:pr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117" tIns="47558" rIns="47558" bIns="95117" numCol="1" spcCol="0" rtlCol="0" fromWordArt="0" anchor="b" anchorCtr="0" forceAA="0" compatLnSpc="1">
                    <a:prstTxWarp prst="textNoShape">
                      <a:avLst/>
                    </a:prstTxWarp>
                    <a:noAutofit/>
                  </a:bodyPr>
                  <a:lstStyle/>
                  <a:p>
                    <a:pPr algn="ctr" defTabSz="950843" fontAlgn="base">
                      <a:spcBef>
                        <a:spcPct val="0"/>
                      </a:spcBef>
                      <a:spcAft>
                        <a:spcPct val="0"/>
                      </a:spcAft>
                      <a:defRPr/>
                    </a:pPr>
                    <a:endParaRPr lang="en-US" sz="832" kern="0" spc="-52" dirty="0">
                      <a:solidFill>
                        <a:srgbClr val="FFFFFF"/>
                      </a:solidFill>
                      <a:latin typeface="Segoe UI"/>
                      <a:ea typeface="Segoe UI" pitchFamily="34" charset="0"/>
                      <a:cs typeface="Segoe UI" pitchFamily="34" charset="0"/>
                    </a:endParaRPr>
                  </a:p>
                </p:txBody>
              </p:sp>
            </p:grpSp>
          </p:grpSp>
        </p:grpSp>
        <p:grpSp>
          <p:nvGrpSpPr>
            <p:cNvPr id="22" name="Group 88">
              <a:extLst>
                <a:ext uri="{FF2B5EF4-FFF2-40B4-BE49-F238E27FC236}">
                  <a16:creationId xmlns:a16="http://schemas.microsoft.com/office/drawing/2014/main" id="{7A4E584A-CC27-4102-AD56-4AAB62662857}"/>
                </a:ext>
              </a:extLst>
            </p:cNvPr>
            <p:cNvGrpSpPr/>
            <p:nvPr/>
          </p:nvGrpSpPr>
          <p:grpSpPr>
            <a:xfrm>
              <a:off x="301215" y="2996735"/>
              <a:ext cx="615822" cy="376803"/>
              <a:chOff x="1151877" y="4120575"/>
              <a:chExt cx="923789" cy="586051"/>
            </a:xfrm>
          </p:grpSpPr>
          <p:sp>
            <p:nvSpPr>
              <p:cNvPr id="24" name="Rectangle 617">
                <a:extLst>
                  <a:ext uri="{FF2B5EF4-FFF2-40B4-BE49-F238E27FC236}">
                    <a16:creationId xmlns:a16="http://schemas.microsoft.com/office/drawing/2014/main" id="{973BE2B8-CE9E-49A1-A3D5-624304578B6B}"/>
                  </a:ext>
                </a:extLst>
              </p:cNvPr>
              <p:cNvSpPr/>
              <p:nvPr/>
            </p:nvSpPr>
            <p:spPr>
              <a:xfrm>
                <a:off x="1170681" y="4429627"/>
                <a:ext cx="904985" cy="276999"/>
              </a:xfrm>
              <a:prstGeom prst="rect">
                <a:avLst/>
              </a:prstGeom>
            </p:spPr>
            <p:txBody>
              <a:bodyPr wrap="square">
                <a:noAutofit/>
              </a:bodyPr>
              <a:lstStyle/>
              <a:p>
                <a:pPr defTabSz="970084">
                  <a:defRPr/>
                </a:pPr>
                <a:r>
                  <a:rPr lang="en-US" sz="832" kern="0" dirty="0">
                    <a:solidFill>
                      <a:srgbClr val="FFFFFF"/>
                    </a:solidFill>
                    <a:latin typeface="Segoe UI"/>
                  </a:rPr>
                  <a:t>Trucks</a:t>
                </a:r>
              </a:p>
            </p:txBody>
          </p:sp>
          <p:sp>
            <p:nvSpPr>
              <p:cNvPr id="25" name="Donut 100">
                <a:extLst>
                  <a:ext uri="{FF2B5EF4-FFF2-40B4-BE49-F238E27FC236}">
                    <a16:creationId xmlns:a16="http://schemas.microsoft.com/office/drawing/2014/main" id="{49B1B9FE-3A45-44C1-80B4-59344F7E21C7}"/>
                  </a:ext>
                </a:extLst>
              </p:cNvPr>
              <p:cNvSpPr>
                <a:spLocks noChangeAspect="1"/>
              </p:cNvSpPr>
              <p:nvPr/>
            </p:nvSpPr>
            <p:spPr bwMode="auto">
              <a:xfrm>
                <a:off x="1151877" y="4120575"/>
                <a:ext cx="861337" cy="363123"/>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117" tIns="47558" rIns="47558" bIns="95117" numCol="1" spcCol="0" rtlCol="0" fromWordArt="0" anchor="b" anchorCtr="0" forceAA="0" compatLnSpc="1">
                <a:prstTxWarp prst="textNoShape">
                  <a:avLst/>
                </a:prstTxWarp>
                <a:noAutofit/>
              </a:bodyPr>
              <a:lstStyle/>
              <a:p>
                <a:pPr algn="ctr" defTabSz="950843" fontAlgn="base">
                  <a:spcBef>
                    <a:spcPct val="0"/>
                  </a:spcBef>
                  <a:spcAft>
                    <a:spcPct val="0"/>
                  </a:spcAft>
                  <a:defRPr/>
                </a:pPr>
                <a:endParaRPr lang="en-US" sz="832" kern="0" spc="-52" dirty="0" err="1">
                  <a:solidFill>
                    <a:srgbClr val="FFFFFF"/>
                  </a:solidFill>
                  <a:latin typeface="Segoe UI"/>
                  <a:ea typeface="Segoe UI" pitchFamily="34" charset="0"/>
                  <a:cs typeface="Segoe UI" pitchFamily="34" charset="0"/>
                </a:endParaRPr>
              </a:p>
            </p:txBody>
          </p:sp>
        </p:grpSp>
        <p:sp>
          <p:nvSpPr>
            <p:cNvPr id="23" name="矩形 22">
              <a:extLst>
                <a:ext uri="{FF2B5EF4-FFF2-40B4-BE49-F238E27FC236}">
                  <a16:creationId xmlns:a16="http://schemas.microsoft.com/office/drawing/2014/main" id="{62F0170A-9851-4849-A90F-250332345682}"/>
                </a:ext>
              </a:extLst>
            </p:cNvPr>
            <p:cNvSpPr/>
            <p:nvPr/>
          </p:nvSpPr>
          <p:spPr>
            <a:xfrm>
              <a:off x="215827" y="2892927"/>
              <a:ext cx="1309156" cy="3855551"/>
            </a:xfrm>
            <a:prstGeom prst="rect">
              <a:avLst/>
            </a:prstGeom>
            <a:no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97">
                <a:defRPr/>
              </a:pPr>
              <a:endParaRPr lang="en-US" sz="1873">
                <a:solidFill>
                  <a:srgbClr val="FFFFFF"/>
                </a:solidFill>
                <a:latin typeface="Segoe UI"/>
              </a:endParaRPr>
            </a:p>
          </p:txBody>
        </p:sp>
      </p:grpSp>
      <p:grpSp>
        <p:nvGrpSpPr>
          <p:cNvPr id="40" name="组合 39">
            <a:extLst>
              <a:ext uri="{FF2B5EF4-FFF2-40B4-BE49-F238E27FC236}">
                <a16:creationId xmlns:a16="http://schemas.microsoft.com/office/drawing/2014/main" id="{1CAB947A-6E18-4581-AE0E-9FDB9026F179}"/>
              </a:ext>
            </a:extLst>
          </p:cNvPr>
          <p:cNvGrpSpPr/>
          <p:nvPr/>
        </p:nvGrpSpPr>
        <p:grpSpPr>
          <a:xfrm>
            <a:off x="1719565" y="3009255"/>
            <a:ext cx="1426388" cy="4010586"/>
            <a:chOff x="1651379" y="2892928"/>
            <a:chExt cx="1371249" cy="3855550"/>
          </a:xfrm>
        </p:grpSpPr>
        <p:pic>
          <p:nvPicPr>
            <p:cNvPr id="41" name="图片 40">
              <a:extLst>
                <a:ext uri="{FF2B5EF4-FFF2-40B4-BE49-F238E27FC236}">
                  <a16:creationId xmlns:a16="http://schemas.microsoft.com/office/drawing/2014/main" id="{18C98FB2-C49C-4B44-A338-44124524461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25400" t="30306" r="28545" b="29833"/>
            <a:stretch/>
          </p:blipFill>
          <p:spPr>
            <a:xfrm>
              <a:off x="1972040" y="2929568"/>
              <a:ext cx="721436" cy="427673"/>
            </a:xfrm>
            <a:prstGeom prst="rect">
              <a:avLst/>
            </a:prstGeom>
          </p:spPr>
        </p:pic>
        <p:pic>
          <p:nvPicPr>
            <p:cNvPr id="42" name="图片 41">
              <a:extLst>
                <a:ext uri="{FF2B5EF4-FFF2-40B4-BE49-F238E27FC236}">
                  <a16:creationId xmlns:a16="http://schemas.microsoft.com/office/drawing/2014/main" id="{8C5B22A8-58E9-4A58-A110-E1261D8CE4D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845742" y="3359686"/>
              <a:ext cx="1028129" cy="775503"/>
            </a:xfrm>
            <a:prstGeom prst="rect">
              <a:avLst/>
            </a:prstGeom>
          </p:spPr>
        </p:pic>
        <p:pic>
          <p:nvPicPr>
            <p:cNvPr id="43" name="图片 42">
              <a:extLst>
                <a:ext uri="{FF2B5EF4-FFF2-40B4-BE49-F238E27FC236}">
                  <a16:creationId xmlns:a16="http://schemas.microsoft.com/office/drawing/2014/main" id="{5B283131-86CD-4401-9566-689D6914411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14597" t="15023" r="13796" b="13940"/>
            <a:stretch/>
          </p:blipFill>
          <p:spPr>
            <a:xfrm>
              <a:off x="1849791" y="4192573"/>
              <a:ext cx="1020030" cy="685728"/>
            </a:xfrm>
            <a:prstGeom prst="rect">
              <a:avLst/>
            </a:prstGeom>
          </p:spPr>
        </p:pic>
        <p:sp>
          <p:nvSpPr>
            <p:cNvPr id="44" name="矩形 43">
              <a:extLst>
                <a:ext uri="{FF2B5EF4-FFF2-40B4-BE49-F238E27FC236}">
                  <a16:creationId xmlns:a16="http://schemas.microsoft.com/office/drawing/2014/main" id="{4DB3716D-BCBD-4B2F-AC64-69D9CCDBCFF2}"/>
                </a:ext>
              </a:extLst>
            </p:cNvPr>
            <p:cNvSpPr/>
            <p:nvPr/>
          </p:nvSpPr>
          <p:spPr>
            <a:xfrm>
              <a:off x="1651379" y="2892928"/>
              <a:ext cx="1371249" cy="3855550"/>
            </a:xfrm>
            <a:prstGeom prst="rect">
              <a:avLst/>
            </a:prstGeom>
            <a:noFill/>
            <a:ln>
              <a:solidFill>
                <a:srgbClr val="7030A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97">
                <a:defRPr/>
              </a:pPr>
              <a:endParaRPr lang="en-US" sz="1873">
                <a:solidFill>
                  <a:srgbClr val="FFFFFF"/>
                </a:solidFill>
                <a:latin typeface="Segoe UI"/>
              </a:endParaRPr>
            </a:p>
          </p:txBody>
        </p:sp>
      </p:grpSp>
      <p:grpSp>
        <p:nvGrpSpPr>
          <p:cNvPr id="45" name="组合 44">
            <a:extLst>
              <a:ext uri="{FF2B5EF4-FFF2-40B4-BE49-F238E27FC236}">
                <a16:creationId xmlns:a16="http://schemas.microsoft.com/office/drawing/2014/main" id="{11CBC318-BC3B-4908-8DD4-A5E6B2DF5F27}"/>
              </a:ext>
            </a:extLst>
          </p:cNvPr>
          <p:cNvGrpSpPr/>
          <p:nvPr/>
        </p:nvGrpSpPr>
        <p:grpSpPr>
          <a:xfrm>
            <a:off x="3338346" y="2996117"/>
            <a:ext cx="5239013" cy="4023722"/>
            <a:chOff x="3207584" y="2880298"/>
            <a:chExt cx="5036491" cy="3868179"/>
          </a:xfrm>
        </p:grpSpPr>
        <p:sp>
          <p:nvSpPr>
            <p:cNvPr id="46" name="文本框 45">
              <a:extLst>
                <a:ext uri="{FF2B5EF4-FFF2-40B4-BE49-F238E27FC236}">
                  <a16:creationId xmlns:a16="http://schemas.microsoft.com/office/drawing/2014/main" id="{858D9AAA-030C-424E-8D6B-3B0896133C5E}"/>
                </a:ext>
              </a:extLst>
            </p:cNvPr>
            <p:cNvSpPr txBox="1"/>
            <p:nvPr/>
          </p:nvSpPr>
          <p:spPr>
            <a:xfrm>
              <a:off x="3814712" y="3314081"/>
              <a:ext cx="1033306" cy="374846"/>
            </a:xfrm>
            <a:prstGeom prst="rect">
              <a:avLst/>
            </a:prstGeom>
            <a:noFill/>
          </p:spPr>
          <p:txBody>
            <a:bodyPr wrap="square" rtlCol="0">
              <a:spAutoFit/>
            </a:bodyPr>
            <a:lstStyle/>
            <a:p>
              <a:pPr algn="ctr" defTabSz="932597">
                <a:defRPr/>
              </a:pPr>
              <a:r>
                <a:rPr lang="en-US" sz="1873" dirty="0">
                  <a:solidFill>
                    <a:srgbClr val="FFFFFF"/>
                  </a:solidFill>
                  <a:latin typeface="Segoe UI"/>
                </a:rPr>
                <a:t>IoT Hub</a:t>
              </a:r>
            </a:p>
          </p:txBody>
        </p:sp>
        <p:pic>
          <p:nvPicPr>
            <p:cNvPr id="47" name="Picture 62">
              <a:extLst>
                <a:ext uri="{FF2B5EF4-FFF2-40B4-BE49-F238E27FC236}">
                  <a16:creationId xmlns:a16="http://schemas.microsoft.com/office/drawing/2014/main" id="{F74D8570-5FAD-43D4-84CC-33AAC87A6B66}"/>
                </a:ext>
              </a:extLst>
            </p:cNvPr>
            <p:cNvPicPr>
              <a:picLocks noChangeAspect="1"/>
            </p:cNvPicPr>
            <p:nvPr/>
          </p:nvPicPr>
          <p:blipFill>
            <a:blip r:embed="rId6" cstate="email">
              <a:duotone>
                <a:schemeClr val="accent2">
                  <a:shade val="45000"/>
                  <a:satMod val="135000"/>
                </a:schemeClr>
                <a:prstClr val="white"/>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3290732" y="4060440"/>
              <a:ext cx="406722" cy="406722"/>
            </a:xfrm>
            <a:prstGeom prst="rect">
              <a:avLst/>
            </a:prstGeom>
          </p:spPr>
        </p:pic>
        <p:pic>
          <p:nvPicPr>
            <p:cNvPr id="48" name="Picture 63">
              <a:extLst>
                <a:ext uri="{FF2B5EF4-FFF2-40B4-BE49-F238E27FC236}">
                  <a16:creationId xmlns:a16="http://schemas.microsoft.com/office/drawing/2014/main" id="{1A094740-38BE-40D7-95BB-C37A60848052}"/>
                </a:ext>
              </a:extLst>
            </p:cNvPr>
            <p:cNvPicPr>
              <a:picLocks noChangeAspect="1"/>
            </p:cNvPicPr>
            <p:nvPr/>
          </p:nvPicPr>
          <p:blipFill>
            <a:blip r:embed="rId8" cstate="email">
              <a:duotone>
                <a:schemeClr val="accent2">
                  <a:shade val="45000"/>
                  <a:satMod val="135000"/>
                </a:schemeClr>
                <a:prstClr val="white"/>
              </a:duotone>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3295895" y="3191914"/>
              <a:ext cx="531032" cy="567342"/>
            </a:xfrm>
            <a:prstGeom prst="rect">
              <a:avLst/>
            </a:prstGeom>
          </p:spPr>
        </p:pic>
        <p:sp>
          <p:nvSpPr>
            <p:cNvPr id="49" name="文本框 48">
              <a:extLst>
                <a:ext uri="{FF2B5EF4-FFF2-40B4-BE49-F238E27FC236}">
                  <a16:creationId xmlns:a16="http://schemas.microsoft.com/office/drawing/2014/main" id="{57F01781-8A96-4358-86A2-2E39060109C4}"/>
                </a:ext>
              </a:extLst>
            </p:cNvPr>
            <p:cNvSpPr txBox="1"/>
            <p:nvPr/>
          </p:nvSpPr>
          <p:spPr>
            <a:xfrm>
              <a:off x="3789821" y="4079460"/>
              <a:ext cx="1336242" cy="365842"/>
            </a:xfrm>
            <a:prstGeom prst="rect">
              <a:avLst/>
            </a:prstGeom>
            <a:noFill/>
          </p:spPr>
          <p:txBody>
            <a:bodyPr wrap="square" rtlCol="0">
              <a:spAutoFit/>
            </a:bodyPr>
            <a:lstStyle/>
            <a:p>
              <a:pPr algn="ctr" defTabSz="932597">
                <a:defRPr/>
              </a:pPr>
              <a:r>
                <a:rPr lang="en-US" sz="1873" dirty="0">
                  <a:solidFill>
                    <a:srgbClr val="FFFFFF"/>
                  </a:solidFill>
                  <a:latin typeface="Segoe UI"/>
                </a:rPr>
                <a:t>Service Bus</a:t>
              </a:r>
            </a:p>
          </p:txBody>
        </p:sp>
        <p:grpSp>
          <p:nvGrpSpPr>
            <p:cNvPr id="50" name="组合 49">
              <a:extLst>
                <a:ext uri="{FF2B5EF4-FFF2-40B4-BE49-F238E27FC236}">
                  <a16:creationId xmlns:a16="http://schemas.microsoft.com/office/drawing/2014/main" id="{363FCFB4-719D-4945-BEC7-545012810DD9}"/>
                </a:ext>
              </a:extLst>
            </p:cNvPr>
            <p:cNvGrpSpPr/>
            <p:nvPr/>
          </p:nvGrpSpPr>
          <p:grpSpPr>
            <a:xfrm>
              <a:off x="3328071" y="4563455"/>
              <a:ext cx="291624" cy="298676"/>
              <a:chOff x="2600511" y="1997907"/>
              <a:chExt cx="335326" cy="398536"/>
            </a:xfrm>
            <a:solidFill>
              <a:srgbClr val="C00000"/>
            </a:solidFill>
          </p:grpSpPr>
          <p:sp>
            <p:nvSpPr>
              <p:cNvPr id="64" name="Freeform 9">
                <a:extLst>
                  <a:ext uri="{FF2B5EF4-FFF2-40B4-BE49-F238E27FC236}">
                    <a16:creationId xmlns:a16="http://schemas.microsoft.com/office/drawing/2014/main" id="{42E59645-FDCB-4771-A6E5-168EE520C353}"/>
                  </a:ext>
                </a:extLst>
              </p:cNvPr>
              <p:cNvSpPr>
                <a:spLocks/>
              </p:cNvSpPr>
              <p:nvPr/>
            </p:nvSpPr>
            <p:spPr bwMode="auto">
              <a:xfrm>
                <a:off x="2600511" y="1997907"/>
                <a:ext cx="335326" cy="69729"/>
              </a:xfrm>
              <a:custGeom>
                <a:avLst/>
                <a:gdLst>
                  <a:gd name="T0" fmla="*/ 596 w 1183"/>
                  <a:gd name="T1" fmla="*/ 2 h 246"/>
                  <a:gd name="T2" fmla="*/ 1141 w 1183"/>
                  <a:gd name="T3" fmla="*/ 2 h 246"/>
                  <a:gd name="T4" fmla="*/ 1173 w 1183"/>
                  <a:gd name="T5" fmla="*/ 3 h 246"/>
                  <a:gd name="T6" fmla="*/ 1181 w 1183"/>
                  <a:gd name="T7" fmla="*/ 13 h 246"/>
                  <a:gd name="T8" fmla="*/ 1183 w 1183"/>
                  <a:gd name="T9" fmla="*/ 45 h 246"/>
                  <a:gd name="T10" fmla="*/ 1183 w 1183"/>
                  <a:gd name="T11" fmla="*/ 211 h 246"/>
                  <a:gd name="T12" fmla="*/ 1181 w 1183"/>
                  <a:gd name="T13" fmla="*/ 226 h 246"/>
                  <a:gd name="T14" fmla="*/ 1177 w 1183"/>
                  <a:gd name="T15" fmla="*/ 237 h 246"/>
                  <a:gd name="T16" fmla="*/ 1167 w 1183"/>
                  <a:gd name="T17" fmla="*/ 243 h 246"/>
                  <a:gd name="T18" fmla="*/ 1151 w 1183"/>
                  <a:gd name="T19" fmla="*/ 245 h 246"/>
                  <a:gd name="T20" fmla="*/ 1129 w 1183"/>
                  <a:gd name="T21" fmla="*/ 245 h 246"/>
                  <a:gd name="T22" fmla="*/ 1101 w 1183"/>
                  <a:gd name="T23" fmla="*/ 242 h 246"/>
                  <a:gd name="T24" fmla="*/ 1093 w 1183"/>
                  <a:gd name="T25" fmla="*/ 237 h 246"/>
                  <a:gd name="T26" fmla="*/ 1089 w 1183"/>
                  <a:gd name="T27" fmla="*/ 229 h 246"/>
                  <a:gd name="T28" fmla="*/ 1087 w 1183"/>
                  <a:gd name="T29" fmla="*/ 200 h 246"/>
                  <a:gd name="T30" fmla="*/ 1087 w 1183"/>
                  <a:gd name="T31" fmla="*/ 178 h 246"/>
                  <a:gd name="T32" fmla="*/ 1085 w 1183"/>
                  <a:gd name="T33" fmla="*/ 112 h 246"/>
                  <a:gd name="T34" fmla="*/ 1082 w 1183"/>
                  <a:gd name="T35" fmla="*/ 104 h 246"/>
                  <a:gd name="T36" fmla="*/ 1074 w 1183"/>
                  <a:gd name="T37" fmla="*/ 99 h 246"/>
                  <a:gd name="T38" fmla="*/ 1014 w 1183"/>
                  <a:gd name="T39" fmla="*/ 101 h 246"/>
                  <a:gd name="T40" fmla="*/ 575 w 1183"/>
                  <a:gd name="T41" fmla="*/ 99 h 246"/>
                  <a:gd name="T42" fmla="*/ 139 w 1183"/>
                  <a:gd name="T43" fmla="*/ 99 h 246"/>
                  <a:gd name="T44" fmla="*/ 107 w 1183"/>
                  <a:gd name="T45" fmla="*/ 102 h 246"/>
                  <a:gd name="T46" fmla="*/ 99 w 1183"/>
                  <a:gd name="T47" fmla="*/ 110 h 246"/>
                  <a:gd name="T48" fmla="*/ 97 w 1183"/>
                  <a:gd name="T49" fmla="*/ 141 h 246"/>
                  <a:gd name="T50" fmla="*/ 97 w 1183"/>
                  <a:gd name="T51" fmla="*/ 216 h 246"/>
                  <a:gd name="T52" fmla="*/ 96 w 1183"/>
                  <a:gd name="T53" fmla="*/ 229 h 246"/>
                  <a:gd name="T54" fmla="*/ 91 w 1183"/>
                  <a:gd name="T55" fmla="*/ 237 h 246"/>
                  <a:gd name="T56" fmla="*/ 83 w 1183"/>
                  <a:gd name="T57" fmla="*/ 243 h 246"/>
                  <a:gd name="T58" fmla="*/ 70 w 1183"/>
                  <a:gd name="T59" fmla="*/ 245 h 246"/>
                  <a:gd name="T60" fmla="*/ 46 w 1183"/>
                  <a:gd name="T61" fmla="*/ 246 h 246"/>
                  <a:gd name="T62" fmla="*/ 17 w 1183"/>
                  <a:gd name="T63" fmla="*/ 245 h 246"/>
                  <a:gd name="T64" fmla="*/ 9 w 1183"/>
                  <a:gd name="T65" fmla="*/ 240 h 246"/>
                  <a:gd name="T66" fmla="*/ 5 w 1183"/>
                  <a:gd name="T67" fmla="*/ 232 h 246"/>
                  <a:gd name="T68" fmla="*/ 1 w 1183"/>
                  <a:gd name="T69" fmla="*/ 203 h 246"/>
                  <a:gd name="T70" fmla="*/ 1 w 1183"/>
                  <a:gd name="T71" fmla="*/ 179 h 246"/>
                  <a:gd name="T72" fmla="*/ 1 w 1183"/>
                  <a:gd name="T73" fmla="*/ 77 h 246"/>
                  <a:gd name="T74" fmla="*/ 0 w 1183"/>
                  <a:gd name="T75" fmla="*/ 42 h 246"/>
                  <a:gd name="T76" fmla="*/ 1 w 1183"/>
                  <a:gd name="T77" fmla="*/ 22 h 246"/>
                  <a:gd name="T78" fmla="*/ 8 w 1183"/>
                  <a:gd name="T79" fmla="*/ 10 h 246"/>
                  <a:gd name="T80" fmla="*/ 21 w 1183"/>
                  <a:gd name="T81" fmla="*/ 3 h 246"/>
                  <a:gd name="T82" fmla="*/ 41 w 1183"/>
                  <a:gd name="T83" fmla="*/ 0 h 246"/>
                  <a:gd name="T84" fmla="*/ 318 w 1183"/>
                  <a:gd name="T85" fmla="*/ 2 h 246"/>
                  <a:gd name="T86" fmla="*/ 596 w 1183"/>
                  <a:gd name="T87" fmla="*/ 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83" h="246">
                    <a:moveTo>
                      <a:pt x="596" y="2"/>
                    </a:moveTo>
                    <a:lnTo>
                      <a:pt x="596" y="2"/>
                    </a:lnTo>
                    <a:lnTo>
                      <a:pt x="1141" y="2"/>
                    </a:lnTo>
                    <a:lnTo>
                      <a:pt x="1141" y="2"/>
                    </a:lnTo>
                    <a:lnTo>
                      <a:pt x="1165" y="2"/>
                    </a:lnTo>
                    <a:lnTo>
                      <a:pt x="1173" y="3"/>
                    </a:lnTo>
                    <a:lnTo>
                      <a:pt x="1178" y="6"/>
                    </a:lnTo>
                    <a:lnTo>
                      <a:pt x="1181" y="13"/>
                    </a:lnTo>
                    <a:lnTo>
                      <a:pt x="1183" y="21"/>
                    </a:lnTo>
                    <a:lnTo>
                      <a:pt x="1183" y="45"/>
                    </a:lnTo>
                    <a:lnTo>
                      <a:pt x="1183" y="45"/>
                    </a:lnTo>
                    <a:lnTo>
                      <a:pt x="1183" y="211"/>
                    </a:lnTo>
                    <a:lnTo>
                      <a:pt x="1183" y="211"/>
                    </a:lnTo>
                    <a:lnTo>
                      <a:pt x="1181" y="226"/>
                    </a:lnTo>
                    <a:lnTo>
                      <a:pt x="1180" y="232"/>
                    </a:lnTo>
                    <a:lnTo>
                      <a:pt x="1177" y="237"/>
                    </a:lnTo>
                    <a:lnTo>
                      <a:pt x="1173" y="240"/>
                    </a:lnTo>
                    <a:lnTo>
                      <a:pt x="1167" y="243"/>
                    </a:lnTo>
                    <a:lnTo>
                      <a:pt x="1161" y="245"/>
                    </a:lnTo>
                    <a:lnTo>
                      <a:pt x="1151" y="245"/>
                    </a:lnTo>
                    <a:lnTo>
                      <a:pt x="1151" y="245"/>
                    </a:lnTo>
                    <a:lnTo>
                      <a:pt x="1129" y="245"/>
                    </a:lnTo>
                    <a:lnTo>
                      <a:pt x="1113" y="245"/>
                    </a:lnTo>
                    <a:lnTo>
                      <a:pt x="1101" y="242"/>
                    </a:lnTo>
                    <a:lnTo>
                      <a:pt x="1097" y="240"/>
                    </a:lnTo>
                    <a:lnTo>
                      <a:pt x="1093" y="237"/>
                    </a:lnTo>
                    <a:lnTo>
                      <a:pt x="1092" y="234"/>
                    </a:lnTo>
                    <a:lnTo>
                      <a:pt x="1089" y="229"/>
                    </a:lnTo>
                    <a:lnTo>
                      <a:pt x="1087" y="218"/>
                    </a:lnTo>
                    <a:lnTo>
                      <a:pt x="1087" y="200"/>
                    </a:lnTo>
                    <a:lnTo>
                      <a:pt x="1087" y="178"/>
                    </a:lnTo>
                    <a:lnTo>
                      <a:pt x="1087" y="178"/>
                    </a:lnTo>
                    <a:lnTo>
                      <a:pt x="1087" y="126"/>
                    </a:lnTo>
                    <a:lnTo>
                      <a:pt x="1085" y="112"/>
                    </a:lnTo>
                    <a:lnTo>
                      <a:pt x="1084" y="107"/>
                    </a:lnTo>
                    <a:lnTo>
                      <a:pt x="1082" y="104"/>
                    </a:lnTo>
                    <a:lnTo>
                      <a:pt x="1079" y="101"/>
                    </a:lnTo>
                    <a:lnTo>
                      <a:pt x="1074" y="99"/>
                    </a:lnTo>
                    <a:lnTo>
                      <a:pt x="1060" y="99"/>
                    </a:lnTo>
                    <a:lnTo>
                      <a:pt x="1014" y="101"/>
                    </a:lnTo>
                    <a:lnTo>
                      <a:pt x="1014" y="101"/>
                    </a:lnTo>
                    <a:lnTo>
                      <a:pt x="575" y="99"/>
                    </a:lnTo>
                    <a:lnTo>
                      <a:pt x="139" y="99"/>
                    </a:lnTo>
                    <a:lnTo>
                      <a:pt x="139" y="99"/>
                    </a:lnTo>
                    <a:lnTo>
                      <a:pt x="115" y="101"/>
                    </a:lnTo>
                    <a:lnTo>
                      <a:pt x="107" y="102"/>
                    </a:lnTo>
                    <a:lnTo>
                      <a:pt x="102" y="106"/>
                    </a:lnTo>
                    <a:lnTo>
                      <a:pt x="99" y="110"/>
                    </a:lnTo>
                    <a:lnTo>
                      <a:pt x="97" y="117"/>
                    </a:lnTo>
                    <a:lnTo>
                      <a:pt x="97" y="141"/>
                    </a:lnTo>
                    <a:lnTo>
                      <a:pt x="97" y="141"/>
                    </a:lnTo>
                    <a:lnTo>
                      <a:pt x="97" y="216"/>
                    </a:lnTo>
                    <a:lnTo>
                      <a:pt x="97" y="216"/>
                    </a:lnTo>
                    <a:lnTo>
                      <a:pt x="96" y="229"/>
                    </a:lnTo>
                    <a:lnTo>
                      <a:pt x="94" y="234"/>
                    </a:lnTo>
                    <a:lnTo>
                      <a:pt x="91" y="237"/>
                    </a:lnTo>
                    <a:lnTo>
                      <a:pt x="88" y="240"/>
                    </a:lnTo>
                    <a:lnTo>
                      <a:pt x="83" y="243"/>
                    </a:lnTo>
                    <a:lnTo>
                      <a:pt x="77" y="245"/>
                    </a:lnTo>
                    <a:lnTo>
                      <a:pt x="70" y="245"/>
                    </a:lnTo>
                    <a:lnTo>
                      <a:pt x="70" y="245"/>
                    </a:lnTo>
                    <a:lnTo>
                      <a:pt x="46" y="246"/>
                    </a:lnTo>
                    <a:lnTo>
                      <a:pt x="30" y="246"/>
                    </a:lnTo>
                    <a:lnTo>
                      <a:pt x="17" y="245"/>
                    </a:lnTo>
                    <a:lnTo>
                      <a:pt x="13" y="242"/>
                    </a:lnTo>
                    <a:lnTo>
                      <a:pt x="9" y="240"/>
                    </a:lnTo>
                    <a:lnTo>
                      <a:pt x="6" y="237"/>
                    </a:lnTo>
                    <a:lnTo>
                      <a:pt x="5" y="232"/>
                    </a:lnTo>
                    <a:lnTo>
                      <a:pt x="1" y="219"/>
                    </a:lnTo>
                    <a:lnTo>
                      <a:pt x="1" y="203"/>
                    </a:lnTo>
                    <a:lnTo>
                      <a:pt x="1" y="179"/>
                    </a:lnTo>
                    <a:lnTo>
                      <a:pt x="1" y="179"/>
                    </a:lnTo>
                    <a:lnTo>
                      <a:pt x="1" y="110"/>
                    </a:lnTo>
                    <a:lnTo>
                      <a:pt x="1" y="77"/>
                    </a:lnTo>
                    <a:lnTo>
                      <a:pt x="0" y="42"/>
                    </a:lnTo>
                    <a:lnTo>
                      <a:pt x="0" y="42"/>
                    </a:lnTo>
                    <a:lnTo>
                      <a:pt x="0" y="30"/>
                    </a:lnTo>
                    <a:lnTo>
                      <a:pt x="1" y="22"/>
                    </a:lnTo>
                    <a:lnTo>
                      <a:pt x="5" y="14"/>
                    </a:lnTo>
                    <a:lnTo>
                      <a:pt x="8" y="10"/>
                    </a:lnTo>
                    <a:lnTo>
                      <a:pt x="14" y="5"/>
                    </a:lnTo>
                    <a:lnTo>
                      <a:pt x="21" y="3"/>
                    </a:lnTo>
                    <a:lnTo>
                      <a:pt x="30" y="2"/>
                    </a:lnTo>
                    <a:lnTo>
                      <a:pt x="41" y="0"/>
                    </a:lnTo>
                    <a:lnTo>
                      <a:pt x="41" y="0"/>
                    </a:lnTo>
                    <a:lnTo>
                      <a:pt x="318" y="2"/>
                    </a:lnTo>
                    <a:lnTo>
                      <a:pt x="596" y="2"/>
                    </a:lnTo>
                    <a:lnTo>
                      <a:pt x="59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7011" tIns="48505" rIns="97011" bIns="48505" numCol="1" anchor="t" anchorCtr="0" compatLnSpc="1">
                <a:prstTxWarp prst="textNoShape">
                  <a:avLst/>
                </a:prstTxWarp>
              </a:bodyPr>
              <a:lstStyle/>
              <a:p>
                <a:pPr defTabSz="970084">
                  <a:defRPr/>
                </a:pPr>
                <a:endParaRPr lang="en-US" sz="1873" kern="0" dirty="0">
                  <a:solidFill>
                    <a:srgbClr val="FFFFFF"/>
                  </a:solidFill>
                  <a:latin typeface="Calibri" panose="020F0502020204030204"/>
                </a:endParaRPr>
              </a:p>
            </p:txBody>
          </p:sp>
          <p:sp>
            <p:nvSpPr>
              <p:cNvPr id="65" name="Freeform 10">
                <a:extLst>
                  <a:ext uri="{FF2B5EF4-FFF2-40B4-BE49-F238E27FC236}">
                    <a16:creationId xmlns:a16="http://schemas.microsoft.com/office/drawing/2014/main" id="{067803DE-CB6C-46F8-B7A1-A99400A0737D}"/>
                  </a:ext>
                </a:extLst>
              </p:cNvPr>
              <p:cNvSpPr>
                <a:spLocks/>
              </p:cNvSpPr>
              <p:nvPr/>
            </p:nvSpPr>
            <p:spPr bwMode="auto">
              <a:xfrm>
                <a:off x="2600511" y="2326997"/>
                <a:ext cx="335326" cy="69446"/>
              </a:xfrm>
              <a:custGeom>
                <a:avLst/>
                <a:gdLst>
                  <a:gd name="T0" fmla="*/ 590 w 1183"/>
                  <a:gd name="T1" fmla="*/ 243 h 245"/>
                  <a:gd name="T2" fmla="*/ 38 w 1183"/>
                  <a:gd name="T3" fmla="*/ 245 h 245"/>
                  <a:gd name="T4" fmla="*/ 27 w 1183"/>
                  <a:gd name="T5" fmla="*/ 245 h 245"/>
                  <a:gd name="T6" fmla="*/ 13 w 1183"/>
                  <a:gd name="T7" fmla="*/ 240 h 245"/>
                  <a:gd name="T8" fmla="*/ 5 w 1183"/>
                  <a:gd name="T9" fmla="*/ 232 h 245"/>
                  <a:gd name="T10" fmla="*/ 1 w 1183"/>
                  <a:gd name="T11" fmla="*/ 218 h 245"/>
                  <a:gd name="T12" fmla="*/ 0 w 1183"/>
                  <a:gd name="T13" fmla="*/ 208 h 245"/>
                  <a:gd name="T14" fmla="*/ 1 w 1183"/>
                  <a:gd name="T15" fmla="*/ 35 h 245"/>
                  <a:gd name="T16" fmla="*/ 1 w 1183"/>
                  <a:gd name="T17" fmla="*/ 26 h 245"/>
                  <a:gd name="T18" fmla="*/ 5 w 1183"/>
                  <a:gd name="T19" fmla="*/ 13 h 245"/>
                  <a:gd name="T20" fmla="*/ 13 w 1183"/>
                  <a:gd name="T21" fmla="*/ 5 h 245"/>
                  <a:gd name="T22" fmla="*/ 27 w 1183"/>
                  <a:gd name="T23" fmla="*/ 0 h 245"/>
                  <a:gd name="T24" fmla="*/ 35 w 1183"/>
                  <a:gd name="T25" fmla="*/ 0 h 245"/>
                  <a:gd name="T26" fmla="*/ 72 w 1183"/>
                  <a:gd name="T27" fmla="*/ 2 h 245"/>
                  <a:gd name="T28" fmla="*/ 86 w 1183"/>
                  <a:gd name="T29" fmla="*/ 5 h 245"/>
                  <a:gd name="T30" fmla="*/ 93 w 1183"/>
                  <a:gd name="T31" fmla="*/ 11 h 245"/>
                  <a:gd name="T32" fmla="*/ 96 w 1183"/>
                  <a:gd name="T33" fmla="*/ 26 h 245"/>
                  <a:gd name="T34" fmla="*/ 97 w 1183"/>
                  <a:gd name="T35" fmla="*/ 63 h 245"/>
                  <a:gd name="T36" fmla="*/ 97 w 1183"/>
                  <a:gd name="T37" fmla="*/ 90 h 245"/>
                  <a:gd name="T38" fmla="*/ 102 w 1183"/>
                  <a:gd name="T39" fmla="*/ 125 h 245"/>
                  <a:gd name="T40" fmla="*/ 107 w 1183"/>
                  <a:gd name="T41" fmla="*/ 136 h 245"/>
                  <a:gd name="T42" fmla="*/ 118 w 1183"/>
                  <a:gd name="T43" fmla="*/ 141 h 245"/>
                  <a:gd name="T44" fmla="*/ 153 w 1183"/>
                  <a:gd name="T45" fmla="*/ 146 h 245"/>
                  <a:gd name="T46" fmla="*/ 182 w 1183"/>
                  <a:gd name="T47" fmla="*/ 146 h 245"/>
                  <a:gd name="T48" fmla="*/ 1047 w 1183"/>
                  <a:gd name="T49" fmla="*/ 147 h 245"/>
                  <a:gd name="T50" fmla="*/ 1058 w 1183"/>
                  <a:gd name="T51" fmla="*/ 146 h 245"/>
                  <a:gd name="T52" fmla="*/ 1074 w 1183"/>
                  <a:gd name="T53" fmla="*/ 143 h 245"/>
                  <a:gd name="T54" fmla="*/ 1084 w 1183"/>
                  <a:gd name="T55" fmla="*/ 133 h 245"/>
                  <a:gd name="T56" fmla="*/ 1087 w 1183"/>
                  <a:gd name="T57" fmla="*/ 117 h 245"/>
                  <a:gd name="T58" fmla="*/ 1087 w 1183"/>
                  <a:gd name="T59" fmla="*/ 107 h 245"/>
                  <a:gd name="T60" fmla="*/ 1087 w 1183"/>
                  <a:gd name="T61" fmla="*/ 69 h 245"/>
                  <a:gd name="T62" fmla="*/ 1087 w 1183"/>
                  <a:gd name="T63" fmla="*/ 32 h 245"/>
                  <a:gd name="T64" fmla="*/ 1089 w 1183"/>
                  <a:gd name="T65" fmla="*/ 13 h 245"/>
                  <a:gd name="T66" fmla="*/ 1097 w 1183"/>
                  <a:gd name="T67" fmla="*/ 5 h 245"/>
                  <a:gd name="T68" fmla="*/ 1108 w 1183"/>
                  <a:gd name="T69" fmla="*/ 2 h 245"/>
                  <a:gd name="T70" fmla="*/ 1116 w 1183"/>
                  <a:gd name="T71" fmla="*/ 0 h 245"/>
                  <a:gd name="T72" fmla="*/ 1154 w 1183"/>
                  <a:gd name="T73" fmla="*/ 0 h 245"/>
                  <a:gd name="T74" fmla="*/ 1170 w 1183"/>
                  <a:gd name="T75" fmla="*/ 3 h 245"/>
                  <a:gd name="T76" fmla="*/ 1177 w 1183"/>
                  <a:gd name="T77" fmla="*/ 10 h 245"/>
                  <a:gd name="T78" fmla="*/ 1181 w 1183"/>
                  <a:gd name="T79" fmla="*/ 26 h 245"/>
                  <a:gd name="T80" fmla="*/ 1183 w 1183"/>
                  <a:gd name="T81" fmla="*/ 64 h 245"/>
                  <a:gd name="T82" fmla="*/ 1183 w 1183"/>
                  <a:gd name="T83" fmla="*/ 135 h 245"/>
                  <a:gd name="T84" fmla="*/ 1183 w 1183"/>
                  <a:gd name="T85" fmla="*/ 205 h 245"/>
                  <a:gd name="T86" fmla="*/ 1183 w 1183"/>
                  <a:gd name="T87" fmla="*/ 224 h 245"/>
                  <a:gd name="T88" fmla="*/ 1177 w 1183"/>
                  <a:gd name="T89" fmla="*/ 237 h 245"/>
                  <a:gd name="T90" fmla="*/ 1164 w 1183"/>
                  <a:gd name="T91" fmla="*/ 243 h 245"/>
                  <a:gd name="T92" fmla="*/ 1145 w 1183"/>
                  <a:gd name="T93" fmla="*/ 245 h 245"/>
                  <a:gd name="T94" fmla="*/ 866 w 1183"/>
                  <a:gd name="T95" fmla="*/ 243 h 245"/>
                  <a:gd name="T96" fmla="*/ 590 w 1183"/>
                  <a:gd name="T97" fmla="*/ 24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83" h="245">
                    <a:moveTo>
                      <a:pt x="590" y="243"/>
                    </a:moveTo>
                    <a:lnTo>
                      <a:pt x="590" y="243"/>
                    </a:lnTo>
                    <a:lnTo>
                      <a:pt x="313" y="243"/>
                    </a:lnTo>
                    <a:lnTo>
                      <a:pt x="38" y="245"/>
                    </a:lnTo>
                    <a:lnTo>
                      <a:pt x="38" y="245"/>
                    </a:lnTo>
                    <a:lnTo>
                      <a:pt x="27" y="245"/>
                    </a:lnTo>
                    <a:lnTo>
                      <a:pt x="19" y="243"/>
                    </a:lnTo>
                    <a:lnTo>
                      <a:pt x="13" y="240"/>
                    </a:lnTo>
                    <a:lnTo>
                      <a:pt x="8" y="237"/>
                    </a:lnTo>
                    <a:lnTo>
                      <a:pt x="5" y="232"/>
                    </a:lnTo>
                    <a:lnTo>
                      <a:pt x="1" y="226"/>
                    </a:lnTo>
                    <a:lnTo>
                      <a:pt x="1" y="218"/>
                    </a:lnTo>
                    <a:lnTo>
                      <a:pt x="0" y="208"/>
                    </a:lnTo>
                    <a:lnTo>
                      <a:pt x="0" y="208"/>
                    </a:lnTo>
                    <a:lnTo>
                      <a:pt x="1" y="122"/>
                    </a:lnTo>
                    <a:lnTo>
                      <a:pt x="1" y="35"/>
                    </a:lnTo>
                    <a:lnTo>
                      <a:pt x="1" y="35"/>
                    </a:lnTo>
                    <a:lnTo>
                      <a:pt x="1" y="26"/>
                    </a:lnTo>
                    <a:lnTo>
                      <a:pt x="3" y="18"/>
                    </a:lnTo>
                    <a:lnTo>
                      <a:pt x="5" y="13"/>
                    </a:lnTo>
                    <a:lnTo>
                      <a:pt x="8" y="8"/>
                    </a:lnTo>
                    <a:lnTo>
                      <a:pt x="13" y="5"/>
                    </a:lnTo>
                    <a:lnTo>
                      <a:pt x="19" y="2"/>
                    </a:lnTo>
                    <a:lnTo>
                      <a:pt x="27" y="0"/>
                    </a:lnTo>
                    <a:lnTo>
                      <a:pt x="35" y="0"/>
                    </a:lnTo>
                    <a:lnTo>
                      <a:pt x="35" y="0"/>
                    </a:lnTo>
                    <a:lnTo>
                      <a:pt x="56" y="0"/>
                    </a:lnTo>
                    <a:lnTo>
                      <a:pt x="72" y="2"/>
                    </a:lnTo>
                    <a:lnTo>
                      <a:pt x="81" y="3"/>
                    </a:lnTo>
                    <a:lnTo>
                      <a:pt x="86" y="5"/>
                    </a:lnTo>
                    <a:lnTo>
                      <a:pt x="89" y="8"/>
                    </a:lnTo>
                    <a:lnTo>
                      <a:pt x="93" y="11"/>
                    </a:lnTo>
                    <a:lnTo>
                      <a:pt x="94" y="15"/>
                    </a:lnTo>
                    <a:lnTo>
                      <a:pt x="96" y="26"/>
                    </a:lnTo>
                    <a:lnTo>
                      <a:pt x="97" y="42"/>
                    </a:lnTo>
                    <a:lnTo>
                      <a:pt x="97" y="63"/>
                    </a:lnTo>
                    <a:lnTo>
                      <a:pt x="97" y="63"/>
                    </a:lnTo>
                    <a:lnTo>
                      <a:pt x="97" y="90"/>
                    </a:lnTo>
                    <a:lnTo>
                      <a:pt x="99" y="111"/>
                    </a:lnTo>
                    <a:lnTo>
                      <a:pt x="102" y="125"/>
                    </a:lnTo>
                    <a:lnTo>
                      <a:pt x="104" y="131"/>
                    </a:lnTo>
                    <a:lnTo>
                      <a:pt x="107" y="136"/>
                    </a:lnTo>
                    <a:lnTo>
                      <a:pt x="112" y="139"/>
                    </a:lnTo>
                    <a:lnTo>
                      <a:pt x="118" y="141"/>
                    </a:lnTo>
                    <a:lnTo>
                      <a:pt x="133" y="144"/>
                    </a:lnTo>
                    <a:lnTo>
                      <a:pt x="153" y="146"/>
                    </a:lnTo>
                    <a:lnTo>
                      <a:pt x="182" y="146"/>
                    </a:lnTo>
                    <a:lnTo>
                      <a:pt x="182" y="146"/>
                    </a:lnTo>
                    <a:lnTo>
                      <a:pt x="614" y="146"/>
                    </a:lnTo>
                    <a:lnTo>
                      <a:pt x="1047" y="147"/>
                    </a:lnTo>
                    <a:lnTo>
                      <a:pt x="1047" y="147"/>
                    </a:lnTo>
                    <a:lnTo>
                      <a:pt x="1058" y="146"/>
                    </a:lnTo>
                    <a:lnTo>
                      <a:pt x="1066" y="146"/>
                    </a:lnTo>
                    <a:lnTo>
                      <a:pt x="1074" y="143"/>
                    </a:lnTo>
                    <a:lnTo>
                      <a:pt x="1081" y="139"/>
                    </a:lnTo>
                    <a:lnTo>
                      <a:pt x="1084" y="133"/>
                    </a:lnTo>
                    <a:lnTo>
                      <a:pt x="1087" y="127"/>
                    </a:lnTo>
                    <a:lnTo>
                      <a:pt x="1087" y="117"/>
                    </a:lnTo>
                    <a:lnTo>
                      <a:pt x="1087" y="107"/>
                    </a:lnTo>
                    <a:lnTo>
                      <a:pt x="1087" y="107"/>
                    </a:lnTo>
                    <a:lnTo>
                      <a:pt x="1087" y="88"/>
                    </a:lnTo>
                    <a:lnTo>
                      <a:pt x="1087" y="69"/>
                    </a:lnTo>
                    <a:lnTo>
                      <a:pt x="1087" y="32"/>
                    </a:lnTo>
                    <a:lnTo>
                      <a:pt x="1087" y="32"/>
                    </a:lnTo>
                    <a:lnTo>
                      <a:pt x="1087" y="18"/>
                    </a:lnTo>
                    <a:lnTo>
                      <a:pt x="1089" y="13"/>
                    </a:lnTo>
                    <a:lnTo>
                      <a:pt x="1092" y="8"/>
                    </a:lnTo>
                    <a:lnTo>
                      <a:pt x="1097" y="5"/>
                    </a:lnTo>
                    <a:lnTo>
                      <a:pt x="1101" y="3"/>
                    </a:lnTo>
                    <a:lnTo>
                      <a:pt x="1108" y="2"/>
                    </a:lnTo>
                    <a:lnTo>
                      <a:pt x="1116" y="0"/>
                    </a:lnTo>
                    <a:lnTo>
                      <a:pt x="1116" y="0"/>
                    </a:lnTo>
                    <a:lnTo>
                      <a:pt x="1138" y="0"/>
                    </a:lnTo>
                    <a:lnTo>
                      <a:pt x="1154" y="0"/>
                    </a:lnTo>
                    <a:lnTo>
                      <a:pt x="1167" y="2"/>
                    </a:lnTo>
                    <a:lnTo>
                      <a:pt x="1170" y="3"/>
                    </a:lnTo>
                    <a:lnTo>
                      <a:pt x="1175" y="7"/>
                    </a:lnTo>
                    <a:lnTo>
                      <a:pt x="1177" y="10"/>
                    </a:lnTo>
                    <a:lnTo>
                      <a:pt x="1180" y="15"/>
                    </a:lnTo>
                    <a:lnTo>
                      <a:pt x="1181" y="26"/>
                    </a:lnTo>
                    <a:lnTo>
                      <a:pt x="1183" y="42"/>
                    </a:lnTo>
                    <a:lnTo>
                      <a:pt x="1183" y="64"/>
                    </a:lnTo>
                    <a:lnTo>
                      <a:pt x="1183" y="64"/>
                    </a:lnTo>
                    <a:lnTo>
                      <a:pt x="1183" y="135"/>
                    </a:lnTo>
                    <a:lnTo>
                      <a:pt x="1183" y="205"/>
                    </a:lnTo>
                    <a:lnTo>
                      <a:pt x="1183" y="205"/>
                    </a:lnTo>
                    <a:lnTo>
                      <a:pt x="1183" y="216"/>
                    </a:lnTo>
                    <a:lnTo>
                      <a:pt x="1183" y="224"/>
                    </a:lnTo>
                    <a:lnTo>
                      <a:pt x="1180" y="231"/>
                    </a:lnTo>
                    <a:lnTo>
                      <a:pt x="1177" y="237"/>
                    </a:lnTo>
                    <a:lnTo>
                      <a:pt x="1170" y="240"/>
                    </a:lnTo>
                    <a:lnTo>
                      <a:pt x="1164" y="243"/>
                    </a:lnTo>
                    <a:lnTo>
                      <a:pt x="1154" y="245"/>
                    </a:lnTo>
                    <a:lnTo>
                      <a:pt x="1145" y="245"/>
                    </a:lnTo>
                    <a:lnTo>
                      <a:pt x="1145" y="245"/>
                    </a:lnTo>
                    <a:lnTo>
                      <a:pt x="866" y="243"/>
                    </a:lnTo>
                    <a:lnTo>
                      <a:pt x="590" y="243"/>
                    </a:lnTo>
                    <a:lnTo>
                      <a:pt x="590"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7011" tIns="48505" rIns="97011" bIns="48505" numCol="1" anchor="t" anchorCtr="0" compatLnSpc="1">
                <a:prstTxWarp prst="textNoShape">
                  <a:avLst/>
                </a:prstTxWarp>
              </a:bodyPr>
              <a:lstStyle/>
              <a:p>
                <a:pPr defTabSz="970084">
                  <a:defRPr/>
                </a:pPr>
                <a:endParaRPr lang="en-US" sz="1873" kern="0" dirty="0">
                  <a:solidFill>
                    <a:srgbClr val="FFFFFF"/>
                  </a:solidFill>
                  <a:latin typeface="Calibri" panose="020F0502020204030204"/>
                </a:endParaRPr>
              </a:p>
            </p:txBody>
          </p:sp>
          <p:sp>
            <p:nvSpPr>
              <p:cNvPr id="66" name="Freeform 11">
                <a:extLst>
                  <a:ext uri="{FF2B5EF4-FFF2-40B4-BE49-F238E27FC236}">
                    <a16:creationId xmlns:a16="http://schemas.microsoft.com/office/drawing/2014/main" id="{91C9D843-2F15-4239-B6DF-F25F554D41BD}"/>
                  </a:ext>
                </a:extLst>
              </p:cNvPr>
              <p:cNvSpPr>
                <a:spLocks/>
              </p:cNvSpPr>
              <p:nvPr/>
            </p:nvSpPr>
            <p:spPr bwMode="auto">
              <a:xfrm>
                <a:off x="2734585" y="2112139"/>
                <a:ext cx="71714" cy="77666"/>
              </a:xfrm>
              <a:custGeom>
                <a:avLst/>
                <a:gdLst>
                  <a:gd name="T0" fmla="*/ 251 w 253"/>
                  <a:gd name="T1" fmla="*/ 138 h 274"/>
                  <a:gd name="T2" fmla="*/ 251 w 253"/>
                  <a:gd name="T3" fmla="*/ 138 h 274"/>
                  <a:gd name="T4" fmla="*/ 253 w 253"/>
                  <a:gd name="T5" fmla="*/ 245 h 274"/>
                  <a:gd name="T6" fmla="*/ 253 w 253"/>
                  <a:gd name="T7" fmla="*/ 245 h 274"/>
                  <a:gd name="T8" fmla="*/ 251 w 253"/>
                  <a:gd name="T9" fmla="*/ 251 h 274"/>
                  <a:gd name="T10" fmla="*/ 251 w 253"/>
                  <a:gd name="T11" fmla="*/ 258 h 274"/>
                  <a:gd name="T12" fmla="*/ 248 w 253"/>
                  <a:gd name="T13" fmla="*/ 262 h 274"/>
                  <a:gd name="T14" fmla="*/ 246 w 253"/>
                  <a:gd name="T15" fmla="*/ 267 h 274"/>
                  <a:gd name="T16" fmla="*/ 242 w 253"/>
                  <a:gd name="T17" fmla="*/ 270 h 274"/>
                  <a:gd name="T18" fmla="*/ 237 w 253"/>
                  <a:gd name="T19" fmla="*/ 272 h 274"/>
                  <a:gd name="T20" fmla="*/ 230 w 253"/>
                  <a:gd name="T21" fmla="*/ 274 h 274"/>
                  <a:gd name="T22" fmla="*/ 222 w 253"/>
                  <a:gd name="T23" fmla="*/ 274 h 274"/>
                  <a:gd name="T24" fmla="*/ 222 w 253"/>
                  <a:gd name="T25" fmla="*/ 274 h 274"/>
                  <a:gd name="T26" fmla="*/ 125 w 253"/>
                  <a:gd name="T27" fmla="*/ 274 h 274"/>
                  <a:gd name="T28" fmla="*/ 29 w 253"/>
                  <a:gd name="T29" fmla="*/ 274 h 274"/>
                  <a:gd name="T30" fmla="*/ 29 w 253"/>
                  <a:gd name="T31" fmla="*/ 274 h 274"/>
                  <a:gd name="T32" fmla="*/ 16 w 253"/>
                  <a:gd name="T33" fmla="*/ 272 h 274"/>
                  <a:gd name="T34" fmla="*/ 10 w 253"/>
                  <a:gd name="T35" fmla="*/ 270 h 274"/>
                  <a:gd name="T36" fmla="*/ 7 w 253"/>
                  <a:gd name="T37" fmla="*/ 267 h 274"/>
                  <a:gd name="T38" fmla="*/ 3 w 253"/>
                  <a:gd name="T39" fmla="*/ 264 h 274"/>
                  <a:gd name="T40" fmla="*/ 2 w 253"/>
                  <a:gd name="T41" fmla="*/ 259 h 274"/>
                  <a:gd name="T42" fmla="*/ 0 w 253"/>
                  <a:gd name="T43" fmla="*/ 253 h 274"/>
                  <a:gd name="T44" fmla="*/ 0 w 253"/>
                  <a:gd name="T45" fmla="*/ 246 h 274"/>
                  <a:gd name="T46" fmla="*/ 0 w 253"/>
                  <a:gd name="T47" fmla="*/ 246 h 274"/>
                  <a:gd name="T48" fmla="*/ 0 w 253"/>
                  <a:gd name="T49" fmla="*/ 27 h 274"/>
                  <a:gd name="T50" fmla="*/ 0 w 253"/>
                  <a:gd name="T51" fmla="*/ 27 h 274"/>
                  <a:gd name="T52" fmla="*/ 2 w 253"/>
                  <a:gd name="T53" fmla="*/ 16 h 274"/>
                  <a:gd name="T54" fmla="*/ 3 w 253"/>
                  <a:gd name="T55" fmla="*/ 11 h 274"/>
                  <a:gd name="T56" fmla="*/ 5 w 253"/>
                  <a:gd name="T57" fmla="*/ 8 h 274"/>
                  <a:gd name="T58" fmla="*/ 10 w 253"/>
                  <a:gd name="T59" fmla="*/ 5 h 274"/>
                  <a:gd name="T60" fmla="*/ 13 w 253"/>
                  <a:gd name="T61" fmla="*/ 2 h 274"/>
                  <a:gd name="T62" fmla="*/ 19 w 253"/>
                  <a:gd name="T63" fmla="*/ 2 h 274"/>
                  <a:gd name="T64" fmla="*/ 26 w 253"/>
                  <a:gd name="T65" fmla="*/ 0 h 274"/>
                  <a:gd name="T66" fmla="*/ 26 w 253"/>
                  <a:gd name="T67" fmla="*/ 0 h 274"/>
                  <a:gd name="T68" fmla="*/ 128 w 253"/>
                  <a:gd name="T69" fmla="*/ 0 h 274"/>
                  <a:gd name="T70" fmla="*/ 229 w 253"/>
                  <a:gd name="T71" fmla="*/ 2 h 274"/>
                  <a:gd name="T72" fmla="*/ 229 w 253"/>
                  <a:gd name="T73" fmla="*/ 2 h 274"/>
                  <a:gd name="T74" fmla="*/ 232 w 253"/>
                  <a:gd name="T75" fmla="*/ 3 h 274"/>
                  <a:gd name="T76" fmla="*/ 235 w 253"/>
                  <a:gd name="T77" fmla="*/ 5 h 274"/>
                  <a:gd name="T78" fmla="*/ 243 w 253"/>
                  <a:gd name="T79" fmla="*/ 11 h 274"/>
                  <a:gd name="T80" fmla="*/ 248 w 253"/>
                  <a:gd name="T81" fmla="*/ 21 h 274"/>
                  <a:gd name="T82" fmla="*/ 251 w 253"/>
                  <a:gd name="T83" fmla="*/ 29 h 274"/>
                  <a:gd name="T84" fmla="*/ 251 w 253"/>
                  <a:gd name="T85" fmla="*/ 29 h 274"/>
                  <a:gd name="T86" fmla="*/ 253 w 253"/>
                  <a:gd name="T87" fmla="*/ 56 h 274"/>
                  <a:gd name="T88" fmla="*/ 253 w 253"/>
                  <a:gd name="T89" fmla="*/ 83 h 274"/>
                  <a:gd name="T90" fmla="*/ 251 w 253"/>
                  <a:gd name="T91" fmla="*/ 138 h 274"/>
                  <a:gd name="T92" fmla="*/ 251 w 253"/>
                  <a:gd name="T93" fmla="*/ 138 h 274"/>
                  <a:gd name="T94" fmla="*/ 251 w 253"/>
                  <a:gd name="T95" fmla="*/ 138 h 274"/>
                  <a:gd name="T96" fmla="*/ 251 w 253"/>
                  <a:gd name="T97" fmla="*/ 138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3" h="274">
                    <a:moveTo>
                      <a:pt x="251" y="138"/>
                    </a:moveTo>
                    <a:lnTo>
                      <a:pt x="251" y="138"/>
                    </a:lnTo>
                    <a:lnTo>
                      <a:pt x="253" y="245"/>
                    </a:lnTo>
                    <a:lnTo>
                      <a:pt x="253" y="245"/>
                    </a:lnTo>
                    <a:lnTo>
                      <a:pt x="251" y="251"/>
                    </a:lnTo>
                    <a:lnTo>
                      <a:pt x="251" y="258"/>
                    </a:lnTo>
                    <a:lnTo>
                      <a:pt x="248" y="262"/>
                    </a:lnTo>
                    <a:lnTo>
                      <a:pt x="246" y="267"/>
                    </a:lnTo>
                    <a:lnTo>
                      <a:pt x="242" y="270"/>
                    </a:lnTo>
                    <a:lnTo>
                      <a:pt x="237" y="272"/>
                    </a:lnTo>
                    <a:lnTo>
                      <a:pt x="230" y="274"/>
                    </a:lnTo>
                    <a:lnTo>
                      <a:pt x="222" y="274"/>
                    </a:lnTo>
                    <a:lnTo>
                      <a:pt x="222" y="274"/>
                    </a:lnTo>
                    <a:lnTo>
                      <a:pt x="125" y="274"/>
                    </a:lnTo>
                    <a:lnTo>
                      <a:pt x="29" y="274"/>
                    </a:lnTo>
                    <a:lnTo>
                      <a:pt x="29" y="274"/>
                    </a:lnTo>
                    <a:lnTo>
                      <a:pt x="16" y="272"/>
                    </a:lnTo>
                    <a:lnTo>
                      <a:pt x="10" y="270"/>
                    </a:lnTo>
                    <a:lnTo>
                      <a:pt x="7" y="267"/>
                    </a:lnTo>
                    <a:lnTo>
                      <a:pt x="3" y="264"/>
                    </a:lnTo>
                    <a:lnTo>
                      <a:pt x="2" y="259"/>
                    </a:lnTo>
                    <a:lnTo>
                      <a:pt x="0" y="253"/>
                    </a:lnTo>
                    <a:lnTo>
                      <a:pt x="0" y="246"/>
                    </a:lnTo>
                    <a:lnTo>
                      <a:pt x="0" y="246"/>
                    </a:lnTo>
                    <a:lnTo>
                      <a:pt x="0" y="27"/>
                    </a:lnTo>
                    <a:lnTo>
                      <a:pt x="0" y="27"/>
                    </a:lnTo>
                    <a:lnTo>
                      <a:pt x="2" y="16"/>
                    </a:lnTo>
                    <a:lnTo>
                      <a:pt x="3" y="11"/>
                    </a:lnTo>
                    <a:lnTo>
                      <a:pt x="5" y="8"/>
                    </a:lnTo>
                    <a:lnTo>
                      <a:pt x="10" y="5"/>
                    </a:lnTo>
                    <a:lnTo>
                      <a:pt x="13" y="2"/>
                    </a:lnTo>
                    <a:lnTo>
                      <a:pt x="19" y="2"/>
                    </a:lnTo>
                    <a:lnTo>
                      <a:pt x="26" y="0"/>
                    </a:lnTo>
                    <a:lnTo>
                      <a:pt x="26" y="0"/>
                    </a:lnTo>
                    <a:lnTo>
                      <a:pt x="128" y="0"/>
                    </a:lnTo>
                    <a:lnTo>
                      <a:pt x="229" y="2"/>
                    </a:lnTo>
                    <a:lnTo>
                      <a:pt x="229" y="2"/>
                    </a:lnTo>
                    <a:lnTo>
                      <a:pt x="232" y="3"/>
                    </a:lnTo>
                    <a:lnTo>
                      <a:pt x="235" y="5"/>
                    </a:lnTo>
                    <a:lnTo>
                      <a:pt x="243" y="11"/>
                    </a:lnTo>
                    <a:lnTo>
                      <a:pt x="248" y="21"/>
                    </a:lnTo>
                    <a:lnTo>
                      <a:pt x="251" y="29"/>
                    </a:lnTo>
                    <a:lnTo>
                      <a:pt x="251" y="29"/>
                    </a:lnTo>
                    <a:lnTo>
                      <a:pt x="253" y="56"/>
                    </a:lnTo>
                    <a:lnTo>
                      <a:pt x="253" y="83"/>
                    </a:lnTo>
                    <a:lnTo>
                      <a:pt x="251" y="138"/>
                    </a:lnTo>
                    <a:lnTo>
                      <a:pt x="251" y="138"/>
                    </a:lnTo>
                    <a:lnTo>
                      <a:pt x="251" y="138"/>
                    </a:lnTo>
                    <a:lnTo>
                      <a:pt x="251"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7011" tIns="48505" rIns="97011" bIns="48505" numCol="1" anchor="t" anchorCtr="0" compatLnSpc="1">
                <a:prstTxWarp prst="textNoShape">
                  <a:avLst/>
                </a:prstTxWarp>
              </a:bodyPr>
              <a:lstStyle/>
              <a:p>
                <a:pPr defTabSz="970084">
                  <a:defRPr/>
                </a:pPr>
                <a:endParaRPr lang="en-US" sz="1873" kern="0" dirty="0">
                  <a:solidFill>
                    <a:srgbClr val="FFFFFF"/>
                  </a:solidFill>
                  <a:latin typeface="Calibri" panose="020F0502020204030204"/>
                </a:endParaRPr>
              </a:p>
            </p:txBody>
          </p:sp>
          <p:sp>
            <p:nvSpPr>
              <p:cNvPr id="67" name="Freeform 12">
                <a:extLst>
                  <a:ext uri="{FF2B5EF4-FFF2-40B4-BE49-F238E27FC236}">
                    <a16:creationId xmlns:a16="http://schemas.microsoft.com/office/drawing/2014/main" id="{8E273738-70A8-4760-A1B4-CBA96C6BA172}"/>
                  </a:ext>
                </a:extLst>
              </p:cNvPr>
              <p:cNvSpPr>
                <a:spLocks/>
              </p:cNvSpPr>
              <p:nvPr/>
            </p:nvSpPr>
            <p:spPr bwMode="auto">
              <a:xfrm>
                <a:off x="2734301" y="2217017"/>
                <a:ext cx="71997" cy="77099"/>
              </a:xfrm>
              <a:custGeom>
                <a:avLst/>
                <a:gdLst>
                  <a:gd name="T0" fmla="*/ 252 w 254"/>
                  <a:gd name="T1" fmla="*/ 137 h 272"/>
                  <a:gd name="T2" fmla="*/ 252 w 254"/>
                  <a:gd name="T3" fmla="*/ 137 h 272"/>
                  <a:gd name="T4" fmla="*/ 252 w 254"/>
                  <a:gd name="T5" fmla="*/ 188 h 272"/>
                  <a:gd name="T6" fmla="*/ 254 w 254"/>
                  <a:gd name="T7" fmla="*/ 240 h 272"/>
                  <a:gd name="T8" fmla="*/ 254 w 254"/>
                  <a:gd name="T9" fmla="*/ 240 h 272"/>
                  <a:gd name="T10" fmla="*/ 254 w 254"/>
                  <a:gd name="T11" fmla="*/ 248 h 272"/>
                  <a:gd name="T12" fmla="*/ 252 w 254"/>
                  <a:gd name="T13" fmla="*/ 256 h 272"/>
                  <a:gd name="T14" fmla="*/ 251 w 254"/>
                  <a:gd name="T15" fmla="*/ 260 h 272"/>
                  <a:gd name="T16" fmla="*/ 247 w 254"/>
                  <a:gd name="T17" fmla="*/ 265 h 272"/>
                  <a:gd name="T18" fmla="*/ 243 w 254"/>
                  <a:gd name="T19" fmla="*/ 268 h 272"/>
                  <a:gd name="T20" fmla="*/ 238 w 254"/>
                  <a:gd name="T21" fmla="*/ 270 h 272"/>
                  <a:gd name="T22" fmla="*/ 230 w 254"/>
                  <a:gd name="T23" fmla="*/ 272 h 272"/>
                  <a:gd name="T24" fmla="*/ 222 w 254"/>
                  <a:gd name="T25" fmla="*/ 272 h 272"/>
                  <a:gd name="T26" fmla="*/ 222 w 254"/>
                  <a:gd name="T27" fmla="*/ 272 h 272"/>
                  <a:gd name="T28" fmla="*/ 127 w 254"/>
                  <a:gd name="T29" fmla="*/ 272 h 272"/>
                  <a:gd name="T30" fmla="*/ 31 w 254"/>
                  <a:gd name="T31" fmla="*/ 272 h 272"/>
                  <a:gd name="T32" fmla="*/ 31 w 254"/>
                  <a:gd name="T33" fmla="*/ 272 h 272"/>
                  <a:gd name="T34" fmla="*/ 19 w 254"/>
                  <a:gd name="T35" fmla="*/ 272 h 272"/>
                  <a:gd name="T36" fmla="*/ 12 w 254"/>
                  <a:gd name="T37" fmla="*/ 268 h 272"/>
                  <a:gd name="T38" fmla="*/ 9 w 254"/>
                  <a:gd name="T39" fmla="*/ 267 h 272"/>
                  <a:gd name="T40" fmla="*/ 4 w 254"/>
                  <a:gd name="T41" fmla="*/ 262 h 272"/>
                  <a:gd name="T42" fmla="*/ 3 w 254"/>
                  <a:gd name="T43" fmla="*/ 257 h 272"/>
                  <a:gd name="T44" fmla="*/ 1 w 254"/>
                  <a:gd name="T45" fmla="*/ 251 h 272"/>
                  <a:gd name="T46" fmla="*/ 1 w 254"/>
                  <a:gd name="T47" fmla="*/ 243 h 272"/>
                  <a:gd name="T48" fmla="*/ 1 w 254"/>
                  <a:gd name="T49" fmla="*/ 243 h 272"/>
                  <a:gd name="T50" fmla="*/ 0 w 254"/>
                  <a:gd name="T51" fmla="*/ 33 h 272"/>
                  <a:gd name="T52" fmla="*/ 0 w 254"/>
                  <a:gd name="T53" fmla="*/ 33 h 272"/>
                  <a:gd name="T54" fmla="*/ 1 w 254"/>
                  <a:gd name="T55" fmla="*/ 25 h 272"/>
                  <a:gd name="T56" fmla="*/ 1 w 254"/>
                  <a:gd name="T57" fmla="*/ 19 h 272"/>
                  <a:gd name="T58" fmla="*/ 4 w 254"/>
                  <a:gd name="T59" fmla="*/ 12 h 272"/>
                  <a:gd name="T60" fmla="*/ 8 w 254"/>
                  <a:gd name="T61" fmla="*/ 8 h 272"/>
                  <a:gd name="T62" fmla="*/ 11 w 254"/>
                  <a:gd name="T63" fmla="*/ 4 h 272"/>
                  <a:gd name="T64" fmla="*/ 17 w 254"/>
                  <a:gd name="T65" fmla="*/ 1 h 272"/>
                  <a:gd name="T66" fmla="*/ 23 w 254"/>
                  <a:gd name="T67" fmla="*/ 0 h 272"/>
                  <a:gd name="T68" fmla="*/ 33 w 254"/>
                  <a:gd name="T69" fmla="*/ 0 h 272"/>
                  <a:gd name="T70" fmla="*/ 33 w 254"/>
                  <a:gd name="T71" fmla="*/ 0 h 272"/>
                  <a:gd name="T72" fmla="*/ 127 w 254"/>
                  <a:gd name="T73" fmla="*/ 1 h 272"/>
                  <a:gd name="T74" fmla="*/ 220 w 254"/>
                  <a:gd name="T75" fmla="*/ 0 h 272"/>
                  <a:gd name="T76" fmla="*/ 220 w 254"/>
                  <a:gd name="T77" fmla="*/ 0 h 272"/>
                  <a:gd name="T78" fmla="*/ 230 w 254"/>
                  <a:gd name="T79" fmla="*/ 0 h 272"/>
                  <a:gd name="T80" fmla="*/ 236 w 254"/>
                  <a:gd name="T81" fmla="*/ 1 h 272"/>
                  <a:gd name="T82" fmla="*/ 243 w 254"/>
                  <a:gd name="T83" fmla="*/ 4 h 272"/>
                  <a:gd name="T84" fmla="*/ 246 w 254"/>
                  <a:gd name="T85" fmla="*/ 8 h 272"/>
                  <a:gd name="T86" fmla="*/ 249 w 254"/>
                  <a:gd name="T87" fmla="*/ 12 h 272"/>
                  <a:gd name="T88" fmla="*/ 252 w 254"/>
                  <a:gd name="T89" fmla="*/ 19 h 272"/>
                  <a:gd name="T90" fmla="*/ 252 w 254"/>
                  <a:gd name="T91" fmla="*/ 25 h 272"/>
                  <a:gd name="T92" fmla="*/ 254 w 254"/>
                  <a:gd name="T93" fmla="*/ 33 h 272"/>
                  <a:gd name="T94" fmla="*/ 254 w 254"/>
                  <a:gd name="T95" fmla="*/ 33 h 272"/>
                  <a:gd name="T96" fmla="*/ 252 w 254"/>
                  <a:gd name="T97" fmla="*/ 86 h 272"/>
                  <a:gd name="T98" fmla="*/ 252 w 254"/>
                  <a:gd name="T99" fmla="*/ 137 h 272"/>
                  <a:gd name="T100" fmla="*/ 252 w 254"/>
                  <a:gd name="T101" fmla="*/ 137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4" h="272">
                    <a:moveTo>
                      <a:pt x="252" y="137"/>
                    </a:moveTo>
                    <a:lnTo>
                      <a:pt x="252" y="137"/>
                    </a:lnTo>
                    <a:lnTo>
                      <a:pt x="252" y="188"/>
                    </a:lnTo>
                    <a:lnTo>
                      <a:pt x="254" y="240"/>
                    </a:lnTo>
                    <a:lnTo>
                      <a:pt x="254" y="240"/>
                    </a:lnTo>
                    <a:lnTo>
                      <a:pt x="254" y="248"/>
                    </a:lnTo>
                    <a:lnTo>
                      <a:pt x="252" y="256"/>
                    </a:lnTo>
                    <a:lnTo>
                      <a:pt x="251" y="260"/>
                    </a:lnTo>
                    <a:lnTo>
                      <a:pt x="247" y="265"/>
                    </a:lnTo>
                    <a:lnTo>
                      <a:pt x="243" y="268"/>
                    </a:lnTo>
                    <a:lnTo>
                      <a:pt x="238" y="270"/>
                    </a:lnTo>
                    <a:lnTo>
                      <a:pt x="230" y="272"/>
                    </a:lnTo>
                    <a:lnTo>
                      <a:pt x="222" y="272"/>
                    </a:lnTo>
                    <a:lnTo>
                      <a:pt x="222" y="272"/>
                    </a:lnTo>
                    <a:lnTo>
                      <a:pt x="127" y="272"/>
                    </a:lnTo>
                    <a:lnTo>
                      <a:pt x="31" y="272"/>
                    </a:lnTo>
                    <a:lnTo>
                      <a:pt x="31" y="272"/>
                    </a:lnTo>
                    <a:lnTo>
                      <a:pt x="19" y="272"/>
                    </a:lnTo>
                    <a:lnTo>
                      <a:pt x="12" y="268"/>
                    </a:lnTo>
                    <a:lnTo>
                      <a:pt x="9" y="267"/>
                    </a:lnTo>
                    <a:lnTo>
                      <a:pt x="4" y="262"/>
                    </a:lnTo>
                    <a:lnTo>
                      <a:pt x="3" y="257"/>
                    </a:lnTo>
                    <a:lnTo>
                      <a:pt x="1" y="251"/>
                    </a:lnTo>
                    <a:lnTo>
                      <a:pt x="1" y="243"/>
                    </a:lnTo>
                    <a:lnTo>
                      <a:pt x="1" y="243"/>
                    </a:lnTo>
                    <a:lnTo>
                      <a:pt x="0" y="33"/>
                    </a:lnTo>
                    <a:lnTo>
                      <a:pt x="0" y="33"/>
                    </a:lnTo>
                    <a:lnTo>
                      <a:pt x="1" y="25"/>
                    </a:lnTo>
                    <a:lnTo>
                      <a:pt x="1" y="19"/>
                    </a:lnTo>
                    <a:lnTo>
                      <a:pt x="4" y="12"/>
                    </a:lnTo>
                    <a:lnTo>
                      <a:pt x="8" y="8"/>
                    </a:lnTo>
                    <a:lnTo>
                      <a:pt x="11" y="4"/>
                    </a:lnTo>
                    <a:lnTo>
                      <a:pt x="17" y="1"/>
                    </a:lnTo>
                    <a:lnTo>
                      <a:pt x="23" y="0"/>
                    </a:lnTo>
                    <a:lnTo>
                      <a:pt x="33" y="0"/>
                    </a:lnTo>
                    <a:lnTo>
                      <a:pt x="33" y="0"/>
                    </a:lnTo>
                    <a:lnTo>
                      <a:pt x="127" y="1"/>
                    </a:lnTo>
                    <a:lnTo>
                      <a:pt x="220" y="0"/>
                    </a:lnTo>
                    <a:lnTo>
                      <a:pt x="220" y="0"/>
                    </a:lnTo>
                    <a:lnTo>
                      <a:pt x="230" y="0"/>
                    </a:lnTo>
                    <a:lnTo>
                      <a:pt x="236" y="1"/>
                    </a:lnTo>
                    <a:lnTo>
                      <a:pt x="243" y="4"/>
                    </a:lnTo>
                    <a:lnTo>
                      <a:pt x="246" y="8"/>
                    </a:lnTo>
                    <a:lnTo>
                      <a:pt x="249" y="12"/>
                    </a:lnTo>
                    <a:lnTo>
                      <a:pt x="252" y="19"/>
                    </a:lnTo>
                    <a:lnTo>
                      <a:pt x="252" y="25"/>
                    </a:lnTo>
                    <a:lnTo>
                      <a:pt x="254" y="33"/>
                    </a:lnTo>
                    <a:lnTo>
                      <a:pt x="254" y="33"/>
                    </a:lnTo>
                    <a:lnTo>
                      <a:pt x="252" y="86"/>
                    </a:lnTo>
                    <a:lnTo>
                      <a:pt x="252" y="137"/>
                    </a:lnTo>
                    <a:lnTo>
                      <a:pt x="25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7011" tIns="48505" rIns="97011" bIns="48505" numCol="1" anchor="t" anchorCtr="0" compatLnSpc="1">
                <a:prstTxWarp prst="textNoShape">
                  <a:avLst/>
                </a:prstTxWarp>
              </a:bodyPr>
              <a:lstStyle/>
              <a:p>
                <a:pPr defTabSz="970084">
                  <a:defRPr/>
                </a:pPr>
                <a:endParaRPr lang="en-US" sz="1873" kern="0" dirty="0">
                  <a:solidFill>
                    <a:srgbClr val="FFFFFF"/>
                  </a:solidFill>
                  <a:latin typeface="Calibri" panose="020F0502020204030204"/>
                </a:endParaRPr>
              </a:p>
            </p:txBody>
          </p:sp>
          <p:sp>
            <p:nvSpPr>
              <p:cNvPr id="68" name="Freeform 13">
                <a:extLst>
                  <a:ext uri="{FF2B5EF4-FFF2-40B4-BE49-F238E27FC236}">
                    <a16:creationId xmlns:a16="http://schemas.microsoft.com/office/drawing/2014/main" id="{19AACDA6-28D4-4150-9D05-EE08297B7D2F}"/>
                  </a:ext>
                </a:extLst>
              </p:cNvPr>
              <p:cNvSpPr>
                <a:spLocks/>
              </p:cNvSpPr>
              <p:nvPr/>
            </p:nvSpPr>
            <p:spPr bwMode="auto">
              <a:xfrm>
                <a:off x="2654084" y="2249047"/>
                <a:ext cx="70580" cy="77666"/>
              </a:xfrm>
              <a:custGeom>
                <a:avLst/>
                <a:gdLst>
                  <a:gd name="T0" fmla="*/ 0 w 249"/>
                  <a:gd name="T1" fmla="*/ 135 h 274"/>
                  <a:gd name="T2" fmla="*/ 0 w 249"/>
                  <a:gd name="T3" fmla="*/ 135 h 274"/>
                  <a:gd name="T4" fmla="*/ 0 w 249"/>
                  <a:gd name="T5" fmla="*/ 82 h 274"/>
                  <a:gd name="T6" fmla="*/ 0 w 249"/>
                  <a:gd name="T7" fmla="*/ 31 h 274"/>
                  <a:gd name="T8" fmla="*/ 0 w 249"/>
                  <a:gd name="T9" fmla="*/ 31 h 274"/>
                  <a:gd name="T10" fmla="*/ 0 w 249"/>
                  <a:gd name="T11" fmla="*/ 23 h 274"/>
                  <a:gd name="T12" fmla="*/ 1 w 249"/>
                  <a:gd name="T13" fmla="*/ 16 h 274"/>
                  <a:gd name="T14" fmla="*/ 3 w 249"/>
                  <a:gd name="T15" fmla="*/ 10 h 274"/>
                  <a:gd name="T16" fmla="*/ 6 w 249"/>
                  <a:gd name="T17" fmla="*/ 7 h 274"/>
                  <a:gd name="T18" fmla="*/ 11 w 249"/>
                  <a:gd name="T19" fmla="*/ 3 h 274"/>
                  <a:gd name="T20" fmla="*/ 17 w 249"/>
                  <a:gd name="T21" fmla="*/ 2 h 274"/>
                  <a:gd name="T22" fmla="*/ 32 w 249"/>
                  <a:gd name="T23" fmla="*/ 0 h 274"/>
                  <a:gd name="T24" fmla="*/ 32 w 249"/>
                  <a:gd name="T25" fmla="*/ 0 h 274"/>
                  <a:gd name="T26" fmla="*/ 126 w 249"/>
                  <a:gd name="T27" fmla="*/ 2 h 274"/>
                  <a:gd name="T28" fmla="*/ 222 w 249"/>
                  <a:gd name="T29" fmla="*/ 2 h 274"/>
                  <a:gd name="T30" fmla="*/ 222 w 249"/>
                  <a:gd name="T31" fmla="*/ 2 h 274"/>
                  <a:gd name="T32" fmla="*/ 235 w 249"/>
                  <a:gd name="T33" fmla="*/ 2 h 274"/>
                  <a:gd name="T34" fmla="*/ 239 w 249"/>
                  <a:gd name="T35" fmla="*/ 3 h 274"/>
                  <a:gd name="T36" fmla="*/ 243 w 249"/>
                  <a:gd name="T37" fmla="*/ 7 h 274"/>
                  <a:gd name="T38" fmla="*/ 246 w 249"/>
                  <a:gd name="T39" fmla="*/ 10 h 274"/>
                  <a:gd name="T40" fmla="*/ 247 w 249"/>
                  <a:gd name="T41" fmla="*/ 15 h 274"/>
                  <a:gd name="T42" fmla="*/ 249 w 249"/>
                  <a:gd name="T43" fmla="*/ 21 h 274"/>
                  <a:gd name="T44" fmla="*/ 249 w 249"/>
                  <a:gd name="T45" fmla="*/ 27 h 274"/>
                  <a:gd name="T46" fmla="*/ 249 w 249"/>
                  <a:gd name="T47" fmla="*/ 27 h 274"/>
                  <a:gd name="T48" fmla="*/ 249 w 249"/>
                  <a:gd name="T49" fmla="*/ 138 h 274"/>
                  <a:gd name="T50" fmla="*/ 249 w 249"/>
                  <a:gd name="T51" fmla="*/ 246 h 274"/>
                  <a:gd name="T52" fmla="*/ 249 w 249"/>
                  <a:gd name="T53" fmla="*/ 246 h 274"/>
                  <a:gd name="T54" fmla="*/ 249 w 249"/>
                  <a:gd name="T55" fmla="*/ 254 h 274"/>
                  <a:gd name="T56" fmla="*/ 247 w 249"/>
                  <a:gd name="T57" fmla="*/ 259 h 274"/>
                  <a:gd name="T58" fmla="*/ 246 w 249"/>
                  <a:gd name="T59" fmla="*/ 264 h 274"/>
                  <a:gd name="T60" fmla="*/ 243 w 249"/>
                  <a:gd name="T61" fmla="*/ 269 h 274"/>
                  <a:gd name="T62" fmla="*/ 239 w 249"/>
                  <a:gd name="T63" fmla="*/ 270 h 274"/>
                  <a:gd name="T64" fmla="*/ 235 w 249"/>
                  <a:gd name="T65" fmla="*/ 272 h 274"/>
                  <a:gd name="T66" fmla="*/ 222 w 249"/>
                  <a:gd name="T67" fmla="*/ 274 h 274"/>
                  <a:gd name="T68" fmla="*/ 222 w 249"/>
                  <a:gd name="T69" fmla="*/ 274 h 274"/>
                  <a:gd name="T70" fmla="*/ 124 w 249"/>
                  <a:gd name="T71" fmla="*/ 274 h 274"/>
                  <a:gd name="T72" fmla="*/ 28 w 249"/>
                  <a:gd name="T73" fmla="*/ 274 h 274"/>
                  <a:gd name="T74" fmla="*/ 28 w 249"/>
                  <a:gd name="T75" fmla="*/ 274 h 274"/>
                  <a:gd name="T76" fmla="*/ 20 w 249"/>
                  <a:gd name="T77" fmla="*/ 274 h 274"/>
                  <a:gd name="T78" fmla="*/ 14 w 249"/>
                  <a:gd name="T79" fmla="*/ 272 h 274"/>
                  <a:gd name="T80" fmla="*/ 9 w 249"/>
                  <a:gd name="T81" fmla="*/ 270 h 274"/>
                  <a:gd name="T82" fmla="*/ 4 w 249"/>
                  <a:gd name="T83" fmla="*/ 267 h 274"/>
                  <a:gd name="T84" fmla="*/ 3 w 249"/>
                  <a:gd name="T85" fmla="*/ 262 h 274"/>
                  <a:gd name="T86" fmla="*/ 1 w 249"/>
                  <a:gd name="T87" fmla="*/ 258 h 274"/>
                  <a:gd name="T88" fmla="*/ 0 w 249"/>
                  <a:gd name="T89" fmla="*/ 243 h 274"/>
                  <a:gd name="T90" fmla="*/ 0 w 249"/>
                  <a:gd name="T91" fmla="*/ 243 h 274"/>
                  <a:gd name="T92" fmla="*/ 0 w 249"/>
                  <a:gd name="T93" fmla="*/ 189 h 274"/>
                  <a:gd name="T94" fmla="*/ 0 w 249"/>
                  <a:gd name="T95" fmla="*/ 135 h 274"/>
                  <a:gd name="T96" fmla="*/ 0 w 249"/>
                  <a:gd name="T97" fmla="*/ 135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9" h="274">
                    <a:moveTo>
                      <a:pt x="0" y="135"/>
                    </a:moveTo>
                    <a:lnTo>
                      <a:pt x="0" y="135"/>
                    </a:lnTo>
                    <a:lnTo>
                      <a:pt x="0" y="82"/>
                    </a:lnTo>
                    <a:lnTo>
                      <a:pt x="0" y="31"/>
                    </a:lnTo>
                    <a:lnTo>
                      <a:pt x="0" y="31"/>
                    </a:lnTo>
                    <a:lnTo>
                      <a:pt x="0" y="23"/>
                    </a:lnTo>
                    <a:lnTo>
                      <a:pt x="1" y="16"/>
                    </a:lnTo>
                    <a:lnTo>
                      <a:pt x="3" y="10"/>
                    </a:lnTo>
                    <a:lnTo>
                      <a:pt x="6" y="7"/>
                    </a:lnTo>
                    <a:lnTo>
                      <a:pt x="11" y="3"/>
                    </a:lnTo>
                    <a:lnTo>
                      <a:pt x="17" y="2"/>
                    </a:lnTo>
                    <a:lnTo>
                      <a:pt x="32" y="0"/>
                    </a:lnTo>
                    <a:lnTo>
                      <a:pt x="32" y="0"/>
                    </a:lnTo>
                    <a:lnTo>
                      <a:pt x="126" y="2"/>
                    </a:lnTo>
                    <a:lnTo>
                      <a:pt x="222" y="2"/>
                    </a:lnTo>
                    <a:lnTo>
                      <a:pt x="222" y="2"/>
                    </a:lnTo>
                    <a:lnTo>
                      <a:pt x="235" y="2"/>
                    </a:lnTo>
                    <a:lnTo>
                      <a:pt x="239" y="3"/>
                    </a:lnTo>
                    <a:lnTo>
                      <a:pt x="243" y="7"/>
                    </a:lnTo>
                    <a:lnTo>
                      <a:pt x="246" y="10"/>
                    </a:lnTo>
                    <a:lnTo>
                      <a:pt x="247" y="15"/>
                    </a:lnTo>
                    <a:lnTo>
                      <a:pt x="249" y="21"/>
                    </a:lnTo>
                    <a:lnTo>
                      <a:pt x="249" y="27"/>
                    </a:lnTo>
                    <a:lnTo>
                      <a:pt x="249" y="27"/>
                    </a:lnTo>
                    <a:lnTo>
                      <a:pt x="249" y="138"/>
                    </a:lnTo>
                    <a:lnTo>
                      <a:pt x="249" y="246"/>
                    </a:lnTo>
                    <a:lnTo>
                      <a:pt x="249" y="246"/>
                    </a:lnTo>
                    <a:lnTo>
                      <a:pt x="249" y="254"/>
                    </a:lnTo>
                    <a:lnTo>
                      <a:pt x="247" y="259"/>
                    </a:lnTo>
                    <a:lnTo>
                      <a:pt x="246" y="264"/>
                    </a:lnTo>
                    <a:lnTo>
                      <a:pt x="243" y="269"/>
                    </a:lnTo>
                    <a:lnTo>
                      <a:pt x="239" y="270"/>
                    </a:lnTo>
                    <a:lnTo>
                      <a:pt x="235" y="272"/>
                    </a:lnTo>
                    <a:lnTo>
                      <a:pt x="222" y="274"/>
                    </a:lnTo>
                    <a:lnTo>
                      <a:pt x="222" y="274"/>
                    </a:lnTo>
                    <a:lnTo>
                      <a:pt x="124" y="274"/>
                    </a:lnTo>
                    <a:lnTo>
                      <a:pt x="28" y="274"/>
                    </a:lnTo>
                    <a:lnTo>
                      <a:pt x="28" y="274"/>
                    </a:lnTo>
                    <a:lnTo>
                      <a:pt x="20" y="274"/>
                    </a:lnTo>
                    <a:lnTo>
                      <a:pt x="14" y="272"/>
                    </a:lnTo>
                    <a:lnTo>
                      <a:pt x="9" y="270"/>
                    </a:lnTo>
                    <a:lnTo>
                      <a:pt x="4" y="267"/>
                    </a:lnTo>
                    <a:lnTo>
                      <a:pt x="3" y="262"/>
                    </a:lnTo>
                    <a:lnTo>
                      <a:pt x="1" y="258"/>
                    </a:lnTo>
                    <a:lnTo>
                      <a:pt x="0" y="243"/>
                    </a:lnTo>
                    <a:lnTo>
                      <a:pt x="0" y="243"/>
                    </a:lnTo>
                    <a:lnTo>
                      <a:pt x="0" y="189"/>
                    </a:lnTo>
                    <a:lnTo>
                      <a:pt x="0" y="135"/>
                    </a:lnTo>
                    <a:lnTo>
                      <a:pt x="0"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7011" tIns="48505" rIns="97011" bIns="48505" numCol="1" anchor="t" anchorCtr="0" compatLnSpc="1">
                <a:prstTxWarp prst="textNoShape">
                  <a:avLst/>
                </a:prstTxWarp>
              </a:bodyPr>
              <a:lstStyle/>
              <a:p>
                <a:pPr defTabSz="970084">
                  <a:defRPr/>
                </a:pPr>
                <a:endParaRPr lang="en-US" sz="1873" kern="0" dirty="0">
                  <a:solidFill>
                    <a:srgbClr val="FFFFFF"/>
                  </a:solidFill>
                  <a:latin typeface="Calibri" panose="020F0502020204030204"/>
                </a:endParaRPr>
              </a:p>
            </p:txBody>
          </p:sp>
          <p:sp>
            <p:nvSpPr>
              <p:cNvPr id="69" name="Freeform 14">
                <a:extLst>
                  <a:ext uri="{FF2B5EF4-FFF2-40B4-BE49-F238E27FC236}">
                    <a16:creationId xmlns:a16="http://schemas.microsoft.com/office/drawing/2014/main" id="{38665019-3723-41EE-B533-6D0B18BD2036}"/>
                  </a:ext>
                </a:extLst>
              </p:cNvPr>
              <p:cNvSpPr>
                <a:spLocks/>
              </p:cNvSpPr>
              <p:nvPr/>
            </p:nvSpPr>
            <p:spPr bwMode="auto">
              <a:xfrm>
                <a:off x="2654084" y="2069620"/>
                <a:ext cx="70580" cy="77099"/>
              </a:xfrm>
              <a:custGeom>
                <a:avLst/>
                <a:gdLst>
                  <a:gd name="T0" fmla="*/ 0 w 249"/>
                  <a:gd name="T1" fmla="*/ 134 h 272"/>
                  <a:gd name="T2" fmla="*/ 0 w 249"/>
                  <a:gd name="T3" fmla="*/ 134 h 272"/>
                  <a:gd name="T4" fmla="*/ 0 w 249"/>
                  <a:gd name="T5" fmla="*/ 81 h 272"/>
                  <a:gd name="T6" fmla="*/ 0 w 249"/>
                  <a:gd name="T7" fmla="*/ 29 h 272"/>
                  <a:gd name="T8" fmla="*/ 0 w 249"/>
                  <a:gd name="T9" fmla="*/ 29 h 272"/>
                  <a:gd name="T10" fmla="*/ 1 w 249"/>
                  <a:gd name="T11" fmla="*/ 16 h 272"/>
                  <a:gd name="T12" fmla="*/ 3 w 249"/>
                  <a:gd name="T13" fmla="*/ 11 h 272"/>
                  <a:gd name="T14" fmla="*/ 4 w 249"/>
                  <a:gd name="T15" fmla="*/ 6 h 272"/>
                  <a:gd name="T16" fmla="*/ 9 w 249"/>
                  <a:gd name="T17" fmla="*/ 3 h 272"/>
                  <a:gd name="T18" fmla="*/ 14 w 249"/>
                  <a:gd name="T19" fmla="*/ 1 h 272"/>
                  <a:gd name="T20" fmla="*/ 19 w 249"/>
                  <a:gd name="T21" fmla="*/ 0 h 272"/>
                  <a:gd name="T22" fmla="*/ 27 w 249"/>
                  <a:gd name="T23" fmla="*/ 0 h 272"/>
                  <a:gd name="T24" fmla="*/ 27 w 249"/>
                  <a:gd name="T25" fmla="*/ 0 h 272"/>
                  <a:gd name="T26" fmla="*/ 223 w 249"/>
                  <a:gd name="T27" fmla="*/ 0 h 272"/>
                  <a:gd name="T28" fmla="*/ 223 w 249"/>
                  <a:gd name="T29" fmla="*/ 0 h 272"/>
                  <a:gd name="T30" fmla="*/ 235 w 249"/>
                  <a:gd name="T31" fmla="*/ 1 h 272"/>
                  <a:gd name="T32" fmla="*/ 239 w 249"/>
                  <a:gd name="T33" fmla="*/ 3 h 272"/>
                  <a:gd name="T34" fmla="*/ 243 w 249"/>
                  <a:gd name="T35" fmla="*/ 5 h 272"/>
                  <a:gd name="T36" fmla="*/ 246 w 249"/>
                  <a:gd name="T37" fmla="*/ 8 h 272"/>
                  <a:gd name="T38" fmla="*/ 247 w 249"/>
                  <a:gd name="T39" fmla="*/ 13 h 272"/>
                  <a:gd name="T40" fmla="*/ 249 w 249"/>
                  <a:gd name="T41" fmla="*/ 25 h 272"/>
                  <a:gd name="T42" fmla="*/ 249 w 249"/>
                  <a:gd name="T43" fmla="*/ 25 h 272"/>
                  <a:gd name="T44" fmla="*/ 249 w 249"/>
                  <a:gd name="T45" fmla="*/ 134 h 272"/>
                  <a:gd name="T46" fmla="*/ 249 w 249"/>
                  <a:gd name="T47" fmla="*/ 244 h 272"/>
                  <a:gd name="T48" fmla="*/ 249 w 249"/>
                  <a:gd name="T49" fmla="*/ 244 h 272"/>
                  <a:gd name="T50" fmla="*/ 249 w 249"/>
                  <a:gd name="T51" fmla="*/ 256 h 272"/>
                  <a:gd name="T52" fmla="*/ 246 w 249"/>
                  <a:gd name="T53" fmla="*/ 260 h 272"/>
                  <a:gd name="T54" fmla="*/ 244 w 249"/>
                  <a:gd name="T55" fmla="*/ 265 h 272"/>
                  <a:gd name="T56" fmla="*/ 241 w 249"/>
                  <a:gd name="T57" fmla="*/ 267 h 272"/>
                  <a:gd name="T58" fmla="*/ 236 w 249"/>
                  <a:gd name="T59" fmla="*/ 270 h 272"/>
                  <a:gd name="T60" fmla="*/ 225 w 249"/>
                  <a:gd name="T61" fmla="*/ 272 h 272"/>
                  <a:gd name="T62" fmla="*/ 225 w 249"/>
                  <a:gd name="T63" fmla="*/ 272 h 272"/>
                  <a:gd name="T64" fmla="*/ 25 w 249"/>
                  <a:gd name="T65" fmla="*/ 272 h 272"/>
                  <a:gd name="T66" fmla="*/ 25 w 249"/>
                  <a:gd name="T67" fmla="*/ 272 h 272"/>
                  <a:gd name="T68" fmla="*/ 19 w 249"/>
                  <a:gd name="T69" fmla="*/ 270 h 272"/>
                  <a:gd name="T70" fmla="*/ 12 w 249"/>
                  <a:gd name="T71" fmla="*/ 270 h 272"/>
                  <a:gd name="T72" fmla="*/ 8 w 249"/>
                  <a:gd name="T73" fmla="*/ 267 h 272"/>
                  <a:gd name="T74" fmla="*/ 4 w 249"/>
                  <a:gd name="T75" fmla="*/ 265 h 272"/>
                  <a:gd name="T76" fmla="*/ 3 w 249"/>
                  <a:gd name="T77" fmla="*/ 260 h 272"/>
                  <a:gd name="T78" fmla="*/ 1 w 249"/>
                  <a:gd name="T79" fmla="*/ 256 h 272"/>
                  <a:gd name="T80" fmla="*/ 0 w 249"/>
                  <a:gd name="T81" fmla="*/ 244 h 272"/>
                  <a:gd name="T82" fmla="*/ 0 w 249"/>
                  <a:gd name="T83" fmla="*/ 244 h 272"/>
                  <a:gd name="T84" fmla="*/ 0 w 249"/>
                  <a:gd name="T85" fmla="*/ 188 h 272"/>
                  <a:gd name="T86" fmla="*/ 0 w 249"/>
                  <a:gd name="T87" fmla="*/ 134 h 272"/>
                  <a:gd name="T88" fmla="*/ 0 w 249"/>
                  <a:gd name="T89" fmla="*/ 134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9" h="272">
                    <a:moveTo>
                      <a:pt x="0" y="134"/>
                    </a:moveTo>
                    <a:lnTo>
                      <a:pt x="0" y="134"/>
                    </a:lnTo>
                    <a:lnTo>
                      <a:pt x="0" y="81"/>
                    </a:lnTo>
                    <a:lnTo>
                      <a:pt x="0" y="29"/>
                    </a:lnTo>
                    <a:lnTo>
                      <a:pt x="0" y="29"/>
                    </a:lnTo>
                    <a:lnTo>
                      <a:pt x="1" y="16"/>
                    </a:lnTo>
                    <a:lnTo>
                      <a:pt x="3" y="11"/>
                    </a:lnTo>
                    <a:lnTo>
                      <a:pt x="4" y="6"/>
                    </a:lnTo>
                    <a:lnTo>
                      <a:pt x="9" y="3"/>
                    </a:lnTo>
                    <a:lnTo>
                      <a:pt x="14" y="1"/>
                    </a:lnTo>
                    <a:lnTo>
                      <a:pt x="19" y="0"/>
                    </a:lnTo>
                    <a:lnTo>
                      <a:pt x="27" y="0"/>
                    </a:lnTo>
                    <a:lnTo>
                      <a:pt x="27" y="0"/>
                    </a:lnTo>
                    <a:lnTo>
                      <a:pt x="223" y="0"/>
                    </a:lnTo>
                    <a:lnTo>
                      <a:pt x="223" y="0"/>
                    </a:lnTo>
                    <a:lnTo>
                      <a:pt x="235" y="1"/>
                    </a:lnTo>
                    <a:lnTo>
                      <a:pt x="239" y="3"/>
                    </a:lnTo>
                    <a:lnTo>
                      <a:pt x="243" y="5"/>
                    </a:lnTo>
                    <a:lnTo>
                      <a:pt x="246" y="8"/>
                    </a:lnTo>
                    <a:lnTo>
                      <a:pt x="247" y="13"/>
                    </a:lnTo>
                    <a:lnTo>
                      <a:pt x="249" y="25"/>
                    </a:lnTo>
                    <a:lnTo>
                      <a:pt x="249" y="25"/>
                    </a:lnTo>
                    <a:lnTo>
                      <a:pt x="249" y="134"/>
                    </a:lnTo>
                    <a:lnTo>
                      <a:pt x="249" y="244"/>
                    </a:lnTo>
                    <a:lnTo>
                      <a:pt x="249" y="244"/>
                    </a:lnTo>
                    <a:lnTo>
                      <a:pt x="249" y="256"/>
                    </a:lnTo>
                    <a:lnTo>
                      <a:pt x="246" y="260"/>
                    </a:lnTo>
                    <a:lnTo>
                      <a:pt x="244" y="265"/>
                    </a:lnTo>
                    <a:lnTo>
                      <a:pt x="241" y="267"/>
                    </a:lnTo>
                    <a:lnTo>
                      <a:pt x="236" y="270"/>
                    </a:lnTo>
                    <a:lnTo>
                      <a:pt x="225" y="272"/>
                    </a:lnTo>
                    <a:lnTo>
                      <a:pt x="225" y="272"/>
                    </a:lnTo>
                    <a:lnTo>
                      <a:pt x="25" y="272"/>
                    </a:lnTo>
                    <a:lnTo>
                      <a:pt x="25" y="272"/>
                    </a:lnTo>
                    <a:lnTo>
                      <a:pt x="19" y="270"/>
                    </a:lnTo>
                    <a:lnTo>
                      <a:pt x="12" y="270"/>
                    </a:lnTo>
                    <a:lnTo>
                      <a:pt x="8" y="267"/>
                    </a:lnTo>
                    <a:lnTo>
                      <a:pt x="4" y="265"/>
                    </a:lnTo>
                    <a:lnTo>
                      <a:pt x="3" y="260"/>
                    </a:lnTo>
                    <a:lnTo>
                      <a:pt x="1" y="256"/>
                    </a:lnTo>
                    <a:lnTo>
                      <a:pt x="0" y="244"/>
                    </a:lnTo>
                    <a:lnTo>
                      <a:pt x="0" y="244"/>
                    </a:lnTo>
                    <a:lnTo>
                      <a:pt x="0" y="188"/>
                    </a:lnTo>
                    <a:lnTo>
                      <a:pt x="0" y="134"/>
                    </a:lnTo>
                    <a:lnTo>
                      <a:pt x="0"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7011" tIns="48505" rIns="97011" bIns="48505" numCol="1" anchor="t" anchorCtr="0" compatLnSpc="1">
                <a:prstTxWarp prst="textNoShape">
                  <a:avLst/>
                </a:prstTxWarp>
              </a:bodyPr>
              <a:lstStyle/>
              <a:p>
                <a:pPr defTabSz="970084">
                  <a:defRPr/>
                </a:pPr>
                <a:endParaRPr lang="en-US" sz="1873" kern="0" dirty="0">
                  <a:solidFill>
                    <a:srgbClr val="FFFFFF"/>
                  </a:solidFill>
                  <a:latin typeface="Calibri" panose="020F0502020204030204"/>
                </a:endParaRPr>
              </a:p>
            </p:txBody>
          </p:sp>
          <p:sp>
            <p:nvSpPr>
              <p:cNvPr id="70" name="Freeform 15">
                <a:extLst>
                  <a:ext uri="{FF2B5EF4-FFF2-40B4-BE49-F238E27FC236}">
                    <a16:creationId xmlns:a16="http://schemas.microsoft.com/office/drawing/2014/main" id="{6ECCFB35-C85C-4148-BD96-0C6E665447D9}"/>
                  </a:ext>
                </a:extLst>
              </p:cNvPr>
              <p:cNvSpPr>
                <a:spLocks/>
              </p:cNvSpPr>
              <p:nvPr/>
            </p:nvSpPr>
            <p:spPr bwMode="auto">
              <a:xfrm>
                <a:off x="2813952" y="2159759"/>
                <a:ext cx="70580" cy="76533"/>
              </a:xfrm>
              <a:custGeom>
                <a:avLst/>
                <a:gdLst>
                  <a:gd name="T0" fmla="*/ 249 w 249"/>
                  <a:gd name="T1" fmla="*/ 138 h 270"/>
                  <a:gd name="T2" fmla="*/ 249 w 249"/>
                  <a:gd name="T3" fmla="*/ 138 h 270"/>
                  <a:gd name="T4" fmla="*/ 249 w 249"/>
                  <a:gd name="T5" fmla="*/ 189 h 270"/>
                  <a:gd name="T6" fmla="*/ 249 w 249"/>
                  <a:gd name="T7" fmla="*/ 240 h 270"/>
                  <a:gd name="T8" fmla="*/ 249 w 249"/>
                  <a:gd name="T9" fmla="*/ 240 h 270"/>
                  <a:gd name="T10" fmla="*/ 248 w 249"/>
                  <a:gd name="T11" fmla="*/ 254 h 270"/>
                  <a:gd name="T12" fmla="*/ 246 w 249"/>
                  <a:gd name="T13" fmla="*/ 259 h 270"/>
                  <a:gd name="T14" fmla="*/ 245 w 249"/>
                  <a:gd name="T15" fmla="*/ 264 h 270"/>
                  <a:gd name="T16" fmla="*/ 240 w 249"/>
                  <a:gd name="T17" fmla="*/ 266 h 270"/>
                  <a:gd name="T18" fmla="*/ 235 w 249"/>
                  <a:gd name="T19" fmla="*/ 269 h 270"/>
                  <a:gd name="T20" fmla="*/ 229 w 249"/>
                  <a:gd name="T21" fmla="*/ 270 h 270"/>
                  <a:gd name="T22" fmla="*/ 221 w 249"/>
                  <a:gd name="T23" fmla="*/ 270 h 270"/>
                  <a:gd name="T24" fmla="*/ 221 w 249"/>
                  <a:gd name="T25" fmla="*/ 270 h 270"/>
                  <a:gd name="T26" fmla="*/ 125 w 249"/>
                  <a:gd name="T27" fmla="*/ 269 h 270"/>
                  <a:gd name="T28" fmla="*/ 27 w 249"/>
                  <a:gd name="T29" fmla="*/ 270 h 270"/>
                  <a:gd name="T30" fmla="*/ 27 w 249"/>
                  <a:gd name="T31" fmla="*/ 270 h 270"/>
                  <a:gd name="T32" fmla="*/ 14 w 249"/>
                  <a:gd name="T33" fmla="*/ 269 h 270"/>
                  <a:gd name="T34" fmla="*/ 9 w 249"/>
                  <a:gd name="T35" fmla="*/ 267 h 270"/>
                  <a:gd name="T36" fmla="*/ 6 w 249"/>
                  <a:gd name="T37" fmla="*/ 264 h 270"/>
                  <a:gd name="T38" fmla="*/ 3 w 249"/>
                  <a:gd name="T39" fmla="*/ 261 h 270"/>
                  <a:gd name="T40" fmla="*/ 1 w 249"/>
                  <a:gd name="T41" fmla="*/ 256 h 270"/>
                  <a:gd name="T42" fmla="*/ 0 w 249"/>
                  <a:gd name="T43" fmla="*/ 243 h 270"/>
                  <a:gd name="T44" fmla="*/ 0 w 249"/>
                  <a:gd name="T45" fmla="*/ 243 h 270"/>
                  <a:gd name="T46" fmla="*/ 0 w 249"/>
                  <a:gd name="T47" fmla="*/ 134 h 270"/>
                  <a:gd name="T48" fmla="*/ 0 w 249"/>
                  <a:gd name="T49" fmla="*/ 27 h 270"/>
                  <a:gd name="T50" fmla="*/ 0 w 249"/>
                  <a:gd name="T51" fmla="*/ 27 h 270"/>
                  <a:gd name="T52" fmla="*/ 0 w 249"/>
                  <a:gd name="T53" fmla="*/ 19 h 270"/>
                  <a:gd name="T54" fmla="*/ 1 w 249"/>
                  <a:gd name="T55" fmla="*/ 14 h 270"/>
                  <a:gd name="T56" fmla="*/ 3 w 249"/>
                  <a:gd name="T57" fmla="*/ 10 h 270"/>
                  <a:gd name="T58" fmla="*/ 6 w 249"/>
                  <a:gd name="T59" fmla="*/ 6 h 270"/>
                  <a:gd name="T60" fmla="*/ 9 w 249"/>
                  <a:gd name="T61" fmla="*/ 3 h 270"/>
                  <a:gd name="T62" fmla="*/ 14 w 249"/>
                  <a:gd name="T63" fmla="*/ 2 h 270"/>
                  <a:gd name="T64" fmla="*/ 27 w 249"/>
                  <a:gd name="T65" fmla="*/ 0 h 270"/>
                  <a:gd name="T66" fmla="*/ 27 w 249"/>
                  <a:gd name="T67" fmla="*/ 0 h 270"/>
                  <a:gd name="T68" fmla="*/ 125 w 249"/>
                  <a:gd name="T69" fmla="*/ 2 h 270"/>
                  <a:gd name="T70" fmla="*/ 222 w 249"/>
                  <a:gd name="T71" fmla="*/ 0 h 270"/>
                  <a:gd name="T72" fmla="*/ 222 w 249"/>
                  <a:gd name="T73" fmla="*/ 0 h 270"/>
                  <a:gd name="T74" fmla="*/ 230 w 249"/>
                  <a:gd name="T75" fmla="*/ 2 h 270"/>
                  <a:gd name="T76" fmla="*/ 237 w 249"/>
                  <a:gd name="T77" fmla="*/ 2 h 270"/>
                  <a:gd name="T78" fmla="*/ 241 w 249"/>
                  <a:gd name="T79" fmla="*/ 5 h 270"/>
                  <a:gd name="T80" fmla="*/ 245 w 249"/>
                  <a:gd name="T81" fmla="*/ 8 h 270"/>
                  <a:gd name="T82" fmla="*/ 248 w 249"/>
                  <a:gd name="T83" fmla="*/ 11 h 270"/>
                  <a:gd name="T84" fmla="*/ 249 w 249"/>
                  <a:gd name="T85" fmla="*/ 18 h 270"/>
                  <a:gd name="T86" fmla="*/ 249 w 249"/>
                  <a:gd name="T87" fmla="*/ 30 h 270"/>
                  <a:gd name="T88" fmla="*/ 249 w 249"/>
                  <a:gd name="T89" fmla="*/ 30 h 270"/>
                  <a:gd name="T90" fmla="*/ 249 w 249"/>
                  <a:gd name="T91" fmla="*/ 83 h 270"/>
                  <a:gd name="T92" fmla="*/ 249 w 249"/>
                  <a:gd name="T93" fmla="*/ 138 h 270"/>
                  <a:gd name="T94" fmla="*/ 249 w 249"/>
                  <a:gd name="T95"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9" h="270">
                    <a:moveTo>
                      <a:pt x="249" y="138"/>
                    </a:moveTo>
                    <a:lnTo>
                      <a:pt x="249" y="138"/>
                    </a:lnTo>
                    <a:lnTo>
                      <a:pt x="249" y="189"/>
                    </a:lnTo>
                    <a:lnTo>
                      <a:pt x="249" y="240"/>
                    </a:lnTo>
                    <a:lnTo>
                      <a:pt x="249" y="240"/>
                    </a:lnTo>
                    <a:lnTo>
                      <a:pt x="248" y="254"/>
                    </a:lnTo>
                    <a:lnTo>
                      <a:pt x="246" y="259"/>
                    </a:lnTo>
                    <a:lnTo>
                      <a:pt x="245" y="264"/>
                    </a:lnTo>
                    <a:lnTo>
                      <a:pt x="240" y="266"/>
                    </a:lnTo>
                    <a:lnTo>
                      <a:pt x="235" y="269"/>
                    </a:lnTo>
                    <a:lnTo>
                      <a:pt x="229" y="270"/>
                    </a:lnTo>
                    <a:lnTo>
                      <a:pt x="221" y="270"/>
                    </a:lnTo>
                    <a:lnTo>
                      <a:pt x="221" y="270"/>
                    </a:lnTo>
                    <a:lnTo>
                      <a:pt x="125" y="269"/>
                    </a:lnTo>
                    <a:lnTo>
                      <a:pt x="27" y="270"/>
                    </a:lnTo>
                    <a:lnTo>
                      <a:pt x="27" y="270"/>
                    </a:lnTo>
                    <a:lnTo>
                      <a:pt x="14" y="269"/>
                    </a:lnTo>
                    <a:lnTo>
                      <a:pt x="9" y="267"/>
                    </a:lnTo>
                    <a:lnTo>
                      <a:pt x="6" y="264"/>
                    </a:lnTo>
                    <a:lnTo>
                      <a:pt x="3" y="261"/>
                    </a:lnTo>
                    <a:lnTo>
                      <a:pt x="1" y="256"/>
                    </a:lnTo>
                    <a:lnTo>
                      <a:pt x="0" y="243"/>
                    </a:lnTo>
                    <a:lnTo>
                      <a:pt x="0" y="243"/>
                    </a:lnTo>
                    <a:lnTo>
                      <a:pt x="0" y="134"/>
                    </a:lnTo>
                    <a:lnTo>
                      <a:pt x="0" y="27"/>
                    </a:lnTo>
                    <a:lnTo>
                      <a:pt x="0" y="27"/>
                    </a:lnTo>
                    <a:lnTo>
                      <a:pt x="0" y="19"/>
                    </a:lnTo>
                    <a:lnTo>
                      <a:pt x="1" y="14"/>
                    </a:lnTo>
                    <a:lnTo>
                      <a:pt x="3" y="10"/>
                    </a:lnTo>
                    <a:lnTo>
                      <a:pt x="6" y="6"/>
                    </a:lnTo>
                    <a:lnTo>
                      <a:pt x="9" y="3"/>
                    </a:lnTo>
                    <a:lnTo>
                      <a:pt x="14" y="2"/>
                    </a:lnTo>
                    <a:lnTo>
                      <a:pt x="27" y="0"/>
                    </a:lnTo>
                    <a:lnTo>
                      <a:pt x="27" y="0"/>
                    </a:lnTo>
                    <a:lnTo>
                      <a:pt x="125" y="2"/>
                    </a:lnTo>
                    <a:lnTo>
                      <a:pt x="222" y="0"/>
                    </a:lnTo>
                    <a:lnTo>
                      <a:pt x="222" y="0"/>
                    </a:lnTo>
                    <a:lnTo>
                      <a:pt x="230" y="2"/>
                    </a:lnTo>
                    <a:lnTo>
                      <a:pt x="237" y="2"/>
                    </a:lnTo>
                    <a:lnTo>
                      <a:pt x="241" y="5"/>
                    </a:lnTo>
                    <a:lnTo>
                      <a:pt x="245" y="8"/>
                    </a:lnTo>
                    <a:lnTo>
                      <a:pt x="248" y="11"/>
                    </a:lnTo>
                    <a:lnTo>
                      <a:pt x="249" y="18"/>
                    </a:lnTo>
                    <a:lnTo>
                      <a:pt x="249" y="30"/>
                    </a:lnTo>
                    <a:lnTo>
                      <a:pt x="249" y="30"/>
                    </a:lnTo>
                    <a:lnTo>
                      <a:pt x="249" y="83"/>
                    </a:lnTo>
                    <a:lnTo>
                      <a:pt x="249" y="138"/>
                    </a:lnTo>
                    <a:lnTo>
                      <a:pt x="249"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7011" tIns="48505" rIns="97011" bIns="48505" numCol="1" anchor="t" anchorCtr="0" compatLnSpc="1">
                <a:prstTxWarp prst="textNoShape">
                  <a:avLst/>
                </a:prstTxWarp>
              </a:bodyPr>
              <a:lstStyle/>
              <a:p>
                <a:pPr defTabSz="970084">
                  <a:defRPr/>
                </a:pPr>
                <a:endParaRPr lang="en-US" sz="1873" kern="0" dirty="0">
                  <a:solidFill>
                    <a:srgbClr val="FFFFFF"/>
                  </a:solidFill>
                  <a:latin typeface="Calibri" panose="020F0502020204030204"/>
                </a:endParaRPr>
              </a:p>
            </p:txBody>
          </p:sp>
          <p:sp>
            <p:nvSpPr>
              <p:cNvPr id="71" name="Freeform 16">
                <a:extLst>
                  <a:ext uri="{FF2B5EF4-FFF2-40B4-BE49-F238E27FC236}">
                    <a16:creationId xmlns:a16="http://schemas.microsoft.com/office/drawing/2014/main" id="{AF4DBDC2-CE32-411E-9229-3B694FFE04BF}"/>
                  </a:ext>
                </a:extLst>
              </p:cNvPr>
              <p:cNvSpPr>
                <a:spLocks/>
              </p:cNvSpPr>
              <p:nvPr/>
            </p:nvSpPr>
            <p:spPr bwMode="auto">
              <a:xfrm>
                <a:off x="2654084" y="2159759"/>
                <a:ext cx="70580" cy="76533"/>
              </a:xfrm>
              <a:custGeom>
                <a:avLst/>
                <a:gdLst>
                  <a:gd name="T0" fmla="*/ 249 w 249"/>
                  <a:gd name="T1" fmla="*/ 134 h 270"/>
                  <a:gd name="T2" fmla="*/ 249 w 249"/>
                  <a:gd name="T3" fmla="*/ 134 h 270"/>
                  <a:gd name="T4" fmla="*/ 249 w 249"/>
                  <a:gd name="T5" fmla="*/ 189 h 270"/>
                  <a:gd name="T6" fmla="*/ 249 w 249"/>
                  <a:gd name="T7" fmla="*/ 242 h 270"/>
                  <a:gd name="T8" fmla="*/ 249 w 249"/>
                  <a:gd name="T9" fmla="*/ 242 h 270"/>
                  <a:gd name="T10" fmla="*/ 249 w 249"/>
                  <a:gd name="T11" fmla="*/ 254 h 270"/>
                  <a:gd name="T12" fmla="*/ 247 w 249"/>
                  <a:gd name="T13" fmla="*/ 259 h 270"/>
                  <a:gd name="T14" fmla="*/ 244 w 249"/>
                  <a:gd name="T15" fmla="*/ 262 h 270"/>
                  <a:gd name="T16" fmla="*/ 241 w 249"/>
                  <a:gd name="T17" fmla="*/ 266 h 270"/>
                  <a:gd name="T18" fmla="*/ 236 w 249"/>
                  <a:gd name="T19" fmla="*/ 269 h 270"/>
                  <a:gd name="T20" fmla="*/ 231 w 249"/>
                  <a:gd name="T21" fmla="*/ 270 h 270"/>
                  <a:gd name="T22" fmla="*/ 223 w 249"/>
                  <a:gd name="T23" fmla="*/ 270 h 270"/>
                  <a:gd name="T24" fmla="*/ 223 w 249"/>
                  <a:gd name="T25" fmla="*/ 270 h 270"/>
                  <a:gd name="T26" fmla="*/ 124 w 249"/>
                  <a:gd name="T27" fmla="*/ 269 h 270"/>
                  <a:gd name="T28" fmla="*/ 27 w 249"/>
                  <a:gd name="T29" fmla="*/ 270 h 270"/>
                  <a:gd name="T30" fmla="*/ 27 w 249"/>
                  <a:gd name="T31" fmla="*/ 270 h 270"/>
                  <a:gd name="T32" fmla="*/ 19 w 249"/>
                  <a:gd name="T33" fmla="*/ 269 h 270"/>
                  <a:gd name="T34" fmla="*/ 14 w 249"/>
                  <a:gd name="T35" fmla="*/ 269 h 270"/>
                  <a:gd name="T36" fmla="*/ 9 w 249"/>
                  <a:gd name="T37" fmla="*/ 266 h 270"/>
                  <a:gd name="T38" fmla="*/ 4 w 249"/>
                  <a:gd name="T39" fmla="*/ 264 h 270"/>
                  <a:gd name="T40" fmla="*/ 3 w 249"/>
                  <a:gd name="T41" fmla="*/ 259 h 270"/>
                  <a:gd name="T42" fmla="*/ 1 w 249"/>
                  <a:gd name="T43" fmla="*/ 254 h 270"/>
                  <a:gd name="T44" fmla="*/ 0 w 249"/>
                  <a:gd name="T45" fmla="*/ 242 h 270"/>
                  <a:gd name="T46" fmla="*/ 0 w 249"/>
                  <a:gd name="T47" fmla="*/ 242 h 270"/>
                  <a:gd name="T48" fmla="*/ 0 w 249"/>
                  <a:gd name="T49" fmla="*/ 136 h 270"/>
                  <a:gd name="T50" fmla="*/ 0 w 249"/>
                  <a:gd name="T51" fmla="*/ 29 h 270"/>
                  <a:gd name="T52" fmla="*/ 0 w 249"/>
                  <a:gd name="T53" fmla="*/ 29 h 270"/>
                  <a:gd name="T54" fmla="*/ 0 w 249"/>
                  <a:gd name="T55" fmla="*/ 21 h 270"/>
                  <a:gd name="T56" fmla="*/ 1 w 249"/>
                  <a:gd name="T57" fmla="*/ 14 h 270"/>
                  <a:gd name="T58" fmla="*/ 3 w 249"/>
                  <a:gd name="T59" fmla="*/ 10 h 270"/>
                  <a:gd name="T60" fmla="*/ 6 w 249"/>
                  <a:gd name="T61" fmla="*/ 6 h 270"/>
                  <a:gd name="T62" fmla="*/ 11 w 249"/>
                  <a:gd name="T63" fmla="*/ 3 h 270"/>
                  <a:gd name="T64" fmla="*/ 16 w 249"/>
                  <a:gd name="T65" fmla="*/ 2 h 270"/>
                  <a:gd name="T66" fmla="*/ 28 w 249"/>
                  <a:gd name="T67" fmla="*/ 0 h 270"/>
                  <a:gd name="T68" fmla="*/ 28 w 249"/>
                  <a:gd name="T69" fmla="*/ 0 h 270"/>
                  <a:gd name="T70" fmla="*/ 124 w 249"/>
                  <a:gd name="T71" fmla="*/ 2 h 270"/>
                  <a:gd name="T72" fmla="*/ 220 w 249"/>
                  <a:gd name="T73" fmla="*/ 0 h 270"/>
                  <a:gd name="T74" fmla="*/ 220 w 249"/>
                  <a:gd name="T75" fmla="*/ 0 h 270"/>
                  <a:gd name="T76" fmla="*/ 228 w 249"/>
                  <a:gd name="T77" fmla="*/ 0 h 270"/>
                  <a:gd name="T78" fmla="*/ 235 w 249"/>
                  <a:gd name="T79" fmla="*/ 2 h 270"/>
                  <a:gd name="T80" fmla="*/ 241 w 249"/>
                  <a:gd name="T81" fmla="*/ 5 h 270"/>
                  <a:gd name="T82" fmla="*/ 244 w 249"/>
                  <a:gd name="T83" fmla="*/ 8 h 270"/>
                  <a:gd name="T84" fmla="*/ 247 w 249"/>
                  <a:gd name="T85" fmla="*/ 11 h 270"/>
                  <a:gd name="T86" fmla="*/ 249 w 249"/>
                  <a:gd name="T87" fmla="*/ 18 h 270"/>
                  <a:gd name="T88" fmla="*/ 249 w 249"/>
                  <a:gd name="T89" fmla="*/ 32 h 270"/>
                  <a:gd name="T90" fmla="*/ 249 w 249"/>
                  <a:gd name="T91" fmla="*/ 32 h 270"/>
                  <a:gd name="T92" fmla="*/ 249 w 249"/>
                  <a:gd name="T93" fmla="*/ 83 h 270"/>
                  <a:gd name="T94" fmla="*/ 249 w 249"/>
                  <a:gd name="T95" fmla="*/ 134 h 270"/>
                  <a:gd name="T96" fmla="*/ 249 w 249"/>
                  <a:gd name="T97" fmla="*/ 134 h 270"/>
                  <a:gd name="T98" fmla="*/ 249 w 249"/>
                  <a:gd name="T99" fmla="*/ 134 h 270"/>
                  <a:gd name="T100" fmla="*/ 249 w 249"/>
                  <a:gd name="T101" fmla="*/ 13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9" h="270">
                    <a:moveTo>
                      <a:pt x="249" y="134"/>
                    </a:moveTo>
                    <a:lnTo>
                      <a:pt x="249" y="134"/>
                    </a:lnTo>
                    <a:lnTo>
                      <a:pt x="249" y="189"/>
                    </a:lnTo>
                    <a:lnTo>
                      <a:pt x="249" y="242"/>
                    </a:lnTo>
                    <a:lnTo>
                      <a:pt x="249" y="242"/>
                    </a:lnTo>
                    <a:lnTo>
                      <a:pt x="249" y="254"/>
                    </a:lnTo>
                    <a:lnTo>
                      <a:pt x="247" y="259"/>
                    </a:lnTo>
                    <a:lnTo>
                      <a:pt x="244" y="262"/>
                    </a:lnTo>
                    <a:lnTo>
                      <a:pt x="241" y="266"/>
                    </a:lnTo>
                    <a:lnTo>
                      <a:pt x="236" y="269"/>
                    </a:lnTo>
                    <a:lnTo>
                      <a:pt x="231" y="270"/>
                    </a:lnTo>
                    <a:lnTo>
                      <a:pt x="223" y="270"/>
                    </a:lnTo>
                    <a:lnTo>
                      <a:pt x="223" y="270"/>
                    </a:lnTo>
                    <a:lnTo>
                      <a:pt x="124" y="269"/>
                    </a:lnTo>
                    <a:lnTo>
                      <a:pt x="27" y="270"/>
                    </a:lnTo>
                    <a:lnTo>
                      <a:pt x="27" y="270"/>
                    </a:lnTo>
                    <a:lnTo>
                      <a:pt x="19" y="269"/>
                    </a:lnTo>
                    <a:lnTo>
                      <a:pt x="14" y="269"/>
                    </a:lnTo>
                    <a:lnTo>
                      <a:pt x="9" y="266"/>
                    </a:lnTo>
                    <a:lnTo>
                      <a:pt x="4" y="264"/>
                    </a:lnTo>
                    <a:lnTo>
                      <a:pt x="3" y="259"/>
                    </a:lnTo>
                    <a:lnTo>
                      <a:pt x="1" y="254"/>
                    </a:lnTo>
                    <a:lnTo>
                      <a:pt x="0" y="242"/>
                    </a:lnTo>
                    <a:lnTo>
                      <a:pt x="0" y="242"/>
                    </a:lnTo>
                    <a:lnTo>
                      <a:pt x="0" y="136"/>
                    </a:lnTo>
                    <a:lnTo>
                      <a:pt x="0" y="29"/>
                    </a:lnTo>
                    <a:lnTo>
                      <a:pt x="0" y="29"/>
                    </a:lnTo>
                    <a:lnTo>
                      <a:pt x="0" y="21"/>
                    </a:lnTo>
                    <a:lnTo>
                      <a:pt x="1" y="14"/>
                    </a:lnTo>
                    <a:lnTo>
                      <a:pt x="3" y="10"/>
                    </a:lnTo>
                    <a:lnTo>
                      <a:pt x="6" y="6"/>
                    </a:lnTo>
                    <a:lnTo>
                      <a:pt x="11" y="3"/>
                    </a:lnTo>
                    <a:lnTo>
                      <a:pt x="16" y="2"/>
                    </a:lnTo>
                    <a:lnTo>
                      <a:pt x="28" y="0"/>
                    </a:lnTo>
                    <a:lnTo>
                      <a:pt x="28" y="0"/>
                    </a:lnTo>
                    <a:lnTo>
                      <a:pt x="124" y="2"/>
                    </a:lnTo>
                    <a:lnTo>
                      <a:pt x="220" y="0"/>
                    </a:lnTo>
                    <a:lnTo>
                      <a:pt x="220" y="0"/>
                    </a:lnTo>
                    <a:lnTo>
                      <a:pt x="228" y="0"/>
                    </a:lnTo>
                    <a:lnTo>
                      <a:pt x="235" y="2"/>
                    </a:lnTo>
                    <a:lnTo>
                      <a:pt x="241" y="5"/>
                    </a:lnTo>
                    <a:lnTo>
                      <a:pt x="244" y="8"/>
                    </a:lnTo>
                    <a:lnTo>
                      <a:pt x="247" y="11"/>
                    </a:lnTo>
                    <a:lnTo>
                      <a:pt x="249" y="18"/>
                    </a:lnTo>
                    <a:lnTo>
                      <a:pt x="249" y="32"/>
                    </a:lnTo>
                    <a:lnTo>
                      <a:pt x="249" y="32"/>
                    </a:lnTo>
                    <a:lnTo>
                      <a:pt x="249" y="83"/>
                    </a:lnTo>
                    <a:lnTo>
                      <a:pt x="249" y="134"/>
                    </a:lnTo>
                    <a:lnTo>
                      <a:pt x="249" y="134"/>
                    </a:lnTo>
                    <a:lnTo>
                      <a:pt x="249" y="134"/>
                    </a:lnTo>
                    <a:lnTo>
                      <a:pt x="249"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7011" tIns="48505" rIns="97011" bIns="48505" numCol="1" anchor="t" anchorCtr="0" compatLnSpc="1">
                <a:prstTxWarp prst="textNoShape">
                  <a:avLst/>
                </a:prstTxWarp>
              </a:bodyPr>
              <a:lstStyle/>
              <a:p>
                <a:pPr defTabSz="970084">
                  <a:defRPr/>
                </a:pPr>
                <a:endParaRPr lang="en-US" sz="1873" kern="0" dirty="0">
                  <a:solidFill>
                    <a:srgbClr val="FFFFFF"/>
                  </a:solidFill>
                  <a:latin typeface="Calibri" panose="020F0502020204030204"/>
                </a:endParaRPr>
              </a:p>
            </p:txBody>
          </p:sp>
        </p:grpSp>
        <p:sp>
          <p:nvSpPr>
            <p:cNvPr id="51" name="文本框 50">
              <a:extLst>
                <a:ext uri="{FF2B5EF4-FFF2-40B4-BE49-F238E27FC236}">
                  <a16:creationId xmlns:a16="http://schemas.microsoft.com/office/drawing/2014/main" id="{9B05206E-74FC-4C2C-BA36-543CB2D61E0B}"/>
                </a:ext>
              </a:extLst>
            </p:cNvPr>
            <p:cNvSpPr txBox="1"/>
            <p:nvPr/>
          </p:nvSpPr>
          <p:spPr>
            <a:xfrm>
              <a:off x="3731863" y="4539577"/>
              <a:ext cx="1336242" cy="374846"/>
            </a:xfrm>
            <a:prstGeom prst="rect">
              <a:avLst/>
            </a:prstGeom>
            <a:noFill/>
          </p:spPr>
          <p:txBody>
            <a:bodyPr wrap="square" rtlCol="0">
              <a:spAutoFit/>
            </a:bodyPr>
            <a:lstStyle/>
            <a:p>
              <a:pPr algn="ctr" defTabSz="932597">
                <a:defRPr/>
              </a:pPr>
              <a:r>
                <a:rPr lang="en-US" sz="1873" dirty="0">
                  <a:solidFill>
                    <a:srgbClr val="FFFFFF"/>
                  </a:solidFill>
                  <a:latin typeface="Segoe UI"/>
                </a:rPr>
                <a:t>Event Hub</a:t>
              </a:r>
            </a:p>
          </p:txBody>
        </p:sp>
        <p:pic>
          <p:nvPicPr>
            <p:cNvPr id="52" name="Picture 18" descr="Image result for stream analytics logo png">
              <a:extLst>
                <a:ext uri="{FF2B5EF4-FFF2-40B4-BE49-F238E27FC236}">
                  <a16:creationId xmlns:a16="http://schemas.microsoft.com/office/drawing/2014/main" id="{145BFA3F-698F-4BC3-A43A-C0C4EBC737C7}"/>
                </a:ext>
              </a:extLst>
            </p:cNvPr>
            <p:cNvPicPr>
              <a:picLocks noChangeAspect="1" noChangeArrowheads="1"/>
            </p:cNvPicPr>
            <p:nvPr/>
          </p:nvPicPr>
          <p:blipFill>
            <a:blip r:embed="rId10"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434236" y="3329259"/>
              <a:ext cx="874211" cy="458961"/>
            </a:xfrm>
            <a:prstGeom prst="rect">
              <a:avLst/>
            </a:prstGeom>
            <a:noFill/>
            <a:extLst>
              <a:ext uri="{909E8E84-426E-40DD-AFC4-6F175D3DCCD1}">
                <a14:hiddenFill xmlns:a14="http://schemas.microsoft.com/office/drawing/2010/main">
                  <a:solidFill>
                    <a:srgbClr val="FFFFFF"/>
                  </a:solidFill>
                </a14:hiddenFill>
              </a:ext>
            </a:extLst>
          </p:spPr>
        </p:pic>
        <p:sp>
          <p:nvSpPr>
            <p:cNvPr id="53" name="文本框 52">
              <a:extLst>
                <a:ext uri="{FF2B5EF4-FFF2-40B4-BE49-F238E27FC236}">
                  <a16:creationId xmlns:a16="http://schemas.microsoft.com/office/drawing/2014/main" id="{E6F458DE-E761-4A77-B81D-DD1C59494D1C}"/>
                </a:ext>
              </a:extLst>
            </p:cNvPr>
            <p:cNvSpPr txBox="1"/>
            <p:nvPr/>
          </p:nvSpPr>
          <p:spPr>
            <a:xfrm>
              <a:off x="5295629" y="3877511"/>
              <a:ext cx="1227670" cy="594650"/>
            </a:xfrm>
            <a:prstGeom prst="rect">
              <a:avLst/>
            </a:prstGeom>
            <a:noFill/>
          </p:spPr>
          <p:txBody>
            <a:bodyPr wrap="square" rtlCol="0">
              <a:spAutoFit/>
            </a:bodyPr>
            <a:lstStyle/>
            <a:p>
              <a:pPr algn="ctr" defTabSz="932597">
                <a:defRPr/>
              </a:pPr>
              <a:r>
                <a:rPr lang="en-US" sz="1664" dirty="0">
                  <a:solidFill>
                    <a:srgbClr val="FFFFFF"/>
                  </a:solidFill>
                  <a:latin typeface="Segoe UI"/>
                </a:rPr>
                <a:t>Stream Analytics</a:t>
              </a:r>
            </a:p>
          </p:txBody>
        </p:sp>
        <p:grpSp>
          <p:nvGrpSpPr>
            <p:cNvPr id="54" name="组合 53">
              <a:extLst>
                <a:ext uri="{FF2B5EF4-FFF2-40B4-BE49-F238E27FC236}">
                  <a16:creationId xmlns:a16="http://schemas.microsoft.com/office/drawing/2014/main" id="{98452EC3-4F1F-4FCD-AF6A-CA000E00C098}"/>
                </a:ext>
              </a:extLst>
            </p:cNvPr>
            <p:cNvGrpSpPr/>
            <p:nvPr/>
          </p:nvGrpSpPr>
          <p:grpSpPr>
            <a:xfrm>
              <a:off x="6518995" y="2999078"/>
              <a:ext cx="765924" cy="1885116"/>
              <a:chOff x="4623457" y="1894577"/>
              <a:chExt cx="1056009" cy="2741826"/>
            </a:xfrm>
          </p:grpSpPr>
          <p:pic>
            <p:nvPicPr>
              <p:cNvPr id="60" name="Picture 2" descr="C:\Users\mitchellg\AppData\Local\Microsoft\Windows\Temporary Internet Files\Content.Outlook\DRES7FCJ\Storage_white (2).png">
                <a:extLst>
                  <a:ext uri="{FF2B5EF4-FFF2-40B4-BE49-F238E27FC236}">
                    <a16:creationId xmlns:a16="http://schemas.microsoft.com/office/drawing/2014/main" id="{4A6E4CD8-8D17-4675-95A1-03A4BE6E8004}"/>
                  </a:ext>
                </a:extLst>
              </p:cNvPr>
              <p:cNvPicPr>
                <a:picLocks noChangeAspect="1" noChangeArrowheads="1"/>
              </p:cNvPicPr>
              <p:nvPr/>
            </p:nvPicPr>
            <p:blipFill>
              <a:blip r:embed="rId11"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820673" y="4006747"/>
                <a:ext cx="629656" cy="629656"/>
              </a:xfrm>
              <a:prstGeom prst="rect">
                <a:avLst/>
              </a:prstGeom>
              <a:noFill/>
            </p:spPr>
          </p:pic>
          <p:pic>
            <p:nvPicPr>
              <p:cNvPr id="61" name="Picture 75">
                <a:extLst>
                  <a:ext uri="{FF2B5EF4-FFF2-40B4-BE49-F238E27FC236}">
                    <a16:creationId xmlns:a16="http://schemas.microsoft.com/office/drawing/2014/main" id="{40FB6CBA-F8CC-46C8-84ED-F81F5FFD9400}"/>
                  </a:ext>
                </a:extLst>
              </p:cNvPr>
              <p:cNvPicPr>
                <a:picLocks noChangeAspect="1"/>
              </p:cNvPicPr>
              <p:nvPr/>
            </p:nvPicPr>
            <p:blipFill>
              <a:blip r:embed="rId12" cstate="email">
                <a:duotone>
                  <a:schemeClr val="accent2">
                    <a:shade val="45000"/>
                    <a:satMod val="135000"/>
                  </a:schemeClr>
                  <a:prstClr val="white"/>
                </a:duotone>
                <a:extLst>
                  <a:ext uri="{BEBA8EAE-BF5A-486C-A8C5-ECC9F3942E4B}">
                    <a14:imgProps xmlns:a14="http://schemas.microsoft.com/office/drawing/2010/main">
                      <a14:imgLayer r:embed="rId13">
                        <a14:imgEffect>
                          <a14:brightnessContrast bright="-40000" contrast="20000"/>
                        </a14:imgEffect>
                      </a14:imgLayer>
                    </a14:imgProps>
                  </a:ext>
                  <a:ext uri="{28A0092B-C50C-407E-A947-70E740481C1C}">
                    <a14:useLocalDpi xmlns:a14="http://schemas.microsoft.com/office/drawing/2010/main"/>
                  </a:ext>
                </a:extLst>
              </a:blip>
              <a:stretch>
                <a:fillRect/>
              </a:stretch>
            </p:blipFill>
            <p:spPr>
              <a:xfrm>
                <a:off x="4623457" y="3007027"/>
                <a:ext cx="1056009" cy="1056009"/>
              </a:xfrm>
              <a:prstGeom prst="rect">
                <a:avLst/>
              </a:prstGeom>
            </p:spPr>
          </p:pic>
          <p:pic>
            <p:nvPicPr>
              <p:cNvPr id="62" name="Picture 3">
                <a:extLst>
                  <a:ext uri="{FF2B5EF4-FFF2-40B4-BE49-F238E27FC236}">
                    <a16:creationId xmlns:a16="http://schemas.microsoft.com/office/drawing/2014/main" id="{B9C13BDB-DA74-4E95-A2C9-71F10367FD0C}"/>
                  </a:ext>
                </a:extLst>
              </p:cNvPr>
              <p:cNvPicPr>
                <a:picLocks noChangeAspect="1"/>
              </p:cNvPicPr>
              <p:nvPr/>
            </p:nvPicPr>
            <p:blipFill>
              <a:blip r:embed="rId14"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972355" y="1894577"/>
                <a:ext cx="564759" cy="595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6">
                <a:extLst>
                  <a:ext uri="{FF2B5EF4-FFF2-40B4-BE49-F238E27FC236}">
                    <a16:creationId xmlns:a16="http://schemas.microsoft.com/office/drawing/2014/main" id="{767D065E-B059-4A05-B992-7D45C7925EE8}"/>
                  </a:ext>
                </a:extLst>
              </p:cNvPr>
              <p:cNvPicPr>
                <a:picLocks noChangeAspect="1"/>
              </p:cNvPicPr>
              <p:nvPr/>
            </p:nvPicPr>
            <p:blipFill>
              <a:blip r:embed="rId15">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866429" y="2616983"/>
                <a:ext cx="601979" cy="522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5" name="文本框 54">
              <a:extLst>
                <a:ext uri="{FF2B5EF4-FFF2-40B4-BE49-F238E27FC236}">
                  <a16:creationId xmlns:a16="http://schemas.microsoft.com/office/drawing/2014/main" id="{B6F3AD4B-6AAB-454D-9638-8BD9807500FC}"/>
                </a:ext>
              </a:extLst>
            </p:cNvPr>
            <p:cNvSpPr txBox="1"/>
            <p:nvPr/>
          </p:nvSpPr>
          <p:spPr>
            <a:xfrm>
              <a:off x="7016405" y="3026616"/>
              <a:ext cx="1227670" cy="265009"/>
            </a:xfrm>
            <a:prstGeom prst="rect">
              <a:avLst/>
            </a:prstGeom>
            <a:noFill/>
          </p:spPr>
          <p:txBody>
            <a:bodyPr wrap="square" rtlCol="0">
              <a:spAutoFit/>
            </a:bodyPr>
            <a:lstStyle/>
            <a:p>
              <a:pPr algn="ctr" defTabSz="932597">
                <a:defRPr/>
              </a:pPr>
              <a:r>
                <a:rPr lang="en-US" sz="1144" dirty="0">
                  <a:solidFill>
                    <a:srgbClr val="FFFFFF"/>
                  </a:solidFill>
                  <a:latin typeface="Segoe UI"/>
                </a:rPr>
                <a:t>SQL Database</a:t>
              </a:r>
            </a:p>
          </p:txBody>
        </p:sp>
        <p:sp>
          <p:nvSpPr>
            <p:cNvPr id="56" name="文本框 55">
              <a:extLst>
                <a:ext uri="{FF2B5EF4-FFF2-40B4-BE49-F238E27FC236}">
                  <a16:creationId xmlns:a16="http://schemas.microsoft.com/office/drawing/2014/main" id="{815E9D98-92EB-4CA2-8309-B6FB450D7603}"/>
                </a:ext>
              </a:extLst>
            </p:cNvPr>
            <p:cNvSpPr txBox="1"/>
            <p:nvPr/>
          </p:nvSpPr>
          <p:spPr>
            <a:xfrm>
              <a:off x="7096107" y="4419330"/>
              <a:ext cx="1068345" cy="437684"/>
            </a:xfrm>
            <a:prstGeom prst="rect">
              <a:avLst/>
            </a:prstGeom>
            <a:noFill/>
          </p:spPr>
          <p:txBody>
            <a:bodyPr wrap="square" rtlCol="0">
              <a:spAutoFit/>
            </a:bodyPr>
            <a:lstStyle/>
            <a:p>
              <a:pPr defTabSz="932597">
                <a:defRPr/>
              </a:pPr>
              <a:r>
                <a:rPr lang="en-US" sz="1144" dirty="0">
                  <a:solidFill>
                    <a:srgbClr val="FFFFFF"/>
                  </a:solidFill>
                  <a:latin typeface="Segoe UI"/>
                </a:rPr>
                <a:t>SQL Data Warehouse</a:t>
              </a:r>
            </a:p>
          </p:txBody>
        </p:sp>
        <p:sp>
          <p:nvSpPr>
            <p:cNvPr id="57" name="文本框 56">
              <a:extLst>
                <a:ext uri="{FF2B5EF4-FFF2-40B4-BE49-F238E27FC236}">
                  <a16:creationId xmlns:a16="http://schemas.microsoft.com/office/drawing/2014/main" id="{84935697-3B77-42E5-B57D-ECBAFD94ED87}"/>
                </a:ext>
              </a:extLst>
            </p:cNvPr>
            <p:cNvSpPr txBox="1"/>
            <p:nvPr/>
          </p:nvSpPr>
          <p:spPr>
            <a:xfrm>
              <a:off x="6990732" y="3956658"/>
              <a:ext cx="1227670" cy="265009"/>
            </a:xfrm>
            <a:prstGeom prst="rect">
              <a:avLst/>
            </a:prstGeom>
            <a:noFill/>
          </p:spPr>
          <p:txBody>
            <a:bodyPr wrap="square" rtlCol="0">
              <a:spAutoFit/>
            </a:bodyPr>
            <a:lstStyle/>
            <a:p>
              <a:pPr algn="ctr" defTabSz="932597">
                <a:defRPr/>
              </a:pPr>
              <a:r>
                <a:rPr lang="en-US" altLang="zh-CN" sz="1144" dirty="0" err="1">
                  <a:solidFill>
                    <a:srgbClr val="FFFFFF"/>
                  </a:solidFill>
                  <a:latin typeface="Segoe UI"/>
                  <a:ea typeface="宋体" panose="02010600030101010101" pitchFamily="2" charset="-122"/>
                </a:rPr>
                <a:t>DocumentDB</a:t>
              </a:r>
              <a:endParaRPr lang="en-US" sz="1144" dirty="0">
                <a:solidFill>
                  <a:srgbClr val="FFFFFF"/>
                </a:solidFill>
                <a:latin typeface="Segoe UI"/>
              </a:endParaRPr>
            </a:p>
          </p:txBody>
        </p:sp>
        <p:sp>
          <p:nvSpPr>
            <p:cNvPr id="58" name="文本框 57">
              <a:extLst>
                <a:ext uri="{FF2B5EF4-FFF2-40B4-BE49-F238E27FC236}">
                  <a16:creationId xmlns:a16="http://schemas.microsoft.com/office/drawing/2014/main" id="{AE3628A4-47DB-4A24-840D-60DFEEAA3852}"/>
                </a:ext>
              </a:extLst>
            </p:cNvPr>
            <p:cNvSpPr txBox="1"/>
            <p:nvPr/>
          </p:nvSpPr>
          <p:spPr>
            <a:xfrm>
              <a:off x="7118725" y="3429029"/>
              <a:ext cx="1057815" cy="437684"/>
            </a:xfrm>
            <a:prstGeom prst="rect">
              <a:avLst/>
            </a:prstGeom>
            <a:noFill/>
          </p:spPr>
          <p:txBody>
            <a:bodyPr wrap="square" rtlCol="0">
              <a:spAutoFit/>
            </a:bodyPr>
            <a:lstStyle/>
            <a:p>
              <a:pPr defTabSz="932597">
                <a:defRPr/>
              </a:pPr>
              <a:r>
                <a:rPr lang="en-US" sz="1144" dirty="0">
                  <a:solidFill>
                    <a:srgbClr val="FFFFFF"/>
                  </a:solidFill>
                  <a:latin typeface="Segoe UI"/>
                </a:rPr>
                <a:t>Table/Blog Storage</a:t>
              </a:r>
            </a:p>
          </p:txBody>
        </p:sp>
        <p:sp>
          <p:nvSpPr>
            <p:cNvPr id="59" name="矩形 58">
              <a:extLst>
                <a:ext uri="{FF2B5EF4-FFF2-40B4-BE49-F238E27FC236}">
                  <a16:creationId xmlns:a16="http://schemas.microsoft.com/office/drawing/2014/main" id="{8FB14B38-CC02-48EF-ACA7-FE39B8EAD0BD}"/>
                </a:ext>
              </a:extLst>
            </p:cNvPr>
            <p:cNvSpPr/>
            <p:nvPr/>
          </p:nvSpPr>
          <p:spPr>
            <a:xfrm>
              <a:off x="3207584" y="2880298"/>
              <a:ext cx="4873287" cy="3868179"/>
            </a:xfrm>
            <a:prstGeom prst="rect">
              <a:avLst/>
            </a:prstGeom>
            <a:noFill/>
            <a:ln>
              <a:solidFill>
                <a:srgbClr val="D83B0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97">
                <a:defRPr/>
              </a:pPr>
              <a:endParaRPr lang="en-US" sz="1873">
                <a:solidFill>
                  <a:srgbClr val="FFFFFF"/>
                </a:solidFill>
                <a:latin typeface="Segoe UI"/>
              </a:endParaRPr>
            </a:p>
          </p:txBody>
        </p:sp>
      </p:grpSp>
      <p:grpSp>
        <p:nvGrpSpPr>
          <p:cNvPr id="72" name="组合 71">
            <a:extLst>
              <a:ext uri="{FF2B5EF4-FFF2-40B4-BE49-F238E27FC236}">
                <a16:creationId xmlns:a16="http://schemas.microsoft.com/office/drawing/2014/main" id="{78F4EB8D-EB78-49B1-980A-9B25D73EF8DD}"/>
              </a:ext>
            </a:extLst>
          </p:cNvPr>
          <p:cNvGrpSpPr/>
          <p:nvPr/>
        </p:nvGrpSpPr>
        <p:grpSpPr>
          <a:xfrm>
            <a:off x="8541448" y="2996119"/>
            <a:ext cx="1973185" cy="4023721"/>
            <a:chOff x="8209552" y="2880299"/>
            <a:chExt cx="1896908" cy="3868178"/>
          </a:xfrm>
        </p:grpSpPr>
        <p:pic>
          <p:nvPicPr>
            <p:cNvPr id="73" name="Picture 81">
              <a:extLst>
                <a:ext uri="{FF2B5EF4-FFF2-40B4-BE49-F238E27FC236}">
                  <a16:creationId xmlns:a16="http://schemas.microsoft.com/office/drawing/2014/main" id="{FFFAB4D1-581B-47AD-B213-A4C0EDDA1790}"/>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8423634" y="3029104"/>
              <a:ext cx="469643" cy="469643"/>
            </a:xfrm>
            <a:prstGeom prst="rect">
              <a:avLst/>
            </a:prstGeom>
            <a:solidFill>
              <a:schemeClr val="tx1">
                <a:lumMod val="50000"/>
                <a:lumOff val="50000"/>
              </a:schemeClr>
            </a:solidFill>
          </p:spPr>
        </p:pic>
        <p:sp>
          <p:nvSpPr>
            <p:cNvPr id="74" name="文本框 73">
              <a:extLst>
                <a:ext uri="{FF2B5EF4-FFF2-40B4-BE49-F238E27FC236}">
                  <a16:creationId xmlns:a16="http://schemas.microsoft.com/office/drawing/2014/main" id="{FC61C2D0-29D3-44BB-BD07-8FA9004363FB}"/>
                </a:ext>
              </a:extLst>
            </p:cNvPr>
            <p:cNvSpPr txBox="1"/>
            <p:nvPr/>
          </p:nvSpPr>
          <p:spPr>
            <a:xfrm>
              <a:off x="8933774" y="3128581"/>
              <a:ext cx="1017756" cy="312073"/>
            </a:xfrm>
            <a:prstGeom prst="rect">
              <a:avLst/>
            </a:prstGeom>
            <a:noFill/>
          </p:spPr>
          <p:txBody>
            <a:bodyPr wrap="square" rtlCol="0">
              <a:spAutoFit/>
            </a:bodyPr>
            <a:lstStyle/>
            <a:p>
              <a:pPr defTabSz="932597">
                <a:defRPr/>
              </a:pPr>
              <a:r>
                <a:rPr lang="zh-CN" altLang="en-US" sz="1456" dirty="0">
                  <a:solidFill>
                    <a:srgbClr val="FFFFFF"/>
                  </a:solidFill>
                  <a:latin typeface="Segoe UI"/>
                  <a:ea typeface="宋体" panose="02010600030101010101" pitchFamily="2" charset="-122"/>
                </a:rPr>
                <a:t>机器学习</a:t>
              </a:r>
              <a:endParaRPr lang="en-US" altLang="zh-CN" sz="1456" dirty="0">
                <a:solidFill>
                  <a:srgbClr val="FFFFFF"/>
                </a:solidFill>
                <a:latin typeface="Segoe UI"/>
                <a:ea typeface="宋体" panose="02010600030101010101" pitchFamily="2" charset="-122"/>
              </a:endParaRPr>
            </a:p>
          </p:txBody>
        </p:sp>
        <p:pic>
          <p:nvPicPr>
            <p:cNvPr id="75" name="Picture 2" descr="image001">
              <a:extLst>
                <a:ext uri="{FF2B5EF4-FFF2-40B4-BE49-F238E27FC236}">
                  <a16:creationId xmlns:a16="http://schemas.microsoft.com/office/drawing/2014/main" id="{18F1338E-6082-4D10-AA86-C134A8E361C7}"/>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8356702" y="3759255"/>
              <a:ext cx="496821" cy="368927"/>
            </a:xfrm>
            <a:prstGeom prst="rect">
              <a:avLst/>
            </a:prstGeom>
            <a:solidFill>
              <a:schemeClr val="tx1">
                <a:lumMod val="50000"/>
                <a:lumOff val="50000"/>
              </a:schemeClr>
            </a:solidFill>
            <a:ln w="9525">
              <a:noFill/>
              <a:miter lim="800000"/>
              <a:headEnd/>
              <a:tailEnd/>
            </a:ln>
          </p:spPr>
        </p:pic>
        <p:sp>
          <p:nvSpPr>
            <p:cNvPr id="76" name="文本框 75">
              <a:extLst>
                <a:ext uri="{FF2B5EF4-FFF2-40B4-BE49-F238E27FC236}">
                  <a16:creationId xmlns:a16="http://schemas.microsoft.com/office/drawing/2014/main" id="{D59FCBD2-8361-4162-AB1E-37CB115A9C7D}"/>
                </a:ext>
              </a:extLst>
            </p:cNvPr>
            <p:cNvSpPr txBox="1"/>
            <p:nvPr/>
          </p:nvSpPr>
          <p:spPr>
            <a:xfrm>
              <a:off x="8955812" y="3744672"/>
              <a:ext cx="1006828" cy="312073"/>
            </a:xfrm>
            <a:prstGeom prst="rect">
              <a:avLst/>
            </a:prstGeom>
            <a:noFill/>
          </p:spPr>
          <p:txBody>
            <a:bodyPr wrap="square" rtlCol="0">
              <a:spAutoFit/>
            </a:bodyPr>
            <a:lstStyle/>
            <a:p>
              <a:pPr defTabSz="932597">
                <a:defRPr/>
              </a:pPr>
              <a:r>
                <a:rPr lang="en-US" altLang="zh-CN" sz="1456" dirty="0">
                  <a:solidFill>
                    <a:srgbClr val="FFFFFF"/>
                  </a:solidFill>
                  <a:latin typeface="Segoe UI"/>
                  <a:ea typeface="宋体" panose="02010600030101010101" pitchFamily="2" charset="-122"/>
                </a:rPr>
                <a:t>HDInsight</a:t>
              </a:r>
              <a:endParaRPr lang="en-US" sz="1456" dirty="0">
                <a:solidFill>
                  <a:srgbClr val="FFFFFF"/>
                </a:solidFill>
                <a:latin typeface="Segoe UI"/>
              </a:endParaRPr>
            </a:p>
          </p:txBody>
        </p:sp>
        <p:pic>
          <p:nvPicPr>
            <p:cNvPr id="77" name="图片 76">
              <a:extLst>
                <a:ext uri="{FF2B5EF4-FFF2-40B4-BE49-F238E27FC236}">
                  <a16:creationId xmlns:a16="http://schemas.microsoft.com/office/drawing/2014/main" id="{F9CF1AC1-0467-4A98-8B96-2D240A652141}"/>
                </a:ext>
              </a:extLst>
            </p:cNvPr>
            <p:cNvPicPr>
              <a:picLocks noChangeAspect="1"/>
            </p:cNvPicPr>
            <p:nvPr/>
          </p:nvPicPr>
          <p:blipFill rotWithShape="1">
            <a:blip r:embed="rId18" cstate="email">
              <a:duotone>
                <a:schemeClr val="accent6">
                  <a:shade val="45000"/>
                  <a:satMod val="135000"/>
                </a:schemeClr>
                <a:prstClr val="white"/>
              </a:duotone>
              <a:extLst>
                <a:ext uri="{BEBA8EAE-BF5A-486C-A8C5-ECC9F3942E4B}">
                  <a14:imgProps xmlns:a14="http://schemas.microsoft.com/office/drawing/2010/main">
                    <a14:imgLayer r:embed="rId19">
                      <a14:imgEffect>
                        <a14:sharpenSoften amount="50000"/>
                      </a14:imgEffect>
                    </a14:imgLayer>
                  </a14:imgProps>
                </a:ext>
                <a:ext uri="{28A0092B-C50C-407E-A947-70E740481C1C}">
                  <a14:useLocalDpi xmlns:a14="http://schemas.microsoft.com/office/drawing/2010/main"/>
                </a:ext>
              </a:extLst>
            </a:blip>
            <a:srcRect t="18072" b="21199"/>
            <a:stretch/>
          </p:blipFill>
          <p:spPr>
            <a:xfrm>
              <a:off x="8209552" y="4294237"/>
              <a:ext cx="814692" cy="494752"/>
            </a:xfrm>
            <a:prstGeom prst="rect">
              <a:avLst/>
            </a:prstGeom>
          </p:spPr>
        </p:pic>
        <p:sp>
          <p:nvSpPr>
            <p:cNvPr id="78" name="文本框 77">
              <a:extLst>
                <a:ext uri="{FF2B5EF4-FFF2-40B4-BE49-F238E27FC236}">
                  <a16:creationId xmlns:a16="http://schemas.microsoft.com/office/drawing/2014/main" id="{E0F9076F-0081-4C97-A39B-C36D8C816F33}"/>
                </a:ext>
              </a:extLst>
            </p:cNvPr>
            <p:cNvSpPr txBox="1"/>
            <p:nvPr/>
          </p:nvSpPr>
          <p:spPr>
            <a:xfrm>
              <a:off x="8963837" y="4373164"/>
              <a:ext cx="1006828" cy="751552"/>
            </a:xfrm>
            <a:prstGeom prst="rect">
              <a:avLst/>
            </a:prstGeom>
            <a:noFill/>
          </p:spPr>
          <p:txBody>
            <a:bodyPr wrap="square" rtlCol="0">
              <a:spAutoFit/>
            </a:bodyPr>
            <a:lstStyle/>
            <a:p>
              <a:pPr defTabSz="932597">
                <a:defRPr/>
              </a:pPr>
              <a:r>
                <a:rPr lang="zh-CN" altLang="en-US" sz="1456" dirty="0">
                  <a:solidFill>
                    <a:srgbClr val="FFFFFF"/>
                  </a:solidFill>
                  <a:latin typeface="Segoe UI"/>
                  <a:ea typeface="宋体" panose="02010600030101010101" pitchFamily="2" charset="-122"/>
                </a:rPr>
                <a:t>认知服务 </a:t>
              </a:r>
              <a:r>
                <a:rPr lang="en-US" altLang="zh-CN" sz="1456" dirty="0">
                  <a:solidFill>
                    <a:srgbClr val="FFFFFF"/>
                  </a:solidFill>
                  <a:latin typeface="Segoe UI"/>
                  <a:ea typeface="宋体" panose="02010600030101010101" pitchFamily="2" charset="-122"/>
                </a:rPr>
                <a:t>&amp; 28</a:t>
              </a:r>
              <a:r>
                <a:rPr lang="zh-CN" altLang="en-US" sz="1456" dirty="0">
                  <a:solidFill>
                    <a:srgbClr val="FFFFFF"/>
                  </a:solidFill>
                  <a:latin typeface="Segoe UI"/>
                  <a:ea typeface="宋体" panose="02010600030101010101" pitchFamily="2" charset="-122"/>
                </a:rPr>
                <a:t>项人工智能</a:t>
              </a:r>
              <a:endParaRPr lang="en-US" sz="1456" dirty="0">
                <a:solidFill>
                  <a:srgbClr val="FFFFFF"/>
                </a:solidFill>
                <a:latin typeface="Segoe UI"/>
              </a:endParaRPr>
            </a:p>
          </p:txBody>
        </p:sp>
        <p:sp>
          <p:nvSpPr>
            <p:cNvPr id="79" name="矩形 78">
              <a:extLst>
                <a:ext uri="{FF2B5EF4-FFF2-40B4-BE49-F238E27FC236}">
                  <a16:creationId xmlns:a16="http://schemas.microsoft.com/office/drawing/2014/main" id="{BC0151B5-E37D-4E27-A9E0-DDC3E65CB04F}"/>
                </a:ext>
              </a:extLst>
            </p:cNvPr>
            <p:cNvSpPr/>
            <p:nvPr/>
          </p:nvSpPr>
          <p:spPr>
            <a:xfrm>
              <a:off x="8284191" y="2880299"/>
              <a:ext cx="1822269" cy="3868178"/>
            </a:xfrm>
            <a:prstGeom prst="rect">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97">
                <a:defRPr/>
              </a:pPr>
              <a:endParaRPr lang="en-US" sz="1873">
                <a:solidFill>
                  <a:srgbClr val="FFFFFF"/>
                </a:solidFill>
                <a:latin typeface="Segoe UI"/>
              </a:endParaRPr>
            </a:p>
          </p:txBody>
        </p:sp>
      </p:grpSp>
      <p:grpSp>
        <p:nvGrpSpPr>
          <p:cNvPr id="80" name="组合 79">
            <a:extLst>
              <a:ext uri="{FF2B5EF4-FFF2-40B4-BE49-F238E27FC236}">
                <a16:creationId xmlns:a16="http://schemas.microsoft.com/office/drawing/2014/main" id="{347F5B26-407F-4B49-B70C-2635F12259B5}"/>
              </a:ext>
            </a:extLst>
          </p:cNvPr>
          <p:cNvGrpSpPr/>
          <p:nvPr/>
        </p:nvGrpSpPr>
        <p:grpSpPr>
          <a:xfrm>
            <a:off x="10723783" y="2966054"/>
            <a:ext cx="1609635" cy="4053786"/>
            <a:chOff x="10307524" y="2851397"/>
            <a:chExt cx="1547412" cy="3897080"/>
          </a:xfrm>
        </p:grpSpPr>
        <p:grpSp>
          <p:nvGrpSpPr>
            <p:cNvPr id="81" name="组合 80">
              <a:extLst>
                <a:ext uri="{FF2B5EF4-FFF2-40B4-BE49-F238E27FC236}">
                  <a16:creationId xmlns:a16="http://schemas.microsoft.com/office/drawing/2014/main" id="{97E66B0C-8816-446B-A0C5-6F1962930ECD}"/>
                </a:ext>
              </a:extLst>
            </p:cNvPr>
            <p:cNvGrpSpPr/>
            <p:nvPr/>
          </p:nvGrpSpPr>
          <p:grpSpPr>
            <a:xfrm>
              <a:off x="10420477" y="2851397"/>
              <a:ext cx="1434459" cy="2301934"/>
              <a:chOff x="10579599" y="2434916"/>
              <a:chExt cx="1601596" cy="2690043"/>
            </a:xfrm>
          </p:grpSpPr>
          <p:sp>
            <p:nvSpPr>
              <p:cNvPr id="83" name="TextBox 427">
                <a:extLst>
                  <a:ext uri="{FF2B5EF4-FFF2-40B4-BE49-F238E27FC236}">
                    <a16:creationId xmlns:a16="http://schemas.microsoft.com/office/drawing/2014/main" id="{EC078E24-EF77-48C6-8206-2179AB1C0E29}"/>
                  </a:ext>
                </a:extLst>
              </p:cNvPr>
              <p:cNvSpPr txBox="1"/>
              <p:nvPr/>
            </p:nvSpPr>
            <p:spPr>
              <a:xfrm>
                <a:off x="11029656" y="2434916"/>
                <a:ext cx="1151539" cy="2690043"/>
              </a:xfrm>
              <a:prstGeom prst="rect">
                <a:avLst/>
              </a:prstGeom>
              <a:noFill/>
              <a:ln>
                <a:noFill/>
              </a:ln>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0366">
                  <a:lnSpc>
                    <a:spcPct val="150000"/>
                  </a:lnSpc>
                  <a:defRPr/>
                </a:pPr>
                <a:r>
                  <a:rPr lang="en-US" altLang="zh-CN" sz="1424" dirty="0">
                    <a:solidFill>
                      <a:srgbClr val="FFFFFF"/>
                    </a:solidFill>
                    <a:latin typeface="Segoe UI"/>
                    <a:ea typeface="宋体" panose="02010600030101010101" pitchFamily="2" charset="-122"/>
                  </a:rPr>
                  <a:t>ERP/CRM</a:t>
                </a:r>
              </a:p>
              <a:p>
                <a:pPr defTabSz="950366">
                  <a:lnSpc>
                    <a:spcPct val="150000"/>
                  </a:lnSpc>
                  <a:defRPr/>
                </a:pPr>
                <a:r>
                  <a:rPr lang="zh-CN" altLang="en-US" sz="1424" dirty="0">
                    <a:solidFill>
                      <a:srgbClr val="FFFFFF"/>
                    </a:solidFill>
                    <a:latin typeface="Segoe UI"/>
                    <a:ea typeface="宋体" panose="02010600030101010101" pitchFamily="2" charset="-122"/>
                  </a:rPr>
                  <a:t>告警通知</a:t>
                </a:r>
                <a:endParaRPr lang="en-US" altLang="zh-CN" sz="1424" dirty="0">
                  <a:solidFill>
                    <a:srgbClr val="FFFFFF"/>
                  </a:solidFill>
                  <a:latin typeface="Segoe UI"/>
                  <a:ea typeface="宋体" panose="02010600030101010101" pitchFamily="2" charset="-122"/>
                </a:endParaRPr>
              </a:p>
              <a:p>
                <a:pPr defTabSz="950366">
                  <a:lnSpc>
                    <a:spcPct val="150000"/>
                  </a:lnSpc>
                  <a:defRPr/>
                </a:pPr>
                <a:r>
                  <a:rPr lang="zh-CN" altLang="en-US" sz="1424" dirty="0">
                    <a:solidFill>
                      <a:srgbClr val="FFFFFF"/>
                    </a:solidFill>
                    <a:latin typeface="Segoe UI"/>
                    <a:ea typeface="宋体" panose="02010600030101010101" pitchFamily="2" charset="-122"/>
                  </a:rPr>
                  <a:t>状态监控</a:t>
                </a:r>
                <a:endParaRPr lang="en-US" altLang="zh-CN" sz="1424" dirty="0">
                  <a:solidFill>
                    <a:srgbClr val="FFFFFF"/>
                  </a:solidFill>
                  <a:latin typeface="Segoe UI"/>
                  <a:ea typeface="宋体" panose="02010600030101010101" pitchFamily="2" charset="-122"/>
                </a:endParaRPr>
              </a:p>
              <a:p>
                <a:pPr defTabSz="950366">
                  <a:lnSpc>
                    <a:spcPct val="150000"/>
                  </a:lnSpc>
                  <a:defRPr/>
                </a:pPr>
                <a:r>
                  <a:rPr lang="zh-CN" altLang="en-US" sz="1424" dirty="0">
                    <a:solidFill>
                      <a:srgbClr val="FFFFFF"/>
                    </a:solidFill>
                    <a:latin typeface="Segoe UI"/>
                    <a:ea typeface="宋体" panose="02010600030101010101" pitchFamily="2" charset="-122"/>
                  </a:rPr>
                  <a:t>资产管理</a:t>
                </a:r>
                <a:endParaRPr lang="en-US" altLang="zh-CN" sz="1424" dirty="0">
                  <a:solidFill>
                    <a:srgbClr val="FFFFFF"/>
                  </a:solidFill>
                  <a:latin typeface="Segoe UI"/>
                  <a:ea typeface="宋体" panose="02010600030101010101" pitchFamily="2" charset="-122"/>
                </a:endParaRPr>
              </a:p>
              <a:p>
                <a:pPr defTabSz="950366">
                  <a:lnSpc>
                    <a:spcPct val="150000"/>
                  </a:lnSpc>
                  <a:defRPr/>
                </a:pPr>
                <a:r>
                  <a:rPr lang="zh-CN" altLang="en-US" sz="1424" dirty="0">
                    <a:solidFill>
                      <a:srgbClr val="FFFFFF"/>
                    </a:solidFill>
                    <a:latin typeface="Segoe UI"/>
                    <a:ea typeface="宋体" panose="02010600030101010101" pitchFamily="2" charset="-122"/>
                  </a:rPr>
                  <a:t>预测维修</a:t>
                </a:r>
                <a:endParaRPr lang="en-US" altLang="zh-CN" sz="1424" dirty="0">
                  <a:solidFill>
                    <a:srgbClr val="FFFFFF"/>
                  </a:solidFill>
                  <a:latin typeface="Segoe UI"/>
                  <a:ea typeface="宋体" panose="02010600030101010101" pitchFamily="2" charset="-122"/>
                </a:endParaRPr>
              </a:p>
              <a:p>
                <a:pPr defTabSz="950366">
                  <a:lnSpc>
                    <a:spcPct val="150000"/>
                  </a:lnSpc>
                  <a:defRPr/>
                </a:pPr>
                <a:r>
                  <a:rPr lang="zh-CN" altLang="en-US" sz="1424" dirty="0">
                    <a:solidFill>
                      <a:srgbClr val="FFFFFF"/>
                    </a:solidFill>
                    <a:latin typeface="Segoe UI"/>
                    <a:ea typeface="宋体" panose="02010600030101010101" pitchFamily="2" charset="-122"/>
                  </a:rPr>
                  <a:t>业务优化</a:t>
                </a:r>
                <a:endParaRPr lang="en-US" altLang="zh-CN" sz="1424" dirty="0">
                  <a:solidFill>
                    <a:srgbClr val="FFFFFF"/>
                  </a:solidFill>
                  <a:latin typeface="Segoe UI"/>
                  <a:ea typeface="宋体" panose="02010600030101010101" pitchFamily="2" charset="-122"/>
                </a:endParaRPr>
              </a:p>
              <a:p>
                <a:pPr defTabSz="950366">
                  <a:lnSpc>
                    <a:spcPct val="150000"/>
                  </a:lnSpc>
                  <a:defRPr/>
                </a:pPr>
                <a:r>
                  <a:rPr lang="zh-CN" altLang="en-US" sz="1424" dirty="0">
                    <a:solidFill>
                      <a:srgbClr val="FFFFFF"/>
                    </a:solidFill>
                    <a:latin typeface="Segoe UI"/>
                    <a:ea typeface="宋体" panose="02010600030101010101" pitchFamily="2" charset="-122"/>
                  </a:rPr>
                  <a:t>领导决策</a:t>
                </a:r>
                <a:endParaRPr lang="en-US" altLang="zh-CN" sz="1424" dirty="0">
                  <a:solidFill>
                    <a:srgbClr val="FFFFFF"/>
                  </a:solidFill>
                  <a:latin typeface="Segoe UI"/>
                  <a:ea typeface="宋体" panose="02010600030101010101" pitchFamily="2" charset="-122"/>
                </a:endParaRPr>
              </a:p>
            </p:txBody>
          </p:sp>
          <p:sp>
            <p:nvSpPr>
              <p:cNvPr id="84" name="Freeform 95">
                <a:extLst>
                  <a:ext uri="{FF2B5EF4-FFF2-40B4-BE49-F238E27FC236}">
                    <a16:creationId xmlns:a16="http://schemas.microsoft.com/office/drawing/2014/main" id="{B00851E9-3C29-495D-B9E8-D52B065D123F}"/>
                  </a:ext>
                </a:extLst>
              </p:cNvPr>
              <p:cNvSpPr>
                <a:spLocks noEditPoints="1"/>
              </p:cNvSpPr>
              <p:nvPr/>
            </p:nvSpPr>
            <p:spPr bwMode="auto">
              <a:xfrm>
                <a:off x="10601917" y="3226264"/>
                <a:ext cx="333657" cy="215574"/>
              </a:xfrm>
              <a:custGeom>
                <a:avLst/>
                <a:gdLst>
                  <a:gd name="T0" fmla="*/ 42 w 263"/>
                  <a:gd name="T1" fmla="*/ 147 h 209"/>
                  <a:gd name="T2" fmla="*/ 37 w 263"/>
                  <a:gd name="T3" fmla="*/ 209 h 209"/>
                  <a:gd name="T4" fmla="*/ 6 w 263"/>
                  <a:gd name="T5" fmla="*/ 204 h 209"/>
                  <a:gd name="T6" fmla="*/ 16 w 263"/>
                  <a:gd name="T7" fmla="*/ 158 h 209"/>
                  <a:gd name="T8" fmla="*/ 33 w 263"/>
                  <a:gd name="T9" fmla="*/ 158 h 209"/>
                  <a:gd name="T10" fmla="*/ 58 w 263"/>
                  <a:gd name="T11" fmla="*/ 209 h 209"/>
                  <a:gd name="T12" fmla="*/ 89 w 263"/>
                  <a:gd name="T13" fmla="*/ 204 h 209"/>
                  <a:gd name="T14" fmla="*/ 53 w 263"/>
                  <a:gd name="T15" fmla="*/ 135 h 209"/>
                  <a:gd name="T16" fmla="*/ 100 w 263"/>
                  <a:gd name="T17" fmla="*/ 204 h 209"/>
                  <a:gd name="T18" fmla="*/ 131 w 263"/>
                  <a:gd name="T19" fmla="*/ 209 h 209"/>
                  <a:gd name="T20" fmla="*/ 136 w 263"/>
                  <a:gd name="T21" fmla="*/ 111 h 209"/>
                  <a:gd name="T22" fmla="*/ 100 w 263"/>
                  <a:gd name="T23" fmla="*/ 204 h 209"/>
                  <a:gd name="T24" fmla="*/ 155 w 263"/>
                  <a:gd name="T25" fmla="*/ 122 h 209"/>
                  <a:gd name="T26" fmla="*/ 146 w 263"/>
                  <a:gd name="T27" fmla="*/ 204 h 209"/>
                  <a:gd name="T28" fmla="*/ 178 w 263"/>
                  <a:gd name="T29" fmla="*/ 209 h 209"/>
                  <a:gd name="T30" fmla="*/ 182 w 263"/>
                  <a:gd name="T31" fmla="*/ 110 h 209"/>
                  <a:gd name="T32" fmla="*/ 162 w 263"/>
                  <a:gd name="T33" fmla="*/ 124 h 209"/>
                  <a:gd name="T34" fmla="*/ 193 w 263"/>
                  <a:gd name="T35" fmla="*/ 204 h 209"/>
                  <a:gd name="T36" fmla="*/ 224 w 263"/>
                  <a:gd name="T37" fmla="*/ 209 h 209"/>
                  <a:gd name="T38" fmla="*/ 229 w 263"/>
                  <a:gd name="T39" fmla="*/ 66 h 209"/>
                  <a:gd name="T40" fmla="*/ 193 w 263"/>
                  <a:gd name="T41" fmla="*/ 99 h 209"/>
                  <a:gd name="T42" fmla="*/ 259 w 263"/>
                  <a:gd name="T43" fmla="*/ 0 h 209"/>
                  <a:gd name="T44" fmla="*/ 182 w 263"/>
                  <a:gd name="T45" fmla="*/ 9 h 209"/>
                  <a:gd name="T46" fmla="*/ 203 w 263"/>
                  <a:gd name="T47" fmla="*/ 37 h 209"/>
                  <a:gd name="T48" fmla="*/ 165 w 263"/>
                  <a:gd name="T49" fmla="*/ 76 h 209"/>
                  <a:gd name="T50" fmla="*/ 100 w 263"/>
                  <a:gd name="T51" fmla="*/ 18 h 209"/>
                  <a:gd name="T52" fmla="*/ 93 w 263"/>
                  <a:gd name="T53" fmla="*/ 18 h 209"/>
                  <a:gd name="T54" fmla="*/ 2 w 263"/>
                  <a:gd name="T55" fmla="*/ 135 h 209"/>
                  <a:gd name="T56" fmla="*/ 24 w 263"/>
                  <a:gd name="T57" fmla="*/ 155 h 209"/>
                  <a:gd name="T58" fmla="*/ 91 w 263"/>
                  <a:gd name="T59" fmla="*/ 82 h 209"/>
                  <a:gd name="T60" fmla="*/ 99 w 263"/>
                  <a:gd name="T61" fmla="*/ 80 h 209"/>
                  <a:gd name="T62" fmla="*/ 162 w 263"/>
                  <a:gd name="T63" fmla="*/ 117 h 209"/>
                  <a:gd name="T64" fmla="*/ 225 w 263"/>
                  <a:gd name="T65" fmla="*/ 59 h 209"/>
                  <a:gd name="T66" fmla="*/ 232 w 263"/>
                  <a:gd name="T67" fmla="*/ 59 h 209"/>
                  <a:gd name="T68" fmla="*/ 257 w 263"/>
                  <a:gd name="T69" fmla="*/ 84 h 209"/>
                  <a:gd name="T70" fmla="*/ 263 w 263"/>
                  <a:gd name="T71" fmla="*/ 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3" h="209">
                    <a:moveTo>
                      <a:pt x="33" y="158"/>
                    </a:moveTo>
                    <a:cubicBezTo>
                      <a:pt x="42" y="147"/>
                      <a:pt x="42" y="147"/>
                      <a:pt x="42" y="147"/>
                    </a:cubicBezTo>
                    <a:cubicBezTo>
                      <a:pt x="42" y="204"/>
                      <a:pt x="42" y="204"/>
                      <a:pt x="42" y="204"/>
                    </a:cubicBezTo>
                    <a:cubicBezTo>
                      <a:pt x="42" y="207"/>
                      <a:pt x="40" y="209"/>
                      <a:pt x="37" y="209"/>
                    </a:cubicBezTo>
                    <a:cubicBezTo>
                      <a:pt x="11" y="209"/>
                      <a:pt x="11" y="209"/>
                      <a:pt x="11" y="209"/>
                    </a:cubicBezTo>
                    <a:cubicBezTo>
                      <a:pt x="9" y="209"/>
                      <a:pt x="6" y="207"/>
                      <a:pt x="6" y="204"/>
                    </a:cubicBezTo>
                    <a:cubicBezTo>
                      <a:pt x="6" y="148"/>
                      <a:pt x="6" y="148"/>
                      <a:pt x="6" y="148"/>
                    </a:cubicBezTo>
                    <a:cubicBezTo>
                      <a:pt x="16" y="158"/>
                      <a:pt x="16" y="158"/>
                      <a:pt x="16" y="158"/>
                    </a:cubicBezTo>
                    <a:cubicBezTo>
                      <a:pt x="18" y="160"/>
                      <a:pt x="21" y="162"/>
                      <a:pt x="24" y="162"/>
                    </a:cubicBezTo>
                    <a:cubicBezTo>
                      <a:pt x="27" y="162"/>
                      <a:pt x="31" y="160"/>
                      <a:pt x="33" y="158"/>
                    </a:cubicBezTo>
                    <a:close/>
                    <a:moveTo>
                      <a:pt x="53" y="204"/>
                    </a:moveTo>
                    <a:cubicBezTo>
                      <a:pt x="53" y="207"/>
                      <a:pt x="55" y="209"/>
                      <a:pt x="58" y="209"/>
                    </a:cubicBezTo>
                    <a:cubicBezTo>
                      <a:pt x="84" y="209"/>
                      <a:pt x="84" y="209"/>
                      <a:pt x="84" y="209"/>
                    </a:cubicBezTo>
                    <a:cubicBezTo>
                      <a:pt x="87" y="209"/>
                      <a:pt x="89" y="207"/>
                      <a:pt x="89" y="204"/>
                    </a:cubicBezTo>
                    <a:cubicBezTo>
                      <a:pt x="89" y="95"/>
                      <a:pt x="89" y="95"/>
                      <a:pt x="89" y="95"/>
                    </a:cubicBezTo>
                    <a:cubicBezTo>
                      <a:pt x="53" y="135"/>
                      <a:pt x="53" y="135"/>
                      <a:pt x="53" y="135"/>
                    </a:cubicBezTo>
                    <a:lnTo>
                      <a:pt x="53" y="204"/>
                    </a:lnTo>
                    <a:close/>
                    <a:moveTo>
                      <a:pt x="100" y="204"/>
                    </a:moveTo>
                    <a:cubicBezTo>
                      <a:pt x="100" y="207"/>
                      <a:pt x="102" y="209"/>
                      <a:pt x="105" y="209"/>
                    </a:cubicBezTo>
                    <a:cubicBezTo>
                      <a:pt x="131" y="209"/>
                      <a:pt x="131" y="209"/>
                      <a:pt x="131" y="209"/>
                    </a:cubicBezTo>
                    <a:cubicBezTo>
                      <a:pt x="134" y="209"/>
                      <a:pt x="136" y="207"/>
                      <a:pt x="136" y="204"/>
                    </a:cubicBezTo>
                    <a:cubicBezTo>
                      <a:pt x="136" y="111"/>
                      <a:pt x="136" y="111"/>
                      <a:pt x="136" y="111"/>
                    </a:cubicBezTo>
                    <a:cubicBezTo>
                      <a:pt x="100" y="89"/>
                      <a:pt x="100" y="89"/>
                      <a:pt x="100" y="89"/>
                    </a:cubicBezTo>
                    <a:lnTo>
                      <a:pt x="100" y="204"/>
                    </a:lnTo>
                    <a:close/>
                    <a:moveTo>
                      <a:pt x="162" y="124"/>
                    </a:moveTo>
                    <a:cubicBezTo>
                      <a:pt x="160" y="124"/>
                      <a:pt x="157" y="124"/>
                      <a:pt x="155" y="122"/>
                    </a:cubicBezTo>
                    <a:cubicBezTo>
                      <a:pt x="146" y="117"/>
                      <a:pt x="146" y="117"/>
                      <a:pt x="146" y="117"/>
                    </a:cubicBezTo>
                    <a:cubicBezTo>
                      <a:pt x="146" y="204"/>
                      <a:pt x="146" y="204"/>
                      <a:pt x="146" y="204"/>
                    </a:cubicBezTo>
                    <a:cubicBezTo>
                      <a:pt x="146" y="207"/>
                      <a:pt x="149" y="209"/>
                      <a:pt x="151" y="209"/>
                    </a:cubicBezTo>
                    <a:cubicBezTo>
                      <a:pt x="178" y="209"/>
                      <a:pt x="178" y="209"/>
                      <a:pt x="178" y="209"/>
                    </a:cubicBezTo>
                    <a:cubicBezTo>
                      <a:pt x="180" y="209"/>
                      <a:pt x="182" y="207"/>
                      <a:pt x="182" y="204"/>
                    </a:cubicBezTo>
                    <a:cubicBezTo>
                      <a:pt x="182" y="110"/>
                      <a:pt x="182" y="110"/>
                      <a:pt x="182" y="110"/>
                    </a:cubicBezTo>
                    <a:cubicBezTo>
                      <a:pt x="172" y="121"/>
                      <a:pt x="172" y="121"/>
                      <a:pt x="172" y="121"/>
                    </a:cubicBezTo>
                    <a:cubicBezTo>
                      <a:pt x="169" y="123"/>
                      <a:pt x="166" y="124"/>
                      <a:pt x="162" y="124"/>
                    </a:cubicBezTo>
                    <a:close/>
                    <a:moveTo>
                      <a:pt x="193" y="99"/>
                    </a:moveTo>
                    <a:cubicBezTo>
                      <a:pt x="193" y="204"/>
                      <a:pt x="193" y="204"/>
                      <a:pt x="193" y="204"/>
                    </a:cubicBezTo>
                    <a:cubicBezTo>
                      <a:pt x="193" y="207"/>
                      <a:pt x="195" y="209"/>
                      <a:pt x="198" y="209"/>
                    </a:cubicBezTo>
                    <a:cubicBezTo>
                      <a:pt x="224" y="209"/>
                      <a:pt x="224" y="209"/>
                      <a:pt x="224" y="209"/>
                    </a:cubicBezTo>
                    <a:cubicBezTo>
                      <a:pt x="227" y="209"/>
                      <a:pt x="229" y="207"/>
                      <a:pt x="229" y="204"/>
                    </a:cubicBezTo>
                    <a:cubicBezTo>
                      <a:pt x="229" y="66"/>
                      <a:pt x="229" y="66"/>
                      <a:pt x="229" y="66"/>
                    </a:cubicBezTo>
                    <a:cubicBezTo>
                      <a:pt x="228" y="65"/>
                      <a:pt x="228" y="65"/>
                      <a:pt x="228" y="65"/>
                    </a:cubicBezTo>
                    <a:lnTo>
                      <a:pt x="193" y="99"/>
                    </a:lnTo>
                    <a:close/>
                    <a:moveTo>
                      <a:pt x="259" y="0"/>
                    </a:moveTo>
                    <a:cubicBezTo>
                      <a:pt x="259" y="0"/>
                      <a:pt x="259" y="0"/>
                      <a:pt x="259" y="0"/>
                    </a:cubicBezTo>
                    <a:cubicBezTo>
                      <a:pt x="184" y="6"/>
                      <a:pt x="184" y="6"/>
                      <a:pt x="184" y="6"/>
                    </a:cubicBezTo>
                    <a:cubicBezTo>
                      <a:pt x="181" y="6"/>
                      <a:pt x="180" y="8"/>
                      <a:pt x="182" y="9"/>
                    </a:cubicBezTo>
                    <a:cubicBezTo>
                      <a:pt x="203" y="30"/>
                      <a:pt x="203" y="30"/>
                      <a:pt x="203" y="30"/>
                    </a:cubicBezTo>
                    <a:cubicBezTo>
                      <a:pt x="205" y="32"/>
                      <a:pt x="205" y="35"/>
                      <a:pt x="203" y="37"/>
                    </a:cubicBezTo>
                    <a:cubicBezTo>
                      <a:pt x="168" y="74"/>
                      <a:pt x="168" y="74"/>
                      <a:pt x="168" y="74"/>
                    </a:cubicBezTo>
                    <a:cubicBezTo>
                      <a:pt x="167" y="75"/>
                      <a:pt x="166" y="76"/>
                      <a:pt x="165" y="76"/>
                    </a:cubicBezTo>
                    <a:cubicBezTo>
                      <a:pt x="163" y="76"/>
                      <a:pt x="162" y="75"/>
                      <a:pt x="161" y="75"/>
                    </a:cubicBezTo>
                    <a:cubicBezTo>
                      <a:pt x="100" y="18"/>
                      <a:pt x="100" y="18"/>
                      <a:pt x="100" y="18"/>
                    </a:cubicBezTo>
                    <a:cubicBezTo>
                      <a:pt x="99" y="17"/>
                      <a:pt x="98" y="17"/>
                      <a:pt x="97" y="17"/>
                    </a:cubicBezTo>
                    <a:cubicBezTo>
                      <a:pt x="95" y="17"/>
                      <a:pt x="94" y="17"/>
                      <a:pt x="93" y="18"/>
                    </a:cubicBezTo>
                    <a:cubicBezTo>
                      <a:pt x="2" y="127"/>
                      <a:pt x="2" y="127"/>
                      <a:pt x="2" y="127"/>
                    </a:cubicBezTo>
                    <a:cubicBezTo>
                      <a:pt x="0" y="129"/>
                      <a:pt x="0" y="133"/>
                      <a:pt x="2" y="135"/>
                    </a:cubicBezTo>
                    <a:cubicBezTo>
                      <a:pt x="21" y="153"/>
                      <a:pt x="21" y="153"/>
                      <a:pt x="21" y="153"/>
                    </a:cubicBezTo>
                    <a:cubicBezTo>
                      <a:pt x="22" y="154"/>
                      <a:pt x="23" y="155"/>
                      <a:pt x="24" y="155"/>
                    </a:cubicBezTo>
                    <a:cubicBezTo>
                      <a:pt x="25" y="155"/>
                      <a:pt x="27" y="154"/>
                      <a:pt x="28" y="153"/>
                    </a:cubicBezTo>
                    <a:cubicBezTo>
                      <a:pt x="91" y="82"/>
                      <a:pt x="91" y="82"/>
                      <a:pt x="91" y="82"/>
                    </a:cubicBezTo>
                    <a:cubicBezTo>
                      <a:pt x="92" y="80"/>
                      <a:pt x="94" y="80"/>
                      <a:pt x="96" y="80"/>
                    </a:cubicBezTo>
                    <a:cubicBezTo>
                      <a:pt x="97" y="80"/>
                      <a:pt x="98" y="80"/>
                      <a:pt x="99" y="80"/>
                    </a:cubicBezTo>
                    <a:cubicBezTo>
                      <a:pt x="159" y="117"/>
                      <a:pt x="159" y="117"/>
                      <a:pt x="159" y="117"/>
                    </a:cubicBezTo>
                    <a:cubicBezTo>
                      <a:pt x="160" y="117"/>
                      <a:pt x="161" y="117"/>
                      <a:pt x="162" y="117"/>
                    </a:cubicBezTo>
                    <a:cubicBezTo>
                      <a:pt x="164" y="117"/>
                      <a:pt x="166" y="117"/>
                      <a:pt x="167" y="116"/>
                    </a:cubicBezTo>
                    <a:cubicBezTo>
                      <a:pt x="225" y="59"/>
                      <a:pt x="225" y="59"/>
                      <a:pt x="225" y="59"/>
                    </a:cubicBezTo>
                    <a:cubicBezTo>
                      <a:pt x="226" y="58"/>
                      <a:pt x="227" y="58"/>
                      <a:pt x="228" y="58"/>
                    </a:cubicBezTo>
                    <a:cubicBezTo>
                      <a:pt x="230" y="58"/>
                      <a:pt x="231" y="58"/>
                      <a:pt x="232" y="59"/>
                    </a:cubicBezTo>
                    <a:cubicBezTo>
                      <a:pt x="255" y="83"/>
                      <a:pt x="255" y="83"/>
                      <a:pt x="255" y="83"/>
                    </a:cubicBezTo>
                    <a:cubicBezTo>
                      <a:pt x="256" y="83"/>
                      <a:pt x="257" y="84"/>
                      <a:pt x="257" y="84"/>
                    </a:cubicBezTo>
                    <a:cubicBezTo>
                      <a:pt x="258" y="84"/>
                      <a:pt x="259" y="83"/>
                      <a:pt x="259" y="81"/>
                    </a:cubicBezTo>
                    <a:cubicBezTo>
                      <a:pt x="263" y="5"/>
                      <a:pt x="263" y="5"/>
                      <a:pt x="263" y="5"/>
                    </a:cubicBezTo>
                    <a:cubicBezTo>
                      <a:pt x="263" y="2"/>
                      <a:pt x="261" y="0"/>
                      <a:pt x="259" y="0"/>
                    </a:cubicBezTo>
                    <a:close/>
                  </a:path>
                </a:pathLst>
              </a:custGeom>
              <a:solidFill>
                <a:srgbClr val="00B050"/>
              </a:solidFill>
              <a:ln>
                <a:noFill/>
              </a:ln>
            </p:spPr>
            <p:txBody>
              <a:bodyPr vert="horz" wrap="square" lIns="69883" tIns="34940" rIns="69883" bIns="34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98448">
                  <a:defRPr/>
                </a:pPr>
                <a:endParaRPr lang="en-US" sz="1118" dirty="0">
                  <a:solidFill>
                    <a:srgbClr val="FFFFFF"/>
                  </a:solidFill>
                  <a:latin typeface="Segoe UI"/>
                </a:endParaRPr>
              </a:p>
            </p:txBody>
          </p:sp>
          <p:sp>
            <p:nvSpPr>
              <p:cNvPr id="85" name="Freeform 96">
                <a:extLst>
                  <a:ext uri="{FF2B5EF4-FFF2-40B4-BE49-F238E27FC236}">
                    <a16:creationId xmlns:a16="http://schemas.microsoft.com/office/drawing/2014/main" id="{8DF102D0-48D3-4E64-A28B-6D7D1D921436}"/>
                  </a:ext>
                </a:extLst>
              </p:cNvPr>
              <p:cNvSpPr>
                <a:spLocks noEditPoints="1"/>
              </p:cNvSpPr>
              <p:nvPr/>
            </p:nvSpPr>
            <p:spPr bwMode="auto">
              <a:xfrm>
                <a:off x="10579599" y="2513715"/>
                <a:ext cx="317536" cy="255415"/>
              </a:xfrm>
              <a:custGeom>
                <a:avLst/>
                <a:gdLst>
                  <a:gd name="T0" fmla="*/ 621 w 621"/>
                  <a:gd name="T1" fmla="*/ 307 h 614"/>
                  <a:gd name="T2" fmla="*/ 621 w 621"/>
                  <a:gd name="T3" fmla="*/ 555 h 614"/>
                  <a:gd name="T4" fmla="*/ 606 w 621"/>
                  <a:gd name="T5" fmla="*/ 578 h 614"/>
                  <a:gd name="T6" fmla="*/ 505 w 621"/>
                  <a:gd name="T7" fmla="*/ 613 h 614"/>
                  <a:gd name="T8" fmla="*/ 485 w 621"/>
                  <a:gd name="T9" fmla="*/ 608 h 614"/>
                  <a:gd name="T10" fmla="*/ 353 w 621"/>
                  <a:gd name="T11" fmla="*/ 487 h 614"/>
                  <a:gd name="T12" fmla="*/ 251 w 621"/>
                  <a:gd name="T13" fmla="*/ 392 h 614"/>
                  <a:gd name="T14" fmla="*/ 214 w 621"/>
                  <a:gd name="T15" fmla="*/ 390 h 614"/>
                  <a:gd name="T16" fmla="*/ 112 w 621"/>
                  <a:gd name="T17" fmla="*/ 473 h 614"/>
                  <a:gd name="T18" fmla="*/ 78 w 621"/>
                  <a:gd name="T19" fmla="*/ 477 h 614"/>
                  <a:gd name="T20" fmla="*/ 11 w 621"/>
                  <a:gd name="T21" fmla="*/ 445 h 614"/>
                  <a:gd name="T22" fmla="*/ 1 w 621"/>
                  <a:gd name="T23" fmla="*/ 430 h 614"/>
                  <a:gd name="T24" fmla="*/ 1 w 621"/>
                  <a:gd name="T25" fmla="*/ 183 h 614"/>
                  <a:gd name="T26" fmla="*/ 9 w 621"/>
                  <a:gd name="T27" fmla="*/ 169 h 614"/>
                  <a:gd name="T28" fmla="*/ 85 w 621"/>
                  <a:gd name="T29" fmla="*/ 133 h 614"/>
                  <a:gd name="T30" fmla="*/ 105 w 621"/>
                  <a:gd name="T31" fmla="*/ 136 h 614"/>
                  <a:gd name="T32" fmla="*/ 223 w 621"/>
                  <a:gd name="T33" fmla="*/ 231 h 614"/>
                  <a:gd name="T34" fmla="*/ 237 w 621"/>
                  <a:gd name="T35" fmla="*/ 231 h 614"/>
                  <a:gd name="T36" fmla="*/ 249 w 621"/>
                  <a:gd name="T37" fmla="*/ 223 h 614"/>
                  <a:gd name="T38" fmla="*/ 372 w 621"/>
                  <a:gd name="T39" fmla="*/ 107 h 614"/>
                  <a:gd name="T40" fmla="*/ 488 w 621"/>
                  <a:gd name="T41" fmla="*/ 5 h 614"/>
                  <a:gd name="T42" fmla="*/ 509 w 621"/>
                  <a:gd name="T43" fmla="*/ 2 h 614"/>
                  <a:gd name="T44" fmla="*/ 605 w 621"/>
                  <a:gd name="T45" fmla="*/ 34 h 614"/>
                  <a:gd name="T46" fmla="*/ 621 w 621"/>
                  <a:gd name="T47" fmla="*/ 57 h 614"/>
                  <a:gd name="T48" fmla="*/ 621 w 621"/>
                  <a:gd name="T49" fmla="*/ 307 h 614"/>
                  <a:gd name="T50" fmla="*/ 327 w 621"/>
                  <a:gd name="T51" fmla="*/ 307 h 614"/>
                  <a:gd name="T52" fmla="*/ 499 w 621"/>
                  <a:gd name="T53" fmla="*/ 432 h 614"/>
                  <a:gd name="T54" fmla="*/ 499 w 621"/>
                  <a:gd name="T55" fmla="*/ 181 h 614"/>
                  <a:gd name="T56" fmla="*/ 327 w 621"/>
                  <a:gd name="T57" fmla="*/ 307 h 614"/>
                  <a:gd name="T58" fmla="*/ 93 w 621"/>
                  <a:gd name="T59" fmla="*/ 226 h 614"/>
                  <a:gd name="T60" fmla="*/ 93 w 621"/>
                  <a:gd name="T61" fmla="*/ 383 h 614"/>
                  <a:gd name="T62" fmla="*/ 173 w 621"/>
                  <a:gd name="T63" fmla="*/ 305 h 614"/>
                  <a:gd name="T64" fmla="*/ 93 w 621"/>
                  <a:gd name="T65" fmla="*/ 226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21" h="614">
                    <a:moveTo>
                      <a:pt x="621" y="307"/>
                    </a:moveTo>
                    <a:cubicBezTo>
                      <a:pt x="621" y="389"/>
                      <a:pt x="621" y="472"/>
                      <a:pt x="621" y="555"/>
                    </a:cubicBezTo>
                    <a:cubicBezTo>
                      <a:pt x="621" y="567"/>
                      <a:pt x="619" y="574"/>
                      <a:pt x="606" y="578"/>
                    </a:cubicBezTo>
                    <a:cubicBezTo>
                      <a:pt x="572" y="589"/>
                      <a:pt x="539" y="602"/>
                      <a:pt x="505" y="613"/>
                    </a:cubicBezTo>
                    <a:cubicBezTo>
                      <a:pt x="499" y="614"/>
                      <a:pt x="489" y="612"/>
                      <a:pt x="485" y="608"/>
                    </a:cubicBezTo>
                    <a:cubicBezTo>
                      <a:pt x="440" y="568"/>
                      <a:pt x="397" y="528"/>
                      <a:pt x="353" y="487"/>
                    </a:cubicBezTo>
                    <a:cubicBezTo>
                      <a:pt x="319" y="456"/>
                      <a:pt x="285" y="424"/>
                      <a:pt x="251" y="392"/>
                    </a:cubicBezTo>
                    <a:cubicBezTo>
                      <a:pt x="234" y="376"/>
                      <a:pt x="233" y="375"/>
                      <a:pt x="214" y="390"/>
                    </a:cubicBezTo>
                    <a:cubicBezTo>
                      <a:pt x="180" y="417"/>
                      <a:pt x="146" y="445"/>
                      <a:pt x="112" y="473"/>
                    </a:cubicBezTo>
                    <a:cubicBezTo>
                      <a:pt x="101" y="482"/>
                      <a:pt x="92" y="485"/>
                      <a:pt x="78" y="477"/>
                    </a:cubicBezTo>
                    <a:cubicBezTo>
                      <a:pt x="57" y="465"/>
                      <a:pt x="33" y="456"/>
                      <a:pt x="11" y="445"/>
                    </a:cubicBezTo>
                    <a:cubicBezTo>
                      <a:pt x="6" y="442"/>
                      <a:pt x="1" y="435"/>
                      <a:pt x="1" y="430"/>
                    </a:cubicBezTo>
                    <a:cubicBezTo>
                      <a:pt x="0" y="348"/>
                      <a:pt x="0" y="265"/>
                      <a:pt x="1" y="183"/>
                    </a:cubicBezTo>
                    <a:cubicBezTo>
                      <a:pt x="1" y="178"/>
                      <a:pt x="5" y="171"/>
                      <a:pt x="9" y="169"/>
                    </a:cubicBezTo>
                    <a:cubicBezTo>
                      <a:pt x="34" y="156"/>
                      <a:pt x="60" y="145"/>
                      <a:pt x="85" y="133"/>
                    </a:cubicBezTo>
                    <a:cubicBezTo>
                      <a:pt x="93" y="129"/>
                      <a:pt x="98" y="130"/>
                      <a:pt x="105" y="136"/>
                    </a:cubicBezTo>
                    <a:cubicBezTo>
                      <a:pt x="144" y="168"/>
                      <a:pt x="183" y="200"/>
                      <a:pt x="223" y="231"/>
                    </a:cubicBezTo>
                    <a:cubicBezTo>
                      <a:pt x="226" y="233"/>
                      <a:pt x="233" y="233"/>
                      <a:pt x="237" y="231"/>
                    </a:cubicBezTo>
                    <a:cubicBezTo>
                      <a:pt x="242" y="230"/>
                      <a:pt x="246" y="226"/>
                      <a:pt x="249" y="223"/>
                    </a:cubicBezTo>
                    <a:cubicBezTo>
                      <a:pt x="290" y="184"/>
                      <a:pt x="331" y="145"/>
                      <a:pt x="372" y="107"/>
                    </a:cubicBezTo>
                    <a:cubicBezTo>
                      <a:pt x="410" y="72"/>
                      <a:pt x="449" y="38"/>
                      <a:pt x="488" y="5"/>
                    </a:cubicBezTo>
                    <a:cubicBezTo>
                      <a:pt x="493" y="1"/>
                      <a:pt x="503" y="0"/>
                      <a:pt x="509" y="2"/>
                    </a:cubicBezTo>
                    <a:cubicBezTo>
                      <a:pt x="541" y="12"/>
                      <a:pt x="573" y="24"/>
                      <a:pt x="605" y="34"/>
                    </a:cubicBezTo>
                    <a:cubicBezTo>
                      <a:pt x="617" y="38"/>
                      <a:pt x="621" y="45"/>
                      <a:pt x="621" y="57"/>
                    </a:cubicBezTo>
                    <a:cubicBezTo>
                      <a:pt x="621" y="140"/>
                      <a:pt x="621" y="224"/>
                      <a:pt x="621" y="307"/>
                    </a:cubicBezTo>
                    <a:close/>
                    <a:moveTo>
                      <a:pt x="327" y="307"/>
                    </a:moveTo>
                    <a:cubicBezTo>
                      <a:pt x="386" y="350"/>
                      <a:pt x="442" y="390"/>
                      <a:pt x="499" y="432"/>
                    </a:cubicBezTo>
                    <a:cubicBezTo>
                      <a:pt x="499" y="347"/>
                      <a:pt x="499" y="265"/>
                      <a:pt x="499" y="181"/>
                    </a:cubicBezTo>
                    <a:cubicBezTo>
                      <a:pt x="441" y="223"/>
                      <a:pt x="385" y="264"/>
                      <a:pt x="327" y="307"/>
                    </a:cubicBezTo>
                    <a:close/>
                    <a:moveTo>
                      <a:pt x="93" y="226"/>
                    </a:moveTo>
                    <a:cubicBezTo>
                      <a:pt x="93" y="280"/>
                      <a:pt x="93" y="333"/>
                      <a:pt x="93" y="383"/>
                    </a:cubicBezTo>
                    <a:cubicBezTo>
                      <a:pt x="119" y="358"/>
                      <a:pt x="146" y="332"/>
                      <a:pt x="173" y="305"/>
                    </a:cubicBezTo>
                    <a:cubicBezTo>
                      <a:pt x="147" y="280"/>
                      <a:pt x="120" y="253"/>
                      <a:pt x="93" y="226"/>
                    </a:cubicBezTo>
                    <a:close/>
                  </a:path>
                </a:pathLst>
              </a:custGeom>
              <a:solidFill>
                <a:srgbClr val="00B050"/>
              </a:solidFill>
              <a:ln>
                <a:noFill/>
              </a:ln>
            </p:spPr>
            <p:txBody>
              <a:bodyPr vert="horz" wrap="square" lIns="69883" tIns="34940" rIns="69883" bIns="34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0366">
                  <a:defRPr/>
                </a:pPr>
                <a:endParaRPr lang="en-US" sz="1118">
                  <a:solidFill>
                    <a:srgbClr val="FFFFFF"/>
                  </a:solidFill>
                  <a:latin typeface="Segoe UI"/>
                </a:endParaRPr>
              </a:p>
            </p:txBody>
          </p:sp>
          <p:grpSp>
            <p:nvGrpSpPr>
              <p:cNvPr id="86" name="Group 97">
                <a:extLst>
                  <a:ext uri="{FF2B5EF4-FFF2-40B4-BE49-F238E27FC236}">
                    <a16:creationId xmlns:a16="http://schemas.microsoft.com/office/drawing/2014/main" id="{12856CB7-F5F0-4E64-84EF-1542A4202DF6}"/>
                  </a:ext>
                </a:extLst>
              </p:cNvPr>
              <p:cNvGrpSpPr/>
              <p:nvPr/>
            </p:nvGrpSpPr>
            <p:grpSpPr>
              <a:xfrm>
                <a:off x="10594164" y="2785672"/>
                <a:ext cx="330630" cy="310192"/>
                <a:chOff x="11124721" y="5444983"/>
                <a:chExt cx="731779" cy="843093"/>
              </a:xfrm>
              <a:solidFill>
                <a:schemeClr val="bg1">
                  <a:lumMod val="40000"/>
                  <a:lumOff val="60000"/>
                </a:schemeClr>
              </a:solidFill>
            </p:grpSpPr>
            <p:sp>
              <p:nvSpPr>
                <p:cNvPr id="91" name="Freeform 102">
                  <a:extLst>
                    <a:ext uri="{FF2B5EF4-FFF2-40B4-BE49-F238E27FC236}">
                      <a16:creationId xmlns:a16="http://schemas.microsoft.com/office/drawing/2014/main" id="{648B2540-7EB7-49FD-A884-B786C651091C}"/>
                    </a:ext>
                  </a:extLst>
                </p:cNvPr>
                <p:cNvSpPr>
                  <a:spLocks noEditPoints="1"/>
                </p:cNvSpPr>
                <p:nvPr/>
              </p:nvSpPr>
              <p:spPr bwMode="auto">
                <a:xfrm>
                  <a:off x="11124721" y="5591547"/>
                  <a:ext cx="731779" cy="696529"/>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rgbClr val="00B050"/>
                </a:solidFill>
                <a:ln>
                  <a:noFill/>
                </a:ln>
              </p:spPr>
              <p:txBody>
                <a:bodyPr vert="horz" wrap="square" lIns="69883" tIns="34940" rIns="69883" bIns="34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0366">
                    <a:defRPr/>
                  </a:pPr>
                  <a:endParaRPr lang="en-US" sz="1118" dirty="0">
                    <a:solidFill>
                      <a:srgbClr val="FFFFFF"/>
                    </a:solidFill>
                    <a:latin typeface="Segoe UI"/>
                  </a:endParaRPr>
                </a:p>
              </p:txBody>
            </p:sp>
            <p:grpSp>
              <p:nvGrpSpPr>
                <p:cNvPr id="92" name="Group 103">
                  <a:extLst>
                    <a:ext uri="{FF2B5EF4-FFF2-40B4-BE49-F238E27FC236}">
                      <a16:creationId xmlns:a16="http://schemas.microsoft.com/office/drawing/2014/main" id="{07A7FA3D-CE1D-4645-ADDD-B77B555DC843}"/>
                    </a:ext>
                  </a:extLst>
                </p:cNvPr>
                <p:cNvGrpSpPr/>
                <p:nvPr/>
              </p:nvGrpSpPr>
              <p:grpSpPr>
                <a:xfrm>
                  <a:off x="11564371" y="5444983"/>
                  <a:ext cx="114208" cy="410304"/>
                  <a:chOff x="11564371" y="5444983"/>
                  <a:chExt cx="114208" cy="410304"/>
                </a:xfrm>
                <a:grpFill/>
              </p:grpSpPr>
              <p:sp>
                <p:nvSpPr>
                  <p:cNvPr id="93" name="Freeform 104">
                    <a:extLst>
                      <a:ext uri="{FF2B5EF4-FFF2-40B4-BE49-F238E27FC236}">
                        <a16:creationId xmlns:a16="http://schemas.microsoft.com/office/drawing/2014/main" id="{AAA82FB0-633F-4BF3-9F75-865B5F8A0FEB}"/>
                      </a:ext>
                    </a:extLst>
                  </p:cNvPr>
                  <p:cNvSpPr>
                    <a:spLocks/>
                  </p:cNvSpPr>
                  <p:nvPr/>
                </p:nvSpPr>
                <p:spPr bwMode="auto">
                  <a:xfrm>
                    <a:off x="11564371" y="5444983"/>
                    <a:ext cx="114208" cy="63450"/>
                  </a:xfrm>
                  <a:custGeom>
                    <a:avLst/>
                    <a:gdLst>
                      <a:gd name="T0" fmla="*/ 0 w 334"/>
                      <a:gd name="T1" fmla="*/ 0 h 183"/>
                      <a:gd name="T2" fmla="*/ 334 w 334"/>
                      <a:gd name="T3" fmla="*/ 0 h 183"/>
                      <a:gd name="T4" fmla="*/ 334 w 334"/>
                      <a:gd name="T5" fmla="*/ 183 h 183"/>
                      <a:gd name="T6" fmla="*/ 0 w 334"/>
                      <a:gd name="T7" fmla="*/ 183 h 183"/>
                      <a:gd name="T8" fmla="*/ 0 w 334"/>
                      <a:gd name="T9" fmla="*/ 0 h 183"/>
                    </a:gdLst>
                    <a:ahLst/>
                    <a:cxnLst>
                      <a:cxn ang="0">
                        <a:pos x="T0" y="T1"/>
                      </a:cxn>
                      <a:cxn ang="0">
                        <a:pos x="T2" y="T3"/>
                      </a:cxn>
                      <a:cxn ang="0">
                        <a:pos x="T4" y="T5"/>
                      </a:cxn>
                      <a:cxn ang="0">
                        <a:pos x="T6" y="T7"/>
                      </a:cxn>
                      <a:cxn ang="0">
                        <a:pos x="T8" y="T9"/>
                      </a:cxn>
                    </a:cxnLst>
                    <a:rect l="0" t="0" r="r" b="b"/>
                    <a:pathLst>
                      <a:path w="334" h="183">
                        <a:moveTo>
                          <a:pt x="0" y="0"/>
                        </a:moveTo>
                        <a:cubicBezTo>
                          <a:pt x="111" y="0"/>
                          <a:pt x="222" y="0"/>
                          <a:pt x="334" y="0"/>
                        </a:cubicBezTo>
                        <a:cubicBezTo>
                          <a:pt x="334" y="61"/>
                          <a:pt x="334" y="122"/>
                          <a:pt x="334" y="183"/>
                        </a:cubicBezTo>
                        <a:cubicBezTo>
                          <a:pt x="222" y="183"/>
                          <a:pt x="111" y="183"/>
                          <a:pt x="0" y="183"/>
                        </a:cubicBezTo>
                        <a:cubicBezTo>
                          <a:pt x="0" y="122"/>
                          <a:pt x="0" y="61"/>
                          <a:pt x="0" y="0"/>
                        </a:cubicBezTo>
                        <a:close/>
                      </a:path>
                    </a:pathLst>
                  </a:custGeom>
                  <a:grpFill/>
                  <a:ln>
                    <a:noFill/>
                  </a:ln>
                </p:spPr>
                <p:txBody>
                  <a:bodyPr vert="horz" wrap="square" lIns="69883" tIns="34940" rIns="69883" bIns="34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0366">
                      <a:defRPr/>
                    </a:pPr>
                    <a:endParaRPr lang="en-US" sz="1118">
                      <a:solidFill>
                        <a:srgbClr val="FFFFFF"/>
                      </a:solidFill>
                      <a:latin typeface="Segoe UI"/>
                    </a:endParaRPr>
                  </a:p>
                </p:txBody>
              </p:sp>
              <p:sp>
                <p:nvSpPr>
                  <p:cNvPr id="94" name="Freeform 105">
                    <a:extLst>
                      <a:ext uri="{FF2B5EF4-FFF2-40B4-BE49-F238E27FC236}">
                        <a16:creationId xmlns:a16="http://schemas.microsoft.com/office/drawing/2014/main" id="{CAD33F9A-444C-4CC5-AA97-934324E4CF63}"/>
                      </a:ext>
                    </a:extLst>
                  </p:cNvPr>
                  <p:cNvSpPr>
                    <a:spLocks/>
                  </p:cNvSpPr>
                  <p:nvPr/>
                </p:nvSpPr>
                <p:spPr bwMode="auto">
                  <a:xfrm>
                    <a:off x="11564371" y="5793248"/>
                    <a:ext cx="114208" cy="62039"/>
                  </a:xfrm>
                  <a:custGeom>
                    <a:avLst/>
                    <a:gdLst>
                      <a:gd name="T0" fmla="*/ 334 w 334"/>
                      <a:gd name="T1" fmla="*/ 0 h 183"/>
                      <a:gd name="T2" fmla="*/ 334 w 334"/>
                      <a:gd name="T3" fmla="*/ 183 h 183"/>
                      <a:gd name="T4" fmla="*/ 0 w 334"/>
                      <a:gd name="T5" fmla="*/ 183 h 183"/>
                      <a:gd name="T6" fmla="*/ 0 w 334"/>
                      <a:gd name="T7" fmla="*/ 0 h 183"/>
                      <a:gd name="T8" fmla="*/ 334 w 334"/>
                      <a:gd name="T9" fmla="*/ 0 h 183"/>
                    </a:gdLst>
                    <a:ahLst/>
                    <a:cxnLst>
                      <a:cxn ang="0">
                        <a:pos x="T0" y="T1"/>
                      </a:cxn>
                      <a:cxn ang="0">
                        <a:pos x="T2" y="T3"/>
                      </a:cxn>
                      <a:cxn ang="0">
                        <a:pos x="T4" y="T5"/>
                      </a:cxn>
                      <a:cxn ang="0">
                        <a:pos x="T6" y="T7"/>
                      </a:cxn>
                      <a:cxn ang="0">
                        <a:pos x="T8" y="T9"/>
                      </a:cxn>
                    </a:cxnLst>
                    <a:rect l="0" t="0" r="r" b="b"/>
                    <a:pathLst>
                      <a:path w="334" h="183">
                        <a:moveTo>
                          <a:pt x="334" y="0"/>
                        </a:moveTo>
                        <a:cubicBezTo>
                          <a:pt x="334" y="61"/>
                          <a:pt x="334" y="122"/>
                          <a:pt x="334" y="183"/>
                        </a:cubicBezTo>
                        <a:cubicBezTo>
                          <a:pt x="222" y="183"/>
                          <a:pt x="111" y="183"/>
                          <a:pt x="0" y="183"/>
                        </a:cubicBezTo>
                        <a:cubicBezTo>
                          <a:pt x="0" y="122"/>
                          <a:pt x="0" y="61"/>
                          <a:pt x="0" y="0"/>
                        </a:cubicBezTo>
                        <a:cubicBezTo>
                          <a:pt x="111" y="0"/>
                          <a:pt x="222" y="0"/>
                          <a:pt x="334" y="0"/>
                        </a:cubicBezTo>
                        <a:close/>
                      </a:path>
                    </a:pathLst>
                  </a:custGeom>
                  <a:grpFill/>
                  <a:ln>
                    <a:noFill/>
                  </a:ln>
                </p:spPr>
                <p:txBody>
                  <a:bodyPr vert="horz" wrap="square" lIns="69883" tIns="34940" rIns="69883" bIns="34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0366">
                      <a:defRPr/>
                    </a:pPr>
                    <a:endParaRPr lang="en-US" sz="1118">
                      <a:solidFill>
                        <a:srgbClr val="FFFFFF"/>
                      </a:solidFill>
                      <a:latin typeface="Segoe UI"/>
                    </a:endParaRPr>
                  </a:p>
                </p:txBody>
              </p:sp>
              <p:sp>
                <p:nvSpPr>
                  <p:cNvPr id="95" name="Freeform 106">
                    <a:extLst>
                      <a:ext uri="{FF2B5EF4-FFF2-40B4-BE49-F238E27FC236}">
                        <a16:creationId xmlns:a16="http://schemas.microsoft.com/office/drawing/2014/main" id="{3F51C8B7-87E0-4A1A-BDF7-B4BE93C6D453}"/>
                      </a:ext>
                    </a:extLst>
                  </p:cNvPr>
                  <p:cNvSpPr>
                    <a:spLocks/>
                  </p:cNvSpPr>
                  <p:nvPr/>
                </p:nvSpPr>
                <p:spPr bwMode="auto">
                  <a:xfrm>
                    <a:off x="11564371" y="5621230"/>
                    <a:ext cx="114208" cy="62039"/>
                  </a:xfrm>
                  <a:custGeom>
                    <a:avLst/>
                    <a:gdLst>
                      <a:gd name="T0" fmla="*/ 0 w 335"/>
                      <a:gd name="T1" fmla="*/ 0 h 184"/>
                      <a:gd name="T2" fmla="*/ 335 w 335"/>
                      <a:gd name="T3" fmla="*/ 0 h 184"/>
                      <a:gd name="T4" fmla="*/ 335 w 335"/>
                      <a:gd name="T5" fmla="*/ 184 h 184"/>
                      <a:gd name="T6" fmla="*/ 0 w 335"/>
                      <a:gd name="T7" fmla="*/ 184 h 184"/>
                      <a:gd name="T8" fmla="*/ 0 w 335"/>
                      <a:gd name="T9" fmla="*/ 0 h 184"/>
                    </a:gdLst>
                    <a:ahLst/>
                    <a:cxnLst>
                      <a:cxn ang="0">
                        <a:pos x="T0" y="T1"/>
                      </a:cxn>
                      <a:cxn ang="0">
                        <a:pos x="T2" y="T3"/>
                      </a:cxn>
                      <a:cxn ang="0">
                        <a:pos x="T4" y="T5"/>
                      </a:cxn>
                      <a:cxn ang="0">
                        <a:pos x="T6" y="T7"/>
                      </a:cxn>
                      <a:cxn ang="0">
                        <a:pos x="T8" y="T9"/>
                      </a:cxn>
                    </a:cxnLst>
                    <a:rect l="0" t="0" r="r" b="b"/>
                    <a:pathLst>
                      <a:path w="335" h="184">
                        <a:moveTo>
                          <a:pt x="0" y="0"/>
                        </a:moveTo>
                        <a:cubicBezTo>
                          <a:pt x="112" y="0"/>
                          <a:pt x="223" y="0"/>
                          <a:pt x="335" y="0"/>
                        </a:cubicBezTo>
                        <a:cubicBezTo>
                          <a:pt x="335" y="61"/>
                          <a:pt x="335" y="122"/>
                          <a:pt x="335" y="184"/>
                        </a:cubicBezTo>
                        <a:cubicBezTo>
                          <a:pt x="223" y="184"/>
                          <a:pt x="112" y="184"/>
                          <a:pt x="0" y="184"/>
                        </a:cubicBezTo>
                        <a:cubicBezTo>
                          <a:pt x="0" y="122"/>
                          <a:pt x="0" y="62"/>
                          <a:pt x="0" y="0"/>
                        </a:cubicBezTo>
                        <a:close/>
                      </a:path>
                    </a:pathLst>
                  </a:custGeom>
                  <a:grpFill/>
                  <a:ln>
                    <a:noFill/>
                  </a:ln>
                </p:spPr>
                <p:txBody>
                  <a:bodyPr vert="horz" wrap="square" lIns="69883" tIns="34940" rIns="69883" bIns="34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0366">
                      <a:defRPr/>
                    </a:pPr>
                    <a:endParaRPr lang="en-US" sz="1118">
                      <a:solidFill>
                        <a:srgbClr val="FFFFFF"/>
                      </a:solidFill>
                      <a:latin typeface="Segoe UI"/>
                    </a:endParaRPr>
                  </a:p>
                </p:txBody>
              </p:sp>
              <p:sp>
                <p:nvSpPr>
                  <p:cNvPr id="96" name="Freeform 107">
                    <a:extLst>
                      <a:ext uri="{FF2B5EF4-FFF2-40B4-BE49-F238E27FC236}">
                        <a16:creationId xmlns:a16="http://schemas.microsoft.com/office/drawing/2014/main" id="{A4CE53B2-2301-46A5-A07B-5E3BA6245EA0}"/>
                      </a:ext>
                    </a:extLst>
                  </p:cNvPr>
                  <p:cNvSpPr>
                    <a:spLocks/>
                  </p:cNvSpPr>
                  <p:nvPr/>
                </p:nvSpPr>
                <p:spPr bwMode="auto">
                  <a:xfrm>
                    <a:off x="11564371" y="5532402"/>
                    <a:ext cx="114208" cy="63450"/>
                  </a:xfrm>
                  <a:custGeom>
                    <a:avLst/>
                    <a:gdLst>
                      <a:gd name="T0" fmla="*/ 334 w 334"/>
                      <a:gd name="T1" fmla="*/ 183 h 183"/>
                      <a:gd name="T2" fmla="*/ 0 w 334"/>
                      <a:gd name="T3" fmla="*/ 183 h 183"/>
                      <a:gd name="T4" fmla="*/ 0 w 334"/>
                      <a:gd name="T5" fmla="*/ 0 h 183"/>
                      <a:gd name="T6" fmla="*/ 334 w 334"/>
                      <a:gd name="T7" fmla="*/ 0 h 183"/>
                      <a:gd name="T8" fmla="*/ 334 w 334"/>
                      <a:gd name="T9" fmla="*/ 183 h 183"/>
                    </a:gdLst>
                    <a:ahLst/>
                    <a:cxnLst>
                      <a:cxn ang="0">
                        <a:pos x="T0" y="T1"/>
                      </a:cxn>
                      <a:cxn ang="0">
                        <a:pos x="T2" y="T3"/>
                      </a:cxn>
                      <a:cxn ang="0">
                        <a:pos x="T4" y="T5"/>
                      </a:cxn>
                      <a:cxn ang="0">
                        <a:pos x="T6" y="T7"/>
                      </a:cxn>
                      <a:cxn ang="0">
                        <a:pos x="T8" y="T9"/>
                      </a:cxn>
                    </a:cxnLst>
                    <a:rect l="0" t="0" r="r" b="b"/>
                    <a:pathLst>
                      <a:path w="334" h="183">
                        <a:moveTo>
                          <a:pt x="334" y="183"/>
                        </a:moveTo>
                        <a:cubicBezTo>
                          <a:pt x="222" y="183"/>
                          <a:pt x="111" y="183"/>
                          <a:pt x="0" y="183"/>
                        </a:cubicBezTo>
                        <a:cubicBezTo>
                          <a:pt x="0" y="122"/>
                          <a:pt x="0" y="61"/>
                          <a:pt x="0" y="0"/>
                        </a:cubicBezTo>
                        <a:cubicBezTo>
                          <a:pt x="111" y="0"/>
                          <a:pt x="222" y="0"/>
                          <a:pt x="334" y="0"/>
                        </a:cubicBezTo>
                        <a:cubicBezTo>
                          <a:pt x="334" y="61"/>
                          <a:pt x="334" y="122"/>
                          <a:pt x="334" y="183"/>
                        </a:cubicBezTo>
                        <a:close/>
                      </a:path>
                    </a:pathLst>
                  </a:custGeom>
                  <a:grpFill/>
                  <a:ln>
                    <a:noFill/>
                  </a:ln>
                </p:spPr>
                <p:txBody>
                  <a:bodyPr vert="horz" wrap="square" lIns="69883" tIns="34940" rIns="69883" bIns="34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0366">
                      <a:defRPr/>
                    </a:pPr>
                    <a:endParaRPr lang="en-US" sz="1118">
                      <a:solidFill>
                        <a:srgbClr val="FFFFFF"/>
                      </a:solidFill>
                      <a:latin typeface="Segoe UI"/>
                    </a:endParaRPr>
                  </a:p>
                </p:txBody>
              </p:sp>
              <p:sp>
                <p:nvSpPr>
                  <p:cNvPr id="97" name="Freeform 108">
                    <a:extLst>
                      <a:ext uri="{FF2B5EF4-FFF2-40B4-BE49-F238E27FC236}">
                        <a16:creationId xmlns:a16="http://schemas.microsoft.com/office/drawing/2014/main" id="{05649E2C-516B-48D1-AAA9-0A1783F45B26}"/>
                      </a:ext>
                    </a:extLst>
                  </p:cNvPr>
                  <p:cNvSpPr>
                    <a:spLocks/>
                  </p:cNvSpPr>
                  <p:nvPr/>
                </p:nvSpPr>
                <p:spPr bwMode="auto">
                  <a:xfrm>
                    <a:off x="11564371" y="5707239"/>
                    <a:ext cx="114208" cy="63450"/>
                  </a:xfrm>
                  <a:custGeom>
                    <a:avLst/>
                    <a:gdLst>
                      <a:gd name="T0" fmla="*/ 0 w 334"/>
                      <a:gd name="T1" fmla="*/ 0 h 183"/>
                      <a:gd name="T2" fmla="*/ 334 w 334"/>
                      <a:gd name="T3" fmla="*/ 0 h 183"/>
                      <a:gd name="T4" fmla="*/ 334 w 334"/>
                      <a:gd name="T5" fmla="*/ 183 h 183"/>
                      <a:gd name="T6" fmla="*/ 0 w 334"/>
                      <a:gd name="T7" fmla="*/ 183 h 183"/>
                      <a:gd name="T8" fmla="*/ 0 w 334"/>
                      <a:gd name="T9" fmla="*/ 0 h 183"/>
                    </a:gdLst>
                    <a:ahLst/>
                    <a:cxnLst>
                      <a:cxn ang="0">
                        <a:pos x="T0" y="T1"/>
                      </a:cxn>
                      <a:cxn ang="0">
                        <a:pos x="T2" y="T3"/>
                      </a:cxn>
                      <a:cxn ang="0">
                        <a:pos x="T4" y="T5"/>
                      </a:cxn>
                      <a:cxn ang="0">
                        <a:pos x="T6" y="T7"/>
                      </a:cxn>
                      <a:cxn ang="0">
                        <a:pos x="T8" y="T9"/>
                      </a:cxn>
                    </a:cxnLst>
                    <a:rect l="0" t="0" r="r" b="b"/>
                    <a:pathLst>
                      <a:path w="334" h="183">
                        <a:moveTo>
                          <a:pt x="0" y="0"/>
                        </a:moveTo>
                        <a:cubicBezTo>
                          <a:pt x="111" y="0"/>
                          <a:pt x="222" y="0"/>
                          <a:pt x="334" y="0"/>
                        </a:cubicBezTo>
                        <a:cubicBezTo>
                          <a:pt x="334" y="61"/>
                          <a:pt x="334" y="122"/>
                          <a:pt x="334" y="183"/>
                        </a:cubicBezTo>
                        <a:cubicBezTo>
                          <a:pt x="222" y="183"/>
                          <a:pt x="111" y="183"/>
                          <a:pt x="0" y="183"/>
                        </a:cubicBezTo>
                        <a:cubicBezTo>
                          <a:pt x="0" y="122"/>
                          <a:pt x="0" y="61"/>
                          <a:pt x="0" y="0"/>
                        </a:cubicBezTo>
                        <a:close/>
                      </a:path>
                    </a:pathLst>
                  </a:custGeom>
                  <a:grpFill/>
                  <a:ln>
                    <a:noFill/>
                  </a:ln>
                </p:spPr>
                <p:txBody>
                  <a:bodyPr vert="horz" wrap="square" lIns="69883" tIns="34940" rIns="69883" bIns="34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0366">
                      <a:defRPr/>
                    </a:pPr>
                    <a:endParaRPr lang="en-US" sz="1118">
                      <a:solidFill>
                        <a:srgbClr val="FFFFFF"/>
                      </a:solidFill>
                      <a:latin typeface="Segoe UI"/>
                    </a:endParaRPr>
                  </a:p>
                </p:txBody>
              </p:sp>
            </p:grpSp>
          </p:grpSp>
          <p:sp>
            <p:nvSpPr>
              <p:cNvPr id="87" name="Freeform 98">
                <a:extLst>
                  <a:ext uri="{FF2B5EF4-FFF2-40B4-BE49-F238E27FC236}">
                    <a16:creationId xmlns:a16="http://schemas.microsoft.com/office/drawing/2014/main" id="{FD727518-A347-4541-A04F-84FC60F32266}"/>
                  </a:ext>
                </a:extLst>
              </p:cNvPr>
              <p:cNvSpPr>
                <a:spLocks noChangeAspect="1" noEditPoints="1"/>
              </p:cNvSpPr>
              <p:nvPr/>
            </p:nvSpPr>
            <p:spPr bwMode="black">
              <a:xfrm>
                <a:off x="10594164" y="3681288"/>
                <a:ext cx="347113" cy="18208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00B050"/>
              </a:solidFill>
            </p:spPr>
            <p:txBody>
              <a:bodyPr vert="horz" wrap="square" lIns="69883" tIns="34940" rIns="69883" bIns="34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0366">
                  <a:defRPr/>
                </a:pPr>
                <a:endParaRPr lang="en-US" sz="1118" dirty="0">
                  <a:solidFill>
                    <a:srgbClr val="FFFFFF"/>
                  </a:solidFill>
                  <a:latin typeface="Segoe UI"/>
                </a:endParaRPr>
              </a:p>
            </p:txBody>
          </p:sp>
          <p:sp>
            <p:nvSpPr>
              <p:cNvPr id="88" name="Freeform 99">
                <a:extLst>
                  <a:ext uri="{FF2B5EF4-FFF2-40B4-BE49-F238E27FC236}">
                    <a16:creationId xmlns:a16="http://schemas.microsoft.com/office/drawing/2014/main" id="{18F4EAF8-E99D-4DE4-9978-AE232FADD02D}"/>
                  </a:ext>
                </a:extLst>
              </p:cNvPr>
              <p:cNvSpPr>
                <a:spLocks noEditPoints="1"/>
              </p:cNvSpPr>
              <p:nvPr/>
            </p:nvSpPr>
            <p:spPr bwMode="auto">
              <a:xfrm rot="20281014">
                <a:off x="10617150" y="4027161"/>
                <a:ext cx="272911" cy="222233"/>
              </a:xfrm>
              <a:custGeom>
                <a:avLst/>
                <a:gdLst>
                  <a:gd name="T0" fmla="*/ 86 w 219"/>
                  <a:gd name="T1" fmla="*/ 109 h 219"/>
                  <a:gd name="T2" fmla="*/ 109 w 219"/>
                  <a:gd name="T3" fmla="*/ 86 h 219"/>
                  <a:gd name="T4" fmla="*/ 133 w 219"/>
                  <a:gd name="T5" fmla="*/ 109 h 219"/>
                  <a:gd name="T6" fmla="*/ 109 w 219"/>
                  <a:gd name="T7" fmla="*/ 133 h 219"/>
                  <a:gd name="T8" fmla="*/ 86 w 219"/>
                  <a:gd name="T9" fmla="*/ 109 h 219"/>
                  <a:gd name="T10" fmla="*/ 119 w 219"/>
                  <a:gd name="T11" fmla="*/ 0 h 219"/>
                  <a:gd name="T12" fmla="*/ 100 w 219"/>
                  <a:gd name="T13" fmla="*/ 0 h 219"/>
                  <a:gd name="T14" fmla="*/ 89 w 219"/>
                  <a:gd name="T15" fmla="*/ 30 h 219"/>
                  <a:gd name="T16" fmla="*/ 67 w 219"/>
                  <a:gd name="T17" fmla="*/ 39 h 219"/>
                  <a:gd name="T18" fmla="*/ 39 w 219"/>
                  <a:gd name="T19" fmla="*/ 26 h 219"/>
                  <a:gd name="T20" fmla="*/ 26 w 219"/>
                  <a:gd name="T21" fmla="*/ 39 h 219"/>
                  <a:gd name="T22" fmla="*/ 39 w 219"/>
                  <a:gd name="T23" fmla="*/ 67 h 219"/>
                  <a:gd name="T24" fmla="*/ 30 w 219"/>
                  <a:gd name="T25" fmla="*/ 89 h 219"/>
                  <a:gd name="T26" fmla="*/ 0 w 219"/>
                  <a:gd name="T27" fmla="*/ 100 h 219"/>
                  <a:gd name="T28" fmla="*/ 0 w 219"/>
                  <a:gd name="T29" fmla="*/ 119 h 219"/>
                  <a:gd name="T30" fmla="*/ 30 w 219"/>
                  <a:gd name="T31" fmla="*/ 129 h 219"/>
                  <a:gd name="T32" fmla="*/ 39 w 219"/>
                  <a:gd name="T33" fmla="*/ 152 h 219"/>
                  <a:gd name="T34" fmla="*/ 26 w 219"/>
                  <a:gd name="T35" fmla="*/ 180 h 219"/>
                  <a:gd name="T36" fmla="*/ 39 w 219"/>
                  <a:gd name="T37" fmla="*/ 193 h 219"/>
                  <a:gd name="T38" fmla="*/ 67 w 219"/>
                  <a:gd name="T39" fmla="*/ 180 h 219"/>
                  <a:gd name="T40" fmla="*/ 89 w 219"/>
                  <a:gd name="T41" fmla="*/ 189 h 219"/>
                  <a:gd name="T42" fmla="*/ 100 w 219"/>
                  <a:gd name="T43" fmla="*/ 219 h 219"/>
                  <a:gd name="T44" fmla="*/ 119 w 219"/>
                  <a:gd name="T45" fmla="*/ 219 h 219"/>
                  <a:gd name="T46" fmla="*/ 129 w 219"/>
                  <a:gd name="T47" fmla="*/ 189 h 219"/>
                  <a:gd name="T48" fmla="*/ 152 w 219"/>
                  <a:gd name="T49" fmla="*/ 180 h 219"/>
                  <a:gd name="T50" fmla="*/ 180 w 219"/>
                  <a:gd name="T51" fmla="*/ 193 h 219"/>
                  <a:gd name="T52" fmla="*/ 193 w 219"/>
                  <a:gd name="T53" fmla="*/ 180 h 219"/>
                  <a:gd name="T54" fmla="*/ 180 w 219"/>
                  <a:gd name="T55" fmla="*/ 152 h 219"/>
                  <a:gd name="T56" fmla="*/ 189 w 219"/>
                  <a:gd name="T57" fmla="*/ 130 h 219"/>
                  <a:gd name="T58" fmla="*/ 219 w 219"/>
                  <a:gd name="T59" fmla="*/ 119 h 219"/>
                  <a:gd name="T60" fmla="*/ 219 w 219"/>
                  <a:gd name="T61" fmla="*/ 100 h 219"/>
                  <a:gd name="T62" fmla="*/ 189 w 219"/>
                  <a:gd name="T63" fmla="*/ 89 h 219"/>
                  <a:gd name="T64" fmla="*/ 180 w 219"/>
                  <a:gd name="T65" fmla="*/ 67 h 219"/>
                  <a:gd name="T66" fmla="*/ 193 w 219"/>
                  <a:gd name="T67" fmla="*/ 39 h 219"/>
                  <a:gd name="T68" fmla="*/ 180 w 219"/>
                  <a:gd name="T69" fmla="*/ 26 h 219"/>
                  <a:gd name="T70" fmla="*/ 152 w 219"/>
                  <a:gd name="T71" fmla="*/ 39 h 219"/>
                  <a:gd name="T72" fmla="*/ 129 w 219"/>
                  <a:gd name="T73" fmla="*/ 30 h 219"/>
                  <a:gd name="T74" fmla="*/ 119 w 219"/>
                  <a:gd name="T7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9" h="219">
                    <a:moveTo>
                      <a:pt x="86" y="109"/>
                    </a:moveTo>
                    <a:cubicBezTo>
                      <a:pt x="86" y="96"/>
                      <a:pt x="96" y="86"/>
                      <a:pt x="109" y="86"/>
                    </a:cubicBezTo>
                    <a:cubicBezTo>
                      <a:pt x="123" y="86"/>
                      <a:pt x="133" y="96"/>
                      <a:pt x="133" y="109"/>
                    </a:cubicBezTo>
                    <a:cubicBezTo>
                      <a:pt x="133" y="123"/>
                      <a:pt x="123" y="133"/>
                      <a:pt x="109" y="133"/>
                    </a:cubicBezTo>
                    <a:cubicBezTo>
                      <a:pt x="96" y="133"/>
                      <a:pt x="86" y="123"/>
                      <a:pt x="86" y="109"/>
                    </a:cubicBezTo>
                    <a:close/>
                    <a:moveTo>
                      <a:pt x="119" y="0"/>
                    </a:moveTo>
                    <a:cubicBezTo>
                      <a:pt x="113" y="0"/>
                      <a:pt x="106" y="0"/>
                      <a:pt x="100" y="0"/>
                    </a:cubicBezTo>
                    <a:cubicBezTo>
                      <a:pt x="89" y="30"/>
                      <a:pt x="89" y="30"/>
                      <a:pt x="89" y="30"/>
                    </a:cubicBezTo>
                    <a:cubicBezTo>
                      <a:pt x="82" y="32"/>
                      <a:pt x="74" y="35"/>
                      <a:pt x="67" y="39"/>
                    </a:cubicBezTo>
                    <a:cubicBezTo>
                      <a:pt x="39" y="26"/>
                      <a:pt x="39" y="26"/>
                      <a:pt x="39" y="26"/>
                    </a:cubicBezTo>
                    <a:cubicBezTo>
                      <a:pt x="34" y="30"/>
                      <a:pt x="30" y="34"/>
                      <a:pt x="26" y="39"/>
                    </a:cubicBezTo>
                    <a:cubicBezTo>
                      <a:pt x="39" y="67"/>
                      <a:pt x="39" y="67"/>
                      <a:pt x="39" y="67"/>
                    </a:cubicBezTo>
                    <a:cubicBezTo>
                      <a:pt x="35" y="74"/>
                      <a:pt x="32" y="82"/>
                      <a:pt x="30" y="89"/>
                    </a:cubicBezTo>
                    <a:cubicBezTo>
                      <a:pt x="0" y="100"/>
                      <a:pt x="0" y="100"/>
                      <a:pt x="0" y="100"/>
                    </a:cubicBezTo>
                    <a:cubicBezTo>
                      <a:pt x="0" y="106"/>
                      <a:pt x="0" y="113"/>
                      <a:pt x="0" y="119"/>
                    </a:cubicBezTo>
                    <a:cubicBezTo>
                      <a:pt x="30" y="129"/>
                      <a:pt x="30" y="129"/>
                      <a:pt x="30" y="129"/>
                    </a:cubicBezTo>
                    <a:cubicBezTo>
                      <a:pt x="32" y="137"/>
                      <a:pt x="35" y="145"/>
                      <a:pt x="39" y="152"/>
                    </a:cubicBezTo>
                    <a:cubicBezTo>
                      <a:pt x="26" y="180"/>
                      <a:pt x="26" y="180"/>
                      <a:pt x="26" y="180"/>
                    </a:cubicBezTo>
                    <a:cubicBezTo>
                      <a:pt x="30" y="185"/>
                      <a:pt x="34" y="189"/>
                      <a:pt x="39" y="193"/>
                    </a:cubicBezTo>
                    <a:cubicBezTo>
                      <a:pt x="67" y="180"/>
                      <a:pt x="67" y="180"/>
                      <a:pt x="67" y="180"/>
                    </a:cubicBezTo>
                    <a:cubicBezTo>
                      <a:pt x="74" y="184"/>
                      <a:pt x="82" y="187"/>
                      <a:pt x="89" y="189"/>
                    </a:cubicBezTo>
                    <a:cubicBezTo>
                      <a:pt x="100" y="219"/>
                      <a:pt x="100" y="219"/>
                      <a:pt x="100" y="219"/>
                    </a:cubicBezTo>
                    <a:cubicBezTo>
                      <a:pt x="106" y="219"/>
                      <a:pt x="113" y="219"/>
                      <a:pt x="119" y="219"/>
                    </a:cubicBezTo>
                    <a:cubicBezTo>
                      <a:pt x="129" y="189"/>
                      <a:pt x="129" y="189"/>
                      <a:pt x="129" y="189"/>
                    </a:cubicBezTo>
                    <a:cubicBezTo>
                      <a:pt x="137" y="187"/>
                      <a:pt x="145" y="184"/>
                      <a:pt x="152" y="180"/>
                    </a:cubicBezTo>
                    <a:cubicBezTo>
                      <a:pt x="180" y="193"/>
                      <a:pt x="180" y="193"/>
                      <a:pt x="180" y="193"/>
                    </a:cubicBezTo>
                    <a:cubicBezTo>
                      <a:pt x="185" y="189"/>
                      <a:pt x="189" y="185"/>
                      <a:pt x="193" y="180"/>
                    </a:cubicBezTo>
                    <a:cubicBezTo>
                      <a:pt x="180" y="152"/>
                      <a:pt x="180" y="152"/>
                      <a:pt x="180" y="152"/>
                    </a:cubicBezTo>
                    <a:cubicBezTo>
                      <a:pt x="184" y="145"/>
                      <a:pt x="187" y="137"/>
                      <a:pt x="189" y="130"/>
                    </a:cubicBezTo>
                    <a:cubicBezTo>
                      <a:pt x="219" y="119"/>
                      <a:pt x="219" y="119"/>
                      <a:pt x="219" y="119"/>
                    </a:cubicBezTo>
                    <a:cubicBezTo>
                      <a:pt x="219" y="113"/>
                      <a:pt x="219" y="106"/>
                      <a:pt x="219" y="100"/>
                    </a:cubicBezTo>
                    <a:cubicBezTo>
                      <a:pt x="189" y="89"/>
                      <a:pt x="189" y="89"/>
                      <a:pt x="189" y="89"/>
                    </a:cubicBezTo>
                    <a:cubicBezTo>
                      <a:pt x="187" y="82"/>
                      <a:pt x="184" y="74"/>
                      <a:pt x="180" y="67"/>
                    </a:cubicBezTo>
                    <a:cubicBezTo>
                      <a:pt x="193" y="39"/>
                      <a:pt x="193" y="39"/>
                      <a:pt x="193" y="39"/>
                    </a:cubicBezTo>
                    <a:cubicBezTo>
                      <a:pt x="189" y="34"/>
                      <a:pt x="185" y="30"/>
                      <a:pt x="180" y="26"/>
                    </a:cubicBezTo>
                    <a:cubicBezTo>
                      <a:pt x="152" y="39"/>
                      <a:pt x="152" y="39"/>
                      <a:pt x="152" y="39"/>
                    </a:cubicBezTo>
                    <a:cubicBezTo>
                      <a:pt x="145" y="35"/>
                      <a:pt x="137" y="32"/>
                      <a:pt x="129" y="30"/>
                    </a:cubicBezTo>
                    <a:lnTo>
                      <a:pt x="119" y="0"/>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883" tIns="34940" rIns="69883" bIns="34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98586">
                  <a:defRPr/>
                </a:pPr>
                <a:endParaRPr lang="en-US" sz="1118">
                  <a:solidFill>
                    <a:srgbClr val="FFFFFF"/>
                  </a:solidFill>
                  <a:latin typeface="Segoe UI"/>
                </a:endParaRPr>
              </a:p>
            </p:txBody>
          </p:sp>
          <p:sp>
            <p:nvSpPr>
              <p:cNvPr id="89" name="Freeform 100">
                <a:extLst>
                  <a:ext uri="{FF2B5EF4-FFF2-40B4-BE49-F238E27FC236}">
                    <a16:creationId xmlns:a16="http://schemas.microsoft.com/office/drawing/2014/main" id="{AEA412D6-9EDD-4467-96BB-A2E4C705B7EE}"/>
                  </a:ext>
                </a:extLst>
              </p:cNvPr>
              <p:cNvSpPr>
                <a:spLocks noChangeAspect="1" noEditPoints="1"/>
              </p:cNvSpPr>
              <p:nvPr/>
            </p:nvSpPr>
            <p:spPr bwMode="black">
              <a:xfrm>
                <a:off x="10606491" y="4382775"/>
                <a:ext cx="322457" cy="26251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0B050"/>
              </a:solidFill>
              <a:ln>
                <a:noFill/>
              </a:ln>
            </p:spPr>
            <p:txBody>
              <a:bodyPr vert="horz" wrap="square" lIns="62900" tIns="31451" rIns="62900" bIns="3145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0366">
                  <a:defRPr/>
                </a:pPr>
                <a:r>
                  <a:rPr lang="en-US" sz="1118" dirty="0">
                    <a:solidFill>
                      <a:srgbClr val="FFFFFF"/>
                    </a:solidFill>
                    <a:latin typeface="Segoe UI"/>
                  </a:rPr>
                  <a:t>-</a:t>
                </a:r>
              </a:p>
            </p:txBody>
          </p:sp>
          <p:sp>
            <p:nvSpPr>
              <p:cNvPr id="90" name="Freeform 101">
                <a:extLst>
                  <a:ext uri="{FF2B5EF4-FFF2-40B4-BE49-F238E27FC236}">
                    <a16:creationId xmlns:a16="http://schemas.microsoft.com/office/drawing/2014/main" id="{B37D40A3-E8F2-4979-B8FF-AAED4824999F}"/>
                  </a:ext>
                </a:extLst>
              </p:cNvPr>
              <p:cNvSpPr>
                <a:spLocks noChangeAspect="1" noEditPoints="1"/>
              </p:cNvSpPr>
              <p:nvPr/>
            </p:nvSpPr>
            <p:spPr bwMode="auto">
              <a:xfrm rot="5400000">
                <a:off x="10700425" y="4703807"/>
                <a:ext cx="249895" cy="311978"/>
              </a:xfrm>
              <a:custGeom>
                <a:avLst/>
                <a:gdLst>
                  <a:gd name="T0" fmla="*/ 0 w 1289"/>
                  <a:gd name="T1" fmla="*/ 774 h 1040"/>
                  <a:gd name="T2" fmla="*/ 191 w 1289"/>
                  <a:gd name="T3" fmla="*/ 774 h 1040"/>
                  <a:gd name="T4" fmla="*/ 191 w 1289"/>
                  <a:gd name="T5" fmla="*/ 1040 h 1040"/>
                  <a:gd name="T6" fmla="*/ 0 w 1289"/>
                  <a:gd name="T7" fmla="*/ 1040 h 1040"/>
                  <a:gd name="T8" fmla="*/ 0 w 1289"/>
                  <a:gd name="T9" fmla="*/ 774 h 1040"/>
                  <a:gd name="T10" fmla="*/ 0 w 1289"/>
                  <a:gd name="T11" fmla="*/ 774 h 1040"/>
                  <a:gd name="T12" fmla="*/ 0 w 1289"/>
                  <a:gd name="T13" fmla="*/ 774 h 1040"/>
                  <a:gd name="T14" fmla="*/ 262 w 1289"/>
                  <a:gd name="T15" fmla="*/ 581 h 1040"/>
                  <a:gd name="T16" fmla="*/ 477 w 1289"/>
                  <a:gd name="T17" fmla="*/ 581 h 1040"/>
                  <a:gd name="T18" fmla="*/ 477 w 1289"/>
                  <a:gd name="T19" fmla="*/ 1040 h 1040"/>
                  <a:gd name="T20" fmla="*/ 262 w 1289"/>
                  <a:gd name="T21" fmla="*/ 1040 h 1040"/>
                  <a:gd name="T22" fmla="*/ 262 w 1289"/>
                  <a:gd name="T23" fmla="*/ 581 h 1040"/>
                  <a:gd name="T24" fmla="*/ 262 w 1289"/>
                  <a:gd name="T25" fmla="*/ 581 h 1040"/>
                  <a:gd name="T26" fmla="*/ 262 w 1289"/>
                  <a:gd name="T27" fmla="*/ 581 h 1040"/>
                  <a:gd name="T28" fmla="*/ 525 w 1289"/>
                  <a:gd name="T29" fmla="*/ 387 h 1040"/>
                  <a:gd name="T30" fmla="*/ 740 w 1289"/>
                  <a:gd name="T31" fmla="*/ 387 h 1040"/>
                  <a:gd name="T32" fmla="*/ 740 w 1289"/>
                  <a:gd name="T33" fmla="*/ 1040 h 1040"/>
                  <a:gd name="T34" fmla="*/ 525 w 1289"/>
                  <a:gd name="T35" fmla="*/ 1040 h 1040"/>
                  <a:gd name="T36" fmla="*/ 525 w 1289"/>
                  <a:gd name="T37" fmla="*/ 387 h 1040"/>
                  <a:gd name="T38" fmla="*/ 525 w 1289"/>
                  <a:gd name="T39" fmla="*/ 387 h 1040"/>
                  <a:gd name="T40" fmla="*/ 525 w 1289"/>
                  <a:gd name="T41" fmla="*/ 387 h 1040"/>
                  <a:gd name="T42" fmla="*/ 811 w 1289"/>
                  <a:gd name="T43" fmla="*/ 194 h 1040"/>
                  <a:gd name="T44" fmla="*/ 1002 w 1289"/>
                  <a:gd name="T45" fmla="*/ 194 h 1040"/>
                  <a:gd name="T46" fmla="*/ 1002 w 1289"/>
                  <a:gd name="T47" fmla="*/ 1040 h 1040"/>
                  <a:gd name="T48" fmla="*/ 811 w 1289"/>
                  <a:gd name="T49" fmla="*/ 1040 h 1040"/>
                  <a:gd name="T50" fmla="*/ 811 w 1289"/>
                  <a:gd name="T51" fmla="*/ 194 h 1040"/>
                  <a:gd name="T52" fmla="*/ 811 w 1289"/>
                  <a:gd name="T53" fmla="*/ 194 h 1040"/>
                  <a:gd name="T54" fmla="*/ 811 w 1289"/>
                  <a:gd name="T55" fmla="*/ 194 h 1040"/>
                  <a:gd name="T56" fmla="*/ 1074 w 1289"/>
                  <a:gd name="T57" fmla="*/ 0 h 1040"/>
                  <a:gd name="T58" fmla="*/ 1289 w 1289"/>
                  <a:gd name="T59" fmla="*/ 0 h 1040"/>
                  <a:gd name="T60" fmla="*/ 1289 w 1289"/>
                  <a:gd name="T61" fmla="*/ 1040 h 1040"/>
                  <a:gd name="T62" fmla="*/ 1074 w 1289"/>
                  <a:gd name="T63" fmla="*/ 1040 h 1040"/>
                  <a:gd name="T64" fmla="*/ 1074 w 1289"/>
                  <a:gd name="T65" fmla="*/ 0 h 1040"/>
                  <a:gd name="T66" fmla="*/ 1074 w 1289"/>
                  <a:gd name="T67" fmla="*/ 0 h 1040"/>
                  <a:gd name="T68" fmla="*/ 1074 w 1289"/>
                  <a:gd name="T69" fmla="*/ 0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9" h="1040">
                    <a:moveTo>
                      <a:pt x="0" y="774"/>
                    </a:moveTo>
                    <a:lnTo>
                      <a:pt x="191" y="774"/>
                    </a:lnTo>
                    <a:lnTo>
                      <a:pt x="191" y="1040"/>
                    </a:lnTo>
                    <a:lnTo>
                      <a:pt x="0" y="1040"/>
                    </a:lnTo>
                    <a:lnTo>
                      <a:pt x="0" y="774"/>
                    </a:lnTo>
                    <a:lnTo>
                      <a:pt x="0" y="774"/>
                    </a:lnTo>
                    <a:lnTo>
                      <a:pt x="0" y="774"/>
                    </a:lnTo>
                    <a:close/>
                    <a:moveTo>
                      <a:pt x="262" y="581"/>
                    </a:moveTo>
                    <a:lnTo>
                      <a:pt x="477" y="581"/>
                    </a:lnTo>
                    <a:lnTo>
                      <a:pt x="477" y="1040"/>
                    </a:lnTo>
                    <a:lnTo>
                      <a:pt x="262" y="1040"/>
                    </a:lnTo>
                    <a:lnTo>
                      <a:pt x="262" y="581"/>
                    </a:lnTo>
                    <a:lnTo>
                      <a:pt x="262" y="581"/>
                    </a:lnTo>
                    <a:lnTo>
                      <a:pt x="262" y="581"/>
                    </a:lnTo>
                    <a:close/>
                    <a:moveTo>
                      <a:pt x="525" y="387"/>
                    </a:moveTo>
                    <a:lnTo>
                      <a:pt x="740" y="387"/>
                    </a:lnTo>
                    <a:lnTo>
                      <a:pt x="740" y="1040"/>
                    </a:lnTo>
                    <a:lnTo>
                      <a:pt x="525" y="1040"/>
                    </a:lnTo>
                    <a:lnTo>
                      <a:pt x="525" y="387"/>
                    </a:lnTo>
                    <a:lnTo>
                      <a:pt x="525" y="387"/>
                    </a:lnTo>
                    <a:lnTo>
                      <a:pt x="525" y="387"/>
                    </a:lnTo>
                    <a:close/>
                    <a:moveTo>
                      <a:pt x="811" y="194"/>
                    </a:moveTo>
                    <a:lnTo>
                      <a:pt x="1002" y="194"/>
                    </a:lnTo>
                    <a:lnTo>
                      <a:pt x="1002" y="1040"/>
                    </a:lnTo>
                    <a:lnTo>
                      <a:pt x="811" y="1040"/>
                    </a:lnTo>
                    <a:lnTo>
                      <a:pt x="811" y="194"/>
                    </a:lnTo>
                    <a:lnTo>
                      <a:pt x="811" y="194"/>
                    </a:lnTo>
                    <a:lnTo>
                      <a:pt x="811" y="194"/>
                    </a:lnTo>
                    <a:close/>
                    <a:moveTo>
                      <a:pt x="1074" y="0"/>
                    </a:moveTo>
                    <a:lnTo>
                      <a:pt x="1289" y="0"/>
                    </a:lnTo>
                    <a:lnTo>
                      <a:pt x="1289" y="1040"/>
                    </a:lnTo>
                    <a:lnTo>
                      <a:pt x="1074" y="1040"/>
                    </a:lnTo>
                    <a:lnTo>
                      <a:pt x="1074" y="0"/>
                    </a:lnTo>
                    <a:lnTo>
                      <a:pt x="1074" y="0"/>
                    </a:lnTo>
                    <a:lnTo>
                      <a:pt x="1074" y="0"/>
                    </a:lnTo>
                    <a:close/>
                  </a:path>
                </a:pathLst>
              </a:custGeom>
              <a:solidFill>
                <a:srgbClr val="00B050"/>
              </a:solidFill>
              <a:ln>
                <a:noFill/>
              </a:ln>
            </p:spPr>
            <p:txBody>
              <a:bodyPr vert="horz" wrap="square" lIns="69883" tIns="34940" rIns="69883" bIns="34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0366">
                  <a:defRPr/>
                </a:pPr>
                <a:endParaRPr lang="en-US" sz="1118">
                  <a:solidFill>
                    <a:srgbClr val="FFFFFF"/>
                  </a:solidFill>
                  <a:latin typeface="Segoe UI"/>
                </a:endParaRPr>
              </a:p>
            </p:txBody>
          </p:sp>
        </p:grpSp>
        <p:sp>
          <p:nvSpPr>
            <p:cNvPr id="82" name="矩形 81">
              <a:extLst>
                <a:ext uri="{FF2B5EF4-FFF2-40B4-BE49-F238E27FC236}">
                  <a16:creationId xmlns:a16="http://schemas.microsoft.com/office/drawing/2014/main" id="{4D288447-C906-4198-B197-50FEC8A3AF62}"/>
                </a:ext>
              </a:extLst>
            </p:cNvPr>
            <p:cNvSpPr/>
            <p:nvPr/>
          </p:nvSpPr>
          <p:spPr>
            <a:xfrm>
              <a:off x="10307524" y="2882751"/>
              <a:ext cx="1547412" cy="3865726"/>
            </a:xfrm>
            <a:prstGeom prst="rect">
              <a:avLst/>
            </a:prstGeom>
            <a:noFill/>
            <a:ln>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97">
                <a:defRPr/>
              </a:pPr>
              <a:endParaRPr lang="en-US" sz="1873">
                <a:solidFill>
                  <a:srgbClr val="FFFFFF"/>
                </a:solidFill>
                <a:latin typeface="Segoe UI"/>
              </a:endParaRPr>
            </a:p>
          </p:txBody>
        </p:sp>
      </p:grpSp>
      <p:sp>
        <p:nvSpPr>
          <p:cNvPr id="98" name="Rectangle 124">
            <a:extLst>
              <a:ext uri="{FF2B5EF4-FFF2-40B4-BE49-F238E27FC236}">
                <a16:creationId xmlns:a16="http://schemas.microsoft.com/office/drawing/2014/main" id="{F488033C-D786-4A3E-B986-5F331F80A2BE}"/>
              </a:ext>
            </a:extLst>
          </p:cNvPr>
          <p:cNvSpPr/>
          <p:nvPr/>
        </p:nvSpPr>
        <p:spPr>
          <a:xfrm>
            <a:off x="315108" y="5340725"/>
            <a:ext cx="2710871" cy="1023585"/>
          </a:xfrm>
          <a:prstGeom prst="roundRect">
            <a:avLst/>
          </a:prstGeom>
          <a:ln>
            <a:solidFill>
              <a:srgbClr val="0070C0"/>
            </a:solidFill>
            <a:headEnd type="none"/>
            <a:tailEnd type="triangle"/>
          </a:ln>
        </p:spPr>
        <p:style>
          <a:lnRef idx="2">
            <a:schemeClr val="accent2"/>
          </a:lnRef>
          <a:fillRef idx="1">
            <a:schemeClr val="lt1"/>
          </a:fillRef>
          <a:effectRef idx="0">
            <a:schemeClr val="accent2"/>
          </a:effectRef>
          <a:fontRef idx="minor">
            <a:schemeClr val="dk1"/>
          </a:fontRef>
        </p:style>
        <p:txBody>
          <a:bodyPr wrap="square">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lvl="1" defTabSz="1266737">
              <a:lnSpc>
                <a:spcPct val="90000"/>
              </a:lnSpc>
              <a:spcAft>
                <a:spcPts val="612"/>
              </a:spcAft>
              <a:defRPr/>
            </a:pPr>
            <a:r>
              <a:rPr lang="zh-CN" altLang="en-US" sz="1873" b="1" kern="0" dirty="0">
                <a:solidFill>
                  <a:srgbClr val="505050">
                    <a:lumMod val="75000"/>
                  </a:srgbClr>
                </a:solidFill>
                <a:latin typeface="微软雅黑" panose="020B0503020204020204" pitchFamily="34" charset="-122"/>
                <a:ea typeface="微软雅黑" panose="020B0503020204020204" pitchFamily="34" charset="-122"/>
              </a:rPr>
              <a:t>微软与物联网合作伙伴一起为各种物联网场景落地准备</a:t>
            </a:r>
            <a:endParaRPr lang="en-US" altLang="zh-CN" sz="1873" b="1" kern="0" dirty="0">
              <a:solidFill>
                <a:srgbClr val="505050">
                  <a:lumMod val="75000"/>
                </a:srgbClr>
              </a:solidFill>
              <a:latin typeface="微软雅黑" panose="020B0503020204020204" pitchFamily="34" charset="-122"/>
              <a:ea typeface="微软雅黑" panose="020B0503020204020204" pitchFamily="34" charset="-122"/>
            </a:endParaRPr>
          </a:p>
        </p:txBody>
      </p:sp>
      <p:sp>
        <p:nvSpPr>
          <p:cNvPr id="99" name="Rectangle 124">
            <a:extLst>
              <a:ext uri="{FF2B5EF4-FFF2-40B4-BE49-F238E27FC236}">
                <a16:creationId xmlns:a16="http://schemas.microsoft.com/office/drawing/2014/main" id="{825B70AE-0C2A-455B-A928-7E51D4D717FC}"/>
              </a:ext>
            </a:extLst>
          </p:cNvPr>
          <p:cNvSpPr/>
          <p:nvPr/>
        </p:nvSpPr>
        <p:spPr>
          <a:xfrm>
            <a:off x="3584710" y="5336095"/>
            <a:ext cx="8649547" cy="1028216"/>
          </a:xfrm>
          <a:prstGeom prst="roundRect">
            <a:avLst/>
          </a:prstGeom>
          <a:ln>
            <a:solidFill>
              <a:srgbClr val="0070C0"/>
            </a:solidFill>
            <a:headEnd type="none"/>
            <a:tailEnd type="triangle"/>
          </a:ln>
        </p:spPr>
        <p:style>
          <a:lnRef idx="2">
            <a:schemeClr val="accent2"/>
          </a:lnRef>
          <a:fillRef idx="1">
            <a:schemeClr val="lt1"/>
          </a:fillRef>
          <a:effectRef idx="0">
            <a:schemeClr val="accent2"/>
          </a:effectRef>
          <a:fontRef idx="minor">
            <a:schemeClr val="dk1"/>
          </a:fontRef>
        </p:style>
        <p:txBody>
          <a:bodyPr wrap="square">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lvl="1" defTabSz="1266737">
              <a:lnSpc>
                <a:spcPct val="90000"/>
              </a:lnSpc>
              <a:spcAft>
                <a:spcPts val="612"/>
              </a:spcAft>
              <a:defRPr/>
            </a:pPr>
            <a:r>
              <a:rPr lang="zh-CN" altLang="en-US" sz="1873" b="1" kern="0" dirty="0">
                <a:solidFill>
                  <a:srgbClr val="505050">
                    <a:lumMod val="75000"/>
                  </a:srgbClr>
                </a:solidFill>
                <a:latin typeface="微软雅黑" panose="020B0503020204020204" pitchFamily="34" charset="-122"/>
                <a:ea typeface="微软雅黑" panose="020B0503020204020204" pitchFamily="34" charset="-122"/>
              </a:rPr>
              <a:t>微软提供：物联网连接和数据分析工具，帮助整合和分析物联网数据，更好地服务用户</a:t>
            </a:r>
            <a:endParaRPr lang="en-US" altLang="zh-CN" sz="1873" b="1" kern="0" dirty="0">
              <a:solidFill>
                <a:srgbClr val="505050">
                  <a:lumMod val="75000"/>
                </a:srgbClr>
              </a:solidFill>
              <a:latin typeface="微软雅黑" panose="020B0503020204020204" pitchFamily="34" charset="-122"/>
              <a:ea typeface="微软雅黑" panose="020B0503020204020204" pitchFamily="34" charset="-122"/>
            </a:endParaRPr>
          </a:p>
        </p:txBody>
      </p:sp>
      <p:sp>
        <p:nvSpPr>
          <p:cNvPr id="100" name="Striped Right Arrow 74">
            <a:extLst>
              <a:ext uri="{FF2B5EF4-FFF2-40B4-BE49-F238E27FC236}">
                <a16:creationId xmlns:a16="http://schemas.microsoft.com/office/drawing/2014/main" id="{92FE545A-3085-4305-8AD7-A9813AD10E5E}"/>
              </a:ext>
            </a:extLst>
          </p:cNvPr>
          <p:cNvSpPr/>
          <p:nvPr/>
        </p:nvSpPr>
        <p:spPr bwMode="auto">
          <a:xfrm>
            <a:off x="1441210" y="3900910"/>
            <a:ext cx="546495" cy="514112"/>
          </a:xfrm>
          <a:prstGeom prst="stripedRightArrow">
            <a:avLst/>
          </a:prstGeom>
          <a:solidFill>
            <a:schemeClr val="accent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15" tIns="149131" rIns="186415" bIns="149131" numCol="1" spcCol="0" rtlCol="0" fromWordArt="0" anchor="t" anchorCtr="0" forceAA="0" compatLnSpc="1">
            <a:prstTxWarp prst="textNoShape">
              <a:avLst/>
            </a:prstTxWarp>
            <a:noAutofit/>
          </a:bodyPr>
          <a:lstStyle/>
          <a:p>
            <a:pPr algn="ctr" defTabSz="950298" fontAlgn="base">
              <a:lnSpc>
                <a:spcPct val="90000"/>
              </a:lnSpc>
              <a:spcBef>
                <a:spcPct val="0"/>
              </a:spcBef>
              <a:spcAft>
                <a:spcPct val="0"/>
              </a:spcAft>
              <a:defRPr/>
            </a:pPr>
            <a:endParaRPr lang="en-US" sz="2448" kern="0" dirty="0" err="1">
              <a:solidFill>
                <a:srgbClr val="FFFFFF"/>
              </a:solidFill>
              <a:latin typeface="Segoe UI"/>
              <a:ea typeface="Segoe UI" pitchFamily="34" charset="0"/>
              <a:cs typeface="Segoe UI" pitchFamily="34" charset="0"/>
            </a:endParaRPr>
          </a:p>
        </p:txBody>
      </p:sp>
      <p:sp>
        <p:nvSpPr>
          <p:cNvPr id="101" name="Striped Right Arrow 74">
            <a:extLst>
              <a:ext uri="{FF2B5EF4-FFF2-40B4-BE49-F238E27FC236}">
                <a16:creationId xmlns:a16="http://schemas.microsoft.com/office/drawing/2014/main" id="{4530E0A0-ED18-44E8-8A88-2E5D88A68FE5}"/>
              </a:ext>
            </a:extLst>
          </p:cNvPr>
          <p:cNvSpPr/>
          <p:nvPr/>
        </p:nvSpPr>
        <p:spPr bwMode="auto">
          <a:xfrm>
            <a:off x="2977276" y="3942717"/>
            <a:ext cx="546495" cy="514112"/>
          </a:xfrm>
          <a:prstGeom prst="stripedRightArrow">
            <a:avLst/>
          </a:prstGeom>
          <a:solidFill>
            <a:schemeClr val="accent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15" tIns="149131" rIns="186415" bIns="149131" numCol="1" spcCol="0" rtlCol="0" fromWordArt="0" anchor="t" anchorCtr="0" forceAA="0" compatLnSpc="1">
            <a:prstTxWarp prst="textNoShape">
              <a:avLst/>
            </a:prstTxWarp>
            <a:noAutofit/>
          </a:bodyPr>
          <a:lstStyle/>
          <a:p>
            <a:pPr algn="ctr" defTabSz="950298" fontAlgn="base">
              <a:lnSpc>
                <a:spcPct val="90000"/>
              </a:lnSpc>
              <a:spcBef>
                <a:spcPct val="0"/>
              </a:spcBef>
              <a:spcAft>
                <a:spcPct val="0"/>
              </a:spcAft>
              <a:defRPr/>
            </a:pPr>
            <a:endParaRPr lang="en-US" sz="2448" kern="0" dirty="0" err="1">
              <a:solidFill>
                <a:srgbClr val="FFFFFF"/>
              </a:solidFill>
              <a:latin typeface="Segoe UI"/>
              <a:ea typeface="Segoe UI" pitchFamily="34" charset="0"/>
              <a:cs typeface="Segoe UI" pitchFamily="34" charset="0"/>
            </a:endParaRPr>
          </a:p>
        </p:txBody>
      </p:sp>
      <p:sp>
        <p:nvSpPr>
          <p:cNvPr id="102" name="Striped Right Arrow 74">
            <a:extLst>
              <a:ext uri="{FF2B5EF4-FFF2-40B4-BE49-F238E27FC236}">
                <a16:creationId xmlns:a16="http://schemas.microsoft.com/office/drawing/2014/main" id="{B52C5C97-6C77-4E02-BFE4-996CB428B210}"/>
              </a:ext>
            </a:extLst>
          </p:cNvPr>
          <p:cNvSpPr/>
          <p:nvPr/>
        </p:nvSpPr>
        <p:spPr bwMode="auto">
          <a:xfrm>
            <a:off x="8201273" y="3758419"/>
            <a:ext cx="546495" cy="514112"/>
          </a:xfrm>
          <a:prstGeom prst="stripedRightArrow">
            <a:avLst/>
          </a:prstGeom>
          <a:solidFill>
            <a:schemeClr val="accent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15" tIns="149131" rIns="186415" bIns="149131" numCol="1" spcCol="0" rtlCol="0" fromWordArt="0" anchor="t" anchorCtr="0" forceAA="0" compatLnSpc="1">
            <a:prstTxWarp prst="textNoShape">
              <a:avLst/>
            </a:prstTxWarp>
            <a:noAutofit/>
          </a:bodyPr>
          <a:lstStyle/>
          <a:p>
            <a:pPr algn="ctr" defTabSz="950298" fontAlgn="base">
              <a:lnSpc>
                <a:spcPct val="90000"/>
              </a:lnSpc>
              <a:spcBef>
                <a:spcPct val="0"/>
              </a:spcBef>
              <a:spcAft>
                <a:spcPct val="0"/>
              </a:spcAft>
              <a:defRPr/>
            </a:pPr>
            <a:endParaRPr lang="en-US" sz="2448" kern="0" dirty="0" err="1">
              <a:solidFill>
                <a:srgbClr val="FFFFFF"/>
              </a:solidFill>
              <a:latin typeface="Segoe UI"/>
              <a:ea typeface="Segoe UI" pitchFamily="34" charset="0"/>
              <a:cs typeface="Segoe UI" pitchFamily="34" charset="0"/>
            </a:endParaRPr>
          </a:p>
        </p:txBody>
      </p:sp>
      <p:sp>
        <p:nvSpPr>
          <p:cNvPr id="103" name="Striped Right Arrow 74">
            <a:extLst>
              <a:ext uri="{FF2B5EF4-FFF2-40B4-BE49-F238E27FC236}">
                <a16:creationId xmlns:a16="http://schemas.microsoft.com/office/drawing/2014/main" id="{ED75E2A1-EB6B-4FAA-9B18-A418941BF0BC}"/>
              </a:ext>
            </a:extLst>
          </p:cNvPr>
          <p:cNvSpPr/>
          <p:nvPr/>
        </p:nvSpPr>
        <p:spPr bwMode="auto">
          <a:xfrm>
            <a:off x="10287949" y="3758419"/>
            <a:ext cx="546495" cy="514112"/>
          </a:xfrm>
          <a:prstGeom prst="stripedRightArrow">
            <a:avLst/>
          </a:prstGeom>
          <a:solidFill>
            <a:schemeClr val="accent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15" tIns="149131" rIns="186415" bIns="149131" numCol="1" spcCol="0" rtlCol="0" fromWordArt="0" anchor="t" anchorCtr="0" forceAA="0" compatLnSpc="1">
            <a:prstTxWarp prst="textNoShape">
              <a:avLst/>
            </a:prstTxWarp>
            <a:noAutofit/>
          </a:bodyPr>
          <a:lstStyle/>
          <a:p>
            <a:pPr algn="ctr" defTabSz="950298" fontAlgn="base">
              <a:lnSpc>
                <a:spcPct val="90000"/>
              </a:lnSpc>
              <a:spcBef>
                <a:spcPct val="0"/>
              </a:spcBef>
              <a:spcAft>
                <a:spcPct val="0"/>
              </a:spcAft>
              <a:defRPr/>
            </a:pPr>
            <a:endParaRPr lang="en-US" sz="2448" kern="0" dirty="0" err="1">
              <a:solidFill>
                <a:srgbClr val="FFFFFF"/>
              </a:solidFill>
              <a:latin typeface="Segoe UI"/>
              <a:ea typeface="Segoe UI" pitchFamily="34" charset="0"/>
              <a:cs typeface="Segoe UI" pitchFamily="34" charset="0"/>
            </a:endParaRPr>
          </a:p>
        </p:txBody>
      </p:sp>
      <p:sp>
        <p:nvSpPr>
          <p:cNvPr id="104" name="Striped Right Arrow 74">
            <a:extLst>
              <a:ext uri="{FF2B5EF4-FFF2-40B4-BE49-F238E27FC236}">
                <a16:creationId xmlns:a16="http://schemas.microsoft.com/office/drawing/2014/main" id="{5FB5BE8A-711A-4698-8451-967883033993}"/>
              </a:ext>
            </a:extLst>
          </p:cNvPr>
          <p:cNvSpPr/>
          <p:nvPr/>
        </p:nvSpPr>
        <p:spPr bwMode="auto">
          <a:xfrm>
            <a:off x="2960691" y="2353158"/>
            <a:ext cx="546495" cy="514112"/>
          </a:xfrm>
          <a:prstGeom prst="stripedRightArrow">
            <a:avLst/>
          </a:prstGeom>
          <a:solidFill>
            <a:schemeClr val="accent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15" tIns="149131" rIns="186415" bIns="149131" numCol="1" spcCol="0" rtlCol="0" fromWordArt="0" anchor="t" anchorCtr="0" forceAA="0" compatLnSpc="1">
            <a:prstTxWarp prst="textNoShape">
              <a:avLst/>
            </a:prstTxWarp>
            <a:noAutofit/>
          </a:bodyPr>
          <a:lstStyle/>
          <a:p>
            <a:pPr algn="ctr" defTabSz="950298" fontAlgn="base">
              <a:lnSpc>
                <a:spcPct val="90000"/>
              </a:lnSpc>
              <a:spcBef>
                <a:spcPct val="0"/>
              </a:spcBef>
              <a:spcAft>
                <a:spcPct val="0"/>
              </a:spcAft>
              <a:defRPr/>
            </a:pPr>
            <a:endParaRPr lang="en-US" sz="2448" kern="0" dirty="0" err="1">
              <a:solidFill>
                <a:srgbClr val="FFFFFF"/>
              </a:solidFill>
              <a:latin typeface="Segoe UI"/>
              <a:ea typeface="Segoe UI" pitchFamily="34" charset="0"/>
              <a:cs typeface="Segoe UI" pitchFamily="34" charset="0"/>
            </a:endParaRPr>
          </a:p>
        </p:txBody>
      </p:sp>
      <p:sp>
        <p:nvSpPr>
          <p:cNvPr id="105" name="Striped Right Arrow 74">
            <a:extLst>
              <a:ext uri="{FF2B5EF4-FFF2-40B4-BE49-F238E27FC236}">
                <a16:creationId xmlns:a16="http://schemas.microsoft.com/office/drawing/2014/main" id="{382851F2-52BE-4762-8CE6-A681FD5978FB}"/>
              </a:ext>
            </a:extLst>
          </p:cNvPr>
          <p:cNvSpPr/>
          <p:nvPr/>
        </p:nvSpPr>
        <p:spPr bwMode="auto">
          <a:xfrm>
            <a:off x="10315575" y="2340315"/>
            <a:ext cx="546495" cy="514112"/>
          </a:xfrm>
          <a:prstGeom prst="stripedRightArrow">
            <a:avLst/>
          </a:prstGeom>
          <a:solidFill>
            <a:schemeClr val="accent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15" tIns="149131" rIns="186415" bIns="149131" numCol="1" spcCol="0" rtlCol="0" fromWordArt="0" anchor="t" anchorCtr="0" forceAA="0" compatLnSpc="1">
            <a:prstTxWarp prst="textNoShape">
              <a:avLst/>
            </a:prstTxWarp>
            <a:noAutofit/>
          </a:bodyPr>
          <a:lstStyle/>
          <a:p>
            <a:pPr algn="ctr" defTabSz="950298" fontAlgn="base">
              <a:lnSpc>
                <a:spcPct val="90000"/>
              </a:lnSpc>
              <a:spcBef>
                <a:spcPct val="0"/>
              </a:spcBef>
              <a:spcAft>
                <a:spcPct val="0"/>
              </a:spcAft>
              <a:defRPr/>
            </a:pPr>
            <a:endParaRPr lang="en-US" sz="2448" kern="0" dirty="0" err="1">
              <a:solidFill>
                <a:srgbClr val="FFFFFF"/>
              </a:solidFill>
              <a:latin typeface="Segoe UI"/>
              <a:ea typeface="Segoe UI" pitchFamily="34" charset="0"/>
              <a:cs typeface="Segoe UI" pitchFamily="34" charset="0"/>
            </a:endParaRPr>
          </a:p>
        </p:txBody>
      </p:sp>
      <p:sp>
        <p:nvSpPr>
          <p:cNvPr id="106" name="Striped Right Arrow 74">
            <a:extLst>
              <a:ext uri="{FF2B5EF4-FFF2-40B4-BE49-F238E27FC236}">
                <a16:creationId xmlns:a16="http://schemas.microsoft.com/office/drawing/2014/main" id="{BCA68FF0-8E73-4A3B-B422-D19AECEBD613}"/>
              </a:ext>
            </a:extLst>
          </p:cNvPr>
          <p:cNvSpPr/>
          <p:nvPr/>
        </p:nvSpPr>
        <p:spPr bwMode="auto">
          <a:xfrm>
            <a:off x="8212883" y="2352744"/>
            <a:ext cx="546495" cy="514112"/>
          </a:xfrm>
          <a:prstGeom prst="stripedRightArrow">
            <a:avLst/>
          </a:prstGeom>
          <a:solidFill>
            <a:schemeClr val="accent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15" tIns="149131" rIns="186415" bIns="149131" numCol="1" spcCol="0" rtlCol="0" fromWordArt="0" anchor="t" anchorCtr="0" forceAA="0" compatLnSpc="1">
            <a:prstTxWarp prst="textNoShape">
              <a:avLst/>
            </a:prstTxWarp>
            <a:noAutofit/>
          </a:bodyPr>
          <a:lstStyle/>
          <a:p>
            <a:pPr algn="ctr" defTabSz="950298" fontAlgn="base">
              <a:lnSpc>
                <a:spcPct val="90000"/>
              </a:lnSpc>
              <a:spcBef>
                <a:spcPct val="0"/>
              </a:spcBef>
              <a:spcAft>
                <a:spcPct val="0"/>
              </a:spcAft>
              <a:defRPr/>
            </a:pPr>
            <a:endParaRPr lang="en-US" sz="2448" kern="0" dirty="0" err="1">
              <a:solidFill>
                <a:srgbClr val="FFFFFF"/>
              </a:solidFill>
              <a:latin typeface="Segoe UI"/>
              <a:ea typeface="Segoe UI" pitchFamily="34" charset="0"/>
              <a:cs typeface="Segoe UI" pitchFamily="34" charset="0"/>
            </a:endParaRPr>
          </a:p>
        </p:txBody>
      </p:sp>
      <p:sp>
        <p:nvSpPr>
          <p:cNvPr id="107" name="Striped Right Arrow 74">
            <a:extLst>
              <a:ext uri="{FF2B5EF4-FFF2-40B4-BE49-F238E27FC236}">
                <a16:creationId xmlns:a16="http://schemas.microsoft.com/office/drawing/2014/main" id="{7C179595-D354-4924-901E-392F2D7664D6}"/>
              </a:ext>
            </a:extLst>
          </p:cNvPr>
          <p:cNvSpPr/>
          <p:nvPr/>
        </p:nvSpPr>
        <p:spPr bwMode="auto">
          <a:xfrm>
            <a:off x="1397296" y="2353023"/>
            <a:ext cx="546495" cy="514112"/>
          </a:xfrm>
          <a:prstGeom prst="stripedRightArrow">
            <a:avLst/>
          </a:prstGeom>
          <a:solidFill>
            <a:schemeClr val="accent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15" tIns="149131" rIns="186415" bIns="149131" numCol="1" spcCol="0" rtlCol="0" fromWordArt="0" anchor="t" anchorCtr="0" forceAA="0" compatLnSpc="1">
            <a:prstTxWarp prst="textNoShape">
              <a:avLst/>
            </a:prstTxWarp>
            <a:noAutofit/>
          </a:bodyPr>
          <a:lstStyle/>
          <a:p>
            <a:pPr algn="ctr" defTabSz="950298" fontAlgn="base">
              <a:lnSpc>
                <a:spcPct val="90000"/>
              </a:lnSpc>
              <a:spcBef>
                <a:spcPct val="0"/>
              </a:spcBef>
              <a:spcAft>
                <a:spcPct val="0"/>
              </a:spcAft>
              <a:defRPr/>
            </a:pPr>
            <a:endParaRPr lang="en-US" sz="2448" kern="0" dirty="0" err="1">
              <a:solidFill>
                <a:srgbClr val="FFFFFF"/>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17819304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0-#ppt_w/2"/>
                                          </p:val>
                                        </p:tav>
                                        <p:tav tm="100000">
                                          <p:val>
                                            <p:strVal val="#ppt_x"/>
                                          </p:val>
                                        </p:tav>
                                      </p:tavLst>
                                    </p:anim>
                                    <p:anim calcmode="lin" valueType="num">
                                      <p:cBhvr additive="base">
                                        <p:cTn id="8" dur="500" fill="hold"/>
                                        <p:tgtEl>
                                          <p:spTgt spid="1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100"/>
                                        </p:tgtEl>
                                        <p:attrNameLst>
                                          <p:attrName>style.visibility</p:attrName>
                                        </p:attrNameLst>
                                      </p:cBhvr>
                                      <p:to>
                                        <p:strVal val="visible"/>
                                      </p:to>
                                    </p:set>
                                    <p:anim calcmode="lin" valueType="num">
                                      <p:cBhvr additive="base">
                                        <p:cTn id="12" dur="500" fill="hold"/>
                                        <p:tgtEl>
                                          <p:spTgt spid="100"/>
                                        </p:tgtEl>
                                        <p:attrNameLst>
                                          <p:attrName>ppt_x</p:attrName>
                                        </p:attrNameLst>
                                      </p:cBhvr>
                                      <p:tavLst>
                                        <p:tav tm="0">
                                          <p:val>
                                            <p:strVal val="0-#ppt_w/2"/>
                                          </p:val>
                                        </p:tav>
                                        <p:tav tm="100000">
                                          <p:val>
                                            <p:strVal val="#ppt_x"/>
                                          </p:val>
                                        </p:tav>
                                      </p:tavLst>
                                    </p:anim>
                                    <p:anim calcmode="lin" valueType="num">
                                      <p:cBhvr additive="base">
                                        <p:cTn id="13" dur="500" fill="hold"/>
                                        <p:tgtEl>
                                          <p:spTgt spid="100"/>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nodeType="afterEffect">
                                  <p:stCondLst>
                                    <p:cond delay="0"/>
                                  </p:stCondLst>
                                  <p:childTnLst>
                                    <p:set>
                                      <p:cBhvr>
                                        <p:cTn id="16" dur="1" fill="hold">
                                          <p:stCondLst>
                                            <p:cond delay="0"/>
                                          </p:stCondLst>
                                        </p:cTn>
                                        <p:tgtEl>
                                          <p:spTgt spid="40"/>
                                        </p:tgtEl>
                                        <p:attrNameLst>
                                          <p:attrName>style.visibility</p:attrName>
                                        </p:attrNameLst>
                                      </p:cBhvr>
                                      <p:to>
                                        <p:strVal val="visible"/>
                                      </p:to>
                                    </p:set>
                                    <p:anim calcmode="lin" valueType="num">
                                      <p:cBhvr additive="base">
                                        <p:cTn id="17" dur="500" fill="hold"/>
                                        <p:tgtEl>
                                          <p:spTgt spid="40"/>
                                        </p:tgtEl>
                                        <p:attrNameLst>
                                          <p:attrName>ppt_x</p:attrName>
                                        </p:attrNameLst>
                                      </p:cBhvr>
                                      <p:tavLst>
                                        <p:tav tm="0">
                                          <p:val>
                                            <p:strVal val="0-#ppt_w/2"/>
                                          </p:val>
                                        </p:tav>
                                        <p:tav tm="100000">
                                          <p:val>
                                            <p:strVal val="#ppt_x"/>
                                          </p:val>
                                        </p:tav>
                                      </p:tavLst>
                                    </p:anim>
                                    <p:anim calcmode="lin" valueType="num">
                                      <p:cBhvr additive="base">
                                        <p:cTn id="18" dur="500" fill="hold"/>
                                        <p:tgtEl>
                                          <p:spTgt spid="40"/>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grpId="0" nodeType="afterEffect">
                                  <p:stCondLst>
                                    <p:cond delay="0"/>
                                  </p:stCondLst>
                                  <p:childTnLst>
                                    <p:set>
                                      <p:cBhvr>
                                        <p:cTn id="21" dur="1" fill="hold">
                                          <p:stCondLst>
                                            <p:cond delay="0"/>
                                          </p:stCondLst>
                                        </p:cTn>
                                        <p:tgtEl>
                                          <p:spTgt spid="101"/>
                                        </p:tgtEl>
                                        <p:attrNameLst>
                                          <p:attrName>style.visibility</p:attrName>
                                        </p:attrNameLst>
                                      </p:cBhvr>
                                      <p:to>
                                        <p:strVal val="visible"/>
                                      </p:to>
                                    </p:set>
                                    <p:anim calcmode="lin" valueType="num">
                                      <p:cBhvr additive="base">
                                        <p:cTn id="22" dur="500" fill="hold"/>
                                        <p:tgtEl>
                                          <p:spTgt spid="101"/>
                                        </p:tgtEl>
                                        <p:attrNameLst>
                                          <p:attrName>ppt_x</p:attrName>
                                        </p:attrNameLst>
                                      </p:cBhvr>
                                      <p:tavLst>
                                        <p:tav tm="0">
                                          <p:val>
                                            <p:strVal val="0-#ppt_w/2"/>
                                          </p:val>
                                        </p:tav>
                                        <p:tav tm="100000">
                                          <p:val>
                                            <p:strVal val="#ppt_x"/>
                                          </p:val>
                                        </p:tav>
                                      </p:tavLst>
                                    </p:anim>
                                    <p:anim calcmode="lin" valueType="num">
                                      <p:cBhvr additive="base">
                                        <p:cTn id="23" dur="500" fill="hold"/>
                                        <p:tgtEl>
                                          <p:spTgt spid="101"/>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8" fill="hold" nodeType="afterEffect">
                                  <p:stCondLst>
                                    <p:cond delay="0"/>
                                  </p:stCondLst>
                                  <p:childTnLst>
                                    <p:set>
                                      <p:cBhvr>
                                        <p:cTn id="26" dur="1" fill="hold">
                                          <p:stCondLst>
                                            <p:cond delay="0"/>
                                          </p:stCondLst>
                                        </p:cTn>
                                        <p:tgtEl>
                                          <p:spTgt spid="45"/>
                                        </p:tgtEl>
                                        <p:attrNameLst>
                                          <p:attrName>style.visibility</p:attrName>
                                        </p:attrNameLst>
                                      </p:cBhvr>
                                      <p:to>
                                        <p:strVal val="visible"/>
                                      </p:to>
                                    </p:set>
                                    <p:anim calcmode="lin" valueType="num">
                                      <p:cBhvr additive="base">
                                        <p:cTn id="27" dur="500" fill="hold"/>
                                        <p:tgtEl>
                                          <p:spTgt spid="45"/>
                                        </p:tgtEl>
                                        <p:attrNameLst>
                                          <p:attrName>ppt_x</p:attrName>
                                        </p:attrNameLst>
                                      </p:cBhvr>
                                      <p:tavLst>
                                        <p:tav tm="0">
                                          <p:val>
                                            <p:strVal val="0-#ppt_w/2"/>
                                          </p:val>
                                        </p:tav>
                                        <p:tav tm="100000">
                                          <p:val>
                                            <p:strVal val="#ppt_x"/>
                                          </p:val>
                                        </p:tav>
                                      </p:tavLst>
                                    </p:anim>
                                    <p:anim calcmode="lin" valueType="num">
                                      <p:cBhvr additive="base">
                                        <p:cTn id="28" dur="500" fill="hold"/>
                                        <p:tgtEl>
                                          <p:spTgt spid="45"/>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2" presetClass="entr" presetSubtype="8" fill="hold" grpId="0" nodeType="afterEffect">
                                  <p:stCondLst>
                                    <p:cond delay="0"/>
                                  </p:stCondLst>
                                  <p:childTnLst>
                                    <p:set>
                                      <p:cBhvr>
                                        <p:cTn id="31" dur="1" fill="hold">
                                          <p:stCondLst>
                                            <p:cond delay="0"/>
                                          </p:stCondLst>
                                        </p:cTn>
                                        <p:tgtEl>
                                          <p:spTgt spid="102"/>
                                        </p:tgtEl>
                                        <p:attrNameLst>
                                          <p:attrName>style.visibility</p:attrName>
                                        </p:attrNameLst>
                                      </p:cBhvr>
                                      <p:to>
                                        <p:strVal val="visible"/>
                                      </p:to>
                                    </p:set>
                                    <p:anim calcmode="lin" valueType="num">
                                      <p:cBhvr additive="base">
                                        <p:cTn id="32" dur="500" fill="hold"/>
                                        <p:tgtEl>
                                          <p:spTgt spid="102"/>
                                        </p:tgtEl>
                                        <p:attrNameLst>
                                          <p:attrName>ppt_x</p:attrName>
                                        </p:attrNameLst>
                                      </p:cBhvr>
                                      <p:tavLst>
                                        <p:tav tm="0">
                                          <p:val>
                                            <p:strVal val="0-#ppt_w/2"/>
                                          </p:val>
                                        </p:tav>
                                        <p:tav tm="100000">
                                          <p:val>
                                            <p:strVal val="#ppt_x"/>
                                          </p:val>
                                        </p:tav>
                                      </p:tavLst>
                                    </p:anim>
                                    <p:anim calcmode="lin" valueType="num">
                                      <p:cBhvr additive="base">
                                        <p:cTn id="33" dur="500" fill="hold"/>
                                        <p:tgtEl>
                                          <p:spTgt spid="102"/>
                                        </p:tgtEl>
                                        <p:attrNameLst>
                                          <p:attrName>ppt_y</p:attrName>
                                        </p:attrNameLst>
                                      </p:cBhvr>
                                      <p:tavLst>
                                        <p:tav tm="0">
                                          <p:val>
                                            <p:strVal val="#ppt_y"/>
                                          </p:val>
                                        </p:tav>
                                        <p:tav tm="100000">
                                          <p:val>
                                            <p:strVal val="#ppt_y"/>
                                          </p:val>
                                        </p:tav>
                                      </p:tavLst>
                                    </p:anim>
                                  </p:childTnLst>
                                </p:cTn>
                              </p:par>
                            </p:childTnLst>
                          </p:cTn>
                        </p:par>
                        <p:par>
                          <p:cTn id="34" fill="hold">
                            <p:stCondLst>
                              <p:cond delay="3000"/>
                            </p:stCondLst>
                            <p:childTnLst>
                              <p:par>
                                <p:cTn id="35" presetID="2" presetClass="entr" presetSubtype="8" fill="hold" nodeType="afterEffect">
                                  <p:stCondLst>
                                    <p:cond delay="0"/>
                                  </p:stCondLst>
                                  <p:childTnLst>
                                    <p:set>
                                      <p:cBhvr>
                                        <p:cTn id="36" dur="1" fill="hold">
                                          <p:stCondLst>
                                            <p:cond delay="0"/>
                                          </p:stCondLst>
                                        </p:cTn>
                                        <p:tgtEl>
                                          <p:spTgt spid="72"/>
                                        </p:tgtEl>
                                        <p:attrNameLst>
                                          <p:attrName>style.visibility</p:attrName>
                                        </p:attrNameLst>
                                      </p:cBhvr>
                                      <p:to>
                                        <p:strVal val="visible"/>
                                      </p:to>
                                    </p:set>
                                    <p:anim calcmode="lin" valueType="num">
                                      <p:cBhvr additive="base">
                                        <p:cTn id="37" dur="500" fill="hold"/>
                                        <p:tgtEl>
                                          <p:spTgt spid="72"/>
                                        </p:tgtEl>
                                        <p:attrNameLst>
                                          <p:attrName>ppt_x</p:attrName>
                                        </p:attrNameLst>
                                      </p:cBhvr>
                                      <p:tavLst>
                                        <p:tav tm="0">
                                          <p:val>
                                            <p:strVal val="0-#ppt_w/2"/>
                                          </p:val>
                                        </p:tav>
                                        <p:tav tm="100000">
                                          <p:val>
                                            <p:strVal val="#ppt_x"/>
                                          </p:val>
                                        </p:tav>
                                      </p:tavLst>
                                    </p:anim>
                                    <p:anim calcmode="lin" valueType="num">
                                      <p:cBhvr additive="base">
                                        <p:cTn id="38" dur="500" fill="hold"/>
                                        <p:tgtEl>
                                          <p:spTgt spid="72"/>
                                        </p:tgtEl>
                                        <p:attrNameLst>
                                          <p:attrName>ppt_y</p:attrName>
                                        </p:attrNameLst>
                                      </p:cBhvr>
                                      <p:tavLst>
                                        <p:tav tm="0">
                                          <p:val>
                                            <p:strVal val="#ppt_y"/>
                                          </p:val>
                                        </p:tav>
                                        <p:tav tm="100000">
                                          <p:val>
                                            <p:strVal val="#ppt_y"/>
                                          </p:val>
                                        </p:tav>
                                      </p:tavLst>
                                    </p:anim>
                                  </p:childTnLst>
                                </p:cTn>
                              </p:par>
                            </p:childTnLst>
                          </p:cTn>
                        </p:par>
                        <p:par>
                          <p:cTn id="39" fill="hold">
                            <p:stCondLst>
                              <p:cond delay="3500"/>
                            </p:stCondLst>
                            <p:childTnLst>
                              <p:par>
                                <p:cTn id="40" presetID="2" presetClass="entr" presetSubtype="8" fill="hold" grpId="0" nodeType="afterEffect">
                                  <p:stCondLst>
                                    <p:cond delay="0"/>
                                  </p:stCondLst>
                                  <p:childTnLst>
                                    <p:set>
                                      <p:cBhvr>
                                        <p:cTn id="41" dur="1" fill="hold">
                                          <p:stCondLst>
                                            <p:cond delay="0"/>
                                          </p:stCondLst>
                                        </p:cTn>
                                        <p:tgtEl>
                                          <p:spTgt spid="103"/>
                                        </p:tgtEl>
                                        <p:attrNameLst>
                                          <p:attrName>style.visibility</p:attrName>
                                        </p:attrNameLst>
                                      </p:cBhvr>
                                      <p:to>
                                        <p:strVal val="visible"/>
                                      </p:to>
                                    </p:set>
                                    <p:anim calcmode="lin" valueType="num">
                                      <p:cBhvr additive="base">
                                        <p:cTn id="42" dur="500" fill="hold"/>
                                        <p:tgtEl>
                                          <p:spTgt spid="103"/>
                                        </p:tgtEl>
                                        <p:attrNameLst>
                                          <p:attrName>ppt_x</p:attrName>
                                        </p:attrNameLst>
                                      </p:cBhvr>
                                      <p:tavLst>
                                        <p:tav tm="0">
                                          <p:val>
                                            <p:strVal val="0-#ppt_w/2"/>
                                          </p:val>
                                        </p:tav>
                                        <p:tav tm="100000">
                                          <p:val>
                                            <p:strVal val="#ppt_x"/>
                                          </p:val>
                                        </p:tav>
                                      </p:tavLst>
                                    </p:anim>
                                    <p:anim calcmode="lin" valueType="num">
                                      <p:cBhvr additive="base">
                                        <p:cTn id="43" dur="500" fill="hold"/>
                                        <p:tgtEl>
                                          <p:spTgt spid="103"/>
                                        </p:tgtEl>
                                        <p:attrNameLst>
                                          <p:attrName>ppt_y</p:attrName>
                                        </p:attrNameLst>
                                      </p:cBhvr>
                                      <p:tavLst>
                                        <p:tav tm="0">
                                          <p:val>
                                            <p:strVal val="#ppt_y"/>
                                          </p:val>
                                        </p:tav>
                                        <p:tav tm="100000">
                                          <p:val>
                                            <p:strVal val="#ppt_y"/>
                                          </p:val>
                                        </p:tav>
                                      </p:tavLst>
                                    </p:anim>
                                  </p:childTnLst>
                                </p:cTn>
                              </p:par>
                            </p:childTnLst>
                          </p:cTn>
                        </p:par>
                        <p:par>
                          <p:cTn id="44" fill="hold">
                            <p:stCondLst>
                              <p:cond delay="4000"/>
                            </p:stCondLst>
                            <p:childTnLst>
                              <p:par>
                                <p:cTn id="45" presetID="2" presetClass="entr" presetSubtype="8" fill="hold" nodeType="afterEffect">
                                  <p:stCondLst>
                                    <p:cond delay="0"/>
                                  </p:stCondLst>
                                  <p:childTnLst>
                                    <p:set>
                                      <p:cBhvr>
                                        <p:cTn id="46" dur="1" fill="hold">
                                          <p:stCondLst>
                                            <p:cond delay="0"/>
                                          </p:stCondLst>
                                        </p:cTn>
                                        <p:tgtEl>
                                          <p:spTgt spid="80"/>
                                        </p:tgtEl>
                                        <p:attrNameLst>
                                          <p:attrName>style.visibility</p:attrName>
                                        </p:attrNameLst>
                                      </p:cBhvr>
                                      <p:to>
                                        <p:strVal val="visible"/>
                                      </p:to>
                                    </p:set>
                                    <p:anim calcmode="lin" valueType="num">
                                      <p:cBhvr additive="base">
                                        <p:cTn id="47" dur="500" fill="hold"/>
                                        <p:tgtEl>
                                          <p:spTgt spid="80"/>
                                        </p:tgtEl>
                                        <p:attrNameLst>
                                          <p:attrName>ppt_x</p:attrName>
                                        </p:attrNameLst>
                                      </p:cBhvr>
                                      <p:tavLst>
                                        <p:tav tm="0">
                                          <p:val>
                                            <p:strVal val="0-#ppt_w/2"/>
                                          </p:val>
                                        </p:tav>
                                        <p:tav tm="100000">
                                          <p:val>
                                            <p:strVal val="#ppt_x"/>
                                          </p:val>
                                        </p:tav>
                                      </p:tavLst>
                                    </p:anim>
                                    <p:anim calcmode="lin" valueType="num">
                                      <p:cBhvr additive="base">
                                        <p:cTn id="48" dur="500" fill="hold"/>
                                        <p:tgtEl>
                                          <p:spTgt spid="80"/>
                                        </p:tgtEl>
                                        <p:attrNameLst>
                                          <p:attrName>ppt_y</p:attrName>
                                        </p:attrNameLst>
                                      </p:cBhvr>
                                      <p:tavLst>
                                        <p:tav tm="0">
                                          <p:val>
                                            <p:strVal val="#ppt_y"/>
                                          </p:val>
                                        </p:tav>
                                        <p:tav tm="100000">
                                          <p:val>
                                            <p:strVal val="#ppt_y"/>
                                          </p:val>
                                        </p:tav>
                                      </p:tavLst>
                                    </p:anim>
                                  </p:childTnLst>
                                </p:cTn>
                              </p:par>
                            </p:childTnLst>
                          </p:cTn>
                        </p:par>
                        <p:par>
                          <p:cTn id="49" fill="hold">
                            <p:stCondLst>
                              <p:cond delay="4500"/>
                            </p:stCondLst>
                            <p:childTnLst>
                              <p:par>
                                <p:cTn id="50" presetID="10" presetClass="entr" presetSubtype="0" fill="hold" grpId="0" nodeType="afterEffect">
                                  <p:stCondLst>
                                    <p:cond delay="0"/>
                                  </p:stCondLst>
                                  <p:childTnLst>
                                    <p:set>
                                      <p:cBhvr>
                                        <p:cTn id="51" dur="1" fill="hold">
                                          <p:stCondLst>
                                            <p:cond delay="0"/>
                                          </p:stCondLst>
                                        </p:cTn>
                                        <p:tgtEl>
                                          <p:spTgt spid="98"/>
                                        </p:tgtEl>
                                        <p:attrNameLst>
                                          <p:attrName>style.visibility</p:attrName>
                                        </p:attrNameLst>
                                      </p:cBhvr>
                                      <p:to>
                                        <p:strVal val="visible"/>
                                      </p:to>
                                    </p:set>
                                    <p:animEffect transition="in" filter="fade">
                                      <p:cBhvr>
                                        <p:cTn id="52" dur="500"/>
                                        <p:tgtEl>
                                          <p:spTgt spid="98"/>
                                        </p:tgtEl>
                                      </p:cBhvr>
                                    </p:animEffect>
                                  </p:childTnLst>
                                </p:cTn>
                              </p:par>
                            </p:childTnLst>
                          </p:cTn>
                        </p:par>
                        <p:par>
                          <p:cTn id="53" fill="hold">
                            <p:stCondLst>
                              <p:cond delay="5000"/>
                            </p:stCondLst>
                            <p:childTnLst>
                              <p:par>
                                <p:cTn id="54" presetID="10" presetClass="entr" presetSubtype="0" fill="hold" grpId="0" nodeType="afterEffect">
                                  <p:stCondLst>
                                    <p:cond delay="0"/>
                                  </p:stCondLst>
                                  <p:childTnLst>
                                    <p:set>
                                      <p:cBhvr>
                                        <p:cTn id="55" dur="1" fill="hold">
                                          <p:stCondLst>
                                            <p:cond delay="0"/>
                                          </p:stCondLst>
                                        </p:cTn>
                                        <p:tgtEl>
                                          <p:spTgt spid="99"/>
                                        </p:tgtEl>
                                        <p:attrNameLst>
                                          <p:attrName>style.visibility</p:attrName>
                                        </p:attrNameLst>
                                      </p:cBhvr>
                                      <p:to>
                                        <p:strVal val="visible"/>
                                      </p:to>
                                    </p:set>
                                    <p:animEffect transition="in" filter="fade">
                                      <p:cBhvr>
                                        <p:cTn id="56" dur="500"/>
                                        <p:tgtEl>
                                          <p:spTgt spid="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animBg="1"/>
      <p:bldP spid="99" grpId="0" animBg="1"/>
      <p:bldP spid="100" grpId="0" animBg="1"/>
      <p:bldP spid="101" grpId="0" animBg="1"/>
      <p:bldP spid="102" grpId="0" animBg="1"/>
      <p:bldP spid="10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2">
            <a:extLst>
              <a:ext uri="{FF2B5EF4-FFF2-40B4-BE49-F238E27FC236}">
                <a16:creationId xmlns:a16="http://schemas.microsoft.com/office/drawing/2014/main" id="{96702A43-2DB9-420A-B3A9-44A985BDD9CF}"/>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789036" y="32267"/>
            <a:ext cx="1156620" cy="208291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137899CB-F707-43D6-ACFD-55CE4EC6374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071666" y="5255818"/>
            <a:ext cx="2113989" cy="1413730"/>
          </a:xfrm>
          <a:prstGeom prst="rect">
            <a:avLst/>
          </a:prstGeom>
        </p:spPr>
      </p:pic>
      <p:pic>
        <p:nvPicPr>
          <p:cNvPr id="22" name="Picture 21">
            <a:extLst>
              <a:ext uri="{FF2B5EF4-FFF2-40B4-BE49-F238E27FC236}">
                <a16:creationId xmlns:a16="http://schemas.microsoft.com/office/drawing/2014/main" id="{AF63B6F4-D634-4014-B7C9-8A9266CF8FD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flipH="1">
            <a:off x="10481790" y="5117923"/>
            <a:ext cx="1553213" cy="1684009"/>
          </a:xfrm>
          <a:prstGeom prst="rect">
            <a:avLst/>
          </a:prstGeom>
        </p:spPr>
      </p:pic>
      <p:sp>
        <p:nvSpPr>
          <p:cNvPr id="36" name="TextBox 35">
            <a:extLst>
              <a:ext uri="{FF2B5EF4-FFF2-40B4-BE49-F238E27FC236}">
                <a16:creationId xmlns:a16="http://schemas.microsoft.com/office/drawing/2014/main" id="{CBA50D8F-7B56-46FA-9305-D382378933B9}"/>
              </a:ext>
            </a:extLst>
          </p:cNvPr>
          <p:cNvSpPr txBox="1"/>
          <p:nvPr/>
        </p:nvSpPr>
        <p:spPr>
          <a:xfrm>
            <a:off x="2563651" y="2089070"/>
            <a:ext cx="6937336" cy="960545"/>
          </a:xfrm>
          <a:prstGeom prst="rect">
            <a:avLst/>
          </a:prstGeom>
          <a:noFill/>
        </p:spPr>
        <p:txBody>
          <a:bodyPr wrap="none" lIns="0" tIns="0" rIns="0" bIns="0" rtlCol="0">
            <a:spAutoFit/>
          </a:bodyPr>
          <a:lstStyle/>
          <a:p>
            <a:pPr algn="ctr" defTabSz="932563">
              <a:defRPr/>
            </a:pPr>
            <a:r>
              <a:rPr lang="en-US" sz="3672" dirty="0">
                <a:gradFill>
                  <a:gsLst>
                    <a:gs pos="2917">
                      <a:srgbClr val="505050"/>
                    </a:gs>
                    <a:gs pos="100000">
                      <a:srgbClr val="505050"/>
                    </a:gs>
                  </a:gsLst>
                  <a:lin ang="5400000" scaled="0"/>
                </a:gradFill>
                <a:latin typeface="Segoe UI" panose="020B0502040204020203" pitchFamily="34" charset="0"/>
                <a:ea typeface="Segoe UI" panose="020B0502040204020203" pitchFamily="34" charset="0"/>
                <a:cs typeface="Segoe UI" panose="020B0502040204020203" pitchFamily="34" charset="0"/>
              </a:rPr>
              <a:t>Azure Sphere</a:t>
            </a:r>
            <a:r>
              <a:rPr lang="zh-CN" altLang="en-US" sz="3672" dirty="0">
                <a:gradFill>
                  <a:gsLst>
                    <a:gs pos="2917">
                      <a:srgbClr val="505050"/>
                    </a:gs>
                    <a:gs pos="100000">
                      <a:srgbClr val="505050"/>
                    </a:gs>
                  </a:gsLst>
                  <a:lin ang="5400000" scaled="0"/>
                </a:gradFill>
                <a:latin typeface="Microsoft YaHei" charset="-122"/>
                <a:ea typeface="Microsoft YaHei" charset="-122"/>
                <a:cs typeface="Microsoft YaHei" charset="-122"/>
              </a:rPr>
              <a:t>：安全的物联网 </a:t>
            </a:r>
            <a:r>
              <a:rPr lang="en-US" altLang="zh-CN" sz="3672" dirty="0">
                <a:gradFill>
                  <a:gsLst>
                    <a:gs pos="2917">
                      <a:srgbClr val="505050"/>
                    </a:gs>
                    <a:gs pos="100000">
                      <a:srgbClr val="505050"/>
                    </a:gs>
                  </a:gsLst>
                  <a:lin ang="5400000" scaled="0"/>
                </a:gradFill>
                <a:latin typeface="Segoe UI" panose="020B0502040204020203" pitchFamily="34" charset="0"/>
                <a:ea typeface="Segoe UI" panose="020B0502040204020203" pitchFamily="34" charset="0"/>
                <a:cs typeface="Segoe UI" panose="020B0502040204020203" pitchFamily="34" charset="0"/>
              </a:rPr>
              <a:t>OS</a:t>
            </a:r>
          </a:p>
          <a:p>
            <a:pPr algn="ctr" defTabSz="932563">
              <a:defRPr/>
            </a:pPr>
            <a:r>
              <a:rPr lang="en-US" altLang="zh-CN" sz="2448" dirty="0">
                <a:gradFill>
                  <a:gsLst>
                    <a:gs pos="2917">
                      <a:srgbClr val="505050"/>
                    </a:gs>
                    <a:gs pos="100000">
                      <a:srgbClr val="505050"/>
                    </a:gs>
                  </a:gsLst>
                  <a:lin ang="5400000" scaled="0"/>
                </a:gradFill>
                <a:latin typeface="Segoe UI" panose="020B0502040204020203" pitchFamily="34" charset="0"/>
                <a:ea typeface="Segoe UI" panose="020B0502040204020203" pitchFamily="34" charset="0"/>
                <a:cs typeface="Segoe UI" panose="020B0502040204020203" pitchFamily="34" charset="0"/>
              </a:rPr>
              <a:t>Azure </a:t>
            </a:r>
            <a:r>
              <a:rPr lang="en-US" altLang="zh-CN" sz="2448" dirty="0" err="1">
                <a:gradFill>
                  <a:gsLst>
                    <a:gs pos="2917">
                      <a:srgbClr val="505050"/>
                    </a:gs>
                    <a:gs pos="100000">
                      <a:srgbClr val="505050"/>
                    </a:gs>
                  </a:gsLst>
                  <a:lin ang="5400000" scaled="0"/>
                </a:gradFill>
                <a:latin typeface="Segoe UI" panose="020B0502040204020203" pitchFamily="34" charset="0"/>
                <a:ea typeface="Segoe UI" panose="020B0502040204020203" pitchFamily="34" charset="0"/>
                <a:cs typeface="Segoe UI" panose="020B0502040204020203" pitchFamily="34" charset="0"/>
              </a:rPr>
              <a:t>Sphere:Safe</a:t>
            </a:r>
            <a:r>
              <a:rPr lang="en-US" altLang="zh-CN" sz="2448" dirty="0">
                <a:gradFill>
                  <a:gsLst>
                    <a:gs pos="2917">
                      <a:srgbClr val="505050"/>
                    </a:gs>
                    <a:gs pos="100000">
                      <a:srgbClr val="505050"/>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altLang="zh-CN" sz="2448" dirty="0" err="1">
                <a:gradFill>
                  <a:gsLst>
                    <a:gs pos="2917">
                      <a:srgbClr val="505050"/>
                    </a:gs>
                    <a:gs pos="100000">
                      <a:srgbClr val="505050"/>
                    </a:gs>
                  </a:gsLst>
                  <a:lin ang="5400000" scaled="0"/>
                </a:gradFill>
                <a:latin typeface="Segoe UI" panose="020B0502040204020203" pitchFamily="34" charset="0"/>
                <a:ea typeface="Segoe UI" panose="020B0502040204020203" pitchFamily="34" charset="0"/>
                <a:cs typeface="Segoe UI" panose="020B0502040204020203" pitchFamily="34" charset="0"/>
              </a:rPr>
              <a:t>IoT</a:t>
            </a:r>
            <a:r>
              <a:rPr lang="en-US" altLang="zh-CN" sz="2448" dirty="0">
                <a:gradFill>
                  <a:gsLst>
                    <a:gs pos="2917">
                      <a:srgbClr val="505050"/>
                    </a:gs>
                    <a:gs pos="100000">
                      <a:srgbClr val="505050"/>
                    </a:gs>
                  </a:gsLst>
                  <a:lin ang="5400000" scaled="0"/>
                </a:gradFill>
                <a:latin typeface="Segoe UI" panose="020B0502040204020203" pitchFamily="34" charset="0"/>
                <a:ea typeface="Segoe UI" panose="020B0502040204020203" pitchFamily="34" charset="0"/>
                <a:cs typeface="Segoe UI" panose="020B0502040204020203" pitchFamily="34" charset="0"/>
              </a:rPr>
              <a:t> OS</a:t>
            </a:r>
            <a:endParaRPr lang="en-US" altLang="zh-CN" sz="2040" dirty="0">
              <a:gradFill>
                <a:gsLst>
                  <a:gs pos="2917">
                    <a:srgbClr val="505050"/>
                  </a:gs>
                  <a:gs pos="100000">
                    <a:srgbClr val="505050"/>
                  </a:gs>
                </a:gsLst>
                <a:lin ang="5400000" scaled="0"/>
              </a:gradFill>
              <a:latin typeface="Microsoft YaHei Light" charset="-122"/>
              <a:ea typeface="Microsoft YaHei Light" charset="-122"/>
              <a:cs typeface="Microsoft YaHei Light" charset="-122"/>
            </a:endParaRPr>
          </a:p>
        </p:txBody>
      </p:sp>
      <p:pic>
        <p:nvPicPr>
          <p:cNvPr id="2" name="图片 1"/>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637287" y="620944"/>
            <a:ext cx="1923254" cy="1039335"/>
          </a:xfrm>
          <a:prstGeom prst="rect">
            <a:avLst/>
          </a:prstGeom>
        </p:spPr>
      </p:pic>
      <p:pic>
        <p:nvPicPr>
          <p:cNvPr id="3" name="图片 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385401" y="115535"/>
            <a:ext cx="1016748" cy="1746720"/>
          </a:xfrm>
          <a:prstGeom prst="rect">
            <a:avLst/>
          </a:prstGeom>
        </p:spPr>
      </p:pic>
      <p:pic>
        <p:nvPicPr>
          <p:cNvPr id="4" name="图片 3"/>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0296303" y="370659"/>
            <a:ext cx="1738699" cy="1641565"/>
          </a:xfrm>
          <a:prstGeom prst="rect">
            <a:avLst/>
          </a:prstGeom>
        </p:spPr>
      </p:pic>
      <p:pic>
        <p:nvPicPr>
          <p:cNvPr id="5" name="图片 4"/>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483427" y="5194474"/>
            <a:ext cx="1767839" cy="1495865"/>
          </a:xfrm>
          <a:prstGeom prst="rect">
            <a:avLst/>
          </a:prstGeom>
        </p:spPr>
      </p:pic>
      <p:pic>
        <p:nvPicPr>
          <p:cNvPr id="6" name="图片 5"/>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247355" y="5194473"/>
            <a:ext cx="1020605" cy="1530908"/>
          </a:xfrm>
          <a:prstGeom prst="rect">
            <a:avLst/>
          </a:prstGeom>
        </p:spPr>
      </p:pic>
      <p:sp>
        <p:nvSpPr>
          <p:cNvPr id="7" name="文本框 6"/>
          <p:cNvSpPr txBox="1"/>
          <p:nvPr/>
        </p:nvSpPr>
        <p:spPr>
          <a:xfrm>
            <a:off x="3333498" y="3146128"/>
            <a:ext cx="5289929" cy="1919456"/>
          </a:xfrm>
          <a:prstGeom prst="rect">
            <a:avLst/>
          </a:prstGeom>
          <a:noFill/>
        </p:spPr>
        <p:txBody>
          <a:bodyPr wrap="none" lIns="186521" tIns="149217" rIns="186521" bIns="149217" rtlCol="0">
            <a:spAutoFit/>
          </a:bodyPr>
          <a:lstStyle/>
          <a:p>
            <a:pPr marL="757735" lvl="1" indent="-291436" defTabSz="932563">
              <a:buFont typeface="Wingdings" panose="05000000000000000000" pitchFamily="2" charset="2"/>
              <a:buChar char="l"/>
              <a:defRPr/>
            </a:pPr>
            <a:r>
              <a:rPr lang="zh-CN" altLang="en-US" sz="1632" dirty="0">
                <a:solidFill>
                  <a:srgbClr val="505050"/>
                </a:solidFill>
                <a:latin typeface="Microsoft YaHei" charset="-122"/>
                <a:ea typeface="Microsoft YaHei" charset="-122"/>
                <a:cs typeface="Microsoft YaHei" charset="-122"/>
              </a:rPr>
              <a:t>硬件（</a:t>
            </a:r>
            <a:r>
              <a:rPr lang="en-US" altLang="zh-CN" sz="1632" dirty="0">
                <a:solidFill>
                  <a:srgbClr val="505050"/>
                </a:solidFill>
                <a:latin typeface="Segoe UI" panose="020B0502040204020203" pitchFamily="34" charset="0"/>
                <a:ea typeface="Segoe UI" panose="020B0502040204020203" pitchFamily="34" charset="0"/>
                <a:cs typeface="Segoe UI" panose="020B0502040204020203" pitchFamily="34" charset="0"/>
              </a:rPr>
              <a:t>MCU</a:t>
            </a:r>
            <a:r>
              <a:rPr lang="zh-CN" altLang="en-US" sz="1632" dirty="0">
                <a:solidFill>
                  <a:srgbClr val="505050"/>
                </a:solidFill>
                <a:latin typeface="Microsoft YaHei" charset="-122"/>
                <a:ea typeface="Microsoft YaHei" charset="-122"/>
                <a:cs typeface="Microsoft YaHei" charset="-122"/>
              </a:rPr>
              <a:t>）默认安全</a:t>
            </a:r>
            <a:endParaRPr lang="en-US" altLang="zh-CN" sz="1632" dirty="0">
              <a:solidFill>
                <a:srgbClr val="505050"/>
              </a:solidFill>
              <a:latin typeface="Microsoft YaHei" charset="-122"/>
              <a:ea typeface="Microsoft YaHei" charset="-122"/>
              <a:cs typeface="Microsoft YaHei" charset="-122"/>
            </a:endParaRPr>
          </a:p>
          <a:p>
            <a:pPr marL="466298" lvl="1" defTabSz="932563">
              <a:spcAft>
                <a:spcPts val="816"/>
              </a:spcAft>
              <a:defRPr/>
            </a:pPr>
            <a:r>
              <a:rPr lang="en-US" altLang="zh-CN" sz="1224" dirty="0">
                <a:solidFill>
                  <a:srgbClr val="505050"/>
                </a:solidFill>
                <a:latin typeface="Segoe UI Light" panose="020B0502040204020203" pitchFamily="34" charset="0"/>
                <a:ea typeface="Microsoft YaHei Light" charset="-122"/>
                <a:cs typeface="Microsoft YaHei Light" charset="-122"/>
              </a:rPr>
              <a:t>       Hardware</a:t>
            </a:r>
            <a:r>
              <a:rPr lang="zh-CN" altLang="en-US" sz="1224" dirty="0">
                <a:solidFill>
                  <a:srgbClr val="505050"/>
                </a:solidFill>
                <a:latin typeface="Segoe UI Light" panose="020B0502040204020203" pitchFamily="34" charset="0"/>
                <a:ea typeface="Microsoft YaHei Light" charset="-122"/>
                <a:cs typeface="Microsoft YaHei Light" charset="-122"/>
              </a:rPr>
              <a:t>（</a:t>
            </a:r>
            <a:r>
              <a:rPr lang="en-US" altLang="zh-CN" sz="1224" dirty="0">
                <a:solidFill>
                  <a:srgbClr val="505050"/>
                </a:solidFill>
                <a:latin typeface="Segoe UI Light" panose="020B0502040204020203" pitchFamily="34" charset="0"/>
                <a:ea typeface="Microsoft YaHei Light" charset="-122"/>
                <a:cs typeface="Microsoft YaHei Light" charset="-122"/>
              </a:rPr>
              <a:t>MCU</a:t>
            </a:r>
            <a:r>
              <a:rPr lang="zh-CN" altLang="en-US" sz="1224" dirty="0">
                <a:solidFill>
                  <a:srgbClr val="505050"/>
                </a:solidFill>
                <a:latin typeface="Segoe UI Light" panose="020B0502040204020203" pitchFamily="34" charset="0"/>
                <a:ea typeface="Microsoft YaHei Light" charset="-122"/>
                <a:cs typeface="Microsoft YaHei Light" charset="-122"/>
              </a:rPr>
              <a:t>）</a:t>
            </a:r>
            <a:r>
              <a:rPr lang="en-US" altLang="zh-CN" sz="1224" dirty="0">
                <a:solidFill>
                  <a:srgbClr val="505050"/>
                </a:solidFill>
                <a:latin typeface="Segoe UI Light" panose="020B0502040204020203" pitchFamily="34" charset="0"/>
                <a:ea typeface="Microsoft YaHei Light" charset="-122"/>
                <a:cs typeface="Microsoft YaHei Light" charset="-122"/>
              </a:rPr>
              <a:t> security</a:t>
            </a:r>
            <a:endParaRPr lang="en-US" altLang="zh-CN" sz="1428" dirty="0">
              <a:solidFill>
                <a:srgbClr val="505050"/>
              </a:solidFill>
              <a:latin typeface="Microsoft YaHei" charset="-122"/>
              <a:ea typeface="Microsoft YaHei" charset="-122"/>
              <a:cs typeface="Microsoft YaHei" charset="-122"/>
            </a:endParaRPr>
          </a:p>
          <a:p>
            <a:pPr marL="757735" lvl="1" indent="-291436" defTabSz="932563">
              <a:buFont typeface="Wingdings" panose="05000000000000000000" pitchFamily="2" charset="2"/>
              <a:buChar char="l"/>
              <a:defRPr/>
            </a:pPr>
            <a:r>
              <a:rPr lang="zh-CN" altLang="en-US" sz="1632" dirty="0">
                <a:solidFill>
                  <a:srgbClr val="505050"/>
                </a:solidFill>
                <a:latin typeface="Microsoft YaHei" charset="-122"/>
                <a:ea typeface="Microsoft YaHei" charset="-122"/>
                <a:cs typeface="Microsoft YaHei" charset="-122"/>
              </a:rPr>
              <a:t>软件安全（微软做安全的能力赋予了</a:t>
            </a:r>
            <a:r>
              <a:rPr lang="en-US" altLang="zh-CN" sz="1632" dirty="0">
                <a:solidFill>
                  <a:srgbClr val="505050"/>
                </a:solidFill>
                <a:latin typeface="Segoe UI" panose="020B0502040204020203" pitchFamily="34" charset="0"/>
                <a:ea typeface="Segoe UI" panose="020B0502040204020203" pitchFamily="34" charset="0"/>
                <a:cs typeface="Segoe UI" panose="020B0502040204020203" pitchFamily="34" charset="0"/>
              </a:rPr>
              <a:t>Linux</a:t>
            </a:r>
            <a:r>
              <a:rPr lang="zh-CN" altLang="en-US" sz="1632" dirty="0">
                <a:solidFill>
                  <a:srgbClr val="505050"/>
                </a:solidFill>
                <a:latin typeface="Microsoft YaHei" charset="-122"/>
                <a:ea typeface="Microsoft YaHei" charset="-122"/>
                <a:cs typeface="Microsoft YaHei" charset="-122"/>
              </a:rPr>
              <a:t>）</a:t>
            </a:r>
            <a:endParaRPr lang="en-US" altLang="zh-CN" sz="1632" dirty="0">
              <a:solidFill>
                <a:srgbClr val="505050"/>
              </a:solidFill>
              <a:latin typeface="Microsoft YaHei" charset="-122"/>
              <a:ea typeface="Microsoft YaHei" charset="-122"/>
              <a:cs typeface="Microsoft YaHei" charset="-122"/>
            </a:endParaRPr>
          </a:p>
          <a:p>
            <a:pPr marL="440597" lvl="1" defTabSz="932563">
              <a:spcAft>
                <a:spcPts val="816"/>
              </a:spcAft>
              <a:defRPr/>
            </a:pPr>
            <a:r>
              <a:rPr lang="zh-CN" altLang="en-US" sz="1428" dirty="0">
                <a:solidFill>
                  <a:srgbClr val="505050"/>
                </a:solidFill>
                <a:latin typeface="Microsoft YaHei Light" charset="-122"/>
                <a:ea typeface="Microsoft YaHei Light" charset="-122"/>
                <a:cs typeface="Microsoft YaHei Light" charset="-122"/>
              </a:rPr>
              <a:t>      </a:t>
            </a:r>
            <a:r>
              <a:rPr lang="en-US" altLang="zh-CN" sz="1224" dirty="0">
                <a:solidFill>
                  <a:srgbClr val="505050"/>
                </a:solidFill>
                <a:latin typeface="Segoe UI Light" panose="020B0502040204020203" pitchFamily="34" charset="0"/>
                <a:ea typeface="Microsoft YaHei Light" charset="-122"/>
                <a:cs typeface="Microsoft YaHei Light" charset="-122"/>
              </a:rPr>
              <a:t>Software security with regular update</a:t>
            </a:r>
          </a:p>
          <a:p>
            <a:pPr marL="757735" lvl="1" indent="-291436" defTabSz="932563">
              <a:buFont typeface="Wingdings" panose="05000000000000000000" pitchFamily="2" charset="2"/>
              <a:buChar char="l"/>
              <a:defRPr/>
            </a:pPr>
            <a:r>
              <a:rPr lang="zh-CN" altLang="en-US" sz="1632" dirty="0">
                <a:solidFill>
                  <a:srgbClr val="505050"/>
                </a:solidFill>
                <a:latin typeface="Microsoft YaHei" charset="-122"/>
                <a:ea typeface="Microsoft YaHei" charset="-122"/>
                <a:cs typeface="Microsoft YaHei" charset="-122"/>
              </a:rPr>
              <a:t>打通云端对安全威胁的响应</a:t>
            </a:r>
            <a:endParaRPr lang="en-US" altLang="zh-CN" sz="1632" dirty="0">
              <a:solidFill>
                <a:srgbClr val="505050"/>
              </a:solidFill>
              <a:latin typeface="Microsoft YaHei" charset="-122"/>
              <a:ea typeface="Microsoft YaHei" charset="-122"/>
              <a:cs typeface="Microsoft YaHei" charset="-122"/>
            </a:endParaRPr>
          </a:p>
          <a:p>
            <a:pPr marL="440597" lvl="1" defTabSz="932563">
              <a:defRPr/>
            </a:pPr>
            <a:r>
              <a:rPr lang="en-US" altLang="zh-CN" sz="1428" dirty="0">
                <a:solidFill>
                  <a:srgbClr val="505050"/>
                </a:solidFill>
                <a:latin typeface="Microsoft YaHei Light" charset="-122"/>
                <a:ea typeface="Microsoft YaHei Light" charset="-122"/>
                <a:cs typeface="Microsoft YaHei Light" charset="-122"/>
              </a:rPr>
              <a:t>      </a:t>
            </a:r>
            <a:r>
              <a:rPr lang="en-US" altLang="zh-CN" sz="1224" dirty="0">
                <a:solidFill>
                  <a:srgbClr val="505050"/>
                </a:solidFill>
                <a:latin typeface="Segoe UI Light" panose="020B0502040204020203" pitchFamily="34" charset="0"/>
                <a:ea typeface="Microsoft YaHei Light" charset="-122"/>
                <a:cs typeface="Microsoft YaHei Light" charset="-122"/>
              </a:rPr>
              <a:t>Enable cloud to respond to safety threat</a:t>
            </a:r>
          </a:p>
        </p:txBody>
      </p:sp>
    </p:spTree>
    <p:extLst>
      <p:ext uri="{BB962C8B-B14F-4D97-AF65-F5344CB8AC3E}">
        <p14:creationId xmlns:p14="http://schemas.microsoft.com/office/powerpoint/2010/main" val="983266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42" presetClass="path" presetSubtype="0" decel="100000" fill="hold" grpId="1" nodeType="withEffect">
                                  <p:stCondLst>
                                    <p:cond delay="0"/>
                                  </p:stCondLst>
                                  <p:childTnLst>
                                    <p:animMotion origin="layout" path="M 0 0 L 0 0.02569 " pathEditMode="relative" rAng="0" ptsTypes="AA">
                                      <p:cBhvr>
                                        <p:cTn id="9" dur="500" spd="-100000" fill="hold"/>
                                        <p:tgtEl>
                                          <p:spTgt spid="36"/>
                                        </p:tgtEl>
                                        <p:attrNameLst>
                                          <p:attrName>ppt_x</p:attrName>
                                          <p:attrName>ppt_y</p:attrName>
                                        </p:attrNameLst>
                                      </p:cBhvr>
                                      <p:rCtr x="0" y="1273"/>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350"/>
                                        <p:tgtEl>
                                          <p:spTgt spid="20"/>
                                        </p:tgtEl>
                                      </p:cBhvr>
                                    </p:animEffect>
                                  </p:childTnLst>
                                </p:cTn>
                              </p:par>
                              <p:par>
                                <p:cTn id="13" presetID="64" presetClass="path" presetSubtype="0" decel="100000" fill="hold" nodeType="withEffect">
                                  <p:stCondLst>
                                    <p:cond delay="0"/>
                                  </p:stCondLst>
                                  <p:childTnLst>
                                    <p:animMotion origin="layout" path="M -2.91667E-6 1.85185E-6 L 0.01133 0.03565 " pathEditMode="relative" rAng="0" ptsTypes="AA">
                                      <p:cBhvr>
                                        <p:cTn id="14" dur="500" spd="-100000" fill="hold"/>
                                        <p:tgtEl>
                                          <p:spTgt spid="20"/>
                                        </p:tgtEl>
                                        <p:attrNameLst>
                                          <p:attrName>ppt_x</p:attrName>
                                          <p:attrName>ppt_y</p:attrName>
                                        </p:attrNameLst>
                                      </p:cBhvr>
                                      <p:rCtr x="560" y="1782"/>
                                    </p:animMotion>
                                  </p:childTnLst>
                                </p:cTn>
                              </p:par>
                              <p:par>
                                <p:cTn id="15" presetID="10" presetClass="entr" presetSubtype="0" fill="hold"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350"/>
                                        <p:tgtEl>
                                          <p:spTgt spid="2"/>
                                        </p:tgtEl>
                                      </p:cBhvr>
                                    </p:animEffect>
                                  </p:childTnLst>
                                </p:cTn>
                              </p:par>
                              <p:par>
                                <p:cTn id="18" presetID="64" presetClass="path" presetSubtype="0" decel="100000" fill="hold" nodeType="withEffect">
                                  <p:stCondLst>
                                    <p:cond delay="0"/>
                                  </p:stCondLst>
                                  <p:childTnLst>
                                    <p:animMotion origin="layout" path="M -2.91667E-6 1.85185E-6 L 0.01133 0.03565 " pathEditMode="relative" rAng="0" ptsTypes="AA">
                                      <p:cBhvr>
                                        <p:cTn id="19" dur="500" spd="-100000" fill="hold"/>
                                        <p:tgtEl>
                                          <p:spTgt spid="2"/>
                                        </p:tgtEl>
                                        <p:attrNameLst>
                                          <p:attrName>ppt_x</p:attrName>
                                          <p:attrName>ppt_y</p:attrName>
                                        </p:attrNameLst>
                                      </p:cBhvr>
                                      <p:rCtr x="560" y="1782"/>
                                    </p:animMotion>
                                  </p:childTnLst>
                                </p:cTn>
                              </p:par>
                              <p:par>
                                <p:cTn id="20" presetID="10"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350"/>
                                        <p:tgtEl>
                                          <p:spTgt spid="3"/>
                                        </p:tgtEl>
                                      </p:cBhvr>
                                    </p:animEffect>
                                  </p:childTnLst>
                                </p:cTn>
                              </p:par>
                              <p:par>
                                <p:cTn id="23" presetID="64" presetClass="path" presetSubtype="0" decel="100000" fill="hold" nodeType="withEffect">
                                  <p:stCondLst>
                                    <p:cond delay="0"/>
                                  </p:stCondLst>
                                  <p:childTnLst>
                                    <p:animMotion origin="layout" path="M 2.5E-6 3.33333E-6 L -0.00821 0.04629 " pathEditMode="relative" rAng="0" ptsTypes="AA">
                                      <p:cBhvr>
                                        <p:cTn id="24" dur="500" spd="-100000" fill="hold"/>
                                        <p:tgtEl>
                                          <p:spTgt spid="3"/>
                                        </p:tgtEl>
                                        <p:attrNameLst>
                                          <p:attrName>ppt_x</p:attrName>
                                          <p:attrName>ppt_y</p:attrName>
                                        </p:attrNameLst>
                                      </p:cBhvr>
                                      <p:rCtr x="-417" y="2315"/>
                                    </p:animMotion>
                                  </p:childTnLst>
                                </p:cTn>
                              </p:par>
                              <p:par>
                                <p:cTn id="25" presetID="10" presetClass="entr" presetSubtype="0" fill="hold" nodeType="with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350"/>
                                        <p:tgtEl>
                                          <p:spTgt spid="4"/>
                                        </p:tgtEl>
                                      </p:cBhvr>
                                    </p:animEffect>
                                  </p:childTnLst>
                                </p:cTn>
                              </p:par>
                              <p:par>
                                <p:cTn id="28" presetID="64" presetClass="path" presetSubtype="0" decel="100000" fill="hold" nodeType="withEffect">
                                  <p:stCondLst>
                                    <p:cond delay="0"/>
                                  </p:stCondLst>
                                  <p:childTnLst>
                                    <p:animMotion origin="layout" path="M -3.75E-6 -3.7037E-7 L -0.02304 0.03681 " pathEditMode="relative" rAng="0" ptsTypes="AA">
                                      <p:cBhvr>
                                        <p:cTn id="29" dur="500" spd="-100000" fill="hold"/>
                                        <p:tgtEl>
                                          <p:spTgt spid="4"/>
                                        </p:tgtEl>
                                        <p:attrNameLst>
                                          <p:attrName>ppt_x</p:attrName>
                                          <p:attrName>ppt_y</p:attrName>
                                        </p:attrNameLst>
                                      </p:cBhvr>
                                      <p:rCtr x="-1159" y="1852"/>
                                    </p:animMotion>
                                  </p:childTnLst>
                                </p:cTn>
                              </p:par>
                              <p:par>
                                <p:cTn id="30" presetID="10" presetClass="entr" presetSubtype="0" fill="hold" nodeType="with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350"/>
                                        <p:tgtEl>
                                          <p:spTgt spid="5"/>
                                        </p:tgtEl>
                                      </p:cBhvr>
                                    </p:animEffect>
                                  </p:childTnLst>
                                </p:cTn>
                              </p:par>
                              <p:par>
                                <p:cTn id="33" presetID="64" presetClass="path" presetSubtype="0" decel="100000" fill="hold" nodeType="withEffect">
                                  <p:stCondLst>
                                    <p:cond delay="0"/>
                                  </p:stCondLst>
                                  <p:childTnLst>
                                    <p:animMotion origin="layout" path="M -2.08333E-7 3.7037E-7 L 0.02865 -0.03333 " pathEditMode="relative" rAng="0" ptsTypes="AA">
                                      <p:cBhvr>
                                        <p:cTn id="34" dur="500" spd="-100000" fill="hold"/>
                                        <p:tgtEl>
                                          <p:spTgt spid="5"/>
                                        </p:tgtEl>
                                        <p:attrNameLst>
                                          <p:attrName>ppt_x</p:attrName>
                                          <p:attrName>ppt_y</p:attrName>
                                        </p:attrNameLst>
                                      </p:cBhvr>
                                      <p:rCtr x="1432" y="-1667"/>
                                    </p:animMotion>
                                  </p:childTnLst>
                                </p:cTn>
                              </p:par>
                              <p:par>
                                <p:cTn id="35" presetID="10" presetClass="entr" presetSubtype="0" fill="hold" nodeType="with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350"/>
                                        <p:tgtEl>
                                          <p:spTgt spid="6"/>
                                        </p:tgtEl>
                                      </p:cBhvr>
                                    </p:animEffect>
                                  </p:childTnLst>
                                </p:cTn>
                              </p:par>
                              <p:par>
                                <p:cTn id="38" presetID="64" presetClass="path" presetSubtype="0" decel="100000" fill="hold" nodeType="withEffect">
                                  <p:stCondLst>
                                    <p:cond delay="0"/>
                                  </p:stCondLst>
                                  <p:childTnLst>
                                    <p:animMotion origin="layout" path="M 1.25E-6 -2.96296E-6 L 0.00638 -0.04676 " pathEditMode="relative" rAng="0" ptsTypes="AA">
                                      <p:cBhvr>
                                        <p:cTn id="39" dur="500" spd="-100000" fill="hold"/>
                                        <p:tgtEl>
                                          <p:spTgt spid="6"/>
                                        </p:tgtEl>
                                        <p:attrNameLst>
                                          <p:attrName>ppt_x</p:attrName>
                                          <p:attrName>ppt_y</p:attrName>
                                        </p:attrNameLst>
                                      </p:cBhvr>
                                      <p:rCtr x="313" y="-2338"/>
                                    </p:animMotion>
                                  </p:childTnLst>
                                </p:cTn>
                              </p:par>
                              <p:par>
                                <p:cTn id="40" presetID="10" presetClass="entr" presetSubtype="0" fill="hold" nodeType="with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350"/>
                                        <p:tgtEl>
                                          <p:spTgt spid="21"/>
                                        </p:tgtEl>
                                      </p:cBhvr>
                                    </p:animEffect>
                                  </p:childTnLst>
                                </p:cTn>
                              </p:par>
                              <p:par>
                                <p:cTn id="43" presetID="64" presetClass="path" presetSubtype="0" decel="100000" fill="hold" nodeType="withEffect">
                                  <p:stCondLst>
                                    <p:cond delay="0"/>
                                  </p:stCondLst>
                                  <p:childTnLst>
                                    <p:animMotion origin="layout" path="M 2.29167E-6 -1.48148E-6 L -0.01485 -0.04606 " pathEditMode="relative" rAng="0" ptsTypes="AA">
                                      <p:cBhvr>
                                        <p:cTn id="44" dur="500" spd="-100000" fill="hold"/>
                                        <p:tgtEl>
                                          <p:spTgt spid="21"/>
                                        </p:tgtEl>
                                        <p:attrNameLst>
                                          <p:attrName>ppt_x</p:attrName>
                                          <p:attrName>ppt_y</p:attrName>
                                        </p:attrNameLst>
                                      </p:cBhvr>
                                      <p:rCtr x="-742" y="-2315"/>
                                    </p:animMotion>
                                  </p:childTnLst>
                                </p:cTn>
                              </p:par>
                              <p:par>
                                <p:cTn id="45" presetID="10" presetClass="entr" presetSubtype="0" fill="hold" nodeType="withEffect">
                                  <p:stCondLst>
                                    <p:cond delay="0"/>
                                  </p:stCondLst>
                                  <p:childTnLst>
                                    <p:set>
                                      <p:cBhvr>
                                        <p:cTn id="46" dur="1" fill="hold">
                                          <p:stCondLst>
                                            <p:cond delay="0"/>
                                          </p:stCondLst>
                                        </p:cTn>
                                        <p:tgtEl>
                                          <p:spTgt spid="22"/>
                                        </p:tgtEl>
                                        <p:attrNameLst>
                                          <p:attrName>style.visibility</p:attrName>
                                        </p:attrNameLst>
                                      </p:cBhvr>
                                      <p:to>
                                        <p:strVal val="visible"/>
                                      </p:to>
                                    </p:set>
                                    <p:animEffect transition="in" filter="fade">
                                      <p:cBhvr>
                                        <p:cTn id="47" dur="350"/>
                                        <p:tgtEl>
                                          <p:spTgt spid="22"/>
                                        </p:tgtEl>
                                      </p:cBhvr>
                                    </p:animEffect>
                                  </p:childTnLst>
                                </p:cTn>
                              </p:par>
                              <p:par>
                                <p:cTn id="48" presetID="64" presetClass="path" presetSubtype="0" decel="100000" fill="hold" nodeType="withEffect">
                                  <p:stCondLst>
                                    <p:cond delay="0"/>
                                  </p:stCondLst>
                                  <p:childTnLst>
                                    <p:animMotion origin="layout" path="M -3.75E-6 -1.48148E-6 L -0.03398 -0.03287 " pathEditMode="relative" rAng="0" ptsTypes="AA">
                                      <p:cBhvr>
                                        <p:cTn id="49" dur="500" spd="-100000" fill="hold"/>
                                        <p:tgtEl>
                                          <p:spTgt spid="22"/>
                                        </p:tgtEl>
                                        <p:attrNameLst>
                                          <p:attrName>ppt_x</p:attrName>
                                          <p:attrName>ppt_y</p:attrName>
                                        </p:attrNameLst>
                                      </p:cBhvr>
                                      <p:rCtr x="-1706" y="-16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047A0AFD-C768-490C-A699-992278DA735C}"/>
              </a:ext>
            </a:extLst>
          </p:cNvPr>
          <p:cNvSpPr/>
          <p:nvPr/>
        </p:nvSpPr>
        <p:spPr bwMode="auto">
          <a:xfrm>
            <a:off x="5321240" y="1274872"/>
            <a:ext cx="4429238" cy="4429238"/>
          </a:xfrm>
          <a:prstGeom prst="ellipse">
            <a:avLst/>
          </a:prstGeom>
          <a:noFill/>
          <a:ln w="19050" cap="rnd">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 name="Isosceles Triangle 2">
            <a:extLst>
              <a:ext uri="{FF2B5EF4-FFF2-40B4-BE49-F238E27FC236}">
                <a16:creationId xmlns:a16="http://schemas.microsoft.com/office/drawing/2014/main" id="{C7361A2C-2539-4D41-ACD8-74D73DA68880}"/>
              </a:ext>
            </a:extLst>
          </p:cNvPr>
          <p:cNvSpPr/>
          <p:nvPr/>
        </p:nvSpPr>
        <p:spPr bwMode="auto">
          <a:xfrm>
            <a:off x="5415111" y="2889635"/>
            <a:ext cx="149267" cy="277213"/>
          </a:xfrm>
          <a:prstGeom prst="triangl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Arrow: Right 3">
            <a:extLst>
              <a:ext uri="{FF2B5EF4-FFF2-40B4-BE49-F238E27FC236}">
                <a16:creationId xmlns:a16="http://schemas.microsoft.com/office/drawing/2014/main" id="{8E816023-6EFC-468B-BE48-9FCFBDB2D654}"/>
              </a:ext>
            </a:extLst>
          </p:cNvPr>
          <p:cNvSpPr/>
          <p:nvPr/>
        </p:nvSpPr>
        <p:spPr bwMode="auto">
          <a:xfrm>
            <a:off x="5495852" y="3859879"/>
            <a:ext cx="96120" cy="286453"/>
          </a:xfrm>
          <a:prstGeom prst="rightArrow">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Freeform 5">
            <a:extLst>
              <a:ext uri="{FF2B5EF4-FFF2-40B4-BE49-F238E27FC236}">
                <a16:creationId xmlns:a16="http://schemas.microsoft.com/office/drawing/2014/main" id="{61665F55-99DF-48F3-967C-36B95C675059}"/>
              </a:ext>
            </a:extLst>
          </p:cNvPr>
          <p:cNvSpPr>
            <a:spLocks/>
          </p:cNvSpPr>
          <p:nvPr/>
        </p:nvSpPr>
        <p:spPr bwMode="auto">
          <a:xfrm>
            <a:off x="4882209" y="832228"/>
            <a:ext cx="5309905" cy="5309905"/>
          </a:xfrm>
          <a:custGeom>
            <a:avLst/>
            <a:gdLst>
              <a:gd name="T0" fmla="*/ 150 w 1259"/>
              <a:gd name="T1" fmla="*/ 428 h 1261"/>
              <a:gd name="T2" fmla="*/ 105 w 1259"/>
              <a:gd name="T3" fmla="*/ 262 h 1261"/>
              <a:gd name="T4" fmla="*/ 261 w 1259"/>
              <a:gd name="T5" fmla="*/ 263 h 1261"/>
              <a:gd name="T6" fmla="*/ 281 w 1259"/>
              <a:gd name="T7" fmla="*/ 94 h 1261"/>
              <a:gd name="T8" fmla="*/ 434 w 1259"/>
              <a:gd name="T9" fmla="*/ 148 h 1261"/>
              <a:gd name="T10" fmla="*/ 519 w 1259"/>
              <a:gd name="T11" fmla="*/ 0 h 1261"/>
              <a:gd name="T12" fmla="*/ 630 w 1259"/>
              <a:gd name="T13" fmla="*/ 111 h 1261"/>
              <a:gd name="T14" fmla="*/ 762 w 1259"/>
              <a:gd name="T15" fmla="*/ 2 h 1261"/>
              <a:gd name="T16" fmla="*/ 825 w 1259"/>
              <a:gd name="T17" fmla="*/ 149 h 1261"/>
              <a:gd name="T18" fmla="*/ 987 w 1259"/>
              <a:gd name="T19" fmla="*/ 99 h 1261"/>
              <a:gd name="T20" fmla="*/ 999 w 1259"/>
              <a:gd name="T21" fmla="*/ 262 h 1261"/>
              <a:gd name="T22" fmla="*/ 1167 w 1259"/>
              <a:gd name="T23" fmla="*/ 282 h 1261"/>
              <a:gd name="T24" fmla="*/ 1109 w 1259"/>
              <a:gd name="T25" fmla="*/ 428 h 1261"/>
              <a:gd name="T26" fmla="*/ 1259 w 1259"/>
              <a:gd name="T27" fmla="*/ 507 h 1261"/>
              <a:gd name="T28" fmla="*/ 1150 w 1259"/>
              <a:gd name="T29" fmla="*/ 630 h 1261"/>
              <a:gd name="T30" fmla="*/ 1256 w 1259"/>
              <a:gd name="T31" fmla="*/ 764 h 1261"/>
              <a:gd name="T32" fmla="*/ 1109 w 1259"/>
              <a:gd name="T33" fmla="*/ 834 h 1261"/>
              <a:gd name="T34" fmla="*/ 1155 w 1259"/>
              <a:gd name="T35" fmla="*/ 996 h 1261"/>
              <a:gd name="T36" fmla="*/ 997 w 1259"/>
              <a:gd name="T37" fmla="*/ 999 h 1261"/>
              <a:gd name="T38" fmla="*/ 979 w 1259"/>
              <a:gd name="T39" fmla="*/ 1168 h 1261"/>
              <a:gd name="T40" fmla="*/ 824 w 1259"/>
              <a:gd name="T41" fmla="*/ 1112 h 1261"/>
              <a:gd name="T42" fmla="*/ 742 w 1259"/>
              <a:gd name="T43" fmla="*/ 1261 h 1261"/>
              <a:gd name="T44" fmla="*/ 629 w 1259"/>
              <a:gd name="T45" fmla="*/ 1150 h 1261"/>
              <a:gd name="T46" fmla="*/ 495 w 1259"/>
              <a:gd name="T47" fmla="*/ 1257 h 1261"/>
              <a:gd name="T48" fmla="*/ 433 w 1259"/>
              <a:gd name="T49" fmla="*/ 1110 h 1261"/>
              <a:gd name="T50" fmla="*/ 272 w 1259"/>
              <a:gd name="T51" fmla="*/ 1162 h 1261"/>
              <a:gd name="T52" fmla="*/ 261 w 1259"/>
              <a:gd name="T53" fmla="*/ 996 h 1261"/>
              <a:gd name="T54" fmla="*/ 92 w 1259"/>
              <a:gd name="T55" fmla="*/ 978 h 1261"/>
              <a:gd name="T56" fmla="*/ 151 w 1259"/>
              <a:gd name="T57" fmla="*/ 833 h 1261"/>
              <a:gd name="T58" fmla="*/ 0 w 1259"/>
              <a:gd name="T59" fmla="*/ 753 h 1261"/>
              <a:gd name="T60" fmla="*/ 110 w 1259"/>
              <a:gd name="T61" fmla="*/ 629 h 1261"/>
              <a:gd name="T62" fmla="*/ 4 w 1259"/>
              <a:gd name="T63" fmla="*/ 497 h 1261"/>
              <a:gd name="T64" fmla="*/ 150 w 1259"/>
              <a:gd name="T65" fmla="*/ 428 h 1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59" h="1261">
                <a:moveTo>
                  <a:pt x="150" y="428"/>
                </a:moveTo>
                <a:lnTo>
                  <a:pt x="105" y="262"/>
                </a:lnTo>
                <a:lnTo>
                  <a:pt x="261" y="263"/>
                </a:lnTo>
                <a:lnTo>
                  <a:pt x="281" y="94"/>
                </a:lnTo>
                <a:lnTo>
                  <a:pt x="434" y="148"/>
                </a:lnTo>
                <a:lnTo>
                  <a:pt x="519" y="0"/>
                </a:lnTo>
                <a:lnTo>
                  <a:pt x="630" y="111"/>
                </a:lnTo>
                <a:lnTo>
                  <a:pt x="762" y="2"/>
                </a:lnTo>
                <a:lnTo>
                  <a:pt x="825" y="149"/>
                </a:lnTo>
                <a:lnTo>
                  <a:pt x="987" y="99"/>
                </a:lnTo>
                <a:lnTo>
                  <a:pt x="999" y="262"/>
                </a:lnTo>
                <a:lnTo>
                  <a:pt x="1167" y="282"/>
                </a:lnTo>
                <a:lnTo>
                  <a:pt x="1109" y="428"/>
                </a:lnTo>
                <a:lnTo>
                  <a:pt x="1259" y="507"/>
                </a:lnTo>
                <a:lnTo>
                  <a:pt x="1150" y="630"/>
                </a:lnTo>
                <a:lnTo>
                  <a:pt x="1256" y="764"/>
                </a:lnTo>
                <a:lnTo>
                  <a:pt x="1109" y="834"/>
                </a:lnTo>
                <a:lnTo>
                  <a:pt x="1155" y="996"/>
                </a:lnTo>
                <a:lnTo>
                  <a:pt x="997" y="999"/>
                </a:lnTo>
                <a:lnTo>
                  <a:pt x="979" y="1168"/>
                </a:lnTo>
                <a:lnTo>
                  <a:pt x="824" y="1112"/>
                </a:lnTo>
                <a:lnTo>
                  <a:pt x="742" y="1261"/>
                </a:lnTo>
                <a:lnTo>
                  <a:pt x="629" y="1150"/>
                </a:lnTo>
                <a:lnTo>
                  <a:pt x="495" y="1257"/>
                </a:lnTo>
                <a:lnTo>
                  <a:pt x="433" y="1110"/>
                </a:lnTo>
                <a:lnTo>
                  <a:pt x="272" y="1162"/>
                </a:lnTo>
                <a:lnTo>
                  <a:pt x="261" y="996"/>
                </a:lnTo>
                <a:lnTo>
                  <a:pt x="92" y="978"/>
                </a:lnTo>
                <a:lnTo>
                  <a:pt x="151" y="833"/>
                </a:lnTo>
                <a:lnTo>
                  <a:pt x="0" y="753"/>
                </a:lnTo>
                <a:lnTo>
                  <a:pt x="110" y="629"/>
                </a:lnTo>
                <a:lnTo>
                  <a:pt x="4" y="497"/>
                </a:lnTo>
                <a:lnTo>
                  <a:pt x="150" y="428"/>
                </a:lnTo>
                <a:close/>
              </a:path>
            </a:pathLst>
          </a:custGeom>
          <a:noFill/>
          <a:ln w="19050" cap="rnd">
            <a:solidFill>
              <a:srgbClr val="0078D4"/>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6" name="Freeform: Shape 5">
            <a:extLst>
              <a:ext uri="{FF2B5EF4-FFF2-40B4-BE49-F238E27FC236}">
                <a16:creationId xmlns:a16="http://schemas.microsoft.com/office/drawing/2014/main" id="{A9AFF906-DB13-4296-9B77-E3EE11F3A76B}"/>
              </a:ext>
            </a:extLst>
          </p:cNvPr>
          <p:cNvSpPr>
            <a:spLocks noChangeAspect="1"/>
          </p:cNvSpPr>
          <p:nvPr/>
        </p:nvSpPr>
        <p:spPr bwMode="auto">
          <a:xfrm flipV="1">
            <a:off x="6604691" y="2555486"/>
            <a:ext cx="1864943" cy="1028051"/>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algn="ctr" defTabSz="914049">
              <a:defRPr/>
            </a:pPr>
            <a:endParaRPr lang="en-US" kern="0" dirty="0">
              <a:solidFill>
                <a:srgbClr val="353535"/>
              </a:solidFill>
              <a:latin typeface="Segoe UI Semilight"/>
            </a:endParaRPr>
          </a:p>
        </p:txBody>
      </p:sp>
      <p:sp>
        <p:nvSpPr>
          <p:cNvPr id="7" name="TextBox 6">
            <a:extLst>
              <a:ext uri="{FF2B5EF4-FFF2-40B4-BE49-F238E27FC236}">
                <a16:creationId xmlns:a16="http://schemas.microsoft.com/office/drawing/2014/main" id="{AF9B6362-14BB-4490-AC37-8B4F530A2093}"/>
              </a:ext>
            </a:extLst>
          </p:cNvPr>
          <p:cNvSpPr txBox="1"/>
          <p:nvPr/>
        </p:nvSpPr>
        <p:spPr>
          <a:xfrm>
            <a:off x="7066310" y="3788711"/>
            <a:ext cx="941712" cy="384205"/>
          </a:xfrm>
          <a:prstGeom prst="rect">
            <a:avLst/>
          </a:prstGeom>
          <a:noFill/>
        </p:spPr>
        <p:txBody>
          <a:bodyPr wrap="none" lIns="0" tIns="0" rIns="0" bIns="0" rtlCol="0">
            <a:spAutoFit/>
          </a:bodyPr>
          <a:lstStyle/>
          <a:p>
            <a:pPr algn="ctr" defTabSz="914049">
              <a:defRPr/>
            </a:pPr>
            <a:r>
              <a:rPr lang="zh-CN" altLang="en-US" sz="2448" kern="0" spc="-50">
                <a:gradFill>
                  <a:gsLst>
                    <a:gs pos="0">
                      <a:srgbClr val="1A1A1A"/>
                    </a:gs>
                    <a:gs pos="100000">
                      <a:srgbClr val="1A1A1A"/>
                    </a:gs>
                  </a:gsLst>
                  <a:lin ang="5400000" scaled="1"/>
                </a:gradFill>
                <a:latin typeface="Segoe UI Semibold"/>
                <a:cs typeface="Segoe UI Semilight" panose="020B0402040204020203" pitchFamily="34" charset="0"/>
              </a:rPr>
              <a:t>智能云</a:t>
            </a:r>
            <a:endParaRPr lang="en-US" sz="2448" kern="0" spc="-50" dirty="0">
              <a:gradFill>
                <a:gsLst>
                  <a:gs pos="0">
                    <a:srgbClr val="1A1A1A"/>
                  </a:gs>
                  <a:gs pos="100000">
                    <a:srgbClr val="1A1A1A"/>
                  </a:gs>
                </a:gsLst>
                <a:lin ang="5400000" scaled="1"/>
              </a:gradFill>
              <a:latin typeface="Segoe UI Semibold"/>
              <a:cs typeface="Segoe UI Semilight" panose="020B0402040204020203" pitchFamily="34" charset="0"/>
            </a:endParaRPr>
          </a:p>
        </p:txBody>
      </p:sp>
      <p:sp>
        <p:nvSpPr>
          <p:cNvPr id="8" name="Oval 7">
            <a:extLst>
              <a:ext uri="{FF2B5EF4-FFF2-40B4-BE49-F238E27FC236}">
                <a16:creationId xmlns:a16="http://schemas.microsoft.com/office/drawing/2014/main" id="{9CA350B4-43A9-4304-B881-9C145AB7262A}"/>
              </a:ext>
            </a:extLst>
          </p:cNvPr>
          <p:cNvSpPr/>
          <p:nvPr/>
        </p:nvSpPr>
        <p:spPr bwMode="auto">
          <a:xfrm>
            <a:off x="4856308" y="806327"/>
            <a:ext cx="5361708" cy="5361708"/>
          </a:xfrm>
          <a:prstGeom prst="ellipse">
            <a:avLst/>
          </a:prstGeom>
          <a:noFill/>
          <a:ln w="19050" cap="rnd">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useBgFill="1">
        <p:nvSpPr>
          <p:cNvPr id="9" name="Trapezoid 8">
            <a:extLst>
              <a:ext uri="{FF2B5EF4-FFF2-40B4-BE49-F238E27FC236}">
                <a16:creationId xmlns:a16="http://schemas.microsoft.com/office/drawing/2014/main" id="{AB6DD977-4247-4CD0-B060-4676065A378A}"/>
              </a:ext>
            </a:extLst>
          </p:cNvPr>
          <p:cNvSpPr/>
          <p:nvPr/>
        </p:nvSpPr>
        <p:spPr bwMode="auto">
          <a:xfrm>
            <a:off x="5766648" y="5711897"/>
            <a:ext cx="3541027" cy="684400"/>
          </a:xfrm>
          <a:prstGeom prst="trapezoid">
            <a:avLst>
              <a:gd name="adj" fmla="val 53856"/>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9E159832-4DE9-4704-B97A-3C3CFDDD2C3D}"/>
              </a:ext>
            </a:extLst>
          </p:cNvPr>
          <p:cNvSpPr txBox="1"/>
          <p:nvPr/>
        </p:nvSpPr>
        <p:spPr>
          <a:xfrm>
            <a:off x="6909358" y="5950914"/>
            <a:ext cx="1255614" cy="384205"/>
          </a:xfrm>
          <a:prstGeom prst="rect">
            <a:avLst/>
          </a:prstGeom>
          <a:noFill/>
        </p:spPr>
        <p:txBody>
          <a:bodyPr wrap="none" lIns="0" tIns="0" rIns="0" bIns="0" rtlCol="0">
            <a:spAutoFit/>
          </a:bodyPr>
          <a:lstStyle/>
          <a:p>
            <a:pPr algn="ctr" defTabSz="914049">
              <a:defRPr/>
            </a:pPr>
            <a:r>
              <a:rPr lang="zh-CN" altLang="en-US" sz="2448" kern="0" spc="-50">
                <a:gradFill>
                  <a:gsLst>
                    <a:gs pos="0">
                      <a:srgbClr val="1A1A1A"/>
                    </a:gs>
                    <a:gs pos="100000">
                      <a:srgbClr val="1A1A1A"/>
                    </a:gs>
                  </a:gsLst>
                  <a:lin ang="5400000" scaled="1"/>
                </a:gradFill>
                <a:latin typeface="Segoe UI Semibold"/>
                <a:cs typeface="Segoe UI Semilight" panose="020B0402040204020203" pitchFamily="34" charset="0"/>
              </a:rPr>
              <a:t>智能边缘</a:t>
            </a:r>
            <a:endParaRPr lang="en-US" sz="2448" kern="0" spc="-50" dirty="0">
              <a:gradFill>
                <a:gsLst>
                  <a:gs pos="0">
                    <a:srgbClr val="1A1A1A"/>
                  </a:gs>
                  <a:gs pos="100000">
                    <a:srgbClr val="1A1A1A"/>
                  </a:gs>
                </a:gsLst>
                <a:lin ang="5400000" scaled="1"/>
              </a:gradFill>
              <a:latin typeface="Segoe UI Semibold"/>
              <a:cs typeface="Segoe UI Semilight" panose="020B0402040204020203" pitchFamily="34" charset="0"/>
            </a:endParaRPr>
          </a:p>
        </p:txBody>
      </p:sp>
      <p:grpSp>
        <p:nvGrpSpPr>
          <p:cNvPr id="11" name="Group 10">
            <a:extLst>
              <a:ext uri="{FF2B5EF4-FFF2-40B4-BE49-F238E27FC236}">
                <a16:creationId xmlns:a16="http://schemas.microsoft.com/office/drawing/2014/main" id="{F0415B2E-54A7-41C0-A929-5D90C96BC5FD}"/>
              </a:ext>
            </a:extLst>
          </p:cNvPr>
          <p:cNvGrpSpPr/>
          <p:nvPr/>
        </p:nvGrpSpPr>
        <p:grpSpPr>
          <a:xfrm>
            <a:off x="5049012" y="4719728"/>
            <a:ext cx="512859" cy="512859"/>
            <a:chOff x="3656069" y="4637661"/>
            <a:chExt cx="502920" cy="502920"/>
          </a:xfrm>
        </p:grpSpPr>
        <p:sp useBgFill="1">
          <p:nvSpPr>
            <p:cNvPr id="12" name="Oval 11">
              <a:extLst>
                <a:ext uri="{FF2B5EF4-FFF2-40B4-BE49-F238E27FC236}">
                  <a16:creationId xmlns:a16="http://schemas.microsoft.com/office/drawing/2014/main" id="{C3073F5B-EFE7-4AAA-951A-1929222C93E4}"/>
                </a:ext>
              </a:extLst>
            </p:cNvPr>
            <p:cNvSpPr/>
            <p:nvPr/>
          </p:nvSpPr>
          <p:spPr bwMode="auto">
            <a:xfrm>
              <a:off x="3656069" y="4637661"/>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ShoppingCart_E7BF">
              <a:extLst>
                <a:ext uri="{FF2B5EF4-FFF2-40B4-BE49-F238E27FC236}">
                  <a16:creationId xmlns:a16="http://schemas.microsoft.com/office/drawing/2014/main" id="{70FD46FF-6EC0-4C3D-8976-5C490CAADA21}"/>
                </a:ext>
              </a:extLst>
            </p:cNvPr>
            <p:cNvSpPr>
              <a:spLocks noChangeAspect="1" noEditPoints="1"/>
            </p:cNvSpPr>
            <p:nvPr/>
          </p:nvSpPr>
          <p:spPr bwMode="auto">
            <a:xfrm>
              <a:off x="3793229" y="4791926"/>
              <a:ext cx="228600" cy="194390"/>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2700" cap="flat">
              <a:solidFill>
                <a:schemeClr val="tx1">
                  <a:lumMod val="90000"/>
                  <a:lumOff val="10000"/>
                </a:schemeClr>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sz="900" dirty="0">
                <a:gradFill>
                  <a:gsLst>
                    <a:gs pos="0">
                      <a:srgbClr val="505050"/>
                    </a:gs>
                    <a:gs pos="100000">
                      <a:srgbClr val="505050"/>
                    </a:gs>
                  </a:gsLst>
                  <a:lin ang="5400000" scaled="1"/>
                </a:gradFill>
                <a:latin typeface="Segoe UI Semilight"/>
              </a:endParaRPr>
            </a:p>
          </p:txBody>
        </p:sp>
      </p:grpSp>
      <p:grpSp>
        <p:nvGrpSpPr>
          <p:cNvPr id="14" name="Group 13">
            <a:extLst>
              <a:ext uri="{FF2B5EF4-FFF2-40B4-BE49-F238E27FC236}">
                <a16:creationId xmlns:a16="http://schemas.microsoft.com/office/drawing/2014/main" id="{ED3CC80D-EFBE-4473-A50C-FAA6625F3AF6}"/>
              </a:ext>
            </a:extLst>
          </p:cNvPr>
          <p:cNvGrpSpPr/>
          <p:nvPr/>
        </p:nvGrpSpPr>
        <p:grpSpPr>
          <a:xfrm>
            <a:off x="7802842" y="598228"/>
            <a:ext cx="512859" cy="512859"/>
            <a:chOff x="6356531" y="596034"/>
            <a:chExt cx="502920" cy="502920"/>
          </a:xfrm>
        </p:grpSpPr>
        <p:sp useBgFill="1">
          <p:nvSpPr>
            <p:cNvPr id="15" name="Oval 14">
              <a:extLst>
                <a:ext uri="{FF2B5EF4-FFF2-40B4-BE49-F238E27FC236}">
                  <a16:creationId xmlns:a16="http://schemas.microsoft.com/office/drawing/2014/main" id="{444A9E5B-0CC9-4F2F-A254-53B3D691B048}"/>
                </a:ext>
              </a:extLst>
            </p:cNvPr>
            <p:cNvSpPr/>
            <p:nvPr/>
          </p:nvSpPr>
          <p:spPr bwMode="auto">
            <a:xfrm>
              <a:off x="6356531" y="596034"/>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Freeform 33">
              <a:extLst>
                <a:ext uri="{FF2B5EF4-FFF2-40B4-BE49-F238E27FC236}">
                  <a16:creationId xmlns:a16="http://schemas.microsoft.com/office/drawing/2014/main" id="{69CA69D6-765C-4A0D-9154-4EA3E85BEB1F}"/>
                </a:ext>
              </a:extLst>
            </p:cNvPr>
            <p:cNvSpPr>
              <a:spLocks noChangeAspect="1"/>
            </p:cNvSpPr>
            <p:nvPr/>
          </p:nvSpPr>
          <p:spPr bwMode="auto">
            <a:xfrm>
              <a:off x="6493691" y="750694"/>
              <a:ext cx="228600" cy="193600"/>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2700" cap="flat">
              <a:solidFill>
                <a:schemeClr val="tx1">
                  <a:lumMod val="90000"/>
                  <a:lumOff val="10000"/>
                </a:schemeClr>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sz="900" dirty="0">
                <a:gradFill>
                  <a:gsLst>
                    <a:gs pos="0">
                      <a:srgbClr val="505050"/>
                    </a:gs>
                    <a:gs pos="100000">
                      <a:srgbClr val="505050"/>
                    </a:gs>
                  </a:gsLst>
                  <a:lin ang="5400000" scaled="1"/>
                </a:gradFill>
                <a:latin typeface="Segoe UI Semilight"/>
              </a:endParaRPr>
            </a:p>
          </p:txBody>
        </p:sp>
      </p:grpSp>
      <p:grpSp>
        <p:nvGrpSpPr>
          <p:cNvPr id="17" name="Group 16">
            <a:extLst>
              <a:ext uri="{FF2B5EF4-FFF2-40B4-BE49-F238E27FC236}">
                <a16:creationId xmlns:a16="http://schemas.microsoft.com/office/drawing/2014/main" id="{2C2C8C4F-D3A4-48B2-80AD-0667E56DECFE}"/>
              </a:ext>
            </a:extLst>
          </p:cNvPr>
          <p:cNvGrpSpPr/>
          <p:nvPr/>
        </p:nvGrpSpPr>
        <p:grpSpPr>
          <a:xfrm>
            <a:off x="8769706" y="5470312"/>
            <a:ext cx="512859" cy="512859"/>
            <a:chOff x="7304658" y="5373699"/>
            <a:chExt cx="502920" cy="502920"/>
          </a:xfrm>
        </p:grpSpPr>
        <p:sp useBgFill="1">
          <p:nvSpPr>
            <p:cNvPr id="18" name="Oval 17">
              <a:extLst>
                <a:ext uri="{FF2B5EF4-FFF2-40B4-BE49-F238E27FC236}">
                  <a16:creationId xmlns:a16="http://schemas.microsoft.com/office/drawing/2014/main" id="{D7F5329C-6373-4109-BF69-8AF055243F45}"/>
                </a:ext>
              </a:extLst>
            </p:cNvPr>
            <p:cNvSpPr/>
            <p:nvPr/>
          </p:nvSpPr>
          <p:spPr bwMode="auto">
            <a:xfrm>
              <a:off x="7304658" y="5373699"/>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document_6">
              <a:extLst>
                <a:ext uri="{FF2B5EF4-FFF2-40B4-BE49-F238E27FC236}">
                  <a16:creationId xmlns:a16="http://schemas.microsoft.com/office/drawing/2014/main" id="{F6F04CDC-5017-4D3C-89F5-BD20DAB345FD}"/>
                </a:ext>
              </a:extLst>
            </p:cNvPr>
            <p:cNvSpPr>
              <a:spLocks noChangeAspect="1" noEditPoints="1"/>
            </p:cNvSpPr>
            <p:nvPr/>
          </p:nvSpPr>
          <p:spPr bwMode="auto">
            <a:xfrm>
              <a:off x="7469876" y="5517356"/>
              <a:ext cx="172484" cy="215606"/>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rnd">
              <a:solidFill>
                <a:schemeClr val="tx1">
                  <a:lumMod val="90000"/>
                  <a:lumOff val="10000"/>
                </a:schemeClr>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grpSp>
      <p:sp>
        <p:nvSpPr>
          <p:cNvPr id="20" name="Rectangle 19">
            <a:extLst>
              <a:ext uri="{FF2B5EF4-FFF2-40B4-BE49-F238E27FC236}">
                <a16:creationId xmlns:a16="http://schemas.microsoft.com/office/drawing/2014/main" id="{968A8901-D94D-4124-BA8B-E314F424E6AF}"/>
              </a:ext>
            </a:extLst>
          </p:cNvPr>
          <p:cNvSpPr/>
          <p:nvPr/>
        </p:nvSpPr>
        <p:spPr bwMode="auto">
          <a:xfrm>
            <a:off x="6759821" y="1478646"/>
            <a:ext cx="258731" cy="1076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522F8A7B-4B26-4D8C-926A-8D67E93F5B0C}"/>
              </a:ext>
            </a:extLst>
          </p:cNvPr>
          <p:cNvSpPr/>
          <p:nvPr/>
        </p:nvSpPr>
        <p:spPr bwMode="auto">
          <a:xfrm>
            <a:off x="8120010" y="1460190"/>
            <a:ext cx="221770" cy="92276"/>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35C209CF-591E-4F7F-91A1-DEBEB3F93A8B}"/>
              </a:ext>
            </a:extLst>
          </p:cNvPr>
          <p:cNvGrpSpPr/>
          <p:nvPr/>
        </p:nvGrpSpPr>
        <p:grpSpPr>
          <a:xfrm>
            <a:off x="5243144" y="4079116"/>
            <a:ext cx="512859" cy="512859"/>
            <a:chOff x="3846439" y="4009463"/>
            <a:chExt cx="502920" cy="502920"/>
          </a:xfrm>
        </p:grpSpPr>
        <p:sp useBgFill="1">
          <p:nvSpPr>
            <p:cNvPr id="23" name="Oval 22">
              <a:extLst>
                <a:ext uri="{FF2B5EF4-FFF2-40B4-BE49-F238E27FC236}">
                  <a16:creationId xmlns:a16="http://schemas.microsoft.com/office/drawing/2014/main" id="{D3495F56-F795-4967-81CF-70B8C3D4885C}"/>
                </a:ext>
              </a:extLst>
            </p:cNvPr>
            <p:cNvSpPr/>
            <p:nvPr/>
          </p:nvSpPr>
          <p:spPr bwMode="auto">
            <a:xfrm>
              <a:off x="3846439" y="4009463"/>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Freeform 41">
              <a:extLst>
                <a:ext uri="{FF2B5EF4-FFF2-40B4-BE49-F238E27FC236}">
                  <a16:creationId xmlns:a16="http://schemas.microsoft.com/office/drawing/2014/main" id="{955FEC4D-0451-44E1-8E94-9069C3360AD5}"/>
                </a:ext>
              </a:extLst>
            </p:cNvPr>
            <p:cNvSpPr>
              <a:spLocks noChangeAspect="1" noEditPoints="1"/>
            </p:cNvSpPr>
            <p:nvPr/>
          </p:nvSpPr>
          <p:spPr bwMode="auto">
            <a:xfrm>
              <a:off x="3971460" y="4167612"/>
              <a:ext cx="252878" cy="158048"/>
            </a:xfrm>
            <a:custGeom>
              <a:avLst/>
              <a:gdLst>
                <a:gd name="T0" fmla="*/ 208 w 208"/>
                <a:gd name="T1" fmla="*/ 54 h 130"/>
                <a:gd name="T2" fmla="*/ 208 w 208"/>
                <a:gd name="T3" fmla="*/ 130 h 130"/>
                <a:gd name="T4" fmla="*/ 0 w 208"/>
                <a:gd name="T5" fmla="*/ 130 h 130"/>
                <a:gd name="T6" fmla="*/ 0 w 208"/>
                <a:gd name="T7" fmla="*/ 54 h 130"/>
                <a:gd name="T8" fmla="*/ 40 w 208"/>
                <a:gd name="T9" fmla="*/ 24 h 130"/>
                <a:gd name="T10" fmla="*/ 40 w 208"/>
                <a:gd name="T11" fmla="*/ 54 h 130"/>
                <a:gd name="T12" fmla="*/ 85 w 208"/>
                <a:gd name="T13" fmla="*/ 24 h 130"/>
                <a:gd name="T14" fmla="*/ 85 w 208"/>
                <a:gd name="T15" fmla="*/ 54 h 130"/>
                <a:gd name="T16" fmla="*/ 208 w 208"/>
                <a:gd name="T17" fmla="*/ 54 h 130"/>
                <a:gd name="T18" fmla="*/ 163 w 208"/>
                <a:gd name="T19" fmla="*/ 54 h 130"/>
                <a:gd name="T20" fmla="*/ 153 w 208"/>
                <a:gd name="T21" fmla="*/ 0 h 130"/>
                <a:gd name="T22" fmla="*/ 144 w 208"/>
                <a:gd name="T23" fmla="*/ 0 h 130"/>
                <a:gd name="T24" fmla="*/ 136 w 208"/>
                <a:gd name="T25" fmla="*/ 54 h 130"/>
                <a:gd name="T26" fmla="*/ 200 w 208"/>
                <a:gd name="T27" fmla="*/ 54 h 130"/>
                <a:gd name="T28" fmla="*/ 189 w 208"/>
                <a:gd name="T29" fmla="*/ 0 h 130"/>
                <a:gd name="T30" fmla="*/ 180 w 208"/>
                <a:gd name="T31" fmla="*/ 0 h 130"/>
                <a:gd name="T32" fmla="*/ 171 w 208"/>
                <a:gd name="T33" fmla="*/ 54 h 130"/>
                <a:gd name="T34" fmla="*/ 30 w 208"/>
                <a:gd name="T35" fmla="*/ 77 h 130"/>
                <a:gd name="T36" fmla="*/ 19 w 208"/>
                <a:gd name="T37" fmla="*/ 77 h 130"/>
                <a:gd name="T38" fmla="*/ 19 w 208"/>
                <a:gd name="T39" fmla="*/ 88 h 130"/>
                <a:gd name="T40" fmla="*/ 30 w 208"/>
                <a:gd name="T41" fmla="*/ 88 h 130"/>
                <a:gd name="T42" fmla="*/ 30 w 208"/>
                <a:gd name="T43" fmla="*/ 77 h 130"/>
                <a:gd name="T44" fmla="*/ 69 w 208"/>
                <a:gd name="T45" fmla="*/ 77 h 130"/>
                <a:gd name="T46" fmla="*/ 59 w 208"/>
                <a:gd name="T47" fmla="*/ 77 h 130"/>
                <a:gd name="T48" fmla="*/ 59 w 208"/>
                <a:gd name="T49" fmla="*/ 88 h 130"/>
                <a:gd name="T50" fmla="*/ 69 w 208"/>
                <a:gd name="T51" fmla="*/ 88 h 130"/>
                <a:gd name="T52" fmla="*/ 69 w 208"/>
                <a:gd name="T53" fmla="*/ 77 h 130"/>
                <a:gd name="T54" fmla="*/ 109 w 208"/>
                <a:gd name="T55" fmla="*/ 77 h 130"/>
                <a:gd name="T56" fmla="*/ 99 w 208"/>
                <a:gd name="T57" fmla="*/ 77 h 130"/>
                <a:gd name="T58" fmla="*/ 99 w 208"/>
                <a:gd name="T59" fmla="*/ 88 h 130"/>
                <a:gd name="T60" fmla="*/ 109 w 208"/>
                <a:gd name="T61" fmla="*/ 88 h 130"/>
                <a:gd name="T62" fmla="*/ 109 w 208"/>
                <a:gd name="T63" fmla="*/ 77 h 130"/>
                <a:gd name="T64" fmla="*/ 149 w 208"/>
                <a:gd name="T65" fmla="*/ 77 h 130"/>
                <a:gd name="T66" fmla="*/ 139 w 208"/>
                <a:gd name="T67" fmla="*/ 77 h 130"/>
                <a:gd name="T68" fmla="*/ 139 w 208"/>
                <a:gd name="T69" fmla="*/ 88 h 130"/>
                <a:gd name="T70" fmla="*/ 149 w 208"/>
                <a:gd name="T71" fmla="*/ 88 h 130"/>
                <a:gd name="T72" fmla="*/ 149 w 208"/>
                <a:gd name="T73" fmla="*/ 77 h 130"/>
                <a:gd name="T74" fmla="*/ 189 w 208"/>
                <a:gd name="T75" fmla="*/ 77 h 130"/>
                <a:gd name="T76" fmla="*/ 179 w 208"/>
                <a:gd name="T77" fmla="*/ 77 h 130"/>
                <a:gd name="T78" fmla="*/ 179 w 208"/>
                <a:gd name="T79" fmla="*/ 88 h 130"/>
                <a:gd name="T80" fmla="*/ 189 w 208"/>
                <a:gd name="T81" fmla="*/ 88 h 130"/>
                <a:gd name="T82" fmla="*/ 189 w 208"/>
                <a:gd name="T83" fmla="*/ 7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8" h="130">
                  <a:moveTo>
                    <a:pt x="208" y="54"/>
                  </a:moveTo>
                  <a:lnTo>
                    <a:pt x="208" y="130"/>
                  </a:lnTo>
                  <a:lnTo>
                    <a:pt x="0" y="130"/>
                  </a:lnTo>
                  <a:lnTo>
                    <a:pt x="0" y="54"/>
                  </a:lnTo>
                  <a:lnTo>
                    <a:pt x="40" y="24"/>
                  </a:lnTo>
                  <a:lnTo>
                    <a:pt x="40" y="54"/>
                  </a:lnTo>
                  <a:lnTo>
                    <a:pt x="85" y="24"/>
                  </a:lnTo>
                  <a:lnTo>
                    <a:pt x="85" y="54"/>
                  </a:lnTo>
                  <a:lnTo>
                    <a:pt x="208" y="54"/>
                  </a:lnTo>
                  <a:moveTo>
                    <a:pt x="163" y="54"/>
                  </a:moveTo>
                  <a:lnTo>
                    <a:pt x="153" y="0"/>
                  </a:lnTo>
                  <a:lnTo>
                    <a:pt x="144" y="0"/>
                  </a:lnTo>
                  <a:lnTo>
                    <a:pt x="136" y="54"/>
                  </a:lnTo>
                  <a:moveTo>
                    <a:pt x="200" y="54"/>
                  </a:moveTo>
                  <a:lnTo>
                    <a:pt x="189" y="0"/>
                  </a:lnTo>
                  <a:lnTo>
                    <a:pt x="180" y="0"/>
                  </a:lnTo>
                  <a:lnTo>
                    <a:pt x="171" y="54"/>
                  </a:lnTo>
                  <a:moveTo>
                    <a:pt x="30" y="77"/>
                  </a:moveTo>
                  <a:lnTo>
                    <a:pt x="19" y="77"/>
                  </a:lnTo>
                  <a:lnTo>
                    <a:pt x="19" y="88"/>
                  </a:lnTo>
                  <a:lnTo>
                    <a:pt x="30" y="88"/>
                  </a:lnTo>
                  <a:lnTo>
                    <a:pt x="30" y="77"/>
                  </a:lnTo>
                  <a:moveTo>
                    <a:pt x="69" y="77"/>
                  </a:moveTo>
                  <a:lnTo>
                    <a:pt x="59" y="77"/>
                  </a:lnTo>
                  <a:lnTo>
                    <a:pt x="59" y="88"/>
                  </a:lnTo>
                  <a:lnTo>
                    <a:pt x="69" y="88"/>
                  </a:lnTo>
                  <a:lnTo>
                    <a:pt x="69" y="77"/>
                  </a:lnTo>
                  <a:moveTo>
                    <a:pt x="109" y="77"/>
                  </a:moveTo>
                  <a:lnTo>
                    <a:pt x="99" y="77"/>
                  </a:lnTo>
                  <a:lnTo>
                    <a:pt x="99" y="88"/>
                  </a:lnTo>
                  <a:lnTo>
                    <a:pt x="109" y="88"/>
                  </a:lnTo>
                  <a:lnTo>
                    <a:pt x="109" y="77"/>
                  </a:lnTo>
                  <a:moveTo>
                    <a:pt x="149" y="77"/>
                  </a:moveTo>
                  <a:lnTo>
                    <a:pt x="139" y="77"/>
                  </a:lnTo>
                  <a:lnTo>
                    <a:pt x="139" y="88"/>
                  </a:lnTo>
                  <a:lnTo>
                    <a:pt x="149" y="88"/>
                  </a:lnTo>
                  <a:lnTo>
                    <a:pt x="149" y="77"/>
                  </a:lnTo>
                  <a:moveTo>
                    <a:pt x="189" y="77"/>
                  </a:moveTo>
                  <a:lnTo>
                    <a:pt x="179" y="77"/>
                  </a:lnTo>
                  <a:lnTo>
                    <a:pt x="179" y="88"/>
                  </a:lnTo>
                  <a:lnTo>
                    <a:pt x="189" y="88"/>
                  </a:lnTo>
                  <a:lnTo>
                    <a:pt x="189" y="77"/>
                  </a:lnTo>
                </a:path>
              </a:pathLst>
            </a:custGeom>
            <a:noFill/>
            <a:ln w="12700" cap="sq">
              <a:solidFill>
                <a:schemeClr val="tx1">
                  <a:lumMod val="90000"/>
                  <a:lumOff val="10000"/>
                </a:schemeClr>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sz="900" dirty="0">
                <a:gradFill>
                  <a:gsLst>
                    <a:gs pos="0">
                      <a:srgbClr val="505050"/>
                    </a:gs>
                    <a:gs pos="100000">
                      <a:srgbClr val="505050"/>
                    </a:gs>
                  </a:gsLst>
                  <a:lin ang="5400000" scaled="1"/>
                </a:gradFill>
                <a:latin typeface="Segoe UI Semilight"/>
              </a:endParaRPr>
            </a:p>
          </p:txBody>
        </p:sp>
      </p:grpSp>
      <p:grpSp>
        <p:nvGrpSpPr>
          <p:cNvPr id="25" name="Group 24">
            <a:extLst>
              <a:ext uri="{FF2B5EF4-FFF2-40B4-BE49-F238E27FC236}">
                <a16:creationId xmlns:a16="http://schemas.microsoft.com/office/drawing/2014/main" id="{4819EA9A-B939-41A1-A93F-805D523EE947}"/>
              </a:ext>
            </a:extLst>
          </p:cNvPr>
          <p:cNvGrpSpPr/>
          <p:nvPr/>
        </p:nvGrpSpPr>
        <p:grpSpPr>
          <a:xfrm>
            <a:off x="9492438" y="3233665"/>
            <a:ext cx="512859" cy="512859"/>
            <a:chOff x="8013383" y="3180397"/>
            <a:chExt cx="502920" cy="502920"/>
          </a:xfrm>
        </p:grpSpPr>
        <p:sp useBgFill="1">
          <p:nvSpPr>
            <p:cNvPr id="26" name="Oval 25">
              <a:extLst>
                <a:ext uri="{FF2B5EF4-FFF2-40B4-BE49-F238E27FC236}">
                  <a16:creationId xmlns:a16="http://schemas.microsoft.com/office/drawing/2014/main" id="{98962745-3B54-439C-9FA2-59C34AB29B95}"/>
                </a:ext>
              </a:extLst>
            </p:cNvPr>
            <p:cNvSpPr/>
            <p:nvPr/>
          </p:nvSpPr>
          <p:spPr bwMode="auto">
            <a:xfrm>
              <a:off x="8013383" y="3180397"/>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Airplane_E709">
              <a:extLst>
                <a:ext uri="{FF2B5EF4-FFF2-40B4-BE49-F238E27FC236}">
                  <a16:creationId xmlns:a16="http://schemas.microsoft.com/office/drawing/2014/main" id="{57B26302-1D4B-4CBA-B4CE-7BBAB1DE9513}"/>
                </a:ext>
              </a:extLst>
            </p:cNvPr>
            <p:cNvSpPr>
              <a:spLocks noChangeAspect="1"/>
            </p:cNvSpPr>
            <p:nvPr/>
          </p:nvSpPr>
          <p:spPr bwMode="auto">
            <a:xfrm>
              <a:off x="8151627" y="3312320"/>
              <a:ext cx="235956" cy="239076"/>
            </a:xfrm>
            <a:custGeom>
              <a:avLst/>
              <a:gdLst>
                <a:gd name="T0" fmla="*/ 1002 w 3707"/>
                <a:gd name="T1" fmla="*/ 3755 h 3755"/>
                <a:gd name="T2" fmla="*/ 1502 w 3707"/>
                <a:gd name="T3" fmla="*/ 2253 h 3755"/>
                <a:gd name="T4" fmla="*/ 751 w 3707"/>
                <a:gd name="T5" fmla="*/ 2253 h 3755"/>
                <a:gd name="T6" fmla="*/ 625 w 3707"/>
                <a:gd name="T7" fmla="*/ 2503 h 3755"/>
                <a:gd name="T8" fmla="*/ 0 w 3707"/>
                <a:gd name="T9" fmla="*/ 2503 h 3755"/>
                <a:gd name="T10" fmla="*/ 209 w 3707"/>
                <a:gd name="T11" fmla="*/ 1877 h 3755"/>
                <a:gd name="T12" fmla="*/ 0 w 3707"/>
                <a:gd name="T13" fmla="*/ 1251 h 3755"/>
                <a:gd name="T14" fmla="*/ 625 w 3707"/>
                <a:gd name="T15" fmla="*/ 1251 h 3755"/>
                <a:gd name="T16" fmla="*/ 751 w 3707"/>
                <a:gd name="T17" fmla="*/ 1502 h 3755"/>
                <a:gd name="T18" fmla="*/ 1502 w 3707"/>
                <a:gd name="T19" fmla="*/ 1502 h 3755"/>
                <a:gd name="T20" fmla="*/ 1002 w 3707"/>
                <a:gd name="T21" fmla="*/ 0 h 3755"/>
                <a:gd name="T22" fmla="*/ 1627 w 3707"/>
                <a:gd name="T23" fmla="*/ 0 h 3755"/>
                <a:gd name="T24" fmla="*/ 2378 w 3707"/>
                <a:gd name="T25" fmla="*/ 1502 h 3755"/>
                <a:gd name="T26" fmla="*/ 3331 w 3707"/>
                <a:gd name="T27" fmla="*/ 1502 h 3755"/>
                <a:gd name="T28" fmla="*/ 3707 w 3707"/>
                <a:gd name="T29" fmla="*/ 1877 h 3755"/>
                <a:gd name="T30" fmla="*/ 3331 w 3707"/>
                <a:gd name="T31" fmla="*/ 2253 h 3755"/>
                <a:gd name="T32" fmla="*/ 2378 w 3707"/>
                <a:gd name="T33" fmla="*/ 2253 h 3755"/>
                <a:gd name="T34" fmla="*/ 1627 w 3707"/>
                <a:gd name="T35" fmla="*/ 3755 h 3755"/>
                <a:gd name="T36" fmla="*/ 1002 w 3707"/>
                <a:gd name="T37" fmla="*/ 3755 h 3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07" h="3755">
                  <a:moveTo>
                    <a:pt x="1002" y="3755"/>
                  </a:moveTo>
                  <a:cubicBezTo>
                    <a:pt x="1502" y="2253"/>
                    <a:pt x="1502" y="2253"/>
                    <a:pt x="1502" y="2253"/>
                  </a:cubicBezTo>
                  <a:cubicBezTo>
                    <a:pt x="751" y="2253"/>
                    <a:pt x="751" y="2253"/>
                    <a:pt x="751" y="2253"/>
                  </a:cubicBezTo>
                  <a:cubicBezTo>
                    <a:pt x="625" y="2503"/>
                    <a:pt x="625" y="2503"/>
                    <a:pt x="625" y="2503"/>
                  </a:cubicBezTo>
                  <a:cubicBezTo>
                    <a:pt x="0" y="2503"/>
                    <a:pt x="0" y="2503"/>
                    <a:pt x="0" y="2503"/>
                  </a:cubicBezTo>
                  <a:cubicBezTo>
                    <a:pt x="209" y="1877"/>
                    <a:pt x="209" y="1877"/>
                    <a:pt x="209" y="1877"/>
                  </a:cubicBezTo>
                  <a:cubicBezTo>
                    <a:pt x="0" y="1251"/>
                    <a:pt x="0" y="1251"/>
                    <a:pt x="0" y="1251"/>
                  </a:cubicBezTo>
                  <a:cubicBezTo>
                    <a:pt x="625" y="1251"/>
                    <a:pt x="625" y="1251"/>
                    <a:pt x="625" y="1251"/>
                  </a:cubicBezTo>
                  <a:cubicBezTo>
                    <a:pt x="751" y="1502"/>
                    <a:pt x="751" y="1502"/>
                    <a:pt x="751" y="1502"/>
                  </a:cubicBezTo>
                  <a:cubicBezTo>
                    <a:pt x="1502" y="1502"/>
                    <a:pt x="1502" y="1502"/>
                    <a:pt x="1502" y="1502"/>
                  </a:cubicBezTo>
                  <a:cubicBezTo>
                    <a:pt x="1002" y="0"/>
                    <a:pt x="1002" y="0"/>
                    <a:pt x="1002" y="0"/>
                  </a:cubicBezTo>
                  <a:cubicBezTo>
                    <a:pt x="1627" y="0"/>
                    <a:pt x="1627" y="0"/>
                    <a:pt x="1627" y="0"/>
                  </a:cubicBezTo>
                  <a:cubicBezTo>
                    <a:pt x="2378" y="1502"/>
                    <a:pt x="2378" y="1502"/>
                    <a:pt x="2378" y="1502"/>
                  </a:cubicBezTo>
                  <a:cubicBezTo>
                    <a:pt x="3331" y="1502"/>
                    <a:pt x="3331" y="1502"/>
                    <a:pt x="3331" y="1502"/>
                  </a:cubicBezTo>
                  <a:cubicBezTo>
                    <a:pt x="3538" y="1502"/>
                    <a:pt x="3707" y="1670"/>
                    <a:pt x="3707" y="1877"/>
                  </a:cubicBezTo>
                  <a:cubicBezTo>
                    <a:pt x="3707" y="2084"/>
                    <a:pt x="3538" y="2253"/>
                    <a:pt x="3331" y="2253"/>
                  </a:cubicBezTo>
                  <a:cubicBezTo>
                    <a:pt x="2378" y="2253"/>
                    <a:pt x="2378" y="2253"/>
                    <a:pt x="2378" y="2253"/>
                  </a:cubicBezTo>
                  <a:cubicBezTo>
                    <a:pt x="1627" y="3755"/>
                    <a:pt x="1627" y="3755"/>
                    <a:pt x="1627" y="3755"/>
                  </a:cubicBezTo>
                  <a:lnTo>
                    <a:pt x="1002" y="3755"/>
                  </a:lnTo>
                  <a:close/>
                </a:path>
              </a:pathLst>
            </a:custGeom>
            <a:noFill/>
            <a:ln w="12700" cap="flat">
              <a:solidFill>
                <a:schemeClr val="tx1">
                  <a:lumMod val="90000"/>
                  <a:lumOff val="10000"/>
                </a:schemeClr>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sz="900" dirty="0">
                <a:gradFill>
                  <a:gsLst>
                    <a:gs pos="0">
                      <a:srgbClr val="505050"/>
                    </a:gs>
                    <a:gs pos="100000">
                      <a:srgbClr val="505050"/>
                    </a:gs>
                  </a:gsLst>
                  <a:lin ang="5400000" scaled="1"/>
                </a:gradFill>
                <a:latin typeface="Segoe UI Semilight"/>
              </a:endParaRPr>
            </a:p>
          </p:txBody>
        </p:sp>
      </p:grpSp>
      <p:grpSp>
        <p:nvGrpSpPr>
          <p:cNvPr id="28" name="Group 27">
            <a:extLst>
              <a:ext uri="{FF2B5EF4-FFF2-40B4-BE49-F238E27FC236}">
                <a16:creationId xmlns:a16="http://schemas.microsoft.com/office/drawing/2014/main" id="{3A936183-3091-4468-BBF0-DB5E44ABF79C}"/>
              </a:ext>
            </a:extLst>
          </p:cNvPr>
          <p:cNvGrpSpPr/>
          <p:nvPr/>
        </p:nvGrpSpPr>
        <p:grpSpPr>
          <a:xfrm>
            <a:off x="8129097" y="5274167"/>
            <a:ext cx="512859" cy="512859"/>
            <a:chOff x="6676464" y="5181354"/>
            <a:chExt cx="502920" cy="502920"/>
          </a:xfrm>
        </p:grpSpPr>
        <p:sp useBgFill="1">
          <p:nvSpPr>
            <p:cNvPr id="29" name="Oval 28">
              <a:extLst>
                <a:ext uri="{FF2B5EF4-FFF2-40B4-BE49-F238E27FC236}">
                  <a16:creationId xmlns:a16="http://schemas.microsoft.com/office/drawing/2014/main" id="{D20EC115-D80B-44EF-ADC0-561F44CFD38D}"/>
                </a:ext>
              </a:extLst>
            </p:cNvPr>
            <p:cNvSpPr/>
            <p:nvPr/>
          </p:nvSpPr>
          <p:spPr bwMode="auto">
            <a:xfrm>
              <a:off x="6676464" y="5181354"/>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0" name="Group 8">
              <a:extLst>
                <a:ext uri="{FF2B5EF4-FFF2-40B4-BE49-F238E27FC236}">
                  <a16:creationId xmlns:a16="http://schemas.microsoft.com/office/drawing/2014/main" id="{EC8DA133-F8CF-4CDB-AF83-16811DA1E2DE}"/>
                </a:ext>
              </a:extLst>
            </p:cNvPr>
            <p:cNvGrpSpPr>
              <a:grpSpLocks noChangeAspect="1"/>
            </p:cNvGrpSpPr>
            <p:nvPr/>
          </p:nvGrpSpPr>
          <p:grpSpPr bwMode="auto">
            <a:xfrm>
              <a:off x="6803377" y="5331619"/>
              <a:ext cx="249094" cy="202390"/>
              <a:chOff x="5458" y="3157"/>
              <a:chExt cx="304" cy="247"/>
            </a:xfrm>
            <a:noFill/>
          </p:grpSpPr>
          <p:sp>
            <p:nvSpPr>
              <p:cNvPr id="31" name="Freeform 9">
                <a:extLst>
                  <a:ext uri="{FF2B5EF4-FFF2-40B4-BE49-F238E27FC236}">
                    <a16:creationId xmlns:a16="http://schemas.microsoft.com/office/drawing/2014/main" id="{CB453E70-6A41-4E7A-8EBC-37DDB1FCADBB}"/>
                  </a:ext>
                </a:extLst>
              </p:cNvPr>
              <p:cNvSpPr>
                <a:spLocks noEditPoints="1"/>
              </p:cNvSpPr>
              <p:nvPr/>
            </p:nvSpPr>
            <p:spPr bwMode="auto">
              <a:xfrm>
                <a:off x="5521" y="3157"/>
                <a:ext cx="241" cy="247"/>
              </a:xfrm>
              <a:custGeom>
                <a:avLst/>
                <a:gdLst>
                  <a:gd name="T0" fmla="*/ 35 w 334"/>
                  <a:gd name="T1" fmla="*/ 160 h 341"/>
                  <a:gd name="T2" fmla="*/ 35 w 334"/>
                  <a:gd name="T3" fmla="*/ 61 h 341"/>
                  <a:gd name="T4" fmla="*/ 60 w 334"/>
                  <a:gd name="T5" fmla="*/ 36 h 341"/>
                  <a:gd name="T6" fmla="*/ 266 w 334"/>
                  <a:gd name="T7" fmla="*/ 36 h 341"/>
                  <a:gd name="T8" fmla="*/ 291 w 334"/>
                  <a:gd name="T9" fmla="*/ 61 h 341"/>
                  <a:gd name="T10" fmla="*/ 291 w 334"/>
                  <a:gd name="T11" fmla="*/ 273 h 341"/>
                  <a:gd name="T12" fmla="*/ 266 w 334"/>
                  <a:gd name="T13" fmla="*/ 298 h 341"/>
                  <a:gd name="T14" fmla="*/ 266 w 334"/>
                  <a:gd name="T15" fmla="*/ 298 h 341"/>
                  <a:gd name="T16" fmla="*/ 84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5 w 334"/>
                  <a:gd name="T35" fmla="*/ 0 h 341"/>
                  <a:gd name="T36" fmla="*/ 255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5 w 334"/>
                  <a:gd name="T59" fmla="*/ 78 h 341"/>
                  <a:gd name="T60" fmla="*/ 0 w 334"/>
                  <a:gd name="T61" fmla="*/ 78 h 341"/>
                  <a:gd name="T62" fmla="*/ 35 w 334"/>
                  <a:gd name="T63" fmla="*/ 121 h 341"/>
                  <a:gd name="T64" fmla="*/ 0 w 334"/>
                  <a:gd name="T65" fmla="*/ 121 h 341"/>
                  <a:gd name="T66" fmla="*/ 35 w 334"/>
                  <a:gd name="T67" fmla="*/ 163 h 341"/>
                  <a:gd name="T68" fmla="*/ 0 w 334"/>
                  <a:gd name="T69" fmla="*/ 163 h 341"/>
                  <a:gd name="T70" fmla="*/ 121 w 334"/>
                  <a:gd name="T71" fmla="*/ 298 h 341"/>
                  <a:gd name="T72" fmla="*/ 121 w 334"/>
                  <a:gd name="T73" fmla="*/ 341 h 341"/>
                  <a:gd name="T74" fmla="*/ 163 w 334"/>
                  <a:gd name="T75" fmla="*/ 341 h 341"/>
                  <a:gd name="T76" fmla="*/ 163 w 334"/>
                  <a:gd name="T77" fmla="*/ 298 h 341"/>
                  <a:gd name="T78" fmla="*/ 206 w 334"/>
                  <a:gd name="T79" fmla="*/ 298 h 341"/>
                  <a:gd name="T80" fmla="*/ 206 w 334"/>
                  <a:gd name="T81" fmla="*/ 341 h 341"/>
                  <a:gd name="T82" fmla="*/ 255 w 334"/>
                  <a:gd name="T83" fmla="*/ 298 h 341"/>
                  <a:gd name="T84" fmla="*/ 255 w 334"/>
                  <a:gd name="T85"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 h="341">
                    <a:moveTo>
                      <a:pt x="35" y="160"/>
                    </a:moveTo>
                    <a:cubicBezTo>
                      <a:pt x="35" y="65"/>
                      <a:pt x="35" y="61"/>
                      <a:pt x="35" y="61"/>
                    </a:cubicBezTo>
                    <a:cubicBezTo>
                      <a:pt x="35" y="45"/>
                      <a:pt x="48" y="36"/>
                      <a:pt x="60" y="36"/>
                    </a:cubicBezTo>
                    <a:cubicBezTo>
                      <a:pt x="266" y="36"/>
                      <a:pt x="266" y="36"/>
                      <a:pt x="266" y="36"/>
                    </a:cubicBezTo>
                    <a:cubicBezTo>
                      <a:pt x="282" y="36"/>
                      <a:pt x="291" y="45"/>
                      <a:pt x="291" y="61"/>
                    </a:cubicBezTo>
                    <a:cubicBezTo>
                      <a:pt x="291" y="273"/>
                      <a:pt x="291" y="273"/>
                      <a:pt x="291" y="273"/>
                    </a:cubicBezTo>
                    <a:cubicBezTo>
                      <a:pt x="291" y="286"/>
                      <a:pt x="282" y="298"/>
                      <a:pt x="266" y="298"/>
                    </a:cubicBezTo>
                    <a:cubicBezTo>
                      <a:pt x="266" y="298"/>
                      <a:pt x="266" y="298"/>
                      <a:pt x="266" y="298"/>
                    </a:cubicBezTo>
                    <a:cubicBezTo>
                      <a:pt x="161" y="298"/>
                      <a:pt x="110" y="298"/>
                      <a:pt x="84" y="298"/>
                    </a:cubicBezTo>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5" y="0"/>
                    </a:moveTo>
                    <a:cubicBezTo>
                      <a:pt x="255" y="36"/>
                      <a:pt x="255" y="36"/>
                      <a:pt x="255"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5" y="78"/>
                    </a:moveTo>
                    <a:cubicBezTo>
                      <a:pt x="0" y="78"/>
                      <a:pt x="0" y="78"/>
                      <a:pt x="0" y="78"/>
                    </a:cubicBezTo>
                    <a:moveTo>
                      <a:pt x="35" y="121"/>
                    </a:moveTo>
                    <a:cubicBezTo>
                      <a:pt x="0" y="121"/>
                      <a:pt x="0" y="121"/>
                      <a:pt x="0" y="121"/>
                    </a:cubicBezTo>
                    <a:moveTo>
                      <a:pt x="35" y="163"/>
                    </a:moveTo>
                    <a:cubicBezTo>
                      <a:pt x="0" y="163"/>
                      <a:pt x="0" y="163"/>
                      <a:pt x="0" y="163"/>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5" y="298"/>
                    </a:moveTo>
                    <a:cubicBezTo>
                      <a:pt x="255" y="341"/>
                      <a:pt x="255" y="341"/>
                      <a:pt x="255" y="341"/>
                    </a:cubicBezTo>
                  </a:path>
                </a:pathLst>
              </a:custGeom>
              <a:grpFill/>
              <a:ln w="12700" cap="flat">
                <a:solidFill>
                  <a:schemeClr val="tx1">
                    <a:lumMod val="90000"/>
                    <a:lumOff val="10000"/>
                  </a:schemeClr>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sp>
            <p:nvSpPr>
              <p:cNvPr id="32" name="Freeform 10">
                <a:extLst>
                  <a:ext uri="{FF2B5EF4-FFF2-40B4-BE49-F238E27FC236}">
                    <a16:creationId xmlns:a16="http://schemas.microsoft.com/office/drawing/2014/main" id="{E8493FD0-D96B-4629-AA16-E196D0DF7845}"/>
                  </a:ext>
                </a:extLst>
              </p:cNvPr>
              <p:cNvSpPr>
                <a:spLocks noEditPoints="1"/>
              </p:cNvSpPr>
              <p:nvPr/>
            </p:nvSpPr>
            <p:spPr bwMode="auto">
              <a:xfrm>
                <a:off x="5458" y="3262"/>
                <a:ext cx="138" cy="141"/>
              </a:xfrm>
              <a:custGeom>
                <a:avLst/>
                <a:gdLst>
                  <a:gd name="T0" fmla="*/ 153 w 191"/>
                  <a:gd name="T1" fmla="*/ 171 h 195"/>
                  <a:gd name="T2" fmla="*/ 35 w 191"/>
                  <a:gd name="T3" fmla="*/ 171 h 195"/>
                  <a:gd name="T4" fmla="*/ 21 w 191"/>
                  <a:gd name="T5" fmla="*/ 156 h 195"/>
                  <a:gd name="T6" fmla="*/ 21 w 191"/>
                  <a:gd name="T7" fmla="*/ 35 h 195"/>
                  <a:gd name="T8" fmla="*/ 35 w 191"/>
                  <a:gd name="T9" fmla="*/ 20 h 195"/>
                  <a:gd name="T10" fmla="*/ 153 w 191"/>
                  <a:gd name="T11" fmla="*/ 20 h 195"/>
                  <a:gd name="T12" fmla="*/ 167 w 191"/>
                  <a:gd name="T13" fmla="*/ 35 h 195"/>
                  <a:gd name="T14" fmla="*/ 167 w 191"/>
                  <a:gd name="T15" fmla="*/ 156 h 195"/>
                  <a:gd name="T16" fmla="*/ 153 w 191"/>
                  <a:gd name="T17" fmla="*/ 171 h 195"/>
                  <a:gd name="T18" fmla="*/ 45 w 191"/>
                  <a:gd name="T19" fmla="*/ 20 h 195"/>
                  <a:gd name="T20" fmla="*/ 45 w 191"/>
                  <a:gd name="T21" fmla="*/ 0 h 195"/>
                  <a:gd name="T22" fmla="*/ 69 w 191"/>
                  <a:gd name="T23" fmla="*/ 20 h 195"/>
                  <a:gd name="T24" fmla="*/ 69 w 191"/>
                  <a:gd name="T25" fmla="*/ 0 h 195"/>
                  <a:gd name="T26" fmla="*/ 94 w 191"/>
                  <a:gd name="T27" fmla="*/ 0 h 195"/>
                  <a:gd name="T28" fmla="*/ 94 w 191"/>
                  <a:gd name="T29" fmla="*/ 20 h 195"/>
                  <a:gd name="T30" fmla="*/ 118 w 191"/>
                  <a:gd name="T31" fmla="*/ 0 h 195"/>
                  <a:gd name="T32" fmla="*/ 118 w 191"/>
                  <a:gd name="T33" fmla="*/ 20 h 195"/>
                  <a:gd name="T34" fmla="*/ 146 w 191"/>
                  <a:gd name="T35" fmla="*/ 0 h 195"/>
                  <a:gd name="T36" fmla="*/ 146 w 191"/>
                  <a:gd name="T37" fmla="*/ 20 h 195"/>
                  <a:gd name="T38" fmla="*/ 191 w 191"/>
                  <a:gd name="T39" fmla="*/ 45 h 195"/>
                  <a:gd name="T40" fmla="*/ 167 w 191"/>
                  <a:gd name="T41" fmla="*/ 45 h 195"/>
                  <a:gd name="T42" fmla="*/ 191 w 191"/>
                  <a:gd name="T43" fmla="*/ 69 h 195"/>
                  <a:gd name="T44" fmla="*/ 167 w 191"/>
                  <a:gd name="T45" fmla="*/ 69 h 195"/>
                  <a:gd name="T46" fmla="*/ 191 w 191"/>
                  <a:gd name="T47" fmla="*/ 93 h 195"/>
                  <a:gd name="T48" fmla="*/ 167 w 191"/>
                  <a:gd name="T49" fmla="*/ 93 h 195"/>
                  <a:gd name="T50" fmla="*/ 191 w 191"/>
                  <a:gd name="T51" fmla="*/ 122 h 195"/>
                  <a:gd name="T52" fmla="*/ 167 w 191"/>
                  <a:gd name="T53" fmla="*/ 122 h 195"/>
                  <a:gd name="T54" fmla="*/ 191 w 191"/>
                  <a:gd name="T55" fmla="*/ 146 h 195"/>
                  <a:gd name="T56" fmla="*/ 167 w 191"/>
                  <a:gd name="T57" fmla="*/ 146 h 195"/>
                  <a:gd name="T58" fmla="*/ 21 w 191"/>
                  <a:gd name="T59" fmla="*/ 45 h 195"/>
                  <a:gd name="T60" fmla="*/ 0 w 191"/>
                  <a:gd name="T61" fmla="*/ 45 h 195"/>
                  <a:gd name="T62" fmla="*/ 21 w 191"/>
                  <a:gd name="T63" fmla="*/ 69 h 195"/>
                  <a:gd name="T64" fmla="*/ 0 w 191"/>
                  <a:gd name="T65" fmla="*/ 69 h 195"/>
                  <a:gd name="T66" fmla="*/ 21 w 191"/>
                  <a:gd name="T67" fmla="*/ 93 h 195"/>
                  <a:gd name="T68" fmla="*/ 0 w 191"/>
                  <a:gd name="T69" fmla="*/ 93 h 195"/>
                  <a:gd name="T70" fmla="*/ 21 w 191"/>
                  <a:gd name="T71" fmla="*/ 122 h 195"/>
                  <a:gd name="T72" fmla="*/ 0 w 191"/>
                  <a:gd name="T73" fmla="*/ 122 h 195"/>
                  <a:gd name="T74" fmla="*/ 21 w 191"/>
                  <a:gd name="T75" fmla="*/ 146 h 195"/>
                  <a:gd name="T76" fmla="*/ 0 w 191"/>
                  <a:gd name="T77" fmla="*/ 146 h 195"/>
                  <a:gd name="T78" fmla="*/ 45 w 191"/>
                  <a:gd name="T79" fmla="*/ 171 h 195"/>
                  <a:gd name="T80" fmla="*/ 45 w 191"/>
                  <a:gd name="T81" fmla="*/ 195 h 195"/>
                  <a:gd name="T82" fmla="*/ 69 w 191"/>
                  <a:gd name="T83" fmla="*/ 171 h 195"/>
                  <a:gd name="T84" fmla="*/ 69 w 191"/>
                  <a:gd name="T85" fmla="*/ 195 h 195"/>
                  <a:gd name="T86" fmla="*/ 94 w 191"/>
                  <a:gd name="T87" fmla="*/ 195 h 195"/>
                  <a:gd name="T88" fmla="*/ 94 w 191"/>
                  <a:gd name="T89" fmla="*/ 171 h 195"/>
                  <a:gd name="T90" fmla="*/ 118 w 191"/>
                  <a:gd name="T91" fmla="*/ 171 h 195"/>
                  <a:gd name="T92" fmla="*/ 118 w 191"/>
                  <a:gd name="T93" fmla="*/ 195 h 195"/>
                  <a:gd name="T94" fmla="*/ 146 w 191"/>
                  <a:gd name="T95" fmla="*/ 171 h 195"/>
                  <a:gd name="T96" fmla="*/ 146 w 191"/>
                  <a:gd name="T9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1" h="195">
                    <a:moveTo>
                      <a:pt x="153" y="171"/>
                    </a:moveTo>
                    <a:cubicBezTo>
                      <a:pt x="35" y="171"/>
                      <a:pt x="35" y="171"/>
                      <a:pt x="35" y="171"/>
                    </a:cubicBezTo>
                    <a:cubicBezTo>
                      <a:pt x="28" y="171"/>
                      <a:pt x="21" y="163"/>
                      <a:pt x="21" y="156"/>
                    </a:cubicBezTo>
                    <a:cubicBezTo>
                      <a:pt x="21" y="35"/>
                      <a:pt x="21" y="35"/>
                      <a:pt x="21" y="35"/>
                    </a:cubicBezTo>
                    <a:cubicBezTo>
                      <a:pt x="21" y="26"/>
                      <a:pt x="28" y="20"/>
                      <a:pt x="35" y="20"/>
                    </a:cubicBezTo>
                    <a:cubicBezTo>
                      <a:pt x="153" y="20"/>
                      <a:pt x="153" y="20"/>
                      <a:pt x="153" y="20"/>
                    </a:cubicBezTo>
                    <a:cubicBezTo>
                      <a:pt x="162" y="20"/>
                      <a:pt x="167" y="26"/>
                      <a:pt x="167" y="35"/>
                    </a:cubicBezTo>
                    <a:cubicBezTo>
                      <a:pt x="167" y="156"/>
                      <a:pt x="167" y="156"/>
                      <a:pt x="167" y="156"/>
                    </a:cubicBezTo>
                    <a:cubicBezTo>
                      <a:pt x="167" y="163"/>
                      <a:pt x="162" y="171"/>
                      <a:pt x="153" y="171"/>
                    </a:cubicBezTo>
                    <a:close/>
                    <a:moveTo>
                      <a:pt x="45" y="20"/>
                    </a:moveTo>
                    <a:cubicBezTo>
                      <a:pt x="45" y="0"/>
                      <a:pt x="45" y="0"/>
                      <a:pt x="45" y="0"/>
                    </a:cubicBezTo>
                    <a:moveTo>
                      <a:pt x="69" y="20"/>
                    </a:moveTo>
                    <a:cubicBezTo>
                      <a:pt x="69" y="0"/>
                      <a:pt x="69" y="0"/>
                      <a:pt x="69" y="0"/>
                    </a:cubicBezTo>
                    <a:moveTo>
                      <a:pt x="94" y="0"/>
                    </a:moveTo>
                    <a:cubicBezTo>
                      <a:pt x="94" y="20"/>
                      <a:pt x="94" y="20"/>
                      <a:pt x="94" y="20"/>
                    </a:cubicBezTo>
                    <a:moveTo>
                      <a:pt x="118" y="0"/>
                    </a:moveTo>
                    <a:cubicBezTo>
                      <a:pt x="118" y="20"/>
                      <a:pt x="118" y="20"/>
                      <a:pt x="118" y="20"/>
                    </a:cubicBezTo>
                    <a:moveTo>
                      <a:pt x="146" y="0"/>
                    </a:moveTo>
                    <a:cubicBezTo>
                      <a:pt x="146" y="20"/>
                      <a:pt x="146" y="20"/>
                      <a:pt x="146" y="20"/>
                    </a:cubicBezTo>
                    <a:moveTo>
                      <a:pt x="191" y="45"/>
                    </a:moveTo>
                    <a:cubicBezTo>
                      <a:pt x="167" y="45"/>
                      <a:pt x="167" y="45"/>
                      <a:pt x="167" y="45"/>
                    </a:cubicBezTo>
                    <a:moveTo>
                      <a:pt x="191" y="69"/>
                    </a:moveTo>
                    <a:cubicBezTo>
                      <a:pt x="167" y="69"/>
                      <a:pt x="167" y="69"/>
                      <a:pt x="167" y="69"/>
                    </a:cubicBezTo>
                    <a:moveTo>
                      <a:pt x="191" y="93"/>
                    </a:moveTo>
                    <a:cubicBezTo>
                      <a:pt x="167" y="93"/>
                      <a:pt x="167" y="93"/>
                      <a:pt x="167" y="93"/>
                    </a:cubicBezTo>
                    <a:moveTo>
                      <a:pt x="191" y="122"/>
                    </a:moveTo>
                    <a:cubicBezTo>
                      <a:pt x="167" y="122"/>
                      <a:pt x="167" y="122"/>
                      <a:pt x="167" y="122"/>
                    </a:cubicBezTo>
                    <a:moveTo>
                      <a:pt x="191" y="146"/>
                    </a:moveTo>
                    <a:cubicBezTo>
                      <a:pt x="167" y="146"/>
                      <a:pt x="167" y="146"/>
                      <a:pt x="167" y="146"/>
                    </a:cubicBezTo>
                    <a:moveTo>
                      <a:pt x="21" y="45"/>
                    </a:moveTo>
                    <a:cubicBezTo>
                      <a:pt x="0" y="45"/>
                      <a:pt x="0" y="45"/>
                      <a:pt x="0" y="45"/>
                    </a:cubicBezTo>
                    <a:moveTo>
                      <a:pt x="21" y="69"/>
                    </a:moveTo>
                    <a:cubicBezTo>
                      <a:pt x="0" y="69"/>
                      <a:pt x="0" y="69"/>
                      <a:pt x="0" y="69"/>
                    </a:cubicBezTo>
                    <a:moveTo>
                      <a:pt x="21" y="93"/>
                    </a:moveTo>
                    <a:cubicBezTo>
                      <a:pt x="0" y="93"/>
                      <a:pt x="0" y="93"/>
                      <a:pt x="0" y="93"/>
                    </a:cubicBezTo>
                    <a:moveTo>
                      <a:pt x="21" y="122"/>
                    </a:moveTo>
                    <a:cubicBezTo>
                      <a:pt x="0" y="122"/>
                      <a:pt x="0" y="122"/>
                      <a:pt x="0" y="122"/>
                    </a:cubicBezTo>
                    <a:moveTo>
                      <a:pt x="21" y="146"/>
                    </a:moveTo>
                    <a:cubicBezTo>
                      <a:pt x="0" y="146"/>
                      <a:pt x="0" y="146"/>
                      <a:pt x="0" y="146"/>
                    </a:cubicBezTo>
                    <a:moveTo>
                      <a:pt x="45" y="171"/>
                    </a:moveTo>
                    <a:cubicBezTo>
                      <a:pt x="45" y="195"/>
                      <a:pt x="45" y="195"/>
                      <a:pt x="45" y="195"/>
                    </a:cubicBezTo>
                    <a:moveTo>
                      <a:pt x="69" y="171"/>
                    </a:moveTo>
                    <a:cubicBezTo>
                      <a:pt x="69" y="195"/>
                      <a:pt x="69" y="195"/>
                      <a:pt x="69" y="195"/>
                    </a:cubicBezTo>
                    <a:moveTo>
                      <a:pt x="94" y="195"/>
                    </a:moveTo>
                    <a:cubicBezTo>
                      <a:pt x="94" y="171"/>
                      <a:pt x="94" y="171"/>
                      <a:pt x="94" y="171"/>
                    </a:cubicBezTo>
                    <a:moveTo>
                      <a:pt x="118" y="171"/>
                    </a:moveTo>
                    <a:cubicBezTo>
                      <a:pt x="118" y="195"/>
                      <a:pt x="118" y="195"/>
                      <a:pt x="118" y="195"/>
                    </a:cubicBezTo>
                    <a:moveTo>
                      <a:pt x="146" y="171"/>
                    </a:moveTo>
                    <a:cubicBezTo>
                      <a:pt x="146" y="195"/>
                      <a:pt x="146" y="195"/>
                      <a:pt x="146" y="195"/>
                    </a:cubicBezTo>
                  </a:path>
                </a:pathLst>
              </a:custGeom>
              <a:grpFill/>
              <a:ln w="12700" cap="flat">
                <a:solidFill>
                  <a:schemeClr val="tx1">
                    <a:lumMod val="90000"/>
                    <a:lumOff val="10000"/>
                  </a:schemeClr>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grpSp>
      </p:grpSp>
      <p:grpSp>
        <p:nvGrpSpPr>
          <p:cNvPr id="33" name="Group 32">
            <a:extLst>
              <a:ext uri="{FF2B5EF4-FFF2-40B4-BE49-F238E27FC236}">
                <a16:creationId xmlns:a16="http://schemas.microsoft.com/office/drawing/2014/main" id="{423FA38E-4EDA-4E1D-8971-869D56D1531A}"/>
              </a:ext>
            </a:extLst>
          </p:cNvPr>
          <p:cNvGrpSpPr/>
          <p:nvPr/>
        </p:nvGrpSpPr>
        <p:grpSpPr>
          <a:xfrm>
            <a:off x="9324148" y="4079116"/>
            <a:ext cx="512859" cy="512859"/>
            <a:chOff x="7848355" y="4009463"/>
            <a:chExt cx="502920" cy="502920"/>
          </a:xfrm>
        </p:grpSpPr>
        <p:sp useBgFill="1">
          <p:nvSpPr>
            <p:cNvPr id="34" name="Oval 33">
              <a:extLst>
                <a:ext uri="{FF2B5EF4-FFF2-40B4-BE49-F238E27FC236}">
                  <a16:creationId xmlns:a16="http://schemas.microsoft.com/office/drawing/2014/main" id="{D0654CF7-91D0-4406-B48F-995EE839C7E7}"/>
                </a:ext>
              </a:extLst>
            </p:cNvPr>
            <p:cNvSpPr/>
            <p:nvPr/>
          </p:nvSpPr>
          <p:spPr bwMode="auto">
            <a:xfrm>
              <a:off x="7848355" y="4009463"/>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pen">
              <a:extLst>
                <a:ext uri="{FF2B5EF4-FFF2-40B4-BE49-F238E27FC236}">
                  <a16:creationId xmlns:a16="http://schemas.microsoft.com/office/drawing/2014/main" id="{F89B2A7E-49D6-4511-9647-42AFFE024CE3}"/>
                </a:ext>
              </a:extLst>
            </p:cNvPr>
            <p:cNvSpPr>
              <a:spLocks noChangeAspect="1" noEditPoints="1"/>
            </p:cNvSpPr>
            <p:nvPr/>
          </p:nvSpPr>
          <p:spPr bwMode="auto">
            <a:xfrm>
              <a:off x="7986668" y="4147273"/>
              <a:ext cx="226294" cy="227301"/>
            </a:xfrm>
            <a:custGeom>
              <a:avLst/>
              <a:gdLst>
                <a:gd name="T0" fmla="*/ 222 w 326"/>
                <a:gd name="T1" fmla="*/ 329 h 329"/>
                <a:gd name="T2" fmla="*/ 211 w 326"/>
                <a:gd name="T3" fmla="*/ 308 h 329"/>
                <a:gd name="T4" fmla="*/ 187 w 326"/>
                <a:gd name="T5" fmla="*/ 128 h 329"/>
                <a:gd name="T6" fmla="*/ 149 w 326"/>
                <a:gd name="T7" fmla="*/ 49 h 329"/>
                <a:gd name="T8" fmla="*/ 144 w 326"/>
                <a:gd name="T9" fmla="*/ 44 h 329"/>
                <a:gd name="T10" fmla="*/ 138 w 326"/>
                <a:gd name="T11" fmla="*/ 45 h 329"/>
                <a:gd name="T12" fmla="*/ 114 w 326"/>
                <a:gd name="T13" fmla="*/ 57 h 329"/>
                <a:gd name="T14" fmla="*/ 87 w 326"/>
                <a:gd name="T15" fmla="*/ 26 h 329"/>
                <a:gd name="T16" fmla="*/ 78 w 326"/>
                <a:gd name="T17" fmla="*/ 7 h 329"/>
                <a:gd name="T18" fmla="*/ 64 w 326"/>
                <a:gd name="T19" fmla="*/ 3 h 329"/>
                <a:gd name="T20" fmla="*/ 50 w 326"/>
                <a:gd name="T21" fmla="*/ 10 h 329"/>
                <a:gd name="T22" fmla="*/ 44 w 326"/>
                <a:gd name="T23" fmla="*/ 24 h 329"/>
                <a:gd name="T24" fmla="*/ 53 w 326"/>
                <a:gd name="T25" fmla="*/ 42 h 329"/>
                <a:gd name="T26" fmla="*/ 215 w 326"/>
                <a:gd name="T27" fmla="*/ 265 h 329"/>
                <a:gd name="T28" fmla="*/ 212 w 326"/>
                <a:gd name="T29" fmla="*/ 256 h 329"/>
                <a:gd name="T30" fmla="*/ 100 w 326"/>
                <a:gd name="T31" fmla="*/ 28 h 329"/>
                <a:gd name="T32" fmla="*/ 90 w 326"/>
                <a:gd name="T33" fmla="*/ 24 h 329"/>
                <a:gd name="T34" fmla="*/ 52 w 326"/>
                <a:gd name="T35" fmla="*/ 43 h 329"/>
                <a:gd name="T36" fmla="*/ 49 w 326"/>
                <a:gd name="T37" fmla="*/ 53 h 329"/>
                <a:gd name="T38" fmla="*/ 163 w 326"/>
                <a:gd name="T39" fmla="*/ 285 h 329"/>
                <a:gd name="T40" fmla="*/ 167 w 326"/>
                <a:gd name="T41" fmla="*/ 290 h 329"/>
                <a:gd name="T42" fmla="*/ 171 w 326"/>
                <a:gd name="T43" fmla="*/ 293 h 329"/>
                <a:gd name="T44" fmla="*/ 210 w 326"/>
                <a:gd name="T45" fmla="*/ 308 h 329"/>
                <a:gd name="T46" fmla="*/ 212 w 326"/>
                <a:gd name="T47" fmla="*/ 308 h 329"/>
                <a:gd name="T48" fmla="*/ 216 w 326"/>
                <a:gd name="T49" fmla="*/ 273 h 329"/>
                <a:gd name="T50" fmla="*/ 215 w 326"/>
                <a:gd name="T51" fmla="*/ 265 h 329"/>
                <a:gd name="T52" fmla="*/ 215 w 326"/>
                <a:gd name="T53" fmla="*/ 265 h 329"/>
                <a:gd name="T54" fmla="*/ 39 w 326"/>
                <a:gd name="T55" fmla="*/ 133 h 329"/>
                <a:gd name="T56" fmla="*/ 32 w 326"/>
                <a:gd name="T57" fmla="*/ 133 h 329"/>
                <a:gd name="T58" fmla="*/ 0 w 326"/>
                <a:gd name="T59" fmla="*/ 166 h 329"/>
                <a:gd name="T60" fmla="*/ 0 w 326"/>
                <a:gd name="T61" fmla="*/ 166 h 329"/>
                <a:gd name="T62" fmla="*/ 33 w 326"/>
                <a:gd name="T63" fmla="*/ 197 h 329"/>
                <a:gd name="T64" fmla="*/ 74 w 326"/>
                <a:gd name="T65" fmla="*/ 196 h 329"/>
                <a:gd name="T66" fmla="*/ 253 w 326"/>
                <a:gd name="T67" fmla="*/ 327 h 329"/>
                <a:gd name="T68" fmla="*/ 261 w 326"/>
                <a:gd name="T69" fmla="*/ 327 h 329"/>
                <a:gd name="T70" fmla="*/ 325 w 326"/>
                <a:gd name="T71" fmla="*/ 261 h 329"/>
                <a:gd name="T72" fmla="*/ 325 w 326"/>
                <a:gd name="T73" fmla="*/ 261 h 329"/>
                <a:gd name="T74" fmla="*/ 259 w 326"/>
                <a:gd name="T75" fmla="*/ 198 h 329"/>
                <a:gd name="T76" fmla="*/ 227 w 326"/>
                <a:gd name="T77" fmla="*/ 19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6" h="329">
                  <a:moveTo>
                    <a:pt x="222" y="329"/>
                  </a:moveTo>
                  <a:cubicBezTo>
                    <a:pt x="211" y="308"/>
                    <a:pt x="211" y="308"/>
                    <a:pt x="211" y="308"/>
                  </a:cubicBezTo>
                  <a:moveTo>
                    <a:pt x="187" y="128"/>
                  </a:moveTo>
                  <a:cubicBezTo>
                    <a:pt x="149" y="49"/>
                    <a:pt x="149" y="49"/>
                    <a:pt x="149" y="49"/>
                  </a:cubicBezTo>
                  <a:cubicBezTo>
                    <a:pt x="149" y="49"/>
                    <a:pt x="147" y="45"/>
                    <a:pt x="144" y="44"/>
                  </a:cubicBezTo>
                  <a:cubicBezTo>
                    <a:pt x="141" y="43"/>
                    <a:pt x="138" y="45"/>
                    <a:pt x="138" y="45"/>
                  </a:cubicBezTo>
                  <a:cubicBezTo>
                    <a:pt x="114" y="57"/>
                    <a:pt x="114" y="57"/>
                    <a:pt x="114" y="57"/>
                  </a:cubicBezTo>
                  <a:moveTo>
                    <a:pt x="87" y="26"/>
                  </a:moveTo>
                  <a:cubicBezTo>
                    <a:pt x="78" y="7"/>
                    <a:pt x="78" y="7"/>
                    <a:pt x="78" y="7"/>
                  </a:cubicBezTo>
                  <a:cubicBezTo>
                    <a:pt x="76" y="2"/>
                    <a:pt x="69" y="0"/>
                    <a:pt x="64" y="3"/>
                  </a:cubicBezTo>
                  <a:cubicBezTo>
                    <a:pt x="50" y="10"/>
                    <a:pt x="50" y="10"/>
                    <a:pt x="50" y="10"/>
                  </a:cubicBezTo>
                  <a:cubicBezTo>
                    <a:pt x="44" y="13"/>
                    <a:pt x="42" y="19"/>
                    <a:pt x="44" y="24"/>
                  </a:cubicBezTo>
                  <a:cubicBezTo>
                    <a:pt x="53" y="42"/>
                    <a:pt x="53" y="42"/>
                    <a:pt x="53" y="42"/>
                  </a:cubicBezTo>
                  <a:moveTo>
                    <a:pt x="215" y="265"/>
                  </a:moveTo>
                  <a:cubicBezTo>
                    <a:pt x="215" y="262"/>
                    <a:pt x="212" y="256"/>
                    <a:pt x="212" y="256"/>
                  </a:cubicBezTo>
                  <a:cubicBezTo>
                    <a:pt x="100" y="28"/>
                    <a:pt x="100" y="28"/>
                    <a:pt x="100" y="28"/>
                  </a:cubicBezTo>
                  <a:cubicBezTo>
                    <a:pt x="98" y="24"/>
                    <a:pt x="93" y="23"/>
                    <a:pt x="90" y="24"/>
                  </a:cubicBezTo>
                  <a:cubicBezTo>
                    <a:pt x="52" y="43"/>
                    <a:pt x="52" y="43"/>
                    <a:pt x="52" y="43"/>
                  </a:cubicBezTo>
                  <a:cubicBezTo>
                    <a:pt x="49" y="45"/>
                    <a:pt x="47" y="49"/>
                    <a:pt x="49" y="53"/>
                  </a:cubicBezTo>
                  <a:cubicBezTo>
                    <a:pt x="163" y="285"/>
                    <a:pt x="163" y="285"/>
                    <a:pt x="163" y="285"/>
                  </a:cubicBezTo>
                  <a:cubicBezTo>
                    <a:pt x="163" y="285"/>
                    <a:pt x="165" y="288"/>
                    <a:pt x="167" y="290"/>
                  </a:cubicBezTo>
                  <a:cubicBezTo>
                    <a:pt x="168" y="291"/>
                    <a:pt x="171" y="293"/>
                    <a:pt x="171" y="293"/>
                  </a:cubicBezTo>
                  <a:cubicBezTo>
                    <a:pt x="181" y="298"/>
                    <a:pt x="207" y="309"/>
                    <a:pt x="210" y="308"/>
                  </a:cubicBezTo>
                  <a:cubicBezTo>
                    <a:pt x="210" y="308"/>
                    <a:pt x="211" y="308"/>
                    <a:pt x="212" y="308"/>
                  </a:cubicBezTo>
                  <a:cubicBezTo>
                    <a:pt x="214" y="306"/>
                    <a:pt x="215" y="285"/>
                    <a:pt x="216" y="273"/>
                  </a:cubicBezTo>
                  <a:cubicBezTo>
                    <a:pt x="216" y="268"/>
                    <a:pt x="215" y="265"/>
                    <a:pt x="215" y="265"/>
                  </a:cubicBezTo>
                  <a:cubicBezTo>
                    <a:pt x="215" y="265"/>
                    <a:pt x="215" y="267"/>
                    <a:pt x="215" y="265"/>
                  </a:cubicBezTo>
                  <a:close/>
                  <a:moveTo>
                    <a:pt x="39" y="133"/>
                  </a:moveTo>
                  <a:cubicBezTo>
                    <a:pt x="32" y="133"/>
                    <a:pt x="32" y="133"/>
                    <a:pt x="32" y="133"/>
                  </a:cubicBezTo>
                  <a:cubicBezTo>
                    <a:pt x="14" y="134"/>
                    <a:pt x="0" y="148"/>
                    <a:pt x="0" y="166"/>
                  </a:cubicBezTo>
                  <a:cubicBezTo>
                    <a:pt x="0" y="166"/>
                    <a:pt x="0" y="166"/>
                    <a:pt x="0" y="166"/>
                  </a:cubicBezTo>
                  <a:cubicBezTo>
                    <a:pt x="1" y="183"/>
                    <a:pt x="15" y="197"/>
                    <a:pt x="33" y="197"/>
                  </a:cubicBezTo>
                  <a:cubicBezTo>
                    <a:pt x="74" y="196"/>
                    <a:pt x="74" y="196"/>
                    <a:pt x="74" y="196"/>
                  </a:cubicBezTo>
                  <a:moveTo>
                    <a:pt x="253" y="327"/>
                  </a:moveTo>
                  <a:cubicBezTo>
                    <a:pt x="261" y="327"/>
                    <a:pt x="261" y="327"/>
                    <a:pt x="261" y="327"/>
                  </a:cubicBezTo>
                  <a:cubicBezTo>
                    <a:pt x="297" y="327"/>
                    <a:pt x="326" y="297"/>
                    <a:pt x="325" y="261"/>
                  </a:cubicBezTo>
                  <a:cubicBezTo>
                    <a:pt x="325" y="261"/>
                    <a:pt x="325" y="261"/>
                    <a:pt x="325" y="261"/>
                  </a:cubicBezTo>
                  <a:cubicBezTo>
                    <a:pt x="324" y="226"/>
                    <a:pt x="295" y="197"/>
                    <a:pt x="259" y="198"/>
                  </a:cubicBezTo>
                  <a:cubicBezTo>
                    <a:pt x="227" y="198"/>
                    <a:pt x="227" y="198"/>
                    <a:pt x="227" y="198"/>
                  </a:cubicBezTo>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grpSp>
      <p:grpSp>
        <p:nvGrpSpPr>
          <p:cNvPr id="36" name="Group 35">
            <a:extLst>
              <a:ext uri="{FF2B5EF4-FFF2-40B4-BE49-F238E27FC236}">
                <a16:creationId xmlns:a16="http://schemas.microsoft.com/office/drawing/2014/main" id="{EDE4EAD9-1E67-4F94-BACA-5286EB0A6461}"/>
              </a:ext>
            </a:extLst>
          </p:cNvPr>
          <p:cNvGrpSpPr/>
          <p:nvPr/>
        </p:nvGrpSpPr>
        <p:grpSpPr>
          <a:xfrm>
            <a:off x="5049027" y="1738769"/>
            <a:ext cx="512859" cy="512859"/>
            <a:chOff x="3656085" y="1714472"/>
            <a:chExt cx="502920" cy="502920"/>
          </a:xfrm>
        </p:grpSpPr>
        <p:sp useBgFill="1">
          <p:nvSpPr>
            <p:cNvPr id="37" name="Oval 36">
              <a:extLst>
                <a:ext uri="{FF2B5EF4-FFF2-40B4-BE49-F238E27FC236}">
                  <a16:creationId xmlns:a16="http://schemas.microsoft.com/office/drawing/2014/main" id="{4CD48517-E9EB-4E0F-868C-CDDC92A2ECEA}"/>
                </a:ext>
              </a:extLst>
            </p:cNvPr>
            <p:cNvSpPr/>
            <p:nvPr/>
          </p:nvSpPr>
          <p:spPr bwMode="auto">
            <a:xfrm>
              <a:off x="3656085" y="1714472"/>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8" name="Group 37">
              <a:extLst>
                <a:ext uri="{FF2B5EF4-FFF2-40B4-BE49-F238E27FC236}">
                  <a16:creationId xmlns:a16="http://schemas.microsoft.com/office/drawing/2014/main" id="{07535DB0-F9BE-4810-86EC-E9C88C4A8635}"/>
                </a:ext>
              </a:extLst>
            </p:cNvPr>
            <p:cNvGrpSpPr/>
            <p:nvPr/>
          </p:nvGrpSpPr>
          <p:grpSpPr>
            <a:xfrm>
              <a:off x="3789165" y="1884600"/>
              <a:ext cx="236760" cy="162664"/>
              <a:chOff x="1083478" y="4352862"/>
              <a:chExt cx="545310" cy="374645"/>
            </a:xfrm>
          </p:grpSpPr>
          <p:grpSp>
            <p:nvGrpSpPr>
              <p:cNvPr id="39" name="Group 38">
                <a:extLst>
                  <a:ext uri="{FF2B5EF4-FFF2-40B4-BE49-F238E27FC236}">
                    <a16:creationId xmlns:a16="http://schemas.microsoft.com/office/drawing/2014/main" id="{CB7C7BF7-AAAD-4B77-A09A-0052F780EB24}"/>
                  </a:ext>
                </a:extLst>
              </p:cNvPr>
              <p:cNvGrpSpPr/>
              <p:nvPr/>
            </p:nvGrpSpPr>
            <p:grpSpPr>
              <a:xfrm>
                <a:off x="1083478" y="4352862"/>
                <a:ext cx="545310" cy="374645"/>
                <a:chOff x="1691236" y="428625"/>
                <a:chExt cx="707044" cy="485770"/>
              </a:xfrm>
            </p:grpSpPr>
            <p:sp>
              <p:nvSpPr>
                <p:cNvPr id="41" name="Rectangle 40">
                  <a:extLst>
                    <a:ext uri="{FF2B5EF4-FFF2-40B4-BE49-F238E27FC236}">
                      <a16:creationId xmlns:a16="http://schemas.microsoft.com/office/drawing/2014/main" id="{CE949E4E-D20C-4E82-B9CF-5AF824257983}"/>
                    </a:ext>
                  </a:extLst>
                </p:cNvPr>
                <p:cNvSpPr/>
                <p:nvPr/>
              </p:nvSpPr>
              <p:spPr bwMode="auto">
                <a:xfrm>
                  <a:off x="1743075" y="428625"/>
                  <a:ext cx="614363" cy="409575"/>
                </a:xfrm>
                <a:prstGeom prst="rect">
                  <a:avLst/>
                </a:pr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14" tIns="45706" rIns="111896" bIns="45706" numCol="1" anchor="ctr" anchorCtr="0" compatLnSpc="1">
                  <a:prstTxWarp prst="textNoShape">
                    <a:avLst/>
                  </a:prstTxWarp>
                </a:bodyPr>
                <a:lstStyle/>
                <a:p>
                  <a:pPr algn="ctr" defTabSz="932384">
                    <a:defRPr/>
                  </a:pPr>
                  <a:r>
                    <a:rPr lang="en-US" sz="510" dirty="0">
                      <a:gradFill>
                        <a:gsLst>
                          <a:gs pos="0">
                            <a:srgbClr val="1A1A1A"/>
                          </a:gs>
                          <a:gs pos="100000">
                            <a:srgbClr val="1A1A1A"/>
                          </a:gs>
                        </a:gsLst>
                        <a:lin ang="5400000" scaled="0"/>
                      </a:gradFill>
                      <a:latin typeface="Segoe UI Semibold"/>
                    </a:rPr>
                    <a:t>68</a:t>
                  </a:r>
                </a:p>
              </p:txBody>
            </p:sp>
            <p:sp>
              <p:nvSpPr>
                <p:cNvPr id="42" name="Rectangle 7">
                  <a:extLst>
                    <a:ext uri="{FF2B5EF4-FFF2-40B4-BE49-F238E27FC236}">
                      <a16:creationId xmlns:a16="http://schemas.microsoft.com/office/drawing/2014/main" id="{09153E9E-F9DD-46B6-AE80-4F40CBD94685}"/>
                    </a:ext>
                  </a:extLst>
                </p:cNvPr>
                <p:cNvSpPr/>
                <p:nvPr/>
              </p:nvSpPr>
              <p:spPr bwMode="auto">
                <a:xfrm>
                  <a:off x="1691236" y="839275"/>
                  <a:ext cx="707044" cy="75120"/>
                </a:xfrm>
                <a:custGeom>
                  <a:avLst/>
                  <a:gdLst>
                    <a:gd name="connsiteX0" fmla="*/ 0 w 800594"/>
                    <a:gd name="connsiteY0" fmla="*/ 0 h 148615"/>
                    <a:gd name="connsiteX1" fmla="*/ 800594 w 800594"/>
                    <a:gd name="connsiteY1" fmla="*/ 0 h 148615"/>
                    <a:gd name="connsiteX2" fmla="*/ 800594 w 800594"/>
                    <a:gd name="connsiteY2" fmla="*/ 148615 h 148615"/>
                    <a:gd name="connsiteX3" fmla="*/ 0 w 800594"/>
                    <a:gd name="connsiteY3" fmla="*/ 148615 h 148615"/>
                    <a:gd name="connsiteX4" fmla="*/ 0 w 800594"/>
                    <a:gd name="connsiteY4" fmla="*/ 0 h 148615"/>
                    <a:gd name="connsiteX0" fmla="*/ 0 w 800594"/>
                    <a:gd name="connsiteY0" fmla="*/ 0 h 154965"/>
                    <a:gd name="connsiteX1" fmla="*/ 800594 w 800594"/>
                    <a:gd name="connsiteY1" fmla="*/ 0 h 154965"/>
                    <a:gd name="connsiteX2" fmla="*/ 800594 w 800594"/>
                    <a:gd name="connsiteY2" fmla="*/ 148615 h 154965"/>
                    <a:gd name="connsiteX3" fmla="*/ 101600 w 800594"/>
                    <a:gd name="connsiteY3" fmla="*/ 154965 h 154965"/>
                    <a:gd name="connsiteX4" fmla="*/ 0 w 800594"/>
                    <a:gd name="connsiteY4" fmla="*/ 0 h 154965"/>
                    <a:gd name="connsiteX0" fmla="*/ 0 w 800594"/>
                    <a:gd name="connsiteY0" fmla="*/ 0 h 154965"/>
                    <a:gd name="connsiteX1" fmla="*/ 800594 w 800594"/>
                    <a:gd name="connsiteY1" fmla="*/ 0 h 154965"/>
                    <a:gd name="connsiteX2" fmla="*/ 679944 w 800594"/>
                    <a:gd name="connsiteY2" fmla="*/ 142265 h 154965"/>
                    <a:gd name="connsiteX3" fmla="*/ 101600 w 800594"/>
                    <a:gd name="connsiteY3" fmla="*/ 154965 h 154965"/>
                    <a:gd name="connsiteX4" fmla="*/ 0 w 800594"/>
                    <a:gd name="connsiteY4" fmla="*/ 0 h 154965"/>
                    <a:gd name="connsiteX0" fmla="*/ 0 w 800594"/>
                    <a:gd name="connsiteY0" fmla="*/ 0 h 161315"/>
                    <a:gd name="connsiteX1" fmla="*/ 800594 w 800594"/>
                    <a:gd name="connsiteY1" fmla="*/ 0 h 161315"/>
                    <a:gd name="connsiteX2" fmla="*/ 692644 w 800594"/>
                    <a:gd name="connsiteY2" fmla="*/ 161315 h 161315"/>
                    <a:gd name="connsiteX3" fmla="*/ 101600 w 800594"/>
                    <a:gd name="connsiteY3" fmla="*/ 154965 h 161315"/>
                    <a:gd name="connsiteX4" fmla="*/ 0 w 800594"/>
                    <a:gd name="connsiteY4" fmla="*/ 0 h 161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594" h="161315">
                      <a:moveTo>
                        <a:pt x="0" y="0"/>
                      </a:moveTo>
                      <a:lnTo>
                        <a:pt x="800594" y="0"/>
                      </a:lnTo>
                      <a:lnTo>
                        <a:pt x="692644" y="161315"/>
                      </a:lnTo>
                      <a:lnTo>
                        <a:pt x="101600" y="154965"/>
                      </a:lnTo>
                      <a:lnTo>
                        <a:pt x="0" y="0"/>
                      </a:lnTo>
                      <a:close/>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14" tIns="45706" rIns="111896" bIns="45706" numCol="1" anchor="ctr" anchorCtr="0" compatLnSpc="1">
                  <a:prstTxWarp prst="textNoShape">
                    <a:avLst/>
                  </a:prstTxWarp>
                </a:bodyPr>
                <a:lstStyle/>
                <a:p>
                  <a:pPr algn="ctr" defTabSz="932384">
                    <a:defRPr/>
                  </a:pPr>
                  <a:endParaRPr lang="en-US" sz="510" dirty="0">
                    <a:gradFill>
                      <a:gsLst>
                        <a:gs pos="0">
                          <a:srgbClr val="1A1A1A"/>
                        </a:gs>
                        <a:gs pos="100000">
                          <a:srgbClr val="1A1A1A"/>
                        </a:gs>
                      </a:gsLst>
                      <a:lin ang="5400000" scaled="0"/>
                    </a:gradFill>
                    <a:latin typeface="Segoe UI Semibold"/>
                  </a:endParaRPr>
                </a:p>
              </p:txBody>
            </p:sp>
          </p:grpSp>
          <p:sp>
            <p:nvSpPr>
              <p:cNvPr id="40" name="Oval 39">
                <a:extLst>
                  <a:ext uri="{FF2B5EF4-FFF2-40B4-BE49-F238E27FC236}">
                    <a16:creationId xmlns:a16="http://schemas.microsoft.com/office/drawing/2014/main" id="{B0362DCF-9FD4-42C5-830D-8381E622DD7E}"/>
                  </a:ext>
                </a:extLst>
              </p:cNvPr>
              <p:cNvSpPr/>
              <p:nvPr/>
            </p:nvSpPr>
            <p:spPr bwMode="auto">
              <a:xfrm>
                <a:off x="1458893" y="4457699"/>
                <a:ext cx="27433" cy="27431"/>
              </a:xfrm>
              <a:prstGeom prst="ellipse">
                <a:avLst/>
              </a:pr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91414" tIns="45706" rIns="111896" bIns="45706" numCol="1" anchor="ctr" anchorCtr="0" compatLnSpc="1">
                <a:prstTxWarp prst="textNoShape">
                  <a:avLst/>
                </a:prstTxWarp>
              </a:bodyPr>
              <a:lstStyle/>
              <a:p>
                <a:pPr algn="ctr" defTabSz="932384">
                  <a:defRPr/>
                </a:pPr>
                <a:endParaRPr lang="en-US" sz="510" dirty="0">
                  <a:gradFill>
                    <a:gsLst>
                      <a:gs pos="0">
                        <a:srgbClr val="1A1A1A"/>
                      </a:gs>
                      <a:gs pos="100000">
                        <a:srgbClr val="1A1A1A"/>
                      </a:gs>
                    </a:gsLst>
                    <a:lin ang="5400000" scaled="0"/>
                  </a:gradFill>
                  <a:latin typeface="Segoe UI Semibold"/>
                </a:endParaRPr>
              </a:p>
            </p:txBody>
          </p:sp>
        </p:grpSp>
      </p:grpSp>
      <p:grpSp>
        <p:nvGrpSpPr>
          <p:cNvPr id="43" name="Group 42">
            <a:extLst>
              <a:ext uri="{FF2B5EF4-FFF2-40B4-BE49-F238E27FC236}">
                <a16:creationId xmlns:a16="http://schemas.microsoft.com/office/drawing/2014/main" id="{2C8302D4-6FB9-4021-AF92-62F32DE4FD80}"/>
              </a:ext>
            </a:extLst>
          </p:cNvPr>
          <p:cNvGrpSpPr/>
          <p:nvPr/>
        </p:nvGrpSpPr>
        <p:grpSpPr>
          <a:xfrm>
            <a:off x="8129103" y="1193164"/>
            <a:ext cx="512859" cy="512859"/>
            <a:chOff x="6676469" y="1179441"/>
            <a:chExt cx="502920" cy="502920"/>
          </a:xfrm>
        </p:grpSpPr>
        <p:sp useBgFill="1">
          <p:nvSpPr>
            <p:cNvPr id="44" name="Oval 43">
              <a:extLst>
                <a:ext uri="{FF2B5EF4-FFF2-40B4-BE49-F238E27FC236}">
                  <a16:creationId xmlns:a16="http://schemas.microsoft.com/office/drawing/2014/main" id="{D39F1D49-7BAF-4F56-ADD8-D943E43E2A74}"/>
                </a:ext>
              </a:extLst>
            </p:cNvPr>
            <p:cNvSpPr/>
            <p:nvPr/>
          </p:nvSpPr>
          <p:spPr bwMode="auto">
            <a:xfrm>
              <a:off x="6676469" y="1179441"/>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camera">
              <a:extLst>
                <a:ext uri="{FF2B5EF4-FFF2-40B4-BE49-F238E27FC236}">
                  <a16:creationId xmlns:a16="http://schemas.microsoft.com/office/drawing/2014/main" id="{B7FB831F-13EC-4CC8-9E7E-A3C93AF2F223}"/>
                </a:ext>
              </a:extLst>
            </p:cNvPr>
            <p:cNvSpPr>
              <a:spLocks noChangeAspect="1" noEditPoints="1"/>
            </p:cNvSpPr>
            <p:nvPr/>
          </p:nvSpPr>
          <p:spPr bwMode="auto">
            <a:xfrm>
              <a:off x="6820746" y="1345244"/>
              <a:ext cx="214366" cy="171314"/>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grpSp>
      <p:grpSp>
        <p:nvGrpSpPr>
          <p:cNvPr id="46" name="Group 45">
            <a:extLst>
              <a:ext uri="{FF2B5EF4-FFF2-40B4-BE49-F238E27FC236}">
                <a16:creationId xmlns:a16="http://schemas.microsoft.com/office/drawing/2014/main" id="{058FEA1C-CB79-419E-AE46-DA7BE7BDE91F}"/>
              </a:ext>
            </a:extLst>
          </p:cNvPr>
          <p:cNvGrpSpPr/>
          <p:nvPr/>
        </p:nvGrpSpPr>
        <p:grpSpPr>
          <a:xfrm>
            <a:off x="8845327" y="1671986"/>
            <a:ext cx="512859" cy="512859"/>
            <a:chOff x="7378813" y="1648983"/>
            <a:chExt cx="502920" cy="502920"/>
          </a:xfrm>
        </p:grpSpPr>
        <p:sp useBgFill="1">
          <p:nvSpPr>
            <p:cNvPr id="47" name="Oval 46">
              <a:extLst>
                <a:ext uri="{FF2B5EF4-FFF2-40B4-BE49-F238E27FC236}">
                  <a16:creationId xmlns:a16="http://schemas.microsoft.com/office/drawing/2014/main" id="{2A4011F2-385C-4743-9F55-D9CEC08CC27B}"/>
                </a:ext>
              </a:extLst>
            </p:cNvPr>
            <p:cNvSpPr/>
            <p:nvPr/>
          </p:nvSpPr>
          <p:spPr bwMode="auto">
            <a:xfrm>
              <a:off x="7378813" y="1648983"/>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calendar_4">
              <a:extLst>
                <a:ext uri="{FF2B5EF4-FFF2-40B4-BE49-F238E27FC236}">
                  <a16:creationId xmlns:a16="http://schemas.microsoft.com/office/drawing/2014/main" id="{65D05EBA-0A22-4AB8-AC4F-8B1F7C27938E}"/>
                </a:ext>
              </a:extLst>
            </p:cNvPr>
            <p:cNvSpPr>
              <a:spLocks noChangeAspect="1" noEditPoints="1"/>
            </p:cNvSpPr>
            <p:nvPr/>
          </p:nvSpPr>
          <p:spPr bwMode="auto">
            <a:xfrm>
              <a:off x="7537092" y="1811082"/>
              <a:ext cx="186362" cy="178723"/>
            </a:xfrm>
            <a:custGeom>
              <a:avLst/>
              <a:gdLst>
                <a:gd name="T0" fmla="*/ 244 w 244"/>
                <a:gd name="T1" fmla="*/ 135 h 234"/>
                <a:gd name="T2" fmla="*/ 244 w 244"/>
                <a:gd name="T3" fmla="*/ 234 h 234"/>
                <a:gd name="T4" fmla="*/ 0 w 244"/>
                <a:gd name="T5" fmla="*/ 234 h 234"/>
                <a:gd name="T6" fmla="*/ 0 w 244"/>
                <a:gd name="T7" fmla="*/ 24 h 234"/>
                <a:gd name="T8" fmla="*/ 244 w 244"/>
                <a:gd name="T9" fmla="*/ 24 h 234"/>
                <a:gd name="T10" fmla="*/ 244 w 244"/>
                <a:gd name="T11" fmla="*/ 135 h 234"/>
                <a:gd name="T12" fmla="*/ 0 w 244"/>
                <a:gd name="T13" fmla="*/ 72 h 234"/>
                <a:gd name="T14" fmla="*/ 244 w 244"/>
                <a:gd name="T15" fmla="*/ 72 h 234"/>
                <a:gd name="T16" fmla="*/ 50 w 244"/>
                <a:gd name="T17" fmla="*/ 0 h 234"/>
                <a:gd name="T18" fmla="*/ 50 w 244"/>
                <a:gd name="T19" fmla="*/ 50 h 234"/>
                <a:gd name="T20" fmla="*/ 195 w 244"/>
                <a:gd name="T21" fmla="*/ 0 h 234"/>
                <a:gd name="T22" fmla="*/ 195 w 244"/>
                <a:gd name="T23" fmla="*/ 5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234">
                  <a:moveTo>
                    <a:pt x="244" y="135"/>
                  </a:moveTo>
                  <a:lnTo>
                    <a:pt x="244" y="234"/>
                  </a:lnTo>
                  <a:lnTo>
                    <a:pt x="0" y="234"/>
                  </a:lnTo>
                  <a:lnTo>
                    <a:pt x="0" y="24"/>
                  </a:lnTo>
                  <a:lnTo>
                    <a:pt x="244" y="24"/>
                  </a:lnTo>
                  <a:lnTo>
                    <a:pt x="244" y="135"/>
                  </a:lnTo>
                  <a:moveTo>
                    <a:pt x="0" y="72"/>
                  </a:moveTo>
                  <a:lnTo>
                    <a:pt x="244" y="72"/>
                  </a:lnTo>
                  <a:moveTo>
                    <a:pt x="50" y="0"/>
                  </a:moveTo>
                  <a:lnTo>
                    <a:pt x="50" y="50"/>
                  </a:lnTo>
                  <a:moveTo>
                    <a:pt x="195" y="0"/>
                  </a:moveTo>
                  <a:lnTo>
                    <a:pt x="195" y="50"/>
                  </a:lnTo>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grpSp>
      <p:grpSp>
        <p:nvGrpSpPr>
          <p:cNvPr id="49" name="Group 48">
            <a:extLst>
              <a:ext uri="{FF2B5EF4-FFF2-40B4-BE49-F238E27FC236}">
                <a16:creationId xmlns:a16="http://schemas.microsoft.com/office/drawing/2014/main" id="{092FE677-97AD-48D8-A40C-BFE3C7B71C4B}"/>
              </a:ext>
            </a:extLst>
          </p:cNvPr>
          <p:cNvGrpSpPr/>
          <p:nvPr/>
        </p:nvGrpSpPr>
        <p:grpSpPr>
          <a:xfrm>
            <a:off x="6755820" y="598355"/>
            <a:ext cx="512859" cy="512859"/>
            <a:chOff x="5329800" y="596159"/>
            <a:chExt cx="502920" cy="502920"/>
          </a:xfrm>
        </p:grpSpPr>
        <p:sp useBgFill="1">
          <p:nvSpPr>
            <p:cNvPr id="50" name="Oval 49">
              <a:extLst>
                <a:ext uri="{FF2B5EF4-FFF2-40B4-BE49-F238E27FC236}">
                  <a16:creationId xmlns:a16="http://schemas.microsoft.com/office/drawing/2014/main" id="{3D2E9863-87C6-4928-A349-3EE75DA1D52C}"/>
                </a:ext>
              </a:extLst>
            </p:cNvPr>
            <p:cNvSpPr/>
            <p:nvPr/>
          </p:nvSpPr>
          <p:spPr bwMode="auto">
            <a:xfrm>
              <a:off x="5329800" y="596159"/>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clipboard_3">
              <a:extLst>
                <a:ext uri="{FF2B5EF4-FFF2-40B4-BE49-F238E27FC236}">
                  <a16:creationId xmlns:a16="http://schemas.microsoft.com/office/drawing/2014/main" id="{1070DEB6-990D-40C9-8B47-67E714178957}"/>
                </a:ext>
              </a:extLst>
            </p:cNvPr>
            <p:cNvSpPr>
              <a:spLocks noChangeAspect="1" noEditPoints="1"/>
            </p:cNvSpPr>
            <p:nvPr/>
          </p:nvSpPr>
          <p:spPr bwMode="auto">
            <a:xfrm>
              <a:off x="5490615" y="743904"/>
              <a:ext cx="181291" cy="207430"/>
            </a:xfrm>
            <a:custGeom>
              <a:avLst/>
              <a:gdLst>
                <a:gd name="T0" fmla="*/ 148 w 296"/>
                <a:gd name="T1" fmla="*/ 340 h 340"/>
                <a:gd name="T2" fmla="*/ 0 w 296"/>
                <a:gd name="T3" fmla="*/ 340 h 340"/>
                <a:gd name="T4" fmla="*/ 0 w 296"/>
                <a:gd name="T5" fmla="*/ 38 h 340"/>
                <a:gd name="T6" fmla="*/ 58 w 296"/>
                <a:gd name="T7" fmla="*/ 38 h 340"/>
                <a:gd name="T8" fmla="*/ 244 w 296"/>
                <a:gd name="T9" fmla="*/ 167 h 340"/>
                <a:gd name="T10" fmla="*/ 244 w 296"/>
                <a:gd name="T11" fmla="*/ 38 h 340"/>
                <a:gd name="T12" fmla="*/ 187 w 296"/>
                <a:gd name="T13" fmla="*/ 38 h 340"/>
                <a:gd name="T14" fmla="*/ 58 w 296"/>
                <a:gd name="T15" fmla="*/ 38 h 340"/>
                <a:gd name="T16" fmla="*/ 58 w 296"/>
                <a:gd name="T17" fmla="*/ 51 h 340"/>
                <a:gd name="T18" fmla="*/ 187 w 296"/>
                <a:gd name="T19" fmla="*/ 51 h 340"/>
                <a:gd name="T20" fmla="*/ 187 w 296"/>
                <a:gd name="T21" fmla="*/ 38 h 340"/>
                <a:gd name="T22" fmla="*/ 187 w 296"/>
                <a:gd name="T23" fmla="*/ 38 h 340"/>
                <a:gd name="T24" fmla="*/ 187 w 296"/>
                <a:gd name="T25" fmla="*/ 15 h 340"/>
                <a:gd name="T26" fmla="*/ 148 w 296"/>
                <a:gd name="T27" fmla="*/ 15 h 340"/>
                <a:gd name="T28" fmla="*/ 148 w 296"/>
                <a:gd name="T29" fmla="*/ 0 h 340"/>
                <a:gd name="T30" fmla="*/ 97 w 296"/>
                <a:gd name="T31" fmla="*/ 0 h 340"/>
                <a:gd name="T32" fmla="*/ 97 w 296"/>
                <a:gd name="T33" fmla="*/ 15 h 340"/>
                <a:gd name="T34" fmla="*/ 58 w 296"/>
                <a:gd name="T35" fmla="*/ 15 h 340"/>
                <a:gd name="T36" fmla="*/ 58 w 296"/>
                <a:gd name="T37" fmla="*/ 38 h 340"/>
                <a:gd name="T38" fmla="*/ 180 w 296"/>
                <a:gd name="T39" fmla="*/ 265 h 340"/>
                <a:gd name="T40" fmla="*/ 205 w 296"/>
                <a:gd name="T41" fmla="*/ 289 h 340"/>
                <a:gd name="T42" fmla="*/ 264 w 296"/>
                <a:gd name="T43" fmla="*/ 231 h 340"/>
                <a:gd name="T44" fmla="*/ 148 w 296"/>
                <a:gd name="T45" fmla="*/ 263 h 340"/>
                <a:gd name="T46" fmla="*/ 222 w 296"/>
                <a:gd name="T47" fmla="*/ 340 h 340"/>
                <a:gd name="T48" fmla="*/ 296 w 296"/>
                <a:gd name="T49" fmla="*/ 263 h 340"/>
                <a:gd name="T50" fmla="*/ 222 w 296"/>
                <a:gd name="T51" fmla="*/ 186 h 340"/>
                <a:gd name="T52" fmla="*/ 148 w 296"/>
                <a:gd name="T53" fmla="*/ 263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6" h="340">
                  <a:moveTo>
                    <a:pt x="148" y="340"/>
                  </a:moveTo>
                  <a:cubicBezTo>
                    <a:pt x="0" y="340"/>
                    <a:pt x="0" y="340"/>
                    <a:pt x="0" y="340"/>
                  </a:cubicBezTo>
                  <a:cubicBezTo>
                    <a:pt x="0" y="38"/>
                    <a:pt x="0" y="38"/>
                    <a:pt x="0" y="38"/>
                  </a:cubicBezTo>
                  <a:cubicBezTo>
                    <a:pt x="58" y="38"/>
                    <a:pt x="58" y="38"/>
                    <a:pt x="58" y="38"/>
                  </a:cubicBezTo>
                  <a:moveTo>
                    <a:pt x="244" y="167"/>
                  </a:moveTo>
                  <a:cubicBezTo>
                    <a:pt x="244" y="38"/>
                    <a:pt x="244" y="38"/>
                    <a:pt x="244" y="38"/>
                  </a:cubicBezTo>
                  <a:cubicBezTo>
                    <a:pt x="187" y="38"/>
                    <a:pt x="187" y="38"/>
                    <a:pt x="187" y="38"/>
                  </a:cubicBezTo>
                  <a:moveTo>
                    <a:pt x="58" y="38"/>
                  </a:moveTo>
                  <a:cubicBezTo>
                    <a:pt x="58" y="51"/>
                    <a:pt x="58" y="51"/>
                    <a:pt x="58" y="51"/>
                  </a:cubicBezTo>
                  <a:cubicBezTo>
                    <a:pt x="187" y="51"/>
                    <a:pt x="187" y="51"/>
                    <a:pt x="187" y="51"/>
                  </a:cubicBezTo>
                  <a:cubicBezTo>
                    <a:pt x="187" y="38"/>
                    <a:pt x="187" y="38"/>
                    <a:pt x="187" y="38"/>
                  </a:cubicBezTo>
                  <a:moveTo>
                    <a:pt x="187" y="38"/>
                  </a:moveTo>
                  <a:cubicBezTo>
                    <a:pt x="187" y="15"/>
                    <a:pt x="187" y="15"/>
                    <a:pt x="187" y="15"/>
                  </a:cubicBezTo>
                  <a:cubicBezTo>
                    <a:pt x="148" y="15"/>
                    <a:pt x="148" y="15"/>
                    <a:pt x="148" y="15"/>
                  </a:cubicBezTo>
                  <a:cubicBezTo>
                    <a:pt x="148" y="0"/>
                    <a:pt x="148" y="0"/>
                    <a:pt x="148" y="0"/>
                  </a:cubicBezTo>
                  <a:cubicBezTo>
                    <a:pt x="97" y="0"/>
                    <a:pt x="97" y="0"/>
                    <a:pt x="97" y="0"/>
                  </a:cubicBezTo>
                  <a:cubicBezTo>
                    <a:pt x="97" y="15"/>
                    <a:pt x="97" y="15"/>
                    <a:pt x="97" y="15"/>
                  </a:cubicBezTo>
                  <a:cubicBezTo>
                    <a:pt x="58" y="15"/>
                    <a:pt x="58" y="15"/>
                    <a:pt x="58" y="15"/>
                  </a:cubicBezTo>
                  <a:cubicBezTo>
                    <a:pt x="58" y="38"/>
                    <a:pt x="58" y="38"/>
                    <a:pt x="58" y="38"/>
                  </a:cubicBezTo>
                  <a:moveTo>
                    <a:pt x="180" y="265"/>
                  </a:moveTo>
                  <a:cubicBezTo>
                    <a:pt x="205" y="289"/>
                    <a:pt x="205" y="289"/>
                    <a:pt x="205" y="289"/>
                  </a:cubicBezTo>
                  <a:cubicBezTo>
                    <a:pt x="264" y="231"/>
                    <a:pt x="264" y="231"/>
                    <a:pt x="264" y="231"/>
                  </a:cubicBezTo>
                  <a:moveTo>
                    <a:pt x="148" y="263"/>
                  </a:moveTo>
                  <a:cubicBezTo>
                    <a:pt x="148" y="306"/>
                    <a:pt x="181" y="340"/>
                    <a:pt x="222" y="340"/>
                  </a:cubicBezTo>
                  <a:cubicBezTo>
                    <a:pt x="263" y="340"/>
                    <a:pt x="296" y="306"/>
                    <a:pt x="296" y="263"/>
                  </a:cubicBezTo>
                  <a:cubicBezTo>
                    <a:pt x="296" y="221"/>
                    <a:pt x="263" y="186"/>
                    <a:pt x="222" y="186"/>
                  </a:cubicBezTo>
                  <a:cubicBezTo>
                    <a:pt x="181" y="186"/>
                    <a:pt x="148" y="221"/>
                    <a:pt x="148" y="263"/>
                  </a:cubicBezTo>
                  <a:close/>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grpSp>
      <p:grpSp>
        <p:nvGrpSpPr>
          <p:cNvPr id="52" name="Group 51">
            <a:extLst>
              <a:ext uri="{FF2B5EF4-FFF2-40B4-BE49-F238E27FC236}">
                <a16:creationId xmlns:a16="http://schemas.microsoft.com/office/drawing/2014/main" id="{8E05A89C-1850-4C4B-8E55-0D1BBE081DAA}"/>
              </a:ext>
            </a:extLst>
          </p:cNvPr>
          <p:cNvGrpSpPr/>
          <p:nvPr/>
        </p:nvGrpSpPr>
        <p:grpSpPr>
          <a:xfrm>
            <a:off x="5721966" y="1671986"/>
            <a:ext cx="512859" cy="512859"/>
            <a:chOff x="4315982" y="1648983"/>
            <a:chExt cx="502920" cy="502920"/>
          </a:xfrm>
        </p:grpSpPr>
        <p:sp useBgFill="1">
          <p:nvSpPr>
            <p:cNvPr id="53" name="Oval 52">
              <a:extLst>
                <a:ext uri="{FF2B5EF4-FFF2-40B4-BE49-F238E27FC236}">
                  <a16:creationId xmlns:a16="http://schemas.microsoft.com/office/drawing/2014/main" id="{4BB158F8-FAF9-4711-B038-7313FD225BCE}"/>
                </a:ext>
              </a:extLst>
            </p:cNvPr>
            <p:cNvSpPr/>
            <p:nvPr/>
          </p:nvSpPr>
          <p:spPr bwMode="auto">
            <a:xfrm>
              <a:off x="4315982" y="1648983"/>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car">
              <a:extLst>
                <a:ext uri="{FF2B5EF4-FFF2-40B4-BE49-F238E27FC236}">
                  <a16:creationId xmlns:a16="http://schemas.microsoft.com/office/drawing/2014/main" id="{FE688489-9C85-49E8-8D4E-9E1B9697E1AE}"/>
                </a:ext>
              </a:extLst>
            </p:cNvPr>
            <p:cNvSpPr>
              <a:spLocks noChangeAspect="1" noEditPoints="1"/>
            </p:cNvSpPr>
            <p:nvPr/>
          </p:nvSpPr>
          <p:spPr bwMode="auto">
            <a:xfrm>
              <a:off x="4455303" y="1814513"/>
              <a:ext cx="224278" cy="171860"/>
            </a:xfrm>
            <a:custGeom>
              <a:avLst/>
              <a:gdLst>
                <a:gd name="T0" fmla="*/ 349 w 360"/>
                <a:gd name="T1" fmla="*/ 148 h 276"/>
                <a:gd name="T2" fmla="*/ 349 w 360"/>
                <a:gd name="T3" fmla="*/ 252 h 276"/>
                <a:gd name="T4" fmla="*/ 14 w 360"/>
                <a:gd name="T5" fmla="*/ 252 h 276"/>
                <a:gd name="T6" fmla="*/ 14 w 360"/>
                <a:gd name="T7" fmla="*/ 149 h 276"/>
                <a:gd name="T8" fmla="*/ 51 w 360"/>
                <a:gd name="T9" fmla="*/ 43 h 276"/>
                <a:gd name="T10" fmla="*/ 94 w 360"/>
                <a:gd name="T11" fmla="*/ 0 h 276"/>
                <a:gd name="T12" fmla="*/ 268 w 360"/>
                <a:gd name="T13" fmla="*/ 0 h 276"/>
                <a:gd name="T14" fmla="*/ 311 w 360"/>
                <a:gd name="T15" fmla="*/ 43 h 276"/>
                <a:gd name="T16" fmla="*/ 349 w 360"/>
                <a:gd name="T17" fmla="*/ 148 h 276"/>
                <a:gd name="T18" fmla="*/ 77 w 360"/>
                <a:gd name="T19" fmla="*/ 174 h 276"/>
                <a:gd name="T20" fmla="*/ 91 w 360"/>
                <a:gd name="T21" fmla="*/ 160 h 276"/>
                <a:gd name="T22" fmla="*/ 77 w 360"/>
                <a:gd name="T23" fmla="*/ 145 h 276"/>
                <a:gd name="T24" fmla="*/ 63 w 360"/>
                <a:gd name="T25" fmla="*/ 160 h 276"/>
                <a:gd name="T26" fmla="*/ 77 w 360"/>
                <a:gd name="T27" fmla="*/ 174 h 276"/>
                <a:gd name="T28" fmla="*/ 14 w 360"/>
                <a:gd name="T29" fmla="*/ 252 h 276"/>
                <a:gd name="T30" fmla="*/ 14 w 360"/>
                <a:gd name="T31" fmla="*/ 260 h 276"/>
                <a:gd name="T32" fmla="*/ 30 w 360"/>
                <a:gd name="T33" fmla="*/ 276 h 276"/>
                <a:gd name="T34" fmla="*/ 50 w 360"/>
                <a:gd name="T35" fmla="*/ 276 h 276"/>
                <a:gd name="T36" fmla="*/ 67 w 360"/>
                <a:gd name="T37" fmla="*/ 260 h 276"/>
                <a:gd name="T38" fmla="*/ 67 w 360"/>
                <a:gd name="T39" fmla="*/ 252 h 276"/>
                <a:gd name="T40" fmla="*/ 295 w 360"/>
                <a:gd name="T41" fmla="*/ 252 h 276"/>
                <a:gd name="T42" fmla="*/ 295 w 360"/>
                <a:gd name="T43" fmla="*/ 260 h 276"/>
                <a:gd name="T44" fmla="*/ 312 w 360"/>
                <a:gd name="T45" fmla="*/ 276 h 276"/>
                <a:gd name="T46" fmla="*/ 332 w 360"/>
                <a:gd name="T47" fmla="*/ 276 h 276"/>
                <a:gd name="T48" fmla="*/ 349 w 360"/>
                <a:gd name="T49" fmla="*/ 260 h 276"/>
                <a:gd name="T50" fmla="*/ 349 w 360"/>
                <a:gd name="T51" fmla="*/ 252 h 276"/>
                <a:gd name="T52" fmla="*/ 283 w 360"/>
                <a:gd name="T53" fmla="*/ 174 h 276"/>
                <a:gd name="T54" fmla="*/ 297 w 360"/>
                <a:gd name="T55" fmla="*/ 160 h 276"/>
                <a:gd name="T56" fmla="*/ 283 w 360"/>
                <a:gd name="T57" fmla="*/ 145 h 276"/>
                <a:gd name="T58" fmla="*/ 268 w 360"/>
                <a:gd name="T59" fmla="*/ 160 h 276"/>
                <a:gd name="T60" fmla="*/ 283 w 360"/>
                <a:gd name="T61" fmla="*/ 174 h 276"/>
                <a:gd name="T62" fmla="*/ 245 w 360"/>
                <a:gd name="T63" fmla="*/ 252 h 276"/>
                <a:gd name="T64" fmla="*/ 245 w 360"/>
                <a:gd name="T65" fmla="*/ 222 h 276"/>
                <a:gd name="T66" fmla="*/ 229 w 360"/>
                <a:gd name="T67" fmla="*/ 197 h 276"/>
                <a:gd name="T68" fmla="*/ 133 w 360"/>
                <a:gd name="T69" fmla="*/ 197 h 276"/>
                <a:gd name="T70" fmla="*/ 117 w 360"/>
                <a:gd name="T71" fmla="*/ 222 h 276"/>
                <a:gd name="T72" fmla="*/ 117 w 360"/>
                <a:gd name="T73" fmla="*/ 252 h 276"/>
                <a:gd name="T74" fmla="*/ 0 w 360"/>
                <a:gd name="T75" fmla="*/ 75 h 276"/>
                <a:gd name="T76" fmla="*/ 16 w 360"/>
                <a:gd name="T77" fmla="*/ 75 h 276"/>
                <a:gd name="T78" fmla="*/ 32 w 360"/>
                <a:gd name="T79" fmla="*/ 96 h 276"/>
                <a:gd name="T80" fmla="*/ 330 w 360"/>
                <a:gd name="T81" fmla="*/ 96 h 276"/>
                <a:gd name="T82" fmla="*/ 345 w 360"/>
                <a:gd name="T83" fmla="*/ 75 h 276"/>
                <a:gd name="T84" fmla="*/ 360 w 360"/>
                <a:gd name="T85" fmla="*/ 7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0" h="276">
                  <a:moveTo>
                    <a:pt x="349" y="148"/>
                  </a:moveTo>
                  <a:cubicBezTo>
                    <a:pt x="349" y="252"/>
                    <a:pt x="349" y="252"/>
                    <a:pt x="349" y="252"/>
                  </a:cubicBezTo>
                  <a:cubicBezTo>
                    <a:pt x="14" y="252"/>
                    <a:pt x="14" y="252"/>
                    <a:pt x="14" y="252"/>
                  </a:cubicBezTo>
                  <a:cubicBezTo>
                    <a:pt x="14" y="149"/>
                    <a:pt x="14" y="149"/>
                    <a:pt x="14" y="149"/>
                  </a:cubicBezTo>
                  <a:cubicBezTo>
                    <a:pt x="51" y="43"/>
                    <a:pt x="51" y="43"/>
                    <a:pt x="51" y="43"/>
                  </a:cubicBezTo>
                  <a:cubicBezTo>
                    <a:pt x="59" y="19"/>
                    <a:pt x="70" y="0"/>
                    <a:pt x="94" y="0"/>
                  </a:cubicBezTo>
                  <a:cubicBezTo>
                    <a:pt x="268" y="0"/>
                    <a:pt x="268" y="0"/>
                    <a:pt x="268" y="0"/>
                  </a:cubicBezTo>
                  <a:cubicBezTo>
                    <a:pt x="292" y="0"/>
                    <a:pt x="304" y="19"/>
                    <a:pt x="311" y="43"/>
                  </a:cubicBezTo>
                  <a:lnTo>
                    <a:pt x="349" y="148"/>
                  </a:lnTo>
                  <a:close/>
                  <a:moveTo>
                    <a:pt x="77" y="174"/>
                  </a:moveTo>
                  <a:cubicBezTo>
                    <a:pt x="85" y="174"/>
                    <a:pt x="91" y="167"/>
                    <a:pt x="91" y="160"/>
                  </a:cubicBezTo>
                  <a:cubicBezTo>
                    <a:pt x="91" y="152"/>
                    <a:pt x="85" y="145"/>
                    <a:pt x="77" y="145"/>
                  </a:cubicBezTo>
                  <a:cubicBezTo>
                    <a:pt x="69" y="145"/>
                    <a:pt x="63" y="152"/>
                    <a:pt x="63" y="160"/>
                  </a:cubicBezTo>
                  <a:cubicBezTo>
                    <a:pt x="63" y="167"/>
                    <a:pt x="69" y="174"/>
                    <a:pt x="77" y="174"/>
                  </a:cubicBezTo>
                  <a:close/>
                  <a:moveTo>
                    <a:pt x="14" y="252"/>
                  </a:moveTo>
                  <a:cubicBezTo>
                    <a:pt x="14" y="260"/>
                    <a:pt x="14" y="260"/>
                    <a:pt x="14" y="260"/>
                  </a:cubicBezTo>
                  <a:cubicBezTo>
                    <a:pt x="14" y="269"/>
                    <a:pt x="21" y="276"/>
                    <a:pt x="30" y="276"/>
                  </a:cubicBezTo>
                  <a:cubicBezTo>
                    <a:pt x="50" y="276"/>
                    <a:pt x="50" y="276"/>
                    <a:pt x="50" y="276"/>
                  </a:cubicBezTo>
                  <a:cubicBezTo>
                    <a:pt x="59" y="276"/>
                    <a:pt x="67" y="269"/>
                    <a:pt x="67" y="260"/>
                  </a:cubicBezTo>
                  <a:cubicBezTo>
                    <a:pt x="67" y="252"/>
                    <a:pt x="67" y="252"/>
                    <a:pt x="67" y="252"/>
                  </a:cubicBezTo>
                  <a:moveTo>
                    <a:pt x="295" y="252"/>
                  </a:moveTo>
                  <a:cubicBezTo>
                    <a:pt x="295" y="260"/>
                    <a:pt x="295" y="260"/>
                    <a:pt x="295" y="260"/>
                  </a:cubicBezTo>
                  <a:cubicBezTo>
                    <a:pt x="295" y="269"/>
                    <a:pt x="303" y="276"/>
                    <a:pt x="312" y="276"/>
                  </a:cubicBezTo>
                  <a:cubicBezTo>
                    <a:pt x="332" y="276"/>
                    <a:pt x="332" y="276"/>
                    <a:pt x="332" y="276"/>
                  </a:cubicBezTo>
                  <a:cubicBezTo>
                    <a:pt x="341" y="276"/>
                    <a:pt x="349" y="269"/>
                    <a:pt x="349" y="260"/>
                  </a:cubicBezTo>
                  <a:cubicBezTo>
                    <a:pt x="349" y="252"/>
                    <a:pt x="349" y="252"/>
                    <a:pt x="349" y="252"/>
                  </a:cubicBezTo>
                  <a:moveTo>
                    <a:pt x="283" y="174"/>
                  </a:moveTo>
                  <a:cubicBezTo>
                    <a:pt x="290" y="174"/>
                    <a:pt x="297" y="167"/>
                    <a:pt x="297" y="160"/>
                  </a:cubicBezTo>
                  <a:cubicBezTo>
                    <a:pt x="297" y="152"/>
                    <a:pt x="290" y="145"/>
                    <a:pt x="283" y="145"/>
                  </a:cubicBezTo>
                  <a:cubicBezTo>
                    <a:pt x="275" y="145"/>
                    <a:pt x="268" y="152"/>
                    <a:pt x="268" y="160"/>
                  </a:cubicBezTo>
                  <a:cubicBezTo>
                    <a:pt x="268" y="167"/>
                    <a:pt x="275" y="174"/>
                    <a:pt x="283" y="174"/>
                  </a:cubicBezTo>
                  <a:close/>
                  <a:moveTo>
                    <a:pt x="245" y="252"/>
                  </a:moveTo>
                  <a:cubicBezTo>
                    <a:pt x="245" y="222"/>
                    <a:pt x="245" y="222"/>
                    <a:pt x="245" y="222"/>
                  </a:cubicBezTo>
                  <a:cubicBezTo>
                    <a:pt x="229" y="197"/>
                    <a:pt x="229" y="197"/>
                    <a:pt x="229" y="197"/>
                  </a:cubicBezTo>
                  <a:cubicBezTo>
                    <a:pt x="133" y="197"/>
                    <a:pt x="133" y="197"/>
                    <a:pt x="133" y="197"/>
                  </a:cubicBezTo>
                  <a:cubicBezTo>
                    <a:pt x="117" y="222"/>
                    <a:pt x="117" y="222"/>
                    <a:pt x="117" y="222"/>
                  </a:cubicBezTo>
                  <a:cubicBezTo>
                    <a:pt x="117" y="252"/>
                    <a:pt x="117" y="252"/>
                    <a:pt x="117" y="252"/>
                  </a:cubicBezTo>
                  <a:moveTo>
                    <a:pt x="0" y="75"/>
                  </a:moveTo>
                  <a:cubicBezTo>
                    <a:pt x="16" y="75"/>
                    <a:pt x="16" y="75"/>
                    <a:pt x="16" y="75"/>
                  </a:cubicBezTo>
                  <a:cubicBezTo>
                    <a:pt x="32" y="96"/>
                    <a:pt x="32" y="96"/>
                    <a:pt x="32" y="96"/>
                  </a:cubicBezTo>
                  <a:cubicBezTo>
                    <a:pt x="330" y="96"/>
                    <a:pt x="330" y="96"/>
                    <a:pt x="330" y="96"/>
                  </a:cubicBezTo>
                  <a:cubicBezTo>
                    <a:pt x="345" y="75"/>
                    <a:pt x="345" y="75"/>
                    <a:pt x="345" y="75"/>
                  </a:cubicBezTo>
                  <a:cubicBezTo>
                    <a:pt x="360" y="75"/>
                    <a:pt x="360" y="75"/>
                    <a:pt x="360" y="75"/>
                  </a:cubicBezTo>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grpSp>
      <p:grpSp>
        <p:nvGrpSpPr>
          <p:cNvPr id="55" name="Group 54">
            <a:extLst>
              <a:ext uri="{FF2B5EF4-FFF2-40B4-BE49-F238E27FC236}">
                <a16:creationId xmlns:a16="http://schemas.microsoft.com/office/drawing/2014/main" id="{2165A36C-EBFF-4443-A36C-FF1839432393}"/>
              </a:ext>
            </a:extLst>
          </p:cNvPr>
          <p:cNvGrpSpPr/>
          <p:nvPr/>
        </p:nvGrpSpPr>
        <p:grpSpPr>
          <a:xfrm>
            <a:off x="8770108" y="999047"/>
            <a:ext cx="512859" cy="512859"/>
            <a:chOff x="7305052" y="989085"/>
            <a:chExt cx="502920" cy="502920"/>
          </a:xfrm>
        </p:grpSpPr>
        <p:sp useBgFill="1">
          <p:nvSpPr>
            <p:cNvPr id="56" name="Oval 55">
              <a:extLst>
                <a:ext uri="{FF2B5EF4-FFF2-40B4-BE49-F238E27FC236}">
                  <a16:creationId xmlns:a16="http://schemas.microsoft.com/office/drawing/2014/main" id="{59ED3E27-81EF-4B77-927C-A9F6AE4C8422}"/>
                </a:ext>
              </a:extLst>
            </p:cNvPr>
            <p:cNvSpPr/>
            <p:nvPr/>
          </p:nvSpPr>
          <p:spPr bwMode="auto">
            <a:xfrm>
              <a:off x="7305052" y="989085"/>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location_3">
              <a:extLst>
                <a:ext uri="{FF2B5EF4-FFF2-40B4-BE49-F238E27FC236}">
                  <a16:creationId xmlns:a16="http://schemas.microsoft.com/office/drawing/2014/main" id="{ED9A4823-1F93-412F-9AD0-84E805C2FB8F}"/>
                </a:ext>
              </a:extLst>
            </p:cNvPr>
            <p:cNvSpPr>
              <a:spLocks noChangeAspect="1" noEditPoints="1"/>
            </p:cNvSpPr>
            <p:nvPr/>
          </p:nvSpPr>
          <p:spPr bwMode="auto">
            <a:xfrm>
              <a:off x="7446335" y="1148520"/>
              <a:ext cx="220355" cy="184050"/>
            </a:xfrm>
            <a:custGeom>
              <a:avLst/>
              <a:gdLst>
                <a:gd name="T0" fmla="*/ 84 w 360"/>
                <a:gd name="T1" fmla="*/ 109 h 302"/>
                <a:gd name="T2" fmla="*/ 276 w 360"/>
                <a:gd name="T3" fmla="*/ 109 h 302"/>
                <a:gd name="T4" fmla="*/ 360 w 360"/>
                <a:gd name="T5" fmla="*/ 302 h 302"/>
                <a:gd name="T6" fmla="*/ 0 w 360"/>
                <a:gd name="T7" fmla="*/ 302 h 302"/>
                <a:gd name="T8" fmla="*/ 84 w 360"/>
                <a:gd name="T9" fmla="*/ 109 h 302"/>
                <a:gd name="T10" fmla="*/ 180 w 360"/>
                <a:gd name="T11" fmla="*/ 72 h 302"/>
                <a:gd name="T12" fmla="*/ 216 w 360"/>
                <a:gd name="T13" fmla="*/ 36 h 302"/>
                <a:gd name="T14" fmla="*/ 180 w 360"/>
                <a:gd name="T15" fmla="*/ 0 h 302"/>
                <a:gd name="T16" fmla="*/ 144 w 360"/>
                <a:gd name="T17" fmla="*/ 36 h 302"/>
                <a:gd name="T18" fmla="*/ 180 w 360"/>
                <a:gd name="T19" fmla="*/ 72 h 302"/>
                <a:gd name="T20" fmla="*/ 180 w 360"/>
                <a:gd name="T21" fmla="*/ 72 h 302"/>
                <a:gd name="T22" fmla="*/ 180 w 360"/>
                <a:gd name="T23" fmla="*/ 216 h 302"/>
                <a:gd name="T24" fmla="*/ 36 w 360"/>
                <a:gd name="T25" fmla="*/ 218 h 302"/>
                <a:gd name="T26" fmla="*/ 323 w 360"/>
                <a:gd name="T27" fmla="*/ 218 h 302"/>
                <a:gd name="T28" fmla="*/ 111 w 360"/>
                <a:gd name="T29" fmla="*/ 218 h 302"/>
                <a:gd name="T30" fmla="*/ 94 w 360"/>
                <a:gd name="T31" fmla="*/ 302 h 302"/>
                <a:gd name="T32" fmla="*/ 267 w 360"/>
                <a:gd name="T33" fmla="*/ 302 h 302"/>
                <a:gd name="T34" fmla="*/ 222 w 360"/>
                <a:gd name="T35" fmla="*/ 109 h 302"/>
                <a:gd name="T36" fmla="*/ 236 w 360"/>
                <a:gd name="T37" fmla="*/ 169 h 302"/>
                <a:gd name="T38" fmla="*/ 302 w 360"/>
                <a:gd name="T39" fmla="*/ 16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0" h="302">
                  <a:moveTo>
                    <a:pt x="84" y="109"/>
                  </a:moveTo>
                  <a:cubicBezTo>
                    <a:pt x="276" y="109"/>
                    <a:pt x="276" y="109"/>
                    <a:pt x="276" y="109"/>
                  </a:cubicBezTo>
                  <a:cubicBezTo>
                    <a:pt x="360" y="302"/>
                    <a:pt x="360" y="302"/>
                    <a:pt x="360" y="302"/>
                  </a:cubicBezTo>
                  <a:cubicBezTo>
                    <a:pt x="0" y="302"/>
                    <a:pt x="0" y="302"/>
                    <a:pt x="0" y="302"/>
                  </a:cubicBezTo>
                  <a:lnTo>
                    <a:pt x="84" y="109"/>
                  </a:lnTo>
                  <a:close/>
                  <a:moveTo>
                    <a:pt x="180" y="72"/>
                  </a:moveTo>
                  <a:cubicBezTo>
                    <a:pt x="200" y="72"/>
                    <a:pt x="216" y="56"/>
                    <a:pt x="216" y="36"/>
                  </a:cubicBezTo>
                  <a:cubicBezTo>
                    <a:pt x="216" y="16"/>
                    <a:pt x="200" y="0"/>
                    <a:pt x="180" y="0"/>
                  </a:cubicBezTo>
                  <a:cubicBezTo>
                    <a:pt x="160" y="0"/>
                    <a:pt x="144" y="16"/>
                    <a:pt x="144" y="36"/>
                  </a:cubicBezTo>
                  <a:cubicBezTo>
                    <a:pt x="144" y="56"/>
                    <a:pt x="160" y="72"/>
                    <a:pt x="180" y="72"/>
                  </a:cubicBezTo>
                  <a:close/>
                  <a:moveTo>
                    <a:pt x="180" y="72"/>
                  </a:moveTo>
                  <a:cubicBezTo>
                    <a:pt x="180" y="216"/>
                    <a:pt x="180" y="216"/>
                    <a:pt x="180" y="216"/>
                  </a:cubicBezTo>
                  <a:moveTo>
                    <a:pt x="36" y="218"/>
                  </a:moveTo>
                  <a:cubicBezTo>
                    <a:pt x="323" y="218"/>
                    <a:pt x="323" y="218"/>
                    <a:pt x="323" y="218"/>
                  </a:cubicBezTo>
                  <a:moveTo>
                    <a:pt x="111" y="218"/>
                  </a:moveTo>
                  <a:cubicBezTo>
                    <a:pt x="94" y="302"/>
                    <a:pt x="94" y="302"/>
                    <a:pt x="94" y="302"/>
                  </a:cubicBezTo>
                  <a:moveTo>
                    <a:pt x="267" y="302"/>
                  </a:moveTo>
                  <a:cubicBezTo>
                    <a:pt x="222" y="109"/>
                    <a:pt x="222" y="109"/>
                    <a:pt x="222" y="109"/>
                  </a:cubicBezTo>
                  <a:moveTo>
                    <a:pt x="236" y="169"/>
                  </a:moveTo>
                  <a:cubicBezTo>
                    <a:pt x="302" y="169"/>
                    <a:pt x="302" y="169"/>
                    <a:pt x="302" y="169"/>
                  </a:cubicBezTo>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grpSp>
      <p:grpSp>
        <p:nvGrpSpPr>
          <p:cNvPr id="58" name="Group 57">
            <a:extLst>
              <a:ext uri="{FF2B5EF4-FFF2-40B4-BE49-F238E27FC236}">
                <a16:creationId xmlns:a16="http://schemas.microsoft.com/office/drawing/2014/main" id="{AC708A7E-D570-42EB-A4DE-C85687D7930D}"/>
              </a:ext>
            </a:extLst>
          </p:cNvPr>
          <p:cNvGrpSpPr/>
          <p:nvPr/>
        </p:nvGrpSpPr>
        <p:grpSpPr>
          <a:xfrm>
            <a:off x="9509852" y="1739167"/>
            <a:ext cx="512859" cy="512859"/>
            <a:chOff x="8030459" y="1714862"/>
            <a:chExt cx="502920" cy="502920"/>
          </a:xfrm>
        </p:grpSpPr>
        <p:sp useBgFill="1">
          <p:nvSpPr>
            <p:cNvPr id="59" name="Oval 58">
              <a:extLst>
                <a:ext uri="{FF2B5EF4-FFF2-40B4-BE49-F238E27FC236}">
                  <a16:creationId xmlns:a16="http://schemas.microsoft.com/office/drawing/2014/main" id="{EE5B5E10-A384-4D8C-9B6A-577173E4901A}"/>
                </a:ext>
              </a:extLst>
            </p:cNvPr>
            <p:cNvSpPr/>
            <p:nvPr/>
          </p:nvSpPr>
          <p:spPr bwMode="auto">
            <a:xfrm>
              <a:off x="8030459" y="1714862"/>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people_12">
              <a:extLst>
                <a:ext uri="{FF2B5EF4-FFF2-40B4-BE49-F238E27FC236}">
                  <a16:creationId xmlns:a16="http://schemas.microsoft.com/office/drawing/2014/main" id="{2CCCC8B5-B2EE-4835-86FF-4544F4262818}"/>
                </a:ext>
              </a:extLst>
            </p:cNvPr>
            <p:cNvSpPr>
              <a:spLocks noChangeAspect="1" noEditPoints="1"/>
            </p:cNvSpPr>
            <p:nvPr/>
          </p:nvSpPr>
          <p:spPr bwMode="auto">
            <a:xfrm>
              <a:off x="8173877" y="1874144"/>
              <a:ext cx="216084" cy="184357"/>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grpSp>
      <p:grpSp>
        <p:nvGrpSpPr>
          <p:cNvPr id="61" name="Group 60">
            <a:extLst>
              <a:ext uri="{FF2B5EF4-FFF2-40B4-BE49-F238E27FC236}">
                <a16:creationId xmlns:a16="http://schemas.microsoft.com/office/drawing/2014/main" id="{AFAEB174-8257-4307-BC3B-2FE6F4AC27BE}"/>
              </a:ext>
            </a:extLst>
          </p:cNvPr>
          <p:cNvGrpSpPr/>
          <p:nvPr/>
        </p:nvGrpSpPr>
        <p:grpSpPr>
          <a:xfrm>
            <a:off x="7283645" y="1024876"/>
            <a:ext cx="512859" cy="512859"/>
            <a:chOff x="5847397" y="1014413"/>
            <a:chExt cx="502920" cy="502920"/>
          </a:xfrm>
        </p:grpSpPr>
        <p:sp useBgFill="1">
          <p:nvSpPr>
            <p:cNvPr id="62" name="Oval 61">
              <a:extLst>
                <a:ext uri="{FF2B5EF4-FFF2-40B4-BE49-F238E27FC236}">
                  <a16:creationId xmlns:a16="http://schemas.microsoft.com/office/drawing/2014/main" id="{C483BB3B-9946-42A8-BFBB-5137AF731576}"/>
                </a:ext>
              </a:extLst>
            </p:cNvPr>
            <p:cNvSpPr/>
            <p:nvPr/>
          </p:nvSpPr>
          <p:spPr bwMode="auto">
            <a:xfrm>
              <a:off x="5847397" y="1014413"/>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3" name="Group 62">
              <a:extLst>
                <a:ext uri="{FF2B5EF4-FFF2-40B4-BE49-F238E27FC236}">
                  <a16:creationId xmlns:a16="http://schemas.microsoft.com/office/drawing/2014/main" id="{F52C1BDE-A795-4730-BF9D-F287F0633D76}"/>
                </a:ext>
              </a:extLst>
            </p:cNvPr>
            <p:cNvGrpSpPr/>
            <p:nvPr/>
          </p:nvGrpSpPr>
          <p:grpSpPr>
            <a:xfrm>
              <a:off x="5955969" y="1176009"/>
              <a:ext cx="285776" cy="179728"/>
              <a:chOff x="5955969" y="1176009"/>
              <a:chExt cx="285776" cy="179728"/>
            </a:xfrm>
          </p:grpSpPr>
          <p:sp>
            <p:nvSpPr>
              <p:cNvPr id="64" name="mobility">
                <a:extLst>
                  <a:ext uri="{FF2B5EF4-FFF2-40B4-BE49-F238E27FC236}">
                    <a16:creationId xmlns:a16="http://schemas.microsoft.com/office/drawing/2014/main" id="{8D52F34A-D686-4C28-B945-5FD7FDEC7925}"/>
                  </a:ext>
                </a:extLst>
              </p:cNvPr>
              <p:cNvSpPr>
                <a:spLocks noChangeAspect="1" noEditPoints="1"/>
              </p:cNvSpPr>
              <p:nvPr/>
            </p:nvSpPr>
            <p:spPr bwMode="auto">
              <a:xfrm>
                <a:off x="6066453" y="1176009"/>
                <a:ext cx="175292" cy="179728"/>
              </a:xfrm>
              <a:custGeom>
                <a:avLst/>
                <a:gdLst>
                  <a:gd name="T0" fmla="*/ 152 w 237"/>
                  <a:gd name="T1" fmla="*/ 141 h 243"/>
                  <a:gd name="T2" fmla="*/ 0 w 237"/>
                  <a:gd name="T3" fmla="*/ 141 h 243"/>
                  <a:gd name="T4" fmla="*/ 0 w 237"/>
                  <a:gd name="T5" fmla="*/ 0 h 243"/>
                  <a:gd name="T6" fmla="*/ 188 w 237"/>
                  <a:gd name="T7" fmla="*/ 0 h 243"/>
                  <a:gd name="T8" fmla="*/ 188 w 237"/>
                  <a:gd name="T9" fmla="*/ 102 h 243"/>
                  <a:gd name="T10" fmla="*/ 90 w 237"/>
                  <a:gd name="T11" fmla="*/ 116 h 243"/>
                  <a:gd name="T12" fmla="*/ 102 w 237"/>
                  <a:gd name="T13" fmla="*/ 116 h 243"/>
                  <a:gd name="T14" fmla="*/ 152 w 237"/>
                  <a:gd name="T15" fmla="*/ 120 h 243"/>
                  <a:gd name="T16" fmla="*/ 237 w 237"/>
                  <a:gd name="T17" fmla="*/ 120 h 243"/>
                  <a:gd name="T18" fmla="*/ 152 w 237"/>
                  <a:gd name="T19" fmla="*/ 205 h 243"/>
                  <a:gd name="T20" fmla="*/ 237 w 237"/>
                  <a:gd name="T21" fmla="*/ 205 h 243"/>
                  <a:gd name="T22" fmla="*/ 189 w 237"/>
                  <a:gd name="T23" fmla="*/ 225 h 243"/>
                  <a:gd name="T24" fmla="*/ 200 w 237"/>
                  <a:gd name="T25" fmla="*/ 225 h 243"/>
                  <a:gd name="T26" fmla="*/ 237 w 237"/>
                  <a:gd name="T27" fmla="*/ 170 h 243"/>
                  <a:gd name="T28" fmla="*/ 237 w 237"/>
                  <a:gd name="T29" fmla="*/ 102 h 243"/>
                  <a:gd name="T30" fmla="*/ 152 w 237"/>
                  <a:gd name="T31" fmla="*/ 102 h 243"/>
                  <a:gd name="T32" fmla="*/ 152 w 237"/>
                  <a:gd name="T33" fmla="*/ 243 h 243"/>
                  <a:gd name="T34" fmla="*/ 237 w 237"/>
                  <a:gd name="T35" fmla="*/ 243 h 243"/>
                  <a:gd name="T36" fmla="*/ 237 w 237"/>
                  <a:gd name="T37" fmla="*/ 17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243">
                    <a:moveTo>
                      <a:pt x="152" y="141"/>
                    </a:moveTo>
                    <a:lnTo>
                      <a:pt x="0" y="141"/>
                    </a:lnTo>
                    <a:lnTo>
                      <a:pt x="0" y="0"/>
                    </a:lnTo>
                    <a:lnTo>
                      <a:pt x="188" y="0"/>
                    </a:lnTo>
                    <a:lnTo>
                      <a:pt x="188" y="102"/>
                    </a:lnTo>
                    <a:moveTo>
                      <a:pt x="90" y="116"/>
                    </a:moveTo>
                    <a:lnTo>
                      <a:pt x="102" y="116"/>
                    </a:lnTo>
                    <a:moveTo>
                      <a:pt x="152" y="120"/>
                    </a:moveTo>
                    <a:lnTo>
                      <a:pt x="237" y="120"/>
                    </a:lnTo>
                    <a:moveTo>
                      <a:pt x="152" y="205"/>
                    </a:moveTo>
                    <a:lnTo>
                      <a:pt x="237" y="205"/>
                    </a:lnTo>
                    <a:moveTo>
                      <a:pt x="189" y="225"/>
                    </a:moveTo>
                    <a:lnTo>
                      <a:pt x="200" y="225"/>
                    </a:lnTo>
                    <a:moveTo>
                      <a:pt x="237" y="170"/>
                    </a:moveTo>
                    <a:lnTo>
                      <a:pt x="237" y="102"/>
                    </a:lnTo>
                    <a:lnTo>
                      <a:pt x="152" y="102"/>
                    </a:lnTo>
                    <a:lnTo>
                      <a:pt x="152" y="243"/>
                    </a:lnTo>
                    <a:lnTo>
                      <a:pt x="237" y="243"/>
                    </a:lnTo>
                    <a:lnTo>
                      <a:pt x="237" y="170"/>
                    </a:lnTo>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sp>
            <p:nvSpPr>
              <p:cNvPr id="65" name="Rectangle 64">
                <a:extLst>
                  <a:ext uri="{FF2B5EF4-FFF2-40B4-BE49-F238E27FC236}">
                    <a16:creationId xmlns:a16="http://schemas.microsoft.com/office/drawing/2014/main" id="{D6D79FC8-6378-4521-954E-6287DEF31F6F}"/>
                  </a:ext>
                </a:extLst>
              </p:cNvPr>
              <p:cNvSpPr/>
              <p:nvPr/>
            </p:nvSpPr>
            <p:spPr bwMode="auto">
              <a:xfrm>
                <a:off x="6039077" y="1238860"/>
                <a:ext cx="74330" cy="68334"/>
              </a:xfrm>
              <a:prstGeom prst="rect">
                <a:avLst/>
              </a:prstGeom>
              <a:solidFill>
                <a:srgbClr val="FFFFFF"/>
              </a:solidFill>
              <a:ln w="12700" cap="flat">
                <a:no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sp>
            <p:nvSpPr>
              <p:cNvPr id="66" name="laptop">
                <a:extLst>
                  <a:ext uri="{FF2B5EF4-FFF2-40B4-BE49-F238E27FC236}">
                    <a16:creationId xmlns:a16="http://schemas.microsoft.com/office/drawing/2014/main" id="{DCF97F11-CF42-4FA2-A63A-9B73EA07AE2F}"/>
                  </a:ext>
                </a:extLst>
              </p:cNvPr>
              <p:cNvSpPr>
                <a:spLocks noChangeAspect="1" noEditPoints="1"/>
              </p:cNvSpPr>
              <p:nvPr/>
            </p:nvSpPr>
            <p:spPr bwMode="auto">
              <a:xfrm>
                <a:off x="5955969" y="1241246"/>
                <a:ext cx="190085" cy="113163"/>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grpSp>
      </p:grpSp>
      <p:grpSp>
        <p:nvGrpSpPr>
          <p:cNvPr id="67" name="Group 66">
            <a:extLst>
              <a:ext uri="{FF2B5EF4-FFF2-40B4-BE49-F238E27FC236}">
                <a16:creationId xmlns:a16="http://schemas.microsoft.com/office/drawing/2014/main" id="{B3EF9195-4CCB-4C74-B92C-1A30A0BBAD69}"/>
              </a:ext>
            </a:extLst>
          </p:cNvPr>
          <p:cNvGrpSpPr/>
          <p:nvPr/>
        </p:nvGrpSpPr>
        <p:grpSpPr>
          <a:xfrm>
            <a:off x="8845326" y="4795345"/>
            <a:ext cx="512859" cy="512859"/>
            <a:chOff x="7378812" y="4711811"/>
            <a:chExt cx="502920" cy="502920"/>
          </a:xfrm>
        </p:grpSpPr>
        <p:sp useBgFill="1">
          <p:nvSpPr>
            <p:cNvPr id="68" name="Oval 67">
              <a:extLst>
                <a:ext uri="{FF2B5EF4-FFF2-40B4-BE49-F238E27FC236}">
                  <a16:creationId xmlns:a16="http://schemas.microsoft.com/office/drawing/2014/main" id="{88093A4D-9EFF-453B-ABEA-9D10FA31B126}"/>
                </a:ext>
              </a:extLst>
            </p:cNvPr>
            <p:cNvSpPr/>
            <p:nvPr/>
          </p:nvSpPr>
          <p:spPr bwMode="auto">
            <a:xfrm>
              <a:off x="7378812" y="4711811"/>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language">
              <a:extLst>
                <a:ext uri="{FF2B5EF4-FFF2-40B4-BE49-F238E27FC236}">
                  <a16:creationId xmlns:a16="http://schemas.microsoft.com/office/drawing/2014/main" id="{87471FC8-A9B6-4C3E-BDCA-4B02F419743D}"/>
                </a:ext>
              </a:extLst>
            </p:cNvPr>
            <p:cNvSpPr>
              <a:spLocks noChangeAspect="1" noEditPoints="1"/>
            </p:cNvSpPr>
            <p:nvPr/>
          </p:nvSpPr>
          <p:spPr bwMode="auto">
            <a:xfrm>
              <a:off x="7513545" y="4860817"/>
              <a:ext cx="233456" cy="204908"/>
            </a:xfrm>
            <a:custGeom>
              <a:avLst/>
              <a:gdLst>
                <a:gd name="T0" fmla="*/ 0 w 315"/>
                <a:gd name="T1" fmla="*/ 176 h 276"/>
                <a:gd name="T2" fmla="*/ 68 w 315"/>
                <a:gd name="T3" fmla="*/ 0 h 276"/>
                <a:gd name="T4" fmla="*/ 130 w 315"/>
                <a:gd name="T5" fmla="*/ 176 h 276"/>
                <a:gd name="T6" fmla="*/ 22 w 315"/>
                <a:gd name="T7" fmla="*/ 118 h 276"/>
                <a:gd name="T8" fmla="*/ 110 w 315"/>
                <a:gd name="T9" fmla="*/ 118 h 276"/>
                <a:gd name="T10" fmla="*/ 246 w 315"/>
                <a:gd name="T11" fmla="*/ 276 h 276"/>
                <a:gd name="T12" fmla="*/ 311 w 315"/>
                <a:gd name="T13" fmla="*/ 217 h 276"/>
                <a:gd name="T14" fmla="*/ 194 w 315"/>
                <a:gd name="T15" fmla="*/ 194 h 276"/>
                <a:gd name="T16" fmla="*/ 204 w 315"/>
                <a:gd name="T17" fmla="*/ 258 h 276"/>
                <a:gd name="T18" fmla="*/ 272 w 315"/>
                <a:gd name="T19" fmla="*/ 162 h 276"/>
                <a:gd name="T20" fmla="*/ 218 w 315"/>
                <a:gd name="T21" fmla="*/ 89 h 276"/>
                <a:gd name="T22" fmla="*/ 227 w 315"/>
                <a:gd name="T23" fmla="*/ 249 h 276"/>
                <a:gd name="T24" fmla="*/ 161 w 315"/>
                <a:gd name="T25" fmla="*/ 129 h 276"/>
                <a:gd name="T26" fmla="*/ 301 w 315"/>
                <a:gd name="T27" fmla="*/ 12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5" h="276">
                  <a:moveTo>
                    <a:pt x="0" y="176"/>
                  </a:moveTo>
                  <a:cubicBezTo>
                    <a:pt x="68" y="0"/>
                    <a:pt x="68" y="0"/>
                    <a:pt x="68" y="0"/>
                  </a:cubicBezTo>
                  <a:cubicBezTo>
                    <a:pt x="130" y="176"/>
                    <a:pt x="130" y="176"/>
                    <a:pt x="130" y="176"/>
                  </a:cubicBezTo>
                  <a:moveTo>
                    <a:pt x="22" y="118"/>
                  </a:moveTo>
                  <a:cubicBezTo>
                    <a:pt x="110" y="118"/>
                    <a:pt x="110" y="118"/>
                    <a:pt x="110" y="118"/>
                  </a:cubicBezTo>
                  <a:moveTo>
                    <a:pt x="246" y="276"/>
                  </a:moveTo>
                  <a:cubicBezTo>
                    <a:pt x="275" y="275"/>
                    <a:pt x="315" y="258"/>
                    <a:pt x="311" y="217"/>
                  </a:cubicBezTo>
                  <a:cubicBezTo>
                    <a:pt x="308" y="183"/>
                    <a:pt x="237" y="174"/>
                    <a:pt x="194" y="194"/>
                  </a:cubicBezTo>
                  <a:cubicBezTo>
                    <a:pt x="153" y="213"/>
                    <a:pt x="150" y="270"/>
                    <a:pt x="204" y="258"/>
                  </a:cubicBezTo>
                  <a:cubicBezTo>
                    <a:pt x="271" y="244"/>
                    <a:pt x="272" y="162"/>
                    <a:pt x="272" y="162"/>
                  </a:cubicBezTo>
                  <a:moveTo>
                    <a:pt x="218" y="89"/>
                  </a:moveTo>
                  <a:cubicBezTo>
                    <a:pt x="218" y="89"/>
                    <a:pt x="206" y="215"/>
                    <a:pt x="227" y="249"/>
                  </a:cubicBezTo>
                  <a:moveTo>
                    <a:pt x="161" y="129"/>
                  </a:moveTo>
                  <a:cubicBezTo>
                    <a:pt x="161" y="129"/>
                    <a:pt x="236" y="138"/>
                    <a:pt x="301" y="122"/>
                  </a:cubicBezTo>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grpSp>
      <p:grpSp>
        <p:nvGrpSpPr>
          <p:cNvPr id="70" name="Group 69">
            <a:extLst>
              <a:ext uri="{FF2B5EF4-FFF2-40B4-BE49-F238E27FC236}">
                <a16:creationId xmlns:a16="http://schemas.microsoft.com/office/drawing/2014/main" id="{48B6E956-A212-455D-811D-BE815DB72F79}"/>
              </a:ext>
            </a:extLst>
          </p:cNvPr>
          <p:cNvGrpSpPr/>
          <p:nvPr/>
        </p:nvGrpSpPr>
        <p:grpSpPr>
          <a:xfrm>
            <a:off x="4648338" y="3753054"/>
            <a:ext cx="512859" cy="512859"/>
            <a:chOff x="3263161" y="3689721"/>
            <a:chExt cx="502920" cy="502920"/>
          </a:xfrm>
        </p:grpSpPr>
        <p:sp useBgFill="1">
          <p:nvSpPr>
            <p:cNvPr id="71" name="Oval 70">
              <a:extLst>
                <a:ext uri="{FF2B5EF4-FFF2-40B4-BE49-F238E27FC236}">
                  <a16:creationId xmlns:a16="http://schemas.microsoft.com/office/drawing/2014/main" id="{6761AF22-2E4B-4699-AFCE-81F2EFD4A0E7}"/>
                </a:ext>
              </a:extLst>
            </p:cNvPr>
            <p:cNvSpPr/>
            <p:nvPr/>
          </p:nvSpPr>
          <p:spPr bwMode="auto">
            <a:xfrm>
              <a:off x="3263161" y="3689721"/>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2" name="Group 71">
              <a:extLst>
                <a:ext uri="{FF2B5EF4-FFF2-40B4-BE49-F238E27FC236}">
                  <a16:creationId xmlns:a16="http://schemas.microsoft.com/office/drawing/2014/main" id="{2A9FFBD1-9F2C-40EC-8A19-E26C1285F838}"/>
                </a:ext>
              </a:extLst>
            </p:cNvPr>
            <p:cNvGrpSpPr/>
            <p:nvPr/>
          </p:nvGrpSpPr>
          <p:grpSpPr>
            <a:xfrm>
              <a:off x="3447374" y="3795984"/>
              <a:ext cx="134494" cy="290395"/>
              <a:chOff x="8035563" y="4213789"/>
              <a:chExt cx="170731" cy="368633"/>
            </a:xfrm>
          </p:grpSpPr>
          <p:sp>
            <p:nvSpPr>
              <p:cNvPr id="73" name="light">
                <a:extLst>
                  <a:ext uri="{FF2B5EF4-FFF2-40B4-BE49-F238E27FC236}">
                    <a16:creationId xmlns:a16="http://schemas.microsoft.com/office/drawing/2014/main" id="{565FA5A1-3F90-40C5-93C4-91032A3FD451}"/>
                  </a:ext>
                </a:extLst>
              </p:cNvPr>
              <p:cNvSpPr>
                <a:spLocks noChangeAspect="1" noEditPoints="1"/>
              </p:cNvSpPr>
              <p:nvPr/>
            </p:nvSpPr>
            <p:spPr bwMode="auto">
              <a:xfrm>
                <a:off x="8035563" y="4328947"/>
                <a:ext cx="170731" cy="253475"/>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grpSp>
            <p:nvGrpSpPr>
              <p:cNvPr id="74" name="Group 73">
                <a:extLst>
                  <a:ext uri="{FF2B5EF4-FFF2-40B4-BE49-F238E27FC236}">
                    <a16:creationId xmlns:a16="http://schemas.microsoft.com/office/drawing/2014/main" id="{B8A37A87-CE62-453A-8DDD-90E3549B7F41}"/>
                  </a:ext>
                </a:extLst>
              </p:cNvPr>
              <p:cNvGrpSpPr/>
              <p:nvPr/>
            </p:nvGrpSpPr>
            <p:grpSpPr>
              <a:xfrm rot="16200000">
                <a:off x="8082549" y="4180047"/>
                <a:ext cx="76737" cy="144221"/>
                <a:chOff x="2866921" y="3947319"/>
                <a:chExt cx="103684" cy="194866"/>
              </a:xfrm>
            </p:grpSpPr>
            <p:sp>
              <p:nvSpPr>
                <p:cNvPr id="75" name="Oval 5">
                  <a:extLst>
                    <a:ext uri="{FF2B5EF4-FFF2-40B4-BE49-F238E27FC236}">
                      <a16:creationId xmlns:a16="http://schemas.microsoft.com/office/drawing/2014/main" id="{4663BBF9-25D7-4809-834A-559287DF76FA}"/>
                    </a:ext>
                  </a:extLst>
                </p:cNvPr>
                <p:cNvSpPr/>
                <p:nvPr/>
              </p:nvSpPr>
              <p:spPr bwMode="auto">
                <a:xfrm>
                  <a:off x="2904207" y="3947319"/>
                  <a:ext cx="66398" cy="194866"/>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sp>
              <p:nvSpPr>
                <p:cNvPr id="76" name="Oval 5">
                  <a:extLst>
                    <a:ext uri="{FF2B5EF4-FFF2-40B4-BE49-F238E27FC236}">
                      <a16:creationId xmlns:a16="http://schemas.microsoft.com/office/drawing/2014/main" id="{89E0B57D-2AA2-48D3-BEFE-9452F09FE9BC}"/>
                    </a:ext>
                  </a:extLst>
                </p:cNvPr>
                <p:cNvSpPr/>
                <p:nvPr/>
              </p:nvSpPr>
              <p:spPr bwMode="auto">
                <a:xfrm>
                  <a:off x="2866921" y="3977662"/>
                  <a:ext cx="45720" cy="134180"/>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grpSp>
        </p:grpSp>
      </p:grpSp>
      <p:grpSp>
        <p:nvGrpSpPr>
          <p:cNvPr id="77" name="Group 76">
            <a:extLst>
              <a:ext uri="{FF2B5EF4-FFF2-40B4-BE49-F238E27FC236}">
                <a16:creationId xmlns:a16="http://schemas.microsoft.com/office/drawing/2014/main" id="{61B6DAEE-E306-4B93-81FF-EF7D3473A0D5}"/>
              </a:ext>
            </a:extLst>
          </p:cNvPr>
          <p:cNvGrpSpPr/>
          <p:nvPr/>
        </p:nvGrpSpPr>
        <p:grpSpPr>
          <a:xfrm>
            <a:off x="7283645" y="5442455"/>
            <a:ext cx="512859" cy="512859"/>
            <a:chOff x="5847397" y="5346381"/>
            <a:chExt cx="502920" cy="502920"/>
          </a:xfrm>
        </p:grpSpPr>
        <p:sp useBgFill="1">
          <p:nvSpPr>
            <p:cNvPr id="78" name="Oval 77">
              <a:extLst>
                <a:ext uri="{FF2B5EF4-FFF2-40B4-BE49-F238E27FC236}">
                  <a16:creationId xmlns:a16="http://schemas.microsoft.com/office/drawing/2014/main" id="{0B423630-2DC9-4987-823E-3D66BF70A0E5}"/>
                </a:ext>
              </a:extLst>
            </p:cNvPr>
            <p:cNvSpPr/>
            <p:nvPr/>
          </p:nvSpPr>
          <p:spPr bwMode="auto">
            <a:xfrm>
              <a:off x="5847397" y="5346381"/>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9" name="Group 196">
              <a:extLst>
                <a:ext uri="{FF2B5EF4-FFF2-40B4-BE49-F238E27FC236}">
                  <a16:creationId xmlns:a16="http://schemas.microsoft.com/office/drawing/2014/main" id="{41C44230-DB20-413F-815D-1C46DBAA6F8C}"/>
                </a:ext>
              </a:extLst>
            </p:cNvPr>
            <p:cNvGrpSpPr>
              <a:grpSpLocks noChangeAspect="1"/>
            </p:cNvGrpSpPr>
            <p:nvPr/>
          </p:nvGrpSpPr>
          <p:grpSpPr bwMode="auto">
            <a:xfrm>
              <a:off x="6030277" y="5467160"/>
              <a:ext cx="137162" cy="261362"/>
              <a:chOff x="7261" y="805"/>
              <a:chExt cx="127" cy="242"/>
            </a:xfrm>
            <a:noFill/>
          </p:grpSpPr>
          <p:sp>
            <p:nvSpPr>
              <p:cNvPr id="80" name="Freeform 197">
                <a:extLst>
                  <a:ext uri="{FF2B5EF4-FFF2-40B4-BE49-F238E27FC236}">
                    <a16:creationId xmlns:a16="http://schemas.microsoft.com/office/drawing/2014/main" id="{F382C307-19E6-4B83-A82B-24FFF0FADB92}"/>
                  </a:ext>
                </a:extLst>
              </p:cNvPr>
              <p:cNvSpPr>
                <a:spLocks/>
              </p:cNvSpPr>
              <p:nvPr/>
            </p:nvSpPr>
            <p:spPr bwMode="auto">
              <a:xfrm>
                <a:off x="7323" y="805"/>
                <a:ext cx="65" cy="194"/>
              </a:xfrm>
              <a:custGeom>
                <a:avLst/>
                <a:gdLst>
                  <a:gd name="T0" fmla="*/ 90 w 90"/>
                  <a:gd name="T1" fmla="*/ 166 h 268"/>
                  <a:gd name="T2" fmla="*/ 90 w 90"/>
                  <a:gd name="T3" fmla="*/ 46 h 268"/>
                  <a:gd name="T4" fmla="*/ 45 w 90"/>
                  <a:gd name="T5" fmla="*/ 0 h 268"/>
                  <a:gd name="T6" fmla="*/ 0 w 90"/>
                  <a:gd name="T7" fmla="*/ 46 h 268"/>
                  <a:gd name="T8" fmla="*/ 0 w 90"/>
                  <a:gd name="T9" fmla="*/ 268 h 268"/>
                </a:gdLst>
                <a:ahLst/>
                <a:cxnLst>
                  <a:cxn ang="0">
                    <a:pos x="T0" y="T1"/>
                  </a:cxn>
                  <a:cxn ang="0">
                    <a:pos x="T2" y="T3"/>
                  </a:cxn>
                  <a:cxn ang="0">
                    <a:pos x="T4" y="T5"/>
                  </a:cxn>
                  <a:cxn ang="0">
                    <a:pos x="T6" y="T7"/>
                  </a:cxn>
                  <a:cxn ang="0">
                    <a:pos x="T8" y="T9"/>
                  </a:cxn>
                </a:cxnLst>
                <a:rect l="0" t="0" r="r" b="b"/>
                <a:pathLst>
                  <a:path w="90" h="268">
                    <a:moveTo>
                      <a:pt x="90" y="166"/>
                    </a:moveTo>
                    <a:cubicBezTo>
                      <a:pt x="90" y="46"/>
                      <a:pt x="90" y="46"/>
                      <a:pt x="90" y="46"/>
                    </a:cubicBezTo>
                    <a:cubicBezTo>
                      <a:pt x="90" y="20"/>
                      <a:pt x="70" y="0"/>
                      <a:pt x="45" y="0"/>
                    </a:cubicBezTo>
                    <a:cubicBezTo>
                      <a:pt x="20" y="0"/>
                      <a:pt x="0" y="20"/>
                      <a:pt x="0" y="46"/>
                    </a:cubicBezTo>
                    <a:cubicBezTo>
                      <a:pt x="0" y="268"/>
                      <a:pt x="0" y="268"/>
                      <a:pt x="0" y="268"/>
                    </a:cubicBezTo>
                  </a:path>
                </a:pathLst>
              </a:custGeom>
              <a:grpFill/>
              <a:ln w="12700" cap="rnd">
                <a:solidFill>
                  <a:schemeClr val="tx1">
                    <a:lumMod val="90000"/>
                    <a:lumOff val="10000"/>
                  </a:schemeClr>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gradFill>
                    <a:gsLst>
                      <a:gs pos="0">
                        <a:srgbClr val="505050"/>
                      </a:gs>
                      <a:gs pos="100000">
                        <a:srgbClr val="505050"/>
                      </a:gs>
                    </a:gsLst>
                  </a:gradFill>
                  <a:latin typeface="Segoe UI Semilight"/>
                </a:endParaRPr>
              </a:p>
            </p:txBody>
          </p:sp>
          <p:sp>
            <p:nvSpPr>
              <p:cNvPr id="81" name="Freeform 198">
                <a:extLst>
                  <a:ext uri="{FF2B5EF4-FFF2-40B4-BE49-F238E27FC236}">
                    <a16:creationId xmlns:a16="http://schemas.microsoft.com/office/drawing/2014/main" id="{59AEB983-774C-4907-8ADF-A2F90B91CB40}"/>
                  </a:ext>
                </a:extLst>
              </p:cNvPr>
              <p:cNvSpPr>
                <a:spLocks/>
              </p:cNvSpPr>
              <p:nvPr/>
            </p:nvSpPr>
            <p:spPr bwMode="auto">
              <a:xfrm>
                <a:off x="7261" y="805"/>
                <a:ext cx="95" cy="194"/>
              </a:xfrm>
              <a:custGeom>
                <a:avLst/>
                <a:gdLst>
                  <a:gd name="T0" fmla="*/ 131 w 131"/>
                  <a:gd name="T1" fmla="*/ 0 h 268"/>
                  <a:gd name="T2" fmla="*/ 45 w 131"/>
                  <a:gd name="T3" fmla="*/ 0 h 268"/>
                  <a:gd name="T4" fmla="*/ 0 w 131"/>
                  <a:gd name="T5" fmla="*/ 46 h 268"/>
                  <a:gd name="T6" fmla="*/ 0 w 131"/>
                  <a:gd name="T7" fmla="*/ 268 h 268"/>
                </a:gdLst>
                <a:ahLst/>
                <a:cxnLst>
                  <a:cxn ang="0">
                    <a:pos x="T0" y="T1"/>
                  </a:cxn>
                  <a:cxn ang="0">
                    <a:pos x="T2" y="T3"/>
                  </a:cxn>
                  <a:cxn ang="0">
                    <a:pos x="T4" y="T5"/>
                  </a:cxn>
                  <a:cxn ang="0">
                    <a:pos x="T6" y="T7"/>
                  </a:cxn>
                </a:cxnLst>
                <a:rect l="0" t="0" r="r" b="b"/>
                <a:pathLst>
                  <a:path w="131" h="268">
                    <a:moveTo>
                      <a:pt x="131" y="0"/>
                    </a:moveTo>
                    <a:cubicBezTo>
                      <a:pt x="45" y="0"/>
                      <a:pt x="45" y="0"/>
                      <a:pt x="45" y="0"/>
                    </a:cubicBezTo>
                    <a:cubicBezTo>
                      <a:pt x="20" y="0"/>
                      <a:pt x="0" y="20"/>
                      <a:pt x="0" y="46"/>
                    </a:cubicBezTo>
                    <a:cubicBezTo>
                      <a:pt x="0" y="268"/>
                      <a:pt x="0" y="268"/>
                      <a:pt x="0" y="268"/>
                    </a:cubicBezTo>
                  </a:path>
                </a:pathLst>
              </a:custGeom>
              <a:grpFill/>
              <a:ln w="12700" cap="rnd">
                <a:solidFill>
                  <a:schemeClr val="tx1">
                    <a:lumMod val="90000"/>
                    <a:lumOff val="10000"/>
                  </a:schemeClr>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gradFill>
                    <a:gsLst>
                      <a:gs pos="0">
                        <a:srgbClr val="505050"/>
                      </a:gs>
                      <a:gs pos="100000">
                        <a:srgbClr val="505050"/>
                      </a:gs>
                    </a:gsLst>
                  </a:gradFill>
                  <a:latin typeface="Segoe UI Semilight"/>
                </a:endParaRPr>
              </a:p>
            </p:txBody>
          </p:sp>
          <p:sp>
            <p:nvSpPr>
              <p:cNvPr id="82" name="Freeform 199">
                <a:extLst>
                  <a:ext uri="{FF2B5EF4-FFF2-40B4-BE49-F238E27FC236}">
                    <a16:creationId xmlns:a16="http://schemas.microsoft.com/office/drawing/2014/main" id="{3743147C-EBB0-4FDE-AACD-3765221DE450}"/>
                  </a:ext>
                </a:extLst>
              </p:cNvPr>
              <p:cNvSpPr>
                <a:spLocks/>
              </p:cNvSpPr>
              <p:nvPr/>
            </p:nvSpPr>
            <p:spPr bwMode="auto">
              <a:xfrm>
                <a:off x="7324" y="992"/>
                <a:ext cx="64" cy="55"/>
              </a:xfrm>
              <a:custGeom>
                <a:avLst/>
                <a:gdLst>
                  <a:gd name="T0" fmla="*/ 91 w 91"/>
                  <a:gd name="T1" fmla="*/ 0 h 77"/>
                  <a:gd name="T2" fmla="*/ 91 w 91"/>
                  <a:gd name="T3" fmla="*/ 32 h 77"/>
                  <a:gd name="T4" fmla="*/ 46 w 91"/>
                  <a:gd name="T5" fmla="*/ 77 h 77"/>
                  <a:gd name="T6" fmla="*/ 0 w 91"/>
                  <a:gd name="T7" fmla="*/ 32 h 77"/>
                  <a:gd name="T8" fmla="*/ 0 w 91"/>
                  <a:gd name="T9" fmla="*/ 6 h 77"/>
                </a:gdLst>
                <a:ahLst/>
                <a:cxnLst>
                  <a:cxn ang="0">
                    <a:pos x="T0" y="T1"/>
                  </a:cxn>
                  <a:cxn ang="0">
                    <a:pos x="T2" y="T3"/>
                  </a:cxn>
                  <a:cxn ang="0">
                    <a:pos x="T4" y="T5"/>
                  </a:cxn>
                  <a:cxn ang="0">
                    <a:pos x="T6" y="T7"/>
                  </a:cxn>
                  <a:cxn ang="0">
                    <a:pos x="T8" y="T9"/>
                  </a:cxn>
                </a:cxnLst>
                <a:rect l="0" t="0" r="r" b="b"/>
                <a:pathLst>
                  <a:path w="91" h="77">
                    <a:moveTo>
                      <a:pt x="91" y="0"/>
                    </a:moveTo>
                    <a:cubicBezTo>
                      <a:pt x="91" y="32"/>
                      <a:pt x="91" y="32"/>
                      <a:pt x="91" y="32"/>
                    </a:cubicBezTo>
                    <a:cubicBezTo>
                      <a:pt x="91" y="57"/>
                      <a:pt x="71" y="77"/>
                      <a:pt x="46" y="77"/>
                    </a:cubicBezTo>
                    <a:cubicBezTo>
                      <a:pt x="21" y="77"/>
                      <a:pt x="0" y="57"/>
                      <a:pt x="0" y="32"/>
                    </a:cubicBezTo>
                    <a:cubicBezTo>
                      <a:pt x="0" y="6"/>
                      <a:pt x="0" y="6"/>
                      <a:pt x="0" y="6"/>
                    </a:cubicBezTo>
                  </a:path>
                </a:pathLst>
              </a:custGeom>
              <a:grpFill/>
              <a:ln w="12700" cap="rnd">
                <a:solidFill>
                  <a:schemeClr val="tx1">
                    <a:lumMod val="90000"/>
                    <a:lumOff val="10000"/>
                  </a:schemeClr>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gradFill>
                    <a:gsLst>
                      <a:gs pos="0">
                        <a:srgbClr val="505050"/>
                      </a:gs>
                      <a:gs pos="100000">
                        <a:srgbClr val="505050"/>
                      </a:gs>
                    </a:gsLst>
                  </a:gradFill>
                  <a:latin typeface="Segoe UI Semilight"/>
                </a:endParaRPr>
              </a:p>
            </p:txBody>
          </p:sp>
          <p:sp>
            <p:nvSpPr>
              <p:cNvPr id="83" name="Freeform 200">
                <a:extLst>
                  <a:ext uri="{FF2B5EF4-FFF2-40B4-BE49-F238E27FC236}">
                    <a16:creationId xmlns:a16="http://schemas.microsoft.com/office/drawing/2014/main" id="{C750173C-C4BF-48EE-B2CA-909C8E6CF429}"/>
                  </a:ext>
                </a:extLst>
              </p:cNvPr>
              <p:cNvSpPr>
                <a:spLocks/>
              </p:cNvSpPr>
              <p:nvPr/>
            </p:nvSpPr>
            <p:spPr bwMode="auto">
              <a:xfrm>
                <a:off x="7261" y="996"/>
                <a:ext cx="95" cy="51"/>
              </a:xfrm>
              <a:custGeom>
                <a:avLst/>
                <a:gdLst>
                  <a:gd name="T0" fmla="*/ 131 w 131"/>
                  <a:gd name="T1" fmla="*/ 71 h 71"/>
                  <a:gd name="T2" fmla="*/ 45 w 131"/>
                  <a:gd name="T3" fmla="*/ 71 h 71"/>
                  <a:gd name="T4" fmla="*/ 0 w 131"/>
                  <a:gd name="T5" fmla="*/ 26 h 71"/>
                  <a:gd name="T6" fmla="*/ 0 w 131"/>
                  <a:gd name="T7" fmla="*/ 0 h 71"/>
                </a:gdLst>
                <a:ahLst/>
                <a:cxnLst>
                  <a:cxn ang="0">
                    <a:pos x="T0" y="T1"/>
                  </a:cxn>
                  <a:cxn ang="0">
                    <a:pos x="T2" y="T3"/>
                  </a:cxn>
                  <a:cxn ang="0">
                    <a:pos x="T4" y="T5"/>
                  </a:cxn>
                  <a:cxn ang="0">
                    <a:pos x="T6" y="T7"/>
                  </a:cxn>
                </a:cxnLst>
                <a:rect l="0" t="0" r="r" b="b"/>
                <a:pathLst>
                  <a:path w="131" h="71">
                    <a:moveTo>
                      <a:pt x="131" y="71"/>
                    </a:moveTo>
                    <a:cubicBezTo>
                      <a:pt x="45" y="71"/>
                      <a:pt x="45" y="71"/>
                      <a:pt x="45" y="71"/>
                    </a:cubicBezTo>
                    <a:cubicBezTo>
                      <a:pt x="20" y="71"/>
                      <a:pt x="0" y="51"/>
                      <a:pt x="0" y="26"/>
                    </a:cubicBezTo>
                    <a:cubicBezTo>
                      <a:pt x="0" y="0"/>
                      <a:pt x="0" y="0"/>
                      <a:pt x="0" y="0"/>
                    </a:cubicBezTo>
                  </a:path>
                </a:pathLst>
              </a:custGeom>
              <a:grpFill/>
              <a:ln w="12700" cap="rnd">
                <a:solidFill>
                  <a:schemeClr val="tx1">
                    <a:lumMod val="90000"/>
                    <a:lumOff val="10000"/>
                  </a:schemeClr>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gradFill>
                    <a:gsLst>
                      <a:gs pos="0">
                        <a:srgbClr val="505050"/>
                      </a:gs>
                      <a:gs pos="100000">
                        <a:srgbClr val="505050"/>
                      </a:gs>
                    </a:gsLst>
                  </a:gradFill>
                  <a:latin typeface="Segoe UI Semilight"/>
                </a:endParaRPr>
              </a:p>
            </p:txBody>
          </p:sp>
          <p:sp>
            <p:nvSpPr>
              <p:cNvPr id="84" name="Oval 201">
                <a:extLst>
                  <a:ext uri="{FF2B5EF4-FFF2-40B4-BE49-F238E27FC236}">
                    <a16:creationId xmlns:a16="http://schemas.microsoft.com/office/drawing/2014/main" id="{3548C20E-143A-4356-BEFF-7BD77D88BD63}"/>
                  </a:ext>
                </a:extLst>
              </p:cNvPr>
              <p:cNvSpPr>
                <a:spLocks noChangeArrowheads="1"/>
              </p:cNvSpPr>
              <p:nvPr/>
            </p:nvSpPr>
            <p:spPr bwMode="auto">
              <a:xfrm>
                <a:off x="7287" y="878"/>
                <a:ext cx="9" cy="8"/>
              </a:xfrm>
              <a:prstGeom prst="ellipse">
                <a:avLst/>
              </a:prstGeom>
              <a:grpFill/>
              <a:ln w="12700" cap="rnd">
                <a:solidFill>
                  <a:schemeClr val="tx1">
                    <a:lumMod val="90000"/>
                    <a:lumOff val="10000"/>
                  </a:schemeClr>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gradFill>
                    <a:gsLst>
                      <a:gs pos="0">
                        <a:srgbClr val="505050"/>
                      </a:gs>
                      <a:gs pos="100000">
                        <a:srgbClr val="505050"/>
                      </a:gs>
                    </a:gsLst>
                  </a:gradFill>
                  <a:latin typeface="Segoe UI Semilight"/>
                </a:endParaRPr>
              </a:p>
            </p:txBody>
          </p:sp>
          <p:sp>
            <p:nvSpPr>
              <p:cNvPr id="85" name="Oval 202">
                <a:extLst>
                  <a:ext uri="{FF2B5EF4-FFF2-40B4-BE49-F238E27FC236}">
                    <a16:creationId xmlns:a16="http://schemas.microsoft.com/office/drawing/2014/main" id="{3F69284D-4EC9-43F3-B49C-36B2AD30E0A8}"/>
                  </a:ext>
                </a:extLst>
              </p:cNvPr>
              <p:cNvSpPr>
                <a:spLocks noChangeArrowheads="1"/>
              </p:cNvSpPr>
              <p:nvPr/>
            </p:nvSpPr>
            <p:spPr bwMode="auto">
              <a:xfrm>
                <a:off x="7287" y="923"/>
                <a:ext cx="9" cy="8"/>
              </a:xfrm>
              <a:prstGeom prst="ellipse">
                <a:avLst/>
              </a:prstGeom>
              <a:grpFill/>
              <a:ln w="12700" cap="rnd">
                <a:solidFill>
                  <a:schemeClr val="tx1">
                    <a:lumMod val="90000"/>
                    <a:lumOff val="10000"/>
                  </a:schemeClr>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gradFill>
                    <a:gsLst>
                      <a:gs pos="0">
                        <a:srgbClr val="505050"/>
                      </a:gs>
                      <a:gs pos="100000">
                        <a:srgbClr val="505050"/>
                      </a:gs>
                    </a:gsLst>
                  </a:gradFill>
                  <a:latin typeface="Segoe UI Semilight"/>
                </a:endParaRPr>
              </a:p>
            </p:txBody>
          </p:sp>
          <p:sp>
            <p:nvSpPr>
              <p:cNvPr id="86" name="Oval 203">
                <a:extLst>
                  <a:ext uri="{FF2B5EF4-FFF2-40B4-BE49-F238E27FC236}">
                    <a16:creationId xmlns:a16="http://schemas.microsoft.com/office/drawing/2014/main" id="{67A65992-B49A-45D2-8EB3-950C0424EC08}"/>
                  </a:ext>
                </a:extLst>
              </p:cNvPr>
              <p:cNvSpPr>
                <a:spLocks noChangeArrowheads="1"/>
              </p:cNvSpPr>
              <p:nvPr/>
            </p:nvSpPr>
            <p:spPr bwMode="auto">
              <a:xfrm>
                <a:off x="7287" y="967"/>
                <a:ext cx="9" cy="8"/>
              </a:xfrm>
              <a:prstGeom prst="ellipse">
                <a:avLst/>
              </a:prstGeom>
              <a:grpFill/>
              <a:ln w="12700" cap="rnd">
                <a:solidFill>
                  <a:schemeClr val="tx1">
                    <a:lumMod val="90000"/>
                    <a:lumOff val="10000"/>
                  </a:schemeClr>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gradFill>
                    <a:gsLst>
                      <a:gs pos="0">
                        <a:srgbClr val="505050"/>
                      </a:gs>
                      <a:gs pos="100000">
                        <a:srgbClr val="505050"/>
                      </a:gs>
                    </a:gsLst>
                  </a:gradFill>
                  <a:latin typeface="Segoe UI Semilight"/>
                </a:endParaRPr>
              </a:p>
            </p:txBody>
          </p:sp>
        </p:grpSp>
      </p:grpSp>
      <p:grpSp>
        <p:nvGrpSpPr>
          <p:cNvPr id="87" name="Group 86">
            <a:extLst>
              <a:ext uri="{FF2B5EF4-FFF2-40B4-BE49-F238E27FC236}">
                <a16:creationId xmlns:a16="http://schemas.microsoft.com/office/drawing/2014/main" id="{164EC474-054F-418C-8530-07148B87B1E6}"/>
              </a:ext>
            </a:extLst>
          </p:cNvPr>
          <p:cNvGrpSpPr/>
          <p:nvPr/>
        </p:nvGrpSpPr>
        <p:grpSpPr>
          <a:xfrm>
            <a:off x="5074855" y="3233665"/>
            <a:ext cx="512859" cy="512859"/>
            <a:chOff x="-963895" y="2838084"/>
            <a:chExt cx="502920" cy="502920"/>
          </a:xfrm>
        </p:grpSpPr>
        <p:sp useBgFill="1">
          <p:nvSpPr>
            <p:cNvPr id="88" name="Oval 87">
              <a:extLst>
                <a:ext uri="{FF2B5EF4-FFF2-40B4-BE49-F238E27FC236}">
                  <a16:creationId xmlns:a16="http://schemas.microsoft.com/office/drawing/2014/main" id="{D8F2A512-5D7F-495A-8B9F-E62CFD9CCACF}"/>
                </a:ext>
              </a:extLst>
            </p:cNvPr>
            <p:cNvSpPr/>
            <p:nvPr/>
          </p:nvSpPr>
          <p:spPr bwMode="auto">
            <a:xfrm>
              <a:off x="-963895" y="2838084"/>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9" name="hand_5">
              <a:extLst>
                <a:ext uri="{FF2B5EF4-FFF2-40B4-BE49-F238E27FC236}">
                  <a16:creationId xmlns:a16="http://schemas.microsoft.com/office/drawing/2014/main" id="{88A30AF2-44F5-42A4-BCE5-47CADD47027B}"/>
                </a:ext>
              </a:extLst>
            </p:cNvPr>
            <p:cNvSpPr>
              <a:spLocks noChangeAspect="1" noEditPoints="1"/>
            </p:cNvSpPr>
            <p:nvPr/>
          </p:nvSpPr>
          <p:spPr bwMode="auto">
            <a:xfrm>
              <a:off x="-791727" y="2985079"/>
              <a:ext cx="158585" cy="208930"/>
            </a:xfrm>
            <a:custGeom>
              <a:avLst/>
              <a:gdLst>
                <a:gd name="T0" fmla="*/ 120 w 260"/>
                <a:gd name="T1" fmla="*/ 103 h 344"/>
                <a:gd name="T2" fmla="*/ 143 w 260"/>
                <a:gd name="T3" fmla="*/ 78 h 344"/>
                <a:gd name="T4" fmla="*/ 166 w 260"/>
                <a:gd name="T5" fmla="*/ 103 h 344"/>
                <a:gd name="T6" fmla="*/ 166 w 260"/>
                <a:gd name="T7" fmla="*/ 172 h 344"/>
                <a:gd name="T8" fmla="*/ 212 w 260"/>
                <a:gd name="T9" fmla="*/ 172 h 344"/>
                <a:gd name="T10" fmla="*/ 212 w 260"/>
                <a:gd name="T11" fmla="*/ 103 h 344"/>
                <a:gd name="T12" fmla="*/ 189 w 260"/>
                <a:gd name="T13" fmla="*/ 78 h 344"/>
                <a:gd name="T14" fmla="*/ 166 w 260"/>
                <a:gd name="T15" fmla="*/ 103 h 344"/>
                <a:gd name="T16" fmla="*/ 120 w 260"/>
                <a:gd name="T17" fmla="*/ 172 h 344"/>
                <a:gd name="T18" fmla="*/ 120 w 260"/>
                <a:gd name="T19" fmla="*/ 25 h 344"/>
                <a:gd name="T20" fmla="*/ 97 w 260"/>
                <a:gd name="T21" fmla="*/ 0 h 344"/>
                <a:gd name="T22" fmla="*/ 74 w 260"/>
                <a:gd name="T23" fmla="*/ 25 h 344"/>
                <a:gd name="T24" fmla="*/ 74 w 260"/>
                <a:gd name="T25" fmla="*/ 206 h 344"/>
                <a:gd name="T26" fmla="*/ 23 w 260"/>
                <a:gd name="T27" fmla="*/ 188 h 344"/>
                <a:gd name="T28" fmla="*/ 6 w 260"/>
                <a:gd name="T29" fmla="*/ 195 h 344"/>
                <a:gd name="T30" fmla="*/ 8 w 260"/>
                <a:gd name="T31" fmla="*/ 217 h 344"/>
                <a:gd name="T32" fmla="*/ 93 w 260"/>
                <a:gd name="T33" fmla="*/ 316 h 344"/>
                <a:gd name="T34" fmla="*/ 174 w 260"/>
                <a:gd name="T35" fmla="*/ 344 h 344"/>
                <a:gd name="T36" fmla="*/ 255 w 260"/>
                <a:gd name="T37" fmla="*/ 278 h 344"/>
                <a:gd name="T38" fmla="*/ 258 w 260"/>
                <a:gd name="T39" fmla="*/ 200 h 344"/>
                <a:gd name="T40" fmla="*/ 258 w 260"/>
                <a:gd name="T41" fmla="*/ 130 h 344"/>
                <a:gd name="T42" fmla="*/ 235 w 260"/>
                <a:gd name="T43" fmla="*/ 105 h 344"/>
                <a:gd name="T44" fmla="*/ 212 w 260"/>
                <a:gd name="T45" fmla="*/ 13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0" h="344">
                  <a:moveTo>
                    <a:pt x="120" y="103"/>
                  </a:moveTo>
                  <a:cubicBezTo>
                    <a:pt x="120" y="89"/>
                    <a:pt x="130" y="78"/>
                    <a:pt x="143" y="78"/>
                  </a:cubicBezTo>
                  <a:cubicBezTo>
                    <a:pt x="156" y="78"/>
                    <a:pt x="166" y="89"/>
                    <a:pt x="166" y="103"/>
                  </a:cubicBezTo>
                  <a:cubicBezTo>
                    <a:pt x="166" y="172"/>
                    <a:pt x="166" y="172"/>
                    <a:pt x="166" y="172"/>
                  </a:cubicBezTo>
                  <a:moveTo>
                    <a:pt x="212" y="172"/>
                  </a:moveTo>
                  <a:cubicBezTo>
                    <a:pt x="212" y="103"/>
                    <a:pt x="212" y="103"/>
                    <a:pt x="212" y="103"/>
                  </a:cubicBezTo>
                  <a:cubicBezTo>
                    <a:pt x="212" y="89"/>
                    <a:pt x="202" y="78"/>
                    <a:pt x="189" y="78"/>
                  </a:cubicBezTo>
                  <a:cubicBezTo>
                    <a:pt x="176" y="78"/>
                    <a:pt x="166" y="89"/>
                    <a:pt x="166" y="103"/>
                  </a:cubicBezTo>
                  <a:moveTo>
                    <a:pt x="120" y="172"/>
                  </a:moveTo>
                  <a:cubicBezTo>
                    <a:pt x="120" y="25"/>
                    <a:pt x="120" y="25"/>
                    <a:pt x="120" y="25"/>
                  </a:cubicBezTo>
                  <a:cubicBezTo>
                    <a:pt x="120" y="11"/>
                    <a:pt x="110" y="0"/>
                    <a:pt x="97" y="0"/>
                  </a:cubicBezTo>
                  <a:cubicBezTo>
                    <a:pt x="84" y="0"/>
                    <a:pt x="74" y="11"/>
                    <a:pt x="74" y="25"/>
                  </a:cubicBezTo>
                  <a:cubicBezTo>
                    <a:pt x="74" y="206"/>
                    <a:pt x="74" y="206"/>
                    <a:pt x="74" y="206"/>
                  </a:cubicBezTo>
                  <a:cubicBezTo>
                    <a:pt x="74" y="206"/>
                    <a:pt x="33" y="189"/>
                    <a:pt x="23" y="188"/>
                  </a:cubicBezTo>
                  <a:cubicBezTo>
                    <a:pt x="14" y="188"/>
                    <a:pt x="13" y="188"/>
                    <a:pt x="6" y="195"/>
                  </a:cubicBezTo>
                  <a:cubicBezTo>
                    <a:pt x="0" y="202"/>
                    <a:pt x="5" y="213"/>
                    <a:pt x="8" y="217"/>
                  </a:cubicBezTo>
                  <a:cubicBezTo>
                    <a:pt x="12" y="220"/>
                    <a:pt x="84" y="309"/>
                    <a:pt x="93" y="316"/>
                  </a:cubicBezTo>
                  <a:cubicBezTo>
                    <a:pt x="101" y="324"/>
                    <a:pt x="118" y="344"/>
                    <a:pt x="174" y="344"/>
                  </a:cubicBezTo>
                  <a:cubicBezTo>
                    <a:pt x="233" y="344"/>
                    <a:pt x="255" y="278"/>
                    <a:pt x="255" y="278"/>
                  </a:cubicBezTo>
                  <a:cubicBezTo>
                    <a:pt x="260" y="261"/>
                    <a:pt x="258" y="200"/>
                    <a:pt x="258" y="200"/>
                  </a:cubicBezTo>
                  <a:cubicBezTo>
                    <a:pt x="258" y="130"/>
                    <a:pt x="258" y="130"/>
                    <a:pt x="258" y="130"/>
                  </a:cubicBezTo>
                  <a:cubicBezTo>
                    <a:pt x="258" y="116"/>
                    <a:pt x="247" y="105"/>
                    <a:pt x="235" y="105"/>
                  </a:cubicBezTo>
                  <a:cubicBezTo>
                    <a:pt x="222" y="105"/>
                    <a:pt x="212" y="116"/>
                    <a:pt x="212" y="130"/>
                  </a:cubicBezTo>
                </a:path>
              </a:pathLst>
            </a:custGeom>
            <a:noFill/>
            <a:ln w="1270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grpSp>
      <p:grpSp>
        <p:nvGrpSpPr>
          <p:cNvPr id="90" name="Group 89">
            <a:extLst>
              <a:ext uri="{FF2B5EF4-FFF2-40B4-BE49-F238E27FC236}">
                <a16:creationId xmlns:a16="http://schemas.microsoft.com/office/drawing/2014/main" id="{2692AB4A-2C90-4B4C-89A6-A7ACC9FB830C}"/>
              </a:ext>
            </a:extLst>
          </p:cNvPr>
          <p:cNvGrpSpPr/>
          <p:nvPr/>
        </p:nvGrpSpPr>
        <p:grpSpPr>
          <a:xfrm>
            <a:off x="5243144" y="2388215"/>
            <a:ext cx="512859" cy="512859"/>
            <a:chOff x="3846439" y="2351331"/>
            <a:chExt cx="502920" cy="502920"/>
          </a:xfrm>
        </p:grpSpPr>
        <p:sp useBgFill="1">
          <p:nvSpPr>
            <p:cNvPr id="91" name="Oval 90">
              <a:extLst>
                <a:ext uri="{FF2B5EF4-FFF2-40B4-BE49-F238E27FC236}">
                  <a16:creationId xmlns:a16="http://schemas.microsoft.com/office/drawing/2014/main" id="{2F84ED7F-6D8F-4328-B5BE-9705B160046D}"/>
                </a:ext>
              </a:extLst>
            </p:cNvPr>
            <p:cNvSpPr/>
            <p:nvPr/>
          </p:nvSpPr>
          <p:spPr bwMode="auto">
            <a:xfrm>
              <a:off x="3846439" y="2351331"/>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Freeform 5">
              <a:extLst>
                <a:ext uri="{FF2B5EF4-FFF2-40B4-BE49-F238E27FC236}">
                  <a16:creationId xmlns:a16="http://schemas.microsoft.com/office/drawing/2014/main" id="{F4A4F70B-4E2E-4FC2-8847-8A9EA33D3E71}"/>
                </a:ext>
              </a:extLst>
            </p:cNvPr>
            <p:cNvSpPr>
              <a:spLocks noChangeAspect="1" noEditPoints="1"/>
            </p:cNvSpPr>
            <p:nvPr/>
          </p:nvSpPr>
          <p:spPr bwMode="auto">
            <a:xfrm>
              <a:off x="3966698" y="2534413"/>
              <a:ext cx="262402" cy="136756"/>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2700" cap="flat">
              <a:solidFill>
                <a:schemeClr val="tx1">
                  <a:lumMod val="90000"/>
                  <a:lumOff val="10000"/>
                </a:schemeClr>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grpSp>
      <p:grpSp>
        <p:nvGrpSpPr>
          <p:cNvPr id="93" name="Group 92">
            <a:extLst>
              <a:ext uri="{FF2B5EF4-FFF2-40B4-BE49-F238E27FC236}">
                <a16:creationId xmlns:a16="http://schemas.microsoft.com/office/drawing/2014/main" id="{067A3077-BC89-4883-B57B-967DFB77885A}"/>
              </a:ext>
            </a:extLst>
          </p:cNvPr>
          <p:cNvGrpSpPr/>
          <p:nvPr/>
        </p:nvGrpSpPr>
        <p:grpSpPr>
          <a:xfrm>
            <a:off x="9910651" y="3752861"/>
            <a:ext cx="512859" cy="512859"/>
            <a:chOff x="7820929" y="5070185"/>
            <a:chExt cx="502920" cy="502920"/>
          </a:xfrm>
        </p:grpSpPr>
        <p:sp useBgFill="1">
          <p:nvSpPr>
            <p:cNvPr id="94" name="Oval 93">
              <a:extLst>
                <a:ext uri="{FF2B5EF4-FFF2-40B4-BE49-F238E27FC236}">
                  <a16:creationId xmlns:a16="http://schemas.microsoft.com/office/drawing/2014/main" id="{E736AFEF-3772-4A92-911B-F060F219DF61}"/>
                </a:ext>
              </a:extLst>
            </p:cNvPr>
            <p:cNvSpPr/>
            <p:nvPr/>
          </p:nvSpPr>
          <p:spPr bwMode="auto">
            <a:xfrm>
              <a:off x="7820929" y="5070185"/>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5" name="Group 94">
              <a:extLst>
                <a:ext uri="{FF2B5EF4-FFF2-40B4-BE49-F238E27FC236}">
                  <a16:creationId xmlns:a16="http://schemas.microsoft.com/office/drawing/2014/main" id="{C07CCC84-A972-4F14-BBDC-F72EA9144B9F}"/>
                </a:ext>
              </a:extLst>
            </p:cNvPr>
            <p:cNvGrpSpPr>
              <a:grpSpLocks noChangeAspect="1"/>
            </p:cNvGrpSpPr>
            <p:nvPr/>
          </p:nvGrpSpPr>
          <p:grpSpPr>
            <a:xfrm>
              <a:off x="7913305" y="5228754"/>
              <a:ext cx="318168" cy="185782"/>
              <a:chOff x="11030366" y="2382953"/>
              <a:chExt cx="397040" cy="231838"/>
            </a:xfrm>
            <a:noFill/>
          </p:grpSpPr>
          <p:sp>
            <p:nvSpPr>
              <p:cNvPr id="96" name="Freeform 77">
                <a:extLst>
                  <a:ext uri="{FF2B5EF4-FFF2-40B4-BE49-F238E27FC236}">
                    <a16:creationId xmlns:a16="http://schemas.microsoft.com/office/drawing/2014/main" id="{B04A3A13-D91E-49F0-989B-49BE522A6F81}"/>
                  </a:ext>
                </a:extLst>
              </p:cNvPr>
              <p:cNvSpPr>
                <a:spLocks/>
              </p:cNvSpPr>
              <p:nvPr/>
            </p:nvSpPr>
            <p:spPr bwMode="auto">
              <a:xfrm>
                <a:off x="11030366" y="2382953"/>
                <a:ext cx="397040" cy="231838"/>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path>
                </a:pathLst>
              </a:custGeom>
              <a:grpFill/>
              <a:ln w="12700" cap="flat">
                <a:solidFill>
                  <a:schemeClr val="tx1">
                    <a:lumMod val="90000"/>
                    <a:lumOff val="10000"/>
                  </a:schemeClr>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sp>
            <p:nvSpPr>
              <p:cNvPr id="97" name="Freeform 78">
                <a:extLst>
                  <a:ext uri="{FF2B5EF4-FFF2-40B4-BE49-F238E27FC236}">
                    <a16:creationId xmlns:a16="http://schemas.microsoft.com/office/drawing/2014/main" id="{5EBBE282-C606-4D25-A6DC-FC84CE3891CF}"/>
                  </a:ext>
                </a:extLst>
              </p:cNvPr>
              <p:cNvSpPr>
                <a:spLocks/>
              </p:cNvSpPr>
              <p:nvPr/>
            </p:nvSpPr>
            <p:spPr bwMode="auto">
              <a:xfrm>
                <a:off x="11219168" y="2439871"/>
                <a:ext cx="19436" cy="20824"/>
              </a:xfrm>
              <a:custGeom>
                <a:avLst/>
                <a:gdLst>
                  <a:gd name="T0" fmla="*/ 9 w 20"/>
                  <a:gd name="T1" fmla="*/ 20 h 20"/>
                  <a:gd name="T2" fmla="*/ 0 w 20"/>
                  <a:gd name="T3" fmla="*/ 10 h 20"/>
                  <a:gd name="T4" fmla="*/ 10 w 20"/>
                  <a:gd name="T5" fmla="*/ 0 h 20"/>
                  <a:gd name="T6" fmla="*/ 20 w 20"/>
                  <a:gd name="T7" fmla="*/ 11 h 20"/>
                  <a:gd name="T8" fmla="*/ 9 w 20"/>
                  <a:gd name="T9" fmla="*/ 20 h 20"/>
                </a:gdLst>
                <a:ahLst/>
                <a:cxnLst>
                  <a:cxn ang="0">
                    <a:pos x="T0" y="T1"/>
                  </a:cxn>
                  <a:cxn ang="0">
                    <a:pos x="T2" y="T3"/>
                  </a:cxn>
                  <a:cxn ang="0">
                    <a:pos x="T4" y="T5"/>
                  </a:cxn>
                  <a:cxn ang="0">
                    <a:pos x="T6" y="T7"/>
                  </a:cxn>
                  <a:cxn ang="0">
                    <a:pos x="T8" y="T9"/>
                  </a:cxn>
                </a:cxnLst>
                <a:rect l="0" t="0" r="r" b="b"/>
                <a:pathLst>
                  <a:path w="20" h="20">
                    <a:moveTo>
                      <a:pt x="9" y="20"/>
                    </a:moveTo>
                    <a:cubicBezTo>
                      <a:pt x="4" y="20"/>
                      <a:pt x="0" y="15"/>
                      <a:pt x="0" y="10"/>
                    </a:cubicBezTo>
                    <a:cubicBezTo>
                      <a:pt x="0" y="4"/>
                      <a:pt x="5" y="0"/>
                      <a:pt x="10" y="0"/>
                    </a:cubicBezTo>
                    <a:cubicBezTo>
                      <a:pt x="16" y="0"/>
                      <a:pt x="20" y="5"/>
                      <a:pt x="20" y="11"/>
                    </a:cubicBezTo>
                    <a:cubicBezTo>
                      <a:pt x="19" y="16"/>
                      <a:pt x="15" y="20"/>
                      <a:pt x="9" y="20"/>
                    </a:cubicBezTo>
                    <a:close/>
                  </a:path>
                </a:pathLst>
              </a:custGeom>
              <a:grpFill/>
              <a:ln w="12700" cap="flat">
                <a:solidFill>
                  <a:schemeClr val="tx1">
                    <a:lumMod val="90000"/>
                    <a:lumOff val="10000"/>
                  </a:schemeClr>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grpSp>
      </p:grpSp>
      <p:grpSp>
        <p:nvGrpSpPr>
          <p:cNvPr id="98" name="Group 97">
            <a:extLst>
              <a:ext uri="{FF2B5EF4-FFF2-40B4-BE49-F238E27FC236}">
                <a16:creationId xmlns:a16="http://schemas.microsoft.com/office/drawing/2014/main" id="{6CFA795A-9D84-4660-976A-6A1171C93D5A}"/>
              </a:ext>
            </a:extLst>
          </p:cNvPr>
          <p:cNvGrpSpPr/>
          <p:nvPr/>
        </p:nvGrpSpPr>
        <p:grpSpPr>
          <a:xfrm>
            <a:off x="9324150" y="2388215"/>
            <a:ext cx="512859" cy="512859"/>
            <a:chOff x="-963895" y="2293009"/>
            <a:chExt cx="502920" cy="502920"/>
          </a:xfrm>
        </p:grpSpPr>
        <p:sp useBgFill="1">
          <p:nvSpPr>
            <p:cNvPr id="99" name="Oval 98">
              <a:extLst>
                <a:ext uri="{FF2B5EF4-FFF2-40B4-BE49-F238E27FC236}">
                  <a16:creationId xmlns:a16="http://schemas.microsoft.com/office/drawing/2014/main" id="{2F0B0597-B728-4CCC-BB9C-8F259CB227A9}"/>
                </a:ext>
              </a:extLst>
            </p:cNvPr>
            <p:cNvSpPr/>
            <p:nvPr/>
          </p:nvSpPr>
          <p:spPr bwMode="auto">
            <a:xfrm>
              <a:off x="-963895" y="2293009"/>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eye_2">
              <a:extLst>
                <a:ext uri="{FF2B5EF4-FFF2-40B4-BE49-F238E27FC236}">
                  <a16:creationId xmlns:a16="http://schemas.microsoft.com/office/drawing/2014/main" id="{274E6AB3-A705-4306-976B-468ED42378FB}"/>
                </a:ext>
              </a:extLst>
            </p:cNvPr>
            <p:cNvSpPr>
              <a:spLocks noChangeAspect="1" noEditPoints="1"/>
            </p:cNvSpPr>
            <p:nvPr/>
          </p:nvSpPr>
          <p:spPr bwMode="auto">
            <a:xfrm>
              <a:off x="-842316" y="2472405"/>
              <a:ext cx="259763" cy="144129"/>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noFill/>
            <a:ln w="1270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grpSp>
      <p:grpSp>
        <p:nvGrpSpPr>
          <p:cNvPr id="101" name="Group 100">
            <a:extLst>
              <a:ext uri="{FF2B5EF4-FFF2-40B4-BE49-F238E27FC236}">
                <a16:creationId xmlns:a16="http://schemas.microsoft.com/office/drawing/2014/main" id="{9A5FDDF6-9EE4-42E4-BEBA-B2355189E883}"/>
              </a:ext>
            </a:extLst>
          </p:cNvPr>
          <p:cNvGrpSpPr/>
          <p:nvPr/>
        </p:nvGrpSpPr>
        <p:grpSpPr>
          <a:xfrm>
            <a:off x="5789147" y="999028"/>
            <a:ext cx="512859" cy="512859"/>
            <a:chOff x="-963895" y="1747934"/>
            <a:chExt cx="502920" cy="502920"/>
          </a:xfrm>
        </p:grpSpPr>
        <p:sp useBgFill="1">
          <p:nvSpPr>
            <p:cNvPr id="102" name="Oval 101">
              <a:extLst>
                <a:ext uri="{FF2B5EF4-FFF2-40B4-BE49-F238E27FC236}">
                  <a16:creationId xmlns:a16="http://schemas.microsoft.com/office/drawing/2014/main" id="{EECD5D5D-8D80-4E66-9818-9F7F1DBB12D4}"/>
                </a:ext>
              </a:extLst>
            </p:cNvPr>
            <p:cNvSpPr/>
            <p:nvPr/>
          </p:nvSpPr>
          <p:spPr bwMode="auto">
            <a:xfrm>
              <a:off x="-963895" y="1747934"/>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mail">
              <a:extLst>
                <a:ext uri="{FF2B5EF4-FFF2-40B4-BE49-F238E27FC236}">
                  <a16:creationId xmlns:a16="http://schemas.microsoft.com/office/drawing/2014/main" id="{F5528A1D-E665-4B89-A712-CC07025F6BBE}"/>
                </a:ext>
              </a:extLst>
            </p:cNvPr>
            <p:cNvSpPr>
              <a:spLocks noChangeAspect="1" noEditPoints="1"/>
            </p:cNvSpPr>
            <p:nvPr/>
          </p:nvSpPr>
          <p:spPr bwMode="auto">
            <a:xfrm>
              <a:off x="-806420" y="1943003"/>
              <a:ext cx="187970" cy="112783"/>
            </a:xfrm>
            <a:custGeom>
              <a:avLst/>
              <a:gdLst>
                <a:gd name="T0" fmla="*/ 245 w 245"/>
                <a:gd name="T1" fmla="*/ 75 h 147"/>
                <a:gd name="T2" fmla="*/ 245 w 245"/>
                <a:gd name="T3" fmla="*/ 147 h 147"/>
                <a:gd name="T4" fmla="*/ 0 w 245"/>
                <a:gd name="T5" fmla="*/ 147 h 147"/>
                <a:gd name="T6" fmla="*/ 0 w 245"/>
                <a:gd name="T7" fmla="*/ 0 h 147"/>
                <a:gd name="T8" fmla="*/ 245 w 245"/>
                <a:gd name="T9" fmla="*/ 0 h 147"/>
                <a:gd name="T10" fmla="*/ 245 w 245"/>
                <a:gd name="T11" fmla="*/ 75 h 147"/>
                <a:gd name="T12" fmla="*/ 0 w 245"/>
                <a:gd name="T13" fmla="*/ 0 h 147"/>
                <a:gd name="T14" fmla="*/ 123 w 245"/>
                <a:gd name="T15" fmla="*/ 73 h 147"/>
                <a:gd name="T16" fmla="*/ 245 w 245"/>
                <a:gd name="T1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5" h="147">
                  <a:moveTo>
                    <a:pt x="245" y="75"/>
                  </a:moveTo>
                  <a:lnTo>
                    <a:pt x="245" y="147"/>
                  </a:lnTo>
                  <a:lnTo>
                    <a:pt x="0" y="147"/>
                  </a:lnTo>
                  <a:lnTo>
                    <a:pt x="0" y="0"/>
                  </a:lnTo>
                  <a:lnTo>
                    <a:pt x="245" y="0"/>
                  </a:lnTo>
                  <a:lnTo>
                    <a:pt x="245" y="75"/>
                  </a:lnTo>
                  <a:moveTo>
                    <a:pt x="0" y="0"/>
                  </a:moveTo>
                  <a:lnTo>
                    <a:pt x="123" y="73"/>
                  </a:lnTo>
                  <a:lnTo>
                    <a:pt x="245" y="0"/>
                  </a:lnTo>
                </a:path>
              </a:pathLst>
            </a:custGeom>
            <a:noFill/>
            <a:ln w="1270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grpSp>
      <p:grpSp>
        <p:nvGrpSpPr>
          <p:cNvPr id="104" name="Group 103">
            <a:extLst>
              <a:ext uri="{FF2B5EF4-FFF2-40B4-BE49-F238E27FC236}">
                <a16:creationId xmlns:a16="http://schemas.microsoft.com/office/drawing/2014/main" id="{1F993BBB-C320-468B-AA83-691AF168CEB3}"/>
              </a:ext>
            </a:extLst>
          </p:cNvPr>
          <p:cNvGrpSpPr/>
          <p:nvPr/>
        </p:nvGrpSpPr>
        <p:grpSpPr>
          <a:xfrm>
            <a:off x="5788752" y="5459848"/>
            <a:ext cx="512859" cy="512859"/>
            <a:chOff x="-963895" y="4473309"/>
            <a:chExt cx="502920" cy="502920"/>
          </a:xfrm>
        </p:grpSpPr>
        <p:sp useBgFill="1">
          <p:nvSpPr>
            <p:cNvPr id="105" name="Oval 104">
              <a:extLst>
                <a:ext uri="{FF2B5EF4-FFF2-40B4-BE49-F238E27FC236}">
                  <a16:creationId xmlns:a16="http://schemas.microsoft.com/office/drawing/2014/main" id="{91ED2BC1-9C4C-4B8F-A27E-3C71F0AA6D08}"/>
                </a:ext>
              </a:extLst>
            </p:cNvPr>
            <p:cNvSpPr/>
            <p:nvPr/>
          </p:nvSpPr>
          <p:spPr bwMode="auto">
            <a:xfrm>
              <a:off x="-963895" y="4473309"/>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6" name="Group 105">
              <a:extLst>
                <a:ext uri="{FF2B5EF4-FFF2-40B4-BE49-F238E27FC236}">
                  <a16:creationId xmlns:a16="http://schemas.microsoft.com/office/drawing/2014/main" id="{EFBE16C0-29AF-403D-8F19-775810915157}"/>
                </a:ext>
              </a:extLst>
            </p:cNvPr>
            <p:cNvGrpSpPr/>
            <p:nvPr/>
          </p:nvGrpSpPr>
          <p:grpSpPr>
            <a:xfrm>
              <a:off x="-805076" y="4644436"/>
              <a:ext cx="185282" cy="160666"/>
              <a:chOff x="3000375" y="3415903"/>
              <a:chExt cx="205973" cy="178608"/>
            </a:xfrm>
            <a:noFill/>
          </p:grpSpPr>
          <p:sp>
            <p:nvSpPr>
              <p:cNvPr id="107" name="people_4">
                <a:extLst>
                  <a:ext uri="{FF2B5EF4-FFF2-40B4-BE49-F238E27FC236}">
                    <a16:creationId xmlns:a16="http://schemas.microsoft.com/office/drawing/2014/main" id="{9BE08108-4952-43D0-B3AE-6131DC837BF1}"/>
                  </a:ext>
                </a:extLst>
              </p:cNvPr>
              <p:cNvSpPr>
                <a:spLocks noChangeAspect="1" noEditPoints="1"/>
              </p:cNvSpPr>
              <p:nvPr/>
            </p:nvSpPr>
            <p:spPr bwMode="auto">
              <a:xfrm flipH="1">
                <a:off x="3000375" y="3429290"/>
                <a:ext cx="147784" cy="16522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grpSp>
            <p:nvGrpSpPr>
              <p:cNvPr id="108" name="Group 107">
                <a:extLst>
                  <a:ext uri="{FF2B5EF4-FFF2-40B4-BE49-F238E27FC236}">
                    <a16:creationId xmlns:a16="http://schemas.microsoft.com/office/drawing/2014/main" id="{A60C1B52-5686-41CB-8E84-A70EFD512E0E}"/>
                  </a:ext>
                </a:extLst>
              </p:cNvPr>
              <p:cNvGrpSpPr/>
              <p:nvPr/>
            </p:nvGrpSpPr>
            <p:grpSpPr>
              <a:xfrm>
                <a:off x="3140463" y="3415903"/>
                <a:ext cx="65885" cy="123826"/>
                <a:chOff x="2866921" y="3947319"/>
                <a:chExt cx="103684" cy="194866"/>
              </a:xfrm>
              <a:grpFill/>
            </p:grpSpPr>
            <p:sp>
              <p:nvSpPr>
                <p:cNvPr id="109" name="Oval 5">
                  <a:extLst>
                    <a:ext uri="{FF2B5EF4-FFF2-40B4-BE49-F238E27FC236}">
                      <a16:creationId xmlns:a16="http://schemas.microsoft.com/office/drawing/2014/main" id="{A3B46778-8AF2-406F-8F45-6105861BABD3}"/>
                    </a:ext>
                  </a:extLst>
                </p:cNvPr>
                <p:cNvSpPr/>
                <p:nvPr/>
              </p:nvSpPr>
              <p:spPr bwMode="auto">
                <a:xfrm>
                  <a:off x="2904207" y="3947319"/>
                  <a:ext cx="66398" cy="194866"/>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noFill/>
                <a:ln w="1270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sp>
              <p:nvSpPr>
                <p:cNvPr id="110" name="Oval 5">
                  <a:extLst>
                    <a:ext uri="{FF2B5EF4-FFF2-40B4-BE49-F238E27FC236}">
                      <a16:creationId xmlns:a16="http://schemas.microsoft.com/office/drawing/2014/main" id="{91BDD6F7-A76C-4B62-A7AD-636741FC3048}"/>
                    </a:ext>
                  </a:extLst>
                </p:cNvPr>
                <p:cNvSpPr/>
                <p:nvPr/>
              </p:nvSpPr>
              <p:spPr bwMode="auto">
                <a:xfrm>
                  <a:off x="2866921" y="3977662"/>
                  <a:ext cx="45720" cy="134180"/>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noFill/>
                <a:ln w="1270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grpSp>
        </p:grpSp>
      </p:grpSp>
      <p:grpSp>
        <p:nvGrpSpPr>
          <p:cNvPr id="111" name="Group 110">
            <a:extLst>
              <a:ext uri="{FF2B5EF4-FFF2-40B4-BE49-F238E27FC236}">
                <a16:creationId xmlns:a16="http://schemas.microsoft.com/office/drawing/2014/main" id="{297FE683-99FA-499D-9BA3-ECF1BED8BC67}"/>
              </a:ext>
            </a:extLst>
          </p:cNvPr>
          <p:cNvGrpSpPr/>
          <p:nvPr/>
        </p:nvGrpSpPr>
        <p:grpSpPr>
          <a:xfrm>
            <a:off x="5721966" y="4795345"/>
            <a:ext cx="512859" cy="512859"/>
            <a:chOff x="-963895" y="657784"/>
            <a:chExt cx="502920" cy="502920"/>
          </a:xfrm>
        </p:grpSpPr>
        <p:sp useBgFill="1">
          <p:nvSpPr>
            <p:cNvPr id="112" name="Oval 111">
              <a:extLst>
                <a:ext uri="{FF2B5EF4-FFF2-40B4-BE49-F238E27FC236}">
                  <a16:creationId xmlns:a16="http://schemas.microsoft.com/office/drawing/2014/main" id="{2E68F7E9-63E7-44A8-9008-B55341DDBF15}"/>
                </a:ext>
              </a:extLst>
            </p:cNvPr>
            <p:cNvSpPr/>
            <p:nvPr/>
          </p:nvSpPr>
          <p:spPr bwMode="auto">
            <a:xfrm>
              <a:off x="-963895" y="657784"/>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directory_2">
              <a:extLst>
                <a:ext uri="{FF2B5EF4-FFF2-40B4-BE49-F238E27FC236}">
                  <a16:creationId xmlns:a16="http://schemas.microsoft.com/office/drawing/2014/main" id="{FF47906A-52E9-4D4C-BE77-E2633928724C}"/>
                </a:ext>
              </a:extLst>
            </p:cNvPr>
            <p:cNvSpPr>
              <a:spLocks noChangeAspect="1" noEditPoints="1"/>
            </p:cNvSpPr>
            <p:nvPr/>
          </p:nvSpPr>
          <p:spPr bwMode="auto">
            <a:xfrm>
              <a:off x="-820034" y="801178"/>
              <a:ext cx="215198" cy="216133"/>
            </a:xfrm>
            <a:custGeom>
              <a:avLst/>
              <a:gdLst>
                <a:gd name="T0" fmla="*/ 91 w 317"/>
                <a:gd name="T1" fmla="*/ 135 h 318"/>
                <a:gd name="T2" fmla="*/ 126 w 317"/>
                <a:gd name="T3" fmla="*/ 100 h 318"/>
                <a:gd name="T4" fmla="*/ 162 w 317"/>
                <a:gd name="T5" fmla="*/ 135 h 318"/>
                <a:gd name="T6" fmla="*/ 126 w 317"/>
                <a:gd name="T7" fmla="*/ 170 h 318"/>
                <a:gd name="T8" fmla="*/ 91 w 317"/>
                <a:gd name="T9" fmla="*/ 135 h 318"/>
                <a:gd name="T10" fmla="*/ 190 w 317"/>
                <a:gd name="T11" fmla="*/ 234 h 318"/>
                <a:gd name="T12" fmla="*/ 126 w 317"/>
                <a:gd name="T13" fmla="*/ 170 h 318"/>
                <a:gd name="T14" fmla="*/ 63 w 317"/>
                <a:gd name="T15" fmla="*/ 234 h 318"/>
                <a:gd name="T16" fmla="*/ 0 w 317"/>
                <a:gd name="T17" fmla="*/ 284 h 318"/>
                <a:gd name="T18" fmla="*/ 34 w 317"/>
                <a:gd name="T19" fmla="*/ 318 h 318"/>
                <a:gd name="T20" fmla="*/ 283 w 317"/>
                <a:gd name="T21" fmla="*/ 318 h 318"/>
                <a:gd name="T22" fmla="*/ 317 w 317"/>
                <a:gd name="T23" fmla="*/ 284 h 318"/>
                <a:gd name="T24" fmla="*/ 317 w 317"/>
                <a:gd name="T25" fmla="*/ 35 h 318"/>
                <a:gd name="T26" fmla="*/ 283 w 317"/>
                <a:gd name="T27" fmla="*/ 1 h 318"/>
                <a:gd name="T28" fmla="*/ 34 w 317"/>
                <a:gd name="T29" fmla="*/ 1 h 318"/>
                <a:gd name="T30" fmla="*/ 0 w 317"/>
                <a:gd name="T31" fmla="*/ 35 h 318"/>
                <a:gd name="T32" fmla="*/ 0 w 317"/>
                <a:gd name="T33" fmla="*/ 284 h 318"/>
                <a:gd name="T34" fmla="*/ 239 w 317"/>
                <a:gd name="T35" fmla="*/ 318 h 318"/>
                <a:gd name="T36" fmla="*/ 239 w 317"/>
                <a:gd name="T37" fmla="*/ 0 h 318"/>
                <a:gd name="T38" fmla="*/ 239 w 317"/>
                <a:gd name="T39" fmla="*/ 107 h 318"/>
                <a:gd name="T40" fmla="*/ 317 w 317"/>
                <a:gd name="T41" fmla="*/ 107 h 318"/>
                <a:gd name="T42" fmla="*/ 239 w 317"/>
                <a:gd name="T43" fmla="*/ 212 h 318"/>
                <a:gd name="T44" fmla="*/ 317 w 317"/>
                <a:gd name="T45" fmla="*/ 21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7" h="318">
                  <a:moveTo>
                    <a:pt x="91" y="135"/>
                  </a:moveTo>
                  <a:cubicBezTo>
                    <a:pt x="91" y="115"/>
                    <a:pt x="107" y="100"/>
                    <a:pt x="126" y="100"/>
                  </a:cubicBezTo>
                  <a:cubicBezTo>
                    <a:pt x="146" y="100"/>
                    <a:pt x="162" y="115"/>
                    <a:pt x="162" y="135"/>
                  </a:cubicBezTo>
                  <a:cubicBezTo>
                    <a:pt x="162" y="154"/>
                    <a:pt x="146" y="170"/>
                    <a:pt x="126" y="170"/>
                  </a:cubicBezTo>
                  <a:cubicBezTo>
                    <a:pt x="107" y="170"/>
                    <a:pt x="91" y="154"/>
                    <a:pt x="91" y="135"/>
                  </a:cubicBezTo>
                  <a:close/>
                  <a:moveTo>
                    <a:pt x="190" y="234"/>
                  </a:moveTo>
                  <a:cubicBezTo>
                    <a:pt x="190" y="198"/>
                    <a:pt x="161" y="170"/>
                    <a:pt x="126" y="170"/>
                  </a:cubicBezTo>
                  <a:cubicBezTo>
                    <a:pt x="92" y="170"/>
                    <a:pt x="63" y="198"/>
                    <a:pt x="63" y="234"/>
                  </a:cubicBezTo>
                  <a:moveTo>
                    <a:pt x="0" y="284"/>
                  </a:moveTo>
                  <a:cubicBezTo>
                    <a:pt x="0" y="303"/>
                    <a:pt x="15" y="318"/>
                    <a:pt x="34" y="318"/>
                  </a:cubicBezTo>
                  <a:cubicBezTo>
                    <a:pt x="283" y="318"/>
                    <a:pt x="283" y="318"/>
                    <a:pt x="283" y="318"/>
                  </a:cubicBezTo>
                  <a:cubicBezTo>
                    <a:pt x="301" y="318"/>
                    <a:pt x="317" y="303"/>
                    <a:pt x="317" y="284"/>
                  </a:cubicBezTo>
                  <a:cubicBezTo>
                    <a:pt x="317" y="35"/>
                    <a:pt x="317" y="35"/>
                    <a:pt x="317" y="35"/>
                  </a:cubicBezTo>
                  <a:cubicBezTo>
                    <a:pt x="317" y="16"/>
                    <a:pt x="301" y="1"/>
                    <a:pt x="283" y="1"/>
                  </a:cubicBezTo>
                  <a:cubicBezTo>
                    <a:pt x="34" y="1"/>
                    <a:pt x="34" y="1"/>
                    <a:pt x="34" y="1"/>
                  </a:cubicBezTo>
                  <a:cubicBezTo>
                    <a:pt x="15" y="1"/>
                    <a:pt x="0" y="16"/>
                    <a:pt x="0" y="35"/>
                  </a:cubicBezTo>
                  <a:lnTo>
                    <a:pt x="0" y="284"/>
                  </a:lnTo>
                  <a:close/>
                  <a:moveTo>
                    <a:pt x="239" y="318"/>
                  </a:moveTo>
                  <a:cubicBezTo>
                    <a:pt x="239" y="0"/>
                    <a:pt x="239" y="0"/>
                    <a:pt x="239" y="0"/>
                  </a:cubicBezTo>
                  <a:moveTo>
                    <a:pt x="239" y="107"/>
                  </a:moveTo>
                  <a:cubicBezTo>
                    <a:pt x="317" y="107"/>
                    <a:pt x="317" y="107"/>
                    <a:pt x="317" y="107"/>
                  </a:cubicBezTo>
                  <a:moveTo>
                    <a:pt x="239" y="212"/>
                  </a:moveTo>
                  <a:cubicBezTo>
                    <a:pt x="317" y="212"/>
                    <a:pt x="317" y="212"/>
                    <a:pt x="317" y="212"/>
                  </a:cubicBezTo>
                </a:path>
              </a:pathLst>
            </a:custGeom>
            <a:noFill/>
            <a:ln w="1270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grpSp>
      <p:grpSp>
        <p:nvGrpSpPr>
          <p:cNvPr id="114" name="Group 113">
            <a:extLst>
              <a:ext uri="{FF2B5EF4-FFF2-40B4-BE49-F238E27FC236}">
                <a16:creationId xmlns:a16="http://schemas.microsoft.com/office/drawing/2014/main" id="{012AFB75-CB75-43A9-A7E3-8852E0C7DE40}"/>
              </a:ext>
            </a:extLst>
          </p:cNvPr>
          <p:cNvGrpSpPr/>
          <p:nvPr/>
        </p:nvGrpSpPr>
        <p:grpSpPr>
          <a:xfrm>
            <a:off x="4648211" y="2706033"/>
            <a:ext cx="512859" cy="512859"/>
            <a:chOff x="-963895" y="3383159"/>
            <a:chExt cx="502920" cy="502920"/>
          </a:xfrm>
        </p:grpSpPr>
        <p:sp useBgFill="1">
          <p:nvSpPr>
            <p:cNvPr id="115" name="Oval 114">
              <a:extLst>
                <a:ext uri="{FF2B5EF4-FFF2-40B4-BE49-F238E27FC236}">
                  <a16:creationId xmlns:a16="http://schemas.microsoft.com/office/drawing/2014/main" id="{19C0A5CC-D484-4A0A-A1F4-5CAA75767890}"/>
                </a:ext>
              </a:extLst>
            </p:cNvPr>
            <p:cNvSpPr/>
            <p:nvPr/>
          </p:nvSpPr>
          <p:spPr bwMode="auto">
            <a:xfrm>
              <a:off x="-963895" y="3383159"/>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6" name="Group 115">
              <a:extLst>
                <a:ext uri="{FF2B5EF4-FFF2-40B4-BE49-F238E27FC236}">
                  <a16:creationId xmlns:a16="http://schemas.microsoft.com/office/drawing/2014/main" id="{F85C94EA-82BA-4C27-82CA-0861FC3628D0}"/>
                </a:ext>
              </a:extLst>
            </p:cNvPr>
            <p:cNvGrpSpPr/>
            <p:nvPr/>
          </p:nvGrpSpPr>
          <p:grpSpPr>
            <a:xfrm>
              <a:off x="-826557" y="3533862"/>
              <a:ext cx="228245" cy="201514"/>
              <a:chOff x="2145576" y="1852136"/>
              <a:chExt cx="291291" cy="257176"/>
            </a:xfrm>
            <a:noFill/>
          </p:grpSpPr>
          <p:sp>
            <p:nvSpPr>
              <p:cNvPr id="117" name="people_17">
                <a:extLst>
                  <a:ext uri="{FF2B5EF4-FFF2-40B4-BE49-F238E27FC236}">
                    <a16:creationId xmlns:a16="http://schemas.microsoft.com/office/drawing/2014/main" id="{5BC75A47-A972-45CE-A178-D8C56AF3B679}"/>
                  </a:ext>
                </a:extLst>
              </p:cNvPr>
              <p:cNvSpPr>
                <a:spLocks noChangeAspect="1" noEditPoints="1"/>
              </p:cNvSpPr>
              <p:nvPr/>
            </p:nvSpPr>
            <p:spPr bwMode="auto">
              <a:xfrm>
                <a:off x="2215982" y="1871414"/>
                <a:ext cx="150479" cy="218620"/>
              </a:xfrm>
              <a:custGeom>
                <a:avLst/>
                <a:gdLst>
                  <a:gd name="T0" fmla="*/ 69 w 219"/>
                  <a:gd name="T1" fmla="*/ 33 h 318"/>
                  <a:gd name="T2" fmla="*/ 103 w 219"/>
                  <a:gd name="T3" fmla="*/ 0 h 318"/>
                  <a:gd name="T4" fmla="*/ 136 w 219"/>
                  <a:gd name="T5" fmla="*/ 33 h 318"/>
                  <a:gd name="T6" fmla="*/ 103 w 219"/>
                  <a:gd name="T7" fmla="*/ 67 h 318"/>
                  <a:gd name="T8" fmla="*/ 69 w 219"/>
                  <a:gd name="T9" fmla="*/ 33 h 318"/>
                  <a:gd name="T10" fmla="*/ 34 w 219"/>
                  <a:gd name="T11" fmla="*/ 192 h 318"/>
                  <a:gd name="T12" fmla="*/ 9 w 219"/>
                  <a:gd name="T13" fmla="*/ 295 h 318"/>
                  <a:gd name="T14" fmla="*/ 33 w 219"/>
                  <a:gd name="T15" fmla="*/ 318 h 318"/>
                  <a:gd name="T16" fmla="*/ 56 w 219"/>
                  <a:gd name="T17" fmla="*/ 295 h 318"/>
                  <a:gd name="T18" fmla="*/ 74 w 219"/>
                  <a:gd name="T19" fmla="*/ 206 h 318"/>
                  <a:gd name="T20" fmla="*/ 122 w 219"/>
                  <a:gd name="T21" fmla="*/ 255 h 318"/>
                  <a:gd name="T22" fmla="*/ 122 w 219"/>
                  <a:gd name="T23" fmla="*/ 295 h 318"/>
                  <a:gd name="T24" fmla="*/ 146 w 219"/>
                  <a:gd name="T25" fmla="*/ 318 h 318"/>
                  <a:gd name="T26" fmla="*/ 169 w 219"/>
                  <a:gd name="T27" fmla="*/ 295 h 318"/>
                  <a:gd name="T28" fmla="*/ 168 w 219"/>
                  <a:gd name="T29" fmla="*/ 235 h 318"/>
                  <a:gd name="T30" fmla="*/ 114 w 219"/>
                  <a:gd name="T31" fmla="*/ 180 h 318"/>
                  <a:gd name="T32" fmla="*/ 125 w 219"/>
                  <a:gd name="T33" fmla="*/ 130 h 318"/>
                  <a:gd name="T34" fmla="*/ 146 w 219"/>
                  <a:gd name="T35" fmla="*/ 153 h 318"/>
                  <a:gd name="T36" fmla="*/ 195 w 219"/>
                  <a:gd name="T37" fmla="*/ 153 h 318"/>
                  <a:gd name="T38" fmla="*/ 219 w 219"/>
                  <a:gd name="T39" fmla="*/ 129 h 318"/>
                  <a:gd name="T40" fmla="*/ 195 w 219"/>
                  <a:gd name="T41" fmla="*/ 106 h 318"/>
                  <a:gd name="T42" fmla="*/ 166 w 219"/>
                  <a:gd name="T43" fmla="*/ 106 h 318"/>
                  <a:gd name="T44" fmla="*/ 125 w 219"/>
                  <a:gd name="T45" fmla="*/ 67 h 318"/>
                  <a:gd name="T46" fmla="*/ 55 w 219"/>
                  <a:gd name="T47" fmla="*/ 67 h 318"/>
                  <a:gd name="T48" fmla="*/ 0 w 219"/>
                  <a:gd name="T49" fmla="*/ 95 h 318"/>
                  <a:gd name="T50" fmla="*/ 0 w 219"/>
                  <a:gd name="T51" fmla="*/ 168 h 318"/>
                  <a:gd name="T52" fmla="*/ 24 w 219"/>
                  <a:gd name="T53" fmla="*/ 192 h 318"/>
                  <a:gd name="T54" fmla="*/ 47 w 219"/>
                  <a:gd name="T55" fmla="*/ 168 h 318"/>
                  <a:gd name="T56" fmla="*/ 47 w 219"/>
                  <a:gd name="T57" fmla="*/ 123 h 318"/>
                  <a:gd name="T58" fmla="*/ 73 w 219"/>
                  <a:gd name="T59" fmla="*/ 11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318">
                    <a:moveTo>
                      <a:pt x="69" y="33"/>
                    </a:moveTo>
                    <a:cubicBezTo>
                      <a:pt x="69" y="15"/>
                      <a:pt x="84" y="0"/>
                      <a:pt x="103" y="0"/>
                    </a:cubicBezTo>
                    <a:cubicBezTo>
                      <a:pt x="121" y="0"/>
                      <a:pt x="136" y="15"/>
                      <a:pt x="136" y="33"/>
                    </a:cubicBezTo>
                    <a:cubicBezTo>
                      <a:pt x="136" y="52"/>
                      <a:pt x="121" y="67"/>
                      <a:pt x="103" y="67"/>
                    </a:cubicBezTo>
                    <a:cubicBezTo>
                      <a:pt x="84" y="67"/>
                      <a:pt x="69" y="52"/>
                      <a:pt x="69" y="33"/>
                    </a:cubicBezTo>
                    <a:close/>
                    <a:moveTo>
                      <a:pt x="34" y="192"/>
                    </a:moveTo>
                    <a:cubicBezTo>
                      <a:pt x="9" y="295"/>
                      <a:pt x="9" y="295"/>
                      <a:pt x="9" y="295"/>
                    </a:cubicBezTo>
                    <a:cubicBezTo>
                      <a:pt x="9" y="308"/>
                      <a:pt x="20" y="318"/>
                      <a:pt x="33" y="318"/>
                    </a:cubicBezTo>
                    <a:cubicBezTo>
                      <a:pt x="46" y="318"/>
                      <a:pt x="56" y="308"/>
                      <a:pt x="56" y="295"/>
                    </a:cubicBezTo>
                    <a:cubicBezTo>
                      <a:pt x="74" y="206"/>
                      <a:pt x="74" y="206"/>
                      <a:pt x="74" y="206"/>
                    </a:cubicBezTo>
                    <a:cubicBezTo>
                      <a:pt x="122" y="255"/>
                      <a:pt x="122" y="255"/>
                      <a:pt x="122" y="255"/>
                    </a:cubicBezTo>
                    <a:cubicBezTo>
                      <a:pt x="122" y="295"/>
                      <a:pt x="122" y="295"/>
                      <a:pt x="122" y="295"/>
                    </a:cubicBezTo>
                    <a:cubicBezTo>
                      <a:pt x="122" y="308"/>
                      <a:pt x="133" y="318"/>
                      <a:pt x="146" y="318"/>
                    </a:cubicBezTo>
                    <a:cubicBezTo>
                      <a:pt x="159" y="318"/>
                      <a:pt x="169" y="308"/>
                      <a:pt x="169" y="295"/>
                    </a:cubicBezTo>
                    <a:cubicBezTo>
                      <a:pt x="168" y="235"/>
                      <a:pt x="168" y="235"/>
                      <a:pt x="168" y="235"/>
                    </a:cubicBezTo>
                    <a:cubicBezTo>
                      <a:pt x="114" y="180"/>
                      <a:pt x="114" y="180"/>
                      <a:pt x="114" y="180"/>
                    </a:cubicBezTo>
                    <a:cubicBezTo>
                      <a:pt x="125" y="130"/>
                      <a:pt x="125" y="130"/>
                      <a:pt x="125" y="130"/>
                    </a:cubicBezTo>
                    <a:cubicBezTo>
                      <a:pt x="146" y="153"/>
                      <a:pt x="146" y="153"/>
                      <a:pt x="146" y="153"/>
                    </a:cubicBezTo>
                    <a:cubicBezTo>
                      <a:pt x="195" y="153"/>
                      <a:pt x="195" y="153"/>
                      <a:pt x="195" y="153"/>
                    </a:cubicBezTo>
                    <a:cubicBezTo>
                      <a:pt x="208" y="153"/>
                      <a:pt x="219" y="142"/>
                      <a:pt x="219" y="129"/>
                    </a:cubicBezTo>
                    <a:cubicBezTo>
                      <a:pt x="219" y="116"/>
                      <a:pt x="208" y="106"/>
                      <a:pt x="195" y="106"/>
                    </a:cubicBezTo>
                    <a:cubicBezTo>
                      <a:pt x="166" y="106"/>
                      <a:pt x="166" y="106"/>
                      <a:pt x="166" y="106"/>
                    </a:cubicBezTo>
                    <a:cubicBezTo>
                      <a:pt x="125" y="67"/>
                      <a:pt x="125" y="67"/>
                      <a:pt x="125" y="67"/>
                    </a:cubicBezTo>
                    <a:cubicBezTo>
                      <a:pt x="55" y="67"/>
                      <a:pt x="55" y="67"/>
                      <a:pt x="55" y="67"/>
                    </a:cubicBezTo>
                    <a:cubicBezTo>
                      <a:pt x="0" y="95"/>
                      <a:pt x="0" y="95"/>
                      <a:pt x="0" y="95"/>
                    </a:cubicBezTo>
                    <a:cubicBezTo>
                      <a:pt x="0" y="168"/>
                      <a:pt x="0" y="168"/>
                      <a:pt x="0" y="168"/>
                    </a:cubicBezTo>
                    <a:cubicBezTo>
                      <a:pt x="0" y="182"/>
                      <a:pt x="11" y="192"/>
                      <a:pt x="24" y="192"/>
                    </a:cubicBezTo>
                    <a:cubicBezTo>
                      <a:pt x="37" y="192"/>
                      <a:pt x="47" y="182"/>
                      <a:pt x="47" y="168"/>
                    </a:cubicBezTo>
                    <a:cubicBezTo>
                      <a:pt x="47" y="123"/>
                      <a:pt x="47" y="123"/>
                      <a:pt x="47" y="123"/>
                    </a:cubicBezTo>
                    <a:cubicBezTo>
                      <a:pt x="73" y="110"/>
                      <a:pt x="73" y="110"/>
                      <a:pt x="73" y="110"/>
                    </a:cubicBezTo>
                  </a:path>
                </a:pathLst>
              </a:custGeom>
              <a:noFill/>
              <a:ln w="1270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grpSp>
            <p:nvGrpSpPr>
              <p:cNvPr id="118" name="Group 117">
                <a:extLst>
                  <a:ext uri="{FF2B5EF4-FFF2-40B4-BE49-F238E27FC236}">
                    <a16:creationId xmlns:a16="http://schemas.microsoft.com/office/drawing/2014/main" id="{1199E757-FE9A-42D1-9D53-637147AC366B}"/>
                  </a:ext>
                </a:extLst>
              </p:cNvPr>
              <p:cNvGrpSpPr/>
              <p:nvPr/>
            </p:nvGrpSpPr>
            <p:grpSpPr>
              <a:xfrm>
                <a:off x="2145576" y="1852136"/>
                <a:ext cx="291291" cy="257176"/>
                <a:chOff x="7206762" y="3013463"/>
                <a:chExt cx="291291" cy="257176"/>
              </a:xfrm>
              <a:grpFill/>
            </p:grpSpPr>
            <p:sp>
              <p:nvSpPr>
                <p:cNvPr id="119" name="Rectangle 12">
                  <a:extLst>
                    <a:ext uri="{FF2B5EF4-FFF2-40B4-BE49-F238E27FC236}">
                      <a16:creationId xmlns:a16="http://schemas.microsoft.com/office/drawing/2014/main" id="{0F8608CA-AB58-4907-B6A6-AB6EE4A9021A}"/>
                    </a:ext>
                  </a:extLst>
                </p:cNvPr>
                <p:cNvSpPr/>
                <p:nvPr/>
              </p:nvSpPr>
              <p:spPr bwMode="auto">
                <a:xfrm>
                  <a:off x="7206762" y="3013463"/>
                  <a:ext cx="49861" cy="49861"/>
                </a:xfrm>
                <a:custGeom>
                  <a:avLst/>
                  <a:gdLst>
                    <a:gd name="connsiteX0" fmla="*/ 0 w 236220"/>
                    <a:gd name="connsiteY0" fmla="*/ 0 h 236220"/>
                    <a:gd name="connsiteX1" fmla="*/ 236220 w 236220"/>
                    <a:gd name="connsiteY1" fmla="*/ 0 h 236220"/>
                    <a:gd name="connsiteX2" fmla="*/ 236220 w 236220"/>
                    <a:gd name="connsiteY2" fmla="*/ 236220 h 236220"/>
                    <a:gd name="connsiteX3" fmla="*/ 0 w 236220"/>
                    <a:gd name="connsiteY3" fmla="*/ 236220 h 236220"/>
                    <a:gd name="connsiteX4" fmla="*/ 0 w 236220"/>
                    <a:gd name="connsiteY4" fmla="*/ 0 h 236220"/>
                    <a:gd name="connsiteX0" fmla="*/ 236220 w 327660"/>
                    <a:gd name="connsiteY0" fmla="*/ 236220 h 327660"/>
                    <a:gd name="connsiteX1" fmla="*/ 0 w 327660"/>
                    <a:gd name="connsiteY1" fmla="*/ 236220 h 327660"/>
                    <a:gd name="connsiteX2" fmla="*/ 0 w 327660"/>
                    <a:gd name="connsiteY2" fmla="*/ 0 h 327660"/>
                    <a:gd name="connsiteX3" fmla="*/ 236220 w 327660"/>
                    <a:gd name="connsiteY3" fmla="*/ 0 h 327660"/>
                    <a:gd name="connsiteX4" fmla="*/ 327660 w 327660"/>
                    <a:gd name="connsiteY4" fmla="*/ 327660 h 327660"/>
                    <a:gd name="connsiteX0" fmla="*/ 236220 w 236220"/>
                    <a:gd name="connsiteY0" fmla="*/ 236220 h 236220"/>
                    <a:gd name="connsiteX1" fmla="*/ 0 w 236220"/>
                    <a:gd name="connsiteY1" fmla="*/ 236220 h 236220"/>
                    <a:gd name="connsiteX2" fmla="*/ 0 w 236220"/>
                    <a:gd name="connsiteY2" fmla="*/ 0 h 236220"/>
                    <a:gd name="connsiteX3" fmla="*/ 236220 w 236220"/>
                    <a:gd name="connsiteY3" fmla="*/ 0 h 236220"/>
                    <a:gd name="connsiteX0" fmla="*/ 0 w 236220"/>
                    <a:gd name="connsiteY0" fmla="*/ 236220 h 236220"/>
                    <a:gd name="connsiteX1" fmla="*/ 0 w 236220"/>
                    <a:gd name="connsiteY1" fmla="*/ 0 h 236220"/>
                    <a:gd name="connsiteX2" fmla="*/ 236220 w 236220"/>
                    <a:gd name="connsiteY2" fmla="*/ 0 h 236220"/>
                  </a:gdLst>
                  <a:ahLst/>
                  <a:cxnLst>
                    <a:cxn ang="0">
                      <a:pos x="connsiteX0" y="connsiteY0"/>
                    </a:cxn>
                    <a:cxn ang="0">
                      <a:pos x="connsiteX1" y="connsiteY1"/>
                    </a:cxn>
                    <a:cxn ang="0">
                      <a:pos x="connsiteX2" y="connsiteY2"/>
                    </a:cxn>
                  </a:cxnLst>
                  <a:rect l="l" t="t" r="r" b="b"/>
                  <a:pathLst>
                    <a:path w="236220" h="236220">
                      <a:moveTo>
                        <a:pt x="0" y="236220"/>
                      </a:moveTo>
                      <a:lnTo>
                        <a:pt x="0" y="0"/>
                      </a:lnTo>
                      <a:lnTo>
                        <a:pt x="236220" y="0"/>
                      </a:lnTo>
                    </a:path>
                  </a:pathLst>
                </a:custGeom>
                <a:noFill/>
                <a:ln w="1270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sp>
              <p:nvSpPr>
                <p:cNvPr id="120" name="Rectangle 12">
                  <a:extLst>
                    <a:ext uri="{FF2B5EF4-FFF2-40B4-BE49-F238E27FC236}">
                      <a16:creationId xmlns:a16="http://schemas.microsoft.com/office/drawing/2014/main" id="{31F19028-0644-4094-A049-48871AB122A2}"/>
                    </a:ext>
                  </a:extLst>
                </p:cNvPr>
                <p:cNvSpPr/>
                <p:nvPr/>
              </p:nvSpPr>
              <p:spPr bwMode="auto">
                <a:xfrm flipH="1">
                  <a:off x="7448192" y="3013463"/>
                  <a:ext cx="49861" cy="49861"/>
                </a:xfrm>
                <a:custGeom>
                  <a:avLst/>
                  <a:gdLst>
                    <a:gd name="connsiteX0" fmla="*/ 0 w 236220"/>
                    <a:gd name="connsiteY0" fmla="*/ 0 h 236220"/>
                    <a:gd name="connsiteX1" fmla="*/ 236220 w 236220"/>
                    <a:gd name="connsiteY1" fmla="*/ 0 h 236220"/>
                    <a:gd name="connsiteX2" fmla="*/ 236220 w 236220"/>
                    <a:gd name="connsiteY2" fmla="*/ 236220 h 236220"/>
                    <a:gd name="connsiteX3" fmla="*/ 0 w 236220"/>
                    <a:gd name="connsiteY3" fmla="*/ 236220 h 236220"/>
                    <a:gd name="connsiteX4" fmla="*/ 0 w 236220"/>
                    <a:gd name="connsiteY4" fmla="*/ 0 h 236220"/>
                    <a:gd name="connsiteX0" fmla="*/ 236220 w 327660"/>
                    <a:gd name="connsiteY0" fmla="*/ 236220 h 327660"/>
                    <a:gd name="connsiteX1" fmla="*/ 0 w 327660"/>
                    <a:gd name="connsiteY1" fmla="*/ 236220 h 327660"/>
                    <a:gd name="connsiteX2" fmla="*/ 0 w 327660"/>
                    <a:gd name="connsiteY2" fmla="*/ 0 h 327660"/>
                    <a:gd name="connsiteX3" fmla="*/ 236220 w 327660"/>
                    <a:gd name="connsiteY3" fmla="*/ 0 h 327660"/>
                    <a:gd name="connsiteX4" fmla="*/ 327660 w 327660"/>
                    <a:gd name="connsiteY4" fmla="*/ 327660 h 327660"/>
                    <a:gd name="connsiteX0" fmla="*/ 236220 w 236220"/>
                    <a:gd name="connsiteY0" fmla="*/ 236220 h 236220"/>
                    <a:gd name="connsiteX1" fmla="*/ 0 w 236220"/>
                    <a:gd name="connsiteY1" fmla="*/ 236220 h 236220"/>
                    <a:gd name="connsiteX2" fmla="*/ 0 w 236220"/>
                    <a:gd name="connsiteY2" fmla="*/ 0 h 236220"/>
                    <a:gd name="connsiteX3" fmla="*/ 236220 w 236220"/>
                    <a:gd name="connsiteY3" fmla="*/ 0 h 236220"/>
                    <a:gd name="connsiteX0" fmla="*/ 0 w 236220"/>
                    <a:gd name="connsiteY0" fmla="*/ 236220 h 236220"/>
                    <a:gd name="connsiteX1" fmla="*/ 0 w 236220"/>
                    <a:gd name="connsiteY1" fmla="*/ 0 h 236220"/>
                    <a:gd name="connsiteX2" fmla="*/ 236220 w 236220"/>
                    <a:gd name="connsiteY2" fmla="*/ 0 h 236220"/>
                  </a:gdLst>
                  <a:ahLst/>
                  <a:cxnLst>
                    <a:cxn ang="0">
                      <a:pos x="connsiteX0" y="connsiteY0"/>
                    </a:cxn>
                    <a:cxn ang="0">
                      <a:pos x="connsiteX1" y="connsiteY1"/>
                    </a:cxn>
                    <a:cxn ang="0">
                      <a:pos x="connsiteX2" y="connsiteY2"/>
                    </a:cxn>
                  </a:cxnLst>
                  <a:rect l="l" t="t" r="r" b="b"/>
                  <a:pathLst>
                    <a:path w="236220" h="236220">
                      <a:moveTo>
                        <a:pt x="0" y="236220"/>
                      </a:moveTo>
                      <a:lnTo>
                        <a:pt x="0" y="0"/>
                      </a:lnTo>
                      <a:lnTo>
                        <a:pt x="236220" y="0"/>
                      </a:lnTo>
                    </a:path>
                  </a:pathLst>
                </a:custGeom>
                <a:noFill/>
                <a:ln w="1270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sp>
              <p:nvSpPr>
                <p:cNvPr id="121" name="Rectangle 12">
                  <a:extLst>
                    <a:ext uri="{FF2B5EF4-FFF2-40B4-BE49-F238E27FC236}">
                      <a16:creationId xmlns:a16="http://schemas.microsoft.com/office/drawing/2014/main" id="{2FD52BE9-636D-4109-BAB2-467FC11B36DE}"/>
                    </a:ext>
                  </a:extLst>
                </p:cNvPr>
                <p:cNvSpPr/>
                <p:nvPr/>
              </p:nvSpPr>
              <p:spPr bwMode="auto">
                <a:xfrm flipV="1">
                  <a:off x="7206762" y="3220778"/>
                  <a:ext cx="49861" cy="49861"/>
                </a:xfrm>
                <a:custGeom>
                  <a:avLst/>
                  <a:gdLst>
                    <a:gd name="connsiteX0" fmla="*/ 0 w 236220"/>
                    <a:gd name="connsiteY0" fmla="*/ 0 h 236220"/>
                    <a:gd name="connsiteX1" fmla="*/ 236220 w 236220"/>
                    <a:gd name="connsiteY1" fmla="*/ 0 h 236220"/>
                    <a:gd name="connsiteX2" fmla="*/ 236220 w 236220"/>
                    <a:gd name="connsiteY2" fmla="*/ 236220 h 236220"/>
                    <a:gd name="connsiteX3" fmla="*/ 0 w 236220"/>
                    <a:gd name="connsiteY3" fmla="*/ 236220 h 236220"/>
                    <a:gd name="connsiteX4" fmla="*/ 0 w 236220"/>
                    <a:gd name="connsiteY4" fmla="*/ 0 h 236220"/>
                    <a:gd name="connsiteX0" fmla="*/ 236220 w 327660"/>
                    <a:gd name="connsiteY0" fmla="*/ 236220 h 327660"/>
                    <a:gd name="connsiteX1" fmla="*/ 0 w 327660"/>
                    <a:gd name="connsiteY1" fmla="*/ 236220 h 327660"/>
                    <a:gd name="connsiteX2" fmla="*/ 0 w 327660"/>
                    <a:gd name="connsiteY2" fmla="*/ 0 h 327660"/>
                    <a:gd name="connsiteX3" fmla="*/ 236220 w 327660"/>
                    <a:gd name="connsiteY3" fmla="*/ 0 h 327660"/>
                    <a:gd name="connsiteX4" fmla="*/ 327660 w 327660"/>
                    <a:gd name="connsiteY4" fmla="*/ 327660 h 327660"/>
                    <a:gd name="connsiteX0" fmla="*/ 236220 w 236220"/>
                    <a:gd name="connsiteY0" fmla="*/ 236220 h 236220"/>
                    <a:gd name="connsiteX1" fmla="*/ 0 w 236220"/>
                    <a:gd name="connsiteY1" fmla="*/ 236220 h 236220"/>
                    <a:gd name="connsiteX2" fmla="*/ 0 w 236220"/>
                    <a:gd name="connsiteY2" fmla="*/ 0 h 236220"/>
                    <a:gd name="connsiteX3" fmla="*/ 236220 w 236220"/>
                    <a:gd name="connsiteY3" fmla="*/ 0 h 236220"/>
                    <a:gd name="connsiteX0" fmla="*/ 0 w 236220"/>
                    <a:gd name="connsiteY0" fmla="*/ 236220 h 236220"/>
                    <a:gd name="connsiteX1" fmla="*/ 0 w 236220"/>
                    <a:gd name="connsiteY1" fmla="*/ 0 h 236220"/>
                    <a:gd name="connsiteX2" fmla="*/ 236220 w 236220"/>
                    <a:gd name="connsiteY2" fmla="*/ 0 h 236220"/>
                  </a:gdLst>
                  <a:ahLst/>
                  <a:cxnLst>
                    <a:cxn ang="0">
                      <a:pos x="connsiteX0" y="connsiteY0"/>
                    </a:cxn>
                    <a:cxn ang="0">
                      <a:pos x="connsiteX1" y="connsiteY1"/>
                    </a:cxn>
                    <a:cxn ang="0">
                      <a:pos x="connsiteX2" y="connsiteY2"/>
                    </a:cxn>
                  </a:cxnLst>
                  <a:rect l="l" t="t" r="r" b="b"/>
                  <a:pathLst>
                    <a:path w="236220" h="236220">
                      <a:moveTo>
                        <a:pt x="0" y="236220"/>
                      </a:moveTo>
                      <a:lnTo>
                        <a:pt x="0" y="0"/>
                      </a:lnTo>
                      <a:lnTo>
                        <a:pt x="236220" y="0"/>
                      </a:lnTo>
                    </a:path>
                  </a:pathLst>
                </a:custGeom>
                <a:noFill/>
                <a:ln w="1270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sp>
              <p:nvSpPr>
                <p:cNvPr id="122" name="Rectangle 12">
                  <a:extLst>
                    <a:ext uri="{FF2B5EF4-FFF2-40B4-BE49-F238E27FC236}">
                      <a16:creationId xmlns:a16="http://schemas.microsoft.com/office/drawing/2014/main" id="{FC5426FD-F80A-4F46-8174-C63A1CD53B13}"/>
                    </a:ext>
                  </a:extLst>
                </p:cNvPr>
                <p:cNvSpPr/>
                <p:nvPr/>
              </p:nvSpPr>
              <p:spPr bwMode="auto">
                <a:xfrm flipH="1" flipV="1">
                  <a:off x="7448192" y="3220778"/>
                  <a:ext cx="49861" cy="49861"/>
                </a:xfrm>
                <a:custGeom>
                  <a:avLst/>
                  <a:gdLst>
                    <a:gd name="connsiteX0" fmla="*/ 0 w 236220"/>
                    <a:gd name="connsiteY0" fmla="*/ 0 h 236220"/>
                    <a:gd name="connsiteX1" fmla="*/ 236220 w 236220"/>
                    <a:gd name="connsiteY1" fmla="*/ 0 h 236220"/>
                    <a:gd name="connsiteX2" fmla="*/ 236220 w 236220"/>
                    <a:gd name="connsiteY2" fmla="*/ 236220 h 236220"/>
                    <a:gd name="connsiteX3" fmla="*/ 0 w 236220"/>
                    <a:gd name="connsiteY3" fmla="*/ 236220 h 236220"/>
                    <a:gd name="connsiteX4" fmla="*/ 0 w 236220"/>
                    <a:gd name="connsiteY4" fmla="*/ 0 h 236220"/>
                    <a:gd name="connsiteX0" fmla="*/ 236220 w 327660"/>
                    <a:gd name="connsiteY0" fmla="*/ 236220 h 327660"/>
                    <a:gd name="connsiteX1" fmla="*/ 0 w 327660"/>
                    <a:gd name="connsiteY1" fmla="*/ 236220 h 327660"/>
                    <a:gd name="connsiteX2" fmla="*/ 0 w 327660"/>
                    <a:gd name="connsiteY2" fmla="*/ 0 h 327660"/>
                    <a:gd name="connsiteX3" fmla="*/ 236220 w 327660"/>
                    <a:gd name="connsiteY3" fmla="*/ 0 h 327660"/>
                    <a:gd name="connsiteX4" fmla="*/ 327660 w 327660"/>
                    <a:gd name="connsiteY4" fmla="*/ 327660 h 327660"/>
                    <a:gd name="connsiteX0" fmla="*/ 236220 w 236220"/>
                    <a:gd name="connsiteY0" fmla="*/ 236220 h 236220"/>
                    <a:gd name="connsiteX1" fmla="*/ 0 w 236220"/>
                    <a:gd name="connsiteY1" fmla="*/ 236220 h 236220"/>
                    <a:gd name="connsiteX2" fmla="*/ 0 w 236220"/>
                    <a:gd name="connsiteY2" fmla="*/ 0 h 236220"/>
                    <a:gd name="connsiteX3" fmla="*/ 236220 w 236220"/>
                    <a:gd name="connsiteY3" fmla="*/ 0 h 236220"/>
                    <a:gd name="connsiteX0" fmla="*/ 0 w 236220"/>
                    <a:gd name="connsiteY0" fmla="*/ 236220 h 236220"/>
                    <a:gd name="connsiteX1" fmla="*/ 0 w 236220"/>
                    <a:gd name="connsiteY1" fmla="*/ 0 h 236220"/>
                    <a:gd name="connsiteX2" fmla="*/ 236220 w 236220"/>
                    <a:gd name="connsiteY2" fmla="*/ 0 h 236220"/>
                  </a:gdLst>
                  <a:ahLst/>
                  <a:cxnLst>
                    <a:cxn ang="0">
                      <a:pos x="connsiteX0" y="connsiteY0"/>
                    </a:cxn>
                    <a:cxn ang="0">
                      <a:pos x="connsiteX1" y="connsiteY1"/>
                    </a:cxn>
                    <a:cxn ang="0">
                      <a:pos x="connsiteX2" y="connsiteY2"/>
                    </a:cxn>
                  </a:cxnLst>
                  <a:rect l="l" t="t" r="r" b="b"/>
                  <a:pathLst>
                    <a:path w="236220" h="236220">
                      <a:moveTo>
                        <a:pt x="0" y="236220"/>
                      </a:moveTo>
                      <a:lnTo>
                        <a:pt x="0" y="0"/>
                      </a:lnTo>
                      <a:lnTo>
                        <a:pt x="236220" y="0"/>
                      </a:lnTo>
                    </a:path>
                  </a:pathLst>
                </a:custGeom>
                <a:noFill/>
                <a:ln w="1270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grpSp>
        </p:grpSp>
      </p:grpSp>
      <p:grpSp>
        <p:nvGrpSpPr>
          <p:cNvPr id="123" name="Group 122">
            <a:extLst>
              <a:ext uri="{FF2B5EF4-FFF2-40B4-BE49-F238E27FC236}">
                <a16:creationId xmlns:a16="http://schemas.microsoft.com/office/drawing/2014/main" id="{7A1A3D63-28E8-46BB-A8C8-38164473773A}"/>
              </a:ext>
            </a:extLst>
          </p:cNvPr>
          <p:cNvGrpSpPr/>
          <p:nvPr/>
        </p:nvGrpSpPr>
        <p:grpSpPr>
          <a:xfrm>
            <a:off x="6438195" y="1193163"/>
            <a:ext cx="512859" cy="512859"/>
            <a:chOff x="-963895" y="5018384"/>
            <a:chExt cx="502920" cy="502920"/>
          </a:xfrm>
        </p:grpSpPr>
        <p:sp useBgFill="1">
          <p:nvSpPr>
            <p:cNvPr id="124" name="Oval 123">
              <a:extLst>
                <a:ext uri="{FF2B5EF4-FFF2-40B4-BE49-F238E27FC236}">
                  <a16:creationId xmlns:a16="http://schemas.microsoft.com/office/drawing/2014/main" id="{C7781F17-72B0-4C31-AF55-DAFFA6EDB930}"/>
                </a:ext>
              </a:extLst>
            </p:cNvPr>
            <p:cNvSpPr/>
            <p:nvPr/>
          </p:nvSpPr>
          <p:spPr bwMode="auto">
            <a:xfrm>
              <a:off x="-963895" y="5018384"/>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people_3">
              <a:extLst>
                <a:ext uri="{FF2B5EF4-FFF2-40B4-BE49-F238E27FC236}">
                  <a16:creationId xmlns:a16="http://schemas.microsoft.com/office/drawing/2014/main" id="{7B8EB17F-193E-499A-82CA-37505ACBFE48}"/>
                </a:ext>
              </a:extLst>
            </p:cNvPr>
            <p:cNvSpPr>
              <a:spLocks noChangeAspect="1" noEditPoints="1"/>
            </p:cNvSpPr>
            <p:nvPr/>
          </p:nvSpPr>
          <p:spPr bwMode="auto">
            <a:xfrm>
              <a:off x="-819747" y="5161674"/>
              <a:ext cx="214624" cy="216341"/>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270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grpSp>
      <p:grpSp>
        <p:nvGrpSpPr>
          <p:cNvPr id="126" name="Group 125">
            <a:extLst>
              <a:ext uri="{FF2B5EF4-FFF2-40B4-BE49-F238E27FC236}">
                <a16:creationId xmlns:a16="http://schemas.microsoft.com/office/drawing/2014/main" id="{F1671511-F2B6-41B0-9CCA-B71086EC99B0}"/>
              </a:ext>
            </a:extLst>
          </p:cNvPr>
          <p:cNvGrpSpPr/>
          <p:nvPr/>
        </p:nvGrpSpPr>
        <p:grpSpPr>
          <a:xfrm>
            <a:off x="6438195" y="5274167"/>
            <a:ext cx="512859" cy="512859"/>
            <a:chOff x="-963895" y="3928234"/>
            <a:chExt cx="502920" cy="502920"/>
          </a:xfrm>
        </p:grpSpPr>
        <p:sp useBgFill="1">
          <p:nvSpPr>
            <p:cNvPr id="127" name="Oval 126">
              <a:extLst>
                <a:ext uri="{FF2B5EF4-FFF2-40B4-BE49-F238E27FC236}">
                  <a16:creationId xmlns:a16="http://schemas.microsoft.com/office/drawing/2014/main" id="{471B67DF-D04D-485D-9326-F6942EC6ACA1}"/>
                </a:ext>
              </a:extLst>
            </p:cNvPr>
            <p:cNvSpPr/>
            <p:nvPr/>
          </p:nvSpPr>
          <p:spPr bwMode="auto">
            <a:xfrm>
              <a:off x="-963895" y="3928234"/>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graph_2">
              <a:extLst>
                <a:ext uri="{FF2B5EF4-FFF2-40B4-BE49-F238E27FC236}">
                  <a16:creationId xmlns:a16="http://schemas.microsoft.com/office/drawing/2014/main" id="{794BFDEC-11E5-4D0A-929B-6F662DD5A718}"/>
                </a:ext>
              </a:extLst>
            </p:cNvPr>
            <p:cNvSpPr>
              <a:spLocks noChangeAspect="1" noEditPoints="1"/>
            </p:cNvSpPr>
            <p:nvPr/>
          </p:nvSpPr>
          <p:spPr bwMode="auto">
            <a:xfrm>
              <a:off x="-813712" y="4120311"/>
              <a:ext cx="202554" cy="118766"/>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grpSp>
      <p:grpSp>
        <p:nvGrpSpPr>
          <p:cNvPr id="129" name="Group 128">
            <a:extLst>
              <a:ext uri="{FF2B5EF4-FFF2-40B4-BE49-F238E27FC236}">
                <a16:creationId xmlns:a16="http://schemas.microsoft.com/office/drawing/2014/main" id="{D409F176-85DA-46E1-996F-257BE7EE10A1}"/>
              </a:ext>
            </a:extLst>
          </p:cNvPr>
          <p:cNvGrpSpPr/>
          <p:nvPr/>
        </p:nvGrpSpPr>
        <p:grpSpPr>
          <a:xfrm>
            <a:off x="9910526" y="2705838"/>
            <a:ext cx="512859" cy="512859"/>
            <a:chOff x="7203912" y="783653"/>
            <a:chExt cx="502920" cy="502920"/>
          </a:xfrm>
        </p:grpSpPr>
        <p:sp useBgFill="1">
          <p:nvSpPr>
            <p:cNvPr id="130" name="Oval 129">
              <a:extLst>
                <a:ext uri="{FF2B5EF4-FFF2-40B4-BE49-F238E27FC236}">
                  <a16:creationId xmlns:a16="http://schemas.microsoft.com/office/drawing/2014/main" id="{41CB40BD-5F2B-4839-A514-BA8D757BE7DE}"/>
                </a:ext>
              </a:extLst>
            </p:cNvPr>
            <p:cNvSpPr/>
            <p:nvPr/>
          </p:nvSpPr>
          <p:spPr bwMode="auto">
            <a:xfrm>
              <a:off x="7203912" y="783653"/>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1" name="Group 130">
              <a:extLst>
                <a:ext uri="{FF2B5EF4-FFF2-40B4-BE49-F238E27FC236}">
                  <a16:creationId xmlns:a16="http://schemas.microsoft.com/office/drawing/2014/main" id="{6A588584-C2DF-4734-8AED-1DEF0DB4FDBD}"/>
                </a:ext>
              </a:extLst>
            </p:cNvPr>
            <p:cNvGrpSpPr/>
            <p:nvPr/>
          </p:nvGrpSpPr>
          <p:grpSpPr>
            <a:xfrm>
              <a:off x="7333905" y="859323"/>
              <a:ext cx="242934" cy="351581"/>
              <a:chOff x="4151913" y="2842749"/>
              <a:chExt cx="242934" cy="351581"/>
            </a:xfrm>
          </p:grpSpPr>
          <p:sp useBgFill="1">
            <p:nvSpPr>
              <p:cNvPr id="132" name="Oval 131">
                <a:extLst>
                  <a:ext uri="{FF2B5EF4-FFF2-40B4-BE49-F238E27FC236}">
                    <a16:creationId xmlns:a16="http://schemas.microsoft.com/office/drawing/2014/main" id="{0F2BCBAA-4F46-4080-8333-8F7818B81F99}"/>
                  </a:ext>
                </a:extLst>
              </p:cNvPr>
              <p:cNvSpPr/>
              <p:nvPr/>
            </p:nvSpPr>
            <p:spPr bwMode="auto">
              <a:xfrm>
                <a:off x="4151913" y="2897072"/>
                <a:ext cx="242934" cy="24293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3" name="Group 132">
                <a:extLst>
                  <a:ext uri="{FF2B5EF4-FFF2-40B4-BE49-F238E27FC236}">
                    <a16:creationId xmlns:a16="http://schemas.microsoft.com/office/drawing/2014/main" id="{791F12E5-AC21-4D0B-AFCA-A3E4DF0168F1}"/>
                  </a:ext>
                </a:extLst>
              </p:cNvPr>
              <p:cNvGrpSpPr/>
              <p:nvPr/>
            </p:nvGrpSpPr>
            <p:grpSpPr>
              <a:xfrm>
                <a:off x="4211610" y="2842749"/>
                <a:ext cx="123541" cy="351581"/>
                <a:chOff x="4990745" y="2685821"/>
                <a:chExt cx="144221" cy="410434"/>
              </a:xfrm>
            </p:grpSpPr>
            <p:sp>
              <p:nvSpPr>
                <p:cNvPr id="134" name="Freeform 5">
                  <a:extLst>
                    <a:ext uri="{FF2B5EF4-FFF2-40B4-BE49-F238E27FC236}">
                      <a16:creationId xmlns:a16="http://schemas.microsoft.com/office/drawing/2014/main" id="{79D73E09-7123-4519-999D-A29226D66565}"/>
                    </a:ext>
                  </a:extLst>
                </p:cNvPr>
                <p:cNvSpPr>
                  <a:spLocks noEditPoints="1"/>
                </p:cNvSpPr>
                <p:nvPr/>
              </p:nvSpPr>
              <p:spPr bwMode="auto">
                <a:xfrm>
                  <a:off x="5001398" y="2802730"/>
                  <a:ext cx="122914" cy="293525"/>
                </a:xfrm>
                <a:custGeom>
                  <a:avLst/>
                  <a:gdLst>
                    <a:gd name="T0" fmla="*/ 470 w 540"/>
                    <a:gd name="T1" fmla="*/ 84 h 1296"/>
                    <a:gd name="T2" fmla="*/ 266 w 540"/>
                    <a:gd name="T3" fmla="*/ 154 h 1296"/>
                    <a:gd name="T4" fmla="*/ 62 w 540"/>
                    <a:gd name="T5" fmla="*/ 84 h 1296"/>
                    <a:gd name="T6" fmla="*/ 266 w 540"/>
                    <a:gd name="T7" fmla="*/ 14 h 1296"/>
                    <a:gd name="T8" fmla="*/ 470 w 540"/>
                    <a:gd name="T9" fmla="*/ 84 h 1296"/>
                    <a:gd name="T10" fmla="*/ 266 w 540"/>
                    <a:gd name="T11" fmla="*/ 0 h 1296"/>
                    <a:gd name="T12" fmla="*/ 36 w 540"/>
                    <a:gd name="T13" fmla="*/ 82 h 1296"/>
                    <a:gd name="T14" fmla="*/ 266 w 540"/>
                    <a:gd name="T15" fmla="*/ 164 h 1296"/>
                    <a:gd name="T16" fmla="*/ 496 w 540"/>
                    <a:gd name="T17" fmla="*/ 82 h 1296"/>
                    <a:gd name="T18" fmla="*/ 266 w 540"/>
                    <a:gd name="T19" fmla="*/ 0 h 1296"/>
                    <a:gd name="T20" fmla="*/ 36 w 540"/>
                    <a:gd name="T21" fmla="*/ 80 h 1296"/>
                    <a:gd name="T22" fmla="*/ 36 w 540"/>
                    <a:gd name="T23" fmla="*/ 708 h 1296"/>
                    <a:gd name="T24" fmla="*/ 0 w 540"/>
                    <a:gd name="T25" fmla="*/ 1170 h 1296"/>
                    <a:gd name="T26" fmla="*/ 270 w 540"/>
                    <a:gd name="T27" fmla="*/ 1296 h 1296"/>
                    <a:gd name="T28" fmla="*/ 540 w 540"/>
                    <a:gd name="T29" fmla="*/ 1170 h 1296"/>
                    <a:gd name="T30" fmla="*/ 504 w 540"/>
                    <a:gd name="T31" fmla="*/ 652 h 1296"/>
                    <a:gd name="T32" fmla="*/ 496 w 540"/>
                    <a:gd name="T33" fmla="*/ 80 h 1296"/>
                    <a:gd name="T34" fmla="*/ 10 w 540"/>
                    <a:gd name="T35" fmla="*/ 1040 h 1296"/>
                    <a:gd name="T36" fmla="*/ 267 w 540"/>
                    <a:gd name="T37" fmla="*/ 1164 h 1296"/>
                    <a:gd name="T38" fmla="*/ 524 w 540"/>
                    <a:gd name="T39" fmla="*/ 1040 h 1296"/>
                    <a:gd name="T40" fmla="*/ 38 w 540"/>
                    <a:gd name="T41" fmla="*/ 164 h 1296"/>
                    <a:gd name="T42" fmla="*/ 267 w 540"/>
                    <a:gd name="T43" fmla="*/ 250 h 1296"/>
                    <a:gd name="T44" fmla="*/ 496 w 540"/>
                    <a:gd name="T45" fmla="*/ 164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0" h="1296">
                      <a:moveTo>
                        <a:pt x="470" y="84"/>
                      </a:moveTo>
                      <a:cubicBezTo>
                        <a:pt x="470" y="123"/>
                        <a:pt x="379" y="154"/>
                        <a:pt x="266" y="154"/>
                      </a:cubicBezTo>
                      <a:cubicBezTo>
                        <a:pt x="153" y="154"/>
                        <a:pt x="62" y="123"/>
                        <a:pt x="62" y="84"/>
                      </a:cubicBezTo>
                      <a:cubicBezTo>
                        <a:pt x="62" y="45"/>
                        <a:pt x="153" y="14"/>
                        <a:pt x="266" y="14"/>
                      </a:cubicBezTo>
                      <a:cubicBezTo>
                        <a:pt x="379" y="14"/>
                        <a:pt x="470" y="45"/>
                        <a:pt x="470" y="84"/>
                      </a:cubicBezTo>
                      <a:close/>
                      <a:moveTo>
                        <a:pt x="266" y="0"/>
                      </a:moveTo>
                      <a:cubicBezTo>
                        <a:pt x="139" y="0"/>
                        <a:pt x="36" y="37"/>
                        <a:pt x="36" y="82"/>
                      </a:cubicBezTo>
                      <a:cubicBezTo>
                        <a:pt x="36" y="127"/>
                        <a:pt x="139" y="164"/>
                        <a:pt x="266" y="164"/>
                      </a:cubicBezTo>
                      <a:cubicBezTo>
                        <a:pt x="393" y="164"/>
                        <a:pt x="496" y="127"/>
                        <a:pt x="496" y="82"/>
                      </a:cubicBezTo>
                      <a:cubicBezTo>
                        <a:pt x="496" y="37"/>
                        <a:pt x="393" y="0"/>
                        <a:pt x="266" y="0"/>
                      </a:cubicBezTo>
                      <a:close/>
                      <a:moveTo>
                        <a:pt x="36" y="80"/>
                      </a:moveTo>
                      <a:cubicBezTo>
                        <a:pt x="36" y="80"/>
                        <a:pt x="40" y="640"/>
                        <a:pt x="36" y="708"/>
                      </a:cubicBezTo>
                      <a:cubicBezTo>
                        <a:pt x="32" y="776"/>
                        <a:pt x="0" y="1170"/>
                        <a:pt x="0" y="1170"/>
                      </a:cubicBezTo>
                      <a:cubicBezTo>
                        <a:pt x="0" y="1240"/>
                        <a:pt x="121" y="1296"/>
                        <a:pt x="270" y="1296"/>
                      </a:cubicBezTo>
                      <a:cubicBezTo>
                        <a:pt x="419" y="1296"/>
                        <a:pt x="540" y="1240"/>
                        <a:pt x="540" y="1170"/>
                      </a:cubicBezTo>
                      <a:cubicBezTo>
                        <a:pt x="540" y="1170"/>
                        <a:pt x="504" y="748"/>
                        <a:pt x="504" y="652"/>
                      </a:cubicBezTo>
                      <a:cubicBezTo>
                        <a:pt x="504" y="556"/>
                        <a:pt x="496" y="80"/>
                        <a:pt x="496" y="80"/>
                      </a:cubicBezTo>
                      <a:moveTo>
                        <a:pt x="10" y="1040"/>
                      </a:moveTo>
                      <a:cubicBezTo>
                        <a:pt x="10" y="1108"/>
                        <a:pt x="125" y="1164"/>
                        <a:pt x="267" y="1164"/>
                      </a:cubicBezTo>
                      <a:cubicBezTo>
                        <a:pt x="409" y="1164"/>
                        <a:pt x="524" y="1108"/>
                        <a:pt x="524" y="1040"/>
                      </a:cubicBezTo>
                      <a:moveTo>
                        <a:pt x="38" y="164"/>
                      </a:moveTo>
                      <a:cubicBezTo>
                        <a:pt x="38" y="211"/>
                        <a:pt x="141" y="250"/>
                        <a:pt x="267" y="250"/>
                      </a:cubicBezTo>
                      <a:cubicBezTo>
                        <a:pt x="393" y="250"/>
                        <a:pt x="496" y="211"/>
                        <a:pt x="496" y="164"/>
                      </a:cubicBezTo>
                    </a:path>
                  </a:pathLst>
                </a:custGeom>
                <a:noFill/>
                <a:ln w="12700">
                  <a:solidFill>
                    <a:schemeClr val="tx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cs typeface="Segoe UI" pitchFamily="34" charset="0"/>
                  </a:endParaRPr>
                </a:p>
              </p:txBody>
            </p:sp>
            <p:grpSp>
              <p:nvGrpSpPr>
                <p:cNvPr id="135" name="Group 134">
                  <a:extLst>
                    <a:ext uri="{FF2B5EF4-FFF2-40B4-BE49-F238E27FC236}">
                      <a16:creationId xmlns:a16="http://schemas.microsoft.com/office/drawing/2014/main" id="{97E4DB56-8D0D-4225-9A40-7B5F7BCF8C95}"/>
                    </a:ext>
                  </a:extLst>
                </p:cNvPr>
                <p:cNvGrpSpPr/>
                <p:nvPr/>
              </p:nvGrpSpPr>
              <p:grpSpPr>
                <a:xfrm rot="16200000">
                  <a:off x="5024487" y="2652079"/>
                  <a:ext cx="76737" cy="144221"/>
                  <a:chOff x="2866921" y="3947319"/>
                  <a:chExt cx="103684" cy="194866"/>
                </a:xfrm>
              </p:grpSpPr>
              <p:sp>
                <p:nvSpPr>
                  <p:cNvPr id="136" name="Oval 5">
                    <a:extLst>
                      <a:ext uri="{FF2B5EF4-FFF2-40B4-BE49-F238E27FC236}">
                        <a16:creationId xmlns:a16="http://schemas.microsoft.com/office/drawing/2014/main" id="{3F730A9B-2187-4217-B32C-EADB03156EF9}"/>
                      </a:ext>
                    </a:extLst>
                  </p:cNvPr>
                  <p:cNvSpPr/>
                  <p:nvPr/>
                </p:nvSpPr>
                <p:spPr bwMode="auto">
                  <a:xfrm>
                    <a:off x="2904207" y="3947319"/>
                    <a:ext cx="66398" cy="194866"/>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sp>
                <p:nvSpPr>
                  <p:cNvPr id="137" name="Oval 5">
                    <a:extLst>
                      <a:ext uri="{FF2B5EF4-FFF2-40B4-BE49-F238E27FC236}">
                        <a16:creationId xmlns:a16="http://schemas.microsoft.com/office/drawing/2014/main" id="{A0B6B943-197E-4D06-96D7-5CF509A936C6}"/>
                      </a:ext>
                    </a:extLst>
                  </p:cNvPr>
                  <p:cNvSpPr/>
                  <p:nvPr/>
                </p:nvSpPr>
                <p:spPr bwMode="auto">
                  <a:xfrm>
                    <a:off x="2866921" y="3977662"/>
                    <a:ext cx="45720" cy="134180"/>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grpSp>
          </p:grpSp>
        </p:grpSp>
      </p:grpSp>
      <p:grpSp>
        <p:nvGrpSpPr>
          <p:cNvPr id="138" name="Group 137">
            <a:extLst>
              <a:ext uri="{FF2B5EF4-FFF2-40B4-BE49-F238E27FC236}">
                <a16:creationId xmlns:a16="http://schemas.microsoft.com/office/drawing/2014/main" id="{D971DFCF-6AD5-497B-8B9A-14B1D042C8D9}"/>
              </a:ext>
            </a:extLst>
          </p:cNvPr>
          <p:cNvGrpSpPr/>
          <p:nvPr/>
        </p:nvGrpSpPr>
        <p:grpSpPr>
          <a:xfrm>
            <a:off x="9509829" y="4720125"/>
            <a:ext cx="512859" cy="512859"/>
            <a:chOff x="8030437" y="4638049"/>
            <a:chExt cx="502920" cy="502920"/>
          </a:xfrm>
        </p:grpSpPr>
        <p:sp>
          <p:nvSpPr>
            <p:cNvPr id="139" name="Oval 138">
              <a:extLst>
                <a:ext uri="{FF2B5EF4-FFF2-40B4-BE49-F238E27FC236}">
                  <a16:creationId xmlns:a16="http://schemas.microsoft.com/office/drawing/2014/main" id="{B74BFBB0-0AA6-46DD-8266-BE99CB077F27}"/>
                </a:ext>
              </a:extLst>
            </p:cNvPr>
            <p:cNvSpPr/>
            <p:nvPr/>
          </p:nvSpPr>
          <p:spPr bwMode="auto">
            <a:xfrm>
              <a:off x="8030437" y="4638049"/>
              <a:ext cx="502920" cy="50292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40" name="Group 4">
              <a:extLst>
                <a:ext uri="{FF2B5EF4-FFF2-40B4-BE49-F238E27FC236}">
                  <a16:creationId xmlns:a16="http://schemas.microsoft.com/office/drawing/2014/main" id="{B3746A16-F5A0-45F1-9355-CAA9DC83FBFB}"/>
                </a:ext>
              </a:extLst>
            </p:cNvPr>
            <p:cNvGrpSpPr>
              <a:grpSpLocks noChangeAspect="1"/>
            </p:cNvGrpSpPr>
            <p:nvPr/>
          </p:nvGrpSpPr>
          <p:grpSpPr bwMode="auto">
            <a:xfrm>
              <a:off x="8129498" y="4795725"/>
              <a:ext cx="304799" cy="187569"/>
              <a:chOff x="5597" y="3096"/>
              <a:chExt cx="546" cy="336"/>
            </a:xfrm>
          </p:grpSpPr>
          <p:sp>
            <p:nvSpPr>
              <p:cNvPr id="141" name="Rectangle 5">
                <a:extLst>
                  <a:ext uri="{FF2B5EF4-FFF2-40B4-BE49-F238E27FC236}">
                    <a16:creationId xmlns:a16="http://schemas.microsoft.com/office/drawing/2014/main" id="{F20694A8-72FC-4059-ADCC-706C00E4E591}"/>
                  </a:ext>
                </a:extLst>
              </p:cNvPr>
              <p:cNvSpPr>
                <a:spLocks noChangeArrowheads="1"/>
              </p:cNvSpPr>
              <p:nvPr/>
            </p:nvSpPr>
            <p:spPr bwMode="auto">
              <a:xfrm>
                <a:off x="5597" y="3096"/>
                <a:ext cx="169" cy="336"/>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sp>
            <p:nvSpPr>
              <p:cNvPr id="142" name="Freeform 6">
                <a:extLst>
                  <a:ext uri="{FF2B5EF4-FFF2-40B4-BE49-F238E27FC236}">
                    <a16:creationId xmlns:a16="http://schemas.microsoft.com/office/drawing/2014/main" id="{97E36719-9645-45CD-AF2D-1F5ED80FD36E}"/>
                  </a:ext>
                </a:extLst>
              </p:cNvPr>
              <p:cNvSpPr>
                <a:spLocks/>
              </p:cNvSpPr>
              <p:nvPr/>
            </p:nvSpPr>
            <p:spPr bwMode="auto">
              <a:xfrm>
                <a:off x="5766" y="3337"/>
                <a:ext cx="80" cy="95"/>
              </a:xfrm>
              <a:custGeom>
                <a:avLst/>
                <a:gdLst>
                  <a:gd name="T0" fmla="*/ 80 w 80"/>
                  <a:gd name="T1" fmla="*/ 0 h 95"/>
                  <a:gd name="T2" fmla="*/ 80 w 80"/>
                  <a:gd name="T3" fmla="*/ 26 h 95"/>
                  <a:gd name="T4" fmla="*/ 0 w 80"/>
                  <a:gd name="T5" fmla="*/ 95 h 95"/>
                </a:gdLst>
                <a:ahLst/>
                <a:cxnLst>
                  <a:cxn ang="0">
                    <a:pos x="T0" y="T1"/>
                  </a:cxn>
                  <a:cxn ang="0">
                    <a:pos x="T2" y="T3"/>
                  </a:cxn>
                  <a:cxn ang="0">
                    <a:pos x="T4" y="T5"/>
                  </a:cxn>
                </a:cxnLst>
                <a:rect l="0" t="0" r="r" b="b"/>
                <a:pathLst>
                  <a:path w="80" h="95">
                    <a:moveTo>
                      <a:pt x="80" y="0"/>
                    </a:moveTo>
                    <a:lnTo>
                      <a:pt x="80" y="26"/>
                    </a:lnTo>
                    <a:lnTo>
                      <a:pt x="0" y="95"/>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sp>
            <p:nvSpPr>
              <p:cNvPr id="143" name="Freeform 7">
                <a:extLst>
                  <a:ext uri="{FF2B5EF4-FFF2-40B4-BE49-F238E27FC236}">
                    <a16:creationId xmlns:a16="http://schemas.microsoft.com/office/drawing/2014/main" id="{339C8F9E-492C-4C86-B800-8E52984CFFB8}"/>
                  </a:ext>
                </a:extLst>
              </p:cNvPr>
              <p:cNvSpPr>
                <a:spLocks/>
              </p:cNvSpPr>
              <p:nvPr/>
            </p:nvSpPr>
            <p:spPr bwMode="auto">
              <a:xfrm>
                <a:off x="5766" y="3096"/>
                <a:ext cx="80" cy="96"/>
              </a:xfrm>
              <a:custGeom>
                <a:avLst/>
                <a:gdLst>
                  <a:gd name="T0" fmla="*/ 0 w 80"/>
                  <a:gd name="T1" fmla="*/ 0 h 96"/>
                  <a:gd name="T2" fmla="*/ 80 w 80"/>
                  <a:gd name="T3" fmla="*/ 74 h 96"/>
                  <a:gd name="T4" fmla="*/ 80 w 80"/>
                  <a:gd name="T5" fmla="*/ 96 h 96"/>
                </a:gdLst>
                <a:ahLst/>
                <a:cxnLst>
                  <a:cxn ang="0">
                    <a:pos x="T0" y="T1"/>
                  </a:cxn>
                  <a:cxn ang="0">
                    <a:pos x="T2" y="T3"/>
                  </a:cxn>
                  <a:cxn ang="0">
                    <a:pos x="T4" y="T5"/>
                  </a:cxn>
                </a:cxnLst>
                <a:rect l="0" t="0" r="r" b="b"/>
                <a:pathLst>
                  <a:path w="80" h="96">
                    <a:moveTo>
                      <a:pt x="0" y="0"/>
                    </a:moveTo>
                    <a:lnTo>
                      <a:pt x="80" y="74"/>
                    </a:lnTo>
                    <a:lnTo>
                      <a:pt x="80" y="9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sp>
            <p:nvSpPr>
              <p:cNvPr id="144" name="Line 8">
                <a:extLst>
                  <a:ext uri="{FF2B5EF4-FFF2-40B4-BE49-F238E27FC236}">
                    <a16:creationId xmlns:a16="http://schemas.microsoft.com/office/drawing/2014/main" id="{1A01FEAF-D3EA-465B-87B0-3D7729D1E74B}"/>
                  </a:ext>
                </a:extLst>
              </p:cNvPr>
              <p:cNvSpPr>
                <a:spLocks noChangeShapeType="1"/>
              </p:cNvSpPr>
              <p:nvPr/>
            </p:nvSpPr>
            <p:spPr bwMode="auto">
              <a:xfrm>
                <a:off x="5597" y="3205"/>
                <a:ext cx="1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sp>
            <p:nvSpPr>
              <p:cNvPr id="145" name="Line 9">
                <a:extLst>
                  <a:ext uri="{FF2B5EF4-FFF2-40B4-BE49-F238E27FC236}">
                    <a16:creationId xmlns:a16="http://schemas.microsoft.com/office/drawing/2014/main" id="{C670C5C7-30F0-440A-824C-CDA681F564F7}"/>
                  </a:ext>
                </a:extLst>
              </p:cNvPr>
              <p:cNvSpPr>
                <a:spLocks noChangeShapeType="1"/>
              </p:cNvSpPr>
              <p:nvPr/>
            </p:nvSpPr>
            <p:spPr bwMode="auto">
              <a:xfrm>
                <a:off x="5597" y="3325"/>
                <a:ext cx="1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sp>
            <p:nvSpPr>
              <p:cNvPr id="146" name="Rectangle 10">
                <a:extLst>
                  <a:ext uri="{FF2B5EF4-FFF2-40B4-BE49-F238E27FC236}">
                    <a16:creationId xmlns:a16="http://schemas.microsoft.com/office/drawing/2014/main" id="{0902609F-EF29-4B76-A242-A5D773178F61}"/>
                  </a:ext>
                </a:extLst>
              </p:cNvPr>
              <p:cNvSpPr>
                <a:spLocks noChangeArrowheads="1"/>
              </p:cNvSpPr>
              <p:nvPr/>
            </p:nvSpPr>
            <p:spPr bwMode="auto">
              <a:xfrm>
                <a:off x="5974" y="3096"/>
                <a:ext cx="169" cy="336"/>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sp>
            <p:nvSpPr>
              <p:cNvPr id="147" name="Freeform 11">
                <a:extLst>
                  <a:ext uri="{FF2B5EF4-FFF2-40B4-BE49-F238E27FC236}">
                    <a16:creationId xmlns:a16="http://schemas.microsoft.com/office/drawing/2014/main" id="{A0C7C203-EAD3-4BC1-AE88-2EAF22884CBA}"/>
                  </a:ext>
                </a:extLst>
              </p:cNvPr>
              <p:cNvSpPr>
                <a:spLocks/>
              </p:cNvSpPr>
              <p:nvPr/>
            </p:nvSpPr>
            <p:spPr bwMode="auto">
              <a:xfrm>
                <a:off x="5894" y="3336"/>
                <a:ext cx="80" cy="96"/>
              </a:xfrm>
              <a:custGeom>
                <a:avLst/>
                <a:gdLst>
                  <a:gd name="T0" fmla="*/ 0 w 80"/>
                  <a:gd name="T1" fmla="*/ 0 h 96"/>
                  <a:gd name="T2" fmla="*/ 0 w 80"/>
                  <a:gd name="T3" fmla="*/ 27 h 96"/>
                  <a:gd name="T4" fmla="*/ 80 w 80"/>
                  <a:gd name="T5" fmla="*/ 96 h 96"/>
                </a:gdLst>
                <a:ahLst/>
                <a:cxnLst>
                  <a:cxn ang="0">
                    <a:pos x="T0" y="T1"/>
                  </a:cxn>
                  <a:cxn ang="0">
                    <a:pos x="T2" y="T3"/>
                  </a:cxn>
                  <a:cxn ang="0">
                    <a:pos x="T4" y="T5"/>
                  </a:cxn>
                </a:cxnLst>
                <a:rect l="0" t="0" r="r" b="b"/>
                <a:pathLst>
                  <a:path w="80" h="96">
                    <a:moveTo>
                      <a:pt x="0" y="0"/>
                    </a:moveTo>
                    <a:lnTo>
                      <a:pt x="0" y="27"/>
                    </a:lnTo>
                    <a:lnTo>
                      <a:pt x="80" y="9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sp>
            <p:nvSpPr>
              <p:cNvPr id="148" name="Freeform 12">
                <a:extLst>
                  <a:ext uri="{FF2B5EF4-FFF2-40B4-BE49-F238E27FC236}">
                    <a16:creationId xmlns:a16="http://schemas.microsoft.com/office/drawing/2014/main" id="{43A7DD61-8F38-46BF-ACEB-3821807FF238}"/>
                  </a:ext>
                </a:extLst>
              </p:cNvPr>
              <p:cNvSpPr>
                <a:spLocks/>
              </p:cNvSpPr>
              <p:nvPr/>
            </p:nvSpPr>
            <p:spPr bwMode="auto">
              <a:xfrm>
                <a:off x="5894" y="3096"/>
                <a:ext cx="80" cy="94"/>
              </a:xfrm>
              <a:custGeom>
                <a:avLst/>
                <a:gdLst>
                  <a:gd name="T0" fmla="*/ 80 w 80"/>
                  <a:gd name="T1" fmla="*/ 0 h 94"/>
                  <a:gd name="T2" fmla="*/ 0 w 80"/>
                  <a:gd name="T3" fmla="*/ 74 h 94"/>
                  <a:gd name="T4" fmla="*/ 0 w 80"/>
                  <a:gd name="T5" fmla="*/ 94 h 94"/>
                </a:gdLst>
                <a:ahLst/>
                <a:cxnLst>
                  <a:cxn ang="0">
                    <a:pos x="T0" y="T1"/>
                  </a:cxn>
                  <a:cxn ang="0">
                    <a:pos x="T2" y="T3"/>
                  </a:cxn>
                  <a:cxn ang="0">
                    <a:pos x="T4" y="T5"/>
                  </a:cxn>
                </a:cxnLst>
                <a:rect l="0" t="0" r="r" b="b"/>
                <a:pathLst>
                  <a:path w="80" h="94">
                    <a:moveTo>
                      <a:pt x="80" y="0"/>
                    </a:moveTo>
                    <a:lnTo>
                      <a:pt x="0" y="74"/>
                    </a:lnTo>
                    <a:lnTo>
                      <a:pt x="0" y="9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sp>
            <p:nvSpPr>
              <p:cNvPr id="149" name="Line 13">
                <a:extLst>
                  <a:ext uri="{FF2B5EF4-FFF2-40B4-BE49-F238E27FC236}">
                    <a16:creationId xmlns:a16="http://schemas.microsoft.com/office/drawing/2014/main" id="{5E62DB46-FE93-4835-B2B8-371A01ECDE81}"/>
                  </a:ext>
                </a:extLst>
              </p:cNvPr>
              <p:cNvSpPr>
                <a:spLocks noChangeShapeType="1"/>
              </p:cNvSpPr>
              <p:nvPr/>
            </p:nvSpPr>
            <p:spPr bwMode="auto">
              <a:xfrm flipH="1">
                <a:off x="5974" y="3205"/>
                <a:ext cx="1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sp>
            <p:nvSpPr>
              <p:cNvPr id="150" name="Line 14">
                <a:extLst>
                  <a:ext uri="{FF2B5EF4-FFF2-40B4-BE49-F238E27FC236}">
                    <a16:creationId xmlns:a16="http://schemas.microsoft.com/office/drawing/2014/main" id="{F5A22C60-0350-49EB-BD0F-2A0AB7309DEE}"/>
                  </a:ext>
                </a:extLst>
              </p:cNvPr>
              <p:cNvSpPr>
                <a:spLocks noChangeShapeType="1"/>
              </p:cNvSpPr>
              <p:nvPr/>
            </p:nvSpPr>
            <p:spPr bwMode="auto">
              <a:xfrm flipH="1">
                <a:off x="5974" y="3325"/>
                <a:ext cx="1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sp>
            <p:nvSpPr>
              <p:cNvPr id="151" name="Freeform 15">
                <a:extLst>
                  <a:ext uri="{FF2B5EF4-FFF2-40B4-BE49-F238E27FC236}">
                    <a16:creationId xmlns:a16="http://schemas.microsoft.com/office/drawing/2014/main" id="{83711689-4377-488F-BD3C-32B80B1E8307}"/>
                  </a:ext>
                </a:extLst>
              </p:cNvPr>
              <p:cNvSpPr>
                <a:spLocks noEditPoints="1"/>
              </p:cNvSpPr>
              <p:nvPr/>
            </p:nvSpPr>
            <p:spPr bwMode="auto">
              <a:xfrm>
                <a:off x="5797" y="3207"/>
                <a:ext cx="146" cy="47"/>
              </a:xfrm>
              <a:custGeom>
                <a:avLst/>
                <a:gdLst>
                  <a:gd name="T0" fmla="*/ 0 w 196"/>
                  <a:gd name="T1" fmla="*/ 0 h 63"/>
                  <a:gd name="T2" fmla="*/ 0 w 196"/>
                  <a:gd name="T3" fmla="*/ 63 h 63"/>
                  <a:gd name="T4" fmla="*/ 118 w 196"/>
                  <a:gd name="T5" fmla="*/ 0 h 63"/>
                  <a:gd name="T6" fmla="*/ 118 w 196"/>
                  <a:gd name="T7" fmla="*/ 63 h 63"/>
                  <a:gd name="T8" fmla="*/ 79 w 196"/>
                  <a:gd name="T9" fmla="*/ 42 h 63"/>
                  <a:gd name="T10" fmla="*/ 79 w 196"/>
                  <a:gd name="T11" fmla="*/ 20 h 63"/>
                  <a:gd name="T12" fmla="*/ 59 w 196"/>
                  <a:gd name="T13" fmla="*/ 0 h 63"/>
                  <a:gd name="T14" fmla="*/ 59 w 196"/>
                  <a:gd name="T15" fmla="*/ 0 h 63"/>
                  <a:gd name="T16" fmla="*/ 38 w 196"/>
                  <a:gd name="T17" fmla="*/ 20 h 63"/>
                  <a:gd name="T18" fmla="*/ 38 w 196"/>
                  <a:gd name="T19" fmla="*/ 42 h 63"/>
                  <a:gd name="T20" fmla="*/ 59 w 196"/>
                  <a:gd name="T21" fmla="*/ 63 h 63"/>
                  <a:gd name="T22" fmla="*/ 59 w 196"/>
                  <a:gd name="T23" fmla="*/ 63 h 63"/>
                  <a:gd name="T24" fmla="*/ 79 w 196"/>
                  <a:gd name="T25" fmla="*/ 42 h 63"/>
                  <a:gd name="T26" fmla="*/ 196 w 196"/>
                  <a:gd name="T27" fmla="*/ 42 h 63"/>
                  <a:gd name="T28" fmla="*/ 196 w 196"/>
                  <a:gd name="T29" fmla="*/ 20 h 63"/>
                  <a:gd name="T30" fmla="*/ 175 w 196"/>
                  <a:gd name="T31" fmla="*/ 0 h 63"/>
                  <a:gd name="T32" fmla="*/ 175 w 196"/>
                  <a:gd name="T33" fmla="*/ 0 h 63"/>
                  <a:gd name="T34" fmla="*/ 156 w 196"/>
                  <a:gd name="T35" fmla="*/ 20 h 63"/>
                  <a:gd name="T36" fmla="*/ 156 w 196"/>
                  <a:gd name="T37" fmla="*/ 42 h 63"/>
                  <a:gd name="T38" fmla="*/ 175 w 196"/>
                  <a:gd name="T39" fmla="*/ 63 h 63"/>
                  <a:gd name="T40" fmla="*/ 175 w 196"/>
                  <a:gd name="T41" fmla="*/ 63 h 63"/>
                  <a:gd name="T42" fmla="*/ 196 w 196"/>
                  <a:gd name="T43" fmla="*/ 4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3">
                    <a:moveTo>
                      <a:pt x="0" y="0"/>
                    </a:moveTo>
                    <a:cubicBezTo>
                      <a:pt x="0" y="63"/>
                      <a:pt x="0" y="63"/>
                      <a:pt x="0" y="63"/>
                    </a:cubicBezTo>
                    <a:moveTo>
                      <a:pt x="118" y="0"/>
                    </a:moveTo>
                    <a:cubicBezTo>
                      <a:pt x="118" y="63"/>
                      <a:pt x="118" y="63"/>
                      <a:pt x="118" y="63"/>
                    </a:cubicBezTo>
                    <a:moveTo>
                      <a:pt x="79" y="42"/>
                    </a:moveTo>
                    <a:cubicBezTo>
                      <a:pt x="79" y="20"/>
                      <a:pt x="79" y="20"/>
                      <a:pt x="79" y="20"/>
                    </a:cubicBezTo>
                    <a:cubicBezTo>
                      <a:pt x="79" y="9"/>
                      <a:pt x="70" y="0"/>
                      <a:pt x="59" y="0"/>
                    </a:cubicBezTo>
                    <a:cubicBezTo>
                      <a:pt x="59" y="0"/>
                      <a:pt x="59" y="0"/>
                      <a:pt x="59" y="0"/>
                    </a:cubicBezTo>
                    <a:cubicBezTo>
                      <a:pt x="47" y="0"/>
                      <a:pt x="38" y="9"/>
                      <a:pt x="38" y="20"/>
                    </a:cubicBezTo>
                    <a:cubicBezTo>
                      <a:pt x="38" y="42"/>
                      <a:pt x="38" y="42"/>
                      <a:pt x="38" y="42"/>
                    </a:cubicBezTo>
                    <a:cubicBezTo>
                      <a:pt x="38" y="54"/>
                      <a:pt x="47" y="63"/>
                      <a:pt x="59" y="63"/>
                    </a:cubicBezTo>
                    <a:cubicBezTo>
                      <a:pt x="59" y="63"/>
                      <a:pt x="59" y="63"/>
                      <a:pt x="59" y="63"/>
                    </a:cubicBezTo>
                    <a:cubicBezTo>
                      <a:pt x="70" y="63"/>
                      <a:pt x="79" y="54"/>
                      <a:pt x="79" y="42"/>
                    </a:cubicBezTo>
                    <a:close/>
                    <a:moveTo>
                      <a:pt x="196" y="42"/>
                    </a:moveTo>
                    <a:cubicBezTo>
                      <a:pt x="196" y="20"/>
                      <a:pt x="196" y="20"/>
                      <a:pt x="196" y="20"/>
                    </a:cubicBezTo>
                    <a:cubicBezTo>
                      <a:pt x="196" y="9"/>
                      <a:pt x="187" y="0"/>
                      <a:pt x="175" y="0"/>
                    </a:cubicBezTo>
                    <a:cubicBezTo>
                      <a:pt x="175" y="0"/>
                      <a:pt x="175" y="0"/>
                      <a:pt x="175" y="0"/>
                    </a:cubicBezTo>
                    <a:cubicBezTo>
                      <a:pt x="165" y="0"/>
                      <a:pt x="156" y="9"/>
                      <a:pt x="156" y="20"/>
                    </a:cubicBezTo>
                    <a:cubicBezTo>
                      <a:pt x="156" y="42"/>
                      <a:pt x="156" y="42"/>
                      <a:pt x="156" y="42"/>
                    </a:cubicBezTo>
                    <a:cubicBezTo>
                      <a:pt x="156" y="54"/>
                      <a:pt x="165" y="63"/>
                      <a:pt x="175" y="63"/>
                    </a:cubicBezTo>
                    <a:cubicBezTo>
                      <a:pt x="175" y="63"/>
                      <a:pt x="175" y="63"/>
                      <a:pt x="175" y="63"/>
                    </a:cubicBezTo>
                    <a:cubicBezTo>
                      <a:pt x="187" y="63"/>
                      <a:pt x="196" y="54"/>
                      <a:pt x="196" y="42"/>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sp>
            <p:nvSpPr>
              <p:cNvPr id="152" name="Freeform 16">
                <a:extLst>
                  <a:ext uri="{FF2B5EF4-FFF2-40B4-BE49-F238E27FC236}">
                    <a16:creationId xmlns:a16="http://schemas.microsoft.com/office/drawing/2014/main" id="{0F4EFD0D-97BD-449F-9B5D-F87D8FF28796}"/>
                  </a:ext>
                </a:extLst>
              </p:cNvPr>
              <p:cNvSpPr>
                <a:spLocks noEditPoints="1"/>
              </p:cNvSpPr>
              <p:nvPr/>
            </p:nvSpPr>
            <p:spPr bwMode="auto">
              <a:xfrm>
                <a:off x="5797" y="3278"/>
                <a:ext cx="146" cy="48"/>
              </a:xfrm>
              <a:custGeom>
                <a:avLst/>
                <a:gdLst>
                  <a:gd name="T0" fmla="*/ 196 w 196"/>
                  <a:gd name="T1" fmla="*/ 64 h 64"/>
                  <a:gd name="T2" fmla="*/ 196 w 196"/>
                  <a:gd name="T3" fmla="*/ 0 h 64"/>
                  <a:gd name="T4" fmla="*/ 79 w 196"/>
                  <a:gd name="T5" fmla="*/ 64 h 64"/>
                  <a:gd name="T6" fmla="*/ 79 w 196"/>
                  <a:gd name="T7" fmla="*/ 0 h 64"/>
                  <a:gd name="T8" fmla="*/ 118 w 196"/>
                  <a:gd name="T9" fmla="*/ 43 h 64"/>
                  <a:gd name="T10" fmla="*/ 138 w 196"/>
                  <a:gd name="T11" fmla="*/ 64 h 64"/>
                  <a:gd name="T12" fmla="*/ 138 w 196"/>
                  <a:gd name="T13" fmla="*/ 64 h 64"/>
                  <a:gd name="T14" fmla="*/ 158 w 196"/>
                  <a:gd name="T15" fmla="*/ 43 h 64"/>
                  <a:gd name="T16" fmla="*/ 158 w 196"/>
                  <a:gd name="T17" fmla="*/ 21 h 64"/>
                  <a:gd name="T18" fmla="*/ 138 w 196"/>
                  <a:gd name="T19" fmla="*/ 0 h 64"/>
                  <a:gd name="T20" fmla="*/ 138 w 196"/>
                  <a:gd name="T21" fmla="*/ 0 h 64"/>
                  <a:gd name="T22" fmla="*/ 118 w 196"/>
                  <a:gd name="T23" fmla="*/ 21 h 64"/>
                  <a:gd name="T24" fmla="*/ 118 w 196"/>
                  <a:gd name="T25" fmla="*/ 43 h 64"/>
                  <a:gd name="T26" fmla="*/ 0 w 196"/>
                  <a:gd name="T27" fmla="*/ 43 h 64"/>
                  <a:gd name="T28" fmla="*/ 20 w 196"/>
                  <a:gd name="T29" fmla="*/ 64 h 64"/>
                  <a:gd name="T30" fmla="*/ 20 w 196"/>
                  <a:gd name="T31" fmla="*/ 64 h 64"/>
                  <a:gd name="T32" fmla="*/ 41 w 196"/>
                  <a:gd name="T33" fmla="*/ 43 h 64"/>
                  <a:gd name="T34" fmla="*/ 41 w 196"/>
                  <a:gd name="T35" fmla="*/ 21 h 64"/>
                  <a:gd name="T36" fmla="*/ 20 w 196"/>
                  <a:gd name="T37" fmla="*/ 0 h 64"/>
                  <a:gd name="T38" fmla="*/ 20 w 196"/>
                  <a:gd name="T39" fmla="*/ 0 h 64"/>
                  <a:gd name="T40" fmla="*/ 0 w 196"/>
                  <a:gd name="T41" fmla="*/ 21 h 64"/>
                  <a:gd name="T42" fmla="*/ 0 w 196"/>
                  <a:gd name="T43"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4">
                    <a:moveTo>
                      <a:pt x="196" y="64"/>
                    </a:moveTo>
                    <a:cubicBezTo>
                      <a:pt x="196" y="64"/>
                      <a:pt x="196" y="64"/>
                      <a:pt x="196" y="0"/>
                    </a:cubicBezTo>
                    <a:moveTo>
                      <a:pt x="79" y="64"/>
                    </a:moveTo>
                    <a:cubicBezTo>
                      <a:pt x="79" y="64"/>
                      <a:pt x="79" y="64"/>
                      <a:pt x="79" y="0"/>
                    </a:cubicBezTo>
                    <a:moveTo>
                      <a:pt x="118" y="43"/>
                    </a:moveTo>
                    <a:cubicBezTo>
                      <a:pt x="118" y="54"/>
                      <a:pt x="127" y="64"/>
                      <a:pt x="138" y="64"/>
                    </a:cubicBezTo>
                    <a:cubicBezTo>
                      <a:pt x="138" y="64"/>
                      <a:pt x="138" y="64"/>
                      <a:pt x="138" y="64"/>
                    </a:cubicBezTo>
                    <a:cubicBezTo>
                      <a:pt x="149" y="64"/>
                      <a:pt x="158" y="54"/>
                      <a:pt x="158" y="43"/>
                    </a:cubicBezTo>
                    <a:cubicBezTo>
                      <a:pt x="158" y="43"/>
                      <a:pt x="158" y="43"/>
                      <a:pt x="158" y="21"/>
                    </a:cubicBezTo>
                    <a:cubicBezTo>
                      <a:pt x="158" y="9"/>
                      <a:pt x="149" y="0"/>
                      <a:pt x="138" y="0"/>
                    </a:cubicBezTo>
                    <a:cubicBezTo>
                      <a:pt x="138" y="0"/>
                      <a:pt x="138" y="0"/>
                      <a:pt x="138" y="0"/>
                    </a:cubicBezTo>
                    <a:cubicBezTo>
                      <a:pt x="127" y="0"/>
                      <a:pt x="118" y="9"/>
                      <a:pt x="118" y="21"/>
                    </a:cubicBezTo>
                    <a:cubicBezTo>
                      <a:pt x="118" y="21"/>
                      <a:pt x="118" y="21"/>
                      <a:pt x="118" y="43"/>
                    </a:cubicBezTo>
                    <a:close/>
                    <a:moveTo>
                      <a:pt x="0" y="43"/>
                    </a:moveTo>
                    <a:cubicBezTo>
                      <a:pt x="0" y="54"/>
                      <a:pt x="10" y="64"/>
                      <a:pt x="20" y="64"/>
                    </a:cubicBezTo>
                    <a:cubicBezTo>
                      <a:pt x="20" y="64"/>
                      <a:pt x="20" y="64"/>
                      <a:pt x="20" y="64"/>
                    </a:cubicBezTo>
                    <a:cubicBezTo>
                      <a:pt x="32" y="64"/>
                      <a:pt x="41" y="54"/>
                      <a:pt x="41" y="43"/>
                    </a:cubicBezTo>
                    <a:cubicBezTo>
                      <a:pt x="41" y="43"/>
                      <a:pt x="41" y="43"/>
                      <a:pt x="41" y="21"/>
                    </a:cubicBezTo>
                    <a:cubicBezTo>
                      <a:pt x="41" y="9"/>
                      <a:pt x="32" y="0"/>
                      <a:pt x="20" y="0"/>
                    </a:cubicBezTo>
                    <a:cubicBezTo>
                      <a:pt x="20" y="0"/>
                      <a:pt x="20" y="0"/>
                      <a:pt x="20" y="0"/>
                    </a:cubicBezTo>
                    <a:cubicBezTo>
                      <a:pt x="10" y="0"/>
                      <a:pt x="0" y="9"/>
                      <a:pt x="0" y="21"/>
                    </a:cubicBezTo>
                    <a:cubicBezTo>
                      <a:pt x="0" y="21"/>
                      <a:pt x="0" y="21"/>
                      <a:pt x="0" y="43"/>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dirty="0">
                  <a:solidFill>
                    <a:srgbClr val="505050"/>
                  </a:solidFill>
                  <a:latin typeface="Segoe UI Semilight"/>
                </a:endParaRPr>
              </a:p>
            </p:txBody>
          </p:sp>
        </p:grpSp>
      </p:grpSp>
      <p:sp>
        <p:nvSpPr>
          <p:cNvPr id="154" name="Rectangle 153">
            <a:extLst>
              <a:ext uri="{FF2B5EF4-FFF2-40B4-BE49-F238E27FC236}">
                <a16:creationId xmlns:a16="http://schemas.microsoft.com/office/drawing/2014/main" id="{10EEAD07-00AE-48AE-96FD-5E47133D5C24}"/>
              </a:ext>
            </a:extLst>
          </p:cNvPr>
          <p:cNvSpPr/>
          <p:nvPr/>
        </p:nvSpPr>
        <p:spPr bwMode="auto">
          <a:xfrm>
            <a:off x="890650" y="2761490"/>
            <a:ext cx="4204651" cy="8188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defTabSz="950938" fontAlgn="base">
              <a:lnSpc>
                <a:spcPct val="90000"/>
              </a:lnSpc>
              <a:spcBef>
                <a:spcPct val="0"/>
              </a:spcBef>
              <a:spcAft>
                <a:spcPct val="0"/>
              </a:spcAft>
              <a:defRPr/>
            </a:pPr>
            <a:r>
              <a:rPr lang="zh-CN" altLang="en-US" sz="4080" spc="-51">
                <a:ln w="3175">
                  <a:noFill/>
                </a:ln>
                <a:gradFill>
                  <a:gsLst>
                    <a:gs pos="0">
                      <a:srgbClr val="1A1A1A"/>
                    </a:gs>
                    <a:gs pos="100000">
                      <a:srgbClr val="1A1A1A"/>
                    </a:gs>
                  </a:gsLst>
                  <a:lin ang="5400000" scaled="0"/>
                </a:gradFill>
                <a:latin typeface="Segoe UI Semibold"/>
                <a:cs typeface="Segoe UI" pitchFamily="34" charset="0"/>
              </a:rPr>
              <a:t>微软的世界观</a:t>
            </a:r>
            <a:endParaRPr lang="en-US" sz="4080" spc="-51" dirty="0">
              <a:ln w="3175">
                <a:noFill/>
              </a:ln>
              <a:gradFill>
                <a:gsLst>
                  <a:gs pos="0">
                    <a:srgbClr val="1A1A1A"/>
                  </a:gs>
                  <a:gs pos="100000">
                    <a:srgbClr val="1A1A1A"/>
                  </a:gs>
                </a:gsLst>
                <a:lin ang="5400000" scaled="0"/>
              </a:gradFill>
              <a:latin typeface="Segoe UI Semibold"/>
              <a:cs typeface="Segoe UI" pitchFamily="34" charset="0"/>
            </a:endParaRPr>
          </a:p>
        </p:txBody>
      </p:sp>
    </p:spTree>
    <p:extLst>
      <p:ext uri="{BB962C8B-B14F-4D97-AF65-F5344CB8AC3E}">
        <p14:creationId xmlns:p14="http://schemas.microsoft.com/office/powerpoint/2010/main" val="3590226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42" presetClass="path" presetSubtype="0" decel="100000" fill="hold" grpId="1" nodeType="withEffect">
                                  <p:stCondLst>
                                    <p:cond delay="300"/>
                                  </p:stCondLst>
                                  <p:childTnLst>
                                    <p:animMotion origin="layout" path="M 2.08333E-7 1.48148E-6 L 2.08333E-7 0.02569 " pathEditMode="relative" rAng="0" ptsTypes="AA">
                                      <p:cBhvr>
                                        <p:cTn id="12" dur="500" spd="-100000" fill="hold"/>
                                        <p:tgtEl>
                                          <p:spTgt spid="7"/>
                                        </p:tgtEl>
                                        <p:attrNameLst>
                                          <p:attrName>ppt_x</p:attrName>
                                          <p:attrName>ppt_y</p:attrName>
                                        </p:attrNameLst>
                                      </p:cBhvr>
                                      <p:rCtr x="0" y="1273"/>
                                    </p:animMotion>
                                  </p:childTnLst>
                                </p:cTn>
                              </p:par>
                              <p:par>
                                <p:cTn id="13" presetID="1" presetClass="entr" presetSubtype="0" fill="hold" grpId="0" nodeType="withEffect">
                                  <p:stCondLst>
                                    <p:cond delay="0"/>
                                  </p:stCondLst>
                                  <p:childTnLst>
                                    <p:set>
                                      <p:cBhvr>
                                        <p:cTn id="14" dur="1" fill="hold">
                                          <p:stCondLst>
                                            <p:cond delay="299"/>
                                          </p:stCondLst>
                                        </p:cTn>
                                        <p:tgtEl>
                                          <p:spTgt spid="6"/>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300" fill="hold"/>
                                        <p:tgtEl>
                                          <p:spTgt spid="6"/>
                                        </p:tgtEl>
                                      </p:cBhvr>
                                      <p:by x="0" y="0"/>
                                    </p:animScale>
                                  </p:childTnLst>
                                </p:cTn>
                              </p:par>
                              <p:par>
                                <p:cTn id="17" presetID="10" presetClass="entr" presetSubtype="0" fill="hold" grpId="0" nodeType="withEffect">
                                  <p:stCondLst>
                                    <p:cond delay="3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42" presetClass="path" presetSubtype="0" decel="100000" fill="hold" grpId="1" nodeType="withEffect">
                                  <p:stCondLst>
                                    <p:cond delay="300"/>
                                  </p:stCondLst>
                                  <p:childTnLst>
                                    <p:animMotion origin="layout" path="M 2.08333E-7 2.22222E-6 L 2.08333E-7 0.02569 " pathEditMode="relative" rAng="0" ptsTypes="AA">
                                      <p:cBhvr>
                                        <p:cTn id="21" dur="500" spd="-100000" fill="hold"/>
                                        <p:tgtEl>
                                          <p:spTgt spid="10"/>
                                        </p:tgtEl>
                                        <p:attrNameLst>
                                          <p:attrName>ppt_x</p:attrName>
                                          <p:attrName>ppt_y</p:attrName>
                                        </p:attrNameLst>
                                      </p:cBhvr>
                                      <p:rCtr x="0" y="1273"/>
                                    </p:animMotion>
                                  </p:childTnLst>
                                </p:cTn>
                              </p:par>
                              <p:par>
                                <p:cTn id="22" presetID="1" presetClass="entr" presetSubtype="0" fill="hold" nodeType="withEffect">
                                  <p:stCondLst>
                                    <p:cond delay="50"/>
                                  </p:stCondLst>
                                  <p:childTnLst>
                                    <p:set>
                                      <p:cBhvr>
                                        <p:cTn id="23" dur="1" fill="hold">
                                          <p:stCondLst>
                                            <p:cond delay="299"/>
                                          </p:stCondLst>
                                        </p:cTn>
                                        <p:tgtEl>
                                          <p:spTgt spid="14"/>
                                        </p:tgtEl>
                                        <p:attrNameLst>
                                          <p:attrName>style.visibility</p:attrName>
                                        </p:attrNameLst>
                                      </p:cBhvr>
                                      <p:to>
                                        <p:strVal val="visible"/>
                                      </p:to>
                                    </p:set>
                                  </p:childTnLst>
                                </p:cTn>
                              </p:par>
                              <p:par>
                                <p:cTn id="24" presetID="6" presetClass="emph" presetSubtype="0" accel="100000" autoRev="1" fill="hold" nodeType="withEffect">
                                  <p:stCondLst>
                                    <p:cond delay="50"/>
                                  </p:stCondLst>
                                  <p:childTnLst>
                                    <p:animScale>
                                      <p:cBhvr>
                                        <p:cTn id="25" dur="300" fill="hold"/>
                                        <p:tgtEl>
                                          <p:spTgt spid="14"/>
                                        </p:tgtEl>
                                      </p:cBhvr>
                                      <p:by x="0" y="0"/>
                                    </p:animScale>
                                  </p:childTnLst>
                                </p:cTn>
                              </p:par>
                              <p:par>
                                <p:cTn id="26" presetID="1" presetClass="entr" presetSubtype="0" fill="hold" nodeType="withEffect">
                                  <p:stCondLst>
                                    <p:cond delay="50"/>
                                  </p:stCondLst>
                                  <p:childTnLst>
                                    <p:set>
                                      <p:cBhvr>
                                        <p:cTn id="27" dur="1" fill="hold">
                                          <p:stCondLst>
                                            <p:cond delay="299"/>
                                          </p:stCondLst>
                                        </p:cTn>
                                        <p:tgtEl>
                                          <p:spTgt spid="55"/>
                                        </p:tgtEl>
                                        <p:attrNameLst>
                                          <p:attrName>style.visibility</p:attrName>
                                        </p:attrNameLst>
                                      </p:cBhvr>
                                      <p:to>
                                        <p:strVal val="visible"/>
                                      </p:to>
                                    </p:set>
                                  </p:childTnLst>
                                </p:cTn>
                              </p:par>
                              <p:par>
                                <p:cTn id="28" presetID="6" presetClass="emph" presetSubtype="0" accel="100000" autoRev="1" fill="hold" nodeType="withEffect">
                                  <p:stCondLst>
                                    <p:cond delay="50"/>
                                  </p:stCondLst>
                                  <p:childTnLst>
                                    <p:animScale>
                                      <p:cBhvr>
                                        <p:cTn id="29" dur="300" fill="hold"/>
                                        <p:tgtEl>
                                          <p:spTgt spid="55"/>
                                        </p:tgtEl>
                                      </p:cBhvr>
                                      <p:by x="0" y="0"/>
                                    </p:animScale>
                                  </p:childTnLst>
                                </p:cTn>
                              </p:par>
                              <p:par>
                                <p:cTn id="30" presetID="1" presetClass="entr" presetSubtype="0" fill="hold" nodeType="withEffect">
                                  <p:stCondLst>
                                    <p:cond delay="50"/>
                                  </p:stCondLst>
                                  <p:childTnLst>
                                    <p:set>
                                      <p:cBhvr>
                                        <p:cTn id="31" dur="1" fill="hold">
                                          <p:stCondLst>
                                            <p:cond delay="299"/>
                                          </p:stCondLst>
                                        </p:cTn>
                                        <p:tgtEl>
                                          <p:spTgt spid="58"/>
                                        </p:tgtEl>
                                        <p:attrNameLst>
                                          <p:attrName>style.visibility</p:attrName>
                                        </p:attrNameLst>
                                      </p:cBhvr>
                                      <p:to>
                                        <p:strVal val="visible"/>
                                      </p:to>
                                    </p:set>
                                  </p:childTnLst>
                                </p:cTn>
                              </p:par>
                              <p:par>
                                <p:cTn id="32" presetID="6" presetClass="emph" presetSubtype="0" accel="100000" autoRev="1" fill="hold" nodeType="withEffect">
                                  <p:stCondLst>
                                    <p:cond delay="50"/>
                                  </p:stCondLst>
                                  <p:childTnLst>
                                    <p:animScale>
                                      <p:cBhvr>
                                        <p:cTn id="33" dur="300" fill="hold"/>
                                        <p:tgtEl>
                                          <p:spTgt spid="58"/>
                                        </p:tgtEl>
                                      </p:cBhvr>
                                      <p:by x="0" y="0"/>
                                    </p:animScale>
                                  </p:childTnLst>
                                </p:cTn>
                              </p:par>
                              <p:par>
                                <p:cTn id="34" presetID="1" presetClass="entr" presetSubtype="0" fill="hold" nodeType="withEffect">
                                  <p:stCondLst>
                                    <p:cond delay="50"/>
                                  </p:stCondLst>
                                  <p:childTnLst>
                                    <p:set>
                                      <p:cBhvr>
                                        <p:cTn id="35" dur="1" fill="hold">
                                          <p:stCondLst>
                                            <p:cond delay="299"/>
                                          </p:stCondLst>
                                        </p:cTn>
                                        <p:tgtEl>
                                          <p:spTgt spid="129"/>
                                        </p:tgtEl>
                                        <p:attrNameLst>
                                          <p:attrName>style.visibility</p:attrName>
                                        </p:attrNameLst>
                                      </p:cBhvr>
                                      <p:to>
                                        <p:strVal val="visible"/>
                                      </p:to>
                                    </p:set>
                                  </p:childTnLst>
                                </p:cTn>
                              </p:par>
                              <p:par>
                                <p:cTn id="36" presetID="6" presetClass="emph" presetSubtype="0" accel="100000" autoRev="1" fill="hold" nodeType="withEffect">
                                  <p:stCondLst>
                                    <p:cond delay="50"/>
                                  </p:stCondLst>
                                  <p:childTnLst>
                                    <p:animScale>
                                      <p:cBhvr>
                                        <p:cTn id="37" dur="300" fill="hold"/>
                                        <p:tgtEl>
                                          <p:spTgt spid="129"/>
                                        </p:tgtEl>
                                      </p:cBhvr>
                                      <p:by x="0" y="0"/>
                                    </p:animScale>
                                  </p:childTnLst>
                                </p:cTn>
                              </p:par>
                              <p:par>
                                <p:cTn id="38" presetID="1" presetClass="entr" presetSubtype="0" fill="hold" nodeType="withEffect">
                                  <p:stCondLst>
                                    <p:cond delay="50"/>
                                  </p:stCondLst>
                                  <p:childTnLst>
                                    <p:set>
                                      <p:cBhvr>
                                        <p:cTn id="39" dur="1" fill="hold">
                                          <p:stCondLst>
                                            <p:cond delay="299"/>
                                          </p:stCondLst>
                                        </p:cTn>
                                        <p:tgtEl>
                                          <p:spTgt spid="93"/>
                                        </p:tgtEl>
                                        <p:attrNameLst>
                                          <p:attrName>style.visibility</p:attrName>
                                        </p:attrNameLst>
                                      </p:cBhvr>
                                      <p:to>
                                        <p:strVal val="visible"/>
                                      </p:to>
                                    </p:set>
                                  </p:childTnLst>
                                </p:cTn>
                              </p:par>
                              <p:par>
                                <p:cTn id="40" presetID="6" presetClass="emph" presetSubtype="0" accel="100000" autoRev="1" fill="hold" nodeType="withEffect">
                                  <p:stCondLst>
                                    <p:cond delay="50"/>
                                  </p:stCondLst>
                                  <p:childTnLst>
                                    <p:animScale>
                                      <p:cBhvr>
                                        <p:cTn id="41" dur="300" fill="hold"/>
                                        <p:tgtEl>
                                          <p:spTgt spid="93"/>
                                        </p:tgtEl>
                                      </p:cBhvr>
                                      <p:by x="0" y="0"/>
                                    </p:animScale>
                                  </p:childTnLst>
                                </p:cTn>
                              </p:par>
                              <p:par>
                                <p:cTn id="42" presetID="1" presetClass="entr" presetSubtype="0" fill="hold" nodeType="withEffect">
                                  <p:stCondLst>
                                    <p:cond delay="50"/>
                                  </p:stCondLst>
                                  <p:childTnLst>
                                    <p:set>
                                      <p:cBhvr>
                                        <p:cTn id="43" dur="1" fill="hold">
                                          <p:stCondLst>
                                            <p:cond delay="299"/>
                                          </p:stCondLst>
                                        </p:cTn>
                                        <p:tgtEl>
                                          <p:spTgt spid="138"/>
                                        </p:tgtEl>
                                        <p:attrNameLst>
                                          <p:attrName>style.visibility</p:attrName>
                                        </p:attrNameLst>
                                      </p:cBhvr>
                                      <p:to>
                                        <p:strVal val="visible"/>
                                      </p:to>
                                    </p:set>
                                  </p:childTnLst>
                                </p:cTn>
                              </p:par>
                              <p:par>
                                <p:cTn id="44" presetID="6" presetClass="emph" presetSubtype="0" accel="100000" autoRev="1" fill="hold" nodeType="withEffect">
                                  <p:stCondLst>
                                    <p:cond delay="50"/>
                                  </p:stCondLst>
                                  <p:childTnLst>
                                    <p:animScale>
                                      <p:cBhvr>
                                        <p:cTn id="45" dur="300" fill="hold"/>
                                        <p:tgtEl>
                                          <p:spTgt spid="138"/>
                                        </p:tgtEl>
                                      </p:cBhvr>
                                      <p:by x="0" y="0"/>
                                    </p:animScale>
                                  </p:childTnLst>
                                </p:cTn>
                              </p:par>
                              <p:par>
                                <p:cTn id="46" presetID="1" presetClass="entr" presetSubtype="0" fill="hold" nodeType="withEffect">
                                  <p:stCondLst>
                                    <p:cond delay="50"/>
                                  </p:stCondLst>
                                  <p:childTnLst>
                                    <p:set>
                                      <p:cBhvr>
                                        <p:cTn id="47" dur="1" fill="hold">
                                          <p:stCondLst>
                                            <p:cond delay="299"/>
                                          </p:stCondLst>
                                        </p:cTn>
                                        <p:tgtEl>
                                          <p:spTgt spid="17"/>
                                        </p:tgtEl>
                                        <p:attrNameLst>
                                          <p:attrName>style.visibility</p:attrName>
                                        </p:attrNameLst>
                                      </p:cBhvr>
                                      <p:to>
                                        <p:strVal val="visible"/>
                                      </p:to>
                                    </p:set>
                                  </p:childTnLst>
                                </p:cTn>
                              </p:par>
                              <p:par>
                                <p:cTn id="48" presetID="6" presetClass="emph" presetSubtype="0" accel="100000" autoRev="1" fill="hold" nodeType="withEffect">
                                  <p:stCondLst>
                                    <p:cond delay="50"/>
                                  </p:stCondLst>
                                  <p:childTnLst>
                                    <p:animScale>
                                      <p:cBhvr>
                                        <p:cTn id="49" dur="300" fill="hold"/>
                                        <p:tgtEl>
                                          <p:spTgt spid="17"/>
                                        </p:tgtEl>
                                      </p:cBhvr>
                                      <p:by x="0" y="0"/>
                                    </p:animScale>
                                  </p:childTnLst>
                                </p:cTn>
                              </p:par>
                              <p:par>
                                <p:cTn id="50" presetID="1" presetClass="entr" presetSubtype="0" fill="hold" nodeType="withEffect">
                                  <p:stCondLst>
                                    <p:cond delay="50"/>
                                  </p:stCondLst>
                                  <p:childTnLst>
                                    <p:set>
                                      <p:cBhvr>
                                        <p:cTn id="51" dur="1" fill="hold">
                                          <p:stCondLst>
                                            <p:cond delay="299"/>
                                          </p:stCondLst>
                                        </p:cTn>
                                        <p:tgtEl>
                                          <p:spTgt spid="104"/>
                                        </p:tgtEl>
                                        <p:attrNameLst>
                                          <p:attrName>style.visibility</p:attrName>
                                        </p:attrNameLst>
                                      </p:cBhvr>
                                      <p:to>
                                        <p:strVal val="visible"/>
                                      </p:to>
                                    </p:set>
                                  </p:childTnLst>
                                </p:cTn>
                              </p:par>
                              <p:par>
                                <p:cTn id="52" presetID="6" presetClass="emph" presetSubtype="0" accel="100000" autoRev="1" fill="hold" nodeType="withEffect">
                                  <p:stCondLst>
                                    <p:cond delay="50"/>
                                  </p:stCondLst>
                                  <p:childTnLst>
                                    <p:animScale>
                                      <p:cBhvr>
                                        <p:cTn id="53" dur="300" fill="hold"/>
                                        <p:tgtEl>
                                          <p:spTgt spid="104"/>
                                        </p:tgtEl>
                                      </p:cBhvr>
                                      <p:by x="0" y="0"/>
                                    </p:animScale>
                                  </p:childTnLst>
                                </p:cTn>
                              </p:par>
                              <p:par>
                                <p:cTn id="54" presetID="1" presetClass="entr" presetSubtype="0" fill="hold" nodeType="withEffect">
                                  <p:stCondLst>
                                    <p:cond delay="50"/>
                                  </p:stCondLst>
                                  <p:childTnLst>
                                    <p:set>
                                      <p:cBhvr>
                                        <p:cTn id="55" dur="1" fill="hold">
                                          <p:stCondLst>
                                            <p:cond delay="299"/>
                                          </p:stCondLst>
                                        </p:cTn>
                                        <p:tgtEl>
                                          <p:spTgt spid="11"/>
                                        </p:tgtEl>
                                        <p:attrNameLst>
                                          <p:attrName>style.visibility</p:attrName>
                                        </p:attrNameLst>
                                      </p:cBhvr>
                                      <p:to>
                                        <p:strVal val="visible"/>
                                      </p:to>
                                    </p:set>
                                  </p:childTnLst>
                                </p:cTn>
                              </p:par>
                              <p:par>
                                <p:cTn id="56" presetID="6" presetClass="emph" presetSubtype="0" accel="100000" autoRev="1" fill="hold" nodeType="withEffect">
                                  <p:stCondLst>
                                    <p:cond delay="50"/>
                                  </p:stCondLst>
                                  <p:childTnLst>
                                    <p:animScale>
                                      <p:cBhvr>
                                        <p:cTn id="57" dur="300" fill="hold"/>
                                        <p:tgtEl>
                                          <p:spTgt spid="11"/>
                                        </p:tgtEl>
                                      </p:cBhvr>
                                      <p:by x="0" y="0"/>
                                    </p:animScale>
                                  </p:childTnLst>
                                </p:cTn>
                              </p:par>
                              <p:par>
                                <p:cTn id="58" presetID="1" presetClass="entr" presetSubtype="0" fill="hold" nodeType="withEffect">
                                  <p:stCondLst>
                                    <p:cond delay="50"/>
                                  </p:stCondLst>
                                  <p:childTnLst>
                                    <p:set>
                                      <p:cBhvr>
                                        <p:cTn id="59" dur="1" fill="hold">
                                          <p:stCondLst>
                                            <p:cond delay="299"/>
                                          </p:stCondLst>
                                        </p:cTn>
                                        <p:tgtEl>
                                          <p:spTgt spid="70"/>
                                        </p:tgtEl>
                                        <p:attrNameLst>
                                          <p:attrName>style.visibility</p:attrName>
                                        </p:attrNameLst>
                                      </p:cBhvr>
                                      <p:to>
                                        <p:strVal val="visible"/>
                                      </p:to>
                                    </p:set>
                                  </p:childTnLst>
                                </p:cTn>
                              </p:par>
                              <p:par>
                                <p:cTn id="60" presetID="6" presetClass="emph" presetSubtype="0" accel="100000" autoRev="1" fill="hold" nodeType="withEffect">
                                  <p:stCondLst>
                                    <p:cond delay="50"/>
                                  </p:stCondLst>
                                  <p:childTnLst>
                                    <p:animScale>
                                      <p:cBhvr>
                                        <p:cTn id="61" dur="300" fill="hold"/>
                                        <p:tgtEl>
                                          <p:spTgt spid="70"/>
                                        </p:tgtEl>
                                      </p:cBhvr>
                                      <p:by x="0" y="0"/>
                                    </p:animScale>
                                  </p:childTnLst>
                                </p:cTn>
                              </p:par>
                              <p:par>
                                <p:cTn id="62" presetID="1" presetClass="entr" presetSubtype="0" fill="hold" nodeType="withEffect">
                                  <p:stCondLst>
                                    <p:cond delay="50"/>
                                  </p:stCondLst>
                                  <p:childTnLst>
                                    <p:set>
                                      <p:cBhvr>
                                        <p:cTn id="63" dur="1" fill="hold">
                                          <p:stCondLst>
                                            <p:cond delay="299"/>
                                          </p:stCondLst>
                                        </p:cTn>
                                        <p:tgtEl>
                                          <p:spTgt spid="114"/>
                                        </p:tgtEl>
                                        <p:attrNameLst>
                                          <p:attrName>style.visibility</p:attrName>
                                        </p:attrNameLst>
                                      </p:cBhvr>
                                      <p:to>
                                        <p:strVal val="visible"/>
                                      </p:to>
                                    </p:set>
                                  </p:childTnLst>
                                </p:cTn>
                              </p:par>
                              <p:par>
                                <p:cTn id="64" presetID="6" presetClass="emph" presetSubtype="0" accel="100000" autoRev="1" fill="hold" nodeType="withEffect">
                                  <p:stCondLst>
                                    <p:cond delay="50"/>
                                  </p:stCondLst>
                                  <p:childTnLst>
                                    <p:animScale>
                                      <p:cBhvr>
                                        <p:cTn id="65" dur="300" fill="hold"/>
                                        <p:tgtEl>
                                          <p:spTgt spid="114"/>
                                        </p:tgtEl>
                                      </p:cBhvr>
                                      <p:by x="0" y="0"/>
                                    </p:animScale>
                                  </p:childTnLst>
                                </p:cTn>
                              </p:par>
                              <p:par>
                                <p:cTn id="66" presetID="1" presetClass="entr" presetSubtype="0" fill="hold" nodeType="withEffect">
                                  <p:stCondLst>
                                    <p:cond delay="50"/>
                                  </p:stCondLst>
                                  <p:childTnLst>
                                    <p:set>
                                      <p:cBhvr>
                                        <p:cTn id="67" dur="1" fill="hold">
                                          <p:stCondLst>
                                            <p:cond delay="299"/>
                                          </p:stCondLst>
                                        </p:cTn>
                                        <p:tgtEl>
                                          <p:spTgt spid="36"/>
                                        </p:tgtEl>
                                        <p:attrNameLst>
                                          <p:attrName>style.visibility</p:attrName>
                                        </p:attrNameLst>
                                      </p:cBhvr>
                                      <p:to>
                                        <p:strVal val="visible"/>
                                      </p:to>
                                    </p:set>
                                  </p:childTnLst>
                                </p:cTn>
                              </p:par>
                              <p:par>
                                <p:cTn id="68" presetID="6" presetClass="emph" presetSubtype="0" accel="100000" autoRev="1" fill="hold" nodeType="withEffect">
                                  <p:stCondLst>
                                    <p:cond delay="50"/>
                                  </p:stCondLst>
                                  <p:childTnLst>
                                    <p:animScale>
                                      <p:cBhvr>
                                        <p:cTn id="69" dur="300" fill="hold"/>
                                        <p:tgtEl>
                                          <p:spTgt spid="36"/>
                                        </p:tgtEl>
                                      </p:cBhvr>
                                      <p:by x="0" y="0"/>
                                    </p:animScale>
                                  </p:childTnLst>
                                </p:cTn>
                              </p:par>
                              <p:par>
                                <p:cTn id="70" presetID="1" presetClass="entr" presetSubtype="0" fill="hold" nodeType="withEffect">
                                  <p:stCondLst>
                                    <p:cond delay="50"/>
                                  </p:stCondLst>
                                  <p:childTnLst>
                                    <p:set>
                                      <p:cBhvr>
                                        <p:cTn id="71" dur="1" fill="hold">
                                          <p:stCondLst>
                                            <p:cond delay="299"/>
                                          </p:stCondLst>
                                        </p:cTn>
                                        <p:tgtEl>
                                          <p:spTgt spid="101"/>
                                        </p:tgtEl>
                                        <p:attrNameLst>
                                          <p:attrName>style.visibility</p:attrName>
                                        </p:attrNameLst>
                                      </p:cBhvr>
                                      <p:to>
                                        <p:strVal val="visible"/>
                                      </p:to>
                                    </p:set>
                                  </p:childTnLst>
                                </p:cTn>
                              </p:par>
                              <p:par>
                                <p:cTn id="72" presetID="6" presetClass="emph" presetSubtype="0" accel="100000" autoRev="1" fill="hold" nodeType="withEffect">
                                  <p:stCondLst>
                                    <p:cond delay="50"/>
                                  </p:stCondLst>
                                  <p:childTnLst>
                                    <p:animScale>
                                      <p:cBhvr>
                                        <p:cTn id="73" dur="300" fill="hold"/>
                                        <p:tgtEl>
                                          <p:spTgt spid="101"/>
                                        </p:tgtEl>
                                      </p:cBhvr>
                                      <p:by x="0" y="0"/>
                                    </p:animScale>
                                  </p:childTnLst>
                                </p:cTn>
                              </p:par>
                              <p:par>
                                <p:cTn id="74" presetID="1" presetClass="entr" presetSubtype="0" fill="hold" nodeType="withEffect">
                                  <p:stCondLst>
                                    <p:cond delay="50"/>
                                  </p:stCondLst>
                                  <p:childTnLst>
                                    <p:set>
                                      <p:cBhvr>
                                        <p:cTn id="75" dur="1" fill="hold">
                                          <p:stCondLst>
                                            <p:cond delay="299"/>
                                          </p:stCondLst>
                                        </p:cTn>
                                        <p:tgtEl>
                                          <p:spTgt spid="49"/>
                                        </p:tgtEl>
                                        <p:attrNameLst>
                                          <p:attrName>style.visibility</p:attrName>
                                        </p:attrNameLst>
                                      </p:cBhvr>
                                      <p:to>
                                        <p:strVal val="visible"/>
                                      </p:to>
                                    </p:set>
                                  </p:childTnLst>
                                </p:cTn>
                              </p:par>
                              <p:par>
                                <p:cTn id="76" presetID="6" presetClass="emph" presetSubtype="0" accel="100000" autoRev="1" fill="hold" nodeType="withEffect">
                                  <p:stCondLst>
                                    <p:cond delay="50"/>
                                  </p:stCondLst>
                                  <p:childTnLst>
                                    <p:animScale>
                                      <p:cBhvr>
                                        <p:cTn id="77" dur="300" fill="hold"/>
                                        <p:tgtEl>
                                          <p:spTgt spid="49"/>
                                        </p:tgtEl>
                                      </p:cBhvr>
                                      <p:by x="0" y="0"/>
                                    </p:animScale>
                                  </p:childTnLst>
                                </p:cTn>
                              </p:par>
                              <p:par>
                                <p:cTn id="78" presetID="1" presetClass="entr" presetSubtype="0" fill="hold" nodeType="withEffect">
                                  <p:stCondLst>
                                    <p:cond delay="50"/>
                                  </p:stCondLst>
                                  <p:childTnLst>
                                    <p:set>
                                      <p:cBhvr>
                                        <p:cTn id="79" dur="1" fill="hold">
                                          <p:stCondLst>
                                            <p:cond delay="299"/>
                                          </p:stCondLst>
                                        </p:cTn>
                                        <p:tgtEl>
                                          <p:spTgt spid="61"/>
                                        </p:tgtEl>
                                        <p:attrNameLst>
                                          <p:attrName>style.visibility</p:attrName>
                                        </p:attrNameLst>
                                      </p:cBhvr>
                                      <p:to>
                                        <p:strVal val="visible"/>
                                      </p:to>
                                    </p:set>
                                  </p:childTnLst>
                                </p:cTn>
                              </p:par>
                              <p:par>
                                <p:cTn id="80" presetID="6" presetClass="emph" presetSubtype="0" accel="100000" autoRev="1" fill="hold" nodeType="withEffect">
                                  <p:stCondLst>
                                    <p:cond delay="50"/>
                                  </p:stCondLst>
                                  <p:childTnLst>
                                    <p:animScale>
                                      <p:cBhvr>
                                        <p:cTn id="81" dur="300" fill="hold"/>
                                        <p:tgtEl>
                                          <p:spTgt spid="61"/>
                                        </p:tgtEl>
                                      </p:cBhvr>
                                      <p:by x="0" y="0"/>
                                    </p:animScale>
                                  </p:childTnLst>
                                </p:cTn>
                              </p:par>
                              <p:par>
                                <p:cTn id="82" presetID="1" presetClass="entr" presetSubtype="0" fill="hold" nodeType="withEffect">
                                  <p:stCondLst>
                                    <p:cond delay="50"/>
                                  </p:stCondLst>
                                  <p:childTnLst>
                                    <p:set>
                                      <p:cBhvr>
                                        <p:cTn id="83" dur="1" fill="hold">
                                          <p:stCondLst>
                                            <p:cond delay="299"/>
                                          </p:stCondLst>
                                        </p:cTn>
                                        <p:tgtEl>
                                          <p:spTgt spid="43"/>
                                        </p:tgtEl>
                                        <p:attrNameLst>
                                          <p:attrName>style.visibility</p:attrName>
                                        </p:attrNameLst>
                                      </p:cBhvr>
                                      <p:to>
                                        <p:strVal val="visible"/>
                                      </p:to>
                                    </p:set>
                                  </p:childTnLst>
                                </p:cTn>
                              </p:par>
                              <p:par>
                                <p:cTn id="84" presetID="6" presetClass="emph" presetSubtype="0" accel="100000" autoRev="1" fill="hold" nodeType="withEffect">
                                  <p:stCondLst>
                                    <p:cond delay="50"/>
                                  </p:stCondLst>
                                  <p:childTnLst>
                                    <p:animScale>
                                      <p:cBhvr>
                                        <p:cTn id="85" dur="300" fill="hold"/>
                                        <p:tgtEl>
                                          <p:spTgt spid="43"/>
                                        </p:tgtEl>
                                      </p:cBhvr>
                                      <p:by x="0" y="0"/>
                                    </p:animScale>
                                  </p:childTnLst>
                                </p:cTn>
                              </p:par>
                              <p:par>
                                <p:cTn id="86" presetID="1" presetClass="entr" presetSubtype="0" fill="hold" nodeType="withEffect">
                                  <p:stCondLst>
                                    <p:cond delay="50"/>
                                  </p:stCondLst>
                                  <p:childTnLst>
                                    <p:set>
                                      <p:cBhvr>
                                        <p:cTn id="87" dur="1" fill="hold">
                                          <p:stCondLst>
                                            <p:cond delay="299"/>
                                          </p:stCondLst>
                                        </p:cTn>
                                        <p:tgtEl>
                                          <p:spTgt spid="46"/>
                                        </p:tgtEl>
                                        <p:attrNameLst>
                                          <p:attrName>style.visibility</p:attrName>
                                        </p:attrNameLst>
                                      </p:cBhvr>
                                      <p:to>
                                        <p:strVal val="visible"/>
                                      </p:to>
                                    </p:set>
                                  </p:childTnLst>
                                </p:cTn>
                              </p:par>
                              <p:par>
                                <p:cTn id="88" presetID="6" presetClass="emph" presetSubtype="0" accel="100000" autoRev="1" fill="hold" nodeType="withEffect">
                                  <p:stCondLst>
                                    <p:cond delay="50"/>
                                  </p:stCondLst>
                                  <p:childTnLst>
                                    <p:animScale>
                                      <p:cBhvr>
                                        <p:cTn id="89" dur="300" fill="hold"/>
                                        <p:tgtEl>
                                          <p:spTgt spid="46"/>
                                        </p:tgtEl>
                                      </p:cBhvr>
                                      <p:by x="0" y="0"/>
                                    </p:animScale>
                                  </p:childTnLst>
                                </p:cTn>
                              </p:par>
                              <p:par>
                                <p:cTn id="90" presetID="1" presetClass="entr" presetSubtype="0" fill="hold" nodeType="withEffect">
                                  <p:stCondLst>
                                    <p:cond delay="50"/>
                                  </p:stCondLst>
                                  <p:childTnLst>
                                    <p:set>
                                      <p:cBhvr>
                                        <p:cTn id="91" dur="1" fill="hold">
                                          <p:stCondLst>
                                            <p:cond delay="299"/>
                                          </p:stCondLst>
                                        </p:cTn>
                                        <p:tgtEl>
                                          <p:spTgt spid="98"/>
                                        </p:tgtEl>
                                        <p:attrNameLst>
                                          <p:attrName>style.visibility</p:attrName>
                                        </p:attrNameLst>
                                      </p:cBhvr>
                                      <p:to>
                                        <p:strVal val="visible"/>
                                      </p:to>
                                    </p:set>
                                  </p:childTnLst>
                                </p:cTn>
                              </p:par>
                              <p:par>
                                <p:cTn id="92" presetID="6" presetClass="emph" presetSubtype="0" accel="100000" autoRev="1" fill="hold" nodeType="withEffect">
                                  <p:stCondLst>
                                    <p:cond delay="50"/>
                                  </p:stCondLst>
                                  <p:childTnLst>
                                    <p:animScale>
                                      <p:cBhvr>
                                        <p:cTn id="93" dur="300" fill="hold"/>
                                        <p:tgtEl>
                                          <p:spTgt spid="98"/>
                                        </p:tgtEl>
                                      </p:cBhvr>
                                      <p:by x="0" y="0"/>
                                    </p:animScale>
                                  </p:childTnLst>
                                </p:cTn>
                              </p:par>
                              <p:par>
                                <p:cTn id="94" presetID="1" presetClass="entr" presetSubtype="0" fill="hold" nodeType="withEffect">
                                  <p:stCondLst>
                                    <p:cond delay="50"/>
                                  </p:stCondLst>
                                  <p:childTnLst>
                                    <p:set>
                                      <p:cBhvr>
                                        <p:cTn id="95" dur="1" fill="hold">
                                          <p:stCondLst>
                                            <p:cond delay="299"/>
                                          </p:stCondLst>
                                        </p:cTn>
                                        <p:tgtEl>
                                          <p:spTgt spid="25"/>
                                        </p:tgtEl>
                                        <p:attrNameLst>
                                          <p:attrName>style.visibility</p:attrName>
                                        </p:attrNameLst>
                                      </p:cBhvr>
                                      <p:to>
                                        <p:strVal val="visible"/>
                                      </p:to>
                                    </p:set>
                                  </p:childTnLst>
                                </p:cTn>
                              </p:par>
                              <p:par>
                                <p:cTn id="96" presetID="6" presetClass="emph" presetSubtype="0" accel="100000" autoRev="1" fill="hold" nodeType="withEffect">
                                  <p:stCondLst>
                                    <p:cond delay="50"/>
                                  </p:stCondLst>
                                  <p:childTnLst>
                                    <p:animScale>
                                      <p:cBhvr>
                                        <p:cTn id="97" dur="300" fill="hold"/>
                                        <p:tgtEl>
                                          <p:spTgt spid="25"/>
                                        </p:tgtEl>
                                      </p:cBhvr>
                                      <p:by x="0" y="0"/>
                                    </p:animScale>
                                  </p:childTnLst>
                                </p:cTn>
                              </p:par>
                              <p:par>
                                <p:cTn id="98" presetID="1" presetClass="entr" presetSubtype="0" fill="hold" nodeType="withEffect">
                                  <p:stCondLst>
                                    <p:cond delay="50"/>
                                  </p:stCondLst>
                                  <p:childTnLst>
                                    <p:set>
                                      <p:cBhvr>
                                        <p:cTn id="99" dur="1" fill="hold">
                                          <p:stCondLst>
                                            <p:cond delay="299"/>
                                          </p:stCondLst>
                                        </p:cTn>
                                        <p:tgtEl>
                                          <p:spTgt spid="33"/>
                                        </p:tgtEl>
                                        <p:attrNameLst>
                                          <p:attrName>style.visibility</p:attrName>
                                        </p:attrNameLst>
                                      </p:cBhvr>
                                      <p:to>
                                        <p:strVal val="visible"/>
                                      </p:to>
                                    </p:set>
                                  </p:childTnLst>
                                </p:cTn>
                              </p:par>
                              <p:par>
                                <p:cTn id="100" presetID="6" presetClass="emph" presetSubtype="0" accel="100000" autoRev="1" fill="hold" nodeType="withEffect">
                                  <p:stCondLst>
                                    <p:cond delay="50"/>
                                  </p:stCondLst>
                                  <p:childTnLst>
                                    <p:animScale>
                                      <p:cBhvr>
                                        <p:cTn id="101" dur="300" fill="hold"/>
                                        <p:tgtEl>
                                          <p:spTgt spid="33"/>
                                        </p:tgtEl>
                                      </p:cBhvr>
                                      <p:by x="0" y="0"/>
                                    </p:animScale>
                                  </p:childTnLst>
                                </p:cTn>
                              </p:par>
                              <p:par>
                                <p:cTn id="102" presetID="1" presetClass="entr" presetSubtype="0" fill="hold" nodeType="withEffect">
                                  <p:stCondLst>
                                    <p:cond delay="50"/>
                                  </p:stCondLst>
                                  <p:childTnLst>
                                    <p:set>
                                      <p:cBhvr>
                                        <p:cTn id="103" dur="1" fill="hold">
                                          <p:stCondLst>
                                            <p:cond delay="299"/>
                                          </p:stCondLst>
                                        </p:cTn>
                                        <p:tgtEl>
                                          <p:spTgt spid="67"/>
                                        </p:tgtEl>
                                        <p:attrNameLst>
                                          <p:attrName>style.visibility</p:attrName>
                                        </p:attrNameLst>
                                      </p:cBhvr>
                                      <p:to>
                                        <p:strVal val="visible"/>
                                      </p:to>
                                    </p:set>
                                  </p:childTnLst>
                                </p:cTn>
                              </p:par>
                              <p:par>
                                <p:cTn id="104" presetID="6" presetClass="emph" presetSubtype="0" accel="100000" autoRev="1" fill="hold" nodeType="withEffect">
                                  <p:stCondLst>
                                    <p:cond delay="50"/>
                                  </p:stCondLst>
                                  <p:childTnLst>
                                    <p:animScale>
                                      <p:cBhvr>
                                        <p:cTn id="105" dur="300" fill="hold"/>
                                        <p:tgtEl>
                                          <p:spTgt spid="67"/>
                                        </p:tgtEl>
                                      </p:cBhvr>
                                      <p:by x="0" y="0"/>
                                    </p:animScale>
                                  </p:childTnLst>
                                </p:cTn>
                              </p:par>
                              <p:par>
                                <p:cTn id="106" presetID="1" presetClass="entr" presetSubtype="0" fill="hold" nodeType="withEffect">
                                  <p:stCondLst>
                                    <p:cond delay="50"/>
                                  </p:stCondLst>
                                  <p:childTnLst>
                                    <p:set>
                                      <p:cBhvr>
                                        <p:cTn id="107" dur="1" fill="hold">
                                          <p:stCondLst>
                                            <p:cond delay="299"/>
                                          </p:stCondLst>
                                        </p:cTn>
                                        <p:tgtEl>
                                          <p:spTgt spid="28"/>
                                        </p:tgtEl>
                                        <p:attrNameLst>
                                          <p:attrName>style.visibility</p:attrName>
                                        </p:attrNameLst>
                                      </p:cBhvr>
                                      <p:to>
                                        <p:strVal val="visible"/>
                                      </p:to>
                                    </p:set>
                                  </p:childTnLst>
                                </p:cTn>
                              </p:par>
                              <p:par>
                                <p:cTn id="108" presetID="6" presetClass="emph" presetSubtype="0" accel="100000" autoRev="1" fill="hold" nodeType="withEffect">
                                  <p:stCondLst>
                                    <p:cond delay="50"/>
                                  </p:stCondLst>
                                  <p:childTnLst>
                                    <p:animScale>
                                      <p:cBhvr>
                                        <p:cTn id="109" dur="300" fill="hold"/>
                                        <p:tgtEl>
                                          <p:spTgt spid="28"/>
                                        </p:tgtEl>
                                      </p:cBhvr>
                                      <p:by x="0" y="0"/>
                                    </p:animScale>
                                  </p:childTnLst>
                                </p:cTn>
                              </p:par>
                              <p:par>
                                <p:cTn id="110" presetID="1" presetClass="entr" presetSubtype="0" fill="hold" nodeType="withEffect">
                                  <p:stCondLst>
                                    <p:cond delay="50"/>
                                  </p:stCondLst>
                                  <p:childTnLst>
                                    <p:set>
                                      <p:cBhvr>
                                        <p:cTn id="111" dur="1" fill="hold">
                                          <p:stCondLst>
                                            <p:cond delay="299"/>
                                          </p:stCondLst>
                                        </p:cTn>
                                        <p:tgtEl>
                                          <p:spTgt spid="77"/>
                                        </p:tgtEl>
                                        <p:attrNameLst>
                                          <p:attrName>style.visibility</p:attrName>
                                        </p:attrNameLst>
                                      </p:cBhvr>
                                      <p:to>
                                        <p:strVal val="visible"/>
                                      </p:to>
                                    </p:set>
                                  </p:childTnLst>
                                </p:cTn>
                              </p:par>
                              <p:par>
                                <p:cTn id="112" presetID="6" presetClass="emph" presetSubtype="0" accel="100000" autoRev="1" fill="hold" nodeType="withEffect">
                                  <p:stCondLst>
                                    <p:cond delay="50"/>
                                  </p:stCondLst>
                                  <p:childTnLst>
                                    <p:animScale>
                                      <p:cBhvr>
                                        <p:cTn id="113" dur="300" fill="hold"/>
                                        <p:tgtEl>
                                          <p:spTgt spid="77"/>
                                        </p:tgtEl>
                                      </p:cBhvr>
                                      <p:by x="0" y="0"/>
                                    </p:animScale>
                                  </p:childTnLst>
                                </p:cTn>
                              </p:par>
                              <p:par>
                                <p:cTn id="114" presetID="1" presetClass="entr" presetSubtype="0" fill="hold" nodeType="withEffect">
                                  <p:stCondLst>
                                    <p:cond delay="50"/>
                                  </p:stCondLst>
                                  <p:childTnLst>
                                    <p:set>
                                      <p:cBhvr>
                                        <p:cTn id="115" dur="1" fill="hold">
                                          <p:stCondLst>
                                            <p:cond delay="299"/>
                                          </p:stCondLst>
                                        </p:cTn>
                                        <p:tgtEl>
                                          <p:spTgt spid="126"/>
                                        </p:tgtEl>
                                        <p:attrNameLst>
                                          <p:attrName>style.visibility</p:attrName>
                                        </p:attrNameLst>
                                      </p:cBhvr>
                                      <p:to>
                                        <p:strVal val="visible"/>
                                      </p:to>
                                    </p:set>
                                  </p:childTnLst>
                                </p:cTn>
                              </p:par>
                              <p:par>
                                <p:cTn id="116" presetID="6" presetClass="emph" presetSubtype="0" accel="100000" autoRev="1" fill="hold" nodeType="withEffect">
                                  <p:stCondLst>
                                    <p:cond delay="50"/>
                                  </p:stCondLst>
                                  <p:childTnLst>
                                    <p:animScale>
                                      <p:cBhvr>
                                        <p:cTn id="117" dur="300" fill="hold"/>
                                        <p:tgtEl>
                                          <p:spTgt spid="126"/>
                                        </p:tgtEl>
                                      </p:cBhvr>
                                      <p:by x="0" y="0"/>
                                    </p:animScale>
                                  </p:childTnLst>
                                </p:cTn>
                              </p:par>
                              <p:par>
                                <p:cTn id="118" presetID="1" presetClass="entr" presetSubtype="0" fill="hold" nodeType="withEffect">
                                  <p:stCondLst>
                                    <p:cond delay="50"/>
                                  </p:stCondLst>
                                  <p:childTnLst>
                                    <p:set>
                                      <p:cBhvr>
                                        <p:cTn id="119" dur="1" fill="hold">
                                          <p:stCondLst>
                                            <p:cond delay="299"/>
                                          </p:stCondLst>
                                        </p:cTn>
                                        <p:tgtEl>
                                          <p:spTgt spid="111"/>
                                        </p:tgtEl>
                                        <p:attrNameLst>
                                          <p:attrName>style.visibility</p:attrName>
                                        </p:attrNameLst>
                                      </p:cBhvr>
                                      <p:to>
                                        <p:strVal val="visible"/>
                                      </p:to>
                                    </p:set>
                                  </p:childTnLst>
                                </p:cTn>
                              </p:par>
                              <p:par>
                                <p:cTn id="120" presetID="6" presetClass="emph" presetSubtype="0" accel="100000" autoRev="1" fill="hold" nodeType="withEffect">
                                  <p:stCondLst>
                                    <p:cond delay="50"/>
                                  </p:stCondLst>
                                  <p:childTnLst>
                                    <p:animScale>
                                      <p:cBhvr>
                                        <p:cTn id="121" dur="300" fill="hold"/>
                                        <p:tgtEl>
                                          <p:spTgt spid="111"/>
                                        </p:tgtEl>
                                      </p:cBhvr>
                                      <p:by x="0" y="0"/>
                                    </p:animScale>
                                  </p:childTnLst>
                                </p:cTn>
                              </p:par>
                              <p:par>
                                <p:cTn id="122" presetID="1" presetClass="entr" presetSubtype="0" fill="hold" nodeType="withEffect">
                                  <p:stCondLst>
                                    <p:cond delay="50"/>
                                  </p:stCondLst>
                                  <p:childTnLst>
                                    <p:set>
                                      <p:cBhvr>
                                        <p:cTn id="123" dur="1" fill="hold">
                                          <p:stCondLst>
                                            <p:cond delay="299"/>
                                          </p:stCondLst>
                                        </p:cTn>
                                        <p:tgtEl>
                                          <p:spTgt spid="22"/>
                                        </p:tgtEl>
                                        <p:attrNameLst>
                                          <p:attrName>style.visibility</p:attrName>
                                        </p:attrNameLst>
                                      </p:cBhvr>
                                      <p:to>
                                        <p:strVal val="visible"/>
                                      </p:to>
                                    </p:set>
                                  </p:childTnLst>
                                </p:cTn>
                              </p:par>
                              <p:par>
                                <p:cTn id="124" presetID="6" presetClass="emph" presetSubtype="0" accel="100000" autoRev="1" fill="hold" nodeType="withEffect">
                                  <p:stCondLst>
                                    <p:cond delay="50"/>
                                  </p:stCondLst>
                                  <p:childTnLst>
                                    <p:animScale>
                                      <p:cBhvr>
                                        <p:cTn id="125" dur="300" fill="hold"/>
                                        <p:tgtEl>
                                          <p:spTgt spid="22"/>
                                        </p:tgtEl>
                                      </p:cBhvr>
                                      <p:by x="0" y="0"/>
                                    </p:animScale>
                                  </p:childTnLst>
                                </p:cTn>
                              </p:par>
                              <p:par>
                                <p:cTn id="126" presetID="1" presetClass="entr" presetSubtype="0" fill="hold" nodeType="withEffect">
                                  <p:stCondLst>
                                    <p:cond delay="50"/>
                                  </p:stCondLst>
                                  <p:childTnLst>
                                    <p:set>
                                      <p:cBhvr>
                                        <p:cTn id="127" dur="1" fill="hold">
                                          <p:stCondLst>
                                            <p:cond delay="299"/>
                                          </p:stCondLst>
                                        </p:cTn>
                                        <p:tgtEl>
                                          <p:spTgt spid="87"/>
                                        </p:tgtEl>
                                        <p:attrNameLst>
                                          <p:attrName>style.visibility</p:attrName>
                                        </p:attrNameLst>
                                      </p:cBhvr>
                                      <p:to>
                                        <p:strVal val="visible"/>
                                      </p:to>
                                    </p:set>
                                  </p:childTnLst>
                                </p:cTn>
                              </p:par>
                              <p:par>
                                <p:cTn id="128" presetID="6" presetClass="emph" presetSubtype="0" accel="100000" autoRev="1" fill="hold" nodeType="withEffect">
                                  <p:stCondLst>
                                    <p:cond delay="50"/>
                                  </p:stCondLst>
                                  <p:childTnLst>
                                    <p:animScale>
                                      <p:cBhvr>
                                        <p:cTn id="129" dur="300" fill="hold"/>
                                        <p:tgtEl>
                                          <p:spTgt spid="87"/>
                                        </p:tgtEl>
                                      </p:cBhvr>
                                      <p:by x="0" y="0"/>
                                    </p:animScale>
                                  </p:childTnLst>
                                </p:cTn>
                              </p:par>
                              <p:par>
                                <p:cTn id="130" presetID="1" presetClass="entr" presetSubtype="0" fill="hold" nodeType="withEffect">
                                  <p:stCondLst>
                                    <p:cond delay="50"/>
                                  </p:stCondLst>
                                  <p:childTnLst>
                                    <p:set>
                                      <p:cBhvr>
                                        <p:cTn id="131" dur="1" fill="hold">
                                          <p:stCondLst>
                                            <p:cond delay="299"/>
                                          </p:stCondLst>
                                        </p:cTn>
                                        <p:tgtEl>
                                          <p:spTgt spid="90"/>
                                        </p:tgtEl>
                                        <p:attrNameLst>
                                          <p:attrName>style.visibility</p:attrName>
                                        </p:attrNameLst>
                                      </p:cBhvr>
                                      <p:to>
                                        <p:strVal val="visible"/>
                                      </p:to>
                                    </p:set>
                                  </p:childTnLst>
                                </p:cTn>
                              </p:par>
                              <p:par>
                                <p:cTn id="132" presetID="6" presetClass="emph" presetSubtype="0" accel="100000" autoRev="1" fill="hold" nodeType="withEffect">
                                  <p:stCondLst>
                                    <p:cond delay="50"/>
                                  </p:stCondLst>
                                  <p:childTnLst>
                                    <p:animScale>
                                      <p:cBhvr>
                                        <p:cTn id="133" dur="300" fill="hold"/>
                                        <p:tgtEl>
                                          <p:spTgt spid="90"/>
                                        </p:tgtEl>
                                      </p:cBhvr>
                                      <p:by x="0" y="0"/>
                                    </p:animScale>
                                  </p:childTnLst>
                                </p:cTn>
                              </p:par>
                              <p:par>
                                <p:cTn id="134" presetID="1" presetClass="entr" presetSubtype="0" fill="hold" nodeType="withEffect">
                                  <p:stCondLst>
                                    <p:cond delay="50"/>
                                  </p:stCondLst>
                                  <p:childTnLst>
                                    <p:set>
                                      <p:cBhvr>
                                        <p:cTn id="135" dur="1" fill="hold">
                                          <p:stCondLst>
                                            <p:cond delay="299"/>
                                          </p:stCondLst>
                                        </p:cTn>
                                        <p:tgtEl>
                                          <p:spTgt spid="52"/>
                                        </p:tgtEl>
                                        <p:attrNameLst>
                                          <p:attrName>style.visibility</p:attrName>
                                        </p:attrNameLst>
                                      </p:cBhvr>
                                      <p:to>
                                        <p:strVal val="visible"/>
                                      </p:to>
                                    </p:set>
                                  </p:childTnLst>
                                </p:cTn>
                              </p:par>
                              <p:par>
                                <p:cTn id="136" presetID="6" presetClass="emph" presetSubtype="0" accel="100000" autoRev="1" fill="hold" nodeType="withEffect">
                                  <p:stCondLst>
                                    <p:cond delay="50"/>
                                  </p:stCondLst>
                                  <p:childTnLst>
                                    <p:animScale>
                                      <p:cBhvr>
                                        <p:cTn id="137" dur="300" fill="hold"/>
                                        <p:tgtEl>
                                          <p:spTgt spid="52"/>
                                        </p:tgtEl>
                                      </p:cBhvr>
                                      <p:by x="0" y="0"/>
                                    </p:animScale>
                                  </p:childTnLst>
                                </p:cTn>
                              </p:par>
                              <p:par>
                                <p:cTn id="138" presetID="1" presetClass="entr" presetSubtype="0" fill="hold" nodeType="withEffect">
                                  <p:stCondLst>
                                    <p:cond delay="50"/>
                                  </p:stCondLst>
                                  <p:childTnLst>
                                    <p:set>
                                      <p:cBhvr>
                                        <p:cTn id="139" dur="1" fill="hold">
                                          <p:stCondLst>
                                            <p:cond delay="299"/>
                                          </p:stCondLst>
                                        </p:cTn>
                                        <p:tgtEl>
                                          <p:spTgt spid="123"/>
                                        </p:tgtEl>
                                        <p:attrNameLst>
                                          <p:attrName>style.visibility</p:attrName>
                                        </p:attrNameLst>
                                      </p:cBhvr>
                                      <p:to>
                                        <p:strVal val="visible"/>
                                      </p:to>
                                    </p:set>
                                  </p:childTnLst>
                                </p:cTn>
                              </p:par>
                              <p:par>
                                <p:cTn id="140" presetID="6" presetClass="emph" presetSubtype="0" accel="100000" autoRev="1" fill="hold" nodeType="withEffect">
                                  <p:stCondLst>
                                    <p:cond delay="50"/>
                                  </p:stCondLst>
                                  <p:childTnLst>
                                    <p:animScale>
                                      <p:cBhvr>
                                        <p:cTn id="141" dur="300" fill="hold"/>
                                        <p:tgtEl>
                                          <p:spTgt spid="123"/>
                                        </p:tgtEl>
                                      </p:cBhvr>
                                      <p:by x="0" y="0"/>
                                    </p:animScale>
                                  </p:childTnLst>
                                </p:cTn>
                              </p:par>
                              <p:par>
                                <p:cTn id="142" presetID="10" presetClass="entr" presetSubtype="0" fill="hold" grpId="0" nodeType="withEffect">
                                  <p:stCondLst>
                                    <p:cond delay="300"/>
                                  </p:stCondLst>
                                  <p:childTnLst>
                                    <p:set>
                                      <p:cBhvr>
                                        <p:cTn id="143" dur="1" fill="hold">
                                          <p:stCondLst>
                                            <p:cond delay="0"/>
                                          </p:stCondLst>
                                        </p:cTn>
                                        <p:tgtEl>
                                          <p:spTgt spid="2"/>
                                        </p:tgtEl>
                                        <p:attrNameLst>
                                          <p:attrName>style.visibility</p:attrName>
                                        </p:attrNameLst>
                                      </p:cBhvr>
                                      <p:to>
                                        <p:strVal val="visible"/>
                                      </p:to>
                                    </p:set>
                                    <p:animEffect transition="in" filter="fade">
                                      <p:cBhvr>
                                        <p:cTn id="144" dur="300"/>
                                        <p:tgtEl>
                                          <p:spTgt spid="2"/>
                                        </p:tgtEl>
                                      </p:cBhvr>
                                    </p:animEffect>
                                  </p:childTnLst>
                                </p:cTn>
                              </p:par>
                              <p:par>
                                <p:cTn id="145" presetID="6" presetClass="emph" presetSubtype="0" accel="100000" autoRev="1" fill="hold" grpId="1" nodeType="withEffect">
                                  <p:stCondLst>
                                    <p:cond delay="0"/>
                                  </p:stCondLst>
                                  <p:childTnLst>
                                    <p:animScale>
                                      <p:cBhvr>
                                        <p:cTn id="146" dur="300" fill="hold"/>
                                        <p:tgtEl>
                                          <p:spTgt spid="2"/>
                                        </p:tgtEl>
                                      </p:cBhvr>
                                      <p:by x="80000" y="80000"/>
                                    </p:animScale>
                                  </p:childTnLst>
                                </p:cTn>
                              </p:par>
                              <p:par>
                                <p:cTn id="147" presetID="10" presetClass="entr" presetSubtype="0" fill="hold" grpId="0" nodeType="withEffect">
                                  <p:stCondLst>
                                    <p:cond delay="300"/>
                                  </p:stCondLst>
                                  <p:childTnLst>
                                    <p:set>
                                      <p:cBhvr>
                                        <p:cTn id="148" dur="1" fill="hold">
                                          <p:stCondLst>
                                            <p:cond delay="0"/>
                                          </p:stCondLst>
                                        </p:cTn>
                                        <p:tgtEl>
                                          <p:spTgt spid="8"/>
                                        </p:tgtEl>
                                        <p:attrNameLst>
                                          <p:attrName>style.visibility</p:attrName>
                                        </p:attrNameLst>
                                      </p:cBhvr>
                                      <p:to>
                                        <p:strVal val="visible"/>
                                      </p:to>
                                    </p:set>
                                    <p:animEffect transition="in" filter="fade">
                                      <p:cBhvr>
                                        <p:cTn id="149" dur="300"/>
                                        <p:tgtEl>
                                          <p:spTgt spid="8"/>
                                        </p:tgtEl>
                                      </p:cBhvr>
                                    </p:animEffect>
                                  </p:childTnLst>
                                </p:cTn>
                              </p:par>
                              <p:par>
                                <p:cTn id="150" presetID="6" presetClass="emph" presetSubtype="0" accel="100000" autoRev="1" fill="hold" grpId="1" nodeType="withEffect">
                                  <p:stCondLst>
                                    <p:cond delay="0"/>
                                  </p:stCondLst>
                                  <p:childTnLst>
                                    <p:animScale>
                                      <p:cBhvr>
                                        <p:cTn id="151" dur="300" fill="hold"/>
                                        <p:tgtEl>
                                          <p:spTgt spid="8"/>
                                        </p:tgtEl>
                                      </p:cBhvr>
                                      <p:by x="80000" y="80000"/>
                                    </p:animScale>
                                  </p:childTnLst>
                                </p:cTn>
                              </p:par>
                              <p:par>
                                <p:cTn id="152" presetID="10" presetClass="entr" presetSubtype="0" fill="hold" grpId="0" nodeType="withEffect">
                                  <p:stCondLst>
                                    <p:cond delay="200"/>
                                  </p:stCondLst>
                                  <p:childTnLst>
                                    <p:set>
                                      <p:cBhvr>
                                        <p:cTn id="153" dur="1" fill="hold">
                                          <p:stCondLst>
                                            <p:cond delay="0"/>
                                          </p:stCondLst>
                                        </p:cTn>
                                        <p:tgtEl>
                                          <p:spTgt spid="154"/>
                                        </p:tgtEl>
                                        <p:attrNameLst>
                                          <p:attrName>style.visibility</p:attrName>
                                        </p:attrNameLst>
                                      </p:cBhvr>
                                      <p:to>
                                        <p:strVal val="visible"/>
                                      </p:to>
                                    </p:set>
                                    <p:animEffect transition="in" filter="fade">
                                      <p:cBhvr>
                                        <p:cTn id="154" dur="350"/>
                                        <p:tgtEl>
                                          <p:spTgt spid="154"/>
                                        </p:tgtEl>
                                      </p:cBhvr>
                                    </p:animEffect>
                                  </p:childTnLst>
                                </p:cTn>
                              </p:par>
                              <p:par>
                                <p:cTn id="155" presetID="35" presetClass="path" presetSubtype="0" decel="100000" fill="hold" grpId="1" nodeType="withEffect">
                                  <p:stCondLst>
                                    <p:cond delay="200"/>
                                  </p:stCondLst>
                                  <p:childTnLst>
                                    <p:animMotion origin="layout" path="M 2.91667E-6 -7.40741E-7 L -0.04857 -7.40741E-7 " pathEditMode="relative" rAng="0" ptsTypes="AA">
                                      <p:cBhvr>
                                        <p:cTn id="156" dur="500" spd="-100000" fill="hold"/>
                                        <p:tgtEl>
                                          <p:spTgt spid="154"/>
                                        </p:tgtEl>
                                        <p:attrNameLst>
                                          <p:attrName>ppt_x</p:attrName>
                                          <p:attrName>ppt_y</p:attrName>
                                        </p:attrNameLst>
                                      </p:cBhvr>
                                      <p:rCtr x="-243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 grpId="0" animBg="1"/>
      <p:bldP spid="6" grpId="0" animBg="1"/>
      <p:bldP spid="6" grpId="1" animBg="1"/>
      <p:bldP spid="7" grpId="0"/>
      <p:bldP spid="7" grpId="1"/>
      <p:bldP spid="8" grpId="0" animBg="1"/>
      <p:bldP spid="8" grpId="1" animBg="1"/>
      <p:bldP spid="10" grpId="0"/>
      <p:bldP spid="10" grpId="1"/>
      <p:bldP spid="154" grpId="0"/>
      <p:bldP spid="154" grpId="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loud">
            <a:extLst>
              <a:ext uri="{FF2B5EF4-FFF2-40B4-BE49-F238E27FC236}">
                <a16:creationId xmlns:a16="http://schemas.microsoft.com/office/drawing/2014/main" id="{FC6600F2-8BED-451C-93BB-CC117D5A4486}"/>
              </a:ext>
            </a:extLst>
          </p:cNvPr>
          <p:cNvSpPr>
            <a:spLocks noChangeAspect="1"/>
          </p:cNvSpPr>
          <p:nvPr/>
        </p:nvSpPr>
        <p:spPr bwMode="black">
          <a:xfrm>
            <a:off x="4491990" y="1402185"/>
            <a:ext cx="7622723" cy="439327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alpha val="18000"/>
            </a:schemeClr>
          </a:solidFill>
          <a:ln w="28575" cap="flat" cmpd="sng" algn="ctr">
            <a:solidFill>
              <a:schemeClr val="tx1"/>
            </a:solidFill>
            <a:prstDash val="solid"/>
          </a:ln>
          <a:effectLst/>
        </p:spPr>
        <p:txBody>
          <a:bodyPr tIns="839224" rtlCol="0" anchor="ctr"/>
          <a:lstStyle/>
          <a:p>
            <a:pPr algn="ctr" defTabSz="932418">
              <a:lnSpc>
                <a:spcPct val="80000"/>
              </a:lnSpc>
              <a:defRPr/>
            </a:pPr>
            <a:endParaRPr lang="en-US" sz="2856" kern="0" spc="-153">
              <a:solidFill>
                <a:srgbClr val="1C6294"/>
              </a:solidFill>
              <a:latin typeface="Segoe UI Light"/>
            </a:endParaRPr>
          </a:p>
        </p:txBody>
      </p:sp>
      <p:sp>
        <p:nvSpPr>
          <p:cNvPr id="35" name="Rectangle: Rounded Corners 34">
            <a:extLst>
              <a:ext uri="{FF2B5EF4-FFF2-40B4-BE49-F238E27FC236}">
                <a16:creationId xmlns:a16="http://schemas.microsoft.com/office/drawing/2014/main" id="{24E958A1-1E66-47AE-9630-0BE5A00F219D}"/>
              </a:ext>
            </a:extLst>
          </p:cNvPr>
          <p:cNvSpPr/>
          <p:nvPr/>
        </p:nvSpPr>
        <p:spPr bwMode="auto">
          <a:xfrm>
            <a:off x="4604791" y="2963968"/>
            <a:ext cx="1458902" cy="2377103"/>
          </a:xfrm>
          <a:prstGeom prst="roundRect">
            <a:avLst/>
          </a:prstGeom>
          <a:solidFill>
            <a:schemeClr val="bg1"/>
          </a:solidFill>
          <a:ln w="63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3" rIns="182854" bIns="146283"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a:solidFill>
                  <a:srgbClr val="505050"/>
                </a:solidFill>
                <a:latin typeface="Segoe UI Semilight"/>
                <a:ea typeface="Segoe UI" pitchFamily="34" charset="0"/>
                <a:cs typeface="Segoe UI" pitchFamily="34" charset="0"/>
              </a:rPr>
              <a:t>Cloud Gateway</a:t>
            </a:r>
          </a:p>
        </p:txBody>
      </p:sp>
      <p:pic>
        <p:nvPicPr>
          <p:cNvPr id="37" name="iot icon">
            <a:extLst>
              <a:ext uri="{FF2B5EF4-FFF2-40B4-BE49-F238E27FC236}">
                <a16:creationId xmlns:a16="http://schemas.microsoft.com/office/drawing/2014/main" id="{897625EF-8840-4035-A95D-382B0AA379F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15123" y="3057731"/>
            <a:ext cx="638236" cy="638236"/>
          </a:xfrm>
          <a:prstGeom prst="rect">
            <a:avLst/>
          </a:prstGeom>
        </p:spPr>
      </p:pic>
      <p:grpSp>
        <p:nvGrpSpPr>
          <p:cNvPr id="8" name="Group 7">
            <a:extLst>
              <a:ext uri="{FF2B5EF4-FFF2-40B4-BE49-F238E27FC236}">
                <a16:creationId xmlns:a16="http://schemas.microsoft.com/office/drawing/2014/main" id="{F1B4A98D-8752-4C85-A2F9-0F9B8DC083CA}"/>
              </a:ext>
            </a:extLst>
          </p:cNvPr>
          <p:cNvGrpSpPr/>
          <p:nvPr/>
        </p:nvGrpSpPr>
        <p:grpSpPr>
          <a:xfrm>
            <a:off x="6399645" y="2963968"/>
            <a:ext cx="2377103" cy="2377103"/>
            <a:chOff x="6399670" y="2963892"/>
            <a:chExt cx="2377440" cy="2377440"/>
          </a:xfrm>
        </p:grpSpPr>
        <p:sp>
          <p:nvSpPr>
            <p:cNvPr id="33" name="Rectangle: Rounded Corners 32">
              <a:extLst>
                <a:ext uri="{FF2B5EF4-FFF2-40B4-BE49-F238E27FC236}">
                  <a16:creationId xmlns:a16="http://schemas.microsoft.com/office/drawing/2014/main" id="{64EFAAC6-1EAA-430A-B494-FDE705C06634}"/>
                </a:ext>
              </a:extLst>
            </p:cNvPr>
            <p:cNvSpPr/>
            <p:nvPr/>
          </p:nvSpPr>
          <p:spPr bwMode="auto">
            <a:xfrm>
              <a:off x="6399670" y="2963892"/>
              <a:ext cx="2377440" cy="2377440"/>
            </a:xfrm>
            <a:prstGeom prst="roundRect">
              <a:avLst/>
            </a:prstGeom>
            <a:solidFill>
              <a:schemeClr val="bg1"/>
            </a:solidFill>
            <a:ln w="63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3" rIns="182854" bIns="146283"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a:solidFill>
                    <a:srgbClr val="505050"/>
                  </a:solidFill>
                  <a:latin typeface="Segoe UI Semilight"/>
                  <a:ea typeface="Segoe UI" pitchFamily="34" charset="0"/>
                  <a:cs typeface="Segoe UI" pitchFamily="34" charset="0"/>
                </a:rPr>
                <a:t>Insights</a:t>
              </a:r>
            </a:p>
          </p:txBody>
        </p:sp>
        <p:pic>
          <p:nvPicPr>
            <p:cNvPr id="38" name="Insights Icon">
              <a:extLst>
                <a:ext uri="{FF2B5EF4-FFF2-40B4-BE49-F238E27FC236}">
                  <a16:creationId xmlns:a16="http://schemas.microsoft.com/office/drawing/2014/main" id="{4E0168E2-41C9-4577-B9A4-5777EF57263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110656" y="3062771"/>
              <a:ext cx="780290" cy="780290"/>
            </a:xfrm>
            <a:prstGeom prst="rect">
              <a:avLst/>
            </a:prstGeom>
          </p:spPr>
        </p:pic>
      </p:grpSp>
      <p:grpSp>
        <p:nvGrpSpPr>
          <p:cNvPr id="9" name="Group 8">
            <a:extLst>
              <a:ext uri="{FF2B5EF4-FFF2-40B4-BE49-F238E27FC236}">
                <a16:creationId xmlns:a16="http://schemas.microsoft.com/office/drawing/2014/main" id="{00179CD4-3220-4F10-85E2-0E017FECE587}"/>
              </a:ext>
            </a:extLst>
          </p:cNvPr>
          <p:cNvGrpSpPr/>
          <p:nvPr/>
        </p:nvGrpSpPr>
        <p:grpSpPr>
          <a:xfrm>
            <a:off x="8962088" y="2963968"/>
            <a:ext cx="2377103" cy="2377103"/>
            <a:chOff x="8962477" y="2963892"/>
            <a:chExt cx="2377440" cy="2377440"/>
          </a:xfrm>
        </p:grpSpPr>
        <p:sp>
          <p:nvSpPr>
            <p:cNvPr id="34" name="Rectangle: Rounded Corners 33">
              <a:extLst>
                <a:ext uri="{FF2B5EF4-FFF2-40B4-BE49-F238E27FC236}">
                  <a16:creationId xmlns:a16="http://schemas.microsoft.com/office/drawing/2014/main" id="{39DA2751-1925-42DA-8D0D-47576BEE3600}"/>
                </a:ext>
              </a:extLst>
            </p:cNvPr>
            <p:cNvSpPr/>
            <p:nvPr/>
          </p:nvSpPr>
          <p:spPr bwMode="auto">
            <a:xfrm>
              <a:off x="8962477" y="2963892"/>
              <a:ext cx="2377440" cy="2377440"/>
            </a:xfrm>
            <a:prstGeom prst="roundRect">
              <a:avLst/>
            </a:prstGeom>
            <a:solidFill>
              <a:schemeClr val="bg1"/>
            </a:solidFill>
            <a:ln w="63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3" rIns="182854" bIns="146283"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a:solidFill>
                    <a:srgbClr val="505050"/>
                  </a:solidFill>
                  <a:latin typeface="Segoe UI Semilight"/>
                  <a:ea typeface="Segoe UI" pitchFamily="34" charset="0"/>
                  <a:cs typeface="Segoe UI" pitchFamily="34" charset="0"/>
                </a:rPr>
                <a:t>Actions</a:t>
              </a:r>
            </a:p>
          </p:txBody>
        </p:sp>
        <p:grpSp>
          <p:nvGrpSpPr>
            <p:cNvPr id="39" name="actions icon">
              <a:extLst>
                <a:ext uri="{FF2B5EF4-FFF2-40B4-BE49-F238E27FC236}">
                  <a16:creationId xmlns:a16="http://schemas.microsoft.com/office/drawing/2014/main" id="{ADF7B3B5-B9C0-4B29-B00A-CA7EDDBE2C52}"/>
                </a:ext>
              </a:extLst>
            </p:cNvPr>
            <p:cNvGrpSpPr>
              <a:grpSpLocks noChangeAspect="1"/>
            </p:cNvGrpSpPr>
            <p:nvPr/>
          </p:nvGrpSpPr>
          <p:grpSpPr>
            <a:xfrm>
              <a:off x="9786387" y="3057669"/>
              <a:ext cx="729621" cy="913235"/>
              <a:chOff x="5945278" y="-1117032"/>
              <a:chExt cx="4995179" cy="6252248"/>
            </a:xfrm>
          </p:grpSpPr>
          <p:grpSp>
            <p:nvGrpSpPr>
              <p:cNvPr id="40" name="Group 39">
                <a:extLst>
                  <a:ext uri="{FF2B5EF4-FFF2-40B4-BE49-F238E27FC236}">
                    <a16:creationId xmlns:a16="http://schemas.microsoft.com/office/drawing/2014/main" id="{D254A523-B848-4B04-8F05-4E038F1A70A9}"/>
                  </a:ext>
                </a:extLst>
              </p:cNvPr>
              <p:cNvGrpSpPr/>
              <p:nvPr/>
            </p:nvGrpSpPr>
            <p:grpSpPr>
              <a:xfrm>
                <a:off x="6664893" y="-1117032"/>
                <a:ext cx="3101810" cy="6252248"/>
                <a:chOff x="6664893" y="-1117032"/>
                <a:chExt cx="3101810" cy="6252248"/>
              </a:xfrm>
            </p:grpSpPr>
            <p:sp>
              <p:nvSpPr>
                <p:cNvPr id="51" name="Freeform 864">
                  <a:extLst>
                    <a:ext uri="{FF2B5EF4-FFF2-40B4-BE49-F238E27FC236}">
                      <a16:creationId xmlns:a16="http://schemas.microsoft.com/office/drawing/2014/main" id="{68680FC2-10C5-4C72-999E-358D3F93183C}"/>
                    </a:ext>
                  </a:extLst>
                </p:cNvPr>
                <p:cNvSpPr>
                  <a:spLocks noChangeAspect="1"/>
                </p:cNvSpPr>
                <p:nvPr/>
              </p:nvSpPr>
              <p:spPr bwMode="auto">
                <a:xfrm>
                  <a:off x="6664893" y="-1117031"/>
                  <a:ext cx="3096816" cy="6252247"/>
                </a:xfrm>
                <a:custGeom>
                  <a:avLst/>
                  <a:gdLst>
                    <a:gd name="T0" fmla="*/ 230 w 317"/>
                    <a:gd name="T1" fmla="*/ 0 h 640"/>
                    <a:gd name="T2" fmla="*/ 173 w 317"/>
                    <a:gd name="T3" fmla="*/ 256 h 640"/>
                    <a:gd name="T4" fmla="*/ 317 w 317"/>
                    <a:gd name="T5" fmla="*/ 256 h 640"/>
                    <a:gd name="T6" fmla="*/ 82 w 317"/>
                    <a:gd name="T7" fmla="*/ 640 h 640"/>
                    <a:gd name="T8" fmla="*/ 146 w 317"/>
                    <a:gd name="T9" fmla="*/ 344 h 640"/>
                    <a:gd name="T10" fmla="*/ 0 w 317"/>
                    <a:gd name="T11" fmla="*/ 342 h 640"/>
                    <a:gd name="T12" fmla="*/ 230 w 317"/>
                    <a:gd name="T13" fmla="*/ 0 h 640"/>
                  </a:gdLst>
                  <a:ahLst/>
                  <a:cxnLst>
                    <a:cxn ang="0">
                      <a:pos x="T0" y="T1"/>
                    </a:cxn>
                    <a:cxn ang="0">
                      <a:pos x="T2" y="T3"/>
                    </a:cxn>
                    <a:cxn ang="0">
                      <a:pos x="T4" y="T5"/>
                    </a:cxn>
                    <a:cxn ang="0">
                      <a:pos x="T6" y="T7"/>
                    </a:cxn>
                    <a:cxn ang="0">
                      <a:pos x="T8" y="T9"/>
                    </a:cxn>
                    <a:cxn ang="0">
                      <a:pos x="T10" y="T11"/>
                    </a:cxn>
                    <a:cxn ang="0">
                      <a:pos x="T12" y="T13"/>
                    </a:cxn>
                  </a:cxnLst>
                  <a:rect l="0" t="0" r="r" b="b"/>
                  <a:pathLst>
                    <a:path w="317" h="640">
                      <a:moveTo>
                        <a:pt x="230" y="0"/>
                      </a:moveTo>
                      <a:lnTo>
                        <a:pt x="173" y="256"/>
                      </a:lnTo>
                      <a:lnTo>
                        <a:pt x="317" y="256"/>
                      </a:lnTo>
                      <a:lnTo>
                        <a:pt x="82" y="640"/>
                      </a:lnTo>
                      <a:lnTo>
                        <a:pt x="146" y="344"/>
                      </a:lnTo>
                      <a:lnTo>
                        <a:pt x="0" y="342"/>
                      </a:lnTo>
                      <a:lnTo>
                        <a:pt x="230" y="0"/>
                      </a:lnTo>
                      <a:close/>
                    </a:path>
                  </a:pathLst>
                </a:custGeom>
                <a:solidFill>
                  <a:srgbClr val="FFD214"/>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prstClr val="black"/>
                    </a:solidFill>
                    <a:latin typeface="Segoe UI Semilight"/>
                  </a:endParaRPr>
                </a:p>
              </p:txBody>
            </p:sp>
            <p:sp>
              <p:nvSpPr>
                <p:cNvPr id="54" name="Freeform 864">
                  <a:extLst>
                    <a:ext uri="{FF2B5EF4-FFF2-40B4-BE49-F238E27FC236}">
                      <a16:creationId xmlns:a16="http://schemas.microsoft.com/office/drawing/2014/main" id="{6F9CC752-CEC4-4C15-B7D5-56D7BAAC7E28}"/>
                    </a:ext>
                  </a:extLst>
                </p:cNvPr>
                <p:cNvSpPr>
                  <a:spLocks noChangeAspect="1"/>
                </p:cNvSpPr>
                <p:nvPr/>
              </p:nvSpPr>
              <p:spPr bwMode="auto">
                <a:xfrm>
                  <a:off x="7471033" y="-1117032"/>
                  <a:ext cx="2295670" cy="6252247"/>
                </a:xfrm>
                <a:custGeom>
                  <a:avLst/>
                  <a:gdLst>
                    <a:gd name="T0" fmla="*/ 230 w 317"/>
                    <a:gd name="T1" fmla="*/ 0 h 640"/>
                    <a:gd name="T2" fmla="*/ 173 w 317"/>
                    <a:gd name="T3" fmla="*/ 256 h 640"/>
                    <a:gd name="T4" fmla="*/ 317 w 317"/>
                    <a:gd name="T5" fmla="*/ 256 h 640"/>
                    <a:gd name="T6" fmla="*/ 82 w 317"/>
                    <a:gd name="T7" fmla="*/ 640 h 640"/>
                    <a:gd name="T8" fmla="*/ 146 w 317"/>
                    <a:gd name="T9" fmla="*/ 344 h 640"/>
                    <a:gd name="T10" fmla="*/ 0 w 317"/>
                    <a:gd name="T11" fmla="*/ 342 h 640"/>
                    <a:gd name="T12" fmla="*/ 230 w 317"/>
                    <a:gd name="T13" fmla="*/ 0 h 640"/>
                    <a:gd name="connsiteX0" fmla="*/ 4669 w 7413"/>
                    <a:gd name="connsiteY0" fmla="*/ 0 h 10000"/>
                    <a:gd name="connsiteX1" fmla="*/ 2870 w 7413"/>
                    <a:gd name="connsiteY1" fmla="*/ 4000 h 10000"/>
                    <a:gd name="connsiteX2" fmla="*/ 7413 w 7413"/>
                    <a:gd name="connsiteY2" fmla="*/ 4000 h 10000"/>
                    <a:gd name="connsiteX3" fmla="*/ 0 w 7413"/>
                    <a:gd name="connsiteY3" fmla="*/ 10000 h 10000"/>
                    <a:gd name="connsiteX4" fmla="*/ 2019 w 7413"/>
                    <a:gd name="connsiteY4" fmla="*/ 5375 h 10000"/>
                    <a:gd name="connsiteX5" fmla="*/ 1327 w 7413"/>
                    <a:gd name="connsiteY5" fmla="*/ 4188 h 10000"/>
                    <a:gd name="connsiteX6" fmla="*/ 4669 w 7413"/>
                    <a:gd name="connsiteY6" fmla="*/ 0 h 10000"/>
                    <a:gd name="connsiteX0" fmla="*/ 6298 w 10000"/>
                    <a:gd name="connsiteY0" fmla="*/ 0 h 10000"/>
                    <a:gd name="connsiteX1" fmla="*/ 3872 w 10000"/>
                    <a:gd name="connsiteY1" fmla="*/ 4000 h 10000"/>
                    <a:gd name="connsiteX2" fmla="*/ 10000 w 10000"/>
                    <a:gd name="connsiteY2" fmla="*/ 4000 h 10000"/>
                    <a:gd name="connsiteX3" fmla="*/ 0 w 10000"/>
                    <a:gd name="connsiteY3" fmla="*/ 10000 h 10000"/>
                    <a:gd name="connsiteX4" fmla="*/ 7911 w 10000"/>
                    <a:gd name="connsiteY4" fmla="*/ 4457 h 10000"/>
                    <a:gd name="connsiteX5" fmla="*/ 1790 w 10000"/>
                    <a:gd name="connsiteY5" fmla="*/ 4188 h 10000"/>
                    <a:gd name="connsiteX6" fmla="*/ 6298 w 10000"/>
                    <a:gd name="connsiteY6" fmla="*/ 0 h 10000"/>
                    <a:gd name="connsiteX0" fmla="*/ 6298 w 10000"/>
                    <a:gd name="connsiteY0" fmla="*/ 0 h 10000"/>
                    <a:gd name="connsiteX1" fmla="*/ 3872 w 10000"/>
                    <a:gd name="connsiteY1" fmla="*/ 4000 h 10000"/>
                    <a:gd name="connsiteX2" fmla="*/ 10000 w 10000"/>
                    <a:gd name="connsiteY2" fmla="*/ 4000 h 10000"/>
                    <a:gd name="connsiteX3" fmla="*/ 0 w 10000"/>
                    <a:gd name="connsiteY3" fmla="*/ 10000 h 10000"/>
                    <a:gd name="connsiteX4" fmla="*/ 7911 w 10000"/>
                    <a:gd name="connsiteY4" fmla="*/ 4457 h 10000"/>
                    <a:gd name="connsiteX5" fmla="*/ 1636 w 10000"/>
                    <a:gd name="connsiteY5" fmla="*/ 4449 h 10000"/>
                    <a:gd name="connsiteX6" fmla="*/ 6298 w 10000"/>
                    <a:gd name="connsiteY6" fmla="*/ 0 h 10000"/>
                    <a:gd name="connsiteX0" fmla="*/ 6298 w 10000"/>
                    <a:gd name="connsiteY0" fmla="*/ 0 h 10000"/>
                    <a:gd name="connsiteX1" fmla="*/ 3872 w 10000"/>
                    <a:gd name="connsiteY1" fmla="*/ 4000 h 10000"/>
                    <a:gd name="connsiteX2" fmla="*/ 10000 w 10000"/>
                    <a:gd name="connsiteY2" fmla="*/ 4000 h 10000"/>
                    <a:gd name="connsiteX3" fmla="*/ 0 w 10000"/>
                    <a:gd name="connsiteY3" fmla="*/ 10000 h 10000"/>
                    <a:gd name="connsiteX4" fmla="*/ 6923 w 10000"/>
                    <a:gd name="connsiteY4" fmla="*/ 4457 h 10000"/>
                    <a:gd name="connsiteX5" fmla="*/ 1636 w 10000"/>
                    <a:gd name="connsiteY5" fmla="*/ 4449 h 10000"/>
                    <a:gd name="connsiteX6" fmla="*/ 6298 w 10000"/>
                    <a:gd name="connsiteY6" fmla="*/ 0 h 10000"/>
                    <a:gd name="connsiteX0" fmla="*/ 6298 w 10000"/>
                    <a:gd name="connsiteY0" fmla="*/ 0 h 10000"/>
                    <a:gd name="connsiteX1" fmla="*/ 3872 w 10000"/>
                    <a:gd name="connsiteY1" fmla="*/ 4000 h 10000"/>
                    <a:gd name="connsiteX2" fmla="*/ 10000 w 10000"/>
                    <a:gd name="connsiteY2" fmla="*/ 4000 h 10000"/>
                    <a:gd name="connsiteX3" fmla="*/ 0 w 10000"/>
                    <a:gd name="connsiteY3" fmla="*/ 10000 h 10000"/>
                    <a:gd name="connsiteX4" fmla="*/ 5688 w 10000"/>
                    <a:gd name="connsiteY4" fmla="*/ 4457 h 10000"/>
                    <a:gd name="connsiteX5" fmla="*/ 1636 w 10000"/>
                    <a:gd name="connsiteY5" fmla="*/ 4449 h 10000"/>
                    <a:gd name="connsiteX6" fmla="*/ 6298 w 10000"/>
                    <a:gd name="connsiteY6" fmla="*/ 0 h 10000"/>
                    <a:gd name="connsiteX0" fmla="*/ 6298 w 10000"/>
                    <a:gd name="connsiteY0" fmla="*/ 0 h 10000"/>
                    <a:gd name="connsiteX1" fmla="*/ 3872 w 10000"/>
                    <a:gd name="connsiteY1" fmla="*/ 4000 h 10000"/>
                    <a:gd name="connsiteX2" fmla="*/ 10000 w 10000"/>
                    <a:gd name="connsiteY2" fmla="*/ 4000 h 10000"/>
                    <a:gd name="connsiteX3" fmla="*/ 0 w 10000"/>
                    <a:gd name="connsiteY3" fmla="*/ 10000 h 10000"/>
                    <a:gd name="connsiteX4" fmla="*/ 5688 w 10000"/>
                    <a:gd name="connsiteY4" fmla="*/ 4457 h 10000"/>
                    <a:gd name="connsiteX5" fmla="*/ 1512 w 10000"/>
                    <a:gd name="connsiteY5" fmla="*/ 4562 h 10000"/>
                    <a:gd name="connsiteX6" fmla="*/ 6298 w 10000"/>
                    <a:gd name="connsiteY6" fmla="*/ 0 h 10000"/>
                    <a:gd name="connsiteX0" fmla="*/ 6298 w 10000"/>
                    <a:gd name="connsiteY0" fmla="*/ 0 h 10000"/>
                    <a:gd name="connsiteX1" fmla="*/ 3872 w 10000"/>
                    <a:gd name="connsiteY1" fmla="*/ 4000 h 10000"/>
                    <a:gd name="connsiteX2" fmla="*/ 10000 w 10000"/>
                    <a:gd name="connsiteY2" fmla="*/ 4000 h 10000"/>
                    <a:gd name="connsiteX3" fmla="*/ 0 w 10000"/>
                    <a:gd name="connsiteY3" fmla="*/ 10000 h 10000"/>
                    <a:gd name="connsiteX4" fmla="*/ 5626 w 10000"/>
                    <a:gd name="connsiteY4" fmla="*/ 4570 h 10000"/>
                    <a:gd name="connsiteX5" fmla="*/ 1512 w 10000"/>
                    <a:gd name="connsiteY5" fmla="*/ 4562 h 10000"/>
                    <a:gd name="connsiteX6" fmla="*/ 6298 w 10000"/>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6298" y="0"/>
                      </a:moveTo>
                      <a:lnTo>
                        <a:pt x="3872" y="4000"/>
                      </a:lnTo>
                      <a:lnTo>
                        <a:pt x="10000" y="4000"/>
                      </a:lnTo>
                      <a:lnTo>
                        <a:pt x="0" y="10000"/>
                      </a:lnTo>
                      <a:lnTo>
                        <a:pt x="5626" y="4570"/>
                      </a:lnTo>
                      <a:lnTo>
                        <a:pt x="1512" y="4562"/>
                      </a:lnTo>
                      <a:lnTo>
                        <a:pt x="6298" y="0"/>
                      </a:lnTo>
                      <a:close/>
                    </a:path>
                  </a:pathLst>
                </a:custGeom>
                <a:solidFill>
                  <a:srgbClr val="FFBE0C"/>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prstClr val="black"/>
                    </a:solidFill>
                    <a:latin typeface="Segoe UI Semilight"/>
                  </a:endParaRPr>
                </a:p>
              </p:txBody>
            </p:sp>
          </p:grpSp>
          <p:sp>
            <p:nvSpPr>
              <p:cNvPr id="47" name="Freeform: Shape 46">
                <a:extLst>
                  <a:ext uri="{FF2B5EF4-FFF2-40B4-BE49-F238E27FC236}">
                    <a16:creationId xmlns:a16="http://schemas.microsoft.com/office/drawing/2014/main" id="{52BDC9C2-FF7A-46E1-AFB4-659330D8EF86}"/>
                  </a:ext>
                </a:extLst>
              </p:cNvPr>
              <p:cNvSpPr/>
              <p:nvPr/>
            </p:nvSpPr>
            <p:spPr bwMode="auto">
              <a:xfrm rot="18892103" flipV="1">
                <a:off x="5945270" y="926286"/>
                <a:ext cx="2165630" cy="2165613"/>
              </a:xfrm>
              <a:custGeom>
                <a:avLst/>
                <a:gdLst>
                  <a:gd name="connsiteX0" fmla="*/ 2136831 w 2165630"/>
                  <a:gd name="connsiteY0" fmla="*/ 2127170 h 2165613"/>
                  <a:gd name="connsiteX1" fmla="*/ 2165629 w 2165630"/>
                  <a:gd name="connsiteY1" fmla="*/ 2056732 h 2165613"/>
                  <a:gd name="connsiteX2" fmla="*/ 2065748 w 2165630"/>
                  <a:gd name="connsiteY2" fmla="*/ 1957764 h 2165613"/>
                  <a:gd name="connsiteX3" fmla="*/ 198852 w 2165630"/>
                  <a:gd name="connsiteY3" fmla="*/ 1966342 h 2165613"/>
                  <a:gd name="connsiteX4" fmla="*/ 198852 w 2165630"/>
                  <a:gd name="connsiteY4" fmla="*/ 99426 h 2165613"/>
                  <a:gd name="connsiteX5" fmla="*/ 99426 w 2165630"/>
                  <a:gd name="connsiteY5" fmla="*/ 0 h 2165613"/>
                  <a:gd name="connsiteX6" fmla="*/ 0 w 2165630"/>
                  <a:gd name="connsiteY6" fmla="*/ 99426 h 2165613"/>
                  <a:gd name="connsiteX7" fmla="*/ 0 w 2165630"/>
                  <a:gd name="connsiteY7" fmla="*/ 2057877 h 2165613"/>
                  <a:gd name="connsiteX8" fmla="*/ 29122 w 2165630"/>
                  <a:gd name="connsiteY8" fmla="*/ 2128182 h 2165613"/>
                  <a:gd name="connsiteX9" fmla="*/ 34286 w 2165630"/>
                  <a:gd name="connsiteY9" fmla="*/ 2131665 h 2165613"/>
                  <a:gd name="connsiteX10" fmla="*/ 37793 w 2165630"/>
                  <a:gd name="connsiteY10" fmla="*/ 2136813 h 2165613"/>
                  <a:gd name="connsiteX11" fmla="*/ 108231 w 2165630"/>
                  <a:gd name="connsiteY11" fmla="*/ 2165612 h 2165613"/>
                  <a:gd name="connsiteX12" fmla="*/ 2066661 w 2165630"/>
                  <a:gd name="connsiteY12" fmla="*/ 2156614 h 2165613"/>
                  <a:gd name="connsiteX13" fmla="*/ 2136831 w 2165630"/>
                  <a:gd name="connsiteY13" fmla="*/ 2127170 h 2165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65630" h="2165613">
                    <a:moveTo>
                      <a:pt x="2136831" y="2127170"/>
                    </a:moveTo>
                    <a:cubicBezTo>
                      <a:pt x="2154741" y="2109095"/>
                      <a:pt x="2165755" y="2084188"/>
                      <a:pt x="2165629" y="2056732"/>
                    </a:cubicBezTo>
                    <a:cubicBezTo>
                      <a:pt x="2165377" y="2001821"/>
                      <a:pt x="2120658" y="1957512"/>
                      <a:pt x="2065748" y="1957764"/>
                    </a:cubicBezTo>
                    <a:lnTo>
                      <a:pt x="198852" y="1966342"/>
                    </a:lnTo>
                    <a:lnTo>
                      <a:pt x="198852" y="99426"/>
                    </a:lnTo>
                    <a:cubicBezTo>
                      <a:pt x="198852" y="44515"/>
                      <a:pt x="154337" y="0"/>
                      <a:pt x="99426" y="0"/>
                    </a:cubicBezTo>
                    <a:cubicBezTo>
                      <a:pt x="44515" y="0"/>
                      <a:pt x="0" y="44515"/>
                      <a:pt x="0" y="99426"/>
                    </a:cubicBezTo>
                    <a:lnTo>
                      <a:pt x="0" y="2057877"/>
                    </a:lnTo>
                    <a:cubicBezTo>
                      <a:pt x="0" y="2085332"/>
                      <a:pt x="11129" y="2110189"/>
                      <a:pt x="29122" y="2128182"/>
                    </a:cubicBezTo>
                    <a:lnTo>
                      <a:pt x="34286" y="2131665"/>
                    </a:lnTo>
                    <a:lnTo>
                      <a:pt x="37793" y="2136813"/>
                    </a:lnTo>
                    <a:cubicBezTo>
                      <a:pt x="55868" y="2154724"/>
                      <a:pt x="80776" y="2165738"/>
                      <a:pt x="108231" y="2165612"/>
                    </a:cubicBezTo>
                    <a:lnTo>
                      <a:pt x="2066661" y="2156614"/>
                    </a:lnTo>
                    <a:cubicBezTo>
                      <a:pt x="2094116" y="2156488"/>
                      <a:pt x="2118922" y="2145245"/>
                      <a:pt x="2136831" y="2127170"/>
                    </a:cubicBezTo>
                    <a:close/>
                  </a:path>
                </a:pathLst>
              </a:custGeom>
              <a:solidFill>
                <a:srgbClr val="3899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0" name="Freeform: Shape 49">
                <a:extLst>
                  <a:ext uri="{FF2B5EF4-FFF2-40B4-BE49-F238E27FC236}">
                    <a16:creationId xmlns:a16="http://schemas.microsoft.com/office/drawing/2014/main" id="{A895B3E8-7CB2-4037-B261-37143922F6CC}"/>
                  </a:ext>
                </a:extLst>
              </p:cNvPr>
              <p:cNvSpPr/>
              <p:nvPr/>
            </p:nvSpPr>
            <p:spPr bwMode="auto">
              <a:xfrm rot="2707897" flipH="1" flipV="1">
                <a:off x="8774836" y="926286"/>
                <a:ext cx="2165630" cy="2165613"/>
              </a:xfrm>
              <a:custGeom>
                <a:avLst/>
                <a:gdLst>
                  <a:gd name="connsiteX0" fmla="*/ 2136831 w 2165630"/>
                  <a:gd name="connsiteY0" fmla="*/ 2127170 h 2165613"/>
                  <a:gd name="connsiteX1" fmla="*/ 2165629 w 2165630"/>
                  <a:gd name="connsiteY1" fmla="*/ 2056732 h 2165613"/>
                  <a:gd name="connsiteX2" fmla="*/ 2065748 w 2165630"/>
                  <a:gd name="connsiteY2" fmla="*/ 1957764 h 2165613"/>
                  <a:gd name="connsiteX3" fmla="*/ 198852 w 2165630"/>
                  <a:gd name="connsiteY3" fmla="*/ 1966342 h 2165613"/>
                  <a:gd name="connsiteX4" fmla="*/ 198852 w 2165630"/>
                  <a:gd name="connsiteY4" fmla="*/ 99426 h 2165613"/>
                  <a:gd name="connsiteX5" fmla="*/ 99426 w 2165630"/>
                  <a:gd name="connsiteY5" fmla="*/ 0 h 2165613"/>
                  <a:gd name="connsiteX6" fmla="*/ 0 w 2165630"/>
                  <a:gd name="connsiteY6" fmla="*/ 99426 h 2165613"/>
                  <a:gd name="connsiteX7" fmla="*/ 0 w 2165630"/>
                  <a:gd name="connsiteY7" fmla="*/ 2057877 h 2165613"/>
                  <a:gd name="connsiteX8" fmla="*/ 29122 w 2165630"/>
                  <a:gd name="connsiteY8" fmla="*/ 2128182 h 2165613"/>
                  <a:gd name="connsiteX9" fmla="*/ 34286 w 2165630"/>
                  <a:gd name="connsiteY9" fmla="*/ 2131665 h 2165613"/>
                  <a:gd name="connsiteX10" fmla="*/ 37793 w 2165630"/>
                  <a:gd name="connsiteY10" fmla="*/ 2136813 h 2165613"/>
                  <a:gd name="connsiteX11" fmla="*/ 108231 w 2165630"/>
                  <a:gd name="connsiteY11" fmla="*/ 2165612 h 2165613"/>
                  <a:gd name="connsiteX12" fmla="*/ 2066661 w 2165630"/>
                  <a:gd name="connsiteY12" fmla="*/ 2156614 h 2165613"/>
                  <a:gd name="connsiteX13" fmla="*/ 2136831 w 2165630"/>
                  <a:gd name="connsiteY13" fmla="*/ 2127170 h 2165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65630" h="2165613">
                    <a:moveTo>
                      <a:pt x="2136831" y="2127170"/>
                    </a:moveTo>
                    <a:cubicBezTo>
                      <a:pt x="2154741" y="2109095"/>
                      <a:pt x="2165755" y="2084188"/>
                      <a:pt x="2165629" y="2056732"/>
                    </a:cubicBezTo>
                    <a:cubicBezTo>
                      <a:pt x="2165377" y="2001821"/>
                      <a:pt x="2120658" y="1957512"/>
                      <a:pt x="2065748" y="1957764"/>
                    </a:cubicBezTo>
                    <a:lnTo>
                      <a:pt x="198852" y="1966342"/>
                    </a:lnTo>
                    <a:lnTo>
                      <a:pt x="198852" y="99426"/>
                    </a:lnTo>
                    <a:cubicBezTo>
                      <a:pt x="198852" y="44515"/>
                      <a:pt x="154337" y="0"/>
                      <a:pt x="99426" y="0"/>
                    </a:cubicBezTo>
                    <a:cubicBezTo>
                      <a:pt x="44515" y="0"/>
                      <a:pt x="0" y="44515"/>
                      <a:pt x="0" y="99426"/>
                    </a:cubicBezTo>
                    <a:lnTo>
                      <a:pt x="0" y="2057877"/>
                    </a:lnTo>
                    <a:cubicBezTo>
                      <a:pt x="0" y="2085332"/>
                      <a:pt x="11129" y="2110189"/>
                      <a:pt x="29122" y="2128182"/>
                    </a:cubicBezTo>
                    <a:lnTo>
                      <a:pt x="34286" y="2131665"/>
                    </a:lnTo>
                    <a:lnTo>
                      <a:pt x="37793" y="2136813"/>
                    </a:lnTo>
                    <a:cubicBezTo>
                      <a:pt x="55868" y="2154724"/>
                      <a:pt x="80776" y="2165738"/>
                      <a:pt x="108231" y="2165612"/>
                    </a:cubicBezTo>
                    <a:lnTo>
                      <a:pt x="2066661" y="2156614"/>
                    </a:lnTo>
                    <a:cubicBezTo>
                      <a:pt x="2094116" y="2156488"/>
                      <a:pt x="2118922" y="2145245"/>
                      <a:pt x="2136831" y="2127170"/>
                    </a:cubicBezTo>
                    <a:close/>
                  </a:path>
                </a:pathLst>
              </a:custGeom>
              <a:solidFill>
                <a:srgbClr val="3899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p:nvSpPr>
          <p:cNvPr id="32" name="Rectangle: Rounded Corners 31">
            <a:extLst>
              <a:ext uri="{FF2B5EF4-FFF2-40B4-BE49-F238E27FC236}">
                <a16:creationId xmlns:a16="http://schemas.microsoft.com/office/drawing/2014/main" id="{AA541F30-0C52-4C06-BDAA-CCD8D6A7F8BD}"/>
              </a:ext>
            </a:extLst>
          </p:cNvPr>
          <p:cNvSpPr/>
          <p:nvPr/>
        </p:nvSpPr>
        <p:spPr bwMode="auto">
          <a:xfrm>
            <a:off x="507101" y="2963968"/>
            <a:ext cx="2377103" cy="2377103"/>
          </a:xfrm>
          <a:prstGeom prst="roundRect">
            <a:avLst/>
          </a:prstGeom>
          <a:solidFill>
            <a:schemeClr val="bg1"/>
          </a:solidFill>
          <a:ln w="63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3" rIns="182854" bIns="146283"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a:solidFill>
                  <a:srgbClr val="505050"/>
                </a:solidFill>
                <a:latin typeface="Segoe UI Semilight"/>
                <a:ea typeface="Segoe UI" pitchFamily="34" charset="0"/>
                <a:cs typeface="Segoe UI" pitchFamily="34" charset="0"/>
              </a:rPr>
              <a:t>Things</a:t>
            </a:r>
          </a:p>
        </p:txBody>
      </p:sp>
      <p:sp>
        <p:nvSpPr>
          <p:cNvPr id="2" name="Title 1">
            <a:extLst>
              <a:ext uri="{FF2B5EF4-FFF2-40B4-BE49-F238E27FC236}">
                <a16:creationId xmlns:a16="http://schemas.microsoft.com/office/drawing/2014/main" id="{724A598A-CE4A-4DEE-93E2-801F249FD9EC}"/>
              </a:ext>
            </a:extLst>
          </p:cNvPr>
          <p:cNvSpPr>
            <a:spLocks noGrp="1"/>
          </p:cNvSpPr>
          <p:nvPr>
            <p:ph type="title"/>
          </p:nvPr>
        </p:nvSpPr>
        <p:spPr/>
        <p:txBody>
          <a:bodyPr vert="horz" wrap="square" lIns="91427" tIns="45713" rIns="91427" bIns="45713" rtlCol="0" anchor="ctr">
            <a:normAutofit fontScale="90000"/>
          </a:bodyPr>
          <a:lstStyle/>
          <a:p>
            <a:pPr algn="ctr" defTabSz="932418"/>
            <a:r>
              <a:rPr lang="zh-CN" altLang="en-US" sz="4488" b="0" spc="0" dirty="0">
                <a:ln>
                  <a:noFill/>
                </a:ln>
                <a:gradFill>
                  <a:gsLst>
                    <a:gs pos="2917">
                      <a:srgbClr val="1A1A1A"/>
                    </a:gs>
                    <a:gs pos="100000">
                      <a:srgbClr val="1A1A1A"/>
                    </a:gs>
                  </a:gsLst>
                  <a:lin ang="5400000" scaled="0"/>
                </a:gradFill>
                <a:latin typeface="Segoe UI Semibold" panose="020B0702040204020203" pitchFamily="34" charset="0"/>
                <a:cs typeface="Segoe UI Semibold" panose="020B0702040204020203" pitchFamily="34" charset="0"/>
              </a:rPr>
              <a:t>微软物联网边缘计算</a:t>
            </a:r>
            <a:endParaRPr lang="en-US" sz="4488" dirty="0">
              <a:solidFill>
                <a:schemeClr val="tx1"/>
              </a:solidFill>
              <a:ea typeface="+mj-ea"/>
              <a:cs typeface="+mj-cs"/>
            </a:endParaRPr>
          </a:p>
        </p:txBody>
      </p:sp>
      <p:sp>
        <p:nvSpPr>
          <p:cNvPr id="3" name="TextBox 2">
            <a:extLst>
              <a:ext uri="{FF2B5EF4-FFF2-40B4-BE49-F238E27FC236}">
                <a16:creationId xmlns:a16="http://schemas.microsoft.com/office/drawing/2014/main" id="{E888A87F-2C06-4BE8-B294-606AC8CF64BF}"/>
              </a:ext>
            </a:extLst>
          </p:cNvPr>
          <p:cNvSpPr txBox="1"/>
          <p:nvPr/>
        </p:nvSpPr>
        <p:spPr>
          <a:xfrm>
            <a:off x="365964" y="2372775"/>
            <a:ext cx="2777640" cy="634440"/>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2400">
                <a:gradFill>
                  <a:gsLst>
                    <a:gs pos="2917">
                      <a:srgbClr val="505050"/>
                    </a:gs>
                    <a:gs pos="30000">
                      <a:srgbClr val="505050"/>
                    </a:gs>
                  </a:gsLst>
                  <a:lin ang="5400000" scaled="0"/>
                </a:gradFill>
                <a:latin typeface="Segoe UI Semilight"/>
              </a:rPr>
              <a:t>Azure IoT Edge</a:t>
            </a:r>
          </a:p>
        </p:txBody>
      </p:sp>
      <p:cxnSp>
        <p:nvCxnSpPr>
          <p:cNvPr id="23" name="Straight Arrow Connector 22">
            <a:extLst>
              <a:ext uri="{FF2B5EF4-FFF2-40B4-BE49-F238E27FC236}">
                <a16:creationId xmlns:a16="http://schemas.microsoft.com/office/drawing/2014/main" id="{C6C62E02-6030-4A1F-8BE6-13298C8437CA}"/>
              </a:ext>
            </a:extLst>
          </p:cNvPr>
          <p:cNvCxnSpPr>
            <a:cxnSpLocks/>
            <a:endCxn id="91" idx="3"/>
          </p:cNvCxnSpPr>
          <p:nvPr/>
        </p:nvCxnSpPr>
        <p:spPr>
          <a:xfrm rot="16200000" flipV="1">
            <a:off x="2068015" y="3567380"/>
            <a:ext cx="492074" cy="276927"/>
          </a:xfrm>
          <a:prstGeom prst="bentConnector2">
            <a:avLst/>
          </a:prstGeom>
          <a:noFill/>
          <a:ln w="28575" cap="flat" cmpd="sng" algn="ctr">
            <a:solidFill>
              <a:schemeClr val="accent4"/>
            </a:solidFill>
            <a:prstDash val="solid"/>
            <a:miter lim="800000"/>
            <a:headEnd type="none"/>
            <a:tailEnd type="triangle"/>
          </a:ln>
          <a:effectLst/>
        </p:spPr>
      </p:cxnSp>
      <p:cxnSp>
        <p:nvCxnSpPr>
          <p:cNvPr id="26" name="Straight Arrow Connector 25">
            <a:extLst>
              <a:ext uri="{FF2B5EF4-FFF2-40B4-BE49-F238E27FC236}">
                <a16:creationId xmlns:a16="http://schemas.microsoft.com/office/drawing/2014/main" id="{A8611D0D-C40C-4154-AECF-25E09274486A}"/>
              </a:ext>
            </a:extLst>
          </p:cNvPr>
          <p:cNvCxnSpPr>
            <a:cxnSpLocks/>
            <a:stCxn id="97" idx="1"/>
          </p:cNvCxnSpPr>
          <p:nvPr/>
        </p:nvCxnSpPr>
        <p:spPr>
          <a:xfrm rot="10800000" flipV="1">
            <a:off x="1011082" y="3481614"/>
            <a:ext cx="197948" cy="470267"/>
          </a:xfrm>
          <a:prstGeom prst="bentConnector2">
            <a:avLst/>
          </a:prstGeom>
          <a:noFill/>
          <a:ln w="28575" cap="flat" cmpd="sng" algn="ctr">
            <a:solidFill>
              <a:schemeClr val="accent4"/>
            </a:solidFill>
            <a:prstDash val="solid"/>
            <a:miter lim="800000"/>
            <a:headEnd type="none"/>
            <a:tailEnd type="triangle"/>
          </a:ln>
          <a:effectLst/>
        </p:spPr>
      </p:cxnSp>
      <p:cxnSp>
        <p:nvCxnSpPr>
          <p:cNvPr id="31" name="Straight Arrow Connector 30">
            <a:extLst>
              <a:ext uri="{FF2B5EF4-FFF2-40B4-BE49-F238E27FC236}">
                <a16:creationId xmlns:a16="http://schemas.microsoft.com/office/drawing/2014/main" id="{6B55F36A-DC15-4C96-AFC7-1FD1340A8525}"/>
              </a:ext>
            </a:extLst>
          </p:cNvPr>
          <p:cNvCxnSpPr>
            <a:cxnSpLocks/>
          </p:cNvCxnSpPr>
          <p:nvPr/>
        </p:nvCxnSpPr>
        <p:spPr>
          <a:xfrm>
            <a:off x="1692146" y="4392620"/>
            <a:ext cx="212934" cy="0"/>
          </a:xfrm>
          <a:prstGeom prst="straightConnector1">
            <a:avLst/>
          </a:prstGeom>
          <a:noFill/>
          <a:ln w="28575" cap="flat" cmpd="sng" algn="ctr">
            <a:solidFill>
              <a:schemeClr val="accent4"/>
            </a:solidFill>
            <a:prstDash val="solid"/>
            <a:miter lim="800000"/>
            <a:headEnd type="none"/>
            <a:tailEnd type="triangle"/>
          </a:ln>
          <a:effectLst/>
        </p:spPr>
      </p:cxnSp>
      <p:sp>
        <p:nvSpPr>
          <p:cNvPr id="36" name="TextBox 35">
            <a:extLst>
              <a:ext uri="{FF2B5EF4-FFF2-40B4-BE49-F238E27FC236}">
                <a16:creationId xmlns:a16="http://schemas.microsoft.com/office/drawing/2014/main" id="{EA9A4E1F-000E-4855-878E-0D006E3C5869}"/>
              </a:ext>
            </a:extLst>
          </p:cNvPr>
          <p:cNvSpPr txBox="1"/>
          <p:nvPr/>
        </p:nvSpPr>
        <p:spPr>
          <a:xfrm>
            <a:off x="4373459" y="2479568"/>
            <a:ext cx="1969953" cy="516992"/>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599">
                <a:solidFill>
                  <a:srgbClr val="0078D7"/>
                </a:solidFill>
                <a:latin typeface="Segoe UI Semilight"/>
              </a:rPr>
              <a:t>Azure IoT Hub</a:t>
            </a:r>
          </a:p>
        </p:txBody>
      </p:sp>
      <p:grpSp>
        <p:nvGrpSpPr>
          <p:cNvPr id="7" name="Group 6">
            <a:extLst>
              <a:ext uri="{FF2B5EF4-FFF2-40B4-BE49-F238E27FC236}">
                <a16:creationId xmlns:a16="http://schemas.microsoft.com/office/drawing/2014/main" id="{6BFA2B8C-BED4-4288-AD51-3847AC2DF784}"/>
              </a:ext>
            </a:extLst>
          </p:cNvPr>
          <p:cNvGrpSpPr/>
          <p:nvPr/>
        </p:nvGrpSpPr>
        <p:grpSpPr>
          <a:xfrm>
            <a:off x="7917331" y="4062691"/>
            <a:ext cx="1831295" cy="626543"/>
            <a:chOff x="2928222" y="5442282"/>
            <a:chExt cx="1831555" cy="626632"/>
          </a:xfrm>
        </p:grpSpPr>
        <p:grpSp>
          <p:nvGrpSpPr>
            <p:cNvPr id="6" name="Group 5">
              <a:extLst>
                <a:ext uri="{FF2B5EF4-FFF2-40B4-BE49-F238E27FC236}">
                  <a16:creationId xmlns:a16="http://schemas.microsoft.com/office/drawing/2014/main" id="{F3270B3F-E829-4296-9A46-3E2B2BCED6B0}"/>
                </a:ext>
              </a:extLst>
            </p:cNvPr>
            <p:cNvGrpSpPr/>
            <p:nvPr/>
          </p:nvGrpSpPr>
          <p:grpSpPr>
            <a:xfrm>
              <a:off x="2928222" y="5442282"/>
              <a:ext cx="1831555" cy="626632"/>
              <a:chOff x="2928222" y="5442282"/>
              <a:chExt cx="1831555" cy="626632"/>
            </a:xfrm>
          </p:grpSpPr>
          <p:sp>
            <p:nvSpPr>
              <p:cNvPr id="65" name="Rectangle: Rounded Corners 64">
                <a:extLst>
                  <a:ext uri="{FF2B5EF4-FFF2-40B4-BE49-F238E27FC236}">
                    <a16:creationId xmlns:a16="http://schemas.microsoft.com/office/drawing/2014/main" id="{36B99132-4D13-418C-9DAB-8C21D6729EEC}"/>
                  </a:ext>
                </a:extLst>
              </p:cNvPr>
              <p:cNvSpPr/>
              <p:nvPr/>
            </p:nvSpPr>
            <p:spPr bwMode="auto">
              <a:xfrm>
                <a:off x="2928222" y="5442282"/>
                <a:ext cx="636858" cy="626632"/>
              </a:xfrm>
              <a:prstGeom prst="roundRect">
                <a:avLst/>
              </a:prstGeom>
              <a:solidFill>
                <a:schemeClr val="bg1"/>
              </a:solidFill>
              <a:ln w="635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b" anchorCtr="0" forceAA="0" compatLnSpc="1">
                <a:prstTxWarp prst="textNoShape">
                  <a:avLst/>
                </a:prstTxWarp>
                <a:noAutofit/>
              </a:bodyPr>
              <a:lstStyle/>
              <a:p>
                <a:pPr algn="ctr" defTabSz="932293" fontAlgn="base">
                  <a:spcBef>
                    <a:spcPct val="0"/>
                  </a:spcBef>
                  <a:spcAft>
                    <a:spcPct val="0"/>
                  </a:spcAft>
                  <a:defRPr/>
                </a:pPr>
                <a:r>
                  <a:rPr lang="en-US" sz="1099">
                    <a:solidFill>
                      <a:srgbClr val="505050"/>
                    </a:solidFill>
                    <a:latin typeface="Segoe UI" panose="020B0502040204020203" pitchFamily="34" charset="0"/>
                    <a:cs typeface="Segoe UI" panose="020B0502040204020203" pitchFamily="34" charset="0"/>
                  </a:rPr>
                  <a:t>Insights</a:t>
                </a:r>
              </a:p>
            </p:txBody>
          </p:sp>
          <p:sp>
            <p:nvSpPr>
              <p:cNvPr id="67" name="Rectangle: Rounded Corners 66">
                <a:extLst>
                  <a:ext uri="{FF2B5EF4-FFF2-40B4-BE49-F238E27FC236}">
                    <a16:creationId xmlns:a16="http://schemas.microsoft.com/office/drawing/2014/main" id="{86594155-867B-4BA7-8E38-438EB41B6223}"/>
                  </a:ext>
                </a:extLst>
              </p:cNvPr>
              <p:cNvSpPr/>
              <p:nvPr/>
            </p:nvSpPr>
            <p:spPr bwMode="auto">
              <a:xfrm>
                <a:off x="4122919" y="5442282"/>
                <a:ext cx="636858" cy="626632"/>
              </a:xfrm>
              <a:prstGeom prst="roundRect">
                <a:avLst/>
              </a:prstGeom>
              <a:solidFill>
                <a:schemeClr val="bg1"/>
              </a:solidFill>
              <a:ln w="635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b" anchorCtr="0" forceAA="0" compatLnSpc="1">
                <a:prstTxWarp prst="textNoShape">
                  <a:avLst/>
                </a:prstTxWarp>
                <a:noAutofit/>
              </a:bodyPr>
              <a:lstStyle/>
              <a:p>
                <a:pPr algn="ctr" defTabSz="932293" fontAlgn="base">
                  <a:spcBef>
                    <a:spcPct val="0"/>
                  </a:spcBef>
                  <a:spcAft>
                    <a:spcPct val="0"/>
                  </a:spcAft>
                  <a:defRPr/>
                </a:pPr>
                <a:r>
                  <a:rPr lang="en-US" sz="1099">
                    <a:solidFill>
                      <a:srgbClr val="505050"/>
                    </a:solidFill>
                    <a:latin typeface="Segoe UI" panose="020B0502040204020203" pitchFamily="34" charset="0"/>
                    <a:cs typeface="Segoe UI" panose="020B0502040204020203" pitchFamily="34" charset="0"/>
                  </a:rPr>
                  <a:t>Actions</a:t>
                </a:r>
              </a:p>
            </p:txBody>
          </p:sp>
        </p:grpSp>
        <p:pic>
          <p:nvPicPr>
            <p:cNvPr id="69" name="Insights Icon">
              <a:extLst>
                <a:ext uri="{FF2B5EF4-FFF2-40B4-BE49-F238E27FC236}">
                  <a16:creationId xmlns:a16="http://schemas.microsoft.com/office/drawing/2014/main" id="{6A985A72-ACB5-4303-B64E-839D950D220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80143" y="5489630"/>
              <a:ext cx="344569" cy="344569"/>
            </a:xfrm>
            <a:prstGeom prst="rect">
              <a:avLst/>
            </a:prstGeom>
          </p:spPr>
        </p:pic>
        <p:grpSp>
          <p:nvGrpSpPr>
            <p:cNvPr id="70" name="actions icon">
              <a:extLst>
                <a:ext uri="{FF2B5EF4-FFF2-40B4-BE49-F238E27FC236}">
                  <a16:creationId xmlns:a16="http://schemas.microsoft.com/office/drawing/2014/main" id="{26B38E7C-ECE8-4CE1-8CEE-3E8D882FC125}"/>
                </a:ext>
              </a:extLst>
            </p:cNvPr>
            <p:cNvGrpSpPr>
              <a:grpSpLocks noChangeAspect="1"/>
            </p:cNvGrpSpPr>
            <p:nvPr/>
          </p:nvGrpSpPr>
          <p:grpSpPr>
            <a:xfrm>
              <a:off x="4310332" y="5509038"/>
              <a:ext cx="244278" cy="305752"/>
              <a:chOff x="5945278" y="-1117032"/>
              <a:chExt cx="4995179" cy="6252248"/>
            </a:xfrm>
          </p:grpSpPr>
          <p:grpSp>
            <p:nvGrpSpPr>
              <p:cNvPr id="71" name="Group 70">
                <a:extLst>
                  <a:ext uri="{FF2B5EF4-FFF2-40B4-BE49-F238E27FC236}">
                    <a16:creationId xmlns:a16="http://schemas.microsoft.com/office/drawing/2014/main" id="{E5C96F96-1842-41D5-91D3-85771D668AF7}"/>
                  </a:ext>
                </a:extLst>
              </p:cNvPr>
              <p:cNvGrpSpPr/>
              <p:nvPr/>
            </p:nvGrpSpPr>
            <p:grpSpPr>
              <a:xfrm>
                <a:off x="6664893" y="-1117032"/>
                <a:ext cx="3101810" cy="6252248"/>
                <a:chOff x="6664893" y="-1117032"/>
                <a:chExt cx="3101810" cy="6252248"/>
              </a:xfrm>
            </p:grpSpPr>
            <p:sp>
              <p:nvSpPr>
                <p:cNvPr id="74" name="Freeform 864">
                  <a:extLst>
                    <a:ext uri="{FF2B5EF4-FFF2-40B4-BE49-F238E27FC236}">
                      <a16:creationId xmlns:a16="http://schemas.microsoft.com/office/drawing/2014/main" id="{3DD4B16A-B724-43D3-A870-DB3AD35A2769}"/>
                    </a:ext>
                  </a:extLst>
                </p:cNvPr>
                <p:cNvSpPr>
                  <a:spLocks noChangeAspect="1"/>
                </p:cNvSpPr>
                <p:nvPr/>
              </p:nvSpPr>
              <p:spPr bwMode="auto">
                <a:xfrm>
                  <a:off x="6664893" y="-1117031"/>
                  <a:ext cx="3096816" cy="6252247"/>
                </a:xfrm>
                <a:custGeom>
                  <a:avLst/>
                  <a:gdLst>
                    <a:gd name="T0" fmla="*/ 230 w 317"/>
                    <a:gd name="T1" fmla="*/ 0 h 640"/>
                    <a:gd name="T2" fmla="*/ 173 w 317"/>
                    <a:gd name="T3" fmla="*/ 256 h 640"/>
                    <a:gd name="T4" fmla="*/ 317 w 317"/>
                    <a:gd name="T5" fmla="*/ 256 h 640"/>
                    <a:gd name="T6" fmla="*/ 82 w 317"/>
                    <a:gd name="T7" fmla="*/ 640 h 640"/>
                    <a:gd name="T8" fmla="*/ 146 w 317"/>
                    <a:gd name="T9" fmla="*/ 344 h 640"/>
                    <a:gd name="T10" fmla="*/ 0 w 317"/>
                    <a:gd name="T11" fmla="*/ 342 h 640"/>
                    <a:gd name="T12" fmla="*/ 230 w 317"/>
                    <a:gd name="T13" fmla="*/ 0 h 640"/>
                  </a:gdLst>
                  <a:ahLst/>
                  <a:cxnLst>
                    <a:cxn ang="0">
                      <a:pos x="T0" y="T1"/>
                    </a:cxn>
                    <a:cxn ang="0">
                      <a:pos x="T2" y="T3"/>
                    </a:cxn>
                    <a:cxn ang="0">
                      <a:pos x="T4" y="T5"/>
                    </a:cxn>
                    <a:cxn ang="0">
                      <a:pos x="T6" y="T7"/>
                    </a:cxn>
                    <a:cxn ang="0">
                      <a:pos x="T8" y="T9"/>
                    </a:cxn>
                    <a:cxn ang="0">
                      <a:pos x="T10" y="T11"/>
                    </a:cxn>
                    <a:cxn ang="0">
                      <a:pos x="T12" y="T13"/>
                    </a:cxn>
                  </a:cxnLst>
                  <a:rect l="0" t="0" r="r" b="b"/>
                  <a:pathLst>
                    <a:path w="317" h="640">
                      <a:moveTo>
                        <a:pt x="230" y="0"/>
                      </a:moveTo>
                      <a:lnTo>
                        <a:pt x="173" y="256"/>
                      </a:lnTo>
                      <a:lnTo>
                        <a:pt x="317" y="256"/>
                      </a:lnTo>
                      <a:lnTo>
                        <a:pt x="82" y="640"/>
                      </a:lnTo>
                      <a:lnTo>
                        <a:pt x="146" y="344"/>
                      </a:lnTo>
                      <a:lnTo>
                        <a:pt x="0" y="342"/>
                      </a:lnTo>
                      <a:lnTo>
                        <a:pt x="230" y="0"/>
                      </a:lnTo>
                      <a:close/>
                    </a:path>
                  </a:pathLst>
                </a:custGeom>
                <a:solidFill>
                  <a:srgbClr val="FFD214"/>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prstClr val="black"/>
                    </a:solidFill>
                    <a:latin typeface="Segoe UI Semilight"/>
                  </a:endParaRPr>
                </a:p>
              </p:txBody>
            </p:sp>
            <p:sp>
              <p:nvSpPr>
                <p:cNvPr id="75" name="Freeform 864">
                  <a:extLst>
                    <a:ext uri="{FF2B5EF4-FFF2-40B4-BE49-F238E27FC236}">
                      <a16:creationId xmlns:a16="http://schemas.microsoft.com/office/drawing/2014/main" id="{879E1942-EB6E-420C-90A3-42DA3876BDDE}"/>
                    </a:ext>
                  </a:extLst>
                </p:cNvPr>
                <p:cNvSpPr>
                  <a:spLocks noChangeAspect="1"/>
                </p:cNvSpPr>
                <p:nvPr/>
              </p:nvSpPr>
              <p:spPr bwMode="auto">
                <a:xfrm>
                  <a:off x="7471033" y="-1117032"/>
                  <a:ext cx="2295670" cy="6252247"/>
                </a:xfrm>
                <a:custGeom>
                  <a:avLst/>
                  <a:gdLst>
                    <a:gd name="T0" fmla="*/ 230 w 317"/>
                    <a:gd name="T1" fmla="*/ 0 h 640"/>
                    <a:gd name="T2" fmla="*/ 173 w 317"/>
                    <a:gd name="T3" fmla="*/ 256 h 640"/>
                    <a:gd name="T4" fmla="*/ 317 w 317"/>
                    <a:gd name="T5" fmla="*/ 256 h 640"/>
                    <a:gd name="T6" fmla="*/ 82 w 317"/>
                    <a:gd name="T7" fmla="*/ 640 h 640"/>
                    <a:gd name="T8" fmla="*/ 146 w 317"/>
                    <a:gd name="T9" fmla="*/ 344 h 640"/>
                    <a:gd name="T10" fmla="*/ 0 w 317"/>
                    <a:gd name="T11" fmla="*/ 342 h 640"/>
                    <a:gd name="T12" fmla="*/ 230 w 317"/>
                    <a:gd name="T13" fmla="*/ 0 h 640"/>
                    <a:gd name="connsiteX0" fmla="*/ 4669 w 7413"/>
                    <a:gd name="connsiteY0" fmla="*/ 0 h 10000"/>
                    <a:gd name="connsiteX1" fmla="*/ 2870 w 7413"/>
                    <a:gd name="connsiteY1" fmla="*/ 4000 h 10000"/>
                    <a:gd name="connsiteX2" fmla="*/ 7413 w 7413"/>
                    <a:gd name="connsiteY2" fmla="*/ 4000 h 10000"/>
                    <a:gd name="connsiteX3" fmla="*/ 0 w 7413"/>
                    <a:gd name="connsiteY3" fmla="*/ 10000 h 10000"/>
                    <a:gd name="connsiteX4" fmla="*/ 2019 w 7413"/>
                    <a:gd name="connsiteY4" fmla="*/ 5375 h 10000"/>
                    <a:gd name="connsiteX5" fmla="*/ 1327 w 7413"/>
                    <a:gd name="connsiteY5" fmla="*/ 4188 h 10000"/>
                    <a:gd name="connsiteX6" fmla="*/ 4669 w 7413"/>
                    <a:gd name="connsiteY6" fmla="*/ 0 h 10000"/>
                    <a:gd name="connsiteX0" fmla="*/ 6298 w 10000"/>
                    <a:gd name="connsiteY0" fmla="*/ 0 h 10000"/>
                    <a:gd name="connsiteX1" fmla="*/ 3872 w 10000"/>
                    <a:gd name="connsiteY1" fmla="*/ 4000 h 10000"/>
                    <a:gd name="connsiteX2" fmla="*/ 10000 w 10000"/>
                    <a:gd name="connsiteY2" fmla="*/ 4000 h 10000"/>
                    <a:gd name="connsiteX3" fmla="*/ 0 w 10000"/>
                    <a:gd name="connsiteY3" fmla="*/ 10000 h 10000"/>
                    <a:gd name="connsiteX4" fmla="*/ 7911 w 10000"/>
                    <a:gd name="connsiteY4" fmla="*/ 4457 h 10000"/>
                    <a:gd name="connsiteX5" fmla="*/ 1790 w 10000"/>
                    <a:gd name="connsiteY5" fmla="*/ 4188 h 10000"/>
                    <a:gd name="connsiteX6" fmla="*/ 6298 w 10000"/>
                    <a:gd name="connsiteY6" fmla="*/ 0 h 10000"/>
                    <a:gd name="connsiteX0" fmla="*/ 6298 w 10000"/>
                    <a:gd name="connsiteY0" fmla="*/ 0 h 10000"/>
                    <a:gd name="connsiteX1" fmla="*/ 3872 w 10000"/>
                    <a:gd name="connsiteY1" fmla="*/ 4000 h 10000"/>
                    <a:gd name="connsiteX2" fmla="*/ 10000 w 10000"/>
                    <a:gd name="connsiteY2" fmla="*/ 4000 h 10000"/>
                    <a:gd name="connsiteX3" fmla="*/ 0 w 10000"/>
                    <a:gd name="connsiteY3" fmla="*/ 10000 h 10000"/>
                    <a:gd name="connsiteX4" fmla="*/ 7911 w 10000"/>
                    <a:gd name="connsiteY4" fmla="*/ 4457 h 10000"/>
                    <a:gd name="connsiteX5" fmla="*/ 1636 w 10000"/>
                    <a:gd name="connsiteY5" fmla="*/ 4449 h 10000"/>
                    <a:gd name="connsiteX6" fmla="*/ 6298 w 10000"/>
                    <a:gd name="connsiteY6" fmla="*/ 0 h 10000"/>
                    <a:gd name="connsiteX0" fmla="*/ 6298 w 10000"/>
                    <a:gd name="connsiteY0" fmla="*/ 0 h 10000"/>
                    <a:gd name="connsiteX1" fmla="*/ 3872 w 10000"/>
                    <a:gd name="connsiteY1" fmla="*/ 4000 h 10000"/>
                    <a:gd name="connsiteX2" fmla="*/ 10000 w 10000"/>
                    <a:gd name="connsiteY2" fmla="*/ 4000 h 10000"/>
                    <a:gd name="connsiteX3" fmla="*/ 0 w 10000"/>
                    <a:gd name="connsiteY3" fmla="*/ 10000 h 10000"/>
                    <a:gd name="connsiteX4" fmla="*/ 6923 w 10000"/>
                    <a:gd name="connsiteY4" fmla="*/ 4457 h 10000"/>
                    <a:gd name="connsiteX5" fmla="*/ 1636 w 10000"/>
                    <a:gd name="connsiteY5" fmla="*/ 4449 h 10000"/>
                    <a:gd name="connsiteX6" fmla="*/ 6298 w 10000"/>
                    <a:gd name="connsiteY6" fmla="*/ 0 h 10000"/>
                    <a:gd name="connsiteX0" fmla="*/ 6298 w 10000"/>
                    <a:gd name="connsiteY0" fmla="*/ 0 h 10000"/>
                    <a:gd name="connsiteX1" fmla="*/ 3872 w 10000"/>
                    <a:gd name="connsiteY1" fmla="*/ 4000 h 10000"/>
                    <a:gd name="connsiteX2" fmla="*/ 10000 w 10000"/>
                    <a:gd name="connsiteY2" fmla="*/ 4000 h 10000"/>
                    <a:gd name="connsiteX3" fmla="*/ 0 w 10000"/>
                    <a:gd name="connsiteY3" fmla="*/ 10000 h 10000"/>
                    <a:gd name="connsiteX4" fmla="*/ 5688 w 10000"/>
                    <a:gd name="connsiteY4" fmla="*/ 4457 h 10000"/>
                    <a:gd name="connsiteX5" fmla="*/ 1636 w 10000"/>
                    <a:gd name="connsiteY5" fmla="*/ 4449 h 10000"/>
                    <a:gd name="connsiteX6" fmla="*/ 6298 w 10000"/>
                    <a:gd name="connsiteY6" fmla="*/ 0 h 10000"/>
                    <a:gd name="connsiteX0" fmla="*/ 6298 w 10000"/>
                    <a:gd name="connsiteY0" fmla="*/ 0 h 10000"/>
                    <a:gd name="connsiteX1" fmla="*/ 3872 w 10000"/>
                    <a:gd name="connsiteY1" fmla="*/ 4000 h 10000"/>
                    <a:gd name="connsiteX2" fmla="*/ 10000 w 10000"/>
                    <a:gd name="connsiteY2" fmla="*/ 4000 h 10000"/>
                    <a:gd name="connsiteX3" fmla="*/ 0 w 10000"/>
                    <a:gd name="connsiteY3" fmla="*/ 10000 h 10000"/>
                    <a:gd name="connsiteX4" fmla="*/ 5688 w 10000"/>
                    <a:gd name="connsiteY4" fmla="*/ 4457 h 10000"/>
                    <a:gd name="connsiteX5" fmla="*/ 1512 w 10000"/>
                    <a:gd name="connsiteY5" fmla="*/ 4562 h 10000"/>
                    <a:gd name="connsiteX6" fmla="*/ 6298 w 10000"/>
                    <a:gd name="connsiteY6" fmla="*/ 0 h 10000"/>
                    <a:gd name="connsiteX0" fmla="*/ 6298 w 10000"/>
                    <a:gd name="connsiteY0" fmla="*/ 0 h 10000"/>
                    <a:gd name="connsiteX1" fmla="*/ 3872 w 10000"/>
                    <a:gd name="connsiteY1" fmla="*/ 4000 h 10000"/>
                    <a:gd name="connsiteX2" fmla="*/ 10000 w 10000"/>
                    <a:gd name="connsiteY2" fmla="*/ 4000 h 10000"/>
                    <a:gd name="connsiteX3" fmla="*/ 0 w 10000"/>
                    <a:gd name="connsiteY3" fmla="*/ 10000 h 10000"/>
                    <a:gd name="connsiteX4" fmla="*/ 5626 w 10000"/>
                    <a:gd name="connsiteY4" fmla="*/ 4570 h 10000"/>
                    <a:gd name="connsiteX5" fmla="*/ 1512 w 10000"/>
                    <a:gd name="connsiteY5" fmla="*/ 4562 h 10000"/>
                    <a:gd name="connsiteX6" fmla="*/ 6298 w 10000"/>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6298" y="0"/>
                      </a:moveTo>
                      <a:lnTo>
                        <a:pt x="3872" y="4000"/>
                      </a:lnTo>
                      <a:lnTo>
                        <a:pt x="10000" y="4000"/>
                      </a:lnTo>
                      <a:lnTo>
                        <a:pt x="0" y="10000"/>
                      </a:lnTo>
                      <a:lnTo>
                        <a:pt x="5626" y="4570"/>
                      </a:lnTo>
                      <a:lnTo>
                        <a:pt x="1512" y="4562"/>
                      </a:lnTo>
                      <a:lnTo>
                        <a:pt x="6298" y="0"/>
                      </a:lnTo>
                      <a:close/>
                    </a:path>
                  </a:pathLst>
                </a:custGeom>
                <a:solidFill>
                  <a:srgbClr val="FFBE0C"/>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prstClr val="black"/>
                    </a:solidFill>
                    <a:latin typeface="Segoe UI Semilight"/>
                  </a:endParaRPr>
                </a:p>
              </p:txBody>
            </p:sp>
          </p:grpSp>
          <p:sp>
            <p:nvSpPr>
              <p:cNvPr id="72" name="Freeform: Shape 71">
                <a:extLst>
                  <a:ext uri="{FF2B5EF4-FFF2-40B4-BE49-F238E27FC236}">
                    <a16:creationId xmlns:a16="http://schemas.microsoft.com/office/drawing/2014/main" id="{4BFBC22D-3E3E-47C8-917F-F936F8E65C62}"/>
                  </a:ext>
                </a:extLst>
              </p:cNvPr>
              <p:cNvSpPr/>
              <p:nvPr/>
            </p:nvSpPr>
            <p:spPr bwMode="auto">
              <a:xfrm rot="18892103" flipV="1">
                <a:off x="5945270" y="926286"/>
                <a:ext cx="2165630" cy="2165613"/>
              </a:xfrm>
              <a:custGeom>
                <a:avLst/>
                <a:gdLst>
                  <a:gd name="connsiteX0" fmla="*/ 2136831 w 2165630"/>
                  <a:gd name="connsiteY0" fmla="*/ 2127170 h 2165613"/>
                  <a:gd name="connsiteX1" fmla="*/ 2165629 w 2165630"/>
                  <a:gd name="connsiteY1" fmla="*/ 2056732 h 2165613"/>
                  <a:gd name="connsiteX2" fmla="*/ 2065748 w 2165630"/>
                  <a:gd name="connsiteY2" fmla="*/ 1957764 h 2165613"/>
                  <a:gd name="connsiteX3" fmla="*/ 198852 w 2165630"/>
                  <a:gd name="connsiteY3" fmla="*/ 1966342 h 2165613"/>
                  <a:gd name="connsiteX4" fmla="*/ 198852 w 2165630"/>
                  <a:gd name="connsiteY4" fmla="*/ 99426 h 2165613"/>
                  <a:gd name="connsiteX5" fmla="*/ 99426 w 2165630"/>
                  <a:gd name="connsiteY5" fmla="*/ 0 h 2165613"/>
                  <a:gd name="connsiteX6" fmla="*/ 0 w 2165630"/>
                  <a:gd name="connsiteY6" fmla="*/ 99426 h 2165613"/>
                  <a:gd name="connsiteX7" fmla="*/ 0 w 2165630"/>
                  <a:gd name="connsiteY7" fmla="*/ 2057877 h 2165613"/>
                  <a:gd name="connsiteX8" fmla="*/ 29122 w 2165630"/>
                  <a:gd name="connsiteY8" fmla="*/ 2128182 h 2165613"/>
                  <a:gd name="connsiteX9" fmla="*/ 34286 w 2165630"/>
                  <a:gd name="connsiteY9" fmla="*/ 2131665 h 2165613"/>
                  <a:gd name="connsiteX10" fmla="*/ 37793 w 2165630"/>
                  <a:gd name="connsiteY10" fmla="*/ 2136813 h 2165613"/>
                  <a:gd name="connsiteX11" fmla="*/ 108231 w 2165630"/>
                  <a:gd name="connsiteY11" fmla="*/ 2165612 h 2165613"/>
                  <a:gd name="connsiteX12" fmla="*/ 2066661 w 2165630"/>
                  <a:gd name="connsiteY12" fmla="*/ 2156614 h 2165613"/>
                  <a:gd name="connsiteX13" fmla="*/ 2136831 w 2165630"/>
                  <a:gd name="connsiteY13" fmla="*/ 2127170 h 2165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65630" h="2165613">
                    <a:moveTo>
                      <a:pt x="2136831" y="2127170"/>
                    </a:moveTo>
                    <a:cubicBezTo>
                      <a:pt x="2154741" y="2109095"/>
                      <a:pt x="2165755" y="2084188"/>
                      <a:pt x="2165629" y="2056732"/>
                    </a:cubicBezTo>
                    <a:cubicBezTo>
                      <a:pt x="2165377" y="2001821"/>
                      <a:pt x="2120658" y="1957512"/>
                      <a:pt x="2065748" y="1957764"/>
                    </a:cubicBezTo>
                    <a:lnTo>
                      <a:pt x="198852" y="1966342"/>
                    </a:lnTo>
                    <a:lnTo>
                      <a:pt x="198852" y="99426"/>
                    </a:lnTo>
                    <a:cubicBezTo>
                      <a:pt x="198852" y="44515"/>
                      <a:pt x="154337" y="0"/>
                      <a:pt x="99426" y="0"/>
                    </a:cubicBezTo>
                    <a:cubicBezTo>
                      <a:pt x="44515" y="0"/>
                      <a:pt x="0" y="44515"/>
                      <a:pt x="0" y="99426"/>
                    </a:cubicBezTo>
                    <a:lnTo>
                      <a:pt x="0" y="2057877"/>
                    </a:lnTo>
                    <a:cubicBezTo>
                      <a:pt x="0" y="2085332"/>
                      <a:pt x="11129" y="2110189"/>
                      <a:pt x="29122" y="2128182"/>
                    </a:cubicBezTo>
                    <a:lnTo>
                      <a:pt x="34286" y="2131665"/>
                    </a:lnTo>
                    <a:lnTo>
                      <a:pt x="37793" y="2136813"/>
                    </a:lnTo>
                    <a:cubicBezTo>
                      <a:pt x="55868" y="2154724"/>
                      <a:pt x="80776" y="2165738"/>
                      <a:pt x="108231" y="2165612"/>
                    </a:cubicBezTo>
                    <a:lnTo>
                      <a:pt x="2066661" y="2156614"/>
                    </a:lnTo>
                    <a:cubicBezTo>
                      <a:pt x="2094116" y="2156488"/>
                      <a:pt x="2118922" y="2145245"/>
                      <a:pt x="2136831" y="2127170"/>
                    </a:cubicBezTo>
                    <a:close/>
                  </a:path>
                </a:pathLst>
              </a:custGeom>
              <a:solidFill>
                <a:srgbClr val="3899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 name="Freeform: Shape 72">
                <a:extLst>
                  <a:ext uri="{FF2B5EF4-FFF2-40B4-BE49-F238E27FC236}">
                    <a16:creationId xmlns:a16="http://schemas.microsoft.com/office/drawing/2014/main" id="{3C32E713-1007-4350-AB17-348968063D67}"/>
                  </a:ext>
                </a:extLst>
              </p:cNvPr>
              <p:cNvSpPr/>
              <p:nvPr/>
            </p:nvSpPr>
            <p:spPr bwMode="auto">
              <a:xfrm rot="2707897" flipH="1" flipV="1">
                <a:off x="8774836" y="926286"/>
                <a:ext cx="2165630" cy="2165613"/>
              </a:xfrm>
              <a:custGeom>
                <a:avLst/>
                <a:gdLst>
                  <a:gd name="connsiteX0" fmla="*/ 2136831 w 2165630"/>
                  <a:gd name="connsiteY0" fmla="*/ 2127170 h 2165613"/>
                  <a:gd name="connsiteX1" fmla="*/ 2165629 w 2165630"/>
                  <a:gd name="connsiteY1" fmla="*/ 2056732 h 2165613"/>
                  <a:gd name="connsiteX2" fmla="*/ 2065748 w 2165630"/>
                  <a:gd name="connsiteY2" fmla="*/ 1957764 h 2165613"/>
                  <a:gd name="connsiteX3" fmla="*/ 198852 w 2165630"/>
                  <a:gd name="connsiteY3" fmla="*/ 1966342 h 2165613"/>
                  <a:gd name="connsiteX4" fmla="*/ 198852 w 2165630"/>
                  <a:gd name="connsiteY4" fmla="*/ 99426 h 2165613"/>
                  <a:gd name="connsiteX5" fmla="*/ 99426 w 2165630"/>
                  <a:gd name="connsiteY5" fmla="*/ 0 h 2165613"/>
                  <a:gd name="connsiteX6" fmla="*/ 0 w 2165630"/>
                  <a:gd name="connsiteY6" fmla="*/ 99426 h 2165613"/>
                  <a:gd name="connsiteX7" fmla="*/ 0 w 2165630"/>
                  <a:gd name="connsiteY7" fmla="*/ 2057877 h 2165613"/>
                  <a:gd name="connsiteX8" fmla="*/ 29122 w 2165630"/>
                  <a:gd name="connsiteY8" fmla="*/ 2128182 h 2165613"/>
                  <a:gd name="connsiteX9" fmla="*/ 34286 w 2165630"/>
                  <a:gd name="connsiteY9" fmla="*/ 2131665 h 2165613"/>
                  <a:gd name="connsiteX10" fmla="*/ 37793 w 2165630"/>
                  <a:gd name="connsiteY10" fmla="*/ 2136813 h 2165613"/>
                  <a:gd name="connsiteX11" fmla="*/ 108231 w 2165630"/>
                  <a:gd name="connsiteY11" fmla="*/ 2165612 h 2165613"/>
                  <a:gd name="connsiteX12" fmla="*/ 2066661 w 2165630"/>
                  <a:gd name="connsiteY12" fmla="*/ 2156614 h 2165613"/>
                  <a:gd name="connsiteX13" fmla="*/ 2136831 w 2165630"/>
                  <a:gd name="connsiteY13" fmla="*/ 2127170 h 2165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65630" h="2165613">
                    <a:moveTo>
                      <a:pt x="2136831" y="2127170"/>
                    </a:moveTo>
                    <a:cubicBezTo>
                      <a:pt x="2154741" y="2109095"/>
                      <a:pt x="2165755" y="2084188"/>
                      <a:pt x="2165629" y="2056732"/>
                    </a:cubicBezTo>
                    <a:cubicBezTo>
                      <a:pt x="2165377" y="2001821"/>
                      <a:pt x="2120658" y="1957512"/>
                      <a:pt x="2065748" y="1957764"/>
                    </a:cubicBezTo>
                    <a:lnTo>
                      <a:pt x="198852" y="1966342"/>
                    </a:lnTo>
                    <a:lnTo>
                      <a:pt x="198852" y="99426"/>
                    </a:lnTo>
                    <a:cubicBezTo>
                      <a:pt x="198852" y="44515"/>
                      <a:pt x="154337" y="0"/>
                      <a:pt x="99426" y="0"/>
                    </a:cubicBezTo>
                    <a:cubicBezTo>
                      <a:pt x="44515" y="0"/>
                      <a:pt x="0" y="44515"/>
                      <a:pt x="0" y="99426"/>
                    </a:cubicBezTo>
                    <a:lnTo>
                      <a:pt x="0" y="2057877"/>
                    </a:lnTo>
                    <a:cubicBezTo>
                      <a:pt x="0" y="2085332"/>
                      <a:pt x="11129" y="2110189"/>
                      <a:pt x="29122" y="2128182"/>
                    </a:cubicBezTo>
                    <a:lnTo>
                      <a:pt x="34286" y="2131665"/>
                    </a:lnTo>
                    <a:lnTo>
                      <a:pt x="37793" y="2136813"/>
                    </a:lnTo>
                    <a:cubicBezTo>
                      <a:pt x="55868" y="2154724"/>
                      <a:pt x="80776" y="2165738"/>
                      <a:pt x="108231" y="2165612"/>
                    </a:cubicBezTo>
                    <a:lnTo>
                      <a:pt x="2066661" y="2156614"/>
                    </a:lnTo>
                    <a:cubicBezTo>
                      <a:pt x="2094116" y="2156488"/>
                      <a:pt x="2118922" y="2145245"/>
                      <a:pt x="2136831" y="2127170"/>
                    </a:cubicBezTo>
                    <a:close/>
                  </a:path>
                </a:pathLst>
              </a:custGeom>
              <a:solidFill>
                <a:srgbClr val="3899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cxnSp>
        <p:nvCxnSpPr>
          <p:cNvPr id="167" name="Straight Arrow Connector 166">
            <a:extLst>
              <a:ext uri="{FF2B5EF4-FFF2-40B4-BE49-F238E27FC236}">
                <a16:creationId xmlns:a16="http://schemas.microsoft.com/office/drawing/2014/main" id="{2EE86609-D801-4F57-9669-4A0F613001B5}"/>
              </a:ext>
            </a:extLst>
          </p:cNvPr>
          <p:cNvCxnSpPr>
            <a:cxnSpLocks/>
          </p:cNvCxnSpPr>
          <p:nvPr/>
        </p:nvCxnSpPr>
        <p:spPr>
          <a:xfrm>
            <a:off x="3239245" y="3790201"/>
            <a:ext cx="3246300" cy="0"/>
          </a:xfrm>
          <a:prstGeom prst="straightConnector1">
            <a:avLst/>
          </a:prstGeom>
          <a:noFill/>
          <a:ln w="28575" cap="flat" cmpd="sng" algn="ctr">
            <a:solidFill>
              <a:schemeClr val="accent4"/>
            </a:solidFill>
            <a:prstDash val="solid"/>
            <a:miter lim="800000"/>
            <a:headEnd type="none"/>
            <a:tailEnd type="triangle"/>
          </a:ln>
          <a:effectLst/>
        </p:spPr>
      </p:cxnSp>
      <p:cxnSp>
        <p:nvCxnSpPr>
          <p:cNvPr id="168" name="Straight Arrow Connector 167">
            <a:extLst>
              <a:ext uri="{FF2B5EF4-FFF2-40B4-BE49-F238E27FC236}">
                <a16:creationId xmlns:a16="http://schemas.microsoft.com/office/drawing/2014/main" id="{40B431E0-A169-402E-AC90-E93D4F36DF2C}"/>
              </a:ext>
            </a:extLst>
          </p:cNvPr>
          <p:cNvCxnSpPr>
            <a:cxnSpLocks/>
          </p:cNvCxnSpPr>
          <p:nvPr/>
        </p:nvCxnSpPr>
        <p:spPr>
          <a:xfrm flipH="1">
            <a:off x="3213122" y="3997397"/>
            <a:ext cx="6370307" cy="0"/>
          </a:xfrm>
          <a:prstGeom prst="straightConnector1">
            <a:avLst/>
          </a:prstGeom>
          <a:noFill/>
          <a:ln w="28575" cap="flat" cmpd="sng" algn="ctr">
            <a:solidFill>
              <a:schemeClr val="accent4"/>
            </a:solidFill>
            <a:prstDash val="solid"/>
            <a:miter lim="800000"/>
            <a:headEnd type="none"/>
            <a:tailEnd type="triangle"/>
          </a:ln>
          <a:effectLst/>
        </p:spPr>
      </p:cxnSp>
      <p:cxnSp>
        <p:nvCxnSpPr>
          <p:cNvPr id="131" name="Straight Arrow Connector 130">
            <a:extLst>
              <a:ext uri="{FF2B5EF4-FFF2-40B4-BE49-F238E27FC236}">
                <a16:creationId xmlns:a16="http://schemas.microsoft.com/office/drawing/2014/main" id="{BE8EB9C1-7189-4F9A-9BD0-EEB62F88E53B}"/>
              </a:ext>
            </a:extLst>
          </p:cNvPr>
          <p:cNvCxnSpPr>
            <a:cxnSpLocks/>
          </p:cNvCxnSpPr>
          <p:nvPr/>
        </p:nvCxnSpPr>
        <p:spPr>
          <a:xfrm>
            <a:off x="8438146" y="3790201"/>
            <a:ext cx="680232" cy="0"/>
          </a:xfrm>
          <a:prstGeom prst="straightConnector1">
            <a:avLst/>
          </a:prstGeom>
          <a:noFill/>
          <a:ln w="28575" cap="flat" cmpd="sng" algn="ctr">
            <a:solidFill>
              <a:schemeClr val="accent4"/>
            </a:solidFill>
            <a:prstDash val="solid"/>
            <a:miter lim="800000"/>
            <a:headEnd type="none"/>
            <a:tailEnd type="triangle"/>
          </a:ln>
          <a:effectLst/>
        </p:spPr>
      </p:cxnSp>
      <p:sp>
        <p:nvSpPr>
          <p:cNvPr id="21" name="Rectangle: Rounded Corners 20">
            <a:extLst>
              <a:ext uri="{FF2B5EF4-FFF2-40B4-BE49-F238E27FC236}">
                <a16:creationId xmlns:a16="http://schemas.microsoft.com/office/drawing/2014/main" id="{D189E272-2EC7-4D83-AA34-80DDFAE8F63A}"/>
              </a:ext>
            </a:extLst>
          </p:cNvPr>
          <p:cNvSpPr/>
          <p:nvPr/>
        </p:nvSpPr>
        <p:spPr bwMode="auto">
          <a:xfrm>
            <a:off x="1260288" y="3442159"/>
            <a:ext cx="95134" cy="78910"/>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1" name="Rectangle: Rounded Corners 90">
            <a:extLst>
              <a:ext uri="{FF2B5EF4-FFF2-40B4-BE49-F238E27FC236}">
                <a16:creationId xmlns:a16="http://schemas.microsoft.com/office/drawing/2014/main" id="{27400309-3860-432C-9EFC-98A846B2DEDA}"/>
              </a:ext>
            </a:extLst>
          </p:cNvPr>
          <p:cNvSpPr/>
          <p:nvPr/>
        </p:nvSpPr>
        <p:spPr bwMode="auto">
          <a:xfrm>
            <a:off x="2080455" y="3420351"/>
            <a:ext cx="95134" cy="78910"/>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7" name="Rectangle: Rounded Corners 96">
            <a:extLst>
              <a:ext uri="{FF2B5EF4-FFF2-40B4-BE49-F238E27FC236}">
                <a16:creationId xmlns:a16="http://schemas.microsoft.com/office/drawing/2014/main" id="{E1360193-16CD-4FEB-8C52-46B3862BBB55}"/>
              </a:ext>
            </a:extLst>
          </p:cNvPr>
          <p:cNvSpPr/>
          <p:nvPr/>
        </p:nvSpPr>
        <p:spPr bwMode="auto">
          <a:xfrm>
            <a:off x="1209032" y="3442159"/>
            <a:ext cx="95134" cy="78910"/>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5" name="Things icon">
            <a:extLst>
              <a:ext uri="{FF2B5EF4-FFF2-40B4-BE49-F238E27FC236}">
                <a16:creationId xmlns:a16="http://schemas.microsoft.com/office/drawing/2014/main" id="{20989BE7-6AF9-4F29-A424-7CBCCC70FEF2}"/>
              </a:ext>
            </a:extLst>
          </p:cNvPr>
          <p:cNvGrpSpPr/>
          <p:nvPr/>
        </p:nvGrpSpPr>
        <p:grpSpPr>
          <a:xfrm>
            <a:off x="1266001" y="3090201"/>
            <a:ext cx="859301" cy="647724"/>
            <a:chOff x="712594" y="3057669"/>
            <a:chExt cx="982416" cy="740527"/>
          </a:xfrm>
        </p:grpSpPr>
        <p:grpSp>
          <p:nvGrpSpPr>
            <p:cNvPr id="56" name="Group 55">
              <a:extLst>
                <a:ext uri="{FF2B5EF4-FFF2-40B4-BE49-F238E27FC236}">
                  <a16:creationId xmlns:a16="http://schemas.microsoft.com/office/drawing/2014/main" id="{2D142758-551E-499B-A282-9F9AEEE6A823}"/>
                </a:ext>
              </a:extLst>
            </p:cNvPr>
            <p:cNvGrpSpPr/>
            <p:nvPr/>
          </p:nvGrpSpPr>
          <p:grpSpPr>
            <a:xfrm>
              <a:off x="712594" y="3057669"/>
              <a:ext cx="982416" cy="740527"/>
              <a:chOff x="14466548" y="3803109"/>
              <a:chExt cx="499020" cy="376151"/>
            </a:xfrm>
            <a:solidFill>
              <a:schemeClr val="accent5"/>
            </a:solidFill>
          </p:grpSpPr>
          <p:sp>
            <p:nvSpPr>
              <p:cNvPr id="61" name="Freeform 39">
                <a:extLst>
                  <a:ext uri="{FF2B5EF4-FFF2-40B4-BE49-F238E27FC236}">
                    <a16:creationId xmlns:a16="http://schemas.microsoft.com/office/drawing/2014/main" id="{891DF101-C052-4830-BA68-BF8BBC1C0AC3}"/>
                  </a:ext>
                </a:extLst>
              </p:cNvPr>
              <p:cNvSpPr>
                <a:spLocks/>
              </p:cNvSpPr>
              <p:nvPr/>
            </p:nvSpPr>
            <p:spPr bwMode="auto">
              <a:xfrm>
                <a:off x="14657821" y="3803109"/>
                <a:ext cx="149599" cy="71595"/>
              </a:xfrm>
              <a:custGeom>
                <a:avLst/>
                <a:gdLst>
                  <a:gd name="T0" fmla="*/ 408 w 560"/>
                  <a:gd name="T1" fmla="*/ 187 h 265"/>
                  <a:gd name="T2" fmla="*/ 523 w 560"/>
                  <a:gd name="T3" fmla="*/ 187 h 265"/>
                  <a:gd name="T4" fmla="*/ 523 w 560"/>
                  <a:gd name="T5" fmla="*/ 187 h 265"/>
                  <a:gd name="T6" fmla="*/ 530 w 560"/>
                  <a:gd name="T7" fmla="*/ 187 h 265"/>
                  <a:gd name="T8" fmla="*/ 537 w 560"/>
                  <a:gd name="T9" fmla="*/ 185 h 265"/>
                  <a:gd name="T10" fmla="*/ 544 w 560"/>
                  <a:gd name="T11" fmla="*/ 181 h 265"/>
                  <a:gd name="T12" fmla="*/ 550 w 560"/>
                  <a:gd name="T13" fmla="*/ 177 h 265"/>
                  <a:gd name="T14" fmla="*/ 554 w 560"/>
                  <a:gd name="T15" fmla="*/ 172 h 265"/>
                  <a:gd name="T16" fmla="*/ 557 w 560"/>
                  <a:gd name="T17" fmla="*/ 164 h 265"/>
                  <a:gd name="T18" fmla="*/ 559 w 560"/>
                  <a:gd name="T19" fmla="*/ 158 h 265"/>
                  <a:gd name="T20" fmla="*/ 560 w 560"/>
                  <a:gd name="T21" fmla="*/ 150 h 265"/>
                  <a:gd name="T22" fmla="*/ 560 w 560"/>
                  <a:gd name="T23" fmla="*/ 37 h 265"/>
                  <a:gd name="T24" fmla="*/ 560 w 560"/>
                  <a:gd name="T25" fmla="*/ 37 h 265"/>
                  <a:gd name="T26" fmla="*/ 559 w 560"/>
                  <a:gd name="T27" fmla="*/ 29 h 265"/>
                  <a:gd name="T28" fmla="*/ 557 w 560"/>
                  <a:gd name="T29" fmla="*/ 22 h 265"/>
                  <a:gd name="T30" fmla="*/ 554 w 560"/>
                  <a:gd name="T31" fmla="*/ 15 h 265"/>
                  <a:gd name="T32" fmla="*/ 550 w 560"/>
                  <a:gd name="T33" fmla="*/ 10 h 265"/>
                  <a:gd name="T34" fmla="*/ 544 w 560"/>
                  <a:gd name="T35" fmla="*/ 6 h 265"/>
                  <a:gd name="T36" fmla="*/ 537 w 560"/>
                  <a:gd name="T37" fmla="*/ 2 h 265"/>
                  <a:gd name="T38" fmla="*/ 530 w 560"/>
                  <a:gd name="T39" fmla="*/ 0 h 265"/>
                  <a:gd name="T40" fmla="*/ 523 w 560"/>
                  <a:gd name="T41" fmla="*/ 0 h 265"/>
                  <a:gd name="T42" fmla="*/ 37 w 560"/>
                  <a:gd name="T43" fmla="*/ 0 h 265"/>
                  <a:gd name="T44" fmla="*/ 37 w 560"/>
                  <a:gd name="T45" fmla="*/ 0 h 265"/>
                  <a:gd name="T46" fmla="*/ 30 w 560"/>
                  <a:gd name="T47" fmla="*/ 0 h 265"/>
                  <a:gd name="T48" fmla="*/ 23 w 560"/>
                  <a:gd name="T49" fmla="*/ 2 h 265"/>
                  <a:gd name="T50" fmla="*/ 17 w 560"/>
                  <a:gd name="T51" fmla="*/ 6 h 265"/>
                  <a:gd name="T52" fmla="*/ 12 w 560"/>
                  <a:gd name="T53" fmla="*/ 10 h 265"/>
                  <a:gd name="T54" fmla="*/ 6 w 560"/>
                  <a:gd name="T55" fmla="*/ 15 h 265"/>
                  <a:gd name="T56" fmla="*/ 3 w 560"/>
                  <a:gd name="T57" fmla="*/ 22 h 265"/>
                  <a:gd name="T58" fmla="*/ 1 w 560"/>
                  <a:gd name="T59" fmla="*/ 29 h 265"/>
                  <a:gd name="T60" fmla="*/ 0 w 560"/>
                  <a:gd name="T61" fmla="*/ 37 h 265"/>
                  <a:gd name="T62" fmla="*/ 0 w 560"/>
                  <a:gd name="T63" fmla="*/ 150 h 265"/>
                  <a:gd name="T64" fmla="*/ 0 w 560"/>
                  <a:gd name="T65" fmla="*/ 150 h 265"/>
                  <a:gd name="T66" fmla="*/ 1 w 560"/>
                  <a:gd name="T67" fmla="*/ 158 h 265"/>
                  <a:gd name="T68" fmla="*/ 3 w 560"/>
                  <a:gd name="T69" fmla="*/ 164 h 265"/>
                  <a:gd name="T70" fmla="*/ 6 w 560"/>
                  <a:gd name="T71" fmla="*/ 172 h 265"/>
                  <a:gd name="T72" fmla="*/ 12 w 560"/>
                  <a:gd name="T73" fmla="*/ 177 h 265"/>
                  <a:gd name="T74" fmla="*/ 17 w 560"/>
                  <a:gd name="T75" fmla="*/ 181 h 265"/>
                  <a:gd name="T76" fmla="*/ 23 w 560"/>
                  <a:gd name="T77" fmla="*/ 185 h 265"/>
                  <a:gd name="T78" fmla="*/ 30 w 560"/>
                  <a:gd name="T79" fmla="*/ 187 h 265"/>
                  <a:gd name="T80" fmla="*/ 37 w 560"/>
                  <a:gd name="T81" fmla="*/ 187 h 265"/>
                  <a:gd name="T82" fmla="*/ 153 w 560"/>
                  <a:gd name="T83" fmla="*/ 187 h 265"/>
                  <a:gd name="T84" fmla="*/ 153 w 560"/>
                  <a:gd name="T85" fmla="*/ 265 h 265"/>
                  <a:gd name="T86" fmla="*/ 408 w 560"/>
                  <a:gd name="T87" fmla="*/ 265 h 265"/>
                  <a:gd name="T88" fmla="*/ 408 w 560"/>
                  <a:gd name="T89" fmla="*/ 18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0" h="265">
                    <a:moveTo>
                      <a:pt x="408" y="187"/>
                    </a:moveTo>
                    <a:lnTo>
                      <a:pt x="523" y="187"/>
                    </a:lnTo>
                    <a:lnTo>
                      <a:pt x="523" y="187"/>
                    </a:lnTo>
                    <a:lnTo>
                      <a:pt x="530" y="187"/>
                    </a:lnTo>
                    <a:lnTo>
                      <a:pt x="537" y="185"/>
                    </a:lnTo>
                    <a:lnTo>
                      <a:pt x="544" y="181"/>
                    </a:lnTo>
                    <a:lnTo>
                      <a:pt x="550" y="177"/>
                    </a:lnTo>
                    <a:lnTo>
                      <a:pt x="554" y="172"/>
                    </a:lnTo>
                    <a:lnTo>
                      <a:pt x="557" y="164"/>
                    </a:lnTo>
                    <a:lnTo>
                      <a:pt x="559" y="158"/>
                    </a:lnTo>
                    <a:lnTo>
                      <a:pt x="560" y="150"/>
                    </a:lnTo>
                    <a:lnTo>
                      <a:pt x="560" y="37"/>
                    </a:lnTo>
                    <a:lnTo>
                      <a:pt x="560" y="37"/>
                    </a:lnTo>
                    <a:lnTo>
                      <a:pt x="559" y="29"/>
                    </a:lnTo>
                    <a:lnTo>
                      <a:pt x="557" y="22"/>
                    </a:lnTo>
                    <a:lnTo>
                      <a:pt x="554" y="15"/>
                    </a:lnTo>
                    <a:lnTo>
                      <a:pt x="550" y="10"/>
                    </a:lnTo>
                    <a:lnTo>
                      <a:pt x="544" y="6"/>
                    </a:lnTo>
                    <a:lnTo>
                      <a:pt x="537" y="2"/>
                    </a:lnTo>
                    <a:lnTo>
                      <a:pt x="530" y="0"/>
                    </a:lnTo>
                    <a:lnTo>
                      <a:pt x="523" y="0"/>
                    </a:lnTo>
                    <a:lnTo>
                      <a:pt x="37" y="0"/>
                    </a:lnTo>
                    <a:lnTo>
                      <a:pt x="37" y="0"/>
                    </a:lnTo>
                    <a:lnTo>
                      <a:pt x="30" y="0"/>
                    </a:lnTo>
                    <a:lnTo>
                      <a:pt x="23" y="2"/>
                    </a:lnTo>
                    <a:lnTo>
                      <a:pt x="17" y="6"/>
                    </a:lnTo>
                    <a:lnTo>
                      <a:pt x="12" y="10"/>
                    </a:lnTo>
                    <a:lnTo>
                      <a:pt x="6" y="15"/>
                    </a:lnTo>
                    <a:lnTo>
                      <a:pt x="3" y="22"/>
                    </a:lnTo>
                    <a:lnTo>
                      <a:pt x="1" y="29"/>
                    </a:lnTo>
                    <a:lnTo>
                      <a:pt x="0" y="37"/>
                    </a:lnTo>
                    <a:lnTo>
                      <a:pt x="0" y="150"/>
                    </a:lnTo>
                    <a:lnTo>
                      <a:pt x="0" y="150"/>
                    </a:lnTo>
                    <a:lnTo>
                      <a:pt x="1" y="158"/>
                    </a:lnTo>
                    <a:lnTo>
                      <a:pt x="3" y="164"/>
                    </a:lnTo>
                    <a:lnTo>
                      <a:pt x="6" y="172"/>
                    </a:lnTo>
                    <a:lnTo>
                      <a:pt x="12" y="177"/>
                    </a:lnTo>
                    <a:lnTo>
                      <a:pt x="17" y="181"/>
                    </a:lnTo>
                    <a:lnTo>
                      <a:pt x="23" y="185"/>
                    </a:lnTo>
                    <a:lnTo>
                      <a:pt x="30" y="187"/>
                    </a:lnTo>
                    <a:lnTo>
                      <a:pt x="37" y="187"/>
                    </a:lnTo>
                    <a:lnTo>
                      <a:pt x="153" y="187"/>
                    </a:lnTo>
                    <a:lnTo>
                      <a:pt x="153" y="265"/>
                    </a:lnTo>
                    <a:lnTo>
                      <a:pt x="408" y="265"/>
                    </a:lnTo>
                    <a:lnTo>
                      <a:pt x="408" y="187"/>
                    </a:lnTo>
                    <a:close/>
                  </a:path>
                </a:pathLst>
              </a:custGeom>
              <a:grpFill/>
              <a:ln w="19050" cap="sq">
                <a:noFill/>
                <a:prstDash val="solid"/>
                <a:miter lim="800000"/>
                <a:headEnd/>
                <a:tailEnd/>
              </a:ln>
            </p:spPr>
            <p:txBody>
              <a:bodyPr vert="horz" wrap="square" lIns="91427" tIns="45713" rIns="91427" bIns="45713" numCol="1" anchor="t" anchorCtr="0" compatLnSpc="1">
                <a:prstTxWarp prst="textNoShape">
                  <a:avLst/>
                </a:prstTxWarp>
              </a:bodyPr>
              <a:lstStyle/>
              <a:p>
                <a:pPr algn="ctr" defTabSz="932563">
                  <a:defRPr/>
                </a:pPr>
                <a:endParaRPr lang="en-US" sz="900">
                  <a:gradFill>
                    <a:gsLst>
                      <a:gs pos="0">
                        <a:srgbClr val="505050"/>
                      </a:gs>
                      <a:gs pos="100000">
                        <a:srgbClr val="505050"/>
                      </a:gs>
                    </a:gsLst>
                    <a:lin ang="5400000" scaled="1"/>
                  </a:gradFill>
                  <a:latin typeface="Segoe UI Semilight"/>
                </a:endParaRPr>
              </a:p>
            </p:txBody>
          </p:sp>
          <p:sp>
            <p:nvSpPr>
              <p:cNvPr id="62" name="Freeform 40">
                <a:extLst>
                  <a:ext uri="{FF2B5EF4-FFF2-40B4-BE49-F238E27FC236}">
                    <a16:creationId xmlns:a16="http://schemas.microsoft.com/office/drawing/2014/main" id="{336C1566-7ECF-4DDC-81D6-F0A1704443A9}"/>
                  </a:ext>
                </a:extLst>
              </p:cNvPr>
              <p:cNvSpPr>
                <a:spLocks noEditPoints="1"/>
              </p:cNvSpPr>
              <p:nvPr/>
            </p:nvSpPr>
            <p:spPr bwMode="auto">
              <a:xfrm>
                <a:off x="14466548" y="3895020"/>
                <a:ext cx="499020" cy="284240"/>
              </a:xfrm>
              <a:custGeom>
                <a:avLst/>
                <a:gdLst>
                  <a:gd name="T0" fmla="*/ 1674 w 1868"/>
                  <a:gd name="T1" fmla="*/ 147 h 1065"/>
                  <a:gd name="T2" fmla="*/ 1651 w 1868"/>
                  <a:gd name="T3" fmla="*/ 162 h 1065"/>
                  <a:gd name="T4" fmla="*/ 1645 w 1868"/>
                  <a:gd name="T5" fmla="*/ 312 h 1065"/>
                  <a:gd name="T6" fmla="*/ 1546 w 1868"/>
                  <a:gd name="T7" fmla="*/ 30 h 1065"/>
                  <a:gd name="T8" fmla="*/ 1530 w 1868"/>
                  <a:gd name="T9" fmla="*/ 7 h 1065"/>
                  <a:gd name="T10" fmla="*/ 701 w 1868"/>
                  <a:gd name="T11" fmla="*/ 0 h 1065"/>
                  <a:gd name="T12" fmla="*/ 678 w 1868"/>
                  <a:gd name="T13" fmla="*/ 8 h 1065"/>
                  <a:gd name="T14" fmla="*/ 320 w 1868"/>
                  <a:gd name="T15" fmla="*/ 210 h 1065"/>
                  <a:gd name="T16" fmla="*/ 294 w 1868"/>
                  <a:gd name="T17" fmla="*/ 221 h 1065"/>
                  <a:gd name="T18" fmla="*/ 284 w 1868"/>
                  <a:gd name="T19" fmla="*/ 247 h 1065"/>
                  <a:gd name="T20" fmla="*/ 187 w 1868"/>
                  <a:gd name="T21" fmla="*/ 288 h 1065"/>
                  <a:gd name="T22" fmla="*/ 176 w 1868"/>
                  <a:gd name="T23" fmla="*/ 262 h 1065"/>
                  <a:gd name="T24" fmla="*/ 150 w 1868"/>
                  <a:gd name="T25" fmla="*/ 252 h 1065"/>
                  <a:gd name="T26" fmla="*/ 22 w 1868"/>
                  <a:gd name="T27" fmla="*/ 254 h 1065"/>
                  <a:gd name="T28" fmla="*/ 2 w 1868"/>
                  <a:gd name="T29" fmla="*/ 273 h 1065"/>
                  <a:gd name="T30" fmla="*/ 0 w 1868"/>
                  <a:gd name="T31" fmla="*/ 776 h 1065"/>
                  <a:gd name="T32" fmla="*/ 10 w 1868"/>
                  <a:gd name="T33" fmla="*/ 802 h 1065"/>
                  <a:gd name="T34" fmla="*/ 37 w 1868"/>
                  <a:gd name="T35" fmla="*/ 814 h 1065"/>
                  <a:gd name="T36" fmla="*/ 164 w 1868"/>
                  <a:gd name="T37" fmla="*/ 810 h 1065"/>
                  <a:gd name="T38" fmla="*/ 184 w 1868"/>
                  <a:gd name="T39" fmla="*/ 791 h 1065"/>
                  <a:gd name="T40" fmla="*/ 284 w 1868"/>
                  <a:gd name="T41" fmla="*/ 660 h 1065"/>
                  <a:gd name="T42" fmla="*/ 286 w 1868"/>
                  <a:gd name="T43" fmla="*/ 832 h 1065"/>
                  <a:gd name="T44" fmla="*/ 306 w 1868"/>
                  <a:gd name="T45" fmla="*/ 852 h 1065"/>
                  <a:gd name="T46" fmla="*/ 672 w 1868"/>
                  <a:gd name="T47" fmla="*/ 1051 h 1065"/>
                  <a:gd name="T48" fmla="*/ 693 w 1868"/>
                  <a:gd name="T49" fmla="*/ 1064 h 1065"/>
                  <a:gd name="T50" fmla="*/ 1262 w 1868"/>
                  <a:gd name="T51" fmla="*/ 1064 h 1065"/>
                  <a:gd name="T52" fmla="*/ 1537 w 1868"/>
                  <a:gd name="T53" fmla="*/ 783 h 1065"/>
                  <a:gd name="T54" fmla="*/ 1546 w 1868"/>
                  <a:gd name="T55" fmla="*/ 764 h 1065"/>
                  <a:gd name="T56" fmla="*/ 1645 w 1868"/>
                  <a:gd name="T57" fmla="*/ 803 h 1065"/>
                  <a:gd name="T58" fmla="*/ 1651 w 1868"/>
                  <a:gd name="T59" fmla="*/ 825 h 1065"/>
                  <a:gd name="T60" fmla="*/ 1674 w 1868"/>
                  <a:gd name="T61" fmla="*/ 840 h 1065"/>
                  <a:gd name="T62" fmla="*/ 1838 w 1868"/>
                  <a:gd name="T63" fmla="*/ 840 h 1065"/>
                  <a:gd name="T64" fmla="*/ 1862 w 1868"/>
                  <a:gd name="T65" fmla="*/ 825 h 1065"/>
                  <a:gd name="T66" fmla="*/ 1868 w 1868"/>
                  <a:gd name="T67" fmla="*/ 183 h 1065"/>
                  <a:gd name="T68" fmla="*/ 1862 w 1868"/>
                  <a:gd name="T69" fmla="*/ 162 h 1065"/>
                  <a:gd name="T70" fmla="*/ 1838 w 1868"/>
                  <a:gd name="T71" fmla="*/ 147 h 1065"/>
                  <a:gd name="T72" fmla="*/ 946 w 1868"/>
                  <a:gd name="T73" fmla="*/ 611 h 1065"/>
                  <a:gd name="T74" fmla="*/ 808 w 1868"/>
                  <a:gd name="T75" fmla="*/ 609 h 1065"/>
                  <a:gd name="T76" fmla="*/ 791 w 1868"/>
                  <a:gd name="T77" fmla="*/ 599 h 1065"/>
                  <a:gd name="T78" fmla="*/ 784 w 1868"/>
                  <a:gd name="T79" fmla="*/ 579 h 1065"/>
                  <a:gd name="T80" fmla="*/ 788 w 1868"/>
                  <a:gd name="T81" fmla="*/ 561 h 1065"/>
                  <a:gd name="T82" fmla="*/ 1121 w 1868"/>
                  <a:gd name="T83" fmla="*/ 165 h 1065"/>
                  <a:gd name="T84" fmla="*/ 1143 w 1868"/>
                  <a:gd name="T85" fmla="*/ 158 h 1065"/>
                  <a:gd name="T86" fmla="*/ 1166 w 1868"/>
                  <a:gd name="T87" fmla="*/ 164 h 1065"/>
                  <a:gd name="T88" fmla="*/ 1179 w 1868"/>
                  <a:gd name="T89" fmla="*/ 182 h 1065"/>
                  <a:gd name="T90" fmla="*/ 1087 w 1868"/>
                  <a:gd name="T91" fmla="*/ 436 h 1065"/>
                  <a:gd name="T92" fmla="*/ 1225 w 1868"/>
                  <a:gd name="T93" fmla="*/ 438 h 1065"/>
                  <a:gd name="T94" fmla="*/ 1241 w 1868"/>
                  <a:gd name="T95" fmla="*/ 448 h 1065"/>
                  <a:gd name="T96" fmla="*/ 1248 w 1868"/>
                  <a:gd name="T97" fmla="*/ 474 h 1065"/>
                  <a:gd name="T98" fmla="*/ 916 w 1868"/>
                  <a:gd name="T99" fmla="*/ 878 h 1065"/>
                  <a:gd name="T100" fmla="*/ 900 w 1868"/>
                  <a:gd name="T101" fmla="*/ 889 h 1065"/>
                  <a:gd name="T102" fmla="*/ 877 w 1868"/>
                  <a:gd name="T103" fmla="*/ 890 h 1065"/>
                  <a:gd name="T104" fmla="*/ 858 w 1868"/>
                  <a:gd name="T105" fmla="*/ 876 h 1065"/>
                  <a:gd name="T106" fmla="*/ 853 w 1868"/>
                  <a:gd name="T107" fmla="*/ 854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68" h="1065">
                    <a:moveTo>
                      <a:pt x="1831" y="146"/>
                    </a:moveTo>
                    <a:lnTo>
                      <a:pt x="1682" y="146"/>
                    </a:lnTo>
                    <a:lnTo>
                      <a:pt x="1682" y="146"/>
                    </a:lnTo>
                    <a:lnTo>
                      <a:pt x="1674" y="147"/>
                    </a:lnTo>
                    <a:lnTo>
                      <a:pt x="1667" y="149"/>
                    </a:lnTo>
                    <a:lnTo>
                      <a:pt x="1661" y="152"/>
                    </a:lnTo>
                    <a:lnTo>
                      <a:pt x="1656" y="157"/>
                    </a:lnTo>
                    <a:lnTo>
                      <a:pt x="1651" y="162"/>
                    </a:lnTo>
                    <a:lnTo>
                      <a:pt x="1648" y="168"/>
                    </a:lnTo>
                    <a:lnTo>
                      <a:pt x="1646" y="175"/>
                    </a:lnTo>
                    <a:lnTo>
                      <a:pt x="1645" y="183"/>
                    </a:lnTo>
                    <a:lnTo>
                      <a:pt x="1645" y="312"/>
                    </a:lnTo>
                    <a:lnTo>
                      <a:pt x="1547" y="312"/>
                    </a:lnTo>
                    <a:lnTo>
                      <a:pt x="1547" y="37"/>
                    </a:lnTo>
                    <a:lnTo>
                      <a:pt x="1547" y="37"/>
                    </a:lnTo>
                    <a:lnTo>
                      <a:pt x="1546" y="30"/>
                    </a:lnTo>
                    <a:lnTo>
                      <a:pt x="1544" y="23"/>
                    </a:lnTo>
                    <a:lnTo>
                      <a:pt x="1541" y="17"/>
                    </a:lnTo>
                    <a:lnTo>
                      <a:pt x="1536" y="11"/>
                    </a:lnTo>
                    <a:lnTo>
                      <a:pt x="1530" y="7"/>
                    </a:lnTo>
                    <a:lnTo>
                      <a:pt x="1524" y="3"/>
                    </a:lnTo>
                    <a:lnTo>
                      <a:pt x="1517" y="1"/>
                    </a:lnTo>
                    <a:lnTo>
                      <a:pt x="1510" y="0"/>
                    </a:lnTo>
                    <a:lnTo>
                      <a:pt x="701" y="0"/>
                    </a:lnTo>
                    <a:lnTo>
                      <a:pt x="701" y="0"/>
                    </a:lnTo>
                    <a:lnTo>
                      <a:pt x="693" y="1"/>
                    </a:lnTo>
                    <a:lnTo>
                      <a:pt x="685" y="3"/>
                    </a:lnTo>
                    <a:lnTo>
                      <a:pt x="678" y="8"/>
                    </a:lnTo>
                    <a:lnTo>
                      <a:pt x="672" y="14"/>
                    </a:lnTo>
                    <a:lnTo>
                      <a:pt x="505" y="210"/>
                    </a:lnTo>
                    <a:lnTo>
                      <a:pt x="320" y="210"/>
                    </a:lnTo>
                    <a:lnTo>
                      <a:pt x="320" y="210"/>
                    </a:lnTo>
                    <a:lnTo>
                      <a:pt x="313" y="210"/>
                    </a:lnTo>
                    <a:lnTo>
                      <a:pt x="306" y="213"/>
                    </a:lnTo>
                    <a:lnTo>
                      <a:pt x="299" y="217"/>
                    </a:lnTo>
                    <a:lnTo>
                      <a:pt x="294" y="221"/>
                    </a:lnTo>
                    <a:lnTo>
                      <a:pt x="290" y="227"/>
                    </a:lnTo>
                    <a:lnTo>
                      <a:pt x="286" y="233"/>
                    </a:lnTo>
                    <a:lnTo>
                      <a:pt x="284" y="239"/>
                    </a:lnTo>
                    <a:lnTo>
                      <a:pt x="284" y="247"/>
                    </a:lnTo>
                    <a:lnTo>
                      <a:pt x="284" y="404"/>
                    </a:lnTo>
                    <a:lnTo>
                      <a:pt x="187" y="404"/>
                    </a:lnTo>
                    <a:lnTo>
                      <a:pt x="187" y="288"/>
                    </a:lnTo>
                    <a:lnTo>
                      <a:pt x="187" y="288"/>
                    </a:lnTo>
                    <a:lnTo>
                      <a:pt x="186" y="280"/>
                    </a:lnTo>
                    <a:lnTo>
                      <a:pt x="184" y="273"/>
                    </a:lnTo>
                    <a:lnTo>
                      <a:pt x="181" y="267"/>
                    </a:lnTo>
                    <a:lnTo>
                      <a:pt x="176" y="262"/>
                    </a:lnTo>
                    <a:lnTo>
                      <a:pt x="171" y="258"/>
                    </a:lnTo>
                    <a:lnTo>
                      <a:pt x="164" y="254"/>
                    </a:lnTo>
                    <a:lnTo>
                      <a:pt x="157" y="252"/>
                    </a:lnTo>
                    <a:lnTo>
                      <a:pt x="150" y="252"/>
                    </a:lnTo>
                    <a:lnTo>
                      <a:pt x="37" y="252"/>
                    </a:lnTo>
                    <a:lnTo>
                      <a:pt x="37" y="252"/>
                    </a:lnTo>
                    <a:lnTo>
                      <a:pt x="29" y="252"/>
                    </a:lnTo>
                    <a:lnTo>
                      <a:pt x="22" y="254"/>
                    </a:lnTo>
                    <a:lnTo>
                      <a:pt x="15" y="258"/>
                    </a:lnTo>
                    <a:lnTo>
                      <a:pt x="10" y="262"/>
                    </a:lnTo>
                    <a:lnTo>
                      <a:pt x="6" y="267"/>
                    </a:lnTo>
                    <a:lnTo>
                      <a:pt x="2" y="273"/>
                    </a:lnTo>
                    <a:lnTo>
                      <a:pt x="0" y="280"/>
                    </a:lnTo>
                    <a:lnTo>
                      <a:pt x="0" y="288"/>
                    </a:lnTo>
                    <a:lnTo>
                      <a:pt x="0" y="776"/>
                    </a:lnTo>
                    <a:lnTo>
                      <a:pt x="0" y="776"/>
                    </a:lnTo>
                    <a:lnTo>
                      <a:pt x="0" y="784"/>
                    </a:lnTo>
                    <a:lnTo>
                      <a:pt x="2" y="791"/>
                    </a:lnTo>
                    <a:lnTo>
                      <a:pt x="6" y="797"/>
                    </a:lnTo>
                    <a:lnTo>
                      <a:pt x="10" y="802"/>
                    </a:lnTo>
                    <a:lnTo>
                      <a:pt x="15" y="807"/>
                    </a:lnTo>
                    <a:lnTo>
                      <a:pt x="22" y="810"/>
                    </a:lnTo>
                    <a:lnTo>
                      <a:pt x="29" y="812"/>
                    </a:lnTo>
                    <a:lnTo>
                      <a:pt x="37" y="814"/>
                    </a:lnTo>
                    <a:lnTo>
                      <a:pt x="150" y="814"/>
                    </a:lnTo>
                    <a:lnTo>
                      <a:pt x="150" y="814"/>
                    </a:lnTo>
                    <a:lnTo>
                      <a:pt x="157" y="812"/>
                    </a:lnTo>
                    <a:lnTo>
                      <a:pt x="164" y="810"/>
                    </a:lnTo>
                    <a:lnTo>
                      <a:pt x="171" y="807"/>
                    </a:lnTo>
                    <a:lnTo>
                      <a:pt x="176" y="802"/>
                    </a:lnTo>
                    <a:lnTo>
                      <a:pt x="181" y="797"/>
                    </a:lnTo>
                    <a:lnTo>
                      <a:pt x="184" y="791"/>
                    </a:lnTo>
                    <a:lnTo>
                      <a:pt x="186" y="784"/>
                    </a:lnTo>
                    <a:lnTo>
                      <a:pt x="187" y="776"/>
                    </a:lnTo>
                    <a:lnTo>
                      <a:pt x="187" y="660"/>
                    </a:lnTo>
                    <a:lnTo>
                      <a:pt x="284" y="660"/>
                    </a:lnTo>
                    <a:lnTo>
                      <a:pt x="284" y="818"/>
                    </a:lnTo>
                    <a:lnTo>
                      <a:pt x="284" y="818"/>
                    </a:lnTo>
                    <a:lnTo>
                      <a:pt x="284" y="825"/>
                    </a:lnTo>
                    <a:lnTo>
                      <a:pt x="286" y="832"/>
                    </a:lnTo>
                    <a:lnTo>
                      <a:pt x="290" y="838"/>
                    </a:lnTo>
                    <a:lnTo>
                      <a:pt x="294" y="843"/>
                    </a:lnTo>
                    <a:lnTo>
                      <a:pt x="299" y="849"/>
                    </a:lnTo>
                    <a:lnTo>
                      <a:pt x="306" y="852"/>
                    </a:lnTo>
                    <a:lnTo>
                      <a:pt x="313" y="854"/>
                    </a:lnTo>
                    <a:lnTo>
                      <a:pt x="320" y="855"/>
                    </a:lnTo>
                    <a:lnTo>
                      <a:pt x="505" y="855"/>
                    </a:lnTo>
                    <a:lnTo>
                      <a:pt x="672" y="1051"/>
                    </a:lnTo>
                    <a:lnTo>
                      <a:pt x="672" y="1051"/>
                    </a:lnTo>
                    <a:lnTo>
                      <a:pt x="678" y="1056"/>
                    </a:lnTo>
                    <a:lnTo>
                      <a:pt x="685" y="1061"/>
                    </a:lnTo>
                    <a:lnTo>
                      <a:pt x="693" y="1064"/>
                    </a:lnTo>
                    <a:lnTo>
                      <a:pt x="701" y="1065"/>
                    </a:lnTo>
                    <a:lnTo>
                      <a:pt x="1255" y="1065"/>
                    </a:lnTo>
                    <a:lnTo>
                      <a:pt x="1255" y="1065"/>
                    </a:lnTo>
                    <a:lnTo>
                      <a:pt x="1262" y="1064"/>
                    </a:lnTo>
                    <a:lnTo>
                      <a:pt x="1269" y="1062"/>
                    </a:lnTo>
                    <a:lnTo>
                      <a:pt x="1275" y="1057"/>
                    </a:lnTo>
                    <a:lnTo>
                      <a:pt x="1281" y="1052"/>
                    </a:lnTo>
                    <a:lnTo>
                      <a:pt x="1537" y="783"/>
                    </a:lnTo>
                    <a:lnTo>
                      <a:pt x="1537" y="783"/>
                    </a:lnTo>
                    <a:lnTo>
                      <a:pt x="1541" y="776"/>
                    </a:lnTo>
                    <a:lnTo>
                      <a:pt x="1544" y="770"/>
                    </a:lnTo>
                    <a:lnTo>
                      <a:pt x="1546" y="764"/>
                    </a:lnTo>
                    <a:lnTo>
                      <a:pt x="1547" y="757"/>
                    </a:lnTo>
                    <a:lnTo>
                      <a:pt x="1547" y="675"/>
                    </a:lnTo>
                    <a:lnTo>
                      <a:pt x="1645" y="675"/>
                    </a:lnTo>
                    <a:lnTo>
                      <a:pt x="1645" y="803"/>
                    </a:lnTo>
                    <a:lnTo>
                      <a:pt x="1645" y="803"/>
                    </a:lnTo>
                    <a:lnTo>
                      <a:pt x="1646" y="811"/>
                    </a:lnTo>
                    <a:lnTo>
                      <a:pt x="1648" y="818"/>
                    </a:lnTo>
                    <a:lnTo>
                      <a:pt x="1651" y="825"/>
                    </a:lnTo>
                    <a:lnTo>
                      <a:pt x="1656" y="830"/>
                    </a:lnTo>
                    <a:lnTo>
                      <a:pt x="1661" y="834"/>
                    </a:lnTo>
                    <a:lnTo>
                      <a:pt x="1667" y="838"/>
                    </a:lnTo>
                    <a:lnTo>
                      <a:pt x="1674" y="840"/>
                    </a:lnTo>
                    <a:lnTo>
                      <a:pt x="1682" y="840"/>
                    </a:lnTo>
                    <a:lnTo>
                      <a:pt x="1831" y="840"/>
                    </a:lnTo>
                    <a:lnTo>
                      <a:pt x="1831" y="840"/>
                    </a:lnTo>
                    <a:lnTo>
                      <a:pt x="1838" y="840"/>
                    </a:lnTo>
                    <a:lnTo>
                      <a:pt x="1845" y="838"/>
                    </a:lnTo>
                    <a:lnTo>
                      <a:pt x="1852" y="834"/>
                    </a:lnTo>
                    <a:lnTo>
                      <a:pt x="1858" y="830"/>
                    </a:lnTo>
                    <a:lnTo>
                      <a:pt x="1862" y="825"/>
                    </a:lnTo>
                    <a:lnTo>
                      <a:pt x="1865" y="818"/>
                    </a:lnTo>
                    <a:lnTo>
                      <a:pt x="1867" y="811"/>
                    </a:lnTo>
                    <a:lnTo>
                      <a:pt x="1868" y="803"/>
                    </a:lnTo>
                    <a:lnTo>
                      <a:pt x="1868" y="183"/>
                    </a:lnTo>
                    <a:lnTo>
                      <a:pt x="1868" y="183"/>
                    </a:lnTo>
                    <a:lnTo>
                      <a:pt x="1867" y="175"/>
                    </a:lnTo>
                    <a:lnTo>
                      <a:pt x="1865" y="168"/>
                    </a:lnTo>
                    <a:lnTo>
                      <a:pt x="1862" y="162"/>
                    </a:lnTo>
                    <a:lnTo>
                      <a:pt x="1858" y="157"/>
                    </a:lnTo>
                    <a:lnTo>
                      <a:pt x="1852" y="152"/>
                    </a:lnTo>
                    <a:lnTo>
                      <a:pt x="1845" y="149"/>
                    </a:lnTo>
                    <a:lnTo>
                      <a:pt x="1838" y="147"/>
                    </a:lnTo>
                    <a:lnTo>
                      <a:pt x="1831" y="146"/>
                    </a:lnTo>
                    <a:lnTo>
                      <a:pt x="1831" y="146"/>
                    </a:lnTo>
                    <a:close/>
                    <a:moveTo>
                      <a:pt x="855" y="846"/>
                    </a:moveTo>
                    <a:lnTo>
                      <a:pt x="946" y="611"/>
                    </a:lnTo>
                    <a:lnTo>
                      <a:pt x="819" y="611"/>
                    </a:lnTo>
                    <a:lnTo>
                      <a:pt x="819" y="611"/>
                    </a:lnTo>
                    <a:lnTo>
                      <a:pt x="813" y="610"/>
                    </a:lnTo>
                    <a:lnTo>
                      <a:pt x="808" y="609"/>
                    </a:lnTo>
                    <a:lnTo>
                      <a:pt x="804" y="608"/>
                    </a:lnTo>
                    <a:lnTo>
                      <a:pt x="799" y="606"/>
                    </a:lnTo>
                    <a:lnTo>
                      <a:pt x="795" y="603"/>
                    </a:lnTo>
                    <a:lnTo>
                      <a:pt x="791" y="599"/>
                    </a:lnTo>
                    <a:lnTo>
                      <a:pt x="789" y="595"/>
                    </a:lnTo>
                    <a:lnTo>
                      <a:pt x="787" y="591"/>
                    </a:lnTo>
                    <a:lnTo>
                      <a:pt x="784" y="583"/>
                    </a:lnTo>
                    <a:lnTo>
                      <a:pt x="784" y="579"/>
                    </a:lnTo>
                    <a:lnTo>
                      <a:pt x="784" y="575"/>
                    </a:lnTo>
                    <a:lnTo>
                      <a:pt x="785" y="570"/>
                    </a:lnTo>
                    <a:lnTo>
                      <a:pt x="786" y="565"/>
                    </a:lnTo>
                    <a:lnTo>
                      <a:pt x="788" y="561"/>
                    </a:lnTo>
                    <a:lnTo>
                      <a:pt x="791" y="557"/>
                    </a:lnTo>
                    <a:lnTo>
                      <a:pt x="1117" y="169"/>
                    </a:lnTo>
                    <a:lnTo>
                      <a:pt x="1117" y="169"/>
                    </a:lnTo>
                    <a:lnTo>
                      <a:pt x="1121" y="165"/>
                    </a:lnTo>
                    <a:lnTo>
                      <a:pt x="1126" y="162"/>
                    </a:lnTo>
                    <a:lnTo>
                      <a:pt x="1132" y="160"/>
                    </a:lnTo>
                    <a:lnTo>
                      <a:pt x="1137" y="158"/>
                    </a:lnTo>
                    <a:lnTo>
                      <a:pt x="1143" y="158"/>
                    </a:lnTo>
                    <a:lnTo>
                      <a:pt x="1150" y="158"/>
                    </a:lnTo>
                    <a:lnTo>
                      <a:pt x="1155" y="159"/>
                    </a:lnTo>
                    <a:lnTo>
                      <a:pt x="1161" y="161"/>
                    </a:lnTo>
                    <a:lnTo>
                      <a:pt x="1166" y="164"/>
                    </a:lnTo>
                    <a:lnTo>
                      <a:pt x="1170" y="167"/>
                    </a:lnTo>
                    <a:lnTo>
                      <a:pt x="1174" y="171"/>
                    </a:lnTo>
                    <a:lnTo>
                      <a:pt x="1177" y="176"/>
                    </a:lnTo>
                    <a:lnTo>
                      <a:pt x="1179" y="182"/>
                    </a:lnTo>
                    <a:lnTo>
                      <a:pt x="1180" y="188"/>
                    </a:lnTo>
                    <a:lnTo>
                      <a:pt x="1179" y="194"/>
                    </a:lnTo>
                    <a:lnTo>
                      <a:pt x="1177" y="201"/>
                    </a:lnTo>
                    <a:lnTo>
                      <a:pt x="1087" y="436"/>
                    </a:lnTo>
                    <a:lnTo>
                      <a:pt x="1213" y="436"/>
                    </a:lnTo>
                    <a:lnTo>
                      <a:pt x="1213" y="436"/>
                    </a:lnTo>
                    <a:lnTo>
                      <a:pt x="1220" y="437"/>
                    </a:lnTo>
                    <a:lnTo>
                      <a:pt x="1225" y="438"/>
                    </a:lnTo>
                    <a:lnTo>
                      <a:pt x="1230" y="440"/>
                    </a:lnTo>
                    <a:lnTo>
                      <a:pt x="1234" y="442"/>
                    </a:lnTo>
                    <a:lnTo>
                      <a:pt x="1238" y="445"/>
                    </a:lnTo>
                    <a:lnTo>
                      <a:pt x="1241" y="448"/>
                    </a:lnTo>
                    <a:lnTo>
                      <a:pt x="1244" y="452"/>
                    </a:lnTo>
                    <a:lnTo>
                      <a:pt x="1246" y="456"/>
                    </a:lnTo>
                    <a:lnTo>
                      <a:pt x="1248" y="466"/>
                    </a:lnTo>
                    <a:lnTo>
                      <a:pt x="1248" y="474"/>
                    </a:lnTo>
                    <a:lnTo>
                      <a:pt x="1246" y="483"/>
                    </a:lnTo>
                    <a:lnTo>
                      <a:pt x="1244" y="487"/>
                    </a:lnTo>
                    <a:lnTo>
                      <a:pt x="1241" y="490"/>
                    </a:lnTo>
                    <a:lnTo>
                      <a:pt x="916" y="878"/>
                    </a:lnTo>
                    <a:lnTo>
                      <a:pt x="916" y="878"/>
                    </a:lnTo>
                    <a:lnTo>
                      <a:pt x="911" y="884"/>
                    </a:lnTo>
                    <a:lnTo>
                      <a:pt x="906" y="887"/>
                    </a:lnTo>
                    <a:lnTo>
                      <a:pt x="900" y="889"/>
                    </a:lnTo>
                    <a:lnTo>
                      <a:pt x="894" y="891"/>
                    </a:lnTo>
                    <a:lnTo>
                      <a:pt x="888" y="891"/>
                    </a:lnTo>
                    <a:lnTo>
                      <a:pt x="883" y="891"/>
                    </a:lnTo>
                    <a:lnTo>
                      <a:pt x="877" y="890"/>
                    </a:lnTo>
                    <a:lnTo>
                      <a:pt x="872" y="888"/>
                    </a:lnTo>
                    <a:lnTo>
                      <a:pt x="866" y="885"/>
                    </a:lnTo>
                    <a:lnTo>
                      <a:pt x="861" y="881"/>
                    </a:lnTo>
                    <a:lnTo>
                      <a:pt x="858" y="876"/>
                    </a:lnTo>
                    <a:lnTo>
                      <a:pt x="855" y="872"/>
                    </a:lnTo>
                    <a:lnTo>
                      <a:pt x="853" y="866"/>
                    </a:lnTo>
                    <a:lnTo>
                      <a:pt x="852" y="860"/>
                    </a:lnTo>
                    <a:lnTo>
                      <a:pt x="853" y="854"/>
                    </a:lnTo>
                    <a:lnTo>
                      <a:pt x="855" y="846"/>
                    </a:lnTo>
                    <a:lnTo>
                      <a:pt x="855" y="846"/>
                    </a:lnTo>
                    <a:close/>
                  </a:path>
                </a:pathLst>
              </a:custGeom>
              <a:grpFill/>
              <a:ln w="19050" cap="sq">
                <a:noFill/>
                <a:prstDash val="solid"/>
                <a:miter lim="800000"/>
                <a:headEnd/>
                <a:tailEnd/>
              </a:ln>
            </p:spPr>
            <p:txBody>
              <a:bodyPr vert="horz" wrap="square" lIns="91427" tIns="45713" rIns="91427" bIns="45713" numCol="1" anchor="t" anchorCtr="0" compatLnSpc="1">
                <a:prstTxWarp prst="textNoShape">
                  <a:avLst/>
                </a:prstTxWarp>
              </a:bodyPr>
              <a:lstStyle/>
              <a:p>
                <a:pPr algn="ctr" defTabSz="932563">
                  <a:defRPr/>
                </a:pPr>
                <a:endParaRPr lang="en-US" sz="900">
                  <a:gradFill>
                    <a:gsLst>
                      <a:gs pos="0">
                        <a:srgbClr val="505050"/>
                      </a:gs>
                      <a:gs pos="100000">
                        <a:srgbClr val="505050"/>
                      </a:gs>
                    </a:gsLst>
                    <a:lin ang="5400000" scaled="1"/>
                  </a:gradFill>
                  <a:latin typeface="Segoe UI Semilight"/>
                </a:endParaRPr>
              </a:p>
            </p:txBody>
          </p:sp>
        </p:grpSp>
        <p:sp>
          <p:nvSpPr>
            <p:cNvPr id="57" name="Rectangle: Rounded Corners 56">
              <a:extLst>
                <a:ext uri="{FF2B5EF4-FFF2-40B4-BE49-F238E27FC236}">
                  <a16:creationId xmlns:a16="http://schemas.microsoft.com/office/drawing/2014/main" id="{B15AC3BA-94E2-45AC-800D-FB7ED33CCACC}"/>
                </a:ext>
              </a:extLst>
            </p:cNvPr>
            <p:cNvSpPr/>
            <p:nvPr/>
          </p:nvSpPr>
          <p:spPr bwMode="auto">
            <a:xfrm>
              <a:off x="1029579" y="3267481"/>
              <a:ext cx="413657" cy="447346"/>
            </a:xfrm>
            <a:prstGeom prst="round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8" name="Group 57">
              <a:extLst>
                <a:ext uri="{FF2B5EF4-FFF2-40B4-BE49-F238E27FC236}">
                  <a16:creationId xmlns:a16="http://schemas.microsoft.com/office/drawing/2014/main" id="{6B49FCE8-82E0-4130-9DF7-99D6D185D5CF}"/>
                </a:ext>
              </a:extLst>
            </p:cNvPr>
            <p:cNvGrpSpPr/>
            <p:nvPr/>
          </p:nvGrpSpPr>
          <p:grpSpPr>
            <a:xfrm>
              <a:off x="1148699" y="3299712"/>
              <a:ext cx="196601" cy="396283"/>
              <a:chOff x="3835979" y="1692682"/>
              <a:chExt cx="453066" cy="913235"/>
            </a:xfrm>
          </p:grpSpPr>
          <p:sp>
            <p:nvSpPr>
              <p:cNvPr id="59" name="Freeform 864">
                <a:extLst>
                  <a:ext uri="{FF2B5EF4-FFF2-40B4-BE49-F238E27FC236}">
                    <a16:creationId xmlns:a16="http://schemas.microsoft.com/office/drawing/2014/main" id="{E8D1C625-BB97-4FFC-867E-077365A614FC}"/>
                  </a:ext>
                </a:extLst>
              </p:cNvPr>
              <p:cNvSpPr>
                <a:spLocks noChangeAspect="1"/>
              </p:cNvSpPr>
              <p:nvPr/>
            </p:nvSpPr>
            <p:spPr bwMode="auto">
              <a:xfrm>
                <a:off x="3835979" y="1692682"/>
                <a:ext cx="452337" cy="913235"/>
              </a:xfrm>
              <a:custGeom>
                <a:avLst/>
                <a:gdLst>
                  <a:gd name="T0" fmla="*/ 230 w 317"/>
                  <a:gd name="T1" fmla="*/ 0 h 640"/>
                  <a:gd name="T2" fmla="*/ 173 w 317"/>
                  <a:gd name="T3" fmla="*/ 256 h 640"/>
                  <a:gd name="T4" fmla="*/ 317 w 317"/>
                  <a:gd name="T5" fmla="*/ 256 h 640"/>
                  <a:gd name="T6" fmla="*/ 82 w 317"/>
                  <a:gd name="T7" fmla="*/ 640 h 640"/>
                  <a:gd name="T8" fmla="*/ 146 w 317"/>
                  <a:gd name="T9" fmla="*/ 344 h 640"/>
                  <a:gd name="T10" fmla="*/ 0 w 317"/>
                  <a:gd name="T11" fmla="*/ 342 h 640"/>
                  <a:gd name="T12" fmla="*/ 230 w 317"/>
                  <a:gd name="T13" fmla="*/ 0 h 640"/>
                </a:gdLst>
                <a:ahLst/>
                <a:cxnLst>
                  <a:cxn ang="0">
                    <a:pos x="T0" y="T1"/>
                  </a:cxn>
                  <a:cxn ang="0">
                    <a:pos x="T2" y="T3"/>
                  </a:cxn>
                  <a:cxn ang="0">
                    <a:pos x="T4" y="T5"/>
                  </a:cxn>
                  <a:cxn ang="0">
                    <a:pos x="T6" y="T7"/>
                  </a:cxn>
                  <a:cxn ang="0">
                    <a:pos x="T8" y="T9"/>
                  </a:cxn>
                  <a:cxn ang="0">
                    <a:pos x="T10" y="T11"/>
                  </a:cxn>
                  <a:cxn ang="0">
                    <a:pos x="T12" y="T13"/>
                  </a:cxn>
                </a:cxnLst>
                <a:rect l="0" t="0" r="r" b="b"/>
                <a:pathLst>
                  <a:path w="317" h="640">
                    <a:moveTo>
                      <a:pt x="230" y="0"/>
                    </a:moveTo>
                    <a:lnTo>
                      <a:pt x="173" y="256"/>
                    </a:lnTo>
                    <a:lnTo>
                      <a:pt x="317" y="256"/>
                    </a:lnTo>
                    <a:lnTo>
                      <a:pt x="82" y="640"/>
                    </a:lnTo>
                    <a:lnTo>
                      <a:pt x="146" y="344"/>
                    </a:lnTo>
                    <a:lnTo>
                      <a:pt x="0" y="342"/>
                    </a:lnTo>
                    <a:lnTo>
                      <a:pt x="230" y="0"/>
                    </a:lnTo>
                    <a:close/>
                  </a:path>
                </a:pathLst>
              </a:custGeom>
              <a:solidFill>
                <a:srgbClr val="FFD214"/>
              </a:solidFill>
              <a:ln w="0">
                <a:noFill/>
                <a:prstDash val="solid"/>
                <a:round/>
                <a:headEnd/>
                <a:tailEnd/>
              </a:ln>
            </p:spPr>
            <p:txBody>
              <a:bodyPr vert="horz" wrap="square" lIns="91427" tIns="45713" rIns="91427" bIns="45713" numCol="1" anchor="t" anchorCtr="0" compatLnSpc="1">
                <a:prstTxWarp prst="textNoShape">
                  <a:avLst/>
                </a:prstTxWarp>
              </a:bodyPr>
              <a:lstStyle/>
              <a:p>
                <a:pPr algn="ctr" defTabSz="914224">
                  <a:defRPr/>
                </a:pPr>
                <a:endParaRPr lang="en-US" kern="0">
                  <a:solidFill>
                    <a:prstClr val="black"/>
                  </a:solidFill>
                  <a:latin typeface="Segoe UI Semilight"/>
                </a:endParaRPr>
              </a:p>
            </p:txBody>
          </p:sp>
          <p:sp>
            <p:nvSpPr>
              <p:cNvPr id="60" name="Freeform 864">
                <a:extLst>
                  <a:ext uri="{FF2B5EF4-FFF2-40B4-BE49-F238E27FC236}">
                    <a16:creationId xmlns:a16="http://schemas.microsoft.com/office/drawing/2014/main" id="{32D90EA6-2306-4B64-B30A-9069A896FCBF}"/>
                  </a:ext>
                </a:extLst>
              </p:cNvPr>
              <p:cNvSpPr>
                <a:spLocks noChangeAspect="1"/>
              </p:cNvSpPr>
              <p:nvPr/>
            </p:nvSpPr>
            <p:spPr bwMode="auto">
              <a:xfrm>
                <a:off x="3953728" y="1692682"/>
                <a:ext cx="335317" cy="913235"/>
              </a:xfrm>
              <a:custGeom>
                <a:avLst/>
                <a:gdLst>
                  <a:gd name="T0" fmla="*/ 230 w 317"/>
                  <a:gd name="T1" fmla="*/ 0 h 640"/>
                  <a:gd name="T2" fmla="*/ 173 w 317"/>
                  <a:gd name="T3" fmla="*/ 256 h 640"/>
                  <a:gd name="T4" fmla="*/ 317 w 317"/>
                  <a:gd name="T5" fmla="*/ 256 h 640"/>
                  <a:gd name="T6" fmla="*/ 82 w 317"/>
                  <a:gd name="T7" fmla="*/ 640 h 640"/>
                  <a:gd name="T8" fmla="*/ 146 w 317"/>
                  <a:gd name="T9" fmla="*/ 344 h 640"/>
                  <a:gd name="T10" fmla="*/ 0 w 317"/>
                  <a:gd name="T11" fmla="*/ 342 h 640"/>
                  <a:gd name="T12" fmla="*/ 230 w 317"/>
                  <a:gd name="T13" fmla="*/ 0 h 640"/>
                  <a:gd name="connsiteX0" fmla="*/ 4669 w 7413"/>
                  <a:gd name="connsiteY0" fmla="*/ 0 h 10000"/>
                  <a:gd name="connsiteX1" fmla="*/ 2870 w 7413"/>
                  <a:gd name="connsiteY1" fmla="*/ 4000 h 10000"/>
                  <a:gd name="connsiteX2" fmla="*/ 7413 w 7413"/>
                  <a:gd name="connsiteY2" fmla="*/ 4000 h 10000"/>
                  <a:gd name="connsiteX3" fmla="*/ 0 w 7413"/>
                  <a:gd name="connsiteY3" fmla="*/ 10000 h 10000"/>
                  <a:gd name="connsiteX4" fmla="*/ 2019 w 7413"/>
                  <a:gd name="connsiteY4" fmla="*/ 5375 h 10000"/>
                  <a:gd name="connsiteX5" fmla="*/ 1327 w 7413"/>
                  <a:gd name="connsiteY5" fmla="*/ 4188 h 10000"/>
                  <a:gd name="connsiteX6" fmla="*/ 4669 w 7413"/>
                  <a:gd name="connsiteY6" fmla="*/ 0 h 10000"/>
                  <a:gd name="connsiteX0" fmla="*/ 6298 w 10000"/>
                  <a:gd name="connsiteY0" fmla="*/ 0 h 10000"/>
                  <a:gd name="connsiteX1" fmla="*/ 3872 w 10000"/>
                  <a:gd name="connsiteY1" fmla="*/ 4000 h 10000"/>
                  <a:gd name="connsiteX2" fmla="*/ 10000 w 10000"/>
                  <a:gd name="connsiteY2" fmla="*/ 4000 h 10000"/>
                  <a:gd name="connsiteX3" fmla="*/ 0 w 10000"/>
                  <a:gd name="connsiteY3" fmla="*/ 10000 h 10000"/>
                  <a:gd name="connsiteX4" fmla="*/ 7911 w 10000"/>
                  <a:gd name="connsiteY4" fmla="*/ 4457 h 10000"/>
                  <a:gd name="connsiteX5" fmla="*/ 1790 w 10000"/>
                  <a:gd name="connsiteY5" fmla="*/ 4188 h 10000"/>
                  <a:gd name="connsiteX6" fmla="*/ 6298 w 10000"/>
                  <a:gd name="connsiteY6" fmla="*/ 0 h 10000"/>
                  <a:gd name="connsiteX0" fmla="*/ 6298 w 10000"/>
                  <a:gd name="connsiteY0" fmla="*/ 0 h 10000"/>
                  <a:gd name="connsiteX1" fmla="*/ 3872 w 10000"/>
                  <a:gd name="connsiteY1" fmla="*/ 4000 h 10000"/>
                  <a:gd name="connsiteX2" fmla="*/ 10000 w 10000"/>
                  <a:gd name="connsiteY2" fmla="*/ 4000 h 10000"/>
                  <a:gd name="connsiteX3" fmla="*/ 0 w 10000"/>
                  <a:gd name="connsiteY3" fmla="*/ 10000 h 10000"/>
                  <a:gd name="connsiteX4" fmla="*/ 7911 w 10000"/>
                  <a:gd name="connsiteY4" fmla="*/ 4457 h 10000"/>
                  <a:gd name="connsiteX5" fmla="*/ 1636 w 10000"/>
                  <a:gd name="connsiteY5" fmla="*/ 4449 h 10000"/>
                  <a:gd name="connsiteX6" fmla="*/ 6298 w 10000"/>
                  <a:gd name="connsiteY6" fmla="*/ 0 h 10000"/>
                  <a:gd name="connsiteX0" fmla="*/ 6298 w 10000"/>
                  <a:gd name="connsiteY0" fmla="*/ 0 h 10000"/>
                  <a:gd name="connsiteX1" fmla="*/ 3872 w 10000"/>
                  <a:gd name="connsiteY1" fmla="*/ 4000 h 10000"/>
                  <a:gd name="connsiteX2" fmla="*/ 10000 w 10000"/>
                  <a:gd name="connsiteY2" fmla="*/ 4000 h 10000"/>
                  <a:gd name="connsiteX3" fmla="*/ 0 w 10000"/>
                  <a:gd name="connsiteY3" fmla="*/ 10000 h 10000"/>
                  <a:gd name="connsiteX4" fmla="*/ 6923 w 10000"/>
                  <a:gd name="connsiteY4" fmla="*/ 4457 h 10000"/>
                  <a:gd name="connsiteX5" fmla="*/ 1636 w 10000"/>
                  <a:gd name="connsiteY5" fmla="*/ 4449 h 10000"/>
                  <a:gd name="connsiteX6" fmla="*/ 6298 w 10000"/>
                  <a:gd name="connsiteY6" fmla="*/ 0 h 10000"/>
                  <a:gd name="connsiteX0" fmla="*/ 6298 w 10000"/>
                  <a:gd name="connsiteY0" fmla="*/ 0 h 10000"/>
                  <a:gd name="connsiteX1" fmla="*/ 3872 w 10000"/>
                  <a:gd name="connsiteY1" fmla="*/ 4000 h 10000"/>
                  <a:gd name="connsiteX2" fmla="*/ 10000 w 10000"/>
                  <a:gd name="connsiteY2" fmla="*/ 4000 h 10000"/>
                  <a:gd name="connsiteX3" fmla="*/ 0 w 10000"/>
                  <a:gd name="connsiteY3" fmla="*/ 10000 h 10000"/>
                  <a:gd name="connsiteX4" fmla="*/ 5688 w 10000"/>
                  <a:gd name="connsiteY4" fmla="*/ 4457 h 10000"/>
                  <a:gd name="connsiteX5" fmla="*/ 1636 w 10000"/>
                  <a:gd name="connsiteY5" fmla="*/ 4449 h 10000"/>
                  <a:gd name="connsiteX6" fmla="*/ 6298 w 10000"/>
                  <a:gd name="connsiteY6" fmla="*/ 0 h 10000"/>
                  <a:gd name="connsiteX0" fmla="*/ 6298 w 10000"/>
                  <a:gd name="connsiteY0" fmla="*/ 0 h 10000"/>
                  <a:gd name="connsiteX1" fmla="*/ 3872 w 10000"/>
                  <a:gd name="connsiteY1" fmla="*/ 4000 h 10000"/>
                  <a:gd name="connsiteX2" fmla="*/ 10000 w 10000"/>
                  <a:gd name="connsiteY2" fmla="*/ 4000 h 10000"/>
                  <a:gd name="connsiteX3" fmla="*/ 0 w 10000"/>
                  <a:gd name="connsiteY3" fmla="*/ 10000 h 10000"/>
                  <a:gd name="connsiteX4" fmla="*/ 5688 w 10000"/>
                  <a:gd name="connsiteY4" fmla="*/ 4457 h 10000"/>
                  <a:gd name="connsiteX5" fmla="*/ 1512 w 10000"/>
                  <a:gd name="connsiteY5" fmla="*/ 4562 h 10000"/>
                  <a:gd name="connsiteX6" fmla="*/ 6298 w 10000"/>
                  <a:gd name="connsiteY6" fmla="*/ 0 h 10000"/>
                  <a:gd name="connsiteX0" fmla="*/ 6298 w 10000"/>
                  <a:gd name="connsiteY0" fmla="*/ 0 h 10000"/>
                  <a:gd name="connsiteX1" fmla="*/ 3872 w 10000"/>
                  <a:gd name="connsiteY1" fmla="*/ 4000 h 10000"/>
                  <a:gd name="connsiteX2" fmla="*/ 10000 w 10000"/>
                  <a:gd name="connsiteY2" fmla="*/ 4000 h 10000"/>
                  <a:gd name="connsiteX3" fmla="*/ 0 w 10000"/>
                  <a:gd name="connsiteY3" fmla="*/ 10000 h 10000"/>
                  <a:gd name="connsiteX4" fmla="*/ 5626 w 10000"/>
                  <a:gd name="connsiteY4" fmla="*/ 4570 h 10000"/>
                  <a:gd name="connsiteX5" fmla="*/ 1512 w 10000"/>
                  <a:gd name="connsiteY5" fmla="*/ 4562 h 10000"/>
                  <a:gd name="connsiteX6" fmla="*/ 6298 w 10000"/>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6298" y="0"/>
                    </a:moveTo>
                    <a:lnTo>
                      <a:pt x="3872" y="4000"/>
                    </a:lnTo>
                    <a:lnTo>
                      <a:pt x="10000" y="4000"/>
                    </a:lnTo>
                    <a:lnTo>
                      <a:pt x="0" y="10000"/>
                    </a:lnTo>
                    <a:lnTo>
                      <a:pt x="5626" y="4570"/>
                    </a:lnTo>
                    <a:lnTo>
                      <a:pt x="1512" y="4562"/>
                    </a:lnTo>
                    <a:lnTo>
                      <a:pt x="6298" y="0"/>
                    </a:lnTo>
                    <a:close/>
                  </a:path>
                </a:pathLst>
              </a:custGeom>
              <a:solidFill>
                <a:srgbClr val="FFBE0C"/>
              </a:solidFill>
              <a:ln w="0">
                <a:noFill/>
                <a:prstDash val="solid"/>
                <a:round/>
                <a:headEnd/>
                <a:tailEnd/>
              </a:ln>
            </p:spPr>
            <p:txBody>
              <a:bodyPr vert="horz" wrap="square" lIns="91427" tIns="45713" rIns="91427" bIns="45713" numCol="1" anchor="t" anchorCtr="0" compatLnSpc="1">
                <a:prstTxWarp prst="textNoShape">
                  <a:avLst/>
                </a:prstTxWarp>
              </a:bodyPr>
              <a:lstStyle/>
              <a:p>
                <a:pPr algn="ctr" defTabSz="914224">
                  <a:defRPr/>
                </a:pPr>
                <a:endParaRPr lang="en-US" kern="0">
                  <a:solidFill>
                    <a:prstClr val="black"/>
                  </a:solidFill>
                  <a:latin typeface="Segoe UI Semilight"/>
                </a:endParaRPr>
              </a:p>
            </p:txBody>
          </p:sp>
        </p:grpSp>
      </p:grpSp>
    </p:spTree>
    <p:extLst>
      <p:ext uri="{BB962C8B-B14F-4D97-AF65-F5344CB8AC3E}">
        <p14:creationId xmlns:p14="http://schemas.microsoft.com/office/powerpoint/2010/main" val="646775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67"/>
                                        </p:tgtEl>
                                        <p:attrNameLst>
                                          <p:attrName>style.visibility</p:attrName>
                                        </p:attrNameLst>
                                      </p:cBhvr>
                                      <p:to>
                                        <p:strVal val="visible"/>
                                      </p:to>
                                    </p:set>
                                    <p:animEffect transition="in" filter="wipe(left)">
                                      <p:cBhvr>
                                        <p:cTn id="7" dur="1000"/>
                                        <p:tgtEl>
                                          <p:spTgt spid="167"/>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131"/>
                                        </p:tgtEl>
                                        <p:attrNameLst>
                                          <p:attrName>style.visibility</p:attrName>
                                        </p:attrNameLst>
                                      </p:cBhvr>
                                      <p:to>
                                        <p:strVal val="visible"/>
                                      </p:to>
                                    </p:set>
                                    <p:animEffect transition="in" filter="wipe(left)">
                                      <p:cBhvr>
                                        <p:cTn id="11" dur="500"/>
                                        <p:tgtEl>
                                          <p:spTgt spid="131"/>
                                        </p:tgtEl>
                                      </p:cBhvr>
                                    </p:animEffect>
                                  </p:childTnLst>
                                </p:cTn>
                              </p:par>
                            </p:childTnLst>
                          </p:cTn>
                        </p:par>
                        <p:par>
                          <p:cTn id="12" fill="hold">
                            <p:stCondLst>
                              <p:cond delay="1500"/>
                            </p:stCondLst>
                            <p:childTnLst>
                              <p:par>
                                <p:cTn id="13" presetID="22" presetClass="entr" presetSubtype="2" fill="hold" nodeType="afterEffect">
                                  <p:stCondLst>
                                    <p:cond delay="0"/>
                                  </p:stCondLst>
                                  <p:childTnLst>
                                    <p:set>
                                      <p:cBhvr>
                                        <p:cTn id="14" dur="1" fill="hold">
                                          <p:stCondLst>
                                            <p:cond delay="0"/>
                                          </p:stCondLst>
                                        </p:cTn>
                                        <p:tgtEl>
                                          <p:spTgt spid="168"/>
                                        </p:tgtEl>
                                        <p:attrNameLst>
                                          <p:attrName>style.visibility</p:attrName>
                                        </p:attrNameLst>
                                      </p:cBhvr>
                                      <p:to>
                                        <p:strVal val="visible"/>
                                      </p:to>
                                    </p:set>
                                    <p:animEffect transition="in" filter="wipe(right)">
                                      <p:cBhvr>
                                        <p:cTn id="15" dur="1000"/>
                                        <p:tgtEl>
                                          <p:spTgt spid="168"/>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7"/>
                                        </p:tgtEl>
                                        <p:attrNameLst>
                                          <p:attrName>style.visibility</p:attrName>
                                        </p:attrNameLst>
                                      </p:cBhvr>
                                      <p:to>
                                        <p:strVal val="visible"/>
                                      </p:to>
                                    </p:set>
                                  </p:childTnLst>
                                </p:cTn>
                              </p:par>
                              <p:par>
                                <p:cTn id="20" presetID="35" presetClass="path" presetSubtype="0" accel="50000" decel="50000" fill="hold" nodeType="withEffect">
                                  <p:stCondLst>
                                    <p:cond delay="0"/>
                                  </p:stCondLst>
                                  <p:childTnLst>
                                    <p:animMotion origin="layout" path="M 2.5734E-6 -6.67272E-7 L -0.56127 -6.67272E-7 " pathEditMode="relative" rAng="0" ptsTypes="AA">
                                      <p:cBhvr>
                                        <p:cTn id="21" dur="750" fill="hold"/>
                                        <p:tgtEl>
                                          <p:spTgt spid="7"/>
                                        </p:tgtEl>
                                        <p:attrNameLst>
                                          <p:attrName>ppt_x</p:attrName>
                                          <p:attrName>ppt_y</p:attrName>
                                        </p:attrNameLst>
                                      </p:cBhvr>
                                      <p:rCtr x="-28070" y="0"/>
                                    </p:animMotion>
                                  </p:childTnLst>
                                </p:cTn>
                              </p:par>
                            </p:childTnLst>
                          </p:cTn>
                        </p:par>
                        <p:par>
                          <p:cTn id="22" fill="hold">
                            <p:stCondLst>
                              <p:cond delay="750"/>
                            </p:stCondLst>
                            <p:childTnLst>
                              <p:par>
                                <p:cTn id="23" presetID="22" presetClass="entr" presetSubtype="8" fill="hold" nodeType="after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wipe(left)">
                                      <p:cBhvr>
                                        <p:cTn id="25" dur="500"/>
                                        <p:tgtEl>
                                          <p:spTgt spid="26"/>
                                        </p:tgtEl>
                                      </p:cBhvr>
                                    </p:animEffect>
                                  </p:childTnLst>
                                </p:cTn>
                              </p:par>
                            </p:childTnLst>
                          </p:cTn>
                        </p:par>
                        <p:par>
                          <p:cTn id="26" fill="hold">
                            <p:stCondLst>
                              <p:cond delay="1250"/>
                            </p:stCondLst>
                            <p:childTnLst>
                              <p:par>
                                <p:cTn id="27" presetID="22" presetClass="entr" presetSubtype="8" fill="hold" nodeType="afterEffect">
                                  <p:stCondLst>
                                    <p:cond delay="0"/>
                                  </p:stCondLst>
                                  <p:childTnLst>
                                    <p:set>
                                      <p:cBhvr>
                                        <p:cTn id="28" dur="1" fill="hold">
                                          <p:stCondLst>
                                            <p:cond delay="0"/>
                                          </p:stCondLst>
                                        </p:cTn>
                                        <p:tgtEl>
                                          <p:spTgt spid="31"/>
                                        </p:tgtEl>
                                        <p:attrNameLst>
                                          <p:attrName>style.visibility</p:attrName>
                                        </p:attrNameLst>
                                      </p:cBhvr>
                                      <p:to>
                                        <p:strVal val="visible"/>
                                      </p:to>
                                    </p:set>
                                    <p:animEffect transition="in" filter="wipe(left)">
                                      <p:cBhvr>
                                        <p:cTn id="29" dur="500"/>
                                        <p:tgtEl>
                                          <p:spTgt spid="31"/>
                                        </p:tgtEl>
                                      </p:cBhvr>
                                    </p:animEffect>
                                  </p:childTnLst>
                                </p:cTn>
                              </p:par>
                            </p:childTnLst>
                          </p:cTn>
                        </p:par>
                        <p:par>
                          <p:cTn id="30" fill="hold">
                            <p:stCondLst>
                              <p:cond delay="1750"/>
                            </p:stCondLst>
                            <p:childTnLst>
                              <p:par>
                                <p:cTn id="31" presetID="22" presetClass="entr" presetSubtype="2" fill="hold" nodeType="after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wipe(right)">
                                      <p:cBhvr>
                                        <p:cTn id="33" dur="500"/>
                                        <p:tgtEl>
                                          <p:spTgt spid="23"/>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
                                        </p:tgtEl>
                                        <p:attrNameLst>
                                          <p:attrName>style.visibility</p:attrName>
                                        </p:attrNameLst>
                                      </p:cBhvr>
                                      <p:to>
                                        <p:strVal val="visible"/>
                                      </p:to>
                                    </p:set>
                                    <p:animEffect transition="in" filter="fade">
                                      <p:cBhvr>
                                        <p:cTn id="3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42" name="Group 941">
            <a:extLst>
              <a:ext uri="{FF2B5EF4-FFF2-40B4-BE49-F238E27FC236}">
                <a16:creationId xmlns:a16="http://schemas.microsoft.com/office/drawing/2014/main" id="{26D18E9D-5A19-4E6E-BFE3-45A93EE6FBE6}"/>
              </a:ext>
            </a:extLst>
          </p:cNvPr>
          <p:cNvGrpSpPr/>
          <p:nvPr/>
        </p:nvGrpSpPr>
        <p:grpSpPr>
          <a:xfrm>
            <a:off x="868202" y="372309"/>
            <a:ext cx="10692981" cy="6275546"/>
            <a:chOff x="839788" y="346075"/>
            <a:chExt cx="10514013" cy="6170513"/>
          </a:xfrm>
        </p:grpSpPr>
        <p:grpSp>
          <p:nvGrpSpPr>
            <p:cNvPr id="943" name="Group 4">
              <a:extLst>
                <a:ext uri="{FF2B5EF4-FFF2-40B4-BE49-F238E27FC236}">
                  <a16:creationId xmlns:a16="http://schemas.microsoft.com/office/drawing/2014/main" id="{C20F7C2C-2576-4EA5-9CDA-785ADD81244C}"/>
                </a:ext>
              </a:extLst>
            </p:cNvPr>
            <p:cNvGrpSpPr>
              <a:grpSpLocks noChangeAspect="1"/>
            </p:cNvGrpSpPr>
            <p:nvPr/>
          </p:nvGrpSpPr>
          <p:grpSpPr bwMode="auto">
            <a:xfrm>
              <a:off x="839788" y="346075"/>
              <a:ext cx="4581525" cy="3454400"/>
              <a:chOff x="529" y="218"/>
              <a:chExt cx="2886" cy="2176"/>
            </a:xfrm>
          </p:grpSpPr>
          <p:sp>
            <p:nvSpPr>
              <p:cNvPr id="957" name="Freeform 5">
                <a:extLst>
                  <a:ext uri="{FF2B5EF4-FFF2-40B4-BE49-F238E27FC236}">
                    <a16:creationId xmlns:a16="http://schemas.microsoft.com/office/drawing/2014/main" id="{8D3CCBE1-63CE-4A7D-A0C9-C7E06F5B084E}"/>
                  </a:ext>
                </a:extLst>
              </p:cNvPr>
              <p:cNvSpPr>
                <a:spLocks/>
              </p:cNvSpPr>
              <p:nvPr/>
            </p:nvSpPr>
            <p:spPr bwMode="auto">
              <a:xfrm>
                <a:off x="529" y="730"/>
                <a:ext cx="1842" cy="1664"/>
              </a:xfrm>
              <a:custGeom>
                <a:avLst/>
                <a:gdLst>
                  <a:gd name="T0" fmla="*/ 108 w 1842"/>
                  <a:gd name="T1" fmla="*/ 0 h 1664"/>
                  <a:gd name="T2" fmla="*/ 86 w 1842"/>
                  <a:gd name="T3" fmla="*/ 115 h 1664"/>
                  <a:gd name="T4" fmla="*/ 434 w 1842"/>
                  <a:gd name="T5" fmla="*/ 361 h 1664"/>
                  <a:gd name="T6" fmla="*/ 830 w 1842"/>
                  <a:gd name="T7" fmla="*/ 127 h 1664"/>
                  <a:gd name="T8" fmla="*/ 1490 w 1842"/>
                  <a:gd name="T9" fmla="*/ 169 h 1664"/>
                  <a:gd name="T10" fmla="*/ 1324 w 1842"/>
                  <a:gd name="T11" fmla="*/ 333 h 1664"/>
                  <a:gd name="T12" fmla="*/ 828 w 1842"/>
                  <a:gd name="T13" fmla="*/ 523 h 1664"/>
                  <a:gd name="T14" fmla="*/ 204 w 1842"/>
                  <a:gd name="T15" fmla="*/ 60 h 1664"/>
                  <a:gd name="T16" fmla="*/ 374 w 1842"/>
                  <a:gd name="T17" fmla="*/ 141 h 1664"/>
                  <a:gd name="T18" fmla="*/ 652 w 1842"/>
                  <a:gd name="T19" fmla="*/ 48 h 1664"/>
                  <a:gd name="T20" fmla="*/ 48 w 1842"/>
                  <a:gd name="T21" fmla="*/ 277 h 1664"/>
                  <a:gd name="T22" fmla="*/ 60 w 1842"/>
                  <a:gd name="T23" fmla="*/ 169 h 1664"/>
                  <a:gd name="T24" fmla="*/ 362 w 1842"/>
                  <a:gd name="T25" fmla="*/ 48 h 1664"/>
                  <a:gd name="T26" fmla="*/ 562 w 1842"/>
                  <a:gd name="T27" fmla="*/ 341 h 1664"/>
                  <a:gd name="T28" fmla="*/ 966 w 1842"/>
                  <a:gd name="T29" fmla="*/ 163 h 1664"/>
                  <a:gd name="T30" fmla="*/ 718 w 1842"/>
                  <a:gd name="T31" fmla="*/ 145 h 1664"/>
                  <a:gd name="T32" fmla="*/ 1238 w 1842"/>
                  <a:gd name="T33" fmla="*/ 719 h 1664"/>
                  <a:gd name="T34" fmla="*/ 854 w 1842"/>
                  <a:gd name="T35" fmla="*/ 699 h 1664"/>
                  <a:gd name="T36" fmla="*/ 1594 w 1842"/>
                  <a:gd name="T37" fmla="*/ 709 h 1664"/>
                  <a:gd name="T38" fmla="*/ 1718 w 1842"/>
                  <a:gd name="T39" fmla="*/ 907 h 1664"/>
                  <a:gd name="T40" fmla="*/ 1510 w 1842"/>
                  <a:gd name="T41" fmla="*/ 907 h 1664"/>
                  <a:gd name="T42" fmla="*/ 1286 w 1842"/>
                  <a:gd name="T43" fmla="*/ 1077 h 1664"/>
                  <a:gd name="T44" fmla="*/ 1610 w 1842"/>
                  <a:gd name="T45" fmla="*/ 997 h 1664"/>
                  <a:gd name="T46" fmla="*/ 1382 w 1842"/>
                  <a:gd name="T47" fmla="*/ 1210 h 1664"/>
                  <a:gd name="T48" fmla="*/ 1192 w 1842"/>
                  <a:gd name="T49" fmla="*/ 949 h 1664"/>
                  <a:gd name="T50" fmla="*/ 1246 w 1842"/>
                  <a:gd name="T51" fmla="*/ 1190 h 1664"/>
                  <a:gd name="T52" fmla="*/ 1152 w 1842"/>
                  <a:gd name="T53" fmla="*/ 1430 h 1664"/>
                  <a:gd name="T54" fmla="*/ 1506 w 1842"/>
                  <a:gd name="T55" fmla="*/ 1590 h 1664"/>
                  <a:gd name="T56" fmla="*/ 1434 w 1842"/>
                  <a:gd name="T57" fmla="*/ 1614 h 1664"/>
                  <a:gd name="T58" fmla="*/ 1396 w 1842"/>
                  <a:gd name="T59" fmla="*/ 1626 h 1664"/>
                  <a:gd name="T60" fmla="*/ 1312 w 1842"/>
                  <a:gd name="T61" fmla="*/ 1552 h 1664"/>
                  <a:gd name="T62" fmla="*/ 1166 w 1842"/>
                  <a:gd name="T63" fmla="*/ 1272 h 1664"/>
                  <a:gd name="T64" fmla="*/ 900 w 1842"/>
                  <a:gd name="T65" fmla="*/ 1137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42" h="1664">
                    <a:moveTo>
                      <a:pt x="0" y="30"/>
                    </a:moveTo>
                    <a:lnTo>
                      <a:pt x="108" y="0"/>
                    </a:lnTo>
                    <a:lnTo>
                      <a:pt x="54" y="121"/>
                    </a:lnTo>
                    <a:lnTo>
                      <a:pt x="86" y="115"/>
                    </a:lnTo>
                    <a:lnTo>
                      <a:pt x="270" y="16"/>
                    </a:lnTo>
                    <a:lnTo>
                      <a:pt x="434" y="361"/>
                    </a:lnTo>
                    <a:lnTo>
                      <a:pt x="490" y="88"/>
                    </a:lnTo>
                    <a:lnTo>
                      <a:pt x="830" y="127"/>
                    </a:lnTo>
                    <a:lnTo>
                      <a:pt x="976" y="175"/>
                    </a:lnTo>
                    <a:lnTo>
                      <a:pt x="1490" y="169"/>
                    </a:lnTo>
                    <a:lnTo>
                      <a:pt x="1410" y="205"/>
                    </a:lnTo>
                    <a:lnTo>
                      <a:pt x="1324" y="333"/>
                    </a:lnTo>
                    <a:lnTo>
                      <a:pt x="1222" y="261"/>
                    </a:lnTo>
                    <a:lnTo>
                      <a:pt x="828" y="523"/>
                    </a:lnTo>
                    <a:lnTo>
                      <a:pt x="766" y="287"/>
                    </a:lnTo>
                    <a:lnTo>
                      <a:pt x="204" y="60"/>
                    </a:lnTo>
                    <a:lnTo>
                      <a:pt x="126" y="407"/>
                    </a:lnTo>
                    <a:lnTo>
                      <a:pt x="374" y="141"/>
                    </a:lnTo>
                    <a:lnTo>
                      <a:pt x="498" y="100"/>
                    </a:lnTo>
                    <a:lnTo>
                      <a:pt x="652" y="48"/>
                    </a:lnTo>
                    <a:lnTo>
                      <a:pt x="532" y="183"/>
                    </a:lnTo>
                    <a:lnTo>
                      <a:pt x="48" y="277"/>
                    </a:lnTo>
                    <a:lnTo>
                      <a:pt x="366" y="327"/>
                    </a:lnTo>
                    <a:lnTo>
                      <a:pt x="60" y="169"/>
                    </a:lnTo>
                    <a:lnTo>
                      <a:pt x="166" y="241"/>
                    </a:lnTo>
                    <a:lnTo>
                      <a:pt x="362" y="48"/>
                    </a:lnTo>
                    <a:lnTo>
                      <a:pt x="60" y="129"/>
                    </a:lnTo>
                    <a:lnTo>
                      <a:pt x="562" y="341"/>
                    </a:lnTo>
                    <a:lnTo>
                      <a:pt x="886" y="295"/>
                    </a:lnTo>
                    <a:lnTo>
                      <a:pt x="966" y="163"/>
                    </a:lnTo>
                    <a:lnTo>
                      <a:pt x="832" y="70"/>
                    </a:lnTo>
                    <a:lnTo>
                      <a:pt x="718" y="145"/>
                    </a:lnTo>
                    <a:lnTo>
                      <a:pt x="806" y="531"/>
                    </a:lnTo>
                    <a:lnTo>
                      <a:pt x="1238" y="719"/>
                    </a:lnTo>
                    <a:lnTo>
                      <a:pt x="782" y="815"/>
                    </a:lnTo>
                    <a:lnTo>
                      <a:pt x="854" y="699"/>
                    </a:lnTo>
                    <a:lnTo>
                      <a:pt x="1472" y="531"/>
                    </a:lnTo>
                    <a:lnTo>
                      <a:pt x="1594" y="709"/>
                    </a:lnTo>
                    <a:lnTo>
                      <a:pt x="1842" y="815"/>
                    </a:lnTo>
                    <a:lnTo>
                      <a:pt x="1718" y="907"/>
                    </a:lnTo>
                    <a:lnTo>
                      <a:pt x="1622" y="963"/>
                    </a:lnTo>
                    <a:lnTo>
                      <a:pt x="1510" y="907"/>
                    </a:lnTo>
                    <a:lnTo>
                      <a:pt x="1510" y="855"/>
                    </a:lnTo>
                    <a:lnTo>
                      <a:pt x="1286" y="1077"/>
                    </a:lnTo>
                    <a:lnTo>
                      <a:pt x="1518" y="965"/>
                    </a:lnTo>
                    <a:lnTo>
                      <a:pt x="1610" y="997"/>
                    </a:lnTo>
                    <a:lnTo>
                      <a:pt x="1506" y="1210"/>
                    </a:lnTo>
                    <a:lnTo>
                      <a:pt x="1382" y="1210"/>
                    </a:lnTo>
                    <a:lnTo>
                      <a:pt x="1272" y="1182"/>
                    </a:lnTo>
                    <a:lnTo>
                      <a:pt x="1192" y="949"/>
                    </a:lnTo>
                    <a:lnTo>
                      <a:pt x="886" y="1147"/>
                    </a:lnTo>
                    <a:lnTo>
                      <a:pt x="1246" y="1190"/>
                    </a:lnTo>
                    <a:lnTo>
                      <a:pt x="1066" y="1318"/>
                    </a:lnTo>
                    <a:lnTo>
                      <a:pt x="1152" y="1430"/>
                    </a:lnTo>
                    <a:lnTo>
                      <a:pt x="1426" y="1626"/>
                    </a:lnTo>
                    <a:lnTo>
                      <a:pt x="1506" y="1590"/>
                    </a:lnTo>
                    <a:lnTo>
                      <a:pt x="1494" y="1664"/>
                    </a:lnTo>
                    <a:lnTo>
                      <a:pt x="1434" y="1614"/>
                    </a:lnTo>
                    <a:lnTo>
                      <a:pt x="1242" y="1454"/>
                    </a:lnTo>
                    <a:lnTo>
                      <a:pt x="1396" y="1626"/>
                    </a:lnTo>
                    <a:lnTo>
                      <a:pt x="1430" y="1422"/>
                    </a:lnTo>
                    <a:lnTo>
                      <a:pt x="1312" y="1552"/>
                    </a:lnTo>
                    <a:lnTo>
                      <a:pt x="1184" y="1524"/>
                    </a:lnTo>
                    <a:lnTo>
                      <a:pt x="1166" y="1272"/>
                    </a:lnTo>
                    <a:lnTo>
                      <a:pt x="876" y="991"/>
                    </a:lnTo>
                    <a:lnTo>
                      <a:pt x="900" y="1137"/>
                    </a:lnTo>
                    <a:lnTo>
                      <a:pt x="964" y="1330"/>
                    </a:lnTo>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58" name="Freeform 6">
                <a:extLst>
                  <a:ext uri="{FF2B5EF4-FFF2-40B4-BE49-F238E27FC236}">
                    <a16:creationId xmlns:a16="http://schemas.microsoft.com/office/drawing/2014/main" id="{5E65B01A-C42D-40B3-BE2E-33232DB59C8C}"/>
                  </a:ext>
                </a:extLst>
              </p:cNvPr>
              <p:cNvSpPr>
                <a:spLocks/>
              </p:cNvSpPr>
              <p:nvPr/>
            </p:nvSpPr>
            <p:spPr bwMode="auto">
              <a:xfrm>
                <a:off x="2115" y="218"/>
                <a:ext cx="1256" cy="855"/>
              </a:xfrm>
              <a:custGeom>
                <a:avLst/>
                <a:gdLst>
                  <a:gd name="T0" fmla="*/ 1256 w 1256"/>
                  <a:gd name="T1" fmla="*/ 745 h 855"/>
                  <a:gd name="T2" fmla="*/ 1116 w 1256"/>
                  <a:gd name="T3" fmla="*/ 745 h 855"/>
                  <a:gd name="T4" fmla="*/ 702 w 1256"/>
                  <a:gd name="T5" fmla="*/ 855 h 855"/>
                  <a:gd name="T6" fmla="*/ 540 w 1256"/>
                  <a:gd name="T7" fmla="*/ 727 h 855"/>
                  <a:gd name="T8" fmla="*/ 856 w 1256"/>
                  <a:gd name="T9" fmla="*/ 671 h 855"/>
                  <a:gd name="T10" fmla="*/ 724 w 1256"/>
                  <a:gd name="T11" fmla="*/ 763 h 855"/>
                  <a:gd name="T12" fmla="*/ 908 w 1256"/>
                  <a:gd name="T13" fmla="*/ 362 h 855"/>
                  <a:gd name="T14" fmla="*/ 938 w 1256"/>
                  <a:gd name="T15" fmla="*/ 522 h 855"/>
                  <a:gd name="T16" fmla="*/ 670 w 1256"/>
                  <a:gd name="T17" fmla="*/ 536 h 855"/>
                  <a:gd name="T18" fmla="*/ 562 w 1256"/>
                  <a:gd name="T19" fmla="*/ 362 h 855"/>
                  <a:gd name="T20" fmla="*/ 588 w 1256"/>
                  <a:gd name="T21" fmla="*/ 132 h 855"/>
                  <a:gd name="T22" fmla="*/ 630 w 1256"/>
                  <a:gd name="T23" fmla="*/ 260 h 855"/>
                  <a:gd name="T24" fmla="*/ 704 w 1256"/>
                  <a:gd name="T25" fmla="*/ 182 h 855"/>
                  <a:gd name="T26" fmla="*/ 762 w 1256"/>
                  <a:gd name="T27" fmla="*/ 338 h 855"/>
                  <a:gd name="T28" fmla="*/ 540 w 1256"/>
                  <a:gd name="T29" fmla="*/ 362 h 855"/>
                  <a:gd name="T30" fmla="*/ 424 w 1256"/>
                  <a:gd name="T31" fmla="*/ 212 h 855"/>
                  <a:gd name="T32" fmla="*/ 396 w 1256"/>
                  <a:gd name="T33" fmla="*/ 268 h 855"/>
                  <a:gd name="T34" fmla="*/ 22 w 1256"/>
                  <a:gd name="T35" fmla="*/ 86 h 855"/>
                  <a:gd name="T36" fmla="*/ 0 w 1256"/>
                  <a:gd name="T37" fmla="*/ 226 h 855"/>
                  <a:gd name="T38" fmla="*/ 188 w 1256"/>
                  <a:gd name="T39" fmla="*/ 150 h 855"/>
                  <a:gd name="T40" fmla="*/ 454 w 1256"/>
                  <a:gd name="T41" fmla="*/ 86 h 855"/>
                  <a:gd name="T42" fmla="*/ 264 w 1256"/>
                  <a:gd name="T43" fmla="*/ 302 h 855"/>
                  <a:gd name="T44" fmla="*/ 264 w 1256"/>
                  <a:gd name="T45" fmla="*/ 220 h 855"/>
                  <a:gd name="T46" fmla="*/ 380 w 1256"/>
                  <a:gd name="T47" fmla="*/ 110 h 855"/>
                  <a:gd name="T48" fmla="*/ 1092 w 1256"/>
                  <a:gd name="T49" fmla="*/ 356 h 855"/>
                  <a:gd name="T50" fmla="*/ 1004 w 1256"/>
                  <a:gd name="T51" fmla="*/ 598 h 855"/>
                  <a:gd name="T52" fmla="*/ 860 w 1256"/>
                  <a:gd name="T53" fmla="*/ 512 h 855"/>
                  <a:gd name="T54" fmla="*/ 468 w 1256"/>
                  <a:gd name="T55" fmla="*/ 454 h 855"/>
                  <a:gd name="T56" fmla="*/ 548 w 1256"/>
                  <a:gd name="T57" fmla="*/ 542 h 855"/>
                  <a:gd name="T58" fmla="*/ 936 w 1256"/>
                  <a:gd name="T59" fmla="*/ 0 h 855"/>
                  <a:gd name="T60" fmla="*/ 932 w 1256"/>
                  <a:gd name="T61" fmla="*/ 122 h 855"/>
                  <a:gd name="T62" fmla="*/ 744 w 1256"/>
                  <a:gd name="T63" fmla="*/ 154 h 855"/>
                  <a:gd name="T64" fmla="*/ 820 w 1256"/>
                  <a:gd name="T65" fmla="*/ 0 h 855"/>
                  <a:gd name="T66" fmla="*/ 904 w 1256"/>
                  <a:gd name="T67" fmla="*/ 26 h 855"/>
                  <a:gd name="T68" fmla="*/ 904 w 1256"/>
                  <a:gd name="T69" fmla="*/ 350 h 855"/>
                  <a:gd name="T70" fmla="*/ 406 w 1256"/>
                  <a:gd name="T71" fmla="*/ 264 h 855"/>
                  <a:gd name="T72" fmla="*/ 196 w 1256"/>
                  <a:gd name="T73" fmla="*/ 246 h 855"/>
                  <a:gd name="T74" fmla="*/ 398 w 1256"/>
                  <a:gd name="T75" fmla="*/ 254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56" h="855">
                    <a:moveTo>
                      <a:pt x="1256" y="745"/>
                    </a:moveTo>
                    <a:lnTo>
                      <a:pt x="1116" y="745"/>
                    </a:lnTo>
                    <a:lnTo>
                      <a:pt x="702" y="855"/>
                    </a:lnTo>
                    <a:lnTo>
                      <a:pt x="540" y="727"/>
                    </a:lnTo>
                    <a:lnTo>
                      <a:pt x="856" y="671"/>
                    </a:lnTo>
                    <a:lnTo>
                      <a:pt x="724" y="763"/>
                    </a:lnTo>
                    <a:lnTo>
                      <a:pt x="908" y="362"/>
                    </a:lnTo>
                    <a:lnTo>
                      <a:pt x="938" y="522"/>
                    </a:lnTo>
                    <a:lnTo>
                      <a:pt x="670" y="536"/>
                    </a:lnTo>
                    <a:lnTo>
                      <a:pt x="562" y="362"/>
                    </a:lnTo>
                    <a:lnTo>
                      <a:pt x="588" y="132"/>
                    </a:lnTo>
                    <a:lnTo>
                      <a:pt x="630" y="260"/>
                    </a:lnTo>
                    <a:lnTo>
                      <a:pt x="704" y="182"/>
                    </a:lnTo>
                    <a:lnTo>
                      <a:pt x="762" y="338"/>
                    </a:lnTo>
                    <a:lnTo>
                      <a:pt x="540" y="362"/>
                    </a:lnTo>
                    <a:lnTo>
                      <a:pt x="424" y="212"/>
                    </a:lnTo>
                    <a:lnTo>
                      <a:pt x="396" y="268"/>
                    </a:lnTo>
                    <a:lnTo>
                      <a:pt x="22" y="86"/>
                    </a:lnTo>
                    <a:lnTo>
                      <a:pt x="0" y="226"/>
                    </a:lnTo>
                    <a:lnTo>
                      <a:pt x="188" y="150"/>
                    </a:lnTo>
                    <a:lnTo>
                      <a:pt x="454" y="86"/>
                    </a:lnTo>
                    <a:lnTo>
                      <a:pt x="264" y="302"/>
                    </a:lnTo>
                    <a:lnTo>
                      <a:pt x="264" y="220"/>
                    </a:lnTo>
                    <a:lnTo>
                      <a:pt x="380" y="110"/>
                    </a:lnTo>
                    <a:lnTo>
                      <a:pt x="1092" y="356"/>
                    </a:lnTo>
                    <a:lnTo>
                      <a:pt x="1004" y="598"/>
                    </a:lnTo>
                    <a:lnTo>
                      <a:pt x="860" y="512"/>
                    </a:lnTo>
                    <a:lnTo>
                      <a:pt x="468" y="454"/>
                    </a:lnTo>
                    <a:lnTo>
                      <a:pt x="548" y="542"/>
                    </a:lnTo>
                    <a:lnTo>
                      <a:pt x="936" y="0"/>
                    </a:lnTo>
                    <a:lnTo>
                      <a:pt x="932" y="122"/>
                    </a:lnTo>
                    <a:lnTo>
                      <a:pt x="744" y="154"/>
                    </a:lnTo>
                    <a:lnTo>
                      <a:pt x="820" y="0"/>
                    </a:lnTo>
                    <a:lnTo>
                      <a:pt x="904" y="26"/>
                    </a:lnTo>
                    <a:lnTo>
                      <a:pt x="904" y="350"/>
                    </a:lnTo>
                    <a:lnTo>
                      <a:pt x="406" y="264"/>
                    </a:lnTo>
                    <a:lnTo>
                      <a:pt x="196" y="246"/>
                    </a:lnTo>
                    <a:lnTo>
                      <a:pt x="398" y="254"/>
                    </a:lnTo>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59" name="Freeform 7">
                <a:extLst>
                  <a:ext uri="{FF2B5EF4-FFF2-40B4-BE49-F238E27FC236}">
                    <a16:creationId xmlns:a16="http://schemas.microsoft.com/office/drawing/2014/main" id="{F8AE1E96-B5D0-4117-BA78-D27437F5FA27}"/>
                  </a:ext>
                </a:extLst>
              </p:cNvPr>
              <p:cNvSpPr>
                <a:spLocks/>
              </p:cNvSpPr>
              <p:nvPr/>
            </p:nvSpPr>
            <p:spPr bwMode="auto">
              <a:xfrm>
                <a:off x="3253" y="905"/>
                <a:ext cx="124" cy="84"/>
              </a:xfrm>
              <a:custGeom>
                <a:avLst/>
                <a:gdLst>
                  <a:gd name="T0" fmla="*/ 100 w 124"/>
                  <a:gd name="T1" fmla="*/ 64 h 84"/>
                  <a:gd name="T2" fmla="*/ 124 w 124"/>
                  <a:gd name="T3" fmla="*/ 0 h 84"/>
                  <a:gd name="T4" fmla="*/ 18 w 124"/>
                  <a:gd name="T5" fmla="*/ 84 h 84"/>
                  <a:gd name="T6" fmla="*/ 0 w 124"/>
                  <a:gd name="T7" fmla="*/ 14 h 84"/>
                  <a:gd name="T8" fmla="*/ 100 w 124"/>
                  <a:gd name="T9" fmla="*/ 64 h 84"/>
                </a:gdLst>
                <a:ahLst/>
                <a:cxnLst>
                  <a:cxn ang="0">
                    <a:pos x="T0" y="T1"/>
                  </a:cxn>
                  <a:cxn ang="0">
                    <a:pos x="T2" y="T3"/>
                  </a:cxn>
                  <a:cxn ang="0">
                    <a:pos x="T4" y="T5"/>
                  </a:cxn>
                  <a:cxn ang="0">
                    <a:pos x="T6" y="T7"/>
                  </a:cxn>
                  <a:cxn ang="0">
                    <a:pos x="T8" y="T9"/>
                  </a:cxn>
                </a:cxnLst>
                <a:rect l="0" t="0" r="r" b="b"/>
                <a:pathLst>
                  <a:path w="124" h="84">
                    <a:moveTo>
                      <a:pt x="100" y="64"/>
                    </a:moveTo>
                    <a:lnTo>
                      <a:pt x="124" y="0"/>
                    </a:lnTo>
                    <a:lnTo>
                      <a:pt x="18" y="84"/>
                    </a:lnTo>
                    <a:lnTo>
                      <a:pt x="0" y="14"/>
                    </a:lnTo>
                    <a:lnTo>
                      <a:pt x="100" y="64"/>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60" name="Freeform 8">
                <a:extLst>
                  <a:ext uri="{FF2B5EF4-FFF2-40B4-BE49-F238E27FC236}">
                    <a16:creationId xmlns:a16="http://schemas.microsoft.com/office/drawing/2014/main" id="{0561FC27-D9C2-479F-9F33-686F832C8A8B}"/>
                  </a:ext>
                </a:extLst>
              </p:cNvPr>
              <p:cNvSpPr>
                <a:spLocks/>
              </p:cNvSpPr>
              <p:nvPr/>
            </p:nvSpPr>
            <p:spPr bwMode="auto">
              <a:xfrm>
                <a:off x="2673" y="254"/>
                <a:ext cx="742" cy="781"/>
              </a:xfrm>
              <a:custGeom>
                <a:avLst/>
                <a:gdLst>
                  <a:gd name="T0" fmla="*/ 29 w 371"/>
                  <a:gd name="T1" fmla="*/ 391 h 391"/>
                  <a:gd name="T2" fmla="*/ 143 w 371"/>
                  <a:gd name="T3" fmla="*/ 75 h 391"/>
                  <a:gd name="T4" fmla="*/ 210 w 371"/>
                  <a:gd name="T5" fmla="*/ 44 h 391"/>
                  <a:gd name="T6" fmla="*/ 283 w 371"/>
                  <a:gd name="T7" fmla="*/ 150 h 391"/>
                  <a:gd name="T8" fmla="*/ 194 w 371"/>
                  <a:gd name="T9" fmla="*/ 161 h 391"/>
                  <a:gd name="T10" fmla="*/ 317 w 371"/>
                  <a:gd name="T11" fmla="*/ 40 h 391"/>
                  <a:gd name="T12" fmla="*/ 371 w 371"/>
                  <a:gd name="T13" fmla="*/ 36 h 391"/>
                  <a:gd name="T14" fmla="*/ 261 w 371"/>
                  <a:gd name="T15" fmla="*/ 0 h 391"/>
                  <a:gd name="T16" fmla="*/ 76 w 371"/>
                  <a:gd name="T17" fmla="*/ 17 h 391"/>
                  <a:gd name="T18" fmla="*/ 169 w 371"/>
                  <a:gd name="T19" fmla="*/ 152 h 391"/>
                  <a:gd name="T20" fmla="*/ 0 w 371"/>
                  <a:gd name="T21" fmla="*/ 347 h 391"/>
                  <a:gd name="T22" fmla="*/ 276 w 371"/>
                  <a:gd name="T23" fmla="*/ 221 h 391"/>
                  <a:gd name="T24" fmla="*/ 83 w 371"/>
                  <a:gd name="T25" fmla="*/ 260 h 391"/>
                  <a:gd name="T26" fmla="*/ 223 w 371"/>
                  <a:gd name="T27" fmla="*/ 269 h 391"/>
                  <a:gd name="T28" fmla="*/ 23 w 371"/>
                  <a:gd name="T29" fmla="*/ 380 h 391"/>
                  <a:gd name="T30" fmla="*/ 29 w 371"/>
                  <a:gd name="T31"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1" h="391">
                    <a:moveTo>
                      <a:pt x="29" y="391"/>
                    </a:moveTo>
                    <a:cubicBezTo>
                      <a:pt x="143" y="75"/>
                      <a:pt x="143" y="75"/>
                      <a:pt x="143" y="75"/>
                    </a:cubicBezTo>
                    <a:cubicBezTo>
                      <a:pt x="210" y="44"/>
                      <a:pt x="210" y="44"/>
                      <a:pt x="210" y="44"/>
                    </a:cubicBezTo>
                    <a:cubicBezTo>
                      <a:pt x="283" y="150"/>
                      <a:pt x="283" y="150"/>
                      <a:pt x="283" y="150"/>
                    </a:cubicBezTo>
                    <a:cubicBezTo>
                      <a:pt x="194" y="161"/>
                      <a:pt x="194" y="161"/>
                      <a:pt x="194" y="161"/>
                    </a:cubicBezTo>
                    <a:cubicBezTo>
                      <a:pt x="317" y="40"/>
                      <a:pt x="317" y="40"/>
                      <a:pt x="317" y="40"/>
                    </a:cubicBezTo>
                    <a:cubicBezTo>
                      <a:pt x="371" y="36"/>
                      <a:pt x="371" y="36"/>
                      <a:pt x="371" y="36"/>
                    </a:cubicBezTo>
                    <a:cubicBezTo>
                      <a:pt x="261" y="0"/>
                      <a:pt x="261" y="0"/>
                      <a:pt x="261" y="0"/>
                    </a:cubicBezTo>
                    <a:cubicBezTo>
                      <a:pt x="76" y="17"/>
                      <a:pt x="76" y="17"/>
                      <a:pt x="76" y="17"/>
                    </a:cubicBezTo>
                    <a:cubicBezTo>
                      <a:pt x="169" y="152"/>
                      <a:pt x="169" y="152"/>
                      <a:pt x="169" y="152"/>
                    </a:cubicBezTo>
                    <a:cubicBezTo>
                      <a:pt x="0" y="347"/>
                      <a:pt x="0" y="347"/>
                      <a:pt x="0" y="347"/>
                    </a:cubicBezTo>
                    <a:cubicBezTo>
                      <a:pt x="0" y="347"/>
                      <a:pt x="278" y="221"/>
                      <a:pt x="276" y="221"/>
                    </a:cubicBezTo>
                    <a:cubicBezTo>
                      <a:pt x="275" y="221"/>
                      <a:pt x="83" y="260"/>
                      <a:pt x="83" y="260"/>
                    </a:cubicBezTo>
                    <a:cubicBezTo>
                      <a:pt x="223" y="269"/>
                      <a:pt x="223" y="269"/>
                      <a:pt x="223" y="269"/>
                    </a:cubicBezTo>
                    <a:cubicBezTo>
                      <a:pt x="23" y="380"/>
                      <a:pt x="23" y="380"/>
                      <a:pt x="23" y="380"/>
                    </a:cubicBezTo>
                    <a:lnTo>
                      <a:pt x="29" y="391"/>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61" name="Freeform 9">
                <a:extLst>
                  <a:ext uri="{FF2B5EF4-FFF2-40B4-BE49-F238E27FC236}">
                    <a16:creationId xmlns:a16="http://schemas.microsoft.com/office/drawing/2014/main" id="{8A77EE72-AD74-45A1-8E54-221259A72402}"/>
                  </a:ext>
                </a:extLst>
              </p:cNvPr>
              <p:cNvSpPr>
                <a:spLocks/>
              </p:cNvSpPr>
              <p:nvPr/>
            </p:nvSpPr>
            <p:spPr bwMode="auto">
              <a:xfrm>
                <a:off x="1083" y="264"/>
                <a:ext cx="1272" cy="1471"/>
              </a:xfrm>
              <a:custGeom>
                <a:avLst/>
                <a:gdLst>
                  <a:gd name="T0" fmla="*/ 1266 w 1272"/>
                  <a:gd name="T1" fmla="*/ 52 h 1471"/>
                  <a:gd name="T2" fmla="*/ 1272 w 1272"/>
                  <a:gd name="T3" fmla="*/ 0 h 1471"/>
                  <a:gd name="T4" fmla="*/ 1064 w 1272"/>
                  <a:gd name="T5" fmla="*/ 110 h 1471"/>
                  <a:gd name="T6" fmla="*/ 962 w 1272"/>
                  <a:gd name="T7" fmla="*/ 190 h 1471"/>
                  <a:gd name="T8" fmla="*/ 792 w 1272"/>
                  <a:gd name="T9" fmla="*/ 156 h 1471"/>
                  <a:gd name="T10" fmla="*/ 768 w 1272"/>
                  <a:gd name="T11" fmla="*/ 496 h 1471"/>
                  <a:gd name="T12" fmla="*/ 516 w 1272"/>
                  <a:gd name="T13" fmla="*/ 414 h 1471"/>
                  <a:gd name="T14" fmla="*/ 520 w 1272"/>
                  <a:gd name="T15" fmla="*/ 490 h 1471"/>
                  <a:gd name="T16" fmla="*/ 214 w 1272"/>
                  <a:gd name="T17" fmla="*/ 354 h 1471"/>
                  <a:gd name="T18" fmla="*/ 302 w 1272"/>
                  <a:gd name="T19" fmla="*/ 410 h 1471"/>
                  <a:gd name="T20" fmla="*/ 462 w 1272"/>
                  <a:gd name="T21" fmla="*/ 162 h 1471"/>
                  <a:gd name="T22" fmla="*/ 240 w 1272"/>
                  <a:gd name="T23" fmla="*/ 238 h 1471"/>
                  <a:gd name="T24" fmla="*/ 598 w 1272"/>
                  <a:gd name="T25" fmla="*/ 160 h 1471"/>
                  <a:gd name="T26" fmla="*/ 376 w 1272"/>
                  <a:gd name="T27" fmla="*/ 280 h 1471"/>
                  <a:gd name="T28" fmla="*/ 594 w 1272"/>
                  <a:gd name="T29" fmla="*/ 500 h 1471"/>
                  <a:gd name="T30" fmla="*/ 922 w 1272"/>
                  <a:gd name="T31" fmla="*/ 130 h 1471"/>
                  <a:gd name="T32" fmla="*/ 1072 w 1272"/>
                  <a:gd name="T33" fmla="*/ 190 h 1471"/>
                  <a:gd name="T34" fmla="*/ 998 w 1272"/>
                  <a:gd name="T35" fmla="*/ 264 h 1471"/>
                  <a:gd name="T36" fmla="*/ 700 w 1272"/>
                  <a:gd name="T37" fmla="*/ 256 h 1471"/>
                  <a:gd name="T38" fmla="*/ 838 w 1272"/>
                  <a:gd name="T39" fmla="*/ 80 h 1471"/>
                  <a:gd name="T40" fmla="*/ 854 w 1272"/>
                  <a:gd name="T41" fmla="*/ 432 h 1471"/>
                  <a:gd name="T42" fmla="*/ 808 w 1272"/>
                  <a:gd name="T43" fmla="*/ 550 h 1471"/>
                  <a:gd name="T44" fmla="*/ 690 w 1272"/>
                  <a:gd name="T45" fmla="*/ 605 h 1471"/>
                  <a:gd name="T46" fmla="*/ 536 w 1272"/>
                  <a:gd name="T47" fmla="*/ 570 h 1471"/>
                  <a:gd name="T48" fmla="*/ 504 w 1272"/>
                  <a:gd name="T49" fmla="*/ 1019 h 1471"/>
                  <a:gd name="T50" fmla="*/ 330 w 1272"/>
                  <a:gd name="T51" fmla="*/ 649 h 1471"/>
                  <a:gd name="T52" fmla="*/ 476 w 1272"/>
                  <a:gd name="T53" fmla="*/ 747 h 1471"/>
                  <a:gd name="T54" fmla="*/ 436 w 1272"/>
                  <a:gd name="T55" fmla="*/ 927 h 1471"/>
                  <a:gd name="T56" fmla="*/ 838 w 1272"/>
                  <a:gd name="T57" fmla="*/ 933 h 1471"/>
                  <a:gd name="T58" fmla="*/ 764 w 1272"/>
                  <a:gd name="T59" fmla="*/ 963 h 1471"/>
                  <a:gd name="T60" fmla="*/ 640 w 1272"/>
                  <a:gd name="T61" fmla="*/ 843 h 1471"/>
                  <a:gd name="T62" fmla="*/ 246 w 1272"/>
                  <a:gd name="T63" fmla="*/ 1141 h 1471"/>
                  <a:gd name="T64" fmla="*/ 0 w 1272"/>
                  <a:gd name="T65" fmla="*/ 771 h 1471"/>
                  <a:gd name="T66" fmla="*/ 500 w 1272"/>
                  <a:gd name="T67" fmla="*/ 801 h 1471"/>
                  <a:gd name="T68" fmla="*/ 284 w 1272"/>
                  <a:gd name="T69" fmla="*/ 843 h 1471"/>
                  <a:gd name="T70" fmla="*/ 368 w 1272"/>
                  <a:gd name="T71" fmla="*/ 1471 h 1471"/>
                  <a:gd name="T72" fmla="*/ 306 w 1272"/>
                  <a:gd name="T73" fmla="*/ 1389 h 1471"/>
                  <a:gd name="T74" fmla="*/ 614 w 1272"/>
                  <a:gd name="T75" fmla="*/ 1061 h 1471"/>
                  <a:gd name="T76" fmla="*/ 878 w 1272"/>
                  <a:gd name="T77" fmla="*/ 1341 h 1471"/>
                  <a:gd name="T78" fmla="*/ 664 w 1272"/>
                  <a:gd name="T79" fmla="*/ 717 h 1471"/>
                  <a:gd name="T80" fmla="*/ 982 w 1272"/>
                  <a:gd name="T81" fmla="*/ 615 h 1471"/>
                  <a:gd name="T82" fmla="*/ 976 w 1272"/>
                  <a:gd name="T83" fmla="*/ 532 h 1471"/>
                  <a:gd name="T84" fmla="*/ 944 w 1272"/>
                  <a:gd name="T85" fmla="*/ 532 h 1471"/>
                  <a:gd name="T86" fmla="*/ 974 w 1272"/>
                  <a:gd name="T87" fmla="*/ 418 h 1471"/>
                  <a:gd name="T88" fmla="*/ 948 w 1272"/>
                  <a:gd name="T89" fmla="*/ 382 h 1471"/>
                  <a:gd name="T90" fmla="*/ 1022 w 1272"/>
                  <a:gd name="T91" fmla="*/ 42 h 1471"/>
                  <a:gd name="T92" fmla="*/ 1266 w 1272"/>
                  <a:gd name="T93" fmla="*/ 52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72" h="1471">
                    <a:moveTo>
                      <a:pt x="1266" y="52"/>
                    </a:moveTo>
                    <a:lnTo>
                      <a:pt x="1272" y="0"/>
                    </a:lnTo>
                    <a:lnTo>
                      <a:pt x="1064" y="110"/>
                    </a:lnTo>
                    <a:lnTo>
                      <a:pt x="962" y="190"/>
                    </a:lnTo>
                    <a:lnTo>
                      <a:pt x="792" y="156"/>
                    </a:lnTo>
                    <a:lnTo>
                      <a:pt x="768" y="496"/>
                    </a:lnTo>
                    <a:lnTo>
                      <a:pt x="516" y="414"/>
                    </a:lnTo>
                    <a:lnTo>
                      <a:pt x="520" y="490"/>
                    </a:lnTo>
                    <a:lnTo>
                      <a:pt x="214" y="354"/>
                    </a:lnTo>
                    <a:lnTo>
                      <a:pt x="302" y="410"/>
                    </a:lnTo>
                    <a:lnTo>
                      <a:pt x="462" y="162"/>
                    </a:lnTo>
                    <a:lnTo>
                      <a:pt x="240" y="238"/>
                    </a:lnTo>
                    <a:lnTo>
                      <a:pt x="598" y="160"/>
                    </a:lnTo>
                    <a:lnTo>
                      <a:pt x="376" y="280"/>
                    </a:lnTo>
                    <a:lnTo>
                      <a:pt x="594" y="500"/>
                    </a:lnTo>
                    <a:lnTo>
                      <a:pt x="922" y="130"/>
                    </a:lnTo>
                    <a:lnTo>
                      <a:pt x="1072" y="190"/>
                    </a:lnTo>
                    <a:lnTo>
                      <a:pt x="998" y="264"/>
                    </a:lnTo>
                    <a:lnTo>
                      <a:pt x="700" y="256"/>
                    </a:lnTo>
                    <a:lnTo>
                      <a:pt x="838" y="80"/>
                    </a:lnTo>
                    <a:lnTo>
                      <a:pt x="854" y="432"/>
                    </a:lnTo>
                    <a:lnTo>
                      <a:pt x="808" y="550"/>
                    </a:lnTo>
                    <a:lnTo>
                      <a:pt x="690" y="605"/>
                    </a:lnTo>
                    <a:lnTo>
                      <a:pt x="536" y="570"/>
                    </a:lnTo>
                    <a:lnTo>
                      <a:pt x="504" y="1019"/>
                    </a:lnTo>
                    <a:lnTo>
                      <a:pt x="330" y="649"/>
                    </a:lnTo>
                    <a:lnTo>
                      <a:pt x="476" y="747"/>
                    </a:lnTo>
                    <a:lnTo>
                      <a:pt x="436" y="927"/>
                    </a:lnTo>
                    <a:lnTo>
                      <a:pt x="838" y="933"/>
                    </a:lnTo>
                    <a:lnTo>
                      <a:pt x="764" y="963"/>
                    </a:lnTo>
                    <a:lnTo>
                      <a:pt x="640" y="843"/>
                    </a:lnTo>
                    <a:lnTo>
                      <a:pt x="246" y="1141"/>
                    </a:lnTo>
                    <a:lnTo>
                      <a:pt x="0" y="771"/>
                    </a:lnTo>
                    <a:lnTo>
                      <a:pt x="500" y="801"/>
                    </a:lnTo>
                    <a:lnTo>
                      <a:pt x="284" y="843"/>
                    </a:lnTo>
                    <a:lnTo>
                      <a:pt x="368" y="1471"/>
                    </a:lnTo>
                    <a:lnTo>
                      <a:pt x="306" y="1389"/>
                    </a:lnTo>
                    <a:lnTo>
                      <a:pt x="614" y="1061"/>
                    </a:lnTo>
                    <a:lnTo>
                      <a:pt x="878" y="1341"/>
                    </a:lnTo>
                    <a:lnTo>
                      <a:pt x="664" y="717"/>
                    </a:lnTo>
                    <a:lnTo>
                      <a:pt x="982" y="615"/>
                    </a:lnTo>
                    <a:lnTo>
                      <a:pt x="976" y="532"/>
                    </a:lnTo>
                    <a:lnTo>
                      <a:pt x="944" y="532"/>
                    </a:lnTo>
                    <a:lnTo>
                      <a:pt x="974" y="418"/>
                    </a:lnTo>
                    <a:lnTo>
                      <a:pt x="948" y="382"/>
                    </a:lnTo>
                    <a:lnTo>
                      <a:pt x="1022" y="42"/>
                    </a:lnTo>
                    <a:lnTo>
                      <a:pt x="1266" y="52"/>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62" name="Freeform 10">
                <a:extLst>
                  <a:ext uri="{FF2B5EF4-FFF2-40B4-BE49-F238E27FC236}">
                    <a16:creationId xmlns:a16="http://schemas.microsoft.com/office/drawing/2014/main" id="{AB0A6FCC-50AF-4540-8579-2118A6AB4B9C}"/>
                  </a:ext>
                </a:extLst>
              </p:cNvPr>
              <p:cNvSpPr>
                <a:spLocks/>
              </p:cNvSpPr>
              <p:nvPr/>
            </p:nvSpPr>
            <p:spPr bwMode="auto">
              <a:xfrm>
                <a:off x="2013" y="624"/>
                <a:ext cx="460" cy="747"/>
              </a:xfrm>
              <a:custGeom>
                <a:avLst/>
                <a:gdLst>
                  <a:gd name="T0" fmla="*/ 6 w 460"/>
                  <a:gd name="T1" fmla="*/ 0 h 747"/>
                  <a:gd name="T2" fmla="*/ 312 w 460"/>
                  <a:gd name="T3" fmla="*/ 134 h 747"/>
                  <a:gd name="T4" fmla="*/ 0 w 460"/>
                  <a:gd name="T5" fmla="*/ 94 h 747"/>
                  <a:gd name="T6" fmla="*/ 214 w 460"/>
                  <a:gd name="T7" fmla="*/ 72 h 747"/>
                  <a:gd name="T8" fmla="*/ 336 w 460"/>
                  <a:gd name="T9" fmla="*/ 349 h 747"/>
                  <a:gd name="T10" fmla="*/ 380 w 460"/>
                  <a:gd name="T11" fmla="*/ 223 h 747"/>
                  <a:gd name="T12" fmla="*/ 174 w 460"/>
                  <a:gd name="T13" fmla="*/ 449 h 747"/>
                  <a:gd name="T14" fmla="*/ 460 w 460"/>
                  <a:gd name="T15" fmla="*/ 747 h 747"/>
                  <a:gd name="T16" fmla="*/ 334 w 460"/>
                  <a:gd name="T17" fmla="*/ 535 h 747"/>
                  <a:gd name="T18" fmla="*/ 398 w 460"/>
                  <a:gd name="T19" fmla="*/ 469 h 747"/>
                  <a:gd name="T20" fmla="*/ 184 w 460"/>
                  <a:gd name="T21" fmla="*/ 591 h 747"/>
                  <a:gd name="T22" fmla="*/ 280 w 460"/>
                  <a:gd name="T23" fmla="*/ 383 h 747"/>
                  <a:gd name="T24" fmla="*/ 242 w 460"/>
                  <a:gd name="T25" fmla="*/ 289 h 747"/>
                  <a:gd name="T26" fmla="*/ 404 w 460"/>
                  <a:gd name="T27" fmla="*/ 297 h 747"/>
                  <a:gd name="T28" fmla="*/ 244 w 460"/>
                  <a:gd name="T29" fmla="*/ 112 h 747"/>
                  <a:gd name="T30" fmla="*/ 250 w 460"/>
                  <a:gd name="T31" fmla="*/ 172 h 747"/>
                  <a:gd name="T32" fmla="*/ 128 w 460"/>
                  <a:gd name="T33" fmla="*/ 132 h 747"/>
                  <a:gd name="T34" fmla="*/ 164 w 460"/>
                  <a:gd name="T35" fmla="*/ 126 h 747"/>
                  <a:gd name="T36" fmla="*/ 6 w 460"/>
                  <a:gd name="T37" fmla="*/ 0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0" h="747">
                    <a:moveTo>
                      <a:pt x="6" y="0"/>
                    </a:moveTo>
                    <a:lnTo>
                      <a:pt x="312" y="134"/>
                    </a:lnTo>
                    <a:lnTo>
                      <a:pt x="0" y="94"/>
                    </a:lnTo>
                    <a:lnTo>
                      <a:pt x="214" y="72"/>
                    </a:lnTo>
                    <a:lnTo>
                      <a:pt x="336" y="349"/>
                    </a:lnTo>
                    <a:lnTo>
                      <a:pt x="380" y="223"/>
                    </a:lnTo>
                    <a:lnTo>
                      <a:pt x="174" y="449"/>
                    </a:lnTo>
                    <a:lnTo>
                      <a:pt x="460" y="747"/>
                    </a:lnTo>
                    <a:lnTo>
                      <a:pt x="334" y="535"/>
                    </a:lnTo>
                    <a:lnTo>
                      <a:pt x="398" y="469"/>
                    </a:lnTo>
                    <a:lnTo>
                      <a:pt x="184" y="591"/>
                    </a:lnTo>
                    <a:lnTo>
                      <a:pt x="280" y="383"/>
                    </a:lnTo>
                    <a:lnTo>
                      <a:pt x="242" y="289"/>
                    </a:lnTo>
                    <a:lnTo>
                      <a:pt x="404" y="297"/>
                    </a:lnTo>
                    <a:lnTo>
                      <a:pt x="244" y="112"/>
                    </a:lnTo>
                    <a:lnTo>
                      <a:pt x="250" y="172"/>
                    </a:lnTo>
                    <a:lnTo>
                      <a:pt x="128" y="132"/>
                    </a:lnTo>
                    <a:lnTo>
                      <a:pt x="164" y="126"/>
                    </a:lnTo>
                    <a:lnTo>
                      <a:pt x="6" y="0"/>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63" name="Freeform 11">
                <a:extLst>
                  <a:ext uri="{FF2B5EF4-FFF2-40B4-BE49-F238E27FC236}">
                    <a16:creationId xmlns:a16="http://schemas.microsoft.com/office/drawing/2014/main" id="{2F185DA3-3003-4523-B628-0794E1C3926A}"/>
                  </a:ext>
                </a:extLst>
              </p:cNvPr>
              <p:cNvSpPr>
                <a:spLocks/>
              </p:cNvSpPr>
              <p:nvPr/>
            </p:nvSpPr>
            <p:spPr bwMode="auto">
              <a:xfrm>
                <a:off x="1363" y="1161"/>
                <a:ext cx="1102" cy="877"/>
              </a:xfrm>
              <a:custGeom>
                <a:avLst/>
                <a:gdLst>
                  <a:gd name="T0" fmla="*/ 992 w 1102"/>
                  <a:gd name="T1" fmla="*/ 0 h 877"/>
                  <a:gd name="T2" fmla="*/ 1102 w 1102"/>
                  <a:gd name="T3" fmla="*/ 80 h 877"/>
                  <a:gd name="T4" fmla="*/ 872 w 1102"/>
                  <a:gd name="T5" fmla="*/ 334 h 877"/>
                  <a:gd name="T6" fmla="*/ 756 w 1102"/>
                  <a:gd name="T7" fmla="*/ 272 h 877"/>
                  <a:gd name="T8" fmla="*/ 790 w 1102"/>
                  <a:gd name="T9" fmla="*/ 158 h 877"/>
                  <a:gd name="T10" fmla="*/ 992 w 1102"/>
                  <a:gd name="T11" fmla="*/ 256 h 877"/>
                  <a:gd name="T12" fmla="*/ 908 w 1102"/>
                  <a:gd name="T13" fmla="*/ 360 h 877"/>
                  <a:gd name="T14" fmla="*/ 554 w 1102"/>
                  <a:gd name="T15" fmla="*/ 378 h 877"/>
                  <a:gd name="T16" fmla="*/ 656 w 1102"/>
                  <a:gd name="T17" fmla="*/ 276 h 877"/>
                  <a:gd name="T18" fmla="*/ 760 w 1102"/>
                  <a:gd name="T19" fmla="*/ 686 h 877"/>
                  <a:gd name="T20" fmla="*/ 366 w 1102"/>
                  <a:gd name="T21" fmla="*/ 512 h 877"/>
                  <a:gd name="T22" fmla="*/ 344 w 1102"/>
                  <a:gd name="T23" fmla="*/ 400 h 877"/>
                  <a:gd name="T24" fmla="*/ 0 w 1102"/>
                  <a:gd name="T25" fmla="*/ 676 h 877"/>
                  <a:gd name="T26" fmla="*/ 326 w 1102"/>
                  <a:gd name="T27" fmla="*/ 648 h 877"/>
                  <a:gd name="T28" fmla="*/ 224 w 1102"/>
                  <a:gd name="T29" fmla="*/ 877 h 877"/>
                  <a:gd name="T30" fmla="*/ 278 w 1102"/>
                  <a:gd name="T31" fmla="*/ 272 h 877"/>
                  <a:gd name="T32" fmla="*/ 446 w 1102"/>
                  <a:gd name="T33" fmla="*/ 272 h 877"/>
                  <a:gd name="T34" fmla="*/ 408 w 1102"/>
                  <a:gd name="T35" fmla="*/ 450 h 877"/>
                  <a:gd name="T36" fmla="*/ 590 w 1102"/>
                  <a:gd name="T37" fmla="*/ 558 h 877"/>
                  <a:gd name="T38" fmla="*/ 962 w 1102"/>
                  <a:gd name="T39" fmla="*/ 136 h 877"/>
                  <a:gd name="T40" fmla="*/ 992 w 1102"/>
                  <a:gd name="T41" fmla="*/ 0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02" h="877">
                    <a:moveTo>
                      <a:pt x="992" y="0"/>
                    </a:moveTo>
                    <a:lnTo>
                      <a:pt x="1102" y="80"/>
                    </a:lnTo>
                    <a:lnTo>
                      <a:pt x="872" y="334"/>
                    </a:lnTo>
                    <a:lnTo>
                      <a:pt x="756" y="272"/>
                    </a:lnTo>
                    <a:lnTo>
                      <a:pt x="790" y="158"/>
                    </a:lnTo>
                    <a:lnTo>
                      <a:pt x="992" y="256"/>
                    </a:lnTo>
                    <a:lnTo>
                      <a:pt x="908" y="360"/>
                    </a:lnTo>
                    <a:lnTo>
                      <a:pt x="554" y="378"/>
                    </a:lnTo>
                    <a:lnTo>
                      <a:pt x="656" y="276"/>
                    </a:lnTo>
                    <a:lnTo>
                      <a:pt x="760" y="686"/>
                    </a:lnTo>
                    <a:lnTo>
                      <a:pt x="366" y="512"/>
                    </a:lnTo>
                    <a:lnTo>
                      <a:pt x="344" y="400"/>
                    </a:lnTo>
                    <a:lnTo>
                      <a:pt x="0" y="676"/>
                    </a:lnTo>
                    <a:lnTo>
                      <a:pt x="326" y="648"/>
                    </a:lnTo>
                    <a:lnTo>
                      <a:pt x="224" y="877"/>
                    </a:lnTo>
                    <a:lnTo>
                      <a:pt x="278" y="272"/>
                    </a:lnTo>
                    <a:lnTo>
                      <a:pt x="446" y="272"/>
                    </a:lnTo>
                    <a:lnTo>
                      <a:pt x="408" y="450"/>
                    </a:lnTo>
                    <a:lnTo>
                      <a:pt x="590" y="558"/>
                    </a:lnTo>
                    <a:lnTo>
                      <a:pt x="962" y="136"/>
                    </a:lnTo>
                    <a:lnTo>
                      <a:pt x="992" y="0"/>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grpSp>
        <p:grpSp>
          <p:nvGrpSpPr>
            <p:cNvPr id="944" name="Map outlines">
              <a:extLst>
                <a:ext uri="{FF2B5EF4-FFF2-40B4-BE49-F238E27FC236}">
                  <a16:creationId xmlns:a16="http://schemas.microsoft.com/office/drawing/2014/main" id="{2A05BC95-EA0D-45D6-A749-DEB72D894DBC}"/>
                </a:ext>
              </a:extLst>
            </p:cNvPr>
            <p:cNvGrpSpPr/>
            <p:nvPr/>
          </p:nvGrpSpPr>
          <p:grpSpPr>
            <a:xfrm>
              <a:off x="3228730" y="472178"/>
              <a:ext cx="8125071" cy="6044410"/>
              <a:chOff x="3238834" y="482615"/>
              <a:chExt cx="8096367" cy="6023059"/>
            </a:xfrm>
            <a:noFill/>
          </p:grpSpPr>
          <p:sp>
            <p:nvSpPr>
              <p:cNvPr id="945" name="Freeform: Shape 944">
                <a:extLst>
                  <a:ext uri="{FF2B5EF4-FFF2-40B4-BE49-F238E27FC236}">
                    <a16:creationId xmlns:a16="http://schemas.microsoft.com/office/drawing/2014/main" id="{819A7590-BF4F-415B-A5FF-843A89A08DF0}"/>
                  </a:ext>
                </a:extLst>
              </p:cNvPr>
              <p:cNvSpPr/>
              <p:nvPr/>
            </p:nvSpPr>
            <p:spPr>
              <a:xfrm>
                <a:off x="9698082" y="2128229"/>
                <a:ext cx="467343" cy="849714"/>
              </a:xfrm>
              <a:custGeom>
                <a:avLst/>
                <a:gdLst>
                  <a:gd name="connsiteX0" fmla="*/ 254207 w 467343"/>
                  <a:gd name="connsiteY0" fmla="*/ 772532 h 849714"/>
                  <a:gd name="connsiteX1" fmla="*/ 189062 w 467343"/>
                  <a:gd name="connsiteY1" fmla="*/ 731463 h 849714"/>
                  <a:gd name="connsiteX2" fmla="*/ 189062 w 467343"/>
                  <a:gd name="connsiteY2" fmla="*/ 731463 h 849714"/>
                  <a:gd name="connsiteX3" fmla="*/ 12038 w 467343"/>
                  <a:gd name="connsiteY3" fmla="*/ 847590 h 849714"/>
                  <a:gd name="connsiteX4" fmla="*/ 10621 w 467343"/>
                  <a:gd name="connsiteY4" fmla="*/ 847590 h 849714"/>
                  <a:gd name="connsiteX5" fmla="*/ 114004 w 467343"/>
                  <a:gd name="connsiteY5" fmla="*/ 829180 h 849714"/>
                  <a:gd name="connsiteX6" fmla="*/ 254207 w 467343"/>
                  <a:gd name="connsiteY6" fmla="*/ 773948 h 849714"/>
                  <a:gd name="connsiteX7" fmla="*/ 259872 w 467343"/>
                  <a:gd name="connsiteY7" fmla="*/ 778197 h 849714"/>
                  <a:gd name="connsiteX8" fmla="*/ 262704 w 467343"/>
                  <a:gd name="connsiteY8" fmla="*/ 771116 h 849714"/>
                  <a:gd name="connsiteX9" fmla="*/ 337762 w 467343"/>
                  <a:gd name="connsiteY9" fmla="*/ 741376 h 849714"/>
                  <a:gd name="connsiteX10" fmla="*/ 337762 w 467343"/>
                  <a:gd name="connsiteY10" fmla="*/ 741376 h 849714"/>
                  <a:gd name="connsiteX11" fmla="*/ 364669 w 467343"/>
                  <a:gd name="connsiteY11" fmla="*/ 536028 h 849714"/>
                  <a:gd name="connsiteX12" fmla="*/ 459554 w 467343"/>
                  <a:gd name="connsiteY12" fmla="*/ 421317 h 849714"/>
                  <a:gd name="connsiteX13" fmla="*/ 449641 w 467343"/>
                  <a:gd name="connsiteY13" fmla="*/ 378831 h 849714"/>
                  <a:gd name="connsiteX14" fmla="*/ 449641 w 467343"/>
                  <a:gd name="connsiteY14" fmla="*/ 378831 h 849714"/>
                  <a:gd name="connsiteX15" fmla="*/ 377415 w 467343"/>
                  <a:gd name="connsiteY15" fmla="*/ 394409 h 849714"/>
                  <a:gd name="connsiteX16" fmla="*/ 436896 w 467343"/>
                  <a:gd name="connsiteY16" fmla="*/ 244293 h 849714"/>
                  <a:gd name="connsiteX17" fmla="*/ 436896 w 467343"/>
                  <a:gd name="connsiteY17" fmla="*/ 244293 h 849714"/>
                  <a:gd name="connsiteX18" fmla="*/ 405739 w 467343"/>
                  <a:gd name="connsiteY18" fmla="*/ 123917 h 849714"/>
                  <a:gd name="connsiteX19" fmla="*/ 412820 w 467343"/>
                  <a:gd name="connsiteY19" fmla="*/ 10621 h 849714"/>
                  <a:gd name="connsiteX20" fmla="*/ 412820 w 467343"/>
                  <a:gd name="connsiteY20" fmla="*/ 10621 h 849714"/>
                  <a:gd name="connsiteX21" fmla="*/ 411404 w 467343"/>
                  <a:gd name="connsiteY21" fmla="*/ 10621 h 849714"/>
                  <a:gd name="connsiteX22" fmla="*/ 411404 w 467343"/>
                  <a:gd name="connsiteY22" fmla="*/ 10621 h 849714"/>
                  <a:gd name="connsiteX23" fmla="*/ 404323 w 467343"/>
                  <a:gd name="connsiteY23" fmla="*/ 123917 h 849714"/>
                  <a:gd name="connsiteX24" fmla="*/ 435479 w 467343"/>
                  <a:gd name="connsiteY24" fmla="*/ 244293 h 849714"/>
                  <a:gd name="connsiteX25" fmla="*/ 374583 w 467343"/>
                  <a:gd name="connsiteY25" fmla="*/ 395825 h 849714"/>
                  <a:gd name="connsiteX26" fmla="*/ 374583 w 467343"/>
                  <a:gd name="connsiteY26" fmla="*/ 395825 h 849714"/>
                  <a:gd name="connsiteX27" fmla="*/ 448225 w 467343"/>
                  <a:gd name="connsiteY27" fmla="*/ 380247 h 849714"/>
                  <a:gd name="connsiteX28" fmla="*/ 458138 w 467343"/>
                  <a:gd name="connsiteY28" fmla="*/ 419901 h 849714"/>
                  <a:gd name="connsiteX29" fmla="*/ 366086 w 467343"/>
                  <a:gd name="connsiteY29" fmla="*/ 530364 h 849714"/>
                  <a:gd name="connsiteX30" fmla="*/ 383080 w 467343"/>
                  <a:gd name="connsiteY30" fmla="*/ 401490 h 849714"/>
                  <a:gd name="connsiteX31" fmla="*/ 383080 w 467343"/>
                  <a:gd name="connsiteY31" fmla="*/ 401490 h 849714"/>
                  <a:gd name="connsiteX32" fmla="*/ 381664 w 467343"/>
                  <a:gd name="connsiteY32" fmla="*/ 401490 h 849714"/>
                  <a:gd name="connsiteX33" fmla="*/ 323600 w 467343"/>
                  <a:gd name="connsiteY33" fmla="*/ 585595 h 849714"/>
                  <a:gd name="connsiteX34" fmla="*/ 323600 w 467343"/>
                  <a:gd name="connsiteY34" fmla="*/ 587011 h 849714"/>
                  <a:gd name="connsiteX35" fmla="*/ 364669 w 467343"/>
                  <a:gd name="connsiteY35" fmla="*/ 537445 h 849714"/>
                  <a:gd name="connsiteX36" fmla="*/ 339178 w 467343"/>
                  <a:gd name="connsiteY36" fmla="*/ 738544 h 849714"/>
                  <a:gd name="connsiteX37" fmla="*/ 266953 w 467343"/>
                  <a:gd name="connsiteY37" fmla="*/ 766867 h 849714"/>
                  <a:gd name="connsiteX38" fmla="*/ 336345 w 467343"/>
                  <a:gd name="connsiteY38" fmla="*/ 584179 h 849714"/>
                  <a:gd name="connsiteX39" fmla="*/ 336345 w 467343"/>
                  <a:gd name="connsiteY39" fmla="*/ 582763 h 849714"/>
                  <a:gd name="connsiteX40" fmla="*/ 218802 w 467343"/>
                  <a:gd name="connsiteY40" fmla="*/ 693225 h 849714"/>
                  <a:gd name="connsiteX41" fmla="*/ 218802 w 467343"/>
                  <a:gd name="connsiteY41" fmla="*/ 693225 h 849714"/>
                  <a:gd name="connsiteX42" fmla="*/ 220218 w 467343"/>
                  <a:gd name="connsiteY42" fmla="*/ 694642 h 849714"/>
                  <a:gd name="connsiteX43" fmla="*/ 332097 w 467343"/>
                  <a:gd name="connsiteY43" fmla="*/ 589844 h 849714"/>
                  <a:gd name="connsiteX44" fmla="*/ 264120 w 467343"/>
                  <a:gd name="connsiteY44" fmla="*/ 766867 h 849714"/>
                  <a:gd name="connsiteX45" fmla="*/ 254207 w 467343"/>
                  <a:gd name="connsiteY45" fmla="*/ 772532 h 849714"/>
                  <a:gd name="connsiteX46" fmla="*/ 20535 w 467343"/>
                  <a:gd name="connsiteY46" fmla="*/ 844758 h 849714"/>
                  <a:gd name="connsiteX47" fmla="*/ 189062 w 467343"/>
                  <a:gd name="connsiteY47" fmla="*/ 734295 h 849714"/>
                  <a:gd name="connsiteX48" fmla="*/ 252791 w 467343"/>
                  <a:gd name="connsiteY48" fmla="*/ 773948 h 849714"/>
                  <a:gd name="connsiteX49" fmla="*/ 114004 w 467343"/>
                  <a:gd name="connsiteY49" fmla="*/ 829180 h 849714"/>
                  <a:gd name="connsiteX50" fmla="*/ 20535 w 467343"/>
                  <a:gd name="connsiteY50" fmla="*/ 844758 h 849714"/>
                  <a:gd name="connsiteX51" fmla="*/ 326433 w 467343"/>
                  <a:gd name="connsiteY51" fmla="*/ 578514 h 849714"/>
                  <a:gd name="connsiteX52" fmla="*/ 377415 w 467343"/>
                  <a:gd name="connsiteY52" fmla="*/ 415652 h 849714"/>
                  <a:gd name="connsiteX53" fmla="*/ 361838 w 467343"/>
                  <a:gd name="connsiteY53" fmla="*/ 536028 h 849714"/>
                  <a:gd name="connsiteX54" fmla="*/ 326433 w 467343"/>
                  <a:gd name="connsiteY54" fmla="*/ 578514 h 8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67343" h="849714">
                    <a:moveTo>
                      <a:pt x="254207" y="772532"/>
                    </a:moveTo>
                    <a:lnTo>
                      <a:pt x="189062" y="731463"/>
                    </a:lnTo>
                    <a:lnTo>
                      <a:pt x="189062" y="731463"/>
                    </a:lnTo>
                    <a:lnTo>
                      <a:pt x="12038" y="847590"/>
                    </a:lnTo>
                    <a:lnTo>
                      <a:pt x="10621" y="847590"/>
                    </a:lnTo>
                    <a:lnTo>
                      <a:pt x="114004" y="829180"/>
                    </a:lnTo>
                    <a:lnTo>
                      <a:pt x="254207" y="773948"/>
                    </a:lnTo>
                    <a:lnTo>
                      <a:pt x="259872" y="778197"/>
                    </a:lnTo>
                    <a:lnTo>
                      <a:pt x="262704" y="771116"/>
                    </a:lnTo>
                    <a:lnTo>
                      <a:pt x="337762" y="741376"/>
                    </a:lnTo>
                    <a:lnTo>
                      <a:pt x="337762" y="741376"/>
                    </a:lnTo>
                    <a:lnTo>
                      <a:pt x="364669" y="536028"/>
                    </a:lnTo>
                    <a:lnTo>
                      <a:pt x="459554" y="421317"/>
                    </a:lnTo>
                    <a:lnTo>
                      <a:pt x="449641" y="378831"/>
                    </a:lnTo>
                    <a:lnTo>
                      <a:pt x="449641" y="378831"/>
                    </a:lnTo>
                    <a:lnTo>
                      <a:pt x="377415" y="394409"/>
                    </a:lnTo>
                    <a:lnTo>
                      <a:pt x="436896" y="244293"/>
                    </a:lnTo>
                    <a:lnTo>
                      <a:pt x="436896" y="244293"/>
                    </a:lnTo>
                    <a:lnTo>
                      <a:pt x="405739" y="123917"/>
                    </a:lnTo>
                    <a:lnTo>
                      <a:pt x="412820" y="10621"/>
                    </a:lnTo>
                    <a:lnTo>
                      <a:pt x="412820" y="10621"/>
                    </a:lnTo>
                    <a:lnTo>
                      <a:pt x="411404" y="10621"/>
                    </a:lnTo>
                    <a:lnTo>
                      <a:pt x="411404" y="10621"/>
                    </a:lnTo>
                    <a:lnTo>
                      <a:pt x="404323" y="123917"/>
                    </a:lnTo>
                    <a:lnTo>
                      <a:pt x="435479" y="244293"/>
                    </a:lnTo>
                    <a:lnTo>
                      <a:pt x="374583" y="395825"/>
                    </a:lnTo>
                    <a:lnTo>
                      <a:pt x="374583" y="395825"/>
                    </a:lnTo>
                    <a:lnTo>
                      <a:pt x="448225" y="380247"/>
                    </a:lnTo>
                    <a:lnTo>
                      <a:pt x="458138" y="419901"/>
                    </a:lnTo>
                    <a:lnTo>
                      <a:pt x="366086" y="530364"/>
                    </a:lnTo>
                    <a:lnTo>
                      <a:pt x="383080" y="401490"/>
                    </a:lnTo>
                    <a:lnTo>
                      <a:pt x="383080" y="401490"/>
                    </a:lnTo>
                    <a:lnTo>
                      <a:pt x="381664" y="401490"/>
                    </a:lnTo>
                    <a:lnTo>
                      <a:pt x="323600" y="585595"/>
                    </a:lnTo>
                    <a:lnTo>
                      <a:pt x="323600" y="587011"/>
                    </a:lnTo>
                    <a:lnTo>
                      <a:pt x="364669" y="537445"/>
                    </a:lnTo>
                    <a:lnTo>
                      <a:pt x="339178" y="738544"/>
                    </a:lnTo>
                    <a:lnTo>
                      <a:pt x="266953" y="766867"/>
                    </a:lnTo>
                    <a:lnTo>
                      <a:pt x="336345" y="584179"/>
                    </a:lnTo>
                    <a:lnTo>
                      <a:pt x="336345" y="582763"/>
                    </a:lnTo>
                    <a:lnTo>
                      <a:pt x="218802" y="693225"/>
                    </a:lnTo>
                    <a:lnTo>
                      <a:pt x="218802" y="693225"/>
                    </a:lnTo>
                    <a:lnTo>
                      <a:pt x="220218" y="694642"/>
                    </a:lnTo>
                    <a:lnTo>
                      <a:pt x="332097" y="589844"/>
                    </a:lnTo>
                    <a:lnTo>
                      <a:pt x="264120" y="766867"/>
                    </a:lnTo>
                    <a:lnTo>
                      <a:pt x="254207" y="772532"/>
                    </a:lnTo>
                    <a:close/>
                    <a:moveTo>
                      <a:pt x="20535" y="844758"/>
                    </a:moveTo>
                    <a:lnTo>
                      <a:pt x="189062" y="734295"/>
                    </a:lnTo>
                    <a:lnTo>
                      <a:pt x="252791" y="773948"/>
                    </a:lnTo>
                    <a:lnTo>
                      <a:pt x="114004" y="829180"/>
                    </a:lnTo>
                    <a:lnTo>
                      <a:pt x="20535" y="844758"/>
                    </a:lnTo>
                    <a:close/>
                    <a:moveTo>
                      <a:pt x="326433" y="578514"/>
                    </a:moveTo>
                    <a:lnTo>
                      <a:pt x="377415" y="415652"/>
                    </a:lnTo>
                    <a:lnTo>
                      <a:pt x="361838" y="536028"/>
                    </a:lnTo>
                    <a:lnTo>
                      <a:pt x="326433" y="578514"/>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46" name="Freeform: Shape 945">
                <a:extLst>
                  <a:ext uri="{FF2B5EF4-FFF2-40B4-BE49-F238E27FC236}">
                    <a16:creationId xmlns:a16="http://schemas.microsoft.com/office/drawing/2014/main" id="{2D56A69C-D910-4F59-B17D-6831886C64D8}"/>
                  </a:ext>
                </a:extLst>
              </p:cNvPr>
              <p:cNvSpPr/>
              <p:nvPr/>
            </p:nvSpPr>
            <p:spPr>
              <a:xfrm>
                <a:off x="10845197" y="5620555"/>
                <a:ext cx="325724" cy="509829"/>
              </a:xfrm>
              <a:custGeom>
                <a:avLst/>
                <a:gdLst>
                  <a:gd name="connsiteX0" fmla="*/ 320768 w 325724"/>
                  <a:gd name="connsiteY0" fmla="*/ 162154 h 509828"/>
                  <a:gd name="connsiteX1" fmla="*/ 227299 w 325724"/>
                  <a:gd name="connsiteY1" fmla="*/ 210304 h 509828"/>
                  <a:gd name="connsiteX2" fmla="*/ 200391 w 325724"/>
                  <a:gd name="connsiteY2" fmla="*/ 187645 h 509828"/>
                  <a:gd name="connsiteX3" fmla="*/ 319352 w 325724"/>
                  <a:gd name="connsiteY3" fmla="*/ 159321 h 509828"/>
                  <a:gd name="connsiteX4" fmla="*/ 319352 w 325724"/>
                  <a:gd name="connsiteY4" fmla="*/ 159321 h 509828"/>
                  <a:gd name="connsiteX5" fmla="*/ 184814 w 325724"/>
                  <a:gd name="connsiteY5" fmla="*/ 10621 h 509828"/>
                  <a:gd name="connsiteX6" fmla="*/ 184814 w 325724"/>
                  <a:gd name="connsiteY6" fmla="*/ 10621 h 509828"/>
                  <a:gd name="connsiteX7" fmla="*/ 183397 w 325724"/>
                  <a:gd name="connsiteY7" fmla="*/ 12038 h 509828"/>
                  <a:gd name="connsiteX8" fmla="*/ 316519 w 325724"/>
                  <a:gd name="connsiteY8" fmla="*/ 159321 h 509828"/>
                  <a:gd name="connsiteX9" fmla="*/ 197559 w 325724"/>
                  <a:gd name="connsiteY9" fmla="*/ 187645 h 509828"/>
                  <a:gd name="connsiteX10" fmla="*/ 197559 w 325724"/>
                  <a:gd name="connsiteY10" fmla="*/ 187645 h 509828"/>
                  <a:gd name="connsiteX11" fmla="*/ 225883 w 325724"/>
                  <a:gd name="connsiteY11" fmla="*/ 211721 h 509828"/>
                  <a:gd name="connsiteX12" fmla="*/ 145160 w 325724"/>
                  <a:gd name="connsiteY12" fmla="*/ 254206 h 509828"/>
                  <a:gd name="connsiteX13" fmla="*/ 143744 w 325724"/>
                  <a:gd name="connsiteY13" fmla="*/ 254206 h 509828"/>
                  <a:gd name="connsiteX14" fmla="*/ 152241 w 325724"/>
                  <a:gd name="connsiteY14" fmla="*/ 252790 h 509828"/>
                  <a:gd name="connsiteX15" fmla="*/ 81431 w 325724"/>
                  <a:gd name="connsiteY15" fmla="*/ 378831 h 509828"/>
                  <a:gd name="connsiteX16" fmla="*/ 58772 w 325724"/>
                  <a:gd name="connsiteY16" fmla="*/ 400074 h 509828"/>
                  <a:gd name="connsiteX17" fmla="*/ 58772 w 325724"/>
                  <a:gd name="connsiteY17" fmla="*/ 400074 h 509828"/>
                  <a:gd name="connsiteX18" fmla="*/ 60188 w 325724"/>
                  <a:gd name="connsiteY18" fmla="*/ 401490 h 509828"/>
                  <a:gd name="connsiteX19" fmla="*/ 75767 w 325724"/>
                  <a:gd name="connsiteY19" fmla="*/ 390160 h 509828"/>
                  <a:gd name="connsiteX20" fmla="*/ 10621 w 325724"/>
                  <a:gd name="connsiteY20" fmla="*/ 504872 h 509828"/>
                  <a:gd name="connsiteX21" fmla="*/ 10621 w 325724"/>
                  <a:gd name="connsiteY21" fmla="*/ 504872 h 509828"/>
                  <a:gd name="connsiteX22" fmla="*/ 12038 w 325724"/>
                  <a:gd name="connsiteY22" fmla="*/ 506288 h 509828"/>
                  <a:gd name="connsiteX23" fmla="*/ 80015 w 325724"/>
                  <a:gd name="connsiteY23" fmla="*/ 387328 h 509828"/>
                  <a:gd name="connsiteX24" fmla="*/ 159322 w 325724"/>
                  <a:gd name="connsiteY24" fmla="*/ 327848 h 509828"/>
                  <a:gd name="connsiteX25" fmla="*/ 162154 w 325724"/>
                  <a:gd name="connsiteY25" fmla="*/ 351924 h 509828"/>
                  <a:gd name="connsiteX26" fmla="*/ 162154 w 325724"/>
                  <a:gd name="connsiteY26" fmla="*/ 351924 h 509828"/>
                  <a:gd name="connsiteX27" fmla="*/ 264120 w 325724"/>
                  <a:gd name="connsiteY27" fmla="*/ 249958 h 509828"/>
                  <a:gd name="connsiteX28" fmla="*/ 264120 w 325724"/>
                  <a:gd name="connsiteY28" fmla="*/ 249958 h 509828"/>
                  <a:gd name="connsiteX29" fmla="*/ 262704 w 325724"/>
                  <a:gd name="connsiteY29" fmla="*/ 248541 h 509828"/>
                  <a:gd name="connsiteX30" fmla="*/ 160738 w 325724"/>
                  <a:gd name="connsiteY30" fmla="*/ 325016 h 509828"/>
                  <a:gd name="connsiteX31" fmla="*/ 159322 w 325724"/>
                  <a:gd name="connsiteY31" fmla="*/ 312270 h 509828"/>
                  <a:gd name="connsiteX32" fmla="*/ 231548 w 325724"/>
                  <a:gd name="connsiteY32" fmla="*/ 247125 h 509828"/>
                  <a:gd name="connsiteX33" fmla="*/ 262704 w 325724"/>
                  <a:gd name="connsiteY33" fmla="*/ 244293 h 509828"/>
                  <a:gd name="connsiteX34" fmla="*/ 262704 w 325724"/>
                  <a:gd name="connsiteY34" fmla="*/ 244293 h 509828"/>
                  <a:gd name="connsiteX35" fmla="*/ 248542 w 325724"/>
                  <a:gd name="connsiteY35" fmla="*/ 231547 h 509828"/>
                  <a:gd name="connsiteX36" fmla="*/ 320768 w 325724"/>
                  <a:gd name="connsiteY36" fmla="*/ 166402 h 509828"/>
                  <a:gd name="connsiteX37" fmla="*/ 320768 w 325724"/>
                  <a:gd name="connsiteY37" fmla="*/ 166402 h 509828"/>
                  <a:gd name="connsiteX38" fmla="*/ 320768 w 325724"/>
                  <a:gd name="connsiteY38" fmla="*/ 162154 h 509828"/>
                  <a:gd name="connsiteX39" fmla="*/ 320768 w 325724"/>
                  <a:gd name="connsiteY39" fmla="*/ 162154 h 509828"/>
                  <a:gd name="connsiteX40" fmla="*/ 159322 w 325724"/>
                  <a:gd name="connsiteY40" fmla="*/ 308022 h 509828"/>
                  <a:gd name="connsiteX41" fmla="*/ 152241 w 325724"/>
                  <a:gd name="connsiteY41" fmla="*/ 252790 h 509828"/>
                  <a:gd name="connsiteX42" fmla="*/ 152241 w 325724"/>
                  <a:gd name="connsiteY42" fmla="*/ 252790 h 509828"/>
                  <a:gd name="connsiteX43" fmla="*/ 227299 w 325724"/>
                  <a:gd name="connsiteY43" fmla="*/ 245709 h 509828"/>
                  <a:gd name="connsiteX44" fmla="*/ 159322 w 325724"/>
                  <a:gd name="connsiteY44" fmla="*/ 308022 h 509828"/>
                  <a:gd name="connsiteX45" fmla="*/ 228715 w 325724"/>
                  <a:gd name="connsiteY45" fmla="*/ 211721 h 509828"/>
                  <a:gd name="connsiteX46" fmla="*/ 313687 w 325724"/>
                  <a:gd name="connsiteY46" fmla="*/ 167819 h 509828"/>
                  <a:gd name="connsiteX47" fmla="*/ 247126 w 325724"/>
                  <a:gd name="connsiteY47" fmla="*/ 227298 h 509828"/>
                  <a:gd name="connsiteX48" fmla="*/ 228715 w 325724"/>
                  <a:gd name="connsiteY48" fmla="*/ 211721 h 509828"/>
                  <a:gd name="connsiteX49" fmla="*/ 258455 w 325724"/>
                  <a:gd name="connsiteY49" fmla="*/ 240045 h 509828"/>
                  <a:gd name="connsiteX50" fmla="*/ 234380 w 325724"/>
                  <a:gd name="connsiteY50" fmla="*/ 242877 h 509828"/>
                  <a:gd name="connsiteX51" fmla="*/ 247126 w 325724"/>
                  <a:gd name="connsiteY51" fmla="*/ 231547 h 509828"/>
                  <a:gd name="connsiteX52" fmla="*/ 258455 w 325724"/>
                  <a:gd name="connsiteY52" fmla="*/ 240045 h 509828"/>
                  <a:gd name="connsiteX53" fmla="*/ 153657 w 325724"/>
                  <a:gd name="connsiteY53" fmla="*/ 251374 h 509828"/>
                  <a:gd name="connsiteX54" fmla="*/ 227299 w 325724"/>
                  <a:gd name="connsiteY54" fmla="*/ 213137 h 509828"/>
                  <a:gd name="connsiteX55" fmla="*/ 245710 w 325724"/>
                  <a:gd name="connsiteY55" fmla="*/ 230131 h 509828"/>
                  <a:gd name="connsiteX56" fmla="*/ 230131 w 325724"/>
                  <a:gd name="connsiteY56" fmla="*/ 244293 h 509828"/>
                  <a:gd name="connsiteX57" fmla="*/ 153657 w 325724"/>
                  <a:gd name="connsiteY57" fmla="*/ 251374 h 509828"/>
                  <a:gd name="connsiteX58" fmla="*/ 87096 w 325724"/>
                  <a:gd name="connsiteY58" fmla="*/ 374583 h 509828"/>
                  <a:gd name="connsiteX59" fmla="*/ 152241 w 325724"/>
                  <a:gd name="connsiteY59" fmla="*/ 259871 h 509828"/>
                  <a:gd name="connsiteX60" fmla="*/ 157906 w 325724"/>
                  <a:gd name="connsiteY60" fmla="*/ 310854 h 509828"/>
                  <a:gd name="connsiteX61" fmla="*/ 87096 w 325724"/>
                  <a:gd name="connsiteY61" fmla="*/ 374583 h 509828"/>
                  <a:gd name="connsiteX62" fmla="*/ 157906 w 325724"/>
                  <a:gd name="connsiteY62" fmla="*/ 312270 h 509828"/>
                  <a:gd name="connsiteX63" fmla="*/ 159322 w 325724"/>
                  <a:gd name="connsiteY63" fmla="*/ 325016 h 509828"/>
                  <a:gd name="connsiteX64" fmla="*/ 82848 w 325724"/>
                  <a:gd name="connsiteY64" fmla="*/ 381664 h 509828"/>
                  <a:gd name="connsiteX65" fmla="*/ 84264 w 325724"/>
                  <a:gd name="connsiteY65" fmla="*/ 380247 h 509828"/>
                  <a:gd name="connsiteX66" fmla="*/ 157906 w 325724"/>
                  <a:gd name="connsiteY66" fmla="*/ 312270 h 509828"/>
                  <a:gd name="connsiteX67" fmla="*/ 72934 w 325724"/>
                  <a:gd name="connsiteY67" fmla="*/ 388745 h 509828"/>
                  <a:gd name="connsiteX68" fmla="*/ 80015 w 325724"/>
                  <a:gd name="connsiteY68" fmla="*/ 383079 h 509828"/>
                  <a:gd name="connsiteX69" fmla="*/ 78599 w 325724"/>
                  <a:gd name="connsiteY69" fmla="*/ 384496 h 509828"/>
                  <a:gd name="connsiteX70" fmla="*/ 72934 w 325724"/>
                  <a:gd name="connsiteY70" fmla="*/ 388745 h 509828"/>
                  <a:gd name="connsiteX71" fmla="*/ 163571 w 325724"/>
                  <a:gd name="connsiteY71" fmla="*/ 346259 h 509828"/>
                  <a:gd name="connsiteX72" fmla="*/ 160738 w 325724"/>
                  <a:gd name="connsiteY72" fmla="*/ 325016 h 509828"/>
                  <a:gd name="connsiteX73" fmla="*/ 252791 w 325724"/>
                  <a:gd name="connsiteY73" fmla="*/ 257039 h 509828"/>
                  <a:gd name="connsiteX74" fmla="*/ 163571 w 325724"/>
                  <a:gd name="connsiteY74" fmla="*/ 346259 h 50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25724" h="509828">
                    <a:moveTo>
                      <a:pt x="320768" y="162154"/>
                    </a:moveTo>
                    <a:lnTo>
                      <a:pt x="227299" y="210304"/>
                    </a:lnTo>
                    <a:lnTo>
                      <a:pt x="200391" y="187645"/>
                    </a:lnTo>
                    <a:lnTo>
                      <a:pt x="319352" y="159321"/>
                    </a:lnTo>
                    <a:lnTo>
                      <a:pt x="319352" y="159321"/>
                    </a:lnTo>
                    <a:lnTo>
                      <a:pt x="184814" y="10621"/>
                    </a:lnTo>
                    <a:lnTo>
                      <a:pt x="184814" y="10621"/>
                    </a:lnTo>
                    <a:lnTo>
                      <a:pt x="183397" y="12038"/>
                    </a:lnTo>
                    <a:lnTo>
                      <a:pt x="316519" y="159321"/>
                    </a:lnTo>
                    <a:lnTo>
                      <a:pt x="197559" y="187645"/>
                    </a:lnTo>
                    <a:lnTo>
                      <a:pt x="197559" y="187645"/>
                    </a:lnTo>
                    <a:lnTo>
                      <a:pt x="225883" y="211721"/>
                    </a:lnTo>
                    <a:lnTo>
                      <a:pt x="145160" y="254206"/>
                    </a:lnTo>
                    <a:lnTo>
                      <a:pt x="143744" y="254206"/>
                    </a:lnTo>
                    <a:lnTo>
                      <a:pt x="152241" y="252790"/>
                    </a:lnTo>
                    <a:lnTo>
                      <a:pt x="81431" y="378831"/>
                    </a:lnTo>
                    <a:lnTo>
                      <a:pt x="58772" y="400074"/>
                    </a:lnTo>
                    <a:lnTo>
                      <a:pt x="58772" y="400074"/>
                    </a:lnTo>
                    <a:lnTo>
                      <a:pt x="60188" y="401490"/>
                    </a:lnTo>
                    <a:lnTo>
                      <a:pt x="75767" y="390160"/>
                    </a:lnTo>
                    <a:lnTo>
                      <a:pt x="10621" y="504872"/>
                    </a:lnTo>
                    <a:lnTo>
                      <a:pt x="10621" y="504872"/>
                    </a:lnTo>
                    <a:lnTo>
                      <a:pt x="12038" y="506288"/>
                    </a:lnTo>
                    <a:lnTo>
                      <a:pt x="80015" y="387328"/>
                    </a:lnTo>
                    <a:lnTo>
                      <a:pt x="159322" y="327848"/>
                    </a:lnTo>
                    <a:lnTo>
                      <a:pt x="162154" y="351924"/>
                    </a:lnTo>
                    <a:lnTo>
                      <a:pt x="162154" y="351924"/>
                    </a:lnTo>
                    <a:lnTo>
                      <a:pt x="264120" y="249958"/>
                    </a:lnTo>
                    <a:lnTo>
                      <a:pt x="264120" y="249958"/>
                    </a:lnTo>
                    <a:lnTo>
                      <a:pt x="262704" y="248541"/>
                    </a:lnTo>
                    <a:lnTo>
                      <a:pt x="160738" y="325016"/>
                    </a:lnTo>
                    <a:lnTo>
                      <a:pt x="159322" y="312270"/>
                    </a:lnTo>
                    <a:lnTo>
                      <a:pt x="231548" y="247125"/>
                    </a:lnTo>
                    <a:lnTo>
                      <a:pt x="262704" y="244293"/>
                    </a:lnTo>
                    <a:lnTo>
                      <a:pt x="262704" y="244293"/>
                    </a:lnTo>
                    <a:lnTo>
                      <a:pt x="248542" y="231547"/>
                    </a:lnTo>
                    <a:lnTo>
                      <a:pt x="320768" y="166402"/>
                    </a:lnTo>
                    <a:lnTo>
                      <a:pt x="320768" y="166402"/>
                    </a:lnTo>
                    <a:lnTo>
                      <a:pt x="320768" y="162154"/>
                    </a:lnTo>
                    <a:lnTo>
                      <a:pt x="320768" y="162154"/>
                    </a:lnTo>
                    <a:close/>
                    <a:moveTo>
                      <a:pt x="159322" y="308022"/>
                    </a:moveTo>
                    <a:lnTo>
                      <a:pt x="152241" y="252790"/>
                    </a:lnTo>
                    <a:lnTo>
                      <a:pt x="152241" y="252790"/>
                    </a:lnTo>
                    <a:lnTo>
                      <a:pt x="227299" y="245709"/>
                    </a:lnTo>
                    <a:lnTo>
                      <a:pt x="159322" y="308022"/>
                    </a:lnTo>
                    <a:close/>
                    <a:moveTo>
                      <a:pt x="228715" y="211721"/>
                    </a:moveTo>
                    <a:lnTo>
                      <a:pt x="313687" y="167819"/>
                    </a:lnTo>
                    <a:lnTo>
                      <a:pt x="247126" y="227298"/>
                    </a:lnTo>
                    <a:lnTo>
                      <a:pt x="228715" y="211721"/>
                    </a:lnTo>
                    <a:close/>
                    <a:moveTo>
                      <a:pt x="258455" y="240045"/>
                    </a:moveTo>
                    <a:lnTo>
                      <a:pt x="234380" y="242877"/>
                    </a:lnTo>
                    <a:lnTo>
                      <a:pt x="247126" y="231547"/>
                    </a:lnTo>
                    <a:lnTo>
                      <a:pt x="258455" y="240045"/>
                    </a:lnTo>
                    <a:close/>
                    <a:moveTo>
                      <a:pt x="153657" y="251374"/>
                    </a:moveTo>
                    <a:lnTo>
                      <a:pt x="227299" y="213137"/>
                    </a:lnTo>
                    <a:lnTo>
                      <a:pt x="245710" y="230131"/>
                    </a:lnTo>
                    <a:lnTo>
                      <a:pt x="230131" y="244293"/>
                    </a:lnTo>
                    <a:lnTo>
                      <a:pt x="153657" y="251374"/>
                    </a:lnTo>
                    <a:close/>
                    <a:moveTo>
                      <a:pt x="87096" y="374583"/>
                    </a:moveTo>
                    <a:lnTo>
                      <a:pt x="152241" y="259871"/>
                    </a:lnTo>
                    <a:lnTo>
                      <a:pt x="157906" y="310854"/>
                    </a:lnTo>
                    <a:lnTo>
                      <a:pt x="87096" y="374583"/>
                    </a:lnTo>
                    <a:close/>
                    <a:moveTo>
                      <a:pt x="157906" y="312270"/>
                    </a:moveTo>
                    <a:lnTo>
                      <a:pt x="159322" y="325016"/>
                    </a:lnTo>
                    <a:lnTo>
                      <a:pt x="82848" y="381664"/>
                    </a:lnTo>
                    <a:lnTo>
                      <a:pt x="84264" y="380247"/>
                    </a:lnTo>
                    <a:lnTo>
                      <a:pt x="157906" y="312270"/>
                    </a:lnTo>
                    <a:close/>
                    <a:moveTo>
                      <a:pt x="72934" y="388745"/>
                    </a:moveTo>
                    <a:lnTo>
                      <a:pt x="80015" y="383079"/>
                    </a:lnTo>
                    <a:lnTo>
                      <a:pt x="78599" y="384496"/>
                    </a:lnTo>
                    <a:lnTo>
                      <a:pt x="72934" y="388745"/>
                    </a:lnTo>
                    <a:close/>
                    <a:moveTo>
                      <a:pt x="163571" y="346259"/>
                    </a:moveTo>
                    <a:lnTo>
                      <a:pt x="160738" y="325016"/>
                    </a:lnTo>
                    <a:lnTo>
                      <a:pt x="252791" y="257039"/>
                    </a:lnTo>
                    <a:lnTo>
                      <a:pt x="163571" y="346259"/>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47" name="Freeform: Shape 946">
                <a:extLst>
                  <a:ext uri="{FF2B5EF4-FFF2-40B4-BE49-F238E27FC236}">
                    <a16:creationId xmlns:a16="http://schemas.microsoft.com/office/drawing/2014/main" id="{3F2E9BDB-71D4-4623-9D56-B7DAF4449EF7}"/>
                  </a:ext>
                </a:extLst>
              </p:cNvPr>
              <p:cNvSpPr/>
              <p:nvPr/>
            </p:nvSpPr>
            <p:spPr>
              <a:xfrm>
                <a:off x="9366694" y="3593986"/>
                <a:ext cx="198267" cy="382372"/>
              </a:xfrm>
              <a:custGeom>
                <a:avLst/>
                <a:gdLst>
                  <a:gd name="connsiteX0" fmla="*/ 186229 w 198266"/>
                  <a:gd name="connsiteY0" fmla="*/ 373166 h 382371"/>
                  <a:gd name="connsiteX1" fmla="*/ 186229 w 198266"/>
                  <a:gd name="connsiteY1" fmla="*/ 373166 h 382371"/>
                  <a:gd name="connsiteX2" fmla="*/ 187645 w 198266"/>
                  <a:gd name="connsiteY2" fmla="*/ 373166 h 382371"/>
                  <a:gd name="connsiteX3" fmla="*/ 174899 w 198266"/>
                  <a:gd name="connsiteY3" fmla="*/ 200391 h 382371"/>
                  <a:gd name="connsiteX4" fmla="*/ 174899 w 198266"/>
                  <a:gd name="connsiteY4" fmla="*/ 200391 h 382371"/>
                  <a:gd name="connsiteX5" fmla="*/ 139495 w 198266"/>
                  <a:gd name="connsiteY5" fmla="*/ 207472 h 382371"/>
                  <a:gd name="connsiteX6" fmla="*/ 81431 w 198266"/>
                  <a:gd name="connsiteY6" fmla="*/ 10621 h 382371"/>
                  <a:gd name="connsiteX7" fmla="*/ 81431 w 198266"/>
                  <a:gd name="connsiteY7" fmla="*/ 10621 h 382371"/>
                  <a:gd name="connsiteX8" fmla="*/ 80014 w 198266"/>
                  <a:gd name="connsiteY8" fmla="*/ 10621 h 382371"/>
                  <a:gd name="connsiteX9" fmla="*/ 138079 w 198266"/>
                  <a:gd name="connsiteY9" fmla="*/ 207472 h 382371"/>
                  <a:gd name="connsiteX10" fmla="*/ 111171 w 198266"/>
                  <a:gd name="connsiteY10" fmla="*/ 213137 h 382371"/>
                  <a:gd name="connsiteX11" fmla="*/ 55940 w 198266"/>
                  <a:gd name="connsiteY11" fmla="*/ 123917 h 382371"/>
                  <a:gd name="connsiteX12" fmla="*/ 77183 w 198266"/>
                  <a:gd name="connsiteY12" fmla="*/ 12038 h 382371"/>
                  <a:gd name="connsiteX13" fmla="*/ 77183 w 198266"/>
                  <a:gd name="connsiteY13" fmla="*/ 12038 h 382371"/>
                  <a:gd name="connsiteX14" fmla="*/ 75766 w 198266"/>
                  <a:gd name="connsiteY14" fmla="*/ 12038 h 382371"/>
                  <a:gd name="connsiteX15" fmla="*/ 54523 w 198266"/>
                  <a:gd name="connsiteY15" fmla="*/ 125333 h 382371"/>
                  <a:gd name="connsiteX16" fmla="*/ 54523 w 198266"/>
                  <a:gd name="connsiteY16" fmla="*/ 125333 h 382371"/>
                  <a:gd name="connsiteX17" fmla="*/ 109755 w 198266"/>
                  <a:gd name="connsiteY17" fmla="*/ 214553 h 382371"/>
                  <a:gd name="connsiteX18" fmla="*/ 10621 w 198266"/>
                  <a:gd name="connsiteY18" fmla="*/ 234380 h 382371"/>
                  <a:gd name="connsiteX19" fmla="*/ 150824 w 198266"/>
                  <a:gd name="connsiteY19" fmla="*/ 278282 h 382371"/>
                  <a:gd name="connsiteX20" fmla="*/ 150824 w 198266"/>
                  <a:gd name="connsiteY20" fmla="*/ 278282 h 382371"/>
                  <a:gd name="connsiteX21" fmla="*/ 112587 w 198266"/>
                  <a:gd name="connsiteY21" fmla="*/ 215969 h 382371"/>
                  <a:gd name="connsiteX22" fmla="*/ 138079 w 198266"/>
                  <a:gd name="connsiteY22" fmla="*/ 210304 h 382371"/>
                  <a:gd name="connsiteX23" fmla="*/ 186229 w 198266"/>
                  <a:gd name="connsiteY23" fmla="*/ 373166 h 382371"/>
                  <a:gd name="connsiteX24" fmla="*/ 17702 w 198266"/>
                  <a:gd name="connsiteY24" fmla="*/ 234380 h 382371"/>
                  <a:gd name="connsiteX25" fmla="*/ 109755 w 198266"/>
                  <a:gd name="connsiteY25" fmla="*/ 215969 h 382371"/>
                  <a:gd name="connsiteX26" fmla="*/ 145160 w 198266"/>
                  <a:gd name="connsiteY26" fmla="*/ 274033 h 382371"/>
                  <a:gd name="connsiteX27" fmla="*/ 17702 w 198266"/>
                  <a:gd name="connsiteY27" fmla="*/ 234380 h 382371"/>
                  <a:gd name="connsiteX28" fmla="*/ 140911 w 198266"/>
                  <a:gd name="connsiteY28" fmla="*/ 210304 h 382371"/>
                  <a:gd name="connsiteX29" fmla="*/ 174899 w 198266"/>
                  <a:gd name="connsiteY29" fmla="*/ 203223 h 382371"/>
                  <a:gd name="connsiteX30" fmla="*/ 186229 w 198266"/>
                  <a:gd name="connsiteY30" fmla="*/ 363253 h 382371"/>
                  <a:gd name="connsiteX31" fmla="*/ 140911 w 198266"/>
                  <a:gd name="connsiteY31" fmla="*/ 210304 h 38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8266" h="382371">
                    <a:moveTo>
                      <a:pt x="186229" y="373166"/>
                    </a:moveTo>
                    <a:lnTo>
                      <a:pt x="186229" y="373166"/>
                    </a:lnTo>
                    <a:lnTo>
                      <a:pt x="187645" y="373166"/>
                    </a:lnTo>
                    <a:lnTo>
                      <a:pt x="174899" y="200391"/>
                    </a:lnTo>
                    <a:lnTo>
                      <a:pt x="174899" y="200391"/>
                    </a:lnTo>
                    <a:lnTo>
                      <a:pt x="139495" y="207472"/>
                    </a:lnTo>
                    <a:lnTo>
                      <a:pt x="81431" y="10621"/>
                    </a:lnTo>
                    <a:lnTo>
                      <a:pt x="81431" y="10621"/>
                    </a:lnTo>
                    <a:lnTo>
                      <a:pt x="80014" y="10621"/>
                    </a:lnTo>
                    <a:lnTo>
                      <a:pt x="138079" y="207472"/>
                    </a:lnTo>
                    <a:lnTo>
                      <a:pt x="111171" y="213137"/>
                    </a:lnTo>
                    <a:lnTo>
                      <a:pt x="55940" y="123917"/>
                    </a:lnTo>
                    <a:lnTo>
                      <a:pt x="77183" y="12038"/>
                    </a:lnTo>
                    <a:lnTo>
                      <a:pt x="77183" y="12038"/>
                    </a:lnTo>
                    <a:lnTo>
                      <a:pt x="75766" y="12038"/>
                    </a:lnTo>
                    <a:lnTo>
                      <a:pt x="54523" y="125333"/>
                    </a:lnTo>
                    <a:lnTo>
                      <a:pt x="54523" y="125333"/>
                    </a:lnTo>
                    <a:lnTo>
                      <a:pt x="109755" y="214553"/>
                    </a:lnTo>
                    <a:lnTo>
                      <a:pt x="10621" y="234380"/>
                    </a:lnTo>
                    <a:lnTo>
                      <a:pt x="150824" y="278282"/>
                    </a:lnTo>
                    <a:lnTo>
                      <a:pt x="150824" y="278282"/>
                    </a:lnTo>
                    <a:lnTo>
                      <a:pt x="112587" y="215969"/>
                    </a:lnTo>
                    <a:lnTo>
                      <a:pt x="138079" y="210304"/>
                    </a:lnTo>
                    <a:lnTo>
                      <a:pt x="186229" y="373166"/>
                    </a:lnTo>
                    <a:close/>
                    <a:moveTo>
                      <a:pt x="17702" y="234380"/>
                    </a:moveTo>
                    <a:lnTo>
                      <a:pt x="109755" y="215969"/>
                    </a:lnTo>
                    <a:lnTo>
                      <a:pt x="145160" y="274033"/>
                    </a:lnTo>
                    <a:lnTo>
                      <a:pt x="17702" y="234380"/>
                    </a:lnTo>
                    <a:close/>
                    <a:moveTo>
                      <a:pt x="140911" y="210304"/>
                    </a:moveTo>
                    <a:lnTo>
                      <a:pt x="174899" y="203223"/>
                    </a:lnTo>
                    <a:lnTo>
                      <a:pt x="186229" y="363253"/>
                    </a:lnTo>
                    <a:lnTo>
                      <a:pt x="140911" y="210304"/>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48" name="Freeform: Shape 947">
                <a:extLst>
                  <a:ext uri="{FF2B5EF4-FFF2-40B4-BE49-F238E27FC236}">
                    <a16:creationId xmlns:a16="http://schemas.microsoft.com/office/drawing/2014/main" id="{9D1B5D35-28B1-4D24-ADC5-30FADC402041}"/>
                  </a:ext>
                </a:extLst>
              </p:cNvPr>
              <p:cNvSpPr/>
              <p:nvPr/>
            </p:nvSpPr>
            <p:spPr>
              <a:xfrm>
                <a:off x="5528816" y="567586"/>
                <a:ext cx="5806385" cy="4036144"/>
              </a:xfrm>
              <a:custGeom>
                <a:avLst/>
                <a:gdLst>
                  <a:gd name="connsiteX0" fmla="*/ 5707959 w 5806384"/>
                  <a:gd name="connsiteY0" fmla="*/ 799440 h 4036143"/>
                  <a:gd name="connsiteX1" fmla="*/ 5707959 w 5806384"/>
                  <a:gd name="connsiteY1" fmla="*/ 799440 h 4036143"/>
                  <a:gd name="connsiteX2" fmla="*/ 5491282 w 5806384"/>
                  <a:gd name="connsiteY2" fmla="*/ 1038776 h 4036143"/>
                  <a:gd name="connsiteX3" fmla="*/ 5413392 w 5806384"/>
                  <a:gd name="connsiteY3" fmla="*/ 945307 h 4036143"/>
                  <a:gd name="connsiteX4" fmla="*/ 5413392 w 5806384"/>
                  <a:gd name="connsiteY4" fmla="*/ 945307 h 4036143"/>
                  <a:gd name="connsiteX5" fmla="*/ 5358160 w 5806384"/>
                  <a:gd name="connsiteY5" fmla="*/ 1028863 h 4036143"/>
                  <a:gd name="connsiteX6" fmla="*/ 5274605 w 5806384"/>
                  <a:gd name="connsiteY6" fmla="*/ 980712 h 4036143"/>
                  <a:gd name="connsiteX7" fmla="*/ 5369489 w 5806384"/>
                  <a:gd name="connsiteY7" fmla="*/ 841925 h 4036143"/>
                  <a:gd name="connsiteX8" fmla="*/ 5557843 w 5806384"/>
                  <a:gd name="connsiteY8" fmla="*/ 822099 h 4036143"/>
                  <a:gd name="connsiteX9" fmla="*/ 5557843 w 5806384"/>
                  <a:gd name="connsiteY9" fmla="*/ 822099 h 4036143"/>
                  <a:gd name="connsiteX10" fmla="*/ 5471455 w 5806384"/>
                  <a:gd name="connsiteY10" fmla="*/ 690393 h 4036143"/>
                  <a:gd name="connsiteX11" fmla="*/ 5471455 w 5806384"/>
                  <a:gd name="connsiteY11" fmla="*/ 690393 h 4036143"/>
                  <a:gd name="connsiteX12" fmla="*/ 5368073 w 5806384"/>
                  <a:gd name="connsiteY12" fmla="*/ 840509 h 4036143"/>
                  <a:gd name="connsiteX13" fmla="*/ 5124488 w 5806384"/>
                  <a:gd name="connsiteY13" fmla="*/ 866001 h 4036143"/>
                  <a:gd name="connsiteX14" fmla="*/ 5189634 w 5806384"/>
                  <a:gd name="connsiteY14" fmla="*/ 820683 h 4036143"/>
                  <a:gd name="connsiteX15" fmla="*/ 4947464 w 5806384"/>
                  <a:gd name="connsiteY15" fmla="*/ 795191 h 4036143"/>
                  <a:gd name="connsiteX16" fmla="*/ 4732203 w 5806384"/>
                  <a:gd name="connsiteY16" fmla="*/ 673399 h 4036143"/>
                  <a:gd name="connsiteX17" fmla="*/ 4732203 w 5806384"/>
                  <a:gd name="connsiteY17" fmla="*/ 673399 h 4036143"/>
                  <a:gd name="connsiteX18" fmla="*/ 4652897 w 5806384"/>
                  <a:gd name="connsiteY18" fmla="*/ 800856 h 4036143"/>
                  <a:gd name="connsiteX19" fmla="*/ 4393734 w 5806384"/>
                  <a:gd name="connsiteY19" fmla="*/ 613919 h 4036143"/>
                  <a:gd name="connsiteX20" fmla="*/ 4393734 w 5806384"/>
                  <a:gd name="connsiteY20" fmla="*/ 613919 h 4036143"/>
                  <a:gd name="connsiteX21" fmla="*/ 4410728 w 5806384"/>
                  <a:gd name="connsiteY21" fmla="*/ 748457 h 4036143"/>
                  <a:gd name="connsiteX22" fmla="*/ 4273358 w 5806384"/>
                  <a:gd name="connsiteY22" fmla="*/ 611086 h 4036143"/>
                  <a:gd name="connsiteX23" fmla="*/ 4273358 w 5806384"/>
                  <a:gd name="connsiteY23" fmla="*/ 611086 h 4036143"/>
                  <a:gd name="connsiteX24" fmla="*/ 3893818 w 5806384"/>
                  <a:gd name="connsiteY24" fmla="*/ 545942 h 4036143"/>
                  <a:gd name="connsiteX25" fmla="*/ 3893818 w 5806384"/>
                  <a:gd name="connsiteY25" fmla="*/ 545942 h 4036143"/>
                  <a:gd name="connsiteX26" fmla="*/ 3593586 w 5806384"/>
                  <a:gd name="connsiteY26" fmla="*/ 928313 h 4036143"/>
                  <a:gd name="connsiteX27" fmla="*/ 3593586 w 5806384"/>
                  <a:gd name="connsiteY27" fmla="*/ 929729 h 4036143"/>
                  <a:gd name="connsiteX28" fmla="*/ 3960379 w 5806384"/>
                  <a:gd name="connsiteY28" fmla="*/ 720133 h 4036143"/>
                  <a:gd name="connsiteX29" fmla="*/ 4039686 w 5806384"/>
                  <a:gd name="connsiteY29" fmla="*/ 882995 h 4036143"/>
                  <a:gd name="connsiteX30" fmla="*/ 3978790 w 5806384"/>
                  <a:gd name="connsiteY30" fmla="*/ 921232 h 4036143"/>
                  <a:gd name="connsiteX31" fmla="*/ 3449134 w 5806384"/>
                  <a:gd name="connsiteY31" fmla="*/ 933978 h 4036143"/>
                  <a:gd name="connsiteX32" fmla="*/ 3174393 w 5806384"/>
                  <a:gd name="connsiteY32" fmla="*/ 623832 h 4036143"/>
                  <a:gd name="connsiteX33" fmla="*/ 3177225 w 5806384"/>
                  <a:gd name="connsiteY33" fmla="*/ 608254 h 4036143"/>
                  <a:gd name="connsiteX34" fmla="*/ 3454799 w 5806384"/>
                  <a:gd name="connsiteY34" fmla="*/ 734295 h 4036143"/>
                  <a:gd name="connsiteX35" fmla="*/ 3454799 w 5806384"/>
                  <a:gd name="connsiteY35" fmla="*/ 734295 h 4036143"/>
                  <a:gd name="connsiteX36" fmla="*/ 3529857 w 5806384"/>
                  <a:gd name="connsiteY36" fmla="*/ 350507 h 4036143"/>
                  <a:gd name="connsiteX37" fmla="*/ 3529857 w 5806384"/>
                  <a:gd name="connsiteY37" fmla="*/ 350507 h 4036143"/>
                  <a:gd name="connsiteX38" fmla="*/ 3402400 w 5806384"/>
                  <a:gd name="connsiteY38" fmla="*/ 91344 h 4036143"/>
                  <a:gd name="connsiteX39" fmla="*/ 3402400 w 5806384"/>
                  <a:gd name="connsiteY39" fmla="*/ 91344 h 4036143"/>
                  <a:gd name="connsiteX40" fmla="*/ 3146069 w 5806384"/>
                  <a:gd name="connsiteY40" fmla="*/ 10621 h 4036143"/>
                  <a:gd name="connsiteX41" fmla="*/ 3146069 w 5806384"/>
                  <a:gd name="connsiteY41" fmla="*/ 10621 h 4036143"/>
                  <a:gd name="connsiteX42" fmla="*/ 3229624 w 5806384"/>
                  <a:gd name="connsiteY42" fmla="*/ 139495 h 4036143"/>
                  <a:gd name="connsiteX43" fmla="*/ 3310347 w 5806384"/>
                  <a:gd name="connsiteY43" fmla="*/ 340594 h 4036143"/>
                  <a:gd name="connsiteX44" fmla="*/ 3214047 w 5806384"/>
                  <a:gd name="connsiteY44" fmla="*/ 401490 h 4036143"/>
                  <a:gd name="connsiteX45" fmla="*/ 3219711 w 5806384"/>
                  <a:gd name="connsiteY45" fmla="*/ 367502 h 4036143"/>
                  <a:gd name="connsiteX46" fmla="*/ 3219711 w 5806384"/>
                  <a:gd name="connsiteY46" fmla="*/ 367502 h 4036143"/>
                  <a:gd name="connsiteX47" fmla="*/ 3048352 w 5806384"/>
                  <a:gd name="connsiteY47" fmla="*/ 456722 h 4036143"/>
                  <a:gd name="connsiteX48" fmla="*/ 2974710 w 5806384"/>
                  <a:gd name="connsiteY48" fmla="*/ 347675 h 4036143"/>
                  <a:gd name="connsiteX49" fmla="*/ 2974710 w 5806384"/>
                  <a:gd name="connsiteY49" fmla="*/ 347675 h 4036143"/>
                  <a:gd name="connsiteX50" fmla="*/ 2902485 w 5806384"/>
                  <a:gd name="connsiteY50" fmla="*/ 537444 h 4036143"/>
                  <a:gd name="connsiteX51" fmla="*/ 2902485 w 5806384"/>
                  <a:gd name="connsiteY51" fmla="*/ 537444 h 4036143"/>
                  <a:gd name="connsiteX52" fmla="*/ 3049768 w 5806384"/>
                  <a:gd name="connsiteY52" fmla="*/ 459554 h 4036143"/>
                  <a:gd name="connsiteX53" fmla="*/ 3071011 w 5806384"/>
                  <a:gd name="connsiteY53" fmla="*/ 492126 h 4036143"/>
                  <a:gd name="connsiteX54" fmla="*/ 2820345 w 5806384"/>
                  <a:gd name="connsiteY54" fmla="*/ 650740 h 4036143"/>
                  <a:gd name="connsiteX55" fmla="*/ 2801934 w 5806384"/>
                  <a:gd name="connsiteY55" fmla="*/ 625248 h 4036143"/>
                  <a:gd name="connsiteX56" fmla="*/ 2801934 w 5806384"/>
                  <a:gd name="connsiteY56" fmla="*/ 625248 h 4036143"/>
                  <a:gd name="connsiteX57" fmla="*/ 2521529 w 5806384"/>
                  <a:gd name="connsiteY57" fmla="*/ 840509 h 4036143"/>
                  <a:gd name="connsiteX58" fmla="*/ 2521529 w 5806384"/>
                  <a:gd name="connsiteY58" fmla="*/ 840509 h 4036143"/>
                  <a:gd name="connsiteX59" fmla="*/ 2522945 w 5806384"/>
                  <a:gd name="connsiteY59" fmla="*/ 841925 h 4036143"/>
                  <a:gd name="connsiteX60" fmla="*/ 2522945 w 5806384"/>
                  <a:gd name="connsiteY60" fmla="*/ 841925 h 4036143"/>
                  <a:gd name="connsiteX61" fmla="*/ 2820345 w 5806384"/>
                  <a:gd name="connsiteY61" fmla="*/ 653572 h 4036143"/>
                  <a:gd name="connsiteX62" fmla="*/ 2991704 w 5806384"/>
                  <a:gd name="connsiteY62" fmla="*/ 894324 h 4036143"/>
                  <a:gd name="connsiteX63" fmla="*/ 2743871 w 5806384"/>
                  <a:gd name="connsiteY63" fmla="*/ 945307 h 4036143"/>
                  <a:gd name="connsiteX64" fmla="*/ 2539939 w 5806384"/>
                  <a:gd name="connsiteY64" fmla="*/ 908486 h 4036143"/>
                  <a:gd name="connsiteX65" fmla="*/ 2129244 w 5806384"/>
                  <a:gd name="connsiteY65" fmla="*/ 690393 h 4036143"/>
                  <a:gd name="connsiteX66" fmla="*/ 2129244 w 5806384"/>
                  <a:gd name="connsiteY66" fmla="*/ 690393 h 4036143"/>
                  <a:gd name="connsiteX67" fmla="*/ 1921064 w 5806384"/>
                  <a:gd name="connsiteY67" fmla="*/ 796607 h 4036143"/>
                  <a:gd name="connsiteX68" fmla="*/ 1921064 w 5806384"/>
                  <a:gd name="connsiteY68" fmla="*/ 796607 h 4036143"/>
                  <a:gd name="connsiteX69" fmla="*/ 2539939 w 5806384"/>
                  <a:gd name="connsiteY69" fmla="*/ 909903 h 4036143"/>
                  <a:gd name="connsiteX70" fmla="*/ 3069595 w 5806384"/>
                  <a:gd name="connsiteY70" fmla="*/ 1191725 h 4036143"/>
                  <a:gd name="connsiteX71" fmla="*/ 3068178 w 5806384"/>
                  <a:gd name="connsiteY71" fmla="*/ 1195973 h 4036143"/>
                  <a:gd name="connsiteX72" fmla="*/ 3046935 w 5806384"/>
                  <a:gd name="connsiteY72" fmla="*/ 1180395 h 4036143"/>
                  <a:gd name="connsiteX73" fmla="*/ 3046935 w 5806384"/>
                  <a:gd name="connsiteY73" fmla="*/ 1180395 h 4036143"/>
                  <a:gd name="connsiteX74" fmla="*/ 2548436 w 5806384"/>
                  <a:gd name="connsiteY74" fmla="*/ 1388575 h 4036143"/>
                  <a:gd name="connsiteX75" fmla="*/ 2415314 w 5806384"/>
                  <a:gd name="connsiteY75" fmla="*/ 1398488 h 4036143"/>
                  <a:gd name="connsiteX76" fmla="*/ 2231209 w 5806384"/>
                  <a:gd name="connsiteY76" fmla="*/ 1225713 h 4036143"/>
                  <a:gd name="connsiteX77" fmla="*/ 2231209 w 5806384"/>
                  <a:gd name="connsiteY77" fmla="*/ 1225713 h 4036143"/>
                  <a:gd name="connsiteX78" fmla="*/ 2236874 w 5806384"/>
                  <a:gd name="connsiteY78" fmla="*/ 1414067 h 4036143"/>
                  <a:gd name="connsiteX79" fmla="*/ 2115082 w 5806384"/>
                  <a:gd name="connsiteY79" fmla="*/ 1423980 h 4036143"/>
                  <a:gd name="connsiteX80" fmla="*/ 2004619 w 5806384"/>
                  <a:gd name="connsiteY80" fmla="*/ 1286609 h 4036143"/>
                  <a:gd name="connsiteX81" fmla="*/ 2265198 w 5806384"/>
                  <a:gd name="connsiteY81" fmla="*/ 1167649 h 4036143"/>
                  <a:gd name="connsiteX82" fmla="*/ 2266614 w 5806384"/>
                  <a:gd name="connsiteY82" fmla="*/ 1167649 h 4036143"/>
                  <a:gd name="connsiteX83" fmla="*/ 2024445 w 5806384"/>
                  <a:gd name="connsiteY83" fmla="*/ 1154904 h 4036143"/>
                  <a:gd name="connsiteX84" fmla="*/ 2024445 w 5806384"/>
                  <a:gd name="connsiteY84" fmla="*/ 1154904 h 4036143"/>
                  <a:gd name="connsiteX85" fmla="*/ 1962133 w 5806384"/>
                  <a:gd name="connsiteY85" fmla="*/ 1232794 h 4036143"/>
                  <a:gd name="connsiteX86" fmla="*/ 1923896 w 5806384"/>
                  <a:gd name="connsiteY86" fmla="*/ 1186060 h 4036143"/>
                  <a:gd name="connsiteX87" fmla="*/ 2103752 w 5806384"/>
                  <a:gd name="connsiteY87" fmla="*/ 907070 h 4036143"/>
                  <a:gd name="connsiteX88" fmla="*/ 2103752 w 5806384"/>
                  <a:gd name="connsiteY88" fmla="*/ 907070 h 4036143"/>
                  <a:gd name="connsiteX89" fmla="*/ 1813433 w 5806384"/>
                  <a:gd name="connsiteY89" fmla="*/ 1050106 h 4036143"/>
                  <a:gd name="connsiteX90" fmla="*/ 1766699 w 5806384"/>
                  <a:gd name="connsiteY90" fmla="*/ 990626 h 4036143"/>
                  <a:gd name="connsiteX91" fmla="*/ 1766699 w 5806384"/>
                  <a:gd name="connsiteY91" fmla="*/ 990626 h 4036143"/>
                  <a:gd name="connsiteX92" fmla="*/ 1751121 w 5806384"/>
                  <a:gd name="connsiteY92" fmla="*/ 1081262 h 4036143"/>
                  <a:gd name="connsiteX93" fmla="*/ 1589675 w 5806384"/>
                  <a:gd name="connsiteY93" fmla="*/ 1161985 h 4036143"/>
                  <a:gd name="connsiteX94" fmla="*/ 1710051 w 5806384"/>
                  <a:gd name="connsiteY94" fmla="*/ 898573 h 4036143"/>
                  <a:gd name="connsiteX95" fmla="*/ 1768115 w 5806384"/>
                  <a:gd name="connsiteY95" fmla="*/ 979296 h 4036143"/>
                  <a:gd name="connsiteX96" fmla="*/ 1768115 w 5806384"/>
                  <a:gd name="connsiteY96" fmla="*/ 979296 h 4036143"/>
                  <a:gd name="connsiteX97" fmla="*/ 1756785 w 5806384"/>
                  <a:gd name="connsiteY97" fmla="*/ 792359 h 4036143"/>
                  <a:gd name="connsiteX98" fmla="*/ 1756785 w 5806384"/>
                  <a:gd name="connsiteY98" fmla="*/ 790943 h 4036143"/>
                  <a:gd name="connsiteX99" fmla="*/ 1710051 w 5806384"/>
                  <a:gd name="connsiteY99" fmla="*/ 894324 h 4036143"/>
                  <a:gd name="connsiteX100" fmla="*/ 1626496 w 5806384"/>
                  <a:gd name="connsiteY100" fmla="*/ 776781 h 4036143"/>
                  <a:gd name="connsiteX101" fmla="*/ 1626496 w 5806384"/>
                  <a:gd name="connsiteY101" fmla="*/ 776781 h 4036143"/>
                  <a:gd name="connsiteX102" fmla="*/ 1507536 w 5806384"/>
                  <a:gd name="connsiteY102" fmla="*/ 949556 h 4036143"/>
                  <a:gd name="connsiteX103" fmla="*/ 1282361 w 5806384"/>
                  <a:gd name="connsiteY103" fmla="*/ 1034527 h 4036143"/>
                  <a:gd name="connsiteX104" fmla="*/ 1273864 w 5806384"/>
                  <a:gd name="connsiteY104" fmla="*/ 1030279 h 4036143"/>
                  <a:gd name="connsiteX105" fmla="*/ 1152071 w 5806384"/>
                  <a:gd name="connsiteY105" fmla="*/ 830596 h 4036143"/>
                  <a:gd name="connsiteX106" fmla="*/ 1152071 w 5806384"/>
                  <a:gd name="connsiteY106" fmla="*/ 830596 h 4036143"/>
                  <a:gd name="connsiteX107" fmla="*/ 1112418 w 5806384"/>
                  <a:gd name="connsiteY107" fmla="*/ 943891 h 4036143"/>
                  <a:gd name="connsiteX108" fmla="*/ 1094008 w 5806384"/>
                  <a:gd name="connsiteY108" fmla="*/ 933978 h 4036143"/>
                  <a:gd name="connsiteX109" fmla="*/ 1064268 w 5806384"/>
                  <a:gd name="connsiteY109" fmla="*/ 881579 h 4036143"/>
                  <a:gd name="connsiteX110" fmla="*/ 1106754 w 5806384"/>
                  <a:gd name="connsiteY110" fmla="*/ 816434 h 4036143"/>
                  <a:gd name="connsiteX111" fmla="*/ 1432478 w 5806384"/>
                  <a:gd name="connsiteY111" fmla="*/ 841925 h 4036143"/>
                  <a:gd name="connsiteX112" fmla="*/ 1432478 w 5806384"/>
                  <a:gd name="connsiteY112" fmla="*/ 841925 h 4036143"/>
                  <a:gd name="connsiteX113" fmla="*/ 1432478 w 5806384"/>
                  <a:gd name="connsiteY113" fmla="*/ 840509 h 4036143"/>
                  <a:gd name="connsiteX114" fmla="*/ 1181812 w 5806384"/>
                  <a:gd name="connsiteY114" fmla="*/ 783862 h 4036143"/>
                  <a:gd name="connsiteX115" fmla="*/ 1357419 w 5806384"/>
                  <a:gd name="connsiteY115" fmla="*/ 717301 h 4036143"/>
                  <a:gd name="connsiteX116" fmla="*/ 1358835 w 5806384"/>
                  <a:gd name="connsiteY116" fmla="*/ 717301 h 4036143"/>
                  <a:gd name="connsiteX117" fmla="*/ 1136494 w 5806384"/>
                  <a:gd name="connsiteY117" fmla="*/ 739960 h 4036143"/>
                  <a:gd name="connsiteX118" fmla="*/ 1116667 w 5806384"/>
                  <a:gd name="connsiteY118" fmla="*/ 615335 h 4036143"/>
                  <a:gd name="connsiteX119" fmla="*/ 1116667 w 5806384"/>
                  <a:gd name="connsiteY119" fmla="*/ 615335 h 4036143"/>
                  <a:gd name="connsiteX120" fmla="*/ 1023198 w 5806384"/>
                  <a:gd name="connsiteY120" fmla="*/ 713052 h 4036143"/>
                  <a:gd name="connsiteX121" fmla="*/ 952389 w 5806384"/>
                  <a:gd name="connsiteY121" fmla="*/ 670566 h 4036143"/>
                  <a:gd name="connsiteX122" fmla="*/ 1109586 w 5806384"/>
                  <a:gd name="connsiteY122" fmla="*/ 613919 h 4036143"/>
                  <a:gd name="connsiteX123" fmla="*/ 1109586 w 5806384"/>
                  <a:gd name="connsiteY123" fmla="*/ 613919 h 4036143"/>
                  <a:gd name="connsiteX124" fmla="*/ 1109586 w 5806384"/>
                  <a:gd name="connsiteY124" fmla="*/ 612503 h 4036143"/>
                  <a:gd name="connsiteX125" fmla="*/ 949556 w 5806384"/>
                  <a:gd name="connsiteY125" fmla="*/ 670566 h 4036143"/>
                  <a:gd name="connsiteX126" fmla="*/ 949556 w 5806384"/>
                  <a:gd name="connsiteY126" fmla="*/ 670566 h 4036143"/>
                  <a:gd name="connsiteX127" fmla="*/ 1023198 w 5806384"/>
                  <a:gd name="connsiteY127" fmla="*/ 714468 h 4036143"/>
                  <a:gd name="connsiteX128" fmla="*/ 990626 w 5806384"/>
                  <a:gd name="connsiteY128" fmla="*/ 748457 h 4036143"/>
                  <a:gd name="connsiteX129" fmla="*/ 953805 w 5806384"/>
                  <a:gd name="connsiteY129" fmla="*/ 683312 h 4036143"/>
                  <a:gd name="connsiteX130" fmla="*/ 953805 w 5806384"/>
                  <a:gd name="connsiteY130" fmla="*/ 683312 h 4036143"/>
                  <a:gd name="connsiteX131" fmla="*/ 766868 w 5806384"/>
                  <a:gd name="connsiteY131" fmla="*/ 870249 h 4036143"/>
                  <a:gd name="connsiteX132" fmla="*/ 751289 w 5806384"/>
                  <a:gd name="connsiteY132" fmla="*/ 857504 h 4036143"/>
                  <a:gd name="connsiteX133" fmla="*/ 751289 w 5806384"/>
                  <a:gd name="connsiteY133" fmla="*/ 857504 h 4036143"/>
                  <a:gd name="connsiteX134" fmla="*/ 752706 w 5806384"/>
                  <a:gd name="connsiteY134" fmla="*/ 885827 h 4036143"/>
                  <a:gd name="connsiteX135" fmla="*/ 619584 w 5806384"/>
                  <a:gd name="connsiteY135" fmla="*/ 1018949 h 4036143"/>
                  <a:gd name="connsiteX136" fmla="*/ 438311 w 5806384"/>
                  <a:gd name="connsiteY136" fmla="*/ 1105337 h 4036143"/>
                  <a:gd name="connsiteX137" fmla="*/ 438311 w 5806384"/>
                  <a:gd name="connsiteY137" fmla="*/ 1105337 h 4036143"/>
                  <a:gd name="connsiteX138" fmla="*/ 555855 w 5806384"/>
                  <a:gd name="connsiteY138" fmla="*/ 1198806 h 4036143"/>
                  <a:gd name="connsiteX139" fmla="*/ 451057 w 5806384"/>
                  <a:gd name="connsiteY139" fmla="*/ 1275280 h 4036143"/>
                  <a:gd name="connsiteX140" fmla="*/ 451057 w 5806384"/>
                  <a:gd name="connsiteY140" fmla="*/ 1275280 h 4036143"/>
                  <a:gd name="connsiteX141" fmla="*/ 452473 w 5806384"/>
                  <a:gd name="connsiteY141" fmla="*/ 1276696 h 4036143"/>
                  <a:gd name="connsiteX142" fmla="*/ 574265 w 5806384"/>
                  <a:gd name="connsiteY142" fmla="*/ 1212967 h 4036143"/>
                  <a:gd name="connsiteX143" fmla="*/ 575682 w 5806384"/>
                  <a:gd name="connsiteY143" fmla="*/ 1212967 h 4036143"/>
                  <a:gd name="connsiteX144" fmla="*/ 570017 w 5806384"/>
                  <a:gd name="connsiteY144" fmla="*/ 1229962 h 4036143"/>
                  <a:gd name="connsiteX145" fmla="*/ 570017 w 5806384"/>
                  <a:gd name="connsiteY145" fmla="*/ 1229962 h 4036143"/>
                  <a:gd name="connsiteX146" fmla="*/ 571433 w 5806384"/>
                  <a:gd name="connsiteY146" fmla="*/ 1229962 h 4036143"/>
                  <a:gd name="connsiteX147" fmla="*/ 571433 w 5806384"/>
                  <a:gd name="connsiteY147" fmla="*/ 1229962 h 4036143"/>
                  <a:gd name="connsiteX148" fmla="*/ 578514 w 5806384"/>
                  <a:gd name="connsiteY148" fmla="*/ 1214384 h 4036143"/>
                  <a:gd name="connsiteX149" fmla="*/ 693225 w 5806384"/>
                  <a:gd name="connsiteY149" fmla="*/ 1305020 h 4036143"/>
                  <a:gd name="connsiteX150" fmla="*/ 681896 w 5806384"/>
                  <a:gd name="connsiteY150" fmla="*/ 1152071 h 4036143"/>
                  <a:gd name="connsiteX151" fmla="*/ 681896 w 5806384"/>
                  <a:gd name="connsiteY151" fmla="*/ 1152071 h 4036143"/>
                  <a:gd name="connsiteX152" fmla="*/ 584179 w 5806384"/>
                  <a:gd name="connsiteY152" fmla="*/ 1203054 h 4036143"/>
                  <a:gd name="connsiteX153" fmla="*/ 602589 w 5806384"/>
                  <a:gd name="connsiteY153" fmla="*/ 1166233 h 4036143"/>
                  <a:gd name="connsiteX154" fmla="*/ 684728 w 5806384"/>
                  <a:gd name="connsiteY154" fmla="*/ 1106753 h 4036143"/>
                  <a:gd name="connsiteX155" fmla="*/ 772532 w 5806384"/>
                  <a:gd name="connsiteY155" fmla="*/ 1091175 h 4036143"/>
                  <a:gd name="connsiteX156" fmla="*/ 772532 w 5806384"/>
                  <a:gd name="connsiteY156" fmla="*/ 1091175 h 4036143"/>
                  <a:gd name="connsiteX157" fmla="*/ 769700 w 5806384"/>
                  <a:gd name="connsiteY157" fmla="*/ 1045857 h 4036143"/>
                  <a:gd name="connsiteX158" fmla="*/ 884411 w 5806384"/>
                  <a:gd name="connsiteY158" fmla="*/ 963718 h 4036143"/>
                  <a:gd name="connsiteX159" fmla="*/ 884411 w 5806384"/>
                  <a:gd name="connsiteY159" fmla="*/ 963718 h 4036143"/>
                  <a:gd name="connsiteX160" fmla="*/ 832012 w 5806384"/>
                  <a:gd name="connsiteY160" fmla="*/ 921232 h 4036143"/>
                  <a:gd name="connsiteX161" fmla="*/ 993458 w 5806384"/>
                  <a:gd name="connsiteY161" fmla="*/ 751289 h 4036143"/>
                  <a:gd name="connsiteX162" fmla="*/ 1026030 w 5806384"/>
                  <a:gd name="connsiteY162" fmla="*/ 807937 h 4036143"/>
                  <a:gd name="connsiteX163" fmla="*/ 979296 w 5806384"/>
                  <a:gd name="connsiteY163" fmla="*/ 803688 h 4036143"/>
                  <a:gd name="connsiteX164" fmla="*/ 979296 w 5806384"/>
                  <a:gd name="connsiteY164" fmla="*/ 803688 h 4036143"/>
                  <a:gd name="connsiteX165" fmla="*/ 1030279 w 5806384"/>
                  <a:gd name="connsiteY165" fmla="*/ 898573 h 4036143"/>
                  <a:gd name="connsiteX166" fmla="*/ 1030279 w 5806384"/>
                  <a:gd name="connsiteY166" fmla="*/ 898573 h 4036143"/>
                  <a:gd name="connsiteX167" fmla="*/ 1050106 w 5806384"/>
                  <a:gd name="connsiteY167" fmla="*/ 909903 h 4036143"/>
                  <a:gd name="connsiteX168" fmla="*/ 949556 w 5806384"/>
                  <a:gd name="connsiteY168" fmla="*/ 1065684 h 4036143"/>
                  <a:gd name="connsiteX169" fmla="*/ 949556 w 5806384"/>
                  <a:gd name="connsiteY169" fmla="*/ 1065684 h 4036143"/>
                  <a:gd name="connsiteX170" fmla="*/ 1052938 w 5806384"/>
                  <a:gd name="connsiteY170" fmla="*/ 1140742 h 4036143"/>
                  <a:gd name="connsiteX171" fmla="*/ 1052938 w 5806384"/>
                  <a:gd name="connsiteY171" fmla="*/ 1140742 h 4036143"/>
                  <a:gd name="connsiteX172" fmla="*/ 1113834 w 5806384"/>
                  <a:gd name="connsiteY172" fmla="*/ 963718 h 4036143"/>
                  <a:gd name="connsiteX173" fmla="*/ 1136494 w 5806384"/>
                  <a:gd name="connsiteY173" fmla="*/ 1003371 h 4036143"/>
                  <a:gd name="connsiteX174" fmla="*/ 1177563 w 5806384"/>
                  <a:gd name="connsiteY174" fmla="*/ 1469298 h 4036143"/>
                  <a:gd name="connsiteX175" fmla="*/ 1164817 w 5806384"/>
                  <a:gd name="connsiteY175" fmla="*/ 1514616 h 4036143"/>
                  <a:gd name="connsiteX176" fmla="*/ 1164817 w 5806384"/>
                  <a:gd name="connsiteY176" fmla="*/ 1514616 h 4036143"/>
                  <a:gd name="connsiteX177" fmla="*/ 1181812 w 5806384"/>
                  <a:gd name="connsiteY177" fmla="*/ 1523113 h 4036143"/>
                  <a:gd name="connsiteX178" fmla="*/ 1186060 w 5806384"/>
                  <a:gd name="connsiteY178" fmla="*/ 1565599 h 4036143"/>
                  <a:gd name="connsiteX179" fmla="*/ 898573 w 5806384"/>
                  <a:gd name="connsiteY179" fmla="*/ 1559934 h 4036143"/>
                  <a:gd name="connsiteX180" fmla="*/ 916984 w 5806384"/>
                  <a:gd name="connsiteY180" fmla="*/ 1494789 h 4036143"/>
                  <a:gd name="connsiteX181" fmla="*/ 916984 w 5806384"/>
                  <a:gd name="connsiteY181" fmla="*/ 1494789 h 4036143"/>
                  <a:gd name="connsiteX182" fmla="*/ 705971 w 5806384"/>
                  <a:gd name="connsiteY182" fmla="*/ 1548605 h 4036143"/>
                  <a:gd name="connsiteX183" fmla="*/ 705971 w 5806384"/>
                  <a:gd name="connsiteY183" fmla="*/ 1548605 h 4036143"/>
                  <a:gd name="connsiteX184" fmla="*/ 881579 w 5806384"/>
                  <a:gd name="connsiteY184" fmla="*/ 1803519 h 4036143"/>
                  <a:gd name="connsiteX185" fmla="*/ 854671 w 5806384"/>
                  <a:gd name="connsiteY185" fmla="*/ 1807768 h 4036143"/>
                  <a:gd name="connsiteX186" fmla="*/ 659237 w 5806384"/>
                  <a:gd name="connsiteY186" fmla="*/ 1514616 h 4036143"/>
                  <a:gd name="connsiteX187" fmla="*/ 659237 w 5806384"/>
                  <a:gd name="connsiteY187" fmla="*/ 1514616 h 4036143"/>
                  <a:gd name="connsiteX188" fmla="*/ 494959 w 5806384"/>
                  <a:gd name="connsiteY188" fmla="*/ 1646322 h 4036143"/>
                  <a:gd name="connsiteX189" fmla="*/ 470884 w 5806384"/>
                  <a:gd name="connsiteY189" fmla="*/ 1622247 h 4036143"/>
                  <a:gd name="connsiteX190" fmla="*/ 470884 w 5806384"/>
                  <a:gd name="connsiteY190" fmla="*/ 1541524 h 4036143"/>
                  <a:gd name="connsiteX191" fmla="*/ 470884 w 5806384"/>
                  <a:gd name="connsiteY191" fmla="*/ 1541524 h 4036143"/>
                  <a:gd name="connsiteX192" fmla="*/ 242877 w 5806384"/>
                  <a:gd name="connsiteY192" fmla="*/ 1728461 h 4036143"/>
                  <a:gd name="connsiteX193" fmla="*/ 242877 w 5806384"/>
                  <a:gd name="connsiteY193" fmla="*/ 1728461 h 4036143"/>
                  <a:gd name="connsiteX194" fmla="*/ 265536 w 5806384"/>
                  <a:gd name="connsiteY194" fmla="*/ 1779444 h 4036143"/>
                  <a:gd name="connsiteX195" fmla="*/ 139495 w 5806384"/>
                  <a:gd name="connsiteY195" fmla="*/ 1782276 h 4036143"/>
                  <a:gd name="connsiteX196" fmla="*/ 138079 w 5806384"/>
                  <a:gd name="connsiteY196" fmla="*/ 1782276 h 4036143"/>
                  <a:gd name="connsiteX197" fmla="*/ 378831 w 5806384"/>
                  <a:gd name="connsiteY197" fmla="*/ 1906901 h 4036143"/>
                  <a:gd name="connsiteX198" fmla="*/ 72934 w 5806384"/>
                  <a:gd name="connsiteY198" fmla="*/ 1981959 h 4036143"/>
                  <a:gd name="connsiteX199" fmla="*/ 17702 w 5806384"/>
                  <a:gd name="connsiteY199" fmla="*/ 1986208 h 4036143"/>
                  <a:gd name="connsiteX200" fmla="*/ 17702 w 5806384"/>
                  <a:gd name="connsiteY200" fmla="*/ 1986208 h 4036143"/>
                  <a:gd name="connsiteX201" fmla="*/ 55939 w 5806384"/>
                  <a:gd name="connsiteY201" fmla="*/ 2205717 h 4036143"/>
                  <a:gd name="connsiteX202" fmla="*/ 55939 w 5806384"/>
                  <a:gd name="connsiteY202" fmla="*/ 2205717 h 4036143"/>
                  <a:gd name="connsiteX203" fmla="*/ 95593 w 5806384"/>
                  <a:gd name="connsiteY203" fmla="*/ 2174561 h 4036143"/>
                  <a:gd name="connsiteX204" fmla="*/ 64437 w 5806384"/>
                  <a:gd name="connsiteY204" fmla="*/ 2217047 h 4036143"/>
                  <a:gd name="connsiteX205" fmla="*/ 64437 w 5806384"/>
                  <a:gd name="connsiteY205" fmla="*/ 2217047 h 4036143"/>
                  <a:gd name="connsiteX206" fmla="*/ 140911 w 5806384"/>
                  <a:gd name="connsiteY206" fmla="*/ 2215631 h 4036143"/>
                  <a:gd name="connsiteX207" fmla="*/ 140911 w 5806384"/>
                  <a:gd name="connsiteY207" fmla="*/ 2215631 h 4036143"/>
                  <a:gd name="connsiteX208" fmla="*/ 207472 w 5806384"/>
                  <a:gd name="connsiteY208" fmla="*/ 2133492 h 4036143"/>
                  <a:gd name="connsiteX209" fmla="*/ 245709 w 5806384"/>
                  <a:gd name="connsiteY209" fmla="*/ 2140573 h 4036143"/>
                  <a:gd name="connsiteX210" fmla="*/ 217385 w 5806384"/>
                  <a:gd name="connsiteY210" fmla="*/ 2120746 h 4036143"/>
                  <a:gd name="connsiteX211" fmla="*/ 309437 w 5806384"/>
                  <a:gd name="connsiteY211" fmla="*/ 2006034 h 4036143"/>
                  <a:gd name="connsiteX212" fmla="*/ 339178 w 5806384"/>
                  <a:gd name="connsiteY212" fmla="*/ 1983375 h 4036143"/>
                  <a:gd name="connsiteX213" fmla="*/ 492127 w 5806384"/>
                  <a:gd name="connsiteY213" fmla="*/ 1964965 h 4036143"/>
                  <a:gd name="connsiteX214" fmla="*/ 492127 w 5806384"/>
                  <a:gd name="connsiteY214" fmla="*/ 1964965 h 4036143"/>
                  <a:gd name="connsiteX215" fmla="*/ 414236 w 5806384"/>
                  <a:gd name="connsiteY215" fmla="*/ 1925311 h 4036143"/>
                  <a:gd name="connsiteX216" fmla="*/ 459554 w 5806384"/>
                  <a:gd name="connsiteY216" fmla="*/ 1889907 h 4036143"/>
                  <a:gd name="connsiteX217" fmla="*/ 601173 w 5806384"/>
                  <a:gd name="connsiteY217" fmla="*/ 1854502 h 4036143"/>
                  <a:gd name="connsiteX218" fmla="*/ 602589 w 5806384"/>
                  <a:gd name="connsiteY218" fmla="*/ 1861583 h 4036143"/>
                  <a:gd name="connsiteX219" fmla="*/ 595508 w 5806384"/>
                  <a:gd name="connsiteY219" fmla="*/ 1862999 h 4036143"/>
                  <a:gd name="connsiteX220" fmla="*/ 595508 w 5806384"/>
                  <a:gd name="connsiteY220" fmla="*/ 1862999 h 4036143"/>
                  <a:gd name="connsiteX221" fmla="*/ 623832 w 5806384"/>
                  <a:gd name="connsiteY221" fmla="*/ 1994705 h 4036143"/>
                  <a:gd name="connsiteX222" fmla="*/ 694642 w 5806384"/>
                  <a:gd name="connsiteY222" fmla="*/ 2091006 h 4036143"/>
                  <a:gd name="connsiteX223" fmla="*/ 745625 w 5806384"/>
                  <a:gd name="connsiteY223" fmla="*/ 2122162 h 4036143"/>
                  <a:gd name="connsiteX224" fmla="*/ 730047 w 5806384"/>
                  <a:gd name="connsiteY224" fmla="*/ 2209966 h 4036143"/>
                  <a:gd name="connsiteX225" fmla="*/ 730047 w 5806384"/>
                  <a:gd name="connsiteY225" fmla="*/ 2209966 h 4036143"/>
                  <a:gd name="connsiteX226" fmla="*/ 731463 w 5806384"/>
                  <a:gd name="connsiteY226" fmla="*/ 2209966 h 4036143"/>
                  <a:gd name="connsiteX227" fmla="*/ 761203 w 5806384"/>
                  <a:gd name="connsiteY227" fmla="*/ 2129243 h 4036143"/>
                  <a:gd name="connsiteX228" fmla="*/ 761203 w 5806384"/>
                  <a:gd name="connsiteY228" fmla="*/ 2129243 h 4036143"/>
                  <a:gd name="connsiteX229" fmla="*/ 748457 w 5806384"/>
                  <a:gd name="connsiteY229" fmla="*/ 2120746 h 4036143"/>
                  <a:gd name="connsiteX230" fmla="*/ 756954 w 5806384"/>
                  <a:gd name="connsiteY230" fmla="*/ 2076844 h 4036143"/>
                  <a:gd name="connsiteX231" fmla="*/ 756954 w 5806384"/>
                  <a:gd name="connsiteY231" fmla="*/ 2076844 h 4036143"/>
                  <a:gd name="connsiteX232" fmla="*/ 635162 w 5806384"/>
                  <a:gd name="connsiteY232" fmla="*/ 1991873 h 4036143"/>
                  <a:gd name="connsiteX233" fmla="*/ 605422 w 5806384"/>
                  <a:gd name="connsiteY233" fmla="*/ 1862999 h 4036143"/>
                  <a:gd name="connsiteX234" fmla="*/ 686144 w 5806384"/>
                  <a:gd name="connsiteY234" fmla="*/ 1840340 h 4036143"/>
                  <a:gd name="connsiteX235" fmla="*/ 686144 w 5806384"/>
                  <a:gd name="connsiteY235" fmla="*/ 1840340 h 4036143"/>
                  <a:gd name="connsiteX236" fmla="*/ 613919 w 5806384"/>
                  <a:gd name="connsiteY236" fmla="*/ 1768114 h 4036143"/>
                  <a:gd name="connsiteX237" fmla="*/ 632329 w 5806384"/>
                  <a:gd name="connsiteY237" fmla="*/ 1753952 h 4036143"/>
                  <a:gd name="connsiteX238" fmla="*/ 755538 w 5806384"/>
                  <a:gd name="connsiteY238" fmla="*/ 1824762 h 4036143"/>
                  <a:gd name="connsiteX239" fmla="*/ 680480 w 5806384"/>
                  <a:gd name="connsiteY239" fmla="*/ 1834675 h 4036143"/>
                  <a:gd name="connsiteX240" fmla="*/ 679064 w 5806384"/>
                  <a:gd name="connsiteY240" fmla="*/ 1834675 h 4036143"/>
                  <a:gd name="connsiteX241" fmla="*/ 992042 w 5806384"/>
                  <a:gd name="connsiteY241" fmla="*/ 1963549 h 4036143"/>
                  <a:gd name="connsiteX242" fmla="*/ 992042 w 5806384"/>
                  <a:gd name="connsiteY242" fmla="*/ 1963549 h 4036143"/>
                  <a:gd name="connsiteX243" fmla="*/ 993458 w 5806384"/>
                  <a:gd name="connsiteY243" fmla="*/ 1962132 h 4036143"/>
                  <a:gd name="connsiteX244" fmla="*/ 754122 w 5806384"/>
                  <a:gd name="connsiteY244" fmla="*/ 1824762 h 4036143"/>
                  <a:gd name="connsiteX245" fmla="*/ 843342 w 5806384"/>
                  <a:gd name="connsiteY245" fmla="*/ 1810600 h 4036143"/>
                  <a:gd name="connsiteX246" fmla="*/ 875914 w 5806384"/>
                  <a:gd name="connsiteY246" fmla="*/ 1858750 h 4036143"/>
                  <a:gd name="connsiteX247" fmla="*/ 875914 w 5806384"/>
                  <a:gd name="connsiteY247" fmla="*/ 1858750 h 4036143"/>
                  <a:gd name="connsiteX248" fmla="*/ 1200222 w 5806384"/>
                  <a:gd name="connsiteY248" fmla="*/ 1807768 h 4036143"/>
                  <a:gd name="connsiteX249" fmla="*/ 1200222 w 5806384"/>
                  <a:gd name="connsiteY249" fmla="*/ 1807768 h 4036143"/>
                  <a:gd name="connsiteX250" fmla="*/ 1200222 w 5806384"/>
                  <a:gd name="connsiteY250" fmla="*/ 1800687 h 4036143"/>
                  <a:gd name="connsiteX251" fmla="*/ 1204471 w 5806384"/>
                  <a:gd name="connsiteY251" fmla="*/ 1806351 h 4036143"/>
                  <a:gd name="connsiteX252" fmla="*/ 1204471 w 5806384"/>
                  <a:gd name="connsiteY252" fmla="*/ 1806351 h 4036143"/>
                  <a:gd name="connsiteX253" fmla="*/ 1282361 w 5806384"/>
                  <a:gd name="connsiteY253" fmla="*/ 1642073 h 4036143"/>
                  <a:gd name="connsiteX254" fmla="*/ 1426813 w 5806384"/>
                  <a:gd name="connsiteY254" fmla="*/ 1646322 h 4036143"/>
                  <a:gd name="connsiteX255" fmla="*/ 1455137 w 5806384"/>
                  <a:gd name="connsiteY255" fmla="*/ 1660484 h 4036143"/>
                  <a:gd name="connsiteX256" fmla="*/ 1557102 w 5806384"/>
                  <a:gd name="connsiteY256" fmla="*/ 1854502 h 4036143"/>
                  <a:gd name="connsiteX257" fmla="*/ 1411235 w 5806384"/>
                  <a:gd name="connsiteY257" fmla="*/ 1896988 h 4036143"/>
                  <a:gd name="connsiteX258" fmla="*/ 1409818 w 5806384"/>
                  <a:gd name="connsiteY258" fmla="*/ 1896988 h 4036143"/>
                  <a:gd name="connsiteX259" fmla="*/ 1601004 w 5806384"/>
                  <a:gd name="connsiteY259" fmla="*/ 1936641 h 4036143"/>
                  <a:gd name="connsiteX260" fmla="*/ 1601004 w 5806384"/>
                  <a:gd name="connsiteY260" fmla="*/ 1936641 h 4036143"/>
                  <a:gd name="connsiteX261" fmla="*/ 1558518 w 5806384"/>
                  <a:gd name="connsiteY261" fmla="*/ 1855918 h 4036143"/>
                  <a:gd name="connsiteX262" fmla="*/ 1742623 w 5806384"/>
                  <a:gd name="connsiteY262" fmla="*/ 1802103 h 4036143"/>
                  <a:gd name="connsiteX263" fmla="*/ 2133492 w 5806384"/>
                  <a:gd name="connsiteY263" fmla="*/ 1993289 h 4036143"/>
                  <a:gd name="connsiteX264" fmla="*/ 2049937 w 5806384"/>
                  <a:gd name="connsiteY264" fmla="*/ 2452135 h 4036143"/>
                  <a:gd name="connsiteX265" fmla="*/ 1928145 w 5806384"/>
                  <a:gd name="connsiteY265" fmla="*/ 2469129 h 4036143"/>
                  <a:gd name="connsiteX266" fmla="*/ 1480628 w 5806384"/>
                  <a:gd name="connsiteY266" fmla="*/ 2091006 h 4036143"/>
                  <a:gd name="connsiteX267" fmla="*/ 1480628 w 5806384"/>
                  <a:gd name="connsiteY267" fmla="*/ 2091006 h 4036143"/>
                  <a:gd name="connsiteX268" fmla="*/ 1489125 w 5806384"/>
                  <a:gd name="connsiteY268" fmla="*/ 2110833 h 4036143"/>
                  <a:gd name="connsiteX269" fmla="*/ 1350338 w 5806384"/>
                  <a:gd name="connsiteY269" fmla="*/ 2127827 h 4036143"/>
                  <a:gd name="connsiteX270" fmla="*/ 1331928 w 5806384"/>
                  <a:gd name="connsiteY270" fmla="*/ 2051352 h 4036143"/>
                  <a:gd name="connsiteX271" fmla="*/ 1331928 w 5806384"/>
                  <a:gd name="connsiteY271" fmla="*/ 2051352 h 4036143"/>
                  <a:gd name="connsiteX272" fmla="*/ 1224297 w 5806384"/>
                  <a:gd name="connsiteY272" fmla="*/ 2141989 h 4036143"/>
                  <a:gd name="connsiteX273" fmla="*/ 1215800 w 5806384"/>
                  <a:gd name="connsiteY273" fmla="*/ 2143405 h 4036143"/>
                  <a:gd name="connsiteX274" fmla="*/ 1079846 w 5806384"/>
                  <a:gd name="connsiteY274" fmla="*/ 1964965 h 4036143"/>
                  <a:gd name="connsiteX275" fmla="*/ 1079846 w 5806384"/>
                  <a:gd name="connsiteY275" fmla="*/ 1964965 h 4036143"/>
                  <a:gd name="connsiteX276" fmla="*/ 1123748 w 5806384"/>
                  <a:gd name="connsiteY276" fmla="*/ 2231209 h 4036143"/>
                  <a:gd name="connsiteX277" fmla="*/ 1123748 w 5806384"/>
                  <a:gd name="connsiteY277" fmla="*/ 2231209 h 4036143"/>
                  <a:gd name="connsiteX278" fmla="*/ 1208719 w 5806384"/>
                  <a:gd name="connsiteY278" fmla="*/ 2157567 h 4036143"/>
                  <a:gd name="connsiteX279" fmla="*/ 1295107 w 5806384"/>
                  <a:gd name="connsiteY279" fmla="*/ 2249619 h 4036143"/>
                  <a:gd name="connsiteX280" fmla="*/ 1380078 w 5806384"/>
                  <a:gd name="connsiteY280" fmla="*/ 2361498 h 4036143"/>
                  <a:gd name="connsiteX281" fmla="*/ 1363084 w 5806384"/>
                  <a:gd name="connsiteY281" fmla="*/ 2401152 h 4036143"/>
                  <a:gd name="connsiteX282" fmla="*/ 1329095 w 5806384"/>
                  <a:gd name="connsiteY282" fmla="*/ 2411065 h 4036143"/>
                  <a:gd name="connsiteX283" fmla="*/ 1329095 w 5806384"/>
                  <a:gd name="connsiteY283" fmla="*/ 2411065 h 4036143"/>
                  <a:gd name="connsiteX284" fmla="*/ 1266783 w 5806384"/>
                  <a:gd name="connsiteY284" fmla="*/ 2571095 h 4036143"/>
                  <a:gd name="connsiteX285" fmla="*/ 1266783 w 5806384"/>
                  <a:gd name="connsiteY285" fmla="*/ 2571095 h 4036143"/>
                  <a:gd name="connsiteX286" fmla="*/ 1469299 w 5806384"/>
                  <a:gd name="connsiteY286" fmla="*/ 2735373 h 4036143"/>
                  <a:gd name="connsiteX287" fmla="*/ 1438142 w 5806384"/>
                  <a:gd name="connsiteY287" fmla="*/ 2779275 h 4036143"/>
                  <a:gd name="connsiteX288" fmla="*/ 1438142 w 5806384"/>
                  <a:gd name="connsiteY288" fmla="*/ 2779275 h 4036143"/>
                  <a:gd name="connsiteX289" fmla="*/ 1547189 w 5806384"/>
                  <a:gd name="connsiteY289" fmla="*/ 2799101 h 4036143"/>
                  <a:gd name="connsiteX290" fmla="*/ 1644906 w 5806384"/>
                  <a:gd name="connsiteY290" fmla="*/ 2878408 h 4036143"/>
                  <a:gd name="connsiteX291" fmla="*/ 1644906 w 5806384"/>
                  <a:gd name="connsiteY291" fmla="*/ 2878408 h 4036143"/>
                  <a:gd name="connsiteX292" fmla="*/ 1701554 w 5806384"/>
                  <a:gd name="connsiteY292" fmla="*/ 2876992 h 4036143"/>
                  <a:gd name="connsiteX293" fmla="*/ 1693057 w 5806384"/>
                  <a:gd name="connsiteY293" fmla="*/ 2986038 h 4036143"/>
                  <a:gd name="connsiteX294" fmla="*/ 1520281 w 5806384"/>
                  <a:gd name="connsiteY294" fmla="*/ 3005865 h 4036143"/>
                  <a:gd name="connsiteX295" fmla="*/ 1520281 w 5806384"/>
                  <a:gd name="connsiteY295" fmla="*/ 3005865 h 4036143"/>
                  <a:gd name="connsiteX296" fmla="*/ 1520281 w 5806384"/>
                  <a:gd name="connsiteY296" fmla="*/ 3007281 h 4036143"/>
                  <a:gd name="connsiteX297" fmla="*/ 1520281 w 5806384"/>
                  <a:gd name="connsiteY297" fmla="*/ 3007281 h 4036143"/>
                  <a:gd name="connsiteX298" fmla="*/ 1690224 w 5806384"/>
                  <a:gd name="connsiteY298" fmla="*/ 3018611 h 4036143"/>
                  <a:gd name="connsiteX299" fmla="*/ 1678895 w 5806384"/>
                  <a:gd name="connsiteY299" fmla="*/ 3151733 h 4036143"/>
                  <a:gd name="connsiteX300" fmla="*/ 1678895 w 5806384"/>
                  <a:gd name="connsiteY300" fmla="*/ 3151733 h 4036143"/>
                  <a:gd name="connsiteX301" fmla="*/ 1888491 w 5806384"/>
                  <a:gd name="connsiteY301" fmla="*/ 3028524 h 4036143"/>
                  <a:gd name="connsiteX302" fmla="*/ 1888491 w 5806384"/>
                  <a:gd name="connsiteY302" fmla="*/ 3028524 h 4036143"/>
                  <a:gd name="connsiteX303" fmla="*/ 1691640 w 5806384"/>
                  <a:gd name="connsiteY303" fmla="*/ 3015778 h 4036143"/>
                  <a:gd name="connsiteX304" fmla="*/ 1694473 w 5806384"/>
                  <a:gd name="connsiteY304" fmla="*/ 2987455 h 4036143"/>
                  <a:gd name="connsiteX305" fmla="*/ 1844589 w 5806384"/>
                  <a:gd name="connsiteY305" fmla="*/ 2970460 h 4036143"/>
                  <a:gd name="connsiteX306" fmla="*/ 1887075 w 5806384"/>
                  <a:gd name="connsiteY306" fmla="*/ 3027108 h 4036143"/>
                  <a:gd name="connsiteX307" fmla="*/ 1887075 w 5806384"/>
                  <a:gd name="connsiteY307" fmla="*/ 3027108 h 4036143"/>
                  <a:gd name="connsiteX308" fmla="*/ 1888491 w 5806384"/>
                  <a:gd name="connsiteY308" fmla="*/ 3025692 h 4036143"/>
                  <a:gd name="connsiteX309" fmla="*/ 1863000 w 5806384"/>
                  <a:gd name="connsiteY309" fmla="*/ 2967628 h 4036143"/>
                  <a:gd name="connsiteX310" fmla="*/ 2001786 w 5806384"/>
                  <a:gd name="connsiteY310" fmla="*/ 2952050 h 4036143"/>
                  <a:gd name="connsiteX311" fmla="*/ 2001786 w 5806384"/>
                  <a:gd name="connsiteY311" fmla="*/ 2952050 h 4036143"/>
                  <a:gd name="connsiteX312" fmla="*/ 1964966 w 5806384"/>
                  <a:gd name="connsiteY312" fmla="*/ 2801934 h 4036143"/>
                  <a:gd name="connsiteX313" fmla="*/ 2055602 w 5806384"/>
                  <a:gd name="connsiteY313" fmla="*/ 2831674 h 4036143"/>
                  <a:gd name="connsiteX314" fmla="*/ 2057018 w 5806384"/>
                  <a:gd name="connsiteY314" fmla="*/ 2831674 h 4036143"/>
                  <a:gd name="connsiteX315" fmla="*/ 1940890 w 5806384"/>
                  <a:gd name="connsiteY315" fmla="*/ 2712714 h 4036143"/>
                  <a:gd name="connsiteX316" fmla="*/ 1940890 w 5806384"/>
                  <a:gd name="connsiteY316" fmla="*/ 2712714 h 4036143"/>
                  <a:gd name="connsiteX317" fmla="*/ 1962133 w 5806384"/>
                  <a:gd name="connsiteY317" fmla="*/ 2799101 h 4036143"/>
                  <a:gd name="connsiteX318" fmla="*/ 1759618 w 5806384"/>
                  <a:gd name="connsiteY318" fmla="*/ 2732540 h 4036143"/>
                  <a:gd name="connsiteX319" fmla="*/ 1489125 w 5806384"/>
                  <a:gd name="connsiteY319" fmla="*/ 2112249 h 4036143"/>
                  <a:gd name="connsiteX320" fmla="*/ 1490541 w 5806384"/>
                  <a:gd name="connsiteY320" fmla="*/ 2112249 h 4036143"/>
                  <a:gd name="connsiteX321" fmla="*/ 1707219 w 5806384"/>
                  <a:gd name="connsiteY321" fmla="*/ 2500285 h 4036143"/>
                  <a:gd name="connsiteX322" fmla="*/ 1707219 w 5806384"/>
                  <a:gd name="connsiteY322" fmla="*/ 2500285 h 4036143"/>
                  <a:gd name="connsiteX323" fmla="*/ 1925312 w 5806384"/>
                  <a:gd name="connsiteY323" fmla="*/ 2470545 h 4036143"/>
                  <a:gd name="connsiteX324" fmla="*/ 1938058 w 5806384"/>
                  <a:gd name="connsiteY324" fmla="*/ 2481874 h 4036143"/>
                  <a:gd name="connsiteX325" fmla="*/ 1782277 w 5806384"/>
                  <a:gd name="connsiteY325" fmla="*/ 2508782 h 4036143"/>
                  <a:gd name="connsiteX326" fmla="*/ 1782277 w 5806384"/>
                  <a:gd name="connsiteY326" fmla="*/ 2508782 h 4036143"/>
                  <a:gd name="connsiteX327" fmla="*/ 2018781 w 5806384"/>
                  <a:gd name="connsiteY327" fmla="*/ 2614997 h 4036143"/>
                  <a:gd name="connsiteX328" fmla="*/ 2008867 w 5806384"/>
                  <a:gd name="connsiteY328" fmla="*/ 2671644 h 4036143"/>
                  <a:gd name="connsiteX329" fmla="*/ 2042856 w 5806384"/>
                  <a:gd name="connsiteY329" fmla="*/ 2624910 h 4036143"/>
                  <a:gd name="connsiteX330" fmla="*/ 2195805 w 5806384"/>
                  <a:gd name="connsiteY330" fmla="*/ 2694303 h 4036143"/>
                  <a:gd name="connsiteX331" fmla="*/ 2197221 w 5806384"/>
                  <a:gd name="connsiteY331" fmla="*/ 2694303 h 4036143"/>
                  <a:gd name="connsiteX332" fmla="*/ 2069764 w 5806384"/>
                  <a:gd name="connsiteY332" fmla="*/ 2586673 h 4036143"/>
                  <a:gd name="connsiteX333" fmla="*/ 2177394 w 5806384"/>
                  <a:gd name="connsiteY333" fmla="*/ 2440805 h 4036143"/>
                  <a:gd name="connsiteX334" fmla="*/ 2188724 w 5806384"/>
                  <a:gd name="connsiteY334" fmla="*/ 2439389 h 4036143"/>
                  <a:gd name="connsiteX335" fmla="*/ 2344505 w 5806384"/>
                  <a:gd name="connsiteY335" fmla="*/ 2803350 h 4036143"/>
                  <a:gd name="connsiteX336" fmla="*/ 2344505 w 5806384"/>
                  <a:gd name="connsiteY336" fmla="*/ 2803350 h 4036143"/>
                  <a:gd name="connsiteX337" fmla="*/ 2394071 w 5806384"/>
                  <a:gd name="connsiteY337" fmla="*/ 2579592 h 4036143"/>
                  <a:gd name="connsiteX338" fmla="*/ 2447887 w 5806384"/>
                  <a:gd name="connsiteY338" fmla="*/ 2617829 h 4036143"/>
                  <a:gd name="connsiteX339" fmla="*/ 2630576 w 5806384"/>
                  <a:gd name="connsiteY339" fmla="*/ 2942136 h 4036143"/>
                  <a:gd name="connsiteX340" fmla="*/ 2613581 w 5806384"/>
                  <a:gd name="connsiteY340" fmla="*/ 2998784 h 4036143"/>
                  <a:gd name="connsiteX341" fmla="*/ 2498870 w 5806384"/>
                  <a:gd name="connsiteY341" fmla="*/ 3055432 h 4036143"/>
                  <a:gd name="connsiteX342" fmla="*/ 2498870 w 5806384"/>
                  <a:gd name="connsiteY342" fmla="*/ 3055432 h 4036143"/>
                  <a:gd name="connsiteX343" fmla="*/ 2576761 w 5806384"/>
                  <a:gd name="connsiteY343" fmla="*/ 3116328 h 4036143"/>
                  <a:gd name="connsiteX344" fmla="*/ 2532858 w 5806384"/>
                  <a:gd name="connsiteY344" fmla="*/ 3257947 h 4036143"/>
                  <a:gd name="connsiteX345" fmla="*/ 2532858 w 5806384"/>
                  <a:gd name="connsiteY345" fmla="*/ 3257947 h 4036143"/>
                  <a:gd name="connsiteX346" fmla="*/ 2656067 w 5806384"/>
                  <a:gd name="connsiteY346" fmla="*/ 3174392 h 4036143"/>
                  <a:gd name="connsiteX347" fmla="*/ 2656067 w 5806384"/>
                  <a:gd name="connsiteY347" fmla="*/ 3174392 h 4036143"/>
                  <a:gd name="connsiteX348" fmla="*/ 2579592 w 5806384"/>
                  <a:gd name="connsiteY348" fmla="*/ 3114912 h 4036143"/>
                  <a:gd name="connsiteX349" fmla="*/ 2614997 w 5806384"/>
                  <a:gd name="connsiteY349" fmla="*/ 3000200 h 4036143"/>
                  <a:gd name="connsiteX350" fmla="*/ 2653234 w 5806384"/>
                  <a:gd name="connsiteY350" fmla="*/ 2981790 h 4036143"/>
                  <a:gd name="connsiteX351" fmla="*/ 2665980 w 5806384"/>
                  <a:gd name="connsiteY351" fmla="*/ 3003033 h 4036143"/>
                  <a:gd name="connsiteX352" fmla="*/ 2657483 w 5806384"/>
                  <a:gd name="connsiteY352" fmla="*/ 3405231 h 4036143"/>
                  <a:gd name="connsiteX353" fmla="*/ 2657483 w 5806384"/>
                  <a:gd name="connsiteY353" fmla="*/ 3405231 h 4036143"/>
                  <a:gd name="connsiteX354" fmla="*/ 2658899 w 5806384"/>
                  <a:gd name="connsiteY354" fmla="*/ 3405231 h 4036143"/>
                  <a:gd name="connsiteX355" fmla="*/ 2658899 w 5806384"/>
                  <a:gd name="connsiteY355" fmla="*/ 3405231 h 4036143"/>
                  <a:gd name="connsiteX356" fmla="*/ 2695720 w 5806384"/>
                  <a:gd name="connsiteY356" fmla="*/ 3051183 h 4036143"/>
                  <a:gd name="connsiteX357" fmla="*/ 2695720 w 5806384"/>
                  <a:gd name="connsiteY357" fmla="*/ 3051183 h 4036143"/>
                  <a:gd name="connsiteX358" fmla="*/ 2668813 w 5806384"/>
                  <a:gd name="connsiteY358" fmla="*/ 3001616 h 4036143"/>
                  <a:gd name="connsiteX359" fmla="*/ 2668813 w 5806384"/>
                  <a:gd name="connsiteY359" fmla="*/ 2973293 h 4036143"/>
                  <a:gd name="connsiteX360" fmla="*/ 2837339 w 5806384"/>
                  <a:gd name="connsiteY360" fmla="*/ 2888321 h 4036143"/>
                  <a:gd name="connsiteX361" fmla="*/ 2837339 w 5806384"/>
                  <a:gd name="connsiteY361" fmla="*/ 2888321 h 4036143"/>
                  <a:gd name="connsiteX362" fmla="*/ 2631991 w 5806384"/>
                  <a:gd name="connsiteY362" fmla="*/ 2742454 h 4036143"/>
                  <a:gd name="connsiteX363" fmla="*/ 2579592 w 5806384"/>
                  <a:gd name="connsiteY363" fmla="*/ 2668812 h 4036143"/>
                  <a:gd name="connsiteX364" fmla="*/ 2792021 w 5806384"/>
                  <a:gd name="connsiteY364" fmla="*/ 2728292 h 4036143"/>
                  <a:gd name="connsiteX365" fmla="*/ 2843004 w 5806384"/>
                  <a:gd name="connsiteY365" fmla="*/ 2874159 h 4036143"/>
                  <a:gd name="connsiteX366" fmla="*/ 2843004 w 5806384"/>
                  <a:gd name="connsiteY366" fmla="*/ 2874159 h 4036143"/>
                  <a:gd name="connsiteX367" fmla="*/ 2919478 w 5806384"/>
                  <a:gd name="connsiteY367" fmla="*/ 2790604 h 4036143"/>
                  <a:gd name="connsiteX368" fmla="*/ 3184306 w 5806384"/>
                  <a:gd name="connsiteY368" fmla="*/ 2991703 h 4036143"/>
                  <a:gd name="connsiteX369" fmla="*/ 3184306 w 5806384"/>
                  <a:gd name="connsiteY369" fmla="*/ 2991703 h 4036143"/>
                  <a:gd name="connsiteX370" fmla="*/ 3197052 w 5806384"/>
                  <a:gd name="connsiteY370" fmla="*/ 2980374 h 4036143"/>
                  <a:gd name="connsiteX371" fmla="*/ 3204133 w 5806384"/>
                  <a:gd name="connsiteY371" fmla="*/ 2997368 h 4036143"/>
                  <a:gd name="connsiteX372" fmla="*/ 3191387 w 5806384"/>
                  <a:gd name="connsiteY372" fmla="*/ 3004449 h 4036143"/>
                  <a:gd name="connsiteX373" fmla="*/ 3191387 w 5806384"/>
                  <a:gd name="connsiteY373" fmla="*/ 3004449 h 4036143"/>
                  <a:gd name="connsiteX374" fmla="*/ 3212630 w 5806384"/>
                  <a:gd name="connsiteY374" fmla="*/ 3017195 h 4036143"/>
                  <a:gd name="connsiteX375" fmla="*/ 3270694 w 5806384"/>
                  <a:gd name="connsiteY375" fmla="*/ 3144652 h 4036143"/>
                  <a:gd name="connsiteX376" fmla="*/ 3270694 w 5806384"/>
                  <a:gd name="connsiteY376" fmla="*/ 3144652 h 4036143"/>
                  <a:gd name="connsiteX377" fmla="*/ 3376909 w 5806384"/>
                  <a:gd name="connsiteY377" fmla="*/ 3140403 h 4036143"/>
                  <a:gd name="connsiteX378" fmla="*/ 3396735 w 5806384"/>
                  <a:gd name="connsiteY378" fmla="*/ 3242369 h 4036143"/>
                  <a:gd name="connsiteX379" fmla="*/ 3396735 w 5806384"/>
                  <a:gd name="connsiteY379" fmla="*/ 3242369 h 4036143"/>
                  <a:gd name="connsiteX380" fmla="*/ 3480290 w 5806384"/>
                  <a:gd name="connsiteY380" fmla="*/ 3165895 h 4036143"/>
                  <a:gd name="connsiteX381" fmla="*/ 3553933 w 5806384"/>
                  <a:gd name="connsiteY381" fmla="*/ 3206964 h 4036143"/>
                  <a:gd name="connsiteX382" fmla="*/ 3430724 w 5806384"/>
                  <a:gd name="connsiteY382" fmla="*/ 3306097 h 4036143"/>
                  <a:gd name="connsiteX383" fmla="*/ 3277775 w 5806384"/>
                  <a:gd name="connsiteY383" fmla="*/ 3231040 h 4036143"/>
                  <a:gd name="connsiteX384" fmla="*/ 3277775 w 5806384"/>
                  <a:gd name="connsiteY384" fmla="*/ 3231040 h 4036143"/>
                  <a:gd name="connsiteX385" fmla="*/ 3248035 w 5806384"/>
                  <a:gd name="connsiteY385" fmla="*/ 3364161 h 4036143"/>
                  <a:gd name="connsiteX386" fmla="*/ 3248035 w 5806384"/>
                  <a:gd name="connsiteY386" fmla="*/ 3364161 h 4036143"/>
                  <a:gd name="connsiteX387" fmla="*/ 3311763 w 5806384"/>
                  <a:gd name="connsiteY387" fmla="*/ 3500116 h 4036143"/>
                  <a:gd name="connsiteX388" fmla="*/ 3154566 w 5806384"/>
                  <a:gd name="connsiteY388" fmla="*/ 3464711 h 4036143"/>
                  <a:gd name="connsiteX389" fmla="*/ 3153150 w 5806384"/>
                  <a:gd name="connsiteY389" fmla="*/ 3464711 h 4036143"/>
                  <a:gd name="connsiteX390" fmla="*/ 3257948 w 5806384"/>
                  <a:gd name="connsiteY390" fmla="*/ 3525607 h 4036143"/>
                  <a:gd name="connsiteX391" fmla="*/ 3226792 w 5806384"/>
                  <a:gd name="connsiteY391" fmla="*/ 3538353 h 4036143"/>
                  <a:gd name="connsiteX392" fmla="*/ 3226792 w 5806384"/>
                  <a:gd name="connsiteY392" fmla="*/ 3538353 h 4036143"/>
                  <a:gd name="connsiteX393" fmla="*/ 3357082 w 5806384"/>
                  <a:gd name="connsiteY393" fmla="*/ 3718209 h 4036143"/>
                  <a:gd name="connsiteX394" fmla="*/ 3357082 w 5806384"/>
                  <a:gd name="connsiteY394" fmla="*/ 3718209 h 4036143"/>
                  <a:gd name="connsiteX395" fmla="*/ 3358497 w 5806384"/>
                  <a:gd name="connsiteY395" fmla="*/ 3510029 h 4036143"/>
                  <a:gd name="connsiteX396" fmla="*/ 3358497 w 5806384"/>
                  <a:gd name="connsiteY396" fmla="*/ 3510029 h 4036143"/>
                  <a:gd name="connsiteX397" fmla="*/ 3320261 w 5806384"/>
                  <a:gd name="connsiteY397" fmla="*/ 3501532 h 4036143"/>
                  <a:gd name="connsiteX398" fmla="*/ 3372659 w 5806384"/>
                  <a:gd name="connsiteY398" fmla="*/ 3480289 h 4036143"/>
                  <a:gd name="connsiteX399" fmla="*/ 3386821 w 5806384"/>
                  <a:gd name="connsiteY399" fmla="*/ 3749365 h 4036143"/>
                  <a:gd name="connsiteX400" fmla="*/ 3265029 w 5806384"/>
                  <a:gd name="connsiteY400" fmla="*/ 3660145 h 4036143"/>
                  <a:gd name="connsiteX401" fmla="*/ 3263613 w 5806384"/>
                  <a:gd name="connsiteY401" fmla="*/ 3660145 h 4036143"/>
                  <a:gd name="connsiteX402" fmla="*/ 3337255 w 5806384"/>
                  <a:gd name="connsiteY402" fmla="*/ 3781938 h 4036143"/>
                  <a:gd name="connsiteX403" fmla="*/ 3300434 w 5806384"/>
                  <a:gd name="connsiteY403" fmla="*/ 3763527 h 4036143"/>
                  <a:gd name="connsiteX404" fmla="*/ 3300434 w 5806384"/>
                  <a:gd name="connsiteY404" fmla="*/ 3763527 h 4036143"/>
                  <a:gd name="connsiteX405" fmla="*/ 3299018 w 5806384"/>
                  <a:gd name="connsiteY405" fmla="*/ 3764943 h 4036143"/>
                  <a:gd name="connsiteX406" fmla="*/ 3351416 w 5806384"/>
                  <a:gd name="connsiteY406" fmla="*/ 3806013 h 4036143"/>
                  <a:gd name="connsiteX407" fmla="*/ 3393902 w 5806384"/>
                  <a:gd name="connsiteY407" fmla="*/ 3875406 h 4036143"/>
                  <a:gd name="connsiteX408" fmla="*/ 3393902 w 5806384"/>
                  <a:gd name="connsiteY408" fmla="*/ 3876823 h 4036143"/>
                  <a:gd name="connsiteX409" fmla="*/ 3392486 w 5806384"/>
                  <a:gd name="connsiteY409" fmla="*/ 3838585 h 4036143"/>
                  <a:gd name="connsiteX410" fmla="*/ 3555348 w 5806384"/>
                  <a:gd name="connsiteY410" fmla="*/ 3964626 h 4036143"/>
                  <a:gd name="connsiteX411" fmla="*/ 3555348 w 5806384"/>
                  <a:gd name="connsiteY411" fmla="*/ 3964626 h 4036143"/>
                  <a:gd name="connsiteX412" fmla="*/ 3570926 w 5806384"/>
                  <a:gd name="connsiteY412" fmla="*/ 3905146 h 4036143"/>
                  <a:gd name="connsiteX413" fmla="*/ 3637487 w 5806384"/>
                  <a:gd name="connsiteY413" fmla="*/ 3939135 h 4036143"/>
                  <a:gd name="connsiteX414" fmla="*/ 3637487 w 5806384"/>
                  <a:gd name="connsiteY414" fmla="*/ 3939135 h 4036143"/>
                  <a:gd name="connsiteX415" fmla="*/ 3638904 w 5806384"/>
                  <a:gd name="connsiteY415" fmla="*/ 3937719 h 4036143"/>
                  <a:gd name="connsiteX416" fmla="*/ 3638904 w 5806384"/>
                  <a:gd name="connsiteY416" fmla="*/ 3937719 h 4036143"/>
                  <a:gd name="connsiteX417" fmla="*/ 3575175 w 5806384"/>
                  <a:gd name="connsiteY417" fmla="*/ 3890985 h 4036143"/>
                  <a:gd name="connsiteX418" fmla="*/ 3647401 w 5806384"/>
                  <a:gd name="connsiteY418" fmla="*/ 3619076 h 4036143"/>
                  <a:gd name="connsiteX419" fmla="*/ 3772026 w 5806384"/>
                  <a:gd name="connsiteY419" fmla="*/ 3688469 h 4036143"/>
                  <a:gd name="connsiteX420" fmla="*/ 3772026 w 5806384"/>
                  <a:gd name="connsiteY420" fmla="*/ 3688469 h 4036143"/>
                  <a:gd name="connsiteX421" fmla="*/ 3783355 w 5806384"/>
                  <a:gd name="connsiteY421" fmla="*/ 3453381 h 4036143"/>
                  <a:gd name="connsiteX422" fmla="*/ 3896650 w 5806384"/>
                  <a:gd name="connsiteY422" fmla="*/ 3772024 h 4036143"/>
                  <a:gd name="connsiteX423" fmla="*/ 3756448 w 5806384"/>
                  <a:gd name="connsiteY423" fmla="*/ 3759279 h 4036143"/>
                  <a:gd name="connsiteX424" fmla="*/ 3781939 w 5806384"/>
                  <a:gd name="connsiteY424" fmla="*/ 3691302 h 4036143"/>
                  <a:gd name="connsiteX425" fmla="*/ 3781939 w 5806384"/>
                  <a:gd name="connsiteY425" fmla="*/ 3691302 h 4036143"/>
                  <a:gd name="connsiteX426" fmla="*/ 3660147 w 5806384"/>
                  <a:gd name="connsiteY426" fmla="*/ 3753614 h 4036143"/>
                  <a:gd name="connsiteX427" fmla="*/ 3660147 w 5806384"/>
                  <a:gd name="connsiteY427" fmla="*/ 3753614 h 4036143"/>
                  <a:gd name="connsiteX428" fmla="*/ 3755031 w 5806384"/>
                  <a:gd name="connsiteY428" fmla="*/ 3762111 h 4036143"/>
                  <a:gd name="connsiteX429" fmla="*/ 3739453 w 5806384"/>
                  <a:gd name="connsiteY429" fmla="*/ 3803181 h 4036143"/>
                  <a:gd name="connsiteX430" fmla="*/ 3739453 w 5806384"/>
                  <a:gd name="connsiteY430" fmla="*/ 3803181 h 4036143"/>
                  <a:gd name="connsiteX431" fmla="*/ 3929223 w 5806384"/>
                  <a:gd name="connsiteY431" fmla="*/ 3837169 h 4036143"/>
                  <a:gd name="connsiteX432" fmla="*/ 3929223 w 5806384"/>
                  <a:gd name="connsiteY432" fmla="*/ 3837169 h 4036143"/>
                  <a:gd name="connsiteX433" fmla="*/ 4247866 w 5806384"/>
                  <a:gd name="connsiteY433" fmla="*/ 3749365 h 4036143"/>
                  <a:gd name="connsiteX434" fmla="*/ 4379572 w 5806384"/>
                  <a:gd name="connsiteY434" fmla="*/ 3804597 h 4036143"/>
                  <a:gd name="connsiteX435" fmla="*/ 4352664 w 5806384"/>
                  <a:gd name="connsiteY435" fmla="*/ 3815926 h 4036143"/>
                  <a:gd name="connsiteX436" fmla="*/ 4424890 w 5806384"/>
                  <a:gd name="connsiteY436" fmla="*/ 3823007 h 4036143"/>
                  <a:gd name="connsiteX437" fmla="*/ 4464544 w 5806384"/>
                  <a:gd name="connsiteY437" fmla="*/ 3840002 h 4036143"/>
                  <a:gd name="connsiteX438" fmla="*/ 4471625 w 5806384"/>
                  <a:gd name="connsiteY438" fmla="*/ 3848499 h 4036143"/>
                  <a:gd name="connsiteX439" fmla="*/ 4348416 w 5806384"/>
                  <a:gd name="connsiteY439" fmla="*/ 3838585 h 4036143"/>
                  <a:gd name="connsiteX440" fmla="*/ 4347000 w 5806384"/>
                  <a:gd name="connsiteY440" fmla="*/ 3838585 h 4036143"/>
                  <a:gd name="connsiteX441" fmla="*/ 4516943 w 5806384"/>
                  <a:gd name="connsiteY441" fmla="*/ 3902314 h 4036143"/>
                  <a:gd name="connsiteX442" fmla="*/ 4536769 w 5806384"/>
                  <a:gd name="connsiteY442" fmla="*/ 3924973 h 4036143"/>
                  <a:gd name="connsiteX443" fmla="*/ 4440468 w 5806384"/>
                  <a:gd name="connsiteY443" fmla="*/ 3967459 h 4036143"/>
                  <a:gd name="connsiteX444" fmla="*/ 4440468 w 5806384"/>
                  <a:gd name="connsiteY444" fmla="*/ 3967459 h 4036143"/>
                  <a:gd name="connsiteX445" fmla="*/ 4586336 w 5806384"/>
                  <a:gd name="connsiteY445" fmla="*/ 3995783 h 4036143"/>
                  <a:gd name="connsiteX446" fmla="*/ 4586336 w 5806384"/>
                  <a:gd name="connsiteY446" fmla="*/ 3995783 h 4036143"/>
                  <a:gd name="connsiteX447" fmla="*/ 4709544 w 5806384"/>
                  <a:gd name="connsiteY447" fmla="*/ 3971707 h 4036143"/>
                  <a:gd name="connsiteX448" fmla="*/ 4710960 w 5806384"/>
                  <a:gd name="connsiteY448" fmla="*/ 3971707 h 4036143"/>
                  <a:gd name="connsiteX449" fmla="*/ 4519775 w 5806384"/>
                  <a:gd name="connsiteY449" fmla="*/ 3899481 h 4036143"/>
                  <a:gd name="connsiteX450" fmla="*/ 4477289 w 5806384"/>
                  <a:gd name="connsiteY450" fmla="*/ 3849915 h 4036143"/>
                  <a:gd name="connsiteX451" fmla="*/ 4501364 w 5806384"/>
                  <a:gd name="connsiteY451" fmla="*/ 3851331 h 4036143"/>
                  <a:gd name="connsiteX452" fmla="*/ 4467376 w 5806384"/>
                  <a:gd name="connsiteY452" fmla="*/ 3837169 h 4036143"/>
                  <a:gd name="connsiteX453" fmla="*/ 4457463 w 5806384"/>
                  <a:gd name="connsiteY453" fmla="*/ 3825840 h 4036143"/>
                  <a:gd name="connsiteX454" fmla="*/ 4841250 w 5806384"/>
                  <a:gd name="connsiteY454" fmla="*/ 3862661 h 4036143"/>
                  <a:gd name="connsiteX455" fmla="*/ 4987118 w 5806384"/>
                  <a:gd name="connsiteY455" fmla="*/ 3964626 h 4036143"/>
                  <a:gd name="connsiteX456" fmla="*/ 5087668 w 5806384"/>
                  <a:gd name="connsiteY456" fmla="*/ 4029771 h 4036143"/>
                  <a:gd name="connsiteX457" fmla="*/ 5087668 w 5806384"/>
                  <a:gd name="connsiteY457" fmla="*/ 4029771 h 4036143"/>
                  <a:gd name="connsiteX458" fmla="*/ 5089084 w 5806384"/>
                  <a:gd name="connsiteY458" fmla="*/ 4028355 h 4036143"/>
                  <a:gd name="connsiteX459" fmla="*/ 4985702 w 5806384"/>
                  <a:gd name="connsiteY459" fmla="*/ 3958962 h 4036143"/>
                  <a:gd name="connsiteX460" fmla="*/ 4839834 w 5806384"/>
                  <a:gd name="connsiteY460" fmla="*/ 3856996 h 4036143"/>
                  <a:gd name="connsiteX461" fmla="*/ 4453214 w 5806384"/>
                  <a:gd name="connsiteY461" fmla="*/ 3820175 h 4036143"/>
                  <a:gd name="connsiteX462" fmla="*/ 4422058 w 5806384"/>
                  <a:gd name="connsiteY462" fmla="*/ 3783354 h 4036143"/>
                  <a:gd name="connsiteX463" fmla="*/ 4422058 w 5806384"/>
                  <a:gd name="connsiteY463" fmla="*/ 3783354 h 4036143"/>
                  <a:gd name="connsiteX464" fmla="*/ 4382405 w 5806384"/>
                  <a:gd name="connsiteY464" fmla="*/ 3800348 h 4036143"/>
                  <a:gd name="connsiteX465" fmla="*/ 4247866 w 5806384"/>
                  <a:gd name="connsiteY465" fmla="*/ 3745117 h 4036143"/>
                  <a:gd name="connsiteX466" fmla="*/ 4247866 w 5806384"/>
                  <a:gd name="connsiteY466" fmla="*/ 3745117 h 4036143"/>
                  <a:gd name="connsiteX467" fmla="*/ 3929223 w 5806384"/>
                  <a:gd name="connsiteY467" fmla="*/ 3832921 h 4036143"/>
                  <a:gd name="connsiteX468" fmla="*/ 3742286 w 5806384"/>
                  <a:gd name="connsiteY468" fmla="*/ 3800348 h 4036143"/>
                  <a:gd name="connsiteX469" fmla="*/ 3756448 w 5806384"/>
                  <a:gd name="connsiteY469" fmla="*/ 3760695 h 4036143"/>
                  <a:gd name="connsiteX470" fmla="*/ 3899483 w 5806384"/>
                  <a:gd name="connsiteY470" fmla="*/ 3773440 h 4036143"/>
                  <a:gd name="connsiteX471" fmla="*/ 3899483 w 5806384"/>
                  <a:gd name="connsiteY471" fmla="*/ 3773440 h 4036143"/>
                  <a:gd name="connsiteX472" fmla="*/ 3781939 w 5806384"/>
                  <a:gd name="connsiteY472" fmla="*/ 3442052 h 4036143"/>
                  <a:gd name="connsiteX473" fmla="*/ 3781939 w 5806384"/>
                  <a:gd name="connsiteY473" fmla="*/ 3440636 h 4036143"/>
                  <a:gd name="connsiteX474" fmla="*/ 3770610 w 5806384"/>
                  <a:gd name="connsiteY474" fmla="*/ 3682804 h 4036143"/>
                  <a:gd name="connsiteX475" fmla="*/ 3647401 w 5806384"/>
                  <a:gd name="connsiteY475" fmla="*/ 3614827 h 4036143"/>
                  <a:gd name="connsiteX476" fmla="*/ 3647401 w 5806384"/>
                  <a:gd name="connsiteY476" fmla="*/ 3614827 h 4036143"/>
                  <a:gd name="connsiteX477" fmla="*/ 3575175 w 5806384"/>
                  <a:gd name="connsiteY477" fmla="*/ 3888152 h 4036143"/>
                  <a:gd name="connsiteX478" fmla="*/ 3389654 w 5806384"/>
                  <a:gd name="connsiteY478" fmla="*/ 3752198 h 4036143"/>
                  <a:gd name="connsiteX479" fmla="*/ 3375492 w 5806384"/>
                  <a:gd name="connsiteY479" fmla="*/ 3478873 h 4036143"/>
                  <a:gd name="connsiteX480" fmla="*/ 3375492 w 5806384"/>
                  <a:gd name="connsiteY480" fmla="*/ 3478873 h 4036143"/>
                  <a:gd name="connsiteX481" fmla="*/ 3318844 w 5806384"/>
                  <a:gd name="connsiteY481" fmla="*/ 3502948 h 4036143"/>
                  <a:gd name="connsiteX482" fmla="*/ 3317428 w 5806384"/>
                  <a:gd name="connsiteY482" fmla="*/ 3502948 h 4036143"/>
                  <a:gd name="connsiteX483" fmla="*/ 3252283 w 5806384"/>
                  <a:gd name="connsiteY483" fmla="*/ 3366994 h 4036143"/>
                  <a:gd name="connsiteX484" fmla="*/ 3280607 w 5806384"/>
                  <a:gd name="connsiteY484" fmla="*/ 3236704 h 4036143"/>
                  <a:gd name="connsiteX485" fmla="*/ 3432140 w 5806384"/>
                  <a:gd name="connsiteY485" fmla="*/ 3310346 h 4036143"/>
                  <a:gd name="connsiteX486" fmla="*/ 3432140 w 5806384"/>
                  <a:gd name="connsiteY486" fmla="*/ 3310346 h 4036143"/>
                  <a:gd name="connsiteX487" fmla="*/ 3558181 w 5806384"/>
                  <a:gd name="connsiteY487" fmla="*/ 3209797 h 4036143"/>
                  <a:gd name="connsiteX488" fmla="*/ 3558181 w 5806384"/>
                  <a:gd name="connsiteY488" fmla="*/ 3209797 h 4036143"/>
                  <a:gd name="connsiteX489" fmla="*/ 3483123 w 5806384"/>
                  <a:gd name="connsiteY489" fmla="*/ 3167311 h 4036143"/>
                  <a:gd name="connsiteX490" fmla="*/ 3517111 w 5806384"/>
                  <a:gd name="connsiteY490" fmla="*/ 3136155 h 4036143"/>
                  <a:gd name="connsiteX491" fmla="*/ 3432140 w 5806384"/>
                  <a:gd name="connsiteY491" fmla="*/ 3138987 h 4036143"/>
                  <a:gd name="connsiteX492" fmla="*/ 3372659 w 5806384"/>
                  <a:gd name="connsiteY492" fmla="*/ 3106415 h 4036143"/>
                  <a:gd name="connsiteX493" fmla="*/ 3342920 w 5806384"/>
                  <a:gd name="connsiteY493" fmla="*/ 2954882 h 4036143"/>
                  <a:gd name="connsiteX494" fmla="*/ 3450550 w 5806384"/>
                  <a:gd name="connsiteY494" fmla="*/ 3005865 h 4036143"/>
                  <a:gd name="connsiteX495" fmla="*/ 3450550 w 5806384"/>
                  <a:gd name="connsiteY495" fmla="*/ 3005865 h 4036143"/>
                  <a:gd name="connsiteX496" fmla="*/ 3434972 w 5806384"/>
                  <a:gd name="connsiteY496" fmla="*/ 2888321 h 4036143"/>
                  <a:gd name="connsiteX497" fmla="*/ 3696968 w 5806384"/>
                  <a:gd name="connsiteY497" fmla="*/ 2756616 h 4036143"/>
                  <a:gd name="connsiteX498" fmla="*/ 3696968 w 5806384"/>
                  <a:gd name="connsiteY498" fmla="*/ 2756616 h 4036143"/>
                  <a:gd name="connsiteX499" fmla="*/ 3621910 w 5806384"/>
                  <a:gd name="connsiteY499" fmla="*/ 2718378 h 4036143"/>
                  <a:gd name="connsiteX500" fmla="*/ 3779106 w 5806384"/>
                  <a:gd name="connsiteY500" fmla="*/ 2347336 h 4036143"/>
                  <a:gd name="connsiteX501" fmla="*/ 3779106 w 5806384"/>
                  <a:gd name="connsiteY501" fmla="*/ 2347336 h 4036143"/>
                  <a:gd name="connsiteX502" fmla="*/ 3745118 w 5806384"/>
                  <a:gd name="connsiteY502" fmla="*/ 2072595 h 4036143"/>
                  <a:gd name="connsiteX503" fmla="*/ 3823009 w 5806384"/>
                  <a:gd name="connsiteY503" fmla="*/ 2102335 h 4036143"/>
                  <a:gd name="connsiteX504" fmla="*/ 3823009 w 5806384"/>
                  <a:gd name="connsiteY504" fmla="*/ 2102335 h 4036143"/>
                  <a:gd name="connsiteX505" fmla="*/ 3865495 w 5806384"/>
                  <a:gd name="connsiteY505" fmla="*/ 1969213 h 4036143"/>
                  <a:gd name="connsiteX506" fmla="*/ 4045350 w 5806384"/>
                  <a:gd name="connsiteY506" fmla="*/ 2074011 h 4036143"/>
                  <a:gd name="connsiteX507" fmla="*/ 4046767 w 5806384"/>
                  <a:gd name="connsiteY507" fmla="*/ 2074011 h 4036143"/>
                  <a:gd name="connsiteX508" fmla="*/ 3889569 w 5806384"/>
                  <a:gd name="connsiteY508" fmla="*/ 1891323 h 4036143"/>
                  <a:gd name="connsiteX509" fmla="*/ 3933472 w 5806384"/>
                  <a:gd name="connsiteY509" fmla="*/ 1752536 h 4036143"/>
                  <a:gd name="connsiteX510" fmla="*/ 4086420 w 5806384"/>
                  <a:gd name="connsiteY510" fmla="*/ 1710050 h 4036143"/>
                  <a:gd name="connsiteX511" fmla="*/ 4235120 w 5806384"/>
                  <a:gd name="connsiteY511" fmla="*/ 1786525 h 4036143"/>
                  <a:gd name="connsiteX512" fmla="*/ 4195467 w 5806384"/>
                  <a:gd name="connsiteY512" fmla="*/ 1974878 h 4036143"/>
                  <a:gd name="connsiteX513" fmla="*/ 4195467 w 5806384"/>
                  <a:gd name="connsiteY513" fmla="*/ 1974878 h 4036143"/>
                  <a:gd name="connsiteX514" fmla="*/ 4390901 w 5806384"/>
                  <a:gd name="connsiteY514" fmla="*/ 1862999 h 4036143"/>
                  <a:gd name="connsiteX515" fmla="*/ 4390901 w 5806384"/>
                  <a:gd name="connsiteY515" fmla="*/ 1862999 h 4036143"/>
                  <a:gd name="connsiteX516" fmla="*/ 4243617 w 5806384"/>
                  <a:gd name="connsiteY516" fmla="*/ 1786525 h 4036143"/>
                  <a:gd name="connsiteX517" fmla="*/ 4270525 w 5806384"/>
                  <a:gd name="connsiteY517" fmla="*/ 1661900 h 4036143"/>
                  <a:gd name="connsiteX518" fmla="*/ 4407896 w 5806384"/>
                  <a:gd name="connsiteY518" fmla="*/ 1625079 h 4036143"/>
                  <a:gd name="connsiteX519" fmla="*/ 4407896 w 5806384"/>
                  <a:gd name="connsiteY519" fmla="*/ 1625079 h 4036143"/>
                  <a:gd name="connsiteX520" fmla="*/ 4274774 w 5806384"/>
                  <a:gd name="connsiteY520" fmla="*/ 1354587 h 4036143"/>
                  <a:gd name="connsiteX521" fmla="*/ 4480121 w 5806384"/>
                  <a:gd name="connsiteY521" fmla="*/ 1273864 h 4036143"/>
                  <a:gd name="connsiteX522" fmla="*/ 4480121 w 5806384"/>
                  <a:gd name="connsiteY522" fmla="*/ 1273864 h 4036143"/>
                  <a:gd name="connsiteX523" fmla="*/ 4478705 w 5806384"/>
                  <a:gd name="connsiteY523" fmla="*/ 1261118 h 4036143"/>
                  <a:gd name="connsiteX524" fmla="*/ 4777522 w 5806384"/>
                  <a:gd name="connsiteY524" fmla="*/ 1191725 h 4036143"/>
                  <a:gd name="connsiteX525" fmla="*/ 4984286 w 5806384"/>
                  <a:gd name="connsiteY525" fmla="*/ 970799 h 4036143"/>
                  <a:gd name="connsiteX526" fmla="*/ 5267524 w 5806384"/>
                  <a:gd name="connsiteY526" fmla="*/ 1129412 h 4036143"/>
                  <a:gd name="connsiteX527" fmla="*/ 5149980 w 5806384"/>
                  <a:gd name="connsiteY527" fmla="*/ 1232794 h 4036143"/>
                  <a:gd name="connsiteX528" fmla="*/ 5040934 w 5806384"/>
                  <a:gd name="connsiteY528" fmla="*/ 1307852 h 4036143"/>
                  <a:gd name="connsiteX529" fmla="*/ 5040934 w 5806384"/>
                  <a:gd name="connsiteY529" fmla="*/ 1307852 h 4036143"/>
                  <a:gd name="connsiteX530" fmla="*/ 5113159 w 5806384"/>
                  <a:gd name="connsiteY530" fmla="*/ 1416899 h 4036143"/>
                  <a:gd name="connsiteX531" fmla="*/ 5021107 w 5806384"/>
                  <a:gd name="connsiteY531" fmla="*/ 1585426 h 4036143"/>
                  <a:gd name="connsiteX532" fmla="*/ 4934719 w 5806384"/>
                  <a:gd name="connsiteY532" fmla="*/ 1693056 h 4036143"/>
                  <a:gd name="connsiteX533" fmla="*/ 4844083 w 5806384"/>
                  <a:gd name="connsiteY533" fmla="*/ 1821930 h 4036143"/>
                  <a:gd name="connsiteX534" fmla="*/ 4784602 w 5806384"/>
                  <a:gd name="connsiteY534" fmla="*/ 1879993 h 4036143"/>
                  <a:gd name="connsiteX535" fmla="*/ 4784602 w 5806384"/>
                  <a:gd name="connsiteY535" fmla="*/ 1879993 h 4036143"/>
                  <a:gd name="connsiteX536" fmla="*/ 4786019 w 5806384"/>
                  <a:gd name="connsiteY536" fmla="*/ 1881410 h 4036143"/>
                  <a:gd name="connsiteX537" fmla="*/ 4786019 w 5806384"/>
                  <a:gd name="connsiteY537" fmla="*/ 1881410 h 4036143"/>
                  <a:gd name="connsiteX538" fmla="*/ 4845499 w 5806384"/>
                  <a:gd name="connsiteY538" fmla="*/ 1823346 h 4036143"/>
                  <a:gd name="connsiteX539" fmla="*/ 4937551 w 5806384"/>
                  <a:gd name="connsiteY539" fmla="*/ 1693056 h 4036143"/>
                  <a:gd name="connsiteX540" fmla="*/ 5023939 w 5806384"/>
                  <a:gd name="connsiteY540" fmla="*/ 1585426 h 4036143"/>
                  <a:gd name="connsiteX541" fmla="*/ 5115992 w 5806384"/>
                  <a:gd name="connsiteY541" fmla="*/ 1416899 h 4036143"/>
                  <a:gd name="connsiteX542" fmla="*/ 5115992 w 5806384"/>
                  <a:gd name="connsiteY542" fmla="*/ 1416899 h 4036143"/>
                  <a:gd name="connsiteX543" fmla="*/ 5045182 w 5806384"/>
                  <a:gd name="connsiteY543" fmla="*/ 1309268 h 4036143"/>
                  <a:gd name="connsiteX544" fmla="*/ 5152812 w 5806384"/>
                  <a:gd name="connsiteY544" fmla="*/ 1235626 h 4036143"/>
                  <a:gd name="connsiteX545" fmla="*/ 5271773 w 5806384"/>
                  <a:gd name="connsiteY545" fmla="*/ 1130828 h 4036143"/>
                  <a:gd name="connsiteX546" fmla="*/ 5271773 w 5806384"/>
                  <a:gd name="connsiteY546" fmla="*/ 1130828 h 4036143"/>
                  <a:gd name="connsiteX547" fmla="*/ 4984286 w 5806384"/>
                  <a:gd name="connsiteY547" fmla="*/ 969383 h 4036143"/>
                  <a:gd name="connsiteX548" fmla="*/ 4984286 w 5806384"/>
                  <a:gd name="connsiteY548" fmla="*/ 969383 h 4036143"/>
                  <a:gd name="connsiteX549" fmla="*/ 4776106 w 5806384"/>
                  <a:gd name="connsiteY549" fmla="*/ 1188892 h 4036143"/>
                  <a:gd name="connsiteX550" fmla="*/ 4477289 w 5806384"/>
                  <a:gd name="connsiteY550" fmla="*/ 1258286 h 4036143"/>
                  <a:gd name="connsiteX551" fmla="*/ 4458878 w 5806384"/>
                  <a:gd name="connsiteY551" fmla="*/ 1115250 h 4036143"/>
                  <a:gd name="connsiteX552" fmla="*/ 4542434 w 5806384"/>
                  <a:gd name="connsiteY552" fmla="*/ 980712 h 4036143"/>
                  <a:gd name="connsiteX553" fmla="*/ 4618908 w 5806384"/>
                  <a:gd name="connsiteY553" fmla="*/ 956637 h 4036143"/>
                  <a:gd name="connsiteX554" fmla="*/ 4771857 w 5806384"/>
                  <a:gd name="connsiteY554" fmla="*/ 1108169 h 4036143"/>
                  <a:gd name="connsiteX555" fmla="*/ 4771857 w 5806384"/>
                  <a:gd name="connsiteY555" fmla="*/ 1108169 h 4036143"/>
                  <a:gd name="connsiteX556" fmla="*/ 5084835 w 5806384"/>
                  <a:gd name="connsiteY556" fmla="*/ 892908 h 4036143"/>
                  <a:gd name="connsiteX557" fmla="*/ 5264692 w 5806384"/>
                  <a:gd name="connsiteY557" fmla="*/ 993458 h 4036143"/>
                  <a:gd name="connsiteX558" fmla="*/ 5264692 w 5806384"/>
                  <a:gd name="connsiteY558" fmla="*/ 993458 h 4036143"/>
                  <a:gd name="connsiteX559" fmla="*/ 5271773 w 5806384"/>
                  <a:gd name="connsiteY559" fmla="*/ 982128 h 4036143"/>
                  <a:gd name="connsiteX560" fmla="*/ 5355327 w 5806384"/>
                  <a:gd name="connsiteY560" fmla="*/ 1030279 h 4036143"/>
                  <a:gd name="connsiteX561" fmla="*/ 5277437 w 5806384"/>
                  <a:gd name="connsiteY561" fmla="*/ 1147823 h 4036143"/>
                  <a:gd name="connsiteX562" fmla="*/ 5277437 w 5806384"/>
                  <a:gd name="connsiteY562" fmla="*/ 1149239 h 4036143"/>
                  <a:gd name="connsiteX563" fmla="*/ 5404894 w 5806384"/>
                  <a:gd name="connsiteY563" fmla="*/ 1057186 h 4036143"/>
                  <a:gd name="connsiteX564" fmla="*/ 5404894 w 5806384"/>
                  <a:gd name="connsiteY564" fmla="*/ 1057186 h 4036143"/>
                  <a:gd name="connsiteX565" fmla="*/ 5358160 w 5806384"/>
                  <a:gd name="connsiteY565" fmla="*/ 1030279 h 4036143"/>
                  <a:gd name="connsiteX566" fmla="*/ 5411975 w 5806384"/>
                  <a:gd name="connsiteY566" fmla="*/ 949556 h 4036143"/>
                  <a:gd name="connsiteX567" fmla="*/ 5489866 w 5806384"/>
                  <a:gd name="connsiteY567" fmla="*/ 1043025 h 4036143"/>
                  <a:gd name="connsiteX568" fmla="*/ 5489866 w 5806384"/>
                  <a:gd name="connsiteY568" fmla="*/ 1043025 h 4036143"/>
                  <a:gd name="connsiteX569" fmla="*/ 5706544 w 5806384"/>
                  <a:gd name="connsiteY569" fmla="*/ 803688 h 4036143"/>
                  <a:gd name="connsiteX570" fmla="*/ 5804260 w 5806384"/>
                  <a:gd name="connsiteY570" fmla="*/ 929729 h 4036143"/>
                  <a:gd name="connsiteX571" fmla="*/ 5804260 w 5806384"/>
                  <a:gd name="connsiteY571" fmla="*/ 929729 h 4036143"/>
                  <a:gd name="connsiteX572" fmla="*/ 5805677 w 5806384"/>
                  <a:gd name="connsiteY572" fmla="*/ 928313 h 4036143"/>
                  <a:gd name="connsiteX573" fmla="*/ 5805677 w 5806384"/>
                  <a:gd name="connsiteY573" fmla="*/ 928313 h 4036143"/>
                  <a:gd name="connsiteX574" fmla="*/ 5707959 w 5806384"/>
                  <a:gd name="connsiteY574" fmla="*/ 799440 h 4036143"/>
                  <a:gd name="connsiteX575" fmla="*/ 3376909 w 5806384"/>
                  <a:gd name="connsiteY575" fmla="*/ 3106415 h 4036143"/>
                  <a:gd name="connsiteX576" fmla="*/ 3432140 w 5806384"/>
                  <a:gd name="connsiteY576" fmla="*/ 3137571 h 4036143"/>
                  <a:gd name="connsiteX577" fmla="*/ 3383990 w 5806384"/>
                  <a:gd name="connsiteY577" fmla="*/ 3138987 h 4036143"/>
                  <a:gd name="connsiteX578" fmla="*/ 3376909 w 5806384"/>
                  <a:gd name="connsiteY578" fmla="*/ 3106415 h 4036143"/>
                  <a:gd name="connsiteX579" fmla="*/ 3402400 w 5806384"/>
                  <a:gd name="connsiteY579" fmla="*/ 3239537 h 4036143"/>
                  <a:gd name="connsiteX580" fmla="*/ 3382573 w 5806384"/>
                  <a:gd name="connsiteY580" fmla="*/ 3141819 h 4036143"/>
                  <a:gd name="connsiteX581" fmla="*/ 3434972 w 5806384"/>
                  <a:gd name="connsiteY581" fmla="*/ 3140403 h 4036143"/>
                  <a:gd name="connsiteX582" fmla="*/ 3483123 w 5806384"/>
                  <a:gd name="connsiteY582" fmla="*/ 3167311 h 4036143"/>
                  <a:gd name="connsiteX583" fmla="*/ 3402400 w 5806384"/>
                  <a:gd name="connsiteY583" fmla="*/ 3239537 h 4036143"/>
                  <a:gd name="connsiteX584" fmla="*/ 3439221 w 5806384"/>
                  <a:gd name="connsiteY584" fmla="*/ 3138987 h 4036143"/>
                  <a:gd name="connsiteX585" fmla="*/ 3514279 w 5806384"/>
                  <a:gd name="connsiteY585" fmla="*/ 3136155 h 4036143"/>
                  <a:gd name="connsiteX586" fmla="*/ 3483123 w 5806384"/>
                  <a:gd name="connsiteY586" fmla="*/ 3164478 h 4036143"/>
                  <a:gd name="connsiteX587" fmla="*/ 3439221 w 5806384"/>
                  <a:gd name="connsiteY587" fmla="*/ 3138987 h 4036143"/>
                  <a:gd name="connsiteX588" fmla="*/ 2505951 w 5806384"/>
                  <a:gd name="connsiteY588" fmla="*/ 3059680 h 4036143"/>
                  <a:gd name="connsiteX589" fmla="*/ 2614997 w 5806384"/>
                  <a:gd name="connsiteY589" fmla="*/ 3004449 h 4036143"/>
                  <a:gd name="connsiteX590" fmla="*/ 2579592 w 5806384"/>
                  <a:gd name="connsiteY590" fmla="*/ 3117744 h 4036143"/>
                  <a:gd name="connsiteX591" fmla="*/ 2505951 w 5806384"/>
                  <a:gd name="connsiteY591" fmla="*/ 3059680 h 4036143"/>
                  <a:gd name="connsiteX592" fmla="*/ 2539939 w 5806384"/>
                  <a:gd name="connsiteY592" fmla="*/ 3255115 h 4036143"/>
                  <a:gd name="connsiteX593" fmla="*/ 2581009 w 5806384"/>
                  <a:gd name="connsiteY593" fmla="*/ 3119160 h 4036143"/>
                  <a:gd name="connsiteX594" fmla="*/ 2654651 w 5806384"/>
                  <a:gd name="connsiteY594" fmla="*/ 3175808 h 4036143"/>
                  <a:gd name="connsiteX595" fmla="*/ 2539939 w 5806384"/>
                  <a:gd name="connsiteY595" fmla="*/ 3255115 h 4036143"/>
                  <a:gd name="connsiteX596" fmla="*/ 1928145 w 5806384"/>
                  <a:gd name="connsiteY596" fmla="*/ 2469129 h 4036143"/>
                  <a:gd name="connsiteX597" fmla="*/ 1712883 w 5806384"/>
                  <a:gd name="connsiteY597" fmla="*/ 2498869 h 4036143"/>
                  <a:gd name="connsiteX598" fmla="*/ 1496206 w 5806384"/>
                  <a:gd name="connsiteY598" fmla="*/ 2110833 h 4036143"/>
                  <a:gd name="connsiteX599" fmla="*/ 1496206 w 5806384"/>
                  <a:gd name="connsiteY599" fmla="*/ 2110833 h 4036143"/>
                  <a:gd name="connsiteX600" fmla="*/ 1493374 w 5806384"/>
                  <a:gd name="connsiteY600" fmla="*/ 2110833 h 4036143"/>
                  <a:gd name="connsiteX601" fmla="*/ 1487709 w 5806384"/>
                  <a:gd name="connsiteY601" fmla="*/ 2098087 h 4036143"/>
                  <a:gd name="connsiteX602" fmla="*/ 1928145 w 5806384"/>
                  <a:gd name="connsiteY602" fmla="*/ 2469129 h 4036143"/>
                  <a:gd name="connsiteX603" fmla="*/ 1928145 w 5806384"/>
                  <a:gd name="connsiteY603" fmla="*/ 2865662 h 4036143"/>
                  <a:gd name="connsiteX604" fmla="*/ 1824762 w 5806384"/>
                  <a:gd name="connsiteY604" fmla="*/ 2869911 h 4036143"/>
                  <a:gd name="connsiteX605" fmla="*/ 1814849 w 5806384"/>
                  <a:gd name="connsiteY605" fmla="*/ 2845835 h 4036143"/>
                  <a:gd name="connsiteX606" fmla="*/ 1928145 w 5806384"/>
                  <a:gd name="connsiteY606" fmla="*/ 2865662 h 4036143"/>
                  <a:gd name="connsiteX607" fmla="*/ 1867248 w 5806384"/>
                  <a:gd name="connsiteY607" fmla="*/ 2966212 h 4036143"/>
                  <a:gd name="connsiteX608" fmla="*/ 1826179 w 5806384"/>
                  <a:gd name="connsiteY608" fmla="*/ 2871327 h 4036143"/>
                  <a:gd name="connsiteX609" fmla="*/ 1939474 w 5806384"/>
                  <a:gd name="connsiteY609" fmla="*/ 2867078 h 4036143"/>
                  <a:gd name="connsiteX610" fmla="*/ 1939474 w 5806384"/>
                  <a:gd name="connsiteY610" fmla="*/ 2867078 h 4036143"/>
                  <a:gd name="connsiteX611" fmla="*/ 1939474 w 5806384"/>
                  <a:gd name="connsiteY611" fmla="*/ 2865662 h 4036143"/>
                  <a:gd name="connsiteX612" fmla="*/ 1813433 w 5806384"/>
                  <a:gd name="connsiteY612" fmla="*/ 2843003 h 4036143"/>
                  <a:gd name="connsiteX613" fmla="*/ 1766699 w 5806384"/>
                  <a:gd name="connsiteY613" fmla="*/ 2735373 h 4036143"/>
                  <a:gd name="connsiteX614" fmla="*/ 1969214 w 5806384"/>
                  <a:gd name="connsiteY614" fmla="*/ 2801934 h 4036143"/>
                  <a:gd name="connsiteX615" fmla="*/ 2006035 w 5806384"/>
                  <a:gd name="connsiteY615" fmla="*/ 2950634 h 4036143"/>
                  <a:gd name="connsiteX616" fmla="*/ 1867248 w 5806384"/>
                  <a:gd name="connsiteY616" fmla="*/ 2966212 h 4036143"/>
                  <a:gd name="connsiteX617" fmla="*/ 1745456 w 5806384"/>
                  <a:gd name="connsiteY617" fmla="*/ 2833090 h 4036143"/>
                  <a:gd name="connsiteX618" fmla="*/ 1812017 w 5806384"/>
                  <a:gd name="connsiteY618" fmla="*/ 2844419 h 4036143"/>
                  <a:gd name="connsiteX619" fmla="*/ 1823346 w 5806384"/>
                  <a:gd name="connsiteY619" fmla="*/ 2868495 h 4036143"/>
                  <a:gd name="connsiteX620" fmla="*/ 1775196 w 5806384"/>
                  <a:gd name="connsiteY620" fmla="*/ 2869911 h 4036143"/>
                  <a:gd name="connsiteX621" fmla="*/ 1745456 w 5806384"/>
                  <a:gd name="connsiteY621" fmla="*/ 2833090 h 4036143"/>
                  <a:gd name="connsiteX622" fmla="*/ 1708635 w 5806384"/>
                  <a:gd name="connsiteY622" fmla="*/ 2827425 h 4036143"/>
                  <a:gd name="connsiteX623" fmla="*/ 1704386 w 5806384"/>
                  <a:gd name="connsiteY623" fmla="*/ 2874159 h 4036143"/>
                  <a:gd name="connsiteX624" fmla="*/ 1649155 w 5806384"/>
                  <a:gd name="connsiteY624" fmla="*/ 2875576 h 4036143"/>
                  <a:gd name="connsiteX625" fmla="*/ 1554270 w 5806384"/>
                  <a:gd name="connsiteY625" fmla="*/ 2799101 h 4036143"/>
                  <a:gd name="connsiteX626" fmla="*/ 1708635 w 5806384"/>
                  <a:gd name="connsiteY626" fmla="*/ 2827425 h 4036143"/>
                  <a:gd name="connsiteX627" fmla="*/ 1405570 w 5806384"/>
                  <a:gd name="connsiteY627" fmla="*/ 2392654 h 4036143"/>
                  <a:gd name="connsiteX628" fmla="*/ 1439559 w 5806384"/>
                  <a:gd name="connsiteY628" fmla="*/ 2437973 h 4036143"/>
                  <a:gd name="connsiteX629" fmla="*/ 1303604 w 5806384"/>
                  <a:gd name="connsiteY629" fmla="*/ 2547019 h 4036143"/>
                  <a:gd name="connsiteX630" fmla="*/ 1365916 w 5806384"/>
                  <a:gd name="connsiteY630" fmla="*/ 2402568 h 4036143"/>
                  <a:gd name="connsiteX631" fmla="*/ 1405570 w 5806384"/>
                  <a:gd name="connsiteY631" fmla="*/ 2392654 h 4036143"/>
                  <a:gd name="connsiteX632" fmla="*/ 1299356 w 5806384"/>
                  <a:gd name="connsiteY632" fmla="*/ 2249619 h 4036143"/>
                  <a:gd name="connsiteX633" fmla="*/ 1222881 w 5806384"/>
                  <a:gd name="connsiteY633" fmla="*/ 2149070 h 4036143"/>
                  <a:gd name="connsiteX634" fmla="*/ 1228546 w 5806384"/>
                  <a:gd name="connsiteY634" fmla="*/ 2144821 h 4036143"/>
                  <a:gd name="connsiteX635" fmla="*/ 1351754 w 5806384"/>
                  <a:gd name="connsiteY635" fmla="*/ 2130659 h 4036143"/>
                  <a:gd name="connsiteX636" fmla="*/ 1387159 w 5806384"/>
                  <a:gd name="connsiteY636" fmla="*/ 2272278 h 4036143"/>
                  <a:gd name="connsiteX637" fmla="*/ 1387159 w 5806384"/>
                  <a:gd name="connsiteY637" fmla="*/ 2272278 h 4036143"/>
                  <a:gd name="connsiteX638" fmla="*/ 1480628 w 5806384"/>
                  <a:gd name="connsiteY638" fmla="*/ 2137740 h 4036143"/>
                  <a:gd name="connsiteX639" fmla="*/ 1389992 w 5806384"/>
                  <a:gd name="connsiteY639" fmla="*/ 2345920 h 4036143"/>
                  <a:gd name="connsiteX640" fmla="*/ 1299356 w 5806384"/>
                  <a:gd name="connsiteY640" fmla="*/ 2249619 h 4036143"/>
                  <a:gd name="connsiteX641" fmla="*/ 1296523 w 5806384"/>
                  <a:gd name="connsiteY641" fmla="*/ 2565430 h 4036143"/>
                  <a:gd name="connsiteX642" fmla="*/ 1303604 w 5806384"/>
                  <a:gd name="connsiteY642" fmla="*/ 2551268 h 4036143"/>
                  <a:gd name="connsiteX643" fmla="*/ 1442391 w 5806384"/>
                  <a:gd name="connsiteY643" fmla="*/ 2439389 h 4036143"/>
                  <a:gd name="connsiteX644" fmla="*/ 1567016 w 5806384"/>
                  <a:gd name="connsiteY644" fmla="*/ 2602251 h 4036143"/>
                  <a:gd name="connsiteX645" fmla="*/ 1542940 w 5806384"/>
                  <a:gd name="connsiteY645" fmla="*/ 2636239 h 4036143"/>
                  <a:gd name="connsiteX646" fmla="*/ 1296523 w 5806384"/>
                  <a:gd name="connsiteY646" fmla="*/ 2565430 h 4036143"/>
                  <a:gd name="connsiteX647" fmla="*/ 1609501 w 5806384"/>
                  <a:gd name="connsiteY647" fmla="*/ 2658898 h 4036143"/>
                  <a:gd name="connsiteX648" fmla="*/ 1632161 w 5806384"/>
                  <a:gd name="connsiteY648" fmla="*/ 2688638 h 4036143"/>
                  <a:gd name="connsiteX649" fmla="*/ 1530195 w 5806384"/>
                  <a:gd name="connsiteY649" fmla="*/ 2654650 h 4036143"/>
                  <a:gd name="connsiteX650" fmla="*/ 1541524 w 5806384"/>
                  <a:gd name="connsiteY650" fmla="*/ 2639072 h 4036143"/>
                  <a:gd name="connsiteX651" fmla="*/ 1609501 w 5806384"/>
                  <a:gd name="connsiteY651" fmla="*/ 2658898 h 4036143"/>
                  <a:gd name="connsiteX652" fmla="*/ 1425397 w 5806384"/>
                  <a:gd name="connsiteY652" fmla="*/ 2386990 h 4036143"/>
                  <a:gd name="connsiteX653" fmla="*/ 1459385 w 5806384"/>
                  <a:gd name="connsiteY653" fmla="*/ 2422394 h 4036143"/>
                  <a:gd name="connsiteX654" fmla="*/ 1442391 w 5806384"/>
                  <a:gd name="connsiteY654" fmla="*/ 2436556 h 4036143"/>
                  <a:gd name="connsiteX655" fmla="*/ 1408402 w 5806384"/>
                  <a:gd name="connsiteY655" fmla="*/ 2392654 h 4036143"/>
                  <a:gd name="connsiteX656" fmla="*/ 1425397 w 5806384"/>
                  <a:gd name="connsiteY656" fmla="*/ 2386990 h 4036143"/>
                  <a:gd name="connsiteX657" fmla="*/ 1428229 w 5806384"/>
                  <a:gd name="connsiteY657" fmla="*/ 2386990 h 4036143"/>
                  <a:gd name="connsiteX658" fmla="*/ 1542940 w 5806384"/>
                  <a:gd name="connsiteY658" fmla="*/ 2354417 h 4036143"/>
                  <a:gd name="connsiteX659" fmla="*/ 1460801 w 5806384"/>
                  <a:gd name="connsiteY659" fmla="*/ 2420978 h 4036143"/>
                  <a:gd name="connsiteX660" fmla="*/ 1428229 w 5806384"/>
                  <a:gd name="connsiteY660" fmla="*/ 2386990 h 4036143"/>
                  <a:gd name="connsiteX661" fmla="*/ 1460801 w 5806384"/>
                  <a:gd name="connsiteY661" fmla="*/ 2423811 h 4036143"/>
                  <a:gd name="connsiteX662" fmla="*/ 1593923 w 5806384"/>
                  <a:gd name="connsiteY662" fmla="*/ 2564014 h 4036143"/>
                  <a:gd name="connsiteX663" fmla="*/ 1568432 w 5806384"/>
                  <a:gd name="connsiteY663" fmla="*/ 2600835 h 4036143"/>
                  <a:gd name="connsiteX664" fmla="*/ 1443807 w 5806384"/>
                  <a:gd name="connsiteY664" fmla="*/ 2437973 h 4036143"/>
                  <a:gd name="connsiteX665" fmla="*/ 1460801 w 5806384"/>
                  <a:gd name="connsiteY665" fmla="*/ 2423811 h 4036143"/>
                  <a:gd name="connsiteX666" fmla="*/ 1544357 w 5806384"/>
                  <a:gd name="connsiteY666" fmla="*/ 2637655 h 4036143"/>
                  <a:gd name="connsiteX667" fmla="*/ 1568432 w 5806384"/>
                  <a:gd name="connsiteY667" fmla="*/ 2603667 h 4036143"/>
                  <a:gd name="connsiteX668" fmla="*/ 1608085 w 5806384"/>
                  <a:gd name="connsiteY668" fmla="*/ 2656066 h 4036143"/>
                  <a:gd name="connsiteX669" fmla="*/ 1544357 w 5806384"/>
                  <a:gd name="connsiteY669" fmla="*/ 2637655 h 4036143"/>
                  <a:gd name="connsiteX670" fmla="*/ 1636409 w 5806384"/>
                  <a:gd name="connsiteY670" fmla="*/ 2690054 h 4036143"/>
                  <a:gd name="connsiteX671" fmla="*/ 1613750 w 5806384"/>
                  <a:gd name="connsiteY671" fmla="*/ 2660315 h 4036143"/>
                  <a:gd name="connsiteX672" fmla="*/ 1721381 w 5806384"/>
                  <a:gd name="connsiteY672" fmla="*/ 2691471 h 4036143"/>
                  <a:gd name="connsiteX673" fmla="*/ 1718548 w 5806384"/>
                  <a:gd name="connsiteY673" fmla="*/ 2718378 h 4036143"/>
                  <a:gd name="connsiteX674" fmla="*/ 1636409 w 5806384"/>
                  <a:gd name="connsiteY674" fmla="*/ 2690054 h 4036143"/>
                  <a:gd name="connsiteX675" fmla="*/ 1718548 w 5806384"/>
                  <a:gd name="connsiteY675" fmla="*/ 2719795 h 4036143"/>
                  <a:gd name="connsiteX676" fmla="*/ 1712883 w 5806384"/>
                  <a:gd name="connsiteY676" fmla="*/ 2789188 h 4036143"/>
                  <a:gd name="connsiteX677" fmla="*/ 1639242 w 5806384"/>
                  <a:gd name="connsiteY677" fmla="*/ 2692887 h 4036143"/>
                  <a:gd name="connsiteX678" fmla="*/ 1718548 w 5806384"/>
                  <a:gd name="connsiteY678" fmla="*/ 2719795 h 4036143"/>
                  <a:gd name="connsiteX679" fmla="*/ 1423980 w 5806384"/>
                  <a:gd name="connsiteY679" fmla="*/ 2385573 h 4036143"/>
                  <a:gd name="connsiteX680" fmla="*/ 1406986 w 5806384"/>
                  <a:gd name="connsiteY680" fmla="*/ 2389822 h 4036143"/>
                  <a:gd name="connsiteX681" fmla="*/ 1385743 w 5806384"/>
                  <a:gd name="connsiteY681" fmla="*/ 2361498 h 4036143"/>
                  <a:gd name="connsiteX682" fmla="*/ 1391408 w 5806384"/>
                  <a:gd name="connsiteY682" fmla="*/ 2348753 h 4036143"/>
                  <a:gd name="connsiteX683" fmla="*/ 1423980 w 5806384"/>
                  <a:gd name="connsiteY683" fmla="*/ 2385573 h 4036143"/>
                  <a:gd name="connsiteX684" fmla="*/ 1288026 w 5806384"/>
                  <a:gd name="connsiteY684" fmla="*/ 2564014 h 4036143"/>
                  <a:gd name="connsiteX685" fmla="*/ 1299356 w 5806384"/>
                  <a:gd name="connsiteY685" fmla="*/ 2554100 h 4036143"/>
                  <a:gd name="connsiteX686" fmla="*/ 1293691 w 5806384"/>
                  <a:gd name="connsiteY686" fmla="*/ 2565430 h 4036143"/>
                  <a:gd name="connsiteX687" fmla="*/ 1288026 w 5806384"/>
                  <a:gd name="connsiteY687" fmla="*/ 2564014 h 4036143"/>
                  <a:gd name="connsiteX688" fmla="*/ 1540108 w 5806384"/>
                  <a:gd name="connsiteY688" fmla="*/ 2639072 h 4036143"/>
                  <a:gd name="connsiteX689" fmla="*/ 1528778 w 5806384"/>
                  <a:gd name="connsiteY689" fmla="*/ 2654650 h 4036143"/>
                  <a:gd name="connsiteX690" fmla="*/ 1292275 w 5806384"/>
                  <a:gd name="connsiteY690" fmla="*/ 2576759 h 4036143"/>
                  <a:gd name="connsiteX691" fmla="*/ 1296523 w 5806384"/>
                  <a:gd name="connsiteY691" fmla="*/ 2568262 h 4036143"/>
                  <a:gd name="connsiteX692" fmla="*/ 1540108 w 5806384"/>
                  <a:gd name="connsiteY692" fmla="*/ 2639072 h 4036143"/>
                  <a:gd name="connsiteX693" fmla="*/ 1711467 w 5806384"/>
                  <a:gd name="connsiteY693" fmla="*/ 2824593 h 4036143"/>
                  <a:gd name="connsiteX694" fmla="*/ 1714300 w 5806384"/>
                  <a:gd name="connsiteY694" fmla="*/ 2794853 h 4036143"/>
                  <a:gd name="connsiteX695" fmla="*/ 1741207 w 5806384"/>
                  <a:gd name="connsiteY695" fmla="*/ 2830257 h 4036143"/>
                  <a:gd name="connsiteX696" fmla="*/ 1711467 w 5806384"/>
                  <a:gd name="connsiteY696" fmla="*/ 2824593 h 4036143"/>
                  <a:gd name="connsiteX697" fmla="*/ 1707219 w 5806384"/>
                  <a:gd name="connsiteY697" fmla="*/ 2874159 h 4036143"/>
                  <a:gd name="connsiteX698" fmla="*/ 1711467 w 5806384"/>
                  <a:gd name="connsiteY698" fmla="*/ 2827425 h 4036143"/>
                  <a:gd name="connsiteX699" fmla="*/ 1742623 w 5806384"/>
                  <a:gd name="connsiteY699" fmla="*/ 2833090 h 4036143"/>
                  <a:gd name="connsiteX700" fmla="*/ 1772363 w 5806384"/>
                  <a:gd name="connsiteY700" fmla="*/ 2871327 h 4036143"/>
                  <a:gd name="connsiteX701" fmla="*/ 1707219 w 5806384"/>
                  <a:gd name="connsiteY701" fmla="*/ 2874159 h 4036143"/>
                  <a:gd name="connsiteX702" fmla="*/ 1388576 w 5806384"/>
                  <a:gd name="connsiteY702" fmla="*/ 2347336 h 4036143"/>
                  <a:gd name="connsiteX703" fmla="*/ 1382911 w 5806384"/>
                  <a:gd name="connsiteY703" fmla="*/ 2360082 h 4036143"/>
                  <a:gd name="connsiteX704" fmla="*/ 1310685 w 5806384"/>
                  <a:gd name="connsiteY704" fmla="*/ 2265197 h 4036143"/>
                  <a:gd name="connsiteX705" fmla="*/ 1388576 w 5806384"/>
                  <a:gd name="connsiteY705" fmla="*/ 2347336 h 4036143"/>
                  <a:gd name="connsiteX706" fmla="*/ 1404154 w 5806384"/>
                  <a:gd name="connsiteY706" fmla="*/ 2391238 h 4036143"/>
                  <a:gd name="connsiteX707" fmla="*/ 1368749 w 5806384"/>
                  <a:gd name="connsiteY707" fmla="*/ 2401152 h 4036143"/>
                  <a:gd name="connsiteX708" fmla="*/ 1384327 w 5806384"/>
                  <a:gd name="connsiteY708" fmla="*/ 2364331 h 4036143"/>
                  <a:gd name="connsiteX709" fmla="*/ 1404154 w 5806384"/>
                  <a:gd name="connsiteY709" fmla="*/ 2391238 h 4036143"/>
                  <a:gd name="connsiteX710" fmla="*/ 1302188 w 5806384"/>
                  <a:gd name="connsiteY710" fmla="*/ 2549852 h 4036143"/>
                  <a:gd name="connsiteX711" fmla="*/ 1285194 w 5806384"/>
                  <a:gd name="connsiteY711" fmla="*/ 2564014 h 4036143"/>
                  <a:gd name="connsiteX712" fmla="*/ 1285194 w 5806384"/>
                  <a:gd name="connsiteY712" fmla="*/ 2564014 h 4036143"/>
                  <a:gd name="connsiteX713" fmla="*/ 1295107 w 5806384"/>
                  <a:gd name="connsiteY713" fmla="*/ 2566846 h 4036143"/>
                  <a:gd name="connsiteX714" fmla="*/ 1290858 w 5806384"/>
                  <a:gd name="connsiteY714" fmla="*/ 2576759 h 4036143"/>
                  <a:gd name="connsiteX715" fmla="*/ 1290858 w 5806384"/>
                  <a:gd name="connsiteY715" fmla="*/ 2576759 h 4036143"/>
                  <a:gd name="connsiteX716" fmla="*/ 1528778 w 5806384"/>
                  <a:gd name="connsiteY716" fmla="*/ 2656066 h 4036143"/>
                  <a:gd name="connsiteX717" fmla="*/ 1473547 w 5806384"/>
                  <a:gd name="connsiteY717" fmla="*/ 2732540 h 4036143"/>
                  <a:gd name="connsiteX718" fmla="*/ 1272448 w 5806384"/>
                  <a:gd name="connsiteY718" fmla="*/ 2569678 h 4036143"/>
                  <a:gd name="connsiteX719" fmla="*/ 1334760 w 5806384"/>
                  <a:gd name="connsiteY719" fmla="*/ 2412481 h 4036143"/>
                  <a:gd name="connsiteX720" fmla="*/ 1365916 w 5806384"/>
                  <a:gd name="connsiteY720" fmla="*/ 2403984 h 4036143"/>
                  <a:gd name="connsiteX721" fmla="*/ 1302188 w 5806384"/>
                  <a:gd name="connsiteY721" fmla="*/ 2549852 h 4036143"/>
                  <a:gd name="connsiteX722" fmla="*/ 1530195 w 5806384"/>
                  <a:gd name="connsiteY722" fmla="*/ 2657482 h 4036143"/>
                  <a:gd name="connsiteX723" fmla="*/ 1634993 w 5806384"/>
                  <a:gd name="connsiteY723" fmla="*/ 2692887 h 4036143"/>
                  <a:gd name="connsiteX724" fmla="*/ 1711467 w 5806384"/>
                  <a:gd name="connsiteY724" fmla="*/ 2793436 h 4036143"/>
                  <a:gd name="connsiteX725" fmla="*/ 1708635 w 5806384"/>
                  <a:gd name="connsiteY725" fmla="*/ 2826009 h 4036143"/>
                  <a:gd name="connsiteX726" fmla="*/ 1551438 w 5806384"/>
                  <a:gd name="connsiteY726" fmla="*/ 2797685 h 4036143"/>
                  <a:gd name="connsiteX727" fmla="*/ 1474963 w 5806384"/>
                  <a:gd name="connsiteY727" fmla="*/ 2735373 h 4036143"/>
                  <a:gd name="connsiteX728" fmla="*/ 1530195 w 5806384"/>
                  <a:gd name="connsiteY728" fmla="*/ 2657482 h 4036143"/>
                  <a:gd name="connsiteX729" fmla="*/ 1707219 w 5806384"/>
                  <a:gd name="connsiteY729" fmla="*/ 2875576 h 4036143"/>
                  <a:gd name="connsiteX730" fmla="*/ 1773780 w 5806384"/>
                  <a:gd name="connsiteY730" fmla="*/ 2872743 h 4036143"/>
                  <a:gd name="connsiteX731" fmla="*/ 1846005 w 5806384"/>
                  <a:gd name="connsiteY731" fmla="*/ 2967628 h 4036143"/>
                  <a:gd name="connsiteX732" fmla="*/ 1697305 w 5806384"/>
                  <a:gd name="connsiteY732" fmla="*/ 2984622 h 4036143"/>
                  <a:gd name="connsiteX733" fmla="*/ 1707219 w 5806384"/>
                  <a:gd name="connsiteY733" fmla="*/ 2875576 h 4036143"/>
                  <a:gd name="connsiteX734" fmla="*/ 1744040 w 5806384"/>
                  <a:gd name="connsiteY734" fmla="*/ 2831674 h 4036143"/>
                  <a:gd name="connsiteX735" fmla="*/ 1714300 w 5806384"/>
                  <a:gd name="connsiteY735" fmla="*/ 2792020 h 4036143"/>
                  <a:gd name="connsiteX736" fmla="*/ 1719964 w 5806384"/>
                  <a:gd name="connsiteY736" fmla="*/ 2719795 h 4036143"/>
                  <a:gd name="connsiteX737" fmla="*/ 1763866 w 5806384"/>
                  <a:gd name="connsiteY737" fmla="*/ 2733956 h 4036143"/>
                  <a:gd name="connsiteX738" fmla="*/ 1810600 w 5806384"/>
                  <a:gd name="connsiteY738" fmla="*/ 2843003 h 4036143"/>
                  <a:gd name="connsiteX739" fmla="*/ 1744040 w 5806384"/>
                  <a:gd name="connsiteY739" fmla="*/ 2831674 h 4036143"/>
                  <a:gd name="connsiteX740" fmla="*/ 1719964 w 5806384"/>
                  <a:gd name="connsiteY740" fmla="*/ 2718378 h 4036143"/>
                  <a:gd name="connsiteX741" fmla="*/ 1722797 w 5806384"/>
                  <a:gd name="connsiteY741" fmla="*/ 2690054 h 4036143"/>
                  <a:gd name="connsiteX742" fmla="*/ 1722797 w 5806384"/>
                  <a:gd name="connsiteY742" fmla="*/ 2690054 h 4036143"/>
                  <a:gd name="connsiteX743" fmla="*/ 1610918 w 5806384"/>
                  <a:gd name="connsiteY743" fmla="*/ 2657482 h 4036143"/>
                  <a:gd name="connsiteX744" fmla="*/ 1568432 w 5806384"/>
                  <a:gd name="connsiteY744" fmla="*/ 2602251 h 4036143"/>
                  <a:gd name="connsiteX745" fmla="*/ 1595340 w 5806384"/>
                  <a:gd name="connsiteY745" fmla="*/ 2564014 h 4036143"/>
                  <a:gd name="connsiteX746" fmla="*/ 1595340 w 5806384"/>
                  <a:gd name="connsiteY746" fmla="*/ 2564014 h 4036143"/>
                  <a:gd name="connsiteX747" fmla="*/ 1462218 w 5806384"/>
                  <a:gd name="connsiteY747" fmla="*/ 2422394 h 4036143"/>
                  <a:gd name="connsiteX748" fmla="*/ 1551438 w 5806384"/>
                  <a:gd name="connsiteY748" fmla="*/ 2350169 h 4036143"/>
                  <a:gd name="connsiteX749" fmla="*/ 1552854 w 5806384"/>
                  <a:gd name="connsiteY749" fmla="*/ 2350169 h 4036143"/>
                  <a:gd name="connsiteX750" fmla="*/ 1426813 w 5806384"/>
                  <a:gd name="connsiteY750" fmla="*/ 2385573 h 4036143"/>
                  <a:gd name="connsiteX751" fmla="*/ 1391408 w 5806384"/>
                  <a:gd name="connsiteY751" fmla="*/ 2348753 h 4036143"/>
                  <a:gd name="connsiteX752" fmla="*/ 1486293 w 5806384"/>
                  <a:gd name="connsiteY752" fmla="*/ 2129243 h 4036143"/>
                  <a:gd name="connsiteX753" fmla="*/ 1486293 w 5806384"/>
                  <a:gd name="connsiteY753" fmla="*/ 2129243 h 4036143"/>
                  <a:gd name="connsiteX754" fmla="*/ 1484876 w 5806384"/>
                  <a:gd name="connsiteY754" fmla="*/ 2127827 h 4036143"/>
                  <a:gd name="connsiteX755" fmla="*/ 1387159 w 5806384"/>
                  <a:gd name="connsiteY755" fmla="*/ 2266613 h 4036143"/>
                  <a:gd name="connsiteX756" fmla="*/ 1353171 w 5806384"/>
                  <a:gd name="connsiteY756" fmla="*/ 2129243 h 4036143"/>
                  <a:gd name="connsiteX757" fmla="*/ 1491957 w 5806384"/>
                  <a:gd name="connsiteY757" fmla="*/ 2112249 h 4036143"/>
                  <a:gd name="connsiteX758" fmla="*/ 1762450 w 5806384"/>
                  <a:gd name="connsiteY758" fmla="*/ 2731124 h 4036143"/>
                  <a:gd name="connsiteX759" fmla="*/ 1719964 w 5806384"/>
                  <a:gd name="connsiteY759" fmla="*/ 2718378 h 4036143"/>
                  <a:gd name="connsiteX760" fmla="*/ 1547189 w 5806384"/>
                  <a:gd name="connsiteY760" fmla="*/ 2796269 h 4036143"/>
                  <a:gd name="connsiteX761" fmla="*/ 1443807 w 5806384"/>
                  <a:gd name="connsiteY761" fmla="*/ 2777858 h 4036143"/>
                  <a:gd name="connsiteX762" fmla="*/ 1473547 w 5806384"/>
                  <a:gd name="connsiteY762" fmla="*/ 2736789 h 4036143"/>
                  <a:gd name="connsiteX763" fmla="*/ 1547189 w 5806384"/>
                  <a:gd name="connsiteY763" fmla="*/ 2796269 h 4036143"/>
                  <a:gd name="connsiteX764" fmla="*/ 1823346 w 5806384"/>
                  <a:gd name="connsiteY764" fmla="*/ 2871327 h 4036143"/>
                  <a:gd name="connsiteX765" fmla="*/ 1864416 w 5806384"/>
                  <a:gd name="connsiteY765" fmla="*/ 2966212 h 4036143"/>
                  <a:gd name="connsiteX766" fmla="*/ 1848838 w 5806384"/>
                  <a:gd name="connsiteY766" fmla="*/ 2967628 h 4036143"/>
                  <a:gd name="connsiteX767" fmla="*/ 1776612 w 5806384"/>
                  <a:gd name="connsiteY767" fmla="*/ 2872743 h 4036143"/>
                  <a:gd name="connsiteX768" fmla="*/ 1823346 w 5806384"/>
                  <a:gd name="connsiteY768" fmla="*/ 2871327 h 4036143"/>
                  <a:gd name="connsiteX769" fmla="*/ 1865832 w 5806384"/>
                  <a:gd name="connsiteY769" fmla="*/ 2969044 h 4036143"/>
                  <a:gd name="connsiteX770" fmla="*/ 1887075 w 5806384"/>
                  <a:gd name="connsiteY770" fmla="*/ 3018611 h 4036143"/>
                  <a:gd name="connsiteX771" fmla="*/ 1850254 w 5806384"/>
                  <a:gd name="connsiteY771" fmla="*/ 2970460 h 4036143"/>
                  <a:gd name="connsiteX772" fmla="*/ 1865832 w 5806384"/>
                  <a:gd name="connsiteY772" fmla="*/ 2969044 h 4036143"/>
                  <a:gd name="connsiteX773" fmla="*/ 2055602 w 5806384"/>
                  <a:gd name="connsiteY773" fmla="*/ 2828841 h 4036143"/>
                  <a:gd name="connsiteX774" fmla="*/ 1970630 w 5806384"/>
                  <a:gd name="connsiteY774" fmla="*/ 2800517 h 4036143"/>
                  <a:gd name="connsiteX775" fmla="*/ 1950804 w 5806384"/>
                  <a:gd name="connsiteY775" fmla="*/ 2721211 h 4036143"/>
                  <a:gd name="connsiteX776" fmla="*/ 2055602 w 5806384"/>
                  <a:gd name="connsiteY776" fmla="*/ 2828841 h 4036143"/>
                  <a:gd name="connsiteX777" fmla="*/ 1229962 w 5806384"/>
                  <a:gd name="connsiteY777" fmla="*/ 2141989 h 4036143"/>
                  <a:gd name="connsiteX778" fmla="*/ 1331928 w 5806384"/>
                  <a:gd name="connsiteY778" fmla="*/ 2055601 h 4036143"/>
                  <a:gd name="connsiteX779" fmla="*/ 1350338 w 5806384"/>
                  <a:gd name="connsiteY779" fmla="*/ 2127827 h 4036143"/>
                  <a:gd name="connsiteX780" fmla="*/ 1229962 w 5806384"/>
                  <a:gd name="connsiteY780" fmla="*/ 2141989 h 4036143"/>
                  <a:gd name="connsiteX781" fmla="*/ 1220049 w 5806384"/>
                  <a:gd name="connsiteY781" fmla="*/ 2150486 h 4036143"/>
                  <a:gd name="connsiteX782" fmla="*/ 1285194 w 5806384"/>
                  <a:gd name="connsiteY782" fmla="*/ 2235457 h 4036143"/>
                  <a:gd name="connsiteX783" fmla="*/ 1211552 w 5806384"/>
                  <a:gd name="connsiteY783" fmla="*/ 2157567 h 4036143"/>
                  <a:gd name="connsiteX784" fmla="*/ 1220049 w 5806384"/>
                  <a:gd name="connsiteY784" fmla="*/ 2150486 h 4036143"/>
                  <a:gd name="connsiteX785" fmla="*/ 1215800 w 5806384"/>
                  <a:gd name="connsiteY785" fmla="*/ 2143405 h 4036143"/>
                  <a:gd name="connsiteX786" fmla="*/ 1198806 w 5806384"/>
                  <a:gd name="connsiteY786" fmla="*/ 2144821 h 4036143"/>
                  <a:gd name="connsiteX787" fmla="*/ 1198806 w 5806384"/>
                  <a:gd name="connsiteY787" fmla="*/ 2144821 h 4036143"/>
                  <a:gd name="connsiteX788" fmla="*/ 1210135 w 5806384"/>
                  <a:gd name="connsiteY788" fmla="*/ 2156151 h 4036143"/>
                  <a:gd name="connsiteX789" fmla="*/ 1127996 w 5806384"/>
                  <a:gd name="connsiteY789" fmla="*/ 2226960 h 4036143"/>
                  <a:gd name="connsiteX790" fmla="*/ 1085511 w 5806384"/>
                  <a:gd name="connsiteY790" fmla="*/ 1972046 h 4036143"/>
                  <a:gd name="connsiteX791" fmla="*/ 1215800 w 5806384"/>
                  <a:gd name="connsiteY791" fmla="*/ 2143405 h 4036143"/>
                  <a:gd name="connsiteX792" fmla="*/ 1217216 w 5806384"/>
                  <a:gd name="connsiteY792" fmla="*/ 2146237 h 4036143"/>
                  <a:gd name="connsiteX793" fmla="*/ 1220049 w 5806384"/>
                  <a:gd name="connsiteY793" fmla="*/ 2149070 h 4036143"/>
                  <a:gd name="connsiteX794" fmla="*/ 1211552 w 5806384"/>
                  <a:gd name="connsiteY794" fmla="*/ 2156151 h 4036143"/>
                  <a:gd name="connsiteX795" fmla="*/ 1203054 w 5806384"/>
                  <a:gd name="connsiteY795" fmla="*/ 2147654 h 4036143"/>
                  <a:gd name="connsiteX796" fmla="*/ 1217216 w 5806384"/>
                  <a:gd name="connsiteY796" fmla="*/ 2146237 h 4036143"/>
                  <a:gd name="connsiteX797" fmla="*/ 1684559 w 5806384"/>
                  <a:gd name="connsiteY797" fmla="*/ 3147484 h 4036143"/>
                  <a:gd name="connsiteX798" fmla="*/ 1695889 w 5806384"/>
                  <a:gd name="connsiteY798" fmla="*/ 3017195 h 4036143"/>
                  <a:gd name="connsiteX799" fmla="*/ 1885659 w 5806384"/>
                  <a:gd name="connsiteY799" fmla="*/ 3029940 h 4036143"/>
                  <a:gd name="connsiteX800" fmla="*/ 1684559 w 5806384"/>
                  <a:gd name="connsiteY800" fmla="*/ 3147484 h 4036143"/>
                  <a:gd name="connsiteX801" fmla="*/ 1535859 w 5806384"/>
                  <a:gd name="connsiteY801" fmla="*/ 3005865 h 4036143"/>
                  <a:gd name="connsiteX802" fmla="*/ 1695889 w 5806384"/>
                  <a:gd name="connsiteY802" fmla="*/ 2987455 h 4036143"/>
                  <a:gd name="connsiteX803" fmla="*/ 1693057 w 5806384"/>
                  <a:gd name="connsiteY803" fmla="*/ 3015778 h 4036143"/>
                  <a:gd name="connsiteX804" fmla="*/ 1535859 w 5806384"/>
                  <a:gd name="connsiteY804" fmla="*/ 3005865 h 4036143"/>
                  <a:gd name="connsiteX805" fmla="*/ 1072765 w 5806384"/>
                  <a:gd name="connsiteY805" fmla="*/ 744208 h 4036143"/>
                  <a:gd name="connsiteX806" fmla="*/ 1020366 w 5806384"/>
                  <a:gd name="connsiteY806" fmla="*/ 713052 h 4036143"/>
                  <a:gd name="connsiteX807" fmla="*/ 1111002 w 5806384"/>
                  <a:gd name="connsiteY807" fmla="*/ 618167 h 4036143"/>
                  <a:gd name="connsiteX808" fmla="*/ 1130829 w 5806384"/>
                  <a:gd name="connsiteY808" fmla="*/ 738544 h 4036143"/>
                  <a:gd name="connsiteX809" fmla="*/ 1072765 w 5806384"/>
                  <a:gd name="connsiteY809" fmla="*/ 744208 h 4036143"/>
                  <a:gd name="connsiteX810" fmla="*/ 942475 w 5806384"/>
                  <a:gd name="connsiteY810" fmla="*/ 1064267 h 4036143"/>
                  <a:gd name="connsiteX811" fmla="*/ 1041609 w 5806384"/>
                  <a:gd name="connsiteY811" fmla="*/ 909903 h 4036143"/>
                  <a:gd name="connsiteX812" fmla="*/ 1088343 w 5806384"/>
                  <a:gd name="connsiteY812" fmla="*/ 935394 h 4036143"/>
                  <a:gd name="connsiteX813" fmla="*/ 1102505 w 5806384"/>
                  <a:gd name="connsiteY813" fmla="*/ 960886 h 4036143"/>
                  <a:gd name="connsiteX814" fmla="*/ 1041609 w 5806384"/>
                  <a:gd name="connsiteY814" fmla="*/ 1136493 h 4036143"/>
                  <a:gd name="connsiteX815" fmla="*/ 942475 w 5806384"/>
                  <a:gd name="connsiteY815" fmla="*/ 1064267 h 4036143"/>
                  <a:gd name="connsiteX816" fmla="*/ 1043025 w 5806384"/>
                  <a:gd name="connsiteY816" fmla="*/ 909903 h 4036143"/>
                  <a:gd name="connsiteX817" fmla="*/ 1060019 w 5806384"/>
                  <a:gd name="connsiteY817" fmla="*/ 884411 h 4036143"/>
                  <a:gd name="connsiteX818" fmla="*/ 1088343 w 5806384"/>
                  <a:gd name="connsiteY818" fmla="*/ 932562 h 4036143"/>
                  <a:gd name="connsiteX819" fmla="*/ 1043025 w 5806384"/>
                  <a:gd name="connsiteY819" fmla="*/ 909903 h 4036143"/>
                  <a:gd name="connsiteX820" fmla="*/ 1101089 w 5806384"/>
                  <a:gd name="connsiteY820" fmla="*/ 816434 h 4036143"/>
                  <a:gd name="connsiteX821" fmla="*/ 1060019 w 5806384"/>
                  <a:gd name="connsiteY821" fmla="*/ 880163 h 4036143"/>
                  <a:gd name="connsiteX822" fmla="*/ 1020366 w 5806384"/>
                  <a:gd name="connsiteY822" fmla="*/ 809353 h 4036143"/>
                  <a:gd name="connsiteX823" fmla="*/ 1101089 w 5806384"/>
                  <a:gd name="connsiteY823" fmla="*/ 816434 h 4036143"/>
                  <a:gd name="connsiteX824" fmla="*/ 1017533 w 5806384"/>
                  <a:gd name="connsiteY824" fmla="*/ 809353 h 4036143"/>
                  <a:gd name="connsiteX825" fmla="*/ 1058603 w 5806384"/>
                  <a:gd name="connsiteY825" fmla="*/ 881579 h 4036143"/>
                  <a:gd name="connsiteX826" fmla="*/ 1041609 w 5806384"/>
                  <a:gd name="connsiteY826" fmla="*/ 908486 h 4036143"/>
                  <a:gd name="connsiteX827" fmla="*/ 1021782 w 5806384"/>
                  <a:gd name="connsiteY827" fmla="*/ 897157 h 4036143"/>
                  <a:gd name="connsiteX828" fmla="*/ 973632 w 5806384"/>
                  <a:gd name="connsiteY828" fmla="*/ 805105 h 4036143"/>
                  <a:gd name="connsiteX829" fmla="*/ 1017533 w 5806384"/>
                  <a:gd name="connsiteY829" fmla="*/ 809353 h 4036143"/>
                  <a:gd name="connsiteX830" fmla="*/ 1072765 w 5806384"/>
                  <a:gd name="connsiteY830" fmla="*/ 747041 h 4036143"/>
                  <a:gd name="connsiteX831" fmla="*/ 1072765 w 5806384"/>
                  <a:gd name="connsiteY831" fmla="*/ 747041 h 4036143"/>
                  <a:gd name="connsiteX832" fmla="*/ 1130829 w 5806384"/>
                  <a:gd name="connsiteY832" fmla="*/ 741376 h 4036143"/>
                  <a:gd name="connsiteX833" fmla="*/ 1135077 w 5806384"/>
                  <a:gd name="connsiteY833" fmla="*/ 765451 h 4036143"/>
                  <a:gd name="connsiteX834" fmla="*/ 1102505 w 5806384"/>
                  <a:gd name="connsiteY834" fmla="*/ 815018 h 4036143"/>
                  <a:gd name="connsiteX835" fmla="*/ 1018949 w 5806384"/>
                  <a:gd name="connsiteY835" fmla="*/ 807937 h 4036143"/>
                  <a:gd name="connsiteX836" fmla="*/ 986377 w 5806384"/>
                  <a:gd name="connsiteY836" fmla="*/ 749873 h 4036143"/>
                  <a:gd name="connsiteX837" fmla="*/ 1020366 w 5806384"/>
                  <a:gd name="connsiteY837" fmla="*/ 714468 h 4036143"/>
                  <a:gd name="connsiteX838" fmla="*/ 1072765 w 5806384"/>
                  <a:gd name="connsiteY838" fmla="*/ 747041 h 4036143"/>
                  <a:gd name="connsiteX839" fmla="*/ 1171898 w 5806384"/>
                  <a:gd name="connsiteY839" fmla="*/ 783862 h 4036143"/>
                  <a:gd name="connsiteX840" fmla="*/ 1171898 w 5806384"/>
                  <a:gd name="connsiteY840" fmla="*/ 783862 h 4036143"/>
                  <a:gd name="connsiteX841" fmla="*/ 1414067 w 5806384"/>
                  <a:gd name="connsiteY841" fmla="*/ 839093 h 4036143"/>
                  <a:gd name="connsiteX842" fmla="*/ 1105337 w 5806384"/>
                  <a:gd name="connsiteY842" fmla="*/ 815018 h 4036143"/>
                  <a:gd name="connsiteX843" fmla="*/ 1136494 w 5806384"/>
                  <a:gd name="connsiteY843" fmla="*/ 765451 h 4036143"/>
                  <a:gd name="connsiteX844" fmla="*/ 1136494 w 5806384"/>
                  <a:gd name="connsiteY844" fmla="*/ 765451 h 4036143"/>
                  <a:gd name="connsiteX845" fmla="*/ 1132245 w 5806384"/>
                  <a:gd name="connsiteY845" fmla="*/ 739960 h 4036143"/>
                  <a:gd name="connsiteX846" fmla="*/ 1340425 w 5806384"/>
                  <a:gd name="connsiteY846" fmla="*/ 718717 h 4036143"/>
                  <a:gd name="connsiteX847" fmla="*/ 1171898 w 5806384"/>
                  <a:gd name="connsiteY847" fmla="*/ 783862 h 4036143"/>
                  <a:gd name="connsiteX848" fmla="*/ 1266783 w 5806384"/>
                  <a:gd name="connsiteY848" fmla="*/ 1028863 h 4036143"/>
                  <a:gd name="connsiteX849" fmla="*/ 1111002 w 5806384"/>
                  <a:gd name="connsiteY849" fmla="*/ 945307 h 4036143"/>
                  <a:gd name="connsiteX850" fmla="*/ 1149239 w 5806384"/>
                  <a:gd name="connsiteY850" fmla="*/ 834845 h 4036143"/>
                  <a:gd name="connsiteX851" fmla="*/ 1266783 w 5806384"/>
                  <a:gd name="connsiteY851" fmla="*/ 1028863 h 4036143"/>
                  <a:gd name="connsiteX852" fmla="*/ 3048352 w 5806384"/>
                  <a:gd name="connsiteY852" fmla="*/ 459554 h 4036143"/>
                  <a:gd name="connsiteX853" fmla="*/ 2905316 w 5806384"/>
                  <a:gd name="connsiteY853" fmla="*/ 534612 h 4036143"/>
                  <a:gd name="connsiteX854" fmla="*/ 2974710 w 5806384"/>
                  <a:gd name="connsiteY854" fmla="*/ 351923 h 4036143"/>
                  <a:gd name="connsiteX855" fmla="*/ 3048352 w 5806384"/>
                  <a:gd name="connsiteY855" fmla="*/ 459554 h 4036143"/>
                  <a:gd name="connsiteX856" fmla="*/ 5369489 w 5806384"/>
                  <a:gd name="connsiteY856" fmla="*/ 840509 h 4036143"/>
                  <a:gd name="connsiteX857" fmla="*/ 5470039 w 5806384"/>
                  <a:gd name="connsiteY857" fmla="*/ 694642 h 4036143"/>
                  <a:gd name="connsiteX858" fmla="*/ 5553594 w 5806384"/>
                  <a:gd name="connsiteY858" fmla="*/ 822099 h 4036143"/>
                  <a:gd name="connsiteX859" fmla="*/ 5369489 w 5806384"/>
                  <a:gd name="connsiteY859" fmla="*/ 840509 h 4036143"/>
                  <a:gd name="connsiteX860" fmla="*/ 4267693 w 5806384"/>
                  <a:gd name="connsiteY860" fmla="*/ 1661900 h 4036143"/>
                  <a:gd name="connsiteX861" fmla="*/ 4240785 w 5806384"/>
                  <a:gd name="connsiteY861" fmla="*/ 1785109 h 4036143"/>
                  <a:gd name="connsiteX862" fmla="*/ 4094917 w 5806384"/>
                  <a:gd name="connsiteY862" fmla="*/ 1708634 h 4036143"/>
                  <a:gd name="connsiteX863" fmla="*/ 4267693 w 5806384"/>
                  <a:gd name="connsiteY863" fmla="*/ 1661900 h 4036143"/>
                  <a:gd name="connsiteX864" fmla="*/ 4203964 w 5806384"/>
                  <a:gd name="connsiteY864" fmla="*/ 1970630 h 4036143"/>
                  <a:gd name="connsiteX865" fmla="*/ 4243617 w 5806384"/>
                  <a:gd name="connsiteY865" fmla="*/ 1787941 h 4036143"/>
                  <a:gd name="connsiteX866" fmla="*/ 4388069 w 5806384"/>
                  <a:gd name="connsiteY866" fmla="*/ 1862999 h 4036143"/>
                  <a:gd name="connsiteX867" fmla="*/ 4203964 w 5806384"/>
                  <a:gd name="connsiteY867" fmla="*/ 1970630 h 4036143"/>
                  <a:gd name="connsiteX868" fmla="*/ 3374076 w 5806384"/>
                  <a:gd name="connsiteY868" fmla="*/ 3104998 h 4036143"/>
                  <a:gd name="connsiteX869" fmla="*/ 3381157 w 5806384"/>
                  <a:gd name="connsiteY869" fmla="*/ 3138987 h 4036143"/>
                  <a:gd name="connsiteX870" fmla="*/ 3276359 w 5806384"/>
                  <a:gd name="connsiteY870" fmla="*/ 3143236 h 4036143"/>
                  <a:gd name="connsiteX871" fmla="*/ 3219711 w 5806384"/>
                  <a:gd name="connsiteY871" fmla="*/ 3020027 h 4036143"/>
                  <a:gd name="connsiteX872" fmla="*/ 3374076 w 5806384"/>
                  <a:gd name="connsiteY872" fmla="*/ 3104998 h 4036143"/>
                  <a:gd name="connsiteX873" fmla="*/ 2035775 w 5806384"/>
                  <a:gd name="connsiteY873" fmla="*/ 2556933 h 4036143"/>
                  <a:gd name="connsiteX874" fmla="*/ 2052769 w 5806384"/>
                  <a:gd name="connsiteY874" fmla="*/ 2464880 h 4036143"/>
                  <a:gd name="connsiteX875" fmla="*/ 2178810 w 5806384"/>
                  <a:gd name="connsiteY875" fmla="*/ 2443637 h 4036143"/>
                  <a:gd name="connsiteX876" fmla="*/ 2072596 w 5806384"/>
                  <a:gd name="connsiteY876" fmla="*/ 2588089 h 4036143"/>
                  <a:gd name="connsiteX877" fmla="*/ 2035775 w 5806384"/>
                  <a:gd name="connsiteY877" fmla="*/ 2556933 h 4036143"/>
                  <a:gd name="connsiteX878" fmla="*/ 2049937 w 5806384"/>
                  <a:gd name="connsiteY878" fmla="*/ 2464880 h 4036143"/>
                  <a:gd name="connsiteX879" fmla="*/ 2032943 w 5806384"/>
                  <a:gd name="connsiteY879" fmla="*/ 2555516 h 4036143"/>
                  <a:gd name="connsiteX880" fmla="*/ 1946555 w 5806384"/>
                  <a:gd name="connsiteY880" fmla="*/ 2483291 h 4036143"/>
                  <a:gd name="connsiteX881" fmla="*/ 2049937 w 5806384"/>
                  <a:gd name="connsiteY881" fmla="*/ 2464880 h 4036143"/>
                  <a:gd name="connsiteX882" fmla="*/ 2049937 w 5806384"/>
                  <a:gd name="connsiteY882" fmla="*/ 2463464 h 4036143"/>
                  <a:gd name="connsiteX883" fmla="*/ 1945139 w 5806384"/>
                  <a:gd name="connsiteY883" fmla="*/ 2481874 h 4036143"/>
                  <a:gd name="connsiteX884" fmla="*/ 1932393 w 5806384"/>
                  <a:gd name="connsiteY884" fmla="*/ 2471961 h 4036143"/>
                  <a:gd name="connsiteX885" fmla="*/ 2051353 w 5806384"/>
                  <a:gd name="connsiteY885" fmla="*/ 2454967 h 4036143"/>
                  <a:gd name="connsiteX886" fmla="*/ 2049937 w 5806384"/>
                  <a:gd name="connsiteY886" fmla="*/ 2463464 h 4036143"/>
                  <a:gd name="connsiteX887" fmla="*/ 2032943 w 5806384"/>
                  <a:gd name="connsiteY887" fmla="*/ 2556933 h 4036143"/>
                  <a:gd name="connsiteX888" fmla="*/ 2023029 w 5806384"/>
                  <a:gd name="connsiteY888" fmla="*/ 2612164 h 4036143"/>
                  <a:gd name="connsiteX889" fmla="*/ 1793606 w 5806384"/>
                  <a:gd name="connsiteY889" fmla="*/ 2508782 h 4036143"/>
                  <a:gd name="connsiteX890" fmla="*/ 1945139 w 5806384"/>
                  <a:gd name="connsiteY890" fmla="*/ 2483291 h 4036143"/>
                  <a:gd name="connsiteX891" fmla="*/ 2032943 w 5806384"/>
                  <a:gd name="connsiteY891" fmla="*/ 2556933 h 4036143"/>
                  <a:gd name="connsiteX892" fmla="*/ 2024445 w 5806384"/>
                  <a:gd name="connsiteY892" fmla="*/ 2613580 h 4036143"/>
                  <a:gd name="connsiteX893" fmla="*/ 2034359 w 5806384"/>
                  <a:gd name="connsiteY893" fmla="*/ 2558349 h 4036143"/>
                  <a:gd name="connsiteX894" fmla="*/ 2069764 w 5806384"/>
                  <a:gd name="connsiteY894" fmla="*/ 2588089 h 4036143"/>
                  <a:gd name="connsiteX895" fmla="*/ 2044272 w 5806384"/>
                  <a:gd name="connsiteY895" fmla="*/ 2622077 h 4036143"/>
                  <a:gd name="connsiteX896" fmla="*/ 2024445 w 5806384"/>
                  <a:gd name="connsiteY896" fmla="*/ 2613580 h 4036143"/>
                  <a:gd name="connsiteX897" fmla="*/ 2044272 w 5806384"/>
                  <a:gd name="connsiteY897" fmla="*/ 2624910 h 4036143"/>
                  <a:gd name="connsiteX898" fmla="*/ 2015948 w 5806384"/>
                  <a:gd name="connsiteY898" fmla="*/ 2663147 h 4036143"/>
                  <a:gd name="connsiteX899" fmla="*/ 2024445 w 5806384"/>
                  <a:gd name="connsiteY899" fmla="*/ 2616413 h 4036143"/>
                  <a:gd name="connsiteX900" fmla="*/ 2044272 w 5806384"/>
                  <a:gd name="connsiteY900" fmla="*/ 2624910 h 4036143"/>
                  <a:gd name="connsiteX901" fmla="*/ 2047105 w 5806384"/>
                  <a:gd name="connsiteY901" fmla="*/ 2623494 h 4036143"/>
                  <a:gd name="connsiteX902" fmla="*/ 2072596 w 5806384"/>
                  <a:gd name="connsiteY902" fmla="*/ 2589505 h 4036143"/>
                  <a:gd name="connsiteX903" fmla="*/ 2188724 w 5806384"/>
                  <a:gd name="connsiteY903" fmla="*/ 2687222 h 4036143"/>
                  <a:gd name="connsiteX904" fmla="*/ 2047105 w 5806384"/>
                  <a:gd name="connsiteY904" fmla="*/ 2623494 h 4036143"/>
                  <a:gd name="connsiteX905" fmla="*/ 2052769 w 5806384"/>
                  <a:gd name="connsiteY905" fmla="*/ 2462048 h 4036143"/>
                  <a:gd name="connsiteX906" fmla="*/ 2054185 w 5806384"/>
                  <a:gd name="connsiteY906" fmla="*/ 2453551 h 4036143"/>
                  <a:gd name="connsiteX907" fmla="*/ 2183059 w 5806384"/>
                  <a:gd name="connsiteY907" fmla="*/ 2435140 h 4036143"/>
                  <a:gd name="connsiteX908" fmla="*/ 2178810 w 5806384"/>
                  <a:gd name="connsiteY908" fmla="*/ 2440805 h 4036143"/>
                  <a:gd name="connsiteX909" fmla="*/ 2052769 w 5806384"/>
                  <a:gd name="connsiteY909" fmla="*/ 2462048 h 4036143"/>
                  <a:gd name="connsiteX910" fmla="*/ 1129413 w 5806384"/>
                  <a:gd name="connsiteY910" fmla="*/ 1003371 h 4036143"/>
                  <a:gd name="connsiteX911" fmla="*/ 1105337 w 5806384"/>
                  <a:gd name="connsiteY911" fmla="*/ 962302 h 4036143"/>
                  <a:gd name="connsiteX912" fmla="*/ 1109586 w 5806384"/>
                  <a:gd name="connsiteY912" fmla="*/ 948140 h 4036143"/>
                  <a:gd name="connsiteX913" fmla="*/ 1268199 w 5806384"/>
                  <a:gd name="connsiteY913" fmla="*/ 1033111 h 4036143"/>
                  <a:gd name="connsiteX914" fmla="*/ 1282361 w 5806384"/>
                  <a:gd name="connsiteY914" fmla="*/ 1055770 h 4036143"/>
                  <a:gd name="connsiteX915" fmla="*/ 1169066 w 5806384"/>
                  <a:gd name="connsiteY915" fmla="*/ 1463633 h 4036143"/>
                  <a:gd name="connsiteX916" fmla="*/ 1129413 w 5806384"/>
                  <a:gd name="connsiteY916" fmla="*/ 1003371 h 4036143"/>
                  <a:gd name="connsiteX917" fmla="*/ 1169066 w 5806384"/>
                  <a:gd name="connsiteY917" fmla="*/ 1474963 h 4036143"/>
                  <a:gd name="connsiteX918" fmla="*/ 1173314 w 5806384"/>
                  <a:gd name="connsiteY918" fmla="*/ 1521697 h 4036143"/>
                  <a:gd name="connsiteX919" fmla="*/ 1157737 w 5806384"/>
                  <a:gd name="connsiteY919" fmla="*/ 1514616 h 4036143"/>
                  <a:gd name="connsiteX920" fmla="*/ 1169066 w 5806384"/>
                  <a:gd name="connsiteY920" fmla="*/ 1474963 h 4036143"/>
                  <a:gd name="connsiteX921" fmla="*/ 1814849 w 5806384"/>
                  <a:gd name="connsiteY921" fmla="*/ 1051522 h 4036143"/>
                  <a:gd name="connsiteX922" fmla="*/ 2096671 w 5806384"/>
                  <a:gd name="connsiteY922" fmla="*/ 911319 h 4036143"/>
                  <a:gd name="connsiteX923" fmla="*/ 1921064 w 5806384"/>
                  <a:gd name="connsiteY923" fmla="*/ 1183227 h 4036143"/>
                  <a:gd name="connsiteX924" fmla="*/ 1814849 w 5806384"/>
                  <a:gd name="connsiteY924" fmla="*/ 1051522 h 4036143"/>
                  <a:gd name="connsiteX925" fmla="*/ 2726876 w 5806384"/>
                  <a:gd name="connsiteY925" fmla="*/ 952388 h 4036143"/>
                  <a:gd name="connsiteX926" fmla="*/ 2742454 w 5806384"/>
                  <a:gd name="connsiteY926" fmla="*/ 949556 h 4036143"/>
                  <a:gd name="connsiteX927" fmla="*/ 2755200 w 5806384"/>
                  <a:gd name="connsiteY927" fmla="*/ 952388 h 4036143"/>
                  <a:gd name="connsiteX928" fmla="*/ 2726876 w 5806384"/>
                  <a:gd name="connsiteY928" fmla="*/ 952388 h 4036143"/>
                  <a:gd name="connsiteX929" fmla="*/ 4590584 w 5806384"/>
                  <a:gd name="connsiteY929" fmla="*/ 905654 h 4036143"/>
                  <a:gd name="connsiteX930" fmla="*/ 4654313 w 5806384"/>
                  <a:gd name="connsiteY930" fmla="*/ 803688 h 4036143"/>
                  <a:gd name="connsiteX931" fmla="*/ 4788851 w 5806384"/>
                  <a:gd name="connsiteY931" fmla="*/ 901405 h 4036143"/>
                  <a:gd name="connsiteX932" fmla="*/ 4590584 w 5806384"/>
                  <a:gd name="connsiteY932" fmla="*/ 905654 h 4036143"/>
                  <a:gd name="connsiteX933" fmla="*/ 4572174 w 5806384"/>
                  <a:gd name="connsiteY933" fmla="*/ 907070 h 4036143"/>
                  <a:gd name="connsiteX934" fmla="*/ 4586336 w 5806384"/>
                  <a:gd name="connsiteY934" fmla="*/ 907070 h 4036143"/>
                  <a:gd name="connsiteX935" fmla="*/ 4580671 w 5806384"/>
                  <a:gd name="connsiteY935" fmla="*/ 915567 h 4036143"/>
                  <a:gd name="connsiteX936" fmla="*/ 4572174 w 5806384"/>
                  <a:gd name="connsiteY936" fmla="*/ 907070 h 4036143"/>
                  <a:gd name="connsiteX937" fmla="*/ 4092085 w 5806384"/>
                  <a:gd name="connsiteY937" fmla="*/ 1707218 h 4036143"/>
                  <a:gd name="connsiteX938" fmla="*/ 3970292 w 5806384"/>
                  <a:gd name="connsiteY938" fmla="*/ 1643489 h 4036143"/>
                  <a:gd name="connsiteX939" fmla="*/ 3970292 w 5806384"/>
                  <a:gd name="connsiteY939" fmla="*/ 1643489 h 4036143"/>
                  <a:gd name="connsiteX940" fmla="*/ 3936304 w 5806384"/>
                  <a:gd name="connsiteY940" fmla="*/ 1749704 h 4036143"/>
                  <a:gd name="connsiteX941" fmla="*/ 3896650 w 5806384"/>
                  <a:gd name="connsiteY941" fmla="*/ 1761033 h 4036143"/>
                  <a:gd name="connsiteX942" fmla="*/ 3920726 w 5806384"/>
                  <a:gd name="connsiteY942" fmla="*/ 1565599 h 4036143"/>
                  <a:gd name="connsiteX943" fmla="*/ 3920726 w 5806384"/>
                  <a:gd name="connsiteY943" fmla="*/ 1565599 h 4036143"/>
                  <a:gd name="connsiteX944" fmla="*/ 3883905 w 5806384"/>
                  <a:gd name="connsiteY944" fmla="*/ 1507535 h 4036143"/>
                  <a:gd name="connsiteX945" fmla="*/ 4175640 w 5806384"/>
                  <a:gd name="connsiteY945" fmla="*/ 1392824 h 4036143"/>
                  <a:gd name="connsiteX946" fmla="*/ 4307346 w 5806384"/>
                  <a:gd name="connsiteY946" fmla="*/ 1477795 h 4036143"/>
                  <a:gd name="connsiteX947" fmla="*/ 4267693 w 5806384"/>
                  <a:gd name="connsiteY947" fmla="*/ 1661900 h 4036143"/>
                  <a:gd name="connsiteX948" fmla="*/ 4092085 w 5806384"/>
                  <a:gd name="connsiteY948" fmla="*/ 1707218 h 4036143"/>
                  <a:gd name="connsiteX949" fmla="*/ 3267862 w 5806384"/>
                  <a:gd name="connsiteY949" fmla="*/ 2915229 h 4036143"/>
                  <a:gd name="connsiteX950" fmla="*/ 3201301 w 5806384"/>
                  <a:gd name="connsiteY950" fmla="*/ 2978958 h 4036143"/>
                  <a:gd name="connsiteX951" fmla="*/ 3146069 w 5806384"/>
                  <a:gd name="connsiteY951" fmla="*/ 2857165 h 4036143"/>
                  <a:gd name="connsiteX952" fmla="*/ 3267862 w 5806384"/>
                  <a:gd name="connsiteY952" fmla="*/ 2915229 h 4036143"/>
                  <a:gd name="connsiteX953" fmla="*/ 2544188 w 5806384"/>
                  <a:gd name="connsiteY953" fmla="*/ 2685806 h 4036143"/>
                  <a:gd name="connsiteX954" fmla="*/ 2631991 w 5806384"/>
                  <a:gd name="connsiteY954" fmla="*/ 2748118 h 4036143"/>
                  <a:gd name="connsiteX955" fmla="*/ 2670229 w 5806384"/>
                  <a:gd name="connsiteY955" fmla="*/ 2801934 h 4036143"/>
                  <a:gd name="connsiteX956" fmla="*/ 2544188 w 5806384"/>
                  <a:gd name="connsiteY956" fmla="*/ 2685806 h 4036143"/>
                  <a:gd name="connsiteX957" fmla="*/ 2402569 w 5806384"/>
                  <a:gd name="connsiteY957" fmla="*/ 2556933 h 4036143"/>
                  <a:gd name="connsiteX958" fmla="*/ 2430893 w 5806384"/>
                  <a:gd name="connsiteY958" fmla="*/ 2582424 h 4036143"/>
                  <a:gd name="connsiteX959" fmla="*/ 2449303 w 5806384"/>
                  <a:gd name="connsiteY959" fmla="*/ 2614997 h 4036143"/>
                  <a:gd name="connsiteX960" fmla="*/ 2398320 w 5806384"/>
                  <a:gd name="connsiteY960" fmla="*/ 2578175 h 4036143"/>
                  <a:gd name="connsiteX961" fmla="*/ 2402569 w 5806384"/>
                  <a:gd name="connsiteY961" fmla="*/ 2556933 h 4036143"/>
                  <a:gd name="connsiteX962" fmla="*/ 1874329 w 5806384"/>
                  <a:gd name="connsiteY962" fmla="*/ 1660484 h 4036143"/>
                  <a:gd name="connsiteX963" fmla="*/ 1966381 w 5806384"/>
                  <a:gd name="connsiteY963" fmla="*/ 1734126 h 4036143"/>
                  <a:gd name="connsiteX964" fmla="*/ 1744040 w 5806384"/>
                  <a:gd name="connsiteY964" fmla="*/ 1799270 h 4036143"/>
                  <a:gd name="connsiteX965" fmla="*/ 1456553 w 5806384"/>
                  <a:gd name="connsiteY965" fmla="*/ 1659068 h 4036143"/>
                  <a:gd name="connsiteX966" fmla="*/ 1450888 w 5806384"/>
                  <a:gd name="connsiteY966" fmla="*/ 1647738 h 4036143"/>
                  <a:gd name="connsiteX967" fmla="*/ 1874329 w 5806384"/>
                  <a:gd name="connsiteY967" fmla="*/ 1660484 h 4036143"/>
                  <a:gd name="connsiteX968" fmla="*/ 1273864 w 5806384"/>
                  <a:gd name="connsiteY968" fmla="*/ 1569848 h 4036143"/>
                  <a:gd name="connsiteX969" fmla="*/ 1314933 w 5806384"/>
                  <a:gd name="connsiteY969" fmla="*/ 1571264 h 4036143"/>
                  <a:gd name="connsiteX970" fmla="*/ 1307852 w 5806384"/>
                  <a:gd name="connsiteY970" fmla="*/ 1586842 h 4036143"/>
                  <a:gd name="connsiteX971" fmla="*/ 1273864 w 5806384"/>
                  <a:gd name="connsiteY971" fmla="*/ 1569848 h 4036143"/>
                  <a:gd name="connsiteX972" fmla="*/ 1285194 w 5806384"/>
                  <a:gd name="connsiteY972" fmla="*/ 1055770 h 4036143"/>
                  <a:gd name="connsiteX973" fmla="*/ 1285194 w 5806384"/>
                  <a:gd name="connsiteY973" fmla="*/ 1055770 h 4036143"/>
                  <a:gd name="connsiteX974" fmla="*/ 1272448 w 5806384"/>
                  <a:gd name="connsiteY974" fmla="*/ 1034527 h 4036143"/>
                  <a:gd name="connsiteX975" fmla="*/ 1278113 w 5806384"/>
                  <a:gd name="connsiteY975" fmla="*/ 1037360 h 4036143"/>
                  <a:gd name="connsiteX976" fmla="*/ 1278113 w 5806384"/>
                  <a:gd name="connsiteY976" fmla="*/ 1037360 h 4036143"/>
                  <a:gd name="connsiteX977" fmla="*/ 1504703 w 5806384"/>
                  <a:gd name="connsiteY977" fmla="*/ 952388 h 4036143"/>
                  <a:gd name="connsiteX978" fmla="*/ 1504703 w 5806384"/>
                  <a:gd name="connsiteY978" fmla="*/ 952388 h 4036143"/>
                  <a:gd name="connsiteX979" fmla="*/ 1622247 w 5806384"/>
                  <a:gd name="connsiteY979" fmla="*/ 781029 h 4036143"/>
                  <a:gd name="connsiteX980" fmla="*/ 1705802 w 5806384"/>
                  <a:gd name="connsiteY980" fmla="*/ 897157 h 4036143"/>
                  <a:gd name="connsiteX981" fmla="*/ 1584010 w 5806384"/>
                  <a:gd name="connsiteY981" fmla="*/ 1163401 h 4036143"/>
                  <a:gd name="connsiteX982" fmla="*/ 1465050 w 5806384"/>
                  <a:gd name="connsiteY982" fmla="*/ 1222881 h 4036143"/>
                  <a:gd name="connsiteX983" fmla="*/ 1173314 w 5806384"/>
                  <a:gd name="connsiteY983" fmla="*/ 1497622 h 4036143"/>
                  <a:gd name="connsiteX984" fmla="*/ 1173314 w 5806384"/>
                  <a:gd name="connsiteY984" fmla="*/ 1497622 h 4036143"/>
                  <a:gd name="connsiteX985" fmla="*/ 1353171 w 5806384"/>
                  <a:gd name="connsiteY985" fmla="*/ 1483460 h 4036143"/>
                  <a:gd name="connsiteX986" fmla="*/ 1313518 w 5806384"/>
                  <a:gd name="connsiteY986" fmla="*/ 1567015 h 4036143"/>
                  <a:gd name="connsiteX987" fmla="*/ 1268199 w 5806384"/>
                  <a:gd name="connsiteY987" fmla="*/ 1565599 h 4036143"/>
                  <a:gd name="connsiteX988" fmla="*/ 1174731 w 5806384"/>
                  <a:gd name="connsiteY988" fmla="*/ 1520281 h 4036143"/>
                  <a:gd name="connsiteX989" fmla="*/ 1170482 w 5806384"/>
                  <a:gd name="connsiteY989" fmla="*/ 1467882 h 4036143"/>
                  <a:gd name="connsiteX990" fmla="*/ 1285194 w 5806384"/>
                  <a:gd name="connsiteY990" fmla="*/ 1055770 h 4036143"/>
                  <a:gd name="connsiteX991" fmla="*/ 2256701 w 5806384"/>
                  <a:gd name="connsiteY991" fmla="*/ 1169066 h 4036143"/>
                  <a:gd name="connsiteX992" fmla="*/ 2003203 w 5806384"/>
                  <a:gd name="connsiteY992" fmla="*/ 1285193 h 4036143"/>
                  <a:gd name="connsiteX993" fmla="*/ 1962133 w 5806384"/>
                  <a:gd name="connsiteY993" fmla="*/ 1234210 h 4036143"/>
                  <a:gd name="connsiteX994" fmla="*/ 2024445 w 5806384"/>
                  <a:gd name="connsiteY994" fmla="*/ 1156320 h 4036143"/>
                  <a:gd name="connsiteX995" fmla="*/ 2256701 w 5806384"/>
                  <a:gd name="connsiteY995" fmla="*/ 1169066 h 4036143"/>
                  <a:gd name="connsiteX996" fmla="*/ 1749704 w 5806384"/>
                  <a:gd name="connsiteY996" fmla="*/ 1453720 h 4036143"/>
                  <a:gd name="connsiteX997" fmla="*/ 2113666 w 5806384"/>
                  <a:gd name="connsiteY997" fmla="*/ 1425396 h 4036143"/>
                  <a:gd name="connsiteX998" fmla="*/ 2188724 w 5806384"/>
                  <a:gd name="connsiteY998" fmla="*/ 1520281 h 4036143"/>
                  <a:gd name="connsiteX999" fmla="*/ 1895572 w 5806384"/>
                  <a:gd name="connsiteY999" fmla="*/ 1661900 h 4036143"/>
                  <a:gd name="connsiteX1000" fmla="*/ 1895572 w 5806384"/>
                  <a:gd name="connsiteY1000" fmla="*/ 1661900 h 4036143"/>
                  <a:gd name="connsiteX1001" fmla="*/ 1896988 w 5806384"/>
                  <a:gd name="connsiteY1001" fmla="*/ 1663316 h 4036143"/>
                  <a:gd name="connsiteX1002" fmla="*/ 2201469 w 5806384"/>
                  <a:gd name="connsiteY1002" fmla="*/ 1535859 h 4036143"/>
                  <a:gd name="connsiteX1003" fmla="*/ 2239707 w 5806384"/>
                  <a:gd name="connsiteY1003" fmla="*/ 1584010 h 4036143"/>
                  <a:gd name="connsiteX1004" fmla="*/ 2241123 w 5806384"/>
                  <a:gd name="connsiteY1004" fmla="*/ 1654819 h 4036143"/>
                  <a:gd name="connsiteX1005" fmla="*/ 1969214 w 5806384"/>
                  <a:gd name="connsiteY1005" fmla="*/ 1734126 h 4036143"/>
                  <a:gd name="connsiteX1006" fmla="*/ 1874329 w 5806384"/>
                  <a:gd name="connsiteY1006" fmla="*/ 1659068 h 4036143"/>
                  <a:gd name="connsiteX1007" fmla="*/ 1874329 w 5806384"/>
                  <a:gd name="connsiteY1007" fmla="*/ 1659068 h 4036143"/>
                  <a:gd name="connsiteX1008" fmla="*/ 1449472 w 5806384"/>
                  <a:gd name="connsiteY1008" fmla="*/ 1646322 h 4036143"/>
                  <a:gd name="connsiteX1009" fmla="*/ 1409818 w 5806384"/>
                  <a:gd name="connsiteY1009" fmla="*/ 1571264 h 4036143"/>
                  <a:gd name="connsiteX1010" fmla="*/ 1409818 w 5806384"/>
                  <a:gd name="connsiteY1010" fmla="*/ 1571264 h 4036143"/>
                  <a:gd name="connsiteX1011" fmla="*/ 1316350 w 5806384"/>
                  <a:gd name="connsiteY1011" fmla="*/ 1569848 h 4036143"/>
                  <a:gd name="connsiteX1012" fmla="*/ 1356003 w 5806384"/>
                  <a:gd name="connsiteY1012" fmla="*/ 1486292 h 4036143"/>
                  <a:gd name="connsiteX1013" fmla="*/ 1518865 w 5806384"/>
                  <a:gd name="connsiteY1013" fmla="*/ 1473547 h 4036143"/>
                  <a:gd name="connsiteX1014" fmla="*/ 1523114 w 5806384"/>
                  <a:gd name="connsiteY1014" fmla="*/ 1493373 h 4036143"/>
                  <a:gd name="connsiteX1015" fmla="*/ 1405570 w 5806384"/>
                  <a:gd name="connsiteY1015" fmla="*/ 1559934 h 4036143"/>
                  <a:gd name="connsiteX1016" fmla="*/ 1405570 w 5806384"/>
                  <a:gd name="connsiteY1016" fmla="*/ 1559934 h 4036143"/>
                  <a:gd name="connsiteX1017" fmla="*/ 1406986 w 5806384"/>
                  <a:gd name="connsiteY1017" fmla="*/ 1561350 h 4036143"/>
                  <a:gd name="connsiteX1018" fmla="*/ 1616582 w 5806384"/>
                  <a:gd name="connsiteY1018" fmla="*/ 1465049 h 4036143"/>
                  <a:gd name="connsiteX1019" fmla="*/ 1685976 w 5806384"/>
                  <a:gd name="connsiteY1019" fmla="*/ 1459385 h 4036143"/>
                  <a:gd name="connsiteX1020" fmla="*/ 1664733 w 5806384"/>
                  <a:gd name="connsiteY1020" fmla="*/ 1584010 h 4036143"/>
                  <a:gd name="connsiteX1021" fmla="*/ 1664733 w 5806384"/>
                  <a:gd name="connsiteY1021" fmla="*/ 1585426 h 4036143"/>
                  <a:gd name="connsiteX1022" fmla="*/ 1749704 w 5806384"/>
                  <a:gd name="connsiteY1022" fmla="*/ 1453720 h 4036143"/>
                  <a:gd name="connsiteX1023" fmla="*/ 2190140 w 5806384"/>
                  <a:gd name="connsiteY1023" fmla="*/ 1518865 h 4036143"/>
                  <a:gd name="connsiteX1024" fmla="*/ 2115082 w 5806384"/>
                  <a:gd name="connsiteY1024" fmla="*/ 1425396 h 4036143"/>
                  <a:gd name="connsiteX1025" fmla="*/ 2235458 w 5806384"/>
                  <a:gd name="connsiteY1025" fmla="*/ 1415483 h 4036143"/>
                  <a:gd name="connsiteX1026" fmla="*/ 2238290 w 5806384"/>
                  <a:gd name="connsiteY1026" fmla="*/ 1496206 h 4036143"/>
                  <a:gd name="connsiteX1027" fmla="*/ 2190140 w 5806384"/>
                  <a:gd name="connsiteY1027" fmla="*/ 1518865 h 4036143"/>
                  <a:gd name="connsiteX1028" fmla="*/ 2239707 w 5806384"/>
                  <a:gd name="connsiteY1028" fmla="*/ 1494789 h 4036143"/>
                  <a:gd name="connsiteX1029" fmla="*/ 2236874 w 5806384"/>
                  <a:gd name="connsiteY1029" fmla="*/ 1415483 h 4036143"/>
                  <a:gd name="connsiteX1030" fmla="*/ 2413898 w 5806384"/>
                  <a:gd name="connsiteY1030" fmla="*/ 1401321 h 4036143"/>
                  <a:gd name="connsiteX1031" fmla="*/ 2419563 w 5806384"/>
                  <a:gd name="connsiteY1031" fmla="*/ 1406986 h 4036143"/>
                  <a:gd name="connsiteX1032" fmla="*/ 2239707 w 5806384"/>
                  <a:gd name="connsiteY1032" fmla="*/ 1494789 h 4036143"/>
                  <a:gd name="connsiteX1033" fmla="*/ 2239707 w 5806384"/>
                  <a:gd name="connsiteY1033" fmla="*/ 1517448 h 4036143"/>
                  <a:gd name="connsiteX1034" fmla="*/ 2239707 w 5806384"/>
                  <a:gd name="connsiteY1034" fmla="*/ 1497622 h 4036143"/>
                  <a:gd name="connsiteX1035" fmla="*/ 2423812 w 5806384"/>
                  <a:gd name="connsiteY1035" fmla="*/ 1408402 h 4036143"/>
                  <a:gd name="connsiteX1036" fmla="*/ 2423812 w 5806384"/>
                  <a:gd name="connsiteY1036" fmla="*/ 1408402 h 4036143"/>
                  <a:gd name="connsiteX1037" fmla="*/ 2416731 w 5806384"/>
                  <a:gd name="connsiteY1037" fmla="*/ 1401321 h 4036143"/>
                  <a:gd name="connsiteX1038" fmla="*/ 2541355 w 5806384"/>
                  <a:gd name="connsiteY1038" fmla="*/ 1391407 h 4036143"/>
                  <a:gd name="connsiteX1039" fmla="*/ 2239707 w 5806384"/>
                  <a:gd name="connsiteY1039" fmla="*/ 1517448 h 4036143"/>
                  <a:gd name="connsiteX1040" fmla="*/ 3039854 w 5806384"/>
                  <a:gd name="connsiteY1040" fmla="*/ 1351754 h 4036143"/>
                  <a:gd name="connsiteX1041" fmla="*/ 2554101 w 5806384"/>
                  <a:gd name="connsiteY1041" fmla="*/ 1389991 h 4036143"/>
                  <a:gd name="connsiteX1042" fmla="*/ 3045520 w 5806384"/>
                  <a:gd name="connsiteY1042" fmla="*/ 1184644 h 4036143"/>
                  <a:gd name="connsiteX1043" fmla="*/ 3066762 w 5806384"/>
                  <a:gd name="connsiteY1043" fmla="*/ 1200222 h 4036143"/>
                  <a:gd name="connsiteX1044" fmla="*/ 3039854 w 5806384"/>
                  <a:gd name="connsiteY1044" fmla="*/ 1351754 h 4036143"/>
                  <a:gd name="connsiteX1045" fmla="*/ 2765114 w 5806384"/>
                  <a:gd name="connsiteY1045" fmla="*/ 950972 h 4036143"/>
                  <a:gd name="connsiteX1046" fmla="*/ 2746703 w 5806384"/>
                  <a:gd name="connsiteY1046" fmla="*/ 948140 h 4036143"/>
                  <a:gd name="connsiteX1047" fmla="*/ 2990288 w 5806384"/>
                  <a:gd name="connsiteY1047" fmla="*/ 898573 h 4036143"/>
                  <a:gd name="connsiteX1048" fmla="*/ 3022861 w 5806384"/>
                  <a:gd name="connsiteY1048" fmla="*/ 945307 h 4036143"/>
                  <a:gd name="connsiteX1049" fmla="*/ 2765114 w 5806384"/>
                  <a:gd name="connsiteY1049" fmla="*/ 950972 h 4036143"/>
                  <a:gd name="connsiteX1050" fmla="*/ 3150318 w 5806384"/>
                  <a:gd name="connsiteY1050" fmla="*/ 595508 h 4036143"/>
                  <a:gd name="connsiteX1051" fmla="*/ 3175809 w 5806384"/>
                  <a:gd name="connsiteY1051" fmla="*/ 606838 h 4036143"/>
                  <a:gd name="connsiteX1052" fmla="*/ 3172977 w 5806384"/>
                  <a:gd name="connsiteY1052" fmla="*/ 621000 h 4036143"/>
                  <a:gd name="connsiteX1053" fmla="*/ 3150318 w 5806384"/>
                  <a:gd name="connsiteY1053" fmla="*/ 595508 h 4036143"/>
                  <a:gd name="connsiteX1054" fmla="*/ 4273358 w 5806384"/>
                  <a:gd name="connsiteY1054" fmla="*/ 611086 h 4036143"/>
                  <a:gd name="connsiteX1055" fmla="*/ 4412144 w 5806384"/>
                  <a:gd name="connsiteY1055" fmla="*/ 749873 h 4036143"/>
                  <a:gd name="connsiteX1056" fmla="*/ 4431971 w 5806384"/>
                  <a:gd name="connsiteY1056" fmla="*/ 908486 h 4036143"/>
                  <a:gd name="connsiteX1057" fmla="*/ 4114744 w 5806384"/>
                  <a:gd name="connsiteY1057" fmla="*/ 916984 h 4036143"/>
                  <a:gd name="connsiteX1058" fmla="*/ 4161478 w 5806384"/>
                  <a:gd name="connsiteY1058" fmla="*/ 803688 h 4036143"/>
                  <a:gd name="connsiteX1059" fmla="*/ 4161478 w 5806384"/>
                  <a:gd name="connsiteY1059" fmla="*/ 803688 h 4036143"/>
                  <a:gd name="connsiteX1060" fmla="*/ 4041102 w 5806384"/>
                  <a:gd name="connsiteY1060" fmla="*/ 881579 h 4036143"/>
                  <a:gd name="connsiteX1061" fmla="*/ 3960379 w 5806384"/>
                  <a:gd name="connsiteY1061" fmla="*/ 717301 h 4036143"/>
                  <a:gd name="connsiteX1062" fmla="*/ 3960379 w 5806384"/>
                  <a:gd name="connsiteY1062" fmla="*/ 717301 h 4036143"/>
                  <a:gd name="connsiteX1063" fmla="*/ 3600667 w 5806384"/>
                  <a:gd name="connsiteY1063" fmla="*/ 922648 h 4036143"/>
                  <a:gd name="connsiteX1064" fmla="*/ 3895234 w 5806384"/>
                  <a:gd name="connsiteY1064" fmla="*/ 548774 h 4036143"/>
                  <a:gd name="connsiteX1065" fmla="*/ 4273358 w 5806384"/>
                  <a:gd name="connsiteY1065" fmla="*/ 611086 h 4036143"/>
                  <a:gd name="connsiteX1066" fmla="*/ 2947802 w 5806384"/>
                  <a:gd name="connsiteY1066" fmla="*/ 2763697 h 4036143"/>
                  <a:gd name="connsiteX1067" fmla="*/ 2942138 w 5806384"/>
                  <a:gd name="connsiteY1067" fmla="*/ 2770778 h 4036143"/>
                  <a:gd name="connsiteX1068" fmla="*/ 2865663 w 5806384"/>
                  <a:gd name="connsiteY1068" fmla="*/ 2749535 h 4036143"/>
                  <a:gd name="connsiteX1069" fmla="*/ 2780692 w 5806384"/>
                  <a:gd name="connsiteY1069" fmla="*/ 2684390 h 4036143"/>
                  <a:gd name="connsiteX1070" fmla="*/ 2780692 w 5806384"/>
                  <a:gd name="connsiteY1070" fmla="*/ 2684390 h 4036143"/>
                  <a:gd name="connsiteX1071" fmla="*/ 2947802 w 5806384"/>
                  <a:gd name="connsiteY1071" fmla="*/ 2763697 h 4036143"/>
                  <a:gd name="connsiteX1072" fmla="*/ 1969214 w 5806384"/>
                  <a:gd name="connsiteY1072" fmla="*/ 1736958 h 4036143"/>
                  <a:gd name="connsiteX1073" fmla="*/ 2156151 w 5806384"/>
                  <a:gd name="connsiteY1073" fmla="*/ 1885658 h 4036143"/>
                  <a:gd name="connsiteX1074" fmla="*/ 2136324 w 5806384"/>
                  <a:gd name="connsiteY1074" fmla="*/ 1991873 h 4036143"/>
                  <a:gd name="connsiteX1075" fmla="*/ 1748288 w 5806384"/>
                  <a:gd name="connsiteY1075" fmla="*/ 1802103 h 4036143"/>
                  <a:gd name="connsiteX1076" fmla="*/ 1969214 w 5806384"/>
                  <a:gd name="connsiteY1076" fmla="*/ 1736958 h 4036143"/>
                  <a:gd name="connsiteX1077" fmla="*/ 4433387 w 5806384"/>
                  <a:gd name="connsiteY1077" fmla="*/ 908486 h 4036143"/>
                  <a:gd name="connsiteX1078" fmla="*/ 4413560 w 5806384"/>
                  <a:gd name="connsiteY1078" fmla="*/ 752705 h 4036143"/>
                  <a:gd name="connsiteX1079" fmla="*/ 4566510 w 5806384"/>
                  <a:gd name="connsiteY1079" fmla="*/ 905654 h 4036143"/>
                  <a:gd name="connsiteX1080" fmla="*/ 4433387 w 5806384"/>
                  <a:gd name="connsiteY1080" fmla="*/ 908486 h 4036143"/>
                  <a:gd name="connsiteX1081" fmla="*/ 3508614 w 5806384"/>
                  <a:gd name="connsiteY1081" fmla="*/ 2661731 h 4036143"/>
                  <a:gd name="connsiteX1082" fmla="*/ 3569510 w 5806384"/>
                  <a:gd name="connsiteY1082" fmla="*/ 2691471 h 4036143"/>
                  <a:gd name="connsiteX1083" fmla="*/ 3623325 w 5806384"/>
                  <a:gd name="connsiteY1083" fmla="*/ 2718378 h 4036143"/>
                  <a:gd name="connsiteX1084" fmla="*/ 3586505 w 5806384"/>
                  <a:gd name="connsiteY1084" fmla="*/ 2804766 h 4036143"/>
                  <a:gd name="connsiteX1085" fmla="*/ 3508614 w 5806384"/>
                  <a:gd name="connsiteY1085" fmla="*/ 2661731 h 4036143"/>
                  <a:gd name="connsiteX1086" fmla="*/ 3328758 w 5806384"/>
                  <a:gd name="connsiteY1086" fmla="*/ 2942136 h 4036143"/>
                  <a:gd name="connsiteX1087" fmla="*/ 3340087 w 5806384"/>
                  <a:gd name="connsiteY1087" fmla="*/ 2936472 h 4036143"/>
                  <a:gd name="connsiteX1088" fmla="*/ 3342920 w 5806384"/>
                  <a:gd name="connsiteY1088" fmla="*/ 2949217 h 4036143"/>
                  <a:gd name="connsiteX1089" fmla="*/ 3328758 w 5806384"/>
                  <a:gd name="connsiteY1089" fmla="*/ 2942136 h 4036143"/>
                  <a:gd name="connsiteX1090" fmla="*/ 3308931 w 5806384"/>
                  <a:gd name="connsiteY1090" fmla="*/ 2878408 h 4036143"/>
                  <a:gd name="connsiteX1091" fmla="*/ 3308931 w 5806384"/>
                  <a:gd name="connsiteY1091" fmla="*/ 2878408 h 4036143"/>
                  <a:gd name="connsiteX1092" fmla="*/ 3316012 w 5806384"/>
                  <a:gd name="connsiteY1092" fmla="*/ 2809015 h 4036143"/>
                  <a:gd name="connsiteX1093" fmla="*/ 3340087 w 5806384"/>
                  <a:gd name="connsiteY1093" fmla="*/ 2933639 h 4036143"/>
                  <a:gd name="connsiteX1094" fmla="*/ 3325925 w 5806384"/>
                  <a:gd name="connsiteY1094" fmla="*/ 2940720 h 4036143"/>
                  <a:gd name="connsiteX1095" fmla="*/ 3270694 w 5806384"/>
                  <a:gd name="connsiteY1095" fmla="*/ 2915229 h 4036143"/>
                  <a:gd name="connsiteX1096" fmla="*/ 3308931 w 5806384"/>
                  <a:gd name="connsiteY1096" fmla="*/ 2878408 h 4036143"/>
                  <a:gd name="connsiteX1097" fmla="*/ 2950635 w 5806384"/>
                  <a:gd name="connsiteY1097" fmla="*/ 2763697 h 4036143"/>
                  <a:gd name="connsiteX1098" fmla="*/ 2990288 w 5806384"/>
                  <a:gd name="connsiteY1098" fmla="*/ 2782107 h 4036143"/>
                  <a:gd name="connsiteX1099" fmla="*/ 2944970 w 5806384"/>
                  <a:gd name="connsiteY1099" fmla="*/ 2769361 h 4036143"/>
                  <a:gd name="connsiteX1100" fmla="*/ 2950635 w 5806384"/>
                  <a:gd name="connsiteY1100" fmla="*/ 2763697 h 4036143"/>
                  <a:gd name="connsiteX1101" fmla="*/ 2382742 w 5806384"/>
                  <a:gd name="connsiteY1101" fmla="*/ 2494620 h 4036143"/>
                  <a:gd name="connsiteX1102" fmla="*/ 2411066 w 5806384"/>
                  <a:gd name="connsiteY1102" fmla="*/ 2507366 h 4036143"/>
                  <a:gd name="connsiteX1103" fmla="*/ 2405401 w 5806384"/>
                  <a:gd name="connsiteY1103" fmla="*/ 2534273 h 4036143"/>
                  <a:gd name="connsiteX1104" fmla="*/ 2382742 w 5806384"/>
                  <a:gd name="connsiteY1104" fmla="*/ 2494620 h 4036143"/>
                  <a:gd name="connsiteX1105" fmla="*/ 2403985 w 5806384"/>
                  <a:gd name="connsiteY1105" fmla="*/ 2401152 h 4036143"/>
                  <a:gd name="connsiteX1106" fmla="*/ 2337424 w 5806384"/>
                  <a:gd name="connsiteY1106" fmla="*/ 2412481 h 4036143"/>
                  <a:gd name="connsiteX1107" fmla="*/ 2276528 w 5806384"/>
                  <a:gd name="connsiteY1107" fmla="*/ 2304851 h 4036143"/>
                  <a:gd name="connsiteX1108" fmla="*/ 2403985 w 5806384"/>
                  <a:gd name="connsiteY1108" fmla="*/ 2401152 h 4036143"/>
                  <a:gd name="connsiteX1109" fmla="*/ 3158815 w 5806384"/>
                  <a:gd name="connsiteY1109" fmla="*/ 1241291 h 4036143"/>
                  <a:gd name="connsiteX1110" fmla="*/ 3165896 w 5806384"/>
                  <a:gd name="connsiteY1110" fmla="*/ 1271031 h 4036143"/>
                  <a:gd name="connsiteX1111" fmla="*/ 3069595 w 5806384"/>
                  <a:gd name="connsiteY1111" fmla="*/ 1198806 h 4036143"/>
                  <a:gd name="connsiteX1112" fmla="*/ 3071011 w 5806384"/>
                  <a:gd name="connsiteY1112" fmla="*/ 1193141 h 4036143"/>
                  <a:gd name="connsiteX1113" fmla="*/ 3158815 w 5806384"/>
                  <a:gd name="connsiteY1113" fmla="*/ 1241291 h 4036143"/>
                  <a:gd name="connsiteX1114" fmla="*/ 3072427 w 5806384"/>
                  <a:gd name="connsiteY1114" fmla="*/ 1007620 h 4036143"/>
                  <a:gd name="connsiteX1115" fmla="*/ 3029942 w 5806384"/>
                  <a:gd name="connsiteY1115" fmla="*/ 946724 h 4036143"/>
                  <a:gd name="connsiteX1116" fmla="*/ 3114913 w 5806384"/>
                  <a:gd name="connsiteY1116" fmla="*/ 945307 h 4036143"/>
                  <a:gd name="connsiteX1117" fmla="*/ 3102167 w 5806384"/>
                  <a:gd name="connsiteY1117" fmla="*/ 1013285 h 4036143"/>
                  <a:gd name="connsiteX1118" fmla="*/ 3072427 w 5806384"/>
                  <a:gd name="connsiteY1118" fmla="*/ 1007620 h 4036143"/>
                  <a:gd name="connsiteX1119" fmla="*/ 3100751 w 5806384"/>
                  <a:gd name="connsiteY1119" fmla="*/ 1014701 h 4036143"/>
                  <a:gd name="connsiteX1120" fmla="*/ 3096502 w 5806384"/>
                  <a:gd name="connsiteY1120" fmla="*/ 1041608 h 4036143"/>
                  <a:gd name="connsiteX1121" fmla="*/ 3073843 w 5806384"/>
                  <a:gd name="connsiteY1121" fmla="*/ 1010452 h 4036143"/>
                  <a:gd name="connsiteX1122" fmla="*/ 3100751 w 5806384"/>
                  <a:gd name="connsiteY1122" fmla="*/ 1014701 h 4036143"/>
                  <a:gd name="connsiteX1123" fmla="*/ 4157230 w 5806384"/>
                  <a:gd name="connsiteY1123" fmla="*/ 809353 h 4036143"/>
                  <a:gd name="connsiteX1124" fmla="*/ 4111911 w 5806384"/>
                  <a:gd name="connsiteY1124" fmla="*/ 918400 h 4036143"/>
                  <a:gd name="connsiteX1125" fmla="*/ 4059512 w 5806384"/>
                  <a:gd name="connsiteY1125" fmla="*/ 919816 h 4036143"/>
                  <a:gd name="connsiteX1126" fmla="*/ 4042519 w 5806384"/>
                  <a:gd name="connsiteY1126" fmla="*/ 884411 h 4036143"/>
                  <a:gd name="connsiteX1127" fmla="*/ 4157230 w 5806384"/>
                  <a:gd name="connsiteY1127" fmla="*/ 809353 h 4036143"/>
                  <a:gd name="connsiteX1128" fmla="*/ 3961795 w 5806384"/>
                  <a:gd name="connsiteY1128" fmla="*/ 1280945 h 4036143"/>
                  <a:gd name="connsiteX1129" fmla="*/ 4001449 w 5806384"/>
                  <a:gd name="connsiteY1129" fmla="*/ 1278112 h 4036143"/>
                  <a:gd name="connsiteX1130" fmla="*/ 4174224 w 5806384"/>
                  <a:gd name="connsiteY1130" fmla="*/ 1389991 h 4036143"/>
                  <a:gd name="connsiteX1131" fmla="*/ 3883905 w 5806384"/>
                  <a:gd name="connsiteY1131" fmla="*/ 1504703 h 4036143"/>
                  <a:gd name="connsiteX1132" fmla="*/ 3875407 w 5806384"/>
                  <a:gd name="connsiteY1132" fmla="*/ 1490541 h 4036143"/>
                  <a:gd name="connsiteX1133" fmla="*/ 3961795 w 5806384"/>
                  <a:gd name="connsiteY1133" fmla="*/ 1280945 h 4036143"/>
                  <a:gd name="connsiteX1134" fmla="*/ 3864078 w 5806384"/>
                  <a:gd name="connsiteY1134" fmla="*/ 1511784 h 4036143"/>
                  <a:gd name="connsiteX1135" fmla="*/ 3872576 w 5806384"/>
                  <a:gd name="connsiteY1135" fmla="*/ 1491957 h 4036143"/>
                  <a:gd name="connsiteX1136" fmla="*/ 3881072 w 5806384"/>
                  <a:gd name="connsiteY1136" fmla="*/ 1504703 h 4036143"/>
                  <a:gd name="connsiteX1137" fmla="*/ 3864078 w 5806384"/>
                  <a:gd name="connsiteY1137" fmla="*/ 1511784 h 4036143"/>
                  <a:gd name="connsiteX1138" fmla="*/ 3752199 w 5806384"/>
                  <a:gd name="connsiteY1138" fmla="*/ 1297939 h 4036143"/>
                  <a:gd name="connsiteX1139" fmla="*/ 3958963 w 5806384"/>
                  <a:gd name="connsiteY1139" fmla="*/ 1282361 h 4036143"/>
                  <a:gd name="connsiteX1140" fmla="*/ 3872576 w 5806384"/>
                  <a:gd name="connsiteY1140" fmla="*/ 1489125 h 4036143"/>
                  <a:gd name="connsiteX1141" fmla="*/ 3752199 w 5806384"/>
                  <a:gd name="connsiteY1141" fmla="*/ 1297939 h 4036143"/>
                  <a:gd name="connsiteX1142" fmla="*/ 3011531 w 5806384"/>
                  <a:gd name="connsiteY1142" fmla="*/ 2790604 h 4036143"/>
                  <a:gd name="connsiteX1143" fmla="*/ 3127658 w 5806384"/>
                  <a:gd name="connsiteY1143" fmla="*/ 2823177 h 4036143"/>
                  <a:gd name="connsiteX1144" fmla="*/ 3140404 w 5806384"/>
                  <a:gd name="connsiteY1144" fmla="*/ 2852916 h 4036143"/>
                  <a:gd name="connsiteX1145" fmla="*/ 3011531 w 5806384"/>
                  <a:gd name="connsiteY1145" fmla="*/ 2790604 h 4036143"/>
                  <a:gd name="connsiteX1146" fmla="*/ 3051185 w 5806384"/>
                  <a:gd name="connsiteY1146" fmla="*/ 2654650 h 4036143"/>
                  <a:gd name="connsiteX1147" fmla="*/ 3127658 w 5806384"/>
                  <a:gd name="connsiteY1147" fmla="*/ 2820344 h 4036143"/>
                  <a:gd name="connsiteX1148" fmla="*/ 3001618 w 5806384"/>
                  <a:gd name="connsiteY1148" fmla="*/ 2784939 h 4036143"/>
                  <a:gd name="connsiteX1149" fmla="*/ 2952051 w 5806384"/>
                  <a:gd name="connsiteY1149" fmla="*/ 2760864 h 4036143"/>
                  <a:gd name="connsiteX1150" fmla="*/ 3051185 w 5806384"/>
                  <a:gd name="connsiteY1150" fmla="*/ 2654650 h 4036143"/>
                  <a:gd name="connsiteX1151" fmla="*/ 1972047 w 5806384"/>
                  <a:gd name="connsiteY1151" fmla="*/ 1735542 h 4036143"/>
                  <a:gd name="connsiteX1152" fmla="*/ 2241123 w 5806384"/>
                  <a:gd name="connsiteY1152" fmla="*/ 1656235 h 4036143"/>
                  <a:gd name="connsiteX1153" fmla="*/ 2252452 w 5806384"/>
                  <a:gd name="connsiteY1153" fmla="*/ 2047104 h 4036143"/>
                  <a:gd name="connsiteX1154" fmla="*/ 2139157 w 5806384"/>
                  <a:gd name="connsiteY1154" fmla="*/ 1991873 h 4036143"/>
                  <a:gd name="connsiteX1155" fmla="*/ 2158984 w 5806384"/>
                  <a:gd name="connsiteY1155" fmla="*/ 1884242 h 4036143"/>
                  <a:gd name="connsiteX1156" fmla="*/ 2158984 w 5806384"/>
                  <a:gd name="connsiteY1156" fmla="*/ 1884242 h 4036143"/>
                  <a:gd name="connsiteX1157" fmla="*/ 1972047 w 5806384"/>
                  <a:gd name="connsiteY1157" fmla="*/ 1735542 h 4036143"/>
                  <a:gd name="connsiteX1158" fmla="*/ 3069595 w 5806384"/>
                  <a:gd name="connsiteY1158" fmla="*/ 2630574 h 4036143"/>
                  <a:gd name="connsiteX1159" fmla="*/ 3051185 w 5806384"/>
                  <a:gd name="connsiteY1159" fmla="*/ 2650401 h 4036143"/>
                  <a:gd name="connsiteX1160" fmla="*/ 3017196 w 5806384"/>
                  <a:gd name="connsiteY1160" fmla="*/ 2575343 h 4036143"/>
                  <a:gd name="connsiteX1161" fmla="*/ 3069595 w 5806384"/>
                  <a:gd name="connsiteY1161" fmla="*/ 2630574 h 4036143"/>
                  <a:gd name="connsiteX1162" fmla="*/ 2854334 w 5806384"/>
                  <a:gd name="connsiteY1162" fmla="*/ 2226960 h 4036143"/>
                  <a:gd name="connsiteX1163" fmla="*/ 2715547 w 5806384"/>
                  <a:gd name="connsiteY1163" fmla="*/ 1807768 h 4036143"/>
                  <a:gd name="connsiteX1164" fmla="*/ 2729709 w 5806384"/>
                  <a:gd name="connsiteY1164" fmla="*/ 1810600 h 4036143"/>
                  <a:gd name="connsiteX1165" fmla="*/ 2896819 w 5806384"/>
                  <a:gd name="connsiteY1165" fmla="*/ 2239706 h 4036143"/>
                  <a:gd name="connsiteX1166" fmla="*/ 2854334 w 5806384"/>
                  <a:gd name="connsiteY1166" fmla="*/ 2226960 h 4036143"/>
                  <a:gd name="connsiteX1167" fmla="*/ 2714130 w 5806384"/>
                  <a:gd name="connsiteY1167" fmla="*/ 1804935 h 4036143"/>
                  <a:gd name="connsiteX1168" fmla="*/ 2641905 w 5806384"/>
                  <a:gd name="connsiteY1168" fmla="*/ 1585426 h 4036143"/>
                  <a:gd name="connsiteX1169" fmla="*/ 2728292 w 5806384"/>
                  <a:gd name="connsiteY1169" fmla="*/ 1807768 h 4036143"/>
                  <a:gd name="connsiteX1170" fmla="*/ 2714130 w 5806384"/>
                  <a:gd name="connsiteY1170" fmla="*/ 1804935 h 4036143"/>
                  <a:gd name="connsiteX1171" fmla="*/ 3393902 w 5806384"/>
                  <a:gd name="connsiteY1171" fmla="*/ 2280775 h 4036143"/>
                  <a:gd name="connsiteX1172" fmla="*/ 3688471 w 5806384"/>
                  <a:gd name="connsiteY1172" fmla="*/ 2452135 h 4036143"/>
                  <a:gd name="connsiteX1173" fmla="*/ 3327342 w 5806384"/>
                  <a:gd name="connsiteY1173" fmla="*/ 2354417 h 4036143"/>
                  <a:gd name="connsiteX1174" fmla="*/ 3393902 w 5806384"/>
                  <a:gd name="connsiteY1174" fmla="*/ 2280775 h 4036143"/>
                  <a:gd name="connsiteX1175" fmla="*/ 3324509 w 5806384"/>
                  <a:gd name="connsiteY1175" fmla="*/ 2353001 h 4036143"/>
                  <a:gd name="connsiteX1176" fmla="*/ 3124826 w 5806384"/>
                  <a:gd name="connsiteY1176" fmla="*/ 2299186 h 4036143"/>
                  <a:gd name="connsiteX1177" fmla="*/ 3171561 w 5806384"/>
                  <a:gd name="connsiteY1177" fmla="*/ 2156151 h 4036143"/>
                  <a:gd name="connsiteX1178" fmla="*/ 3184306 w 5806384"/>
                  <a:gd name="connsiteY1178" fmla="*/ 2154735 h 4036143"/>
                  <a:gd name="connsiteX1179" fmla="*/ 3182890 w 5806384"/>
                  <a:gd name="connsiteY1179" fmla="*/ 2157567 h 4036143"/>
                  <a:gd name="connsiteX1180" fmla="*/ 3182890 w 5806384"/>
                  <a:gd name="connsiteY1180" fmla="*/ 2157567 h 4036143"/>
                  <a:gd name="connsiteX1181" fmla="*/ 3392486 w 5806384"/>
                  <a:gd name="connsiteY1181" fmla="*/ 2279359 h 4036143"/>
                  <a:gd name="connsiteX1182" fmla="*/ 3324509 w 5806384"/>
                  <a:gd name="connsiteY1182" fmla="*/ 2353001 h 4036143"/>
                  <a:gd name="connsiteX1183" fmla="*/ 2321846 w 5806384"/>
                  <a:gd name="connsiteY1183" fmla="*/ 2083925 h 4036143"/>
                  <a:gd name="connsiteX1184" fmla="*/ 2260950 w 5806384"/>
                  <a:gd name="connsiteY1184" fmla="*/ 2292105 h 4036143"/>
                  <a:gd name="connsiteX1185" fmla="*/ 2253869 w 5806384"/>
                  <a:gd name="connsiteY1185" fmla="*/ 2051352 h 4036143"/>
                  <a:gd name="connsiteX1186" fmla="*/ 2321846 w 5806384"/>
                  <a:gd name="connsiteY1186" fmla="*/ 2083925 h 4036143"/>
                  <a:gd name="connsiteX1187" fmla="*/ 2253869 w 5806384"/>
                  <a:gd name="connsiteY1187" fmla="*/ 2048520 h 4036143"/>
                  <a:gd name="connsiteX1188" fmla="*/ 2243955 w 5806384"/>
                  <a:gd name="connsiteY1188" fmla="*/ 1656235 h 4036143"/>
                  <a:gd name="connsiteX1189" fmla="*/ 2287857 w 5806384"/>
                  <a:gd name="connsiteY1189" fmla="*/ 1643489 h 4036143"/>
                  <a:gd name="connsiteX1190" fmla="*/ 2408233 w 5806384"/>
                  <a:gd name="connsiteY1190" fmla="*/ 1792190 h 4036143"/>
                  <a:gd name="connsiteX1191" fmla="*/ 2323262 w 5806384"/>
                  <a:gd name="connsiteY1191" fmla="*/ 2081092 h 4036143"/>
                  <a:gd name="connsiteX1192" fmla="*/ 2253869 w 5806384"/>
                  <a:gd name="connsiteY1192" fmla="*/ 2048520 h 4036143"/>
                  <a:gd name="connsiteX1193" fmla="*/ 2843004 w 5806384"/>
                  <a:gd name="connsiteY1193" fmla="*/ 2336007 h 4036143"/>
                  <a:gd name="connsiteX1194" fmla="*/ 2488956 w 5806384"/>
                  <a:gd name="connsiteY1194" fmla="*/ 2163232 h 4036143"/>
                  <a:gd name="connsiteX1195" fmla="*/ 2535691 w 5806384"/>
                  <a:gd name="connsiteY1195" fmla="*/ 1952219 h 4036143"/>
                  <a:gd name="connsiteX1196" fmla="*/ 2843004 w 5806384"/>
                  <a:gd name="connsiteY1196" fmla="*/ 2336007 h 4036143"/>
                  <a:gd name="connsiteX1197" fmla="*/ 2957715 w 5806384"/>
                  <a:gd name="connsiteY1197" fmla="*/ 2394071 h 4036143"/>
                  <a:gd name="connsiteX1198" fmla="*/ 3020028 w 5806384"/>
                  <a:gd name="connsiteY1198" fmla="*/ 2552684 h 4036143"/>
                  <a:gd name="connsiteX1199" fmla="*/ 2850085 w 5806384"/>
                  <a:gd name="connsiteY1199" fmla="*/ 2341672 h 4036143"/>
                  <a:gd name="connsiteX1200" fmla="*/ 2957715 w 5806384"/>
                  <a:gd name="connsiteY1200" fmla="*/ 2394071 h 4036143"/>
                  <a:gd name="connsiteX1201" fmla="*/ 2847253 w 5806384"/>
                  <a:gd name="connsiteY1201" fmla="*/ 2337423 h 4036143"/>
                  <a:gd name="connsiteX1202" fmla="*/ 2535691 w 5806384"/>
                  <a:gd name="connsiteY1202" fmla="*/ 1949387 h 4036143"/>
                  <a:gd name="connsiteX1203" fmla="*/ 2573928 w 5806384"/>
                  <a:gd name="connsiteY1203" fmla="*/ 1778028 h 4036143"/>
                  <a:gd name="connsiteX1204" fmla="*/ 2712715 w 5806384"/>
                  <a:gd name="connsiteY1204" fmla="*/ 1804935 h 4036143"/>
                  <a:gd name="connsiteX1205" fmla="*/ 2851501 w 5806384"/>
                  <a:gd name="connsiteY1205" fmla="*/ 2226960 h 4036143"/>
                  <a:gd name="connsiteX1206" fmla="*/ 2851501 w 5806384"/>
                  <a:gd name="connsiteY1206" fmla="*/ 2226960 h 4036143"/>
                  <a:gd name="connsiteX1207" fmla="*/ 2898235 w 5806384"/>
                  <a:gd name="connsiteY1207" fmla="*/ 2239706 h 4036143"/>
                  <a:gd name="connsiteX1208" fmla="*/ 2957715 w 5806384"/>
                  <a:gd name="connsiteY1208" fmla="*/ 2389822 h 4036143"/>
                  <a:gd name="connsiteX1209" fmla="*/ 2847253 w 5806384"/>
                  <a:gd name="connsiteY1209" fmla="*/ 2337423 h 4036143"/>
                  <a:gd name="connsiteX1210" fmla="*/ 2534274 w 5806384"/>
                  <a:gd name="connsiteY1210" fmla="*/ 1947971 h 4036143"/>
                  <a:gd name="connsiteX1211" fmla="*/ 2408233 w 5806384"/>
                  <a:gd name="connsiteY1211" fmla="*/ 1792190 h 4036143"/>
                  <a:gd name="connsiteX1212" fmla="*/ 2420979 w 5806384"/>
                  <a:gd name="connsiteY1212" fmla="*/ 1749704 h 4036143"/>
                  <a:gd name="connsiteX1213" fmla="*/ 2571095 w 5806384"/>
                  <a:gd name="connsiteY1213" fmla="*/ 1779444 h 4036143"/>
                  <a:gd name="connsiteX1214" fmla="*/ 2534274 w 5806384"/>
                  <a:gd name="connsiteY1214" fmla="*/ 1947971 h 4036143"/>
                  <a:gd name="connsiteX1215" fmla="*/ 2420979 w 5806384"/>
                  <a:gd name="connsiteY1215" fmla="*/ 1746871 h 4036143"/>
                  <a:gd name="connsiteX1216" fmla="*/ 2420979 w 5806384"/>
                  <a:gd name="connsiteY1216" fmla="*/ 1746871 h 4036143"/>
                  <a:gd name="connsiteX1217" fmla="*/ 2408233 w 5806384"/>
                  <a:gd name="connsiteY1217" fmla="*/ 1789357 h 4036143"/>
                  <a:gd name="connsiteX1218" fmla="*/ 2289273 w 5806384"/>
                  <a:gd name="connsiteY1218" fmla="*/ 1642073 h 4036143"/>
                  <a:gd name="connsiteX1219" fmla="*/ 2623495 w 5806384"/>
                  <a:gd name="connsiteY1219" fmla="*/ 1542940 h 4036143"/>
                  <a:gd name="connsiteX1220" fmla="*/ 2572511 w 5806384"/>
                  <a:gd name="connsiteY1220" fmla="*/ 1776611 h 4036143"/>
                  <a:gd name="connsiteX1221" fmla="*/ 2420979 w 5806384"/>
                  <a:gd name="connsiteY1221" fmla="*/ 1746871 h 4036143"/>
                  <a:gd name="connsiteX1222" fmla="*/ 2408233 w 5806384"/>
                  <a:gd name="connsiteY1222" fmla="*/ 1793606 h 4036143"/>
                  <a:gd name="connsiteX1223" fmla="*/ 2534274 w 5806384"/>
                  <a:gd name="connsiteY1223" fmla="*/ 1949387 h 4036143"/>
                  <a:gd name="connsiteX1224" fmla="*/ 2487540 w 5806384"/>
                  <a:gd name="connsiteY1224" fmla="*/ 2160399 h 4036143"/>
                  <a:gd name="connsiteX1225" fmla="*/ 2323262 w 5806384"/>
                  <a:gd name="connsiteY1225" fmla="*/ 2081092 h 4036143"/>
                  <a:gd name="connsiteX1226" fmla="*/ 2408233 w 5806384"/>
                  <a:gd name="connsiteY1226" fmla="*/ 1793606 h 4036143"/>
                  <a:gd name="connsiteX1227" fmla="*/ 3310347 w 5806384"/>
                  <a:gd name="connsiteY1227" fmla="*/ 1892739 h 4036143"/>
                  <a:gd name="connsiteX1228" fmla="*/ 3304682 w 5806384"/>
                  <a:gd name="connsiteY1228" fmla="*/ 1904069 h 4036143"/>
                  <a:gd name="connsiteX1229" fmla="*/ 3211214 w 5806384"/>
                  <a:gd name="connsiteY1229" fmla="*/ 1868664 h 4036143"/>
                  <a:gd name="connsiteX1230" fmla="*/ 3209797 w 5806384"/>
                  <a:gd name="connsiteY1230" fmla="*/ 1868664 h 4036143"/>
                  <a:gd name="connsiteX1231" fmla="*/ 3293353 w 5806384"/>
                  <a:gd name="connsiteY1231" fmla="*/ 1928144 h 4036143"/>
                  <a:gd name="connsiteX1232" fmla="*/ 3185723 w 5806384"/>
                  <a:gd name="connsiteY1232" fmla="*/ 2153318 h 4036143"/>
                  <a:gd name="connsiteX1233" fmla="*/ 3170144 w 5806384"/>
                  <a:gd name="connsiteY1233" fmla="*/ 2154735 h 4036143"/>
                  <a:gd name="connsiteX1234" fmla="*/ 3170144 w 5806384"/>
                  <a:gd name="connsiteY1234" fmla="*/ 2154735 h 4036143"/>
                  <a:gd name="connsiteX1235" fmla="*/ 3121994 w 5806384"/>
                  <a:gd name="connsiteY1235" fmla="*/ 2299186 h 4036143"/>
                  <a:gd name="connsiteX1236" fmla="*/ 3031358 w 5806384"/>
                  <a:gd name="connsiteY1236" fmla="*/ 2275111 h 4036143"/>
                  <a:gd name="connsiteX1237" fmla="*/ 3021444 w 5806384"/>
                  <a:gd name="connsiteY1237" fmla="*/ 1476379 h 4036143"/>
                  <a:gd name="connsiteX1238" fmla="*/ 3243786 w 5806384"/>
                  <a:gd name="connsiteY1238" fmla="*/ 1605252 h 4036143"/>
                  <a:gd name="connsiteX1239" fmla="*/ 3310347 w 5806384"/>
                  <a:gd name="connsiteY1239" fmla="*/ 1892739 h 4036143"/>
                  <a:gd name="connsiteX1240" fmla="*/ 3544019 w 5806384"/>
                  <a:gd name="connsiteY1240" fmla="*/ 2106584 h 4036143"/>
                  <a:gd name="connsiteX1241" fmla="*/ 3188554 w 5806384"/>
                  <a:gd name="connsiteY1241" fmla="*/ 2151902 h 4036143"/>
                  <a:gd name="connsiteX1242" fmla="*/ 3296186 w 5806384"/>
                  <a:gd name="connsiteY1242" fmla="*/ 1928144 h 4036143"/>
                  <a:gd name="connsiteX1243" fmla="*/ 3544019 w 5806384"/>
                  <a:gd name="connsiteY1243" fmla="*/ 2106584 h 4036143"/>
                  <a:gd name="connsiteX1244" fmla="*/ 3223959 w 5806384"/>
                  <a:gd name="connsiteY1244" fmla="*/ 1875745 h 4036143"/>
                  <a:gd name="connsiteX1245" fmla="*/ 3303267 w 5806384"/>
                  <a:gd name="connsiteY1245" fmla="*/ 1905485 h 4036143"/>
                  <a:gd name="connsiteX1246" fmla="*/ 3293353 w 5806384"/>
                  <a:gd name="connsiteY1246" fmla="*/ 1925311 h 4036143"/>
                  <a:gd name="connsiteX1247" fmla="*/ 3223959 w 5806384"/>
                  <a:gd name="connsiteY1247" fmla="*/ 1875745 h 4036143"/>
                  <a:gd name="connsiteX1248" fmla="*/ 3121994 w 5806384"/>
                  <a:gd name="connsiteY1248" fmla="*/ 2300602 h 4036143"/>
                  <a:gd name="connsiteX1249" fmla="*/ 3073843 w 5806384"/>
                  <a:gd name="connsiteY1249" fmla="*/ 2447886 h 4036143"/>
                  <a:gd name="connsiteX1250" fmla="*/ 3034190 w 5806384"/>
                  <a:gd name="connsiteY1250" fmla="*/ 2429475 h 4036143"/>
                  <a:gd name="connsiteX1251" fmla="*/ 3032773 w 5806384"/>
                  <a:gd name="connsiteY1251" fmla="*/ 2277943 h 4036143"/>
                  <a:gd name="connsiteX1252" fmla="*/ 3121994 w 5806384"/>
                  <a:gd name="connsiteY1252" fmla="*/ 2300602 h 4036143"/>
                  <a:gd name="connsiteX1253" fmla="*/ 3031358 w 5806384"/>
                  <a:gd name="connsiteY1253" fmla="*/ 2428059 h 4036143"/>
                  <a:gd name="connsiteX1254" fmla="*/ 2959132 w 5806384"/>
                  <a:gd name="connsiteY1254" fmla="*/ 2392654 h 4036143"/>
                  <a:gd name="connsiteX1255" fmla="*/ 2899652 w 5806384"/>
                  <a:gd name="connsiteY1255" fmla="*/ 2241122 h 4036143"/>
                  <a:gd name="connsiteX1256" fmla="*/ 3028525 w 5806384"/>
                  <a:gd name="connsiteY1256" fmla="*/ 2276527 h 4036143"/>
                  <a:gd name="connsiteX1257" fmla="*/ 3031358 w 5806384"/>
                  <a:gd name="connsiteY1257" fmla="*/ 2428059 h 4036143"/>
                  <a:gd name="connsiteX1258" fmla="*/ 3072427 w 5806384"/>
                  <a:gd name="connsiteY1258" fmla="*/ 2449302 h 4036143"/>
                  <a:gd name="connsiteX1259" fmla="*/ 3035606 w 5806384"/>
                  <a:gd name="connsiteY1259" fmla="*/ 2559765 h 4036143"/>
                  <a:gd name="connsiteX1260" fmla="*/ 3034190 w 5806384"/>
                  <a:gd name="connsiteY1260" fmla="*/ 2429475 h 4036143"/>
                  <a:gd name="connsiteX1261" fmla="*/ 3072427 w 5806384"/>
                  <a:gd name="connsiteY1261" fmla="*/ 2449302 h 4036143"/>
                  <a:gd name="connsiteX1262" fmla="*/ 3075259 w 5806384"/>
                  <a:gd name="connsiteY1262" fmla="*/ 2447886 h 4036143"/>
                  <a:gd name="connsiteX1263" fmla="*/ 3123410 w 5806384"/>
                  <a:gd name="connsiteY1263" fmla="*/ 2300602 h 4036143"/>
                  <a:gd name="connsiteX1264" fmla="*/ 3323093 w 5806384"/>
                  <a:gd name="connsiteY1264" fmla="*/ 2354417 h 4036143"/>
                  <a:gd name="connsiteX1265" fmla="*/ 3187139 w 5806384"/>
                  <a:gd name="connsiteY1265" fmla="*/ 2503117 h 4036143"/>
                  <a:gd name="connsiteX1266" fmla="*/ 3075259 w 5806384"/>
                  <a:gd name="connsiteY1266" fmla="*/ 2447886 h 4036143"/>
                  <a:gd name="connsiteX1267" fmla="*/ 3185723 w 5806384"/>
                  <a:gd name="connsiteY1267" fmla="*/ 2157567 h 4036143"/>
                  <a:gd name="connsiteX1268" fmla="*/ 3187139 w 5806384"/>
                  <a:gd name="connsiteY1268" fmla="*/ 2154735 h 4036143"/>
                  <a:gd name="connsiteX1269" fmla="*/ 3546852 w 5806384"/>
                  <a:gd name="connsiteY1269" fmla="*/ 2109416 h 4036143"/>
                  <a:gd name="connsiteX1270" fmla="*/ 3548267 w 5806384"/>
                  <a:gd name="connsiteY1270" fmla="*/ 2110833 h 4036143"/>
                  <a:gd name="connsiteX1271" fmla="*/ 3393902 w 5806384"/>
                  <a:gd name="connsiteY1271" fmla="*/ 2279359 h 4036143"/>
                  <a:gd name="connsiteX1272" fmla="*/ 3185723 w 5806384"/>
                  <a:gd name="connsiteY1272" fmla="*/ 2157567 h 4036143"/>
                  <a:gd name="connsiteX1273" fmla="*/ 3493036 w 5806384"/>
                  <a:gd name="connsiteY1273" fmla="*/ 1973462 h 4036143"/>
                  <a:gd name="connsiteX1274" fmla="*/ 3306099 w 5806384"/>
                  <a:gd name="connsiteY1274" fmla="*/ 1904069 h 4036143"/>
                  <a:gd name="connsiteX1275" fmla="*/ 3311763 w 5806384"/>
                  <a:gd name="connsiteY1275" fmla="*/ 1892739 h 4036143"/>
                  <a:gd name="connsiteX1276" fmla="*/ 3311763 w 5806384"/>
                  <a:gd name="connsiteY1276" fmla="*/ 1892739 h 4036143"/>
                  <a:gd name="connsiteX1277" fmla="*/ 3245202 w 5806384"/>
                  <a:gd name="connsiteY1277" fmla="*/ 1605252 h 4036143"/>
                  <a:gd name="connsiteX1278" fmla="*/ 3372659 w 5806384"/>
                  <a:gd name="connsiteY1278" fmla="*/ 1678894 h 4036143"/>
                  <a:gd name="connsiteX1279" fmla="*/ 3493036 w 5806384"/>
                  <a:gd name="connsiteY1279" fmla="*/ 1973462 h 4036143"/>
                  <a:gd name="connsiteX1280" fmla="*/ 3245202 w 5806384"/>
                  <a:gd name="connsiteY1280" fmla="*/ 1602420 h 4036143"/>
                  <a:gd name="connsiteX1281" fmla="*/ 3184306 w 5806384"/>
                  <a:gd name="connsiteY1281" fmla="*/ 1341841 h 4036143"/>
                  <a:gd name="connsiteX1282" fmla="*/ 3232457 w 5806384"/>
                  <a:gd name="connsiteY1282" fmla="*/ 1337592 h 4036143"/>
                  <a:gd name="connsiteX1283" fmla="*/ 3371244 w 5806384"/>
                  <a:gd name="connsiteY1283" fmla="*/ 1676062 h 4036143"/>
                  <a:gd name="connsiteX1284" fmla="*/ 3245202 w 5806384"/>
                  <a:gd name="connsiteY1284" fmla="*/ 1602420 h 4036143"/>
                  <a:gd name="connsiteX1285" fmla="*/ 3546852 w 5806384"/>
                  <a:gd name="connsiteY1285" fmla="*/ 2106584 h 4036143"/>
                  <a:gd name="connsiteX1286" fmla="*/ 3296186 w 5806384"/>
                  <a:gd name="connsiteY1286" fmla="*/ 1926728 h 4036143"/>
                  <a:gd name="connsiteX1287" fmla="*/ 3306099 w 5806384"/>
                  <a:gd name="connsiteY1287" fmla="*/ 1905485 h 4036143"/>
                  <a:gd name="connsiteX1288" fmla="*/ 3494452 w 5806384"/>
                  <a:gd name="connsiteY1288" fmla="*/ 1976294 h 4036143"/>
                  <a:gd name="connsiteX1289" fmla="*/ 3546852 w 5806384"/>
                  <a:gd name="connsiteY1289" fmla="*/ 2106584 h 4036143"/>
                  <a:gd name="connsiteX1290" fmla="*/ 3546852 w 5806384"/>
                  <a:gd name="connsiteY1290" fmla="*/ 2106584 h 4036143"/>
                  <a:gd name="connsiteX1291" fmla="*/ 3248035 w 5806384"/>
                  <a:gd name="connsiteY1291" fmla="*/ 1334760 h 4036143"/>
                  <a:gd name="connsiteX1292" fmla="*/ 3233873 w 5806384"/>
                  <a:gd name="connsiteY1292" fmla="*/ 1336176 h 4036143"/>
                  <a:gd name="connsiteX1293" fmla="*/ 3226792 w 5806384"/>
                  <a:gd name="connsiteY1293" fmla="*/ 1320598 h 4036143"/>
                  <a:gd name="connsiteX1294" fmla="*/ 3248035 w 5806384"/>
                  <a:gd name="connsiteY1294" fmla="*/ 1334760 h 4036143"/>
                  <a:gd name="connsiteX1295" fmla="*/ 3223959 w 5806384"/>
                  <a:gd name="connsiteY1295" fmla="*/ 1317766 h 4036143"/>
                  <a:gd name="connsiteX1296" fmla="*/ 3231040 w 5806384"/>
                  <a:gd name="connsiteY1296" fmla="*/ 1336176 h 4036143"/>
                  <a:gd name="connsiteX1297" fmla="*/ 3182890 w 5806384"/>
                  <a:gd name="connsiteY1297" fmla="*/ 1340425 h 4036143"/>
                  <a:gd name="connsiteX1298" fmla="*/ 3168728 w 5806384"/>
                  <a:gd name="connsiteY1298" fmla="*/ 1276696 h 4036143"/>
                  <a:gd name="connsiteX1299" fmla="*/ 3223959 w 5806384"/>
                  <a:gd name="connsiteY1299" fmla="*/ 1317766 h 4036143"/>
                  <a:gd name="connsiteX1300" fmla="*/ 2243955 w 5806384"/>
                  <a:gd name="connsiteY1300" fmla="*/ 1653403 h 4036143"/>
                  <a:gd name="connsiteX1301" fmla="*/ 2242539 w 5806384"/>
                  <a:gd name="connsiteY1301" fmla="*/ 1586842 h 4036143"/>
                  <a:gd name="connsiteX1302" fmla="*/ 2286441 w 5806384"/>
                  <a:gd name="connsiteY1302" fmla="*/ 1642073 h 4036143"/>
                  <a:gd name="connsiteX1303" fmla="*/ 2243955 w 5806384"/>
                  <a:gd name="connsiteY1303" fmla="*/ 1653403 h 4036143"/>
                  <a:gd name="connsiteX1304" fmla="*/ 3071011 w 5806384"/>
                  <a:gd name="connsiteY1304" fmla="*/ 2631991 h 4036143"/>
                  <a:gd name="connsiteX1305" fmla="*/ 3301850 w 5806384"/>
                  <a:gd name="connsiteY1305" fmla="*/ 2869911 h 4036143"/>
                  <a:gd name="connsiteX1306" fmla="*/ 3129075 w 5806384"/>
                  <a:gd name="connsiteY1306" fmla="*/ 2821760 h 4036143"/>
                  <a:gd name="connsiteX1307" fmla="*/ 3052600 w 5806384"/>
                  <a:gd name="connsiteY1307" fmla="*/ 2653234 h 4036143"/>
                  <a:gd name="connsiteX1308" fmla="*/ 3071011 w 5806384"/>
                  <a:gd name="connsiteY1308" fmla="*/ 2631991 h 4036143"/>
                  <a:gd name="connsiteX1309" fmla="*/ 3398152 w 5806384"/>
                  <a:gd name="connsiteY1309" fmla="*/ 2607916 h 4036143"/>
                  <a:gd name="connsiteX1310" fmla="*/ 3436388 w 5806384"/>
                  <a:gd name="connsiteY1310" fmla="*/ 2885489 h 4036143"/>
                  <a:gd name="connsiteX1311" fmla="*/ 3342920 w 5806384"/>
                  <a:gd name="connsiteY1311" fmla="*/ 2932223 h 4036143"/>
                  <a:gd name="connsiteX1312" fmla="*/ 3314596 w 5806384"/>
                  <a:gd name="connsiteY1312" fmla="*/ 2797685 h 4036143"/>
                  <a:gd name="connsiteX1313" fmla="*/ 3314596 w 5806384"/>
                  <a:gd name="connsiteY1313" fmla="*/ 2796269 h 4036143"/>
                  <a:gd name="connsiteX1314" fmla="*/ 3307515 w 5806384"/>
                  <a:gd name="connsiteY1314" fmla="*/ 2872743 h 4036143"/>
                  <a:gd name="connsiteX1315" fmla="*/ 3072427 w 5806384"/>
                  <a:gd name="connsiteY1315" fmla="*/ 2630574 h 4036143"/>
                  <a:gd name="connsiteX1316" fmla="*/ 3187139 w 5806384"/>
                  <a:gd name="connsiteY1316" fmla="*/ 2505950 h 4036143"/>
                  <a:gd name="connsiteX1317" fmla="*/ 3398152 w 5806384"/>
                  <a:gd name="connsiteY1317" fmla="*/ 2607916 h 4036143"/>
                  <a:gd name="connsiteX1318" fmla="*/ 3716795 w 5806384"/>
                  <a:gd name="connsiteY1318" fmla="*/ 1300771 h 4036143"/>
                  <a:gd name="connsiteX1319" fmla="*/ 3681390 w 5806384"/>
                  <a:gd name="connsiteY1319" fmla="*/ 1656235 h 4036143"/>
                  <a:gd name="connsiteX1320" fmla="*/ 3253700 w 5806384"/>
                  <a:gd name="connsiteY1320" fmla="*/ 1337592 h 4036143"/>
                  <a:gd name="connsiteX1321" fmla="*/ 3716795 w 5806384"/>
                  <a:gd name="connsiteY1321" fmla="*/ 1300771 h 4036143"/>
                  <a:gd name="connsiteX1322" fmla="*/ 3747950 w 5806384"/>
                  <a:gd name="connsiteY1322" fmla="*/ 1296523 h 4036143"/>
                  <a:gd name="connsiteX1323" fmla="*/ 3718210 w 5806384"/>
                  <a:gd name="connsiteY1323" fmla="*/ 1299355 h 4036143"/>
                  <a:gd name="connsiteX1324" fmla="*/ 3722459 w 5806384"/>
                  <a:gd name="connsiteY1324" fmla="*/ 1256869 h 4036143"/>
                  <a:gd name="connsiteX1325" fmla="*/ 3747950 w 5806384"/>
                  <a:gd name="connsiteY1325" fmla="*/ 1296523 h 4036143"/>
                  <a:gd name="connsiteX1326" fmla="*/ 4004281 w 5806384"/>
                  <a:gd name="connsiteY1326" fmla="*/ 1178979 h 4036143"/>
                  <a:gd name="connsiteX1327" fmla="*/ 4015611 w 5806384"/>
                  <a:gd name="connsiteY1327" fmla="*/ 1150655 h 4036143"/>
                  <a:gd name="connsiteX1328" fmla="*/ 4150149 w 5806384"/>
                  <a:gd name="connsiteY1328" fmla="*/ 1108169 h 4036143"/>
                  <a:gd name="connsiteX1329" fmla="*/ 4202548 w 5806384"/>
                  <a:gd name="connsiteY1329" fmla="*/ 1215800 h 4036143"/>
                  <a:gd name="connsiteX1330" fmla="*/ 4004281 w 5806384"/>
                  <a:gd name="connsiteY1330" fmla="*/ 1178979 h 4036143"/>
                  <a:gd name="connsiteX1331" fmla="*/ 3957547 w 5806384"/>
                  <a:gd name="connsiteY1331" fmla="*/ 1169066 h 4036143"/>
                  <a:gd name="connsiteX1332" fmla="*/ 4014195 w 5806384"/>
                  <a:gd name="connsiteY1332" fmla="*/ 1150655 h 4036143"/>
                  <a:gd name="connsiteX1333" fmla="*/ 4002865 w 5806384"/>
                  <a:gd name="connsiteY1333" fmla="*/ 1177563 h 4036143"/>
                  <a:gd name="connsiteX1334" fmla="*/ 3957547 w 5806384"/>
                  <a:gd name="connsiteY1334" fmla="*/ 1169066 h 4036143"/>
                  <a:gd name="connsiteX1335" fmla="*/ 4182721 w 5806384"/>
                  <a:gd name="connsiteY1335" fmla="*/ 1095424 h 4036143"/>
                  <a:gd name="connsiteX1336" fmla="*/ 4151565 w 5806384"/>
                  <a:gd name="connsiteY1336" fmla="*/ 1105337 h 4036143"/>
                  <a:gd name="connsiteX1337" fmla="*/ 4143068 w 5806384"/>
                  <a:gd name="connsiteY1337" fmla="*/ 1086926 h 4036143"/>
                  <a:gd name="connsiteX1338" fmla="*/ 4182721 w 5806384"/>
                  <a:gd name="connsiteY1338" fmla="*/ 1095424 h 4036143"/>
                  <a:gd name="connsiteX1339" fmla="*/ 4185554 w 5806384"/>
                  <a:gd name="connsiteY1339" fmla="*/ 1094007 h 4036143"/>
                  <a:gd name="connsiteX1340" fmla="*/ 4140235 w 5806384"/>
                  <a:gd name="connsiteY1340" fmla="*/ 1084094 h 4036143"/>
                  <a:gd name="connsiteX1341" fmla="*/ 4087836 w 5806384"/>
                  <a:gd name="connsiteY1341" fmla="*/ 977880 h 4036143"/>
                  <a:gd name="connsiteX1342" fmla="*/ 4111911 w 5806384"/>
                  <a:gd name="connsiteY1342" fmla="*/ 919816 h 4036143"/>
                  <a:gd name="connsiteX1343" fmla="*/ 4430555 w 5806384"/>
                  <a:gd name="connsiteY1343" fmla="*/ 911319 h 4036143"/>
                  <a:gd name="connsiteX1344" fmla="*/ 4443301 w 5806384"/>
                  <a:gd name="connsiteY1344" fmla="*/ 1010452 h 4036143"/>
                  <a:gd name="connsiteX1345" fmla="*/ 4185554 w 5806384"/>
                  <a:gd name="connsiteY1345" fmla="*/ 1094007 h 4036143"/>
                  <a:gd name="connsiteX1346" fmla="*/ 4110496 w 5806384"/>
                  <a:gd name="connsiteY1346" fmla="*/ 919816 h 4036143"/>
                  <a:gd name="connsiteX1347" fmla="*/ 4087836 w 5806384"/>
                  <a:gd name="connsiteY1347" fmla="*/ 975047 h 4036143"/>
                  <a:gd name="connsiteX1348" fmla="*/ 4060929 w 5806384"/>
                  <a:gd name="connsiteY1348" fmla="*/ 921232 h 4036143"/>
                  <a:gd name="connsiteX1349" fmla="*/ 4110496 w 5806384"/>
                  <a:gd name="connsiteY1349" fmla="*/ 919816 h 4036143"/>
                  <a:gd name="connsiteX1350" fmla="*/ 4138819 w 5806384"/>
                  <a:gd name="connsiteY1350" fmla="*/ 1084094 h 4036143"/>
                  <a:gd name="connsiteX1351" fmla="*/ 4052431 w 5806384"/>
                  <a:gd name="connsiteY1351" fmla="*/ 1065684 h 4036143"/>
                  <a:gd name="connsiteX1352" fmla="*/ 4087836 w 5806384"/>
                  <a:gd name="connsiteY1352" fmla="*/ 980712 h 4036143"/>
                  <a:gd name="connsiteX1353" fmla="*/ 4138819 w 5806384"/>
                  <a:gd name="connsiteY1353" fmla="*/ 1084094 h 4036143"/>
                  <a:gd name="connsiteX1354" fmla="*/ 4140235 w 5806384"/>
                  <a:gd name="connsiteY1354" fmla="*/ 1085510 h 4036143"/>
                  <a:gd name="connsiteX1355" fmla="*/ 4150149 w 5806384"/>
                  <a:gd name="connsiteY1355" fmla="*/ 1105337 h 4036143"/>
                  <a:gd name="connsiteX1356" fmla="*/ 4017026 w 5806384"/>
                  <a:gd name="connsiteY1356" fmla="*/ 1147823 h 4036143"/>
                  <a:gd name="connsiteX1357" fmla="*/ 4051015 w 5806384"/>
                  <a:gd name="connsiteY1357" fmla="*/ 1065684 h 4036143"/>
                  <a:gd name="connsiteX1358" fmla="*/ 4140235 w 5806384"/>
                  <a:gd name="connsiteY1358" fmla="*/ 1085510 h 4036143"/>
                  <a:gd name="connsiteX1359" fmla="*/ 3136156 w 5806384"/>
                  <a:gd name="connsiteY1359" fmla="*/ 1101088 h 4036143"/>
                  <a:gd name="connsiteX1360" fmla="*/ 3222543 w 5806384"/>
                  <a:gd name="connsiteY1360" fmla="*/ 1313517 h 4036143"/>
                  <a:gd name="connsiteX1361" fmla="*/ 3167312 w 5806384"/>
                  <a:gd name="connsiteY1361" fmla="*/ 1272448 h 4036143"/>
                  <a:gd name="connsiteX1362" fmla="*/ 3158815 w 5806384"/>
                  <a:gd name="connsiteY1362" fmla="*/ 1238459 h 4036143"/>
                  <a:gd name="connsiteX1363" fmla="*/ 3158815 w 5806384"/>
                  <a:gd name="connsiteY1363" fmla="*/ 1238459 h 4036143"/>
                  <a:gd name="connsiteX1364" fmla="*/ 3069595 w 5806384"/>
                  <a:gd name="connsiteY1364" fmla="*/ 1190308 h 4036143"/>
                  <a:gd name="connsiteX1365" fmla="*/ 3096502 w 5806384"/>
                  <a:gd name="connsiteY1365" fmla="*/ 1044441 h 4036143"/>
                  <a:gd name="connsiteX1366" fmla="*/ 3136156 w 5806384"/>
                  <a:gd name="connsiteY1366" fmla="*/ 1101088 h 4036143"/>
                  <a:gd name="connsiteX1367" fmla="*/ 3020028 w 5806384"/>
                  <a:gd name="connsiteY1367" fmla="*/ 1472130 h 4036143"/>
                  <a:gd name="connsiteX1368" fmla="*/ 3020028 w 5806384"/>
                  <a:gd name="connsiteY1368" fmla="*/ 1472130 h 4036143"/>
                  <a:gd name="connsiteX1369" fmla="*/ 3041271 w 5806384"/>
                  <a:gd name="connsiteY1369" fmla="*/ 1353170 h 4036143"/>
                  <a:gd name="connsiteX1370" fmla="*/ 3182890 w 5806384"/>
                  <a:gd name="connsiteY1370" fmla="*/ 1341841 h 4036143"/>
                  <a:gd name="connsiteX1371" fmla="*/ 3243786 w 5806384"/>
                  <a:gd name="connsiteY1371" fmla="*/ 1601004 h 4036143"/>
                  <a:gd name="connsiteX1372" fmla="*/ 3020028 w 5806384"/>
                  <a:gd name="connsiteY1372" fmla="*/ 1472130 h 4036143"/>
                  <a:gd name="connsiteX1373" fmla="*/ 3020028 w 5806384"/>
                  <a:gd name="connsiteY1373" fmla="*/ 1472130 h 4036143"/>
                  <a:gd name="connsiteX1374" fmla="*/ 3029942 w 5806384"/>
                  <a:gd name="connsiteY1374" fmla="*/ 2273694 h 4036143"/>
                  <a:gd name="connsiteX1375" fmla="*/ 2899652 w 5806384"/>
                  <a:gd name="connsiteY1375" fmla="*/ 2238290 h 4036143"/>
                  <a:gd name="connsiteX1376" fmla="*/ 2732542 w 5806384"/>
                  <a:gd name="connsiteY1376" fmla="*/ 1809184 h 4036143"/>
                  <a:gd name="connsiteX1377" fmla="*/ 2950635 w 5806384"/>
                  <a:gd name="connsiteY1377" fmla="*/ 1851669 h 4036143"/>
                  <a:gd name="connsiteX1378" fmla="*/ 2950635 w 5806384"/>
                  <a:gd name="connsiteY1378" fmla="*/ 1851669 h 4036143"/>
                  <a:gd name="connsiteX1379" fmla="*/ 3020028 w 5806384"/>
                  <a:gd name="connsiteY1379" fmla="*/ 1472130 h 4036143"/>
                  <a:gd name="connsiteX1380" fmla="*/ 2437973 w 5806384"/>
                  <a:gd name="connsiteY1380" fmla="*/ 2398319 h 4036143"/>
                  <a:gd name="connsiteX1381" fmla="*/ 2665980 w 5806384"/>
                  <a:gd name="connsiteY1381" fmla="*/ 2358666 h 4036143"/>
                  <a:gd name="connsiteX1382" fmla="*/ 2777859 w 5806384"/>
                  <a:gd name="connsiteY1382" fmla="*/ 2680141 h 4036143"/>
                  <a:gd name="connsiteX1383" fmla="*/ 2772195 w 5806384"/>
                  <a:gd name="connsiteY1383" fmla="*/ 2677309 h 4036143"/>
                  <a:gd name="connsiteX1384" fmla="*/ 2433725 w 5806384"/>
                  <a:gd name="connsiteY1384" fmla="*/ 2420978 h 4036143"/>
                  <a:gd name="connsiteX1385" fmla="*/ 2437973 w 5806384"/>
                  <a:gd name="connsiteY1385" fmla="*/ 2398319 h 4036143"/>
                  <a:gd name="connsiteX1386" fmla="*/ 2413898 w 5806384"/>
                  <a:gd name="connsiteY1386" fmla="*/ 2507366 h 4036143"/>
                  <a:gd name="connsiteX1387" fmla="*/ 2432309 w 5806384"/>
                  <a:gd name="connsiteY1387" fmla="*/ 2423811 h 4036143"/>
                  <a:gd name="connsiteX1388" fmla="*/ 2762281 w 5806384"/>
                  <a:gd name="connsiteY1388" fmla="*/ 2673060 h 4036143"/>
                  <a:gd name="connsiteX1389" fmla="*/ 2413898 w 5806384"/>
                  <a:gd name="connsiteY1389" fmla="*/ 2507366 h 4036143"/>
                  <a:gd name="connsiteX1390" fmla="*/ 2409650 w 5806384"/>
                  <a:gd name="connsiteY1390" fmla="*/ 2402568 h 4036143"/>
                  <a:gd name="connsiteX1391" fmla="*/ 2436557 w 5806384"/>
                  <a:gd name="connsiteY1391" fmla="*/ 2398319 h 4036143"/>
                  <a:gd name="connsiteX1392" fmla="*/ 2432309 w 5806384"/>
                  <a:gd name="connsiteY1392" fmla="*/ 2419562 h 4036143"/>
                  <a:gd name="connsiteX1393" fmla="*/ 2409650 w 5806384"/>
                  <a:gd name="connsiteY1393" fmla="*/ 2402568 h 4036143"/>
                  <a:gd name="connsiteX1394" fmla="*/ 2430893 w 5806384"/>
                  <a:gd name="connsiteY1394" fmla="*/ 2420978 h 4036143"/>
                  <a:gd name="connsiteX1395" fmla="*/ 2412482 w 5806384"/>
                  <a:gd name="connsiteY1395" fmla="*/ 2504534 h 4036143"/>
                  <a:gd name="connsiteX1396" fmla="*/ 2382742 w 5806384"/>
                  <a:gd name="connsiteY1396" fmla="*/ 2490372 h 4036143"/>
                  <a:gd name="connsiteX1397" fmla="*/ 2340256 w 5806384"/>
                  <a:gd name="connsiteY1397" fmla="*/ 2413897 h 4036143"/>
                  <a:gd name="connsiteX1398" fmla="*/ 2408233 w 5806384"/>
                  <a:gd name="connsiteY1398" fmla="*/ 2402568 h 4036143"/>
                  <a:gd name="connsiteX1399" fmla="*/ 2430893 w 5806384"/>
                  <a:gd name="connsiteY1399" fmla="*/ 2420978 h 4036143"/>
                  <a:gd name="connsiteX1400" fmla="*/ 2488956 w 5806384"/>
                  <a:gd name="connsiteY1400" fmla="*/ 2164648 h 4036143"/>
                  <a:gd name="connsiteX1401" fmla="*/ 2847253 w 5806384"/>
                  <a:gd name="connsiteY1401" fmla="*/ 2338839 h 4036143"/>
                  <a:gd name="connsiteX1402" fmla="*/ 3027109 w 5806384"/>
                  <a:gd name="connsiteY1402" fmla="*/ 2562597 h 4036143"/>
                  <a:gd name="connsiteX1403" fmla="*/ 3028525 w 5806384"/>
                  <a:gd name="connsiteY1403" fmla="*/ 2564014 h 4036143"/>
                  <a:gd name="connsiteX1404" fmla="*/ 2961964 w 5806384"/>
                  <a:gd name="connsiteY1404" fmla="*/ 2395487 h 4036143"/>
                  <a:gd name="connsiteX1405" fmla="*/ 3032773 w 5806384"/>
                  <a:gd name="connsiteY1405" fmla="*/ 2429475 h 4036143"/>
                  <a:gd name="connsiteX1406" fmla="*/ 3034190 w 5806384"/>
                  <a:gd name="connsiteY1406" fmla="*/ 2571095 h 4036143"/>
                  <a:gd name="connsiteX1407" fmla="*/ 3034190 w 5806384"/>
                  <a:gd name="connsiteY1407" fmla="*/ 2572511 h 4036143"/>
                  <a:gd name="connsiteX1408" fmla="*/ 3075259 w 5806384"/>
                  <a:gd name="connsiteY1408" fmla="*/ 2450718 h 4036143"/>
                  <a:gd name="connsiteX1409" fmla="*/ 3187139 w 5806384"/>
                  <a:gd name="connsiteY1409" fmla="*/ 2504534 h 4036143"/>
                  <a:gd name="connsiteX1410" fmla="*/ 3072427 w 5806384"/>
                  <a:gd name="connsiteY1410" fmla="*/ 2629158 h 4036143"/>
                  <a:gd name="connsiteX1411" fmla="*/ 3011531 w 5806384"/>
                  <a:gd name="connsiteY1411" fmla="*/ 2566846 h 4036143"/>
                  <a:gd name="connsiteX1412" fmla="*/ 3010115 w 5806384"/>
                  <a:gd name="connsiteY1412" fmla="*/ 2565430 h 4036143"/>
                  <a:gd name="connsiteX1413" fmla="*/ 3049768 w 5806384"/>
                  <a:gd name="connsiteY1413" fmla="*/ 2651817 h 4036143"/>
                  <a:gd name="connsiteX1414" fmla="*/ 2949219 w 5806384"/>
                  <a:gd name="connsiteY1414" fmla="*/ 2760864 h 4036143"/>
                  <a:gd name="connsiteX1415" fmla="*/ 2779276 w 5806384"/>
                  <a:gd name="connsiteY1415" fmla="*/ 2680141 h 4036143"/>
                  <a:gd name="connsiteX1416" fmla="*/ 2665980 w 5806384"/>
                  <a:gd name="connsiteY1416" fmla="*/ 2355834 h 4036143"/>
                  <a:gd name="connsiteX1417" fmla="*/ 2665980 w 5806384"/>
                  <a:gd name="connsiteY1417" fmla="*/ 2355834 h 4036143"/>
                  <a:gd name="connsiteX1418" fmla="*/ 2437973 w 5806384"/>
                  <a:gd name="connsiteY1418" fmla="*/ 2395487 h 4036143"/>
                  <a:gd name="connsiteX1419" fmla="*/ 2488956 w 5806384"/>
                  <a:gd name="connsiteY1419" fmla="*/ 2164648 h 4036143"/>
                  <a:gd name="connsiteX1420" fmla="*/ 3504366 w 5806384"/>
                  <a:gd name="connsiteY1420" fmla="*/ 2657482 h 4036143"/>
                  <a:gd name="connsiteX1421" fmla="*/ 3399567 w 5806384"/>
                  <a:gd name="connsiteY1421" fmla="*/ 2606499 h 4036143"/>
                  <a:gd name="connsiteX1422" fmla="*/ 3372659 w 5806384"/>
                  <a:gd name="connsiteY1422" fmla="*/ 2413897 h 4036143"/>
                  <a:gd name="connsiteX1423" fmla="*/ 3504366 w 5806384"/>
                  <a:gd name="connsiteY1423" fmla="*/ 2657482 h 4036143"/>
                  <a:gd name="connsiteX1424" fmla="*/ 4004281 w 5806384"/>
                  <a:gd name="connsiteY1424" fmla="*/ 1180395 h 4036143"/>
                  <a:gd name="connsiteX1425" fmla="*/ 4205381 w 5806384"/>
                  <a:gd name="connsiteY1425" fmla="*/ 1217216 h 4036143"/>
                  <a:gd name="connsiteX1426" fmla="*/ 4271941 w 5806384"/>
                  <a:gd name="connsiteY1426" fmla="*/ 1351754 h 4036143"/>
                  <a:gd name="connsiteX1427" fmla="*/ 4177057 w 5806384"/>
                  <a:gd name="connsiteY1427" fmla="*/ 1388575 h 4036143"/>
                  <a:gd name="connsiteX1428" fmla="*/ 4001449 w 5806384"/>
                  <a:gd name="connsiteY1428" fmla="*/ 1275280 h 4036143"/>
                  <a:gd name="connsiteX1429" fmla="*/ 4001449 w 5806384"/>
                  <a:gd name="connsiteY1429" fmla="*/ 1275280 h 4036143"/>
                  <a:gd name="connsiteX1430" fmla="*/ 3961795 w 5806384"/>
                  <a:gd name="connsiteY1430" fmla="*/ 1278112 h 4036143"/>
                  <a:gd name="connsiteX1431" fmla="*/ 4004281 w 5806384"/>
                  <a:gd name="connsiteY1431" fmla="*/ 1180395 h 4036143"/>
                  <a:gd name="connsiteX1432" fmla="*/ 4436220 w 5806384"/>
                  <a:gd name="connsiteY1432" fmla="*/ 1149239 h 4036143"/>
                  <a:gd name="connsiteX1433" fmla="*/ 4189802 w 5806384"/>
                  <a:gd name="connsiteY1433" fmla="*/ 1095424 h 4036143"/>
                  <a:gd name="connsiteX1434" fmla="*/ 4444717 w 5806384"/>
                  <a:gd name="connsiteY1434" fmla="*/ 1013285 h 4036143"/>
                  <a:gd name="connsiteX1435" fmla="*/ 4457463 w 5806384"/>
                  <a:gd name="connsiteY1435" fmla="*/ 1115250 h 4036143"/>
                  <a:gd name="connsiteX1436" fmla="*/ 4436220 w 5806384"/>
                  <a:gd name="connsiteY1436" fmla="*/ 1149239 h 4036143"/>
                  <a:gd name="connsiteX1437" fmla="*/ 3949049 w 5806384"/>
                  <a:gd name="connsiteY1437" fmla="*/ 1170482 h 4036143"/>
                  <a:gd name="connsiteX1438" fmla="*/ 3723876 w 5806384"/>
                  <a:gd name="connsiteY1438" fmla="*/ 1242707 h 4036143"/>
                  <a:gd name="connsiteX1439" fmla="*/ 3603499 w 5806384"/>
                  <a:gd name="connsiteY1439" fmla="*/ 1106753 h 4036143"/>
                  <a:gd name="connsiteX1440" fmla="*/ 3949049 w 5806384"/>
                  <a:gd name="connsiteY1440" fmla="*/ 1170482 h 4036143"/>
                  <a:gd name="connsiteX1441" fmla="*/ 3953298 w 5806384"/>
                  <a:gd name="connsiteY1441" fmla="*/ 1170482 h 4036143"/>
                  <a:gd name="connsiteX1442" fmla="*/ 4001449 w 5806384"/>
                  <a:gd name="connsiteY1442" fmla="*/ 1178979 h 4036143"/>
                  <a:gd name="connsiteX1443" fmla="*/ 3960379 w 5806384"/>
                  <a:gd name="connsiteY1443" fmla="*/ 1278112 h 4036143"/>
                  <a:gd name="connsiteX1444" fmla="*/ 3750783 w 5806384"/>
                  <a:gd name="connsiteY1444" fmla="*/ 1295107 h 4036143"/>
                  <a:gd name="connsiteX1445" fmla="*/ 3722459 w 5806384"/>
                  <a:gd name="connsiteY1445" fmla="*/ 1249788 h 4036143"/>
                  <a:gd name="connsiteX1446" fmla="*/ 3722459 w 5806384"/>
                  <a:gd name="connsiteY1446" fmla="*/ 1249788 h 4036143"/>
                  <a:gd name="connsiteX1447" fmla="*/ 3718210 w 5806384"/>
                  <a:gd name="connsiteY1447" fmla="*/ 1297939 h 4036143"/>
                  <a:gd name="connsiteX1448" fmla="*/ 3252283 w 5806384"/>
                  <a:gd name="connsiteY1448" fmla="*/ 1334760 h 4036143"/>
                  <a:gd name="connsiteX1449" fmla="*/ 3226792 w 5806384"/>
                  <a:gd name="connsiteY1449" fmla="*/ 1316349 h 4036143"/>
                  <a:gd name="connsiteX1450" fmla="*/ 3138988 w 5806384"/>
                  <a:gd name="connsiteY1450" fmla="*/ 1101088 h 4036143"/>
                  <a:gd name="connsiteX1451" fmla="*/ 3099335 w 5806384"/>
                  <a:gd name="connsiteY1451" fmla="*/ 1044441 h 4036143"/>
                  <a:gd name="connsiteX1452" fmla="*/ 3105000 w 5806384"/>
                  <a:gd name="connsiteY1452" fmla="*/ 1016117 h 4036143"/>
                  <a:gd name="connsiteX1453" fmla="*/ 3600667 w 5806384"/>
                  <a:gd name="connsiteY1453" fmla="*/ 1106753 h 4036143"/>
                  <a:gd name="connsiteX1454" fmla="*/ 3723876 w 5806384"/>
                  <a:gd name="connsiteY1454" fmla="*/ 1245540 h 4036143"/>
                  <a:gd name="connsiteX1455" fmla="*/ 3723876 w 5806384"/>
                  <a:gd name="connsiteY1455" fmla="*/ 1245540 h 4036143"/>
                  <a:gd name="connsiteX1456" fmla="*/ 3953298 w 5806384"/>
                  <a:gd name="connsiteY1456" fmla="*/ 1170482 h 4036143"/>
                  <a:gd name="connsiteX1457" fmla="*/ 3069595 w 5806384"/>
                  <a:gd name="connsiteY1457" fmla="*/ 1006204 h 4036143"/>
                  <a:gd name="connsiteX1458" fmla="*/ 2776443 w 5806384"/>
                  <a:gd name="connsiteY1458" fmla="*/ 952388 h 4036143"/>
                  <a:gd name="connsiteX1459" fmla="*/ 3027109 w 5806384"/>
                  <a:gd name="connsiteY1459" fmla="*/ 946724 h 4036143"/>
                  <a:gd name="connsiteX1460" fmla="*/ 3069595 w 5806384"/>
                  <a:gd name="connsiteY1460" fmla="*/ 1006204 h 4036143"/>
                  <a:gd name="connsiteX1461" fmla="*/ 3027109 w 5806384"/>
                  <a:gd name="connsiteY1461" fmla="*/ 943891 h 4036143"/>
                  <a:gd name="connsiteX1462" fmla="*/ 2993120 w 5806384"/>
                  <a:gd name="connsiteY1462" fmla="*/ 897157 h 4036143"/>
                  <a:gd name="connsiteX1463" fmla="*/ 3049768 w 5806384"/>
                  <a:gd name="connsiteY1463" fmla="*/ 885827 h 4036143"/>
                  <a:gd name="connsiteX1464" fmla="*/ 3114913 w 5806384"/>
                  <a:gd name="connsiteY1464" fmla="*/ 854671 h 4036143"/>
                  <a:gd name="connsiteX1465" fmla="*/ 3114913 w 5806384"/>
                  <a:gd name="connsiteY1465" fmla="*/ 854671 h 4036143"/>
                  <a:gd name="connsiteX1466" fmla="*/ 3106416 w 5806384"/>
                  <a:gd name="connsiteY1466" fmla="*/ 577098 h 4036143"/>
                  <a:gd name="connsiteX1467" fmla="*/ 3143237 w 5806384"/>
                  <a:gd name="connsiteY1467" fmla="*/ 594092 h 4036143"/>
                  <a:gd name="connsiteX1468" fmla="*/ 3170144 w 5806384"/>
                  <a:gd name="connsiteY1468" fmla="*/ 623832 h 4036143"/>
                  <a:gd name="connsiteX1469" fmla="*/ 3113497 w 5806384"/>
                  <a:gd name="connsiteY1469" fmla="*/ 942475 h 4036143"/>
                  <a:gd name="connsiteX1470" fmla="*/ 3027109 w 5806384"/>
                  <a:gd name="connsiteY1470" fmla="*/ 943891 h 4036143"/>
                  <a:gd name="connsiteX1471" fmla="*/ 2379910 w 5806384"/>
                  <a:gd name="connsiteY1471" fmla="*/ 2493204 h 4036143"/>
                  <a:gd name="connsiteX1472" fmla="*/ 2405401 w 5806384"/>
                  <a:gd name="connsiteY1472" fmla="*/ 2537106 h 4036143"/>
                  <a:gd name="connsiteX1473" fmla="*/ 2401152 w 5806384"/>
                  <a:gd name="connsiteY1473" fmla="*/ 2552684 h 4036143"/>
                  <a:gd name="connsiteX1474" fmla="*/ 2287857 w 5806384"/>
                  <a:gd name="connsiteY1474" fmla="*/ 2449302 h 4036143"/>
                  <a:gd name="connsiteX1475" fmla="*/ 2379910 w 5806384"/>
                  <a:gd name="connsiteY1475" fmla="*/ 2493204 h 4036143"/>
                  <a:gd name="connsiteX1476" fmla="*/ 2402569 w 5806384"/>
                  <a:gd name="connsiteY1476" fmla="*/ 2555516 h 4036143"/>
                  <a:gd name="connsiteX1477" fmla="*/ 2405401 w 5806384"/>
                  <a:gd name="connsiteY1477" fmla="*/ 2539938 h 4036143"/>
                  <a:gd name="connsiteX1478" fmla="*/ 2426644 w 5806384"/>
                  <a:gd name="connsiteY1478" fmla="*/ 2578175 h 4036143"/>
                  <a:gd name="connsiteX1479" fmla="*/ 2402569 w 5806384"/>
                  <a:gd name="connsiteY1479" fmla="*/ 2555516 h 4036143"/>
                  <a:gd name="connsiteX1480" fmla="*/ 2777859 w 5806384"/>
                  <a:gd name="connsiteY1480" fmla="*/ 2681557 h 4036143"/>
                  <a:gd name="connsiteX1481" fmla="*/ 2777859 w 5806384"/>
                  <a:gd name="connsiteY1481" fmla="*/ 2681557 h 4036143"/>
                  <a:gd name="connsiteX1482" fmla="*/ 2777859 w 5806384"/>
                  <a:gd name="connsiteY1482" fmla="*/ 2681557 h 4036143"/>
                  <a:gd name="connsiteX1483" fmla="*/ 2777859 w 5806384"/>
                  <a:gd name="connsiteY1483" fmla="*/ 2681557 h 4036143"/>
                  <a:gd name="connsiteX1484" fmla="*/ 3307515 w 5806384"/>
                  <a:gd name="connsiteY1484" fmla="*/ 2872743 h 4036143"/>
                  <a:gd name="connsiteX1485" fmla="*/ 3307515 w 5806384"/>
                  <a:gd name="connsiteY1485" fmla="*/ 2876992 h 4036143"/>
                  <a:gd name="connsiteX1486" fmla="*/ 3270694 w 5806384"/>
                  <a:gd name="connsiteY1486" fmla="*/ 2912397 h 4036143"/>
                  <a:gd name="connsiteX1487" fmla="*/ 3144653 w 5806384"/>
                  <a:gd name="connsiteY1487" fmla="*/ 2852916 h 4036143"/>
                  <a:gd name="connsiteX1488" fmla="*/ 3130491 w 5806384"/>
                  <a:gd name="connsiteY1488" fmla="*/ 2823177 h 4036143"/>
                  <a:gd name="connsiteX1489" fmla="*/ 3307515 w 5806384"/>
                  <a:gd name="connsiteY1489" fmla="*/ 2872743 h 4036143"/>
                  <a:gd name="connsiteX1490" fmla="*/ 3505782 w 5806384"/>
                  <a:gd name="connsiteY1490" fmla="*/ 2660315 h 4036143"/>
                  <a:gd name="connsiteX1491" fmla="*/ 3586505 w 5806384"/>
                  <a:gd name="connsiteY1491" fmla="*/ 2809015 h 4036143"/>
                  <a:gd name="connsiteX1492" fmla="*/ 3586505 w 5806384"/>
                  <a:gd name="connsiteY1492" fmla="*/ 2809015 h 4036143"/>
                  <a:gd name="connsiteX1493" fmla="*/ 3624742 w 5806384"/>
                  <a:gd name="connsiteY1493" fmla="*/ 2718378 h 4036143"/>
                  <a:gd name="connsiteX1494" fmla="*/ 3696968 w 5806384"/>
                  <a:gd name="connsiteY1494" fmla="*/ 2753783 h 4036143"/>
                  <a:gd name="connsiteX1495" fmla="*/ 3439221 w 5806384"/>
                  <a:gd name="connsiteY1495" fmla="*/ 2882656 h 4036143"/>
                  <a:gd name="connsiteX1496" fmla="*/ 3400983 w 5806384"/>
                  <a:gd name="connsiteY1496" fmla="*/ 2606499 h 4036143"/>
                  <a:gd name="connsiteX1497" fmla="*/ 3505782 w 5806384"/>
                  <a:gd name="connsiteY1497" fmla="*/ 2660315 h 4036143"/>
                  <a:gd name="connsiteX1498" fmla="*/ 3375492 w 5806384"/>
                  <a:gd name="connsiteY1498" fmla="*/ 1680311 h 4036143"/>
                  <a:gd name="connsiteX1499" fmla="*/ 3723876 w 5806384"/>
                  <a:gd name="connsiteY1499" fmla="*/ 1882826 h 4036143"/>
                  <a:gd name="connsiteX1500" fmla="*/ 3746534 w 5806384"/>
                  <a:gd name="connsiteY1500" fmla="*/ 2068347 h 4036143"/>
                  <a:gd name="connsiteX1501" fmla="*/ 3495868 w 5806384"/>
                  <a:gd name="connsiteY1501" fmla="*/ 1974878 h 4036143"/>
                  <a:gd name="connsiteX1502" fmla="*/ 3375492 w 5806384"/>
                  <a:gd name="connsiteY1502" fmla="*/ 1680311 h 4036143"/>
                  <a:gd name="connsiteX1503" fmla="*/ 3699800 w 5806384"/>
                  <a:gd name="connsiteY1503" fmla="*/ 1666149 h 4036143"/>
                  <a:gd name="connsiteX1504" fmla="*/ 3892402 w 5806384"/>
                  <a:gd name="connsiteY1504" fmla="*/ 1891323 h 4036143"/>
                  <a:gd name="connsiteX1505" fmla="*/ 3868326 w 5806384"/>
                  <a:gd name="connsiteY1505" fmla="*/ 1964965 h 4036143"/>
                  <a:gd name="connsiteX1506" fmla="*/ 3725291 w 5806384"/>
                  <a:gd name="connsiteY1506" fmla="*/ 1881410 h 4036143"/>
                  <a:gd name="connsiteX1507" fmla="*/ 3699800 w 5806384"/>
                  <a:gd name="connsiteY1507" fmla="*/ 1666149 h 4036143"/>
                  <a:gd name="connsiteX1508" fmla="*/ 4460295 w 5806384"/>
                  <a:gd name="connsiteY1508" fmla="*/ 1262534 h 4036143"/>
                  <a:gd name="connsiteX1509" fmla="*/ 4205381 w 5806384"/>
                  <a:gd name="connsiteY1509" fmla="*/ 1215800 h 4036143"/>
                  <a:gd name="connsiteX1510" fmla="*/ 4151565 w 5806384"/>
                  <a:gd name="connsiteY1510" fmla="*/ 1106753 h 4036143"/>
                  <a:gd name="connsiteX1511" fmla="*/ 4185554 w 5806384"/>
                  <a:gd name="connsiteY1511" fmla="*/ 1095424 h 4036143"/>
                  <a:gd name="connsiteX1512" fmla="*/ 4436220 w 5806384"/>
                  <a:gd name="connsiteY1512" fmla="*/ 1150655 h 4036143"/>
                  <a:gd name="connsiteX1513" fmla="*/ 4436220 w 5806384"/>
                  <a:gd name="connsiteY1513" fmla="*/ 1150655 h 4036143"/>
                  <a:gd name="connsiteX1514" fmla="*/ 4457463 w 5806384"/>
                  <a:gd name="connsiteY1514" fmla="*/ 1118083 h 4036143"/>
                  <a:gd name="connsiteX1515" fmla="*/ 4474457 w 5806384"/>
                  <a:gd name="connsiteY1515" fmla="*/ 1258286 h 4036143"/>
                  <a:gd name="connsiteX1516" fmla="*/ 4460295 w 5806384"/>
                  <a:gd name="connsiteY1516" fmla="*/ 1262534 h 4036143"/>
                  <a:gd name="connsiteX1517" fmla="*/ 3983038 w 5806384"/>
                  <a:gd name="connsiteY1517" fmla="*/ 919816 h 4036143"/>
                  <a:gd name="connsiteX1518" fmla="*/ 4039686 w 5806384"/>
                  <a:gd name="connsiteY1518" fmla="*/ 882995 h 4036143"/>
                  <a:gd name="connsiteX1519" fmla="*/ 4056680 w 5806384"/>
                  <a:gd name="connsiteY1519" fmla="*/ 918400 h 4036143"/>
                  <a:gd name="connsiteX1520" fmla="*/ 3983038 w 5806384"/>
                  <a:gd name="connsiteY1520" fmla="*/ 919816 h 4036143"/>
                  <a:gd name="connsiteX1521" fmla="*/ 4058096 w 5806384"/>
                  <a:gd name="connsiteY1521" fmla="*/ 919816 h 4036143"/>
                  <a:gd name="connsiteX1522" fmla="*/ 4086420 w 5806384"/>
                  <a:gd name="connsiteY1522" fmla="*/ 976464 h 4036143"/>
                  <a:gd name="connsiteX1523" fmla="*/ 4049600 w 5806384"/>
                  <a:gd name="connsiteY1523" fmla="*/ 1062851 h 4036143"/>
                  <a:gd name="connsiteX1524" fmla="*/ 3832922 w 5806384"/>
                  <a:gd name="connsiteY1524" fmla="*/ 1014701 h 4036143"/>
                  <a:gd name="connsiteX1525" fmla="*/ 3978790 w 5806384"/>
                  <a:gd name="connsiteY1525" fmla="*/ 921232 h 4036143"/>
                  <a:gd name="connsiteX1526" fmla="*/ 4058096 w 5806384"/>
                  <a:gd name="connsiteY1526" fmla="*/ 919816 h 4036143"/>
                  <a:gd name="connsiteX1527" fmla="*/ 3828673 w 5806384"/>
                  <a:gd name="connsiteY1527" fmla="*/ 1017533 h 4036143"/>
                  <a:gd name="connsiteX1528" fmla="*/ 3828673 w 5806384"/>
                  <a:gd name="connsiteY1528" fmla="*/ 1017533 h 4036143"/>
                  <a:gd name="connsiteX1529" fmla="*/ 4049600 w 5806384"/>
                  <a:gd name="connsiteY1529" fmla="*/ 1067100 h 4036143"/>
                  <a:gd name="connsiteX1530" fmla="*/ 4014195 w 5806384"/>
                  <a:gd name="connsiteY1530" fmla="*/ 1150655 h 4036143"/>
                  <a:gd name="connsiteX1531" fmla="*/ 3951882 w 5806384"/>
                  <a:gd name="connsiteY1531" fmla="*/ 1170482 h 4036143"/>
                  <a:gd name="connsiteX1532" fmla="*/ 3599250 w 5806384"/>
                  <a:gd name="connsiteY1532" fmla="*/ 1105337 h 4036143"/>
                  <a:gd name="connsiteX1533" fmla="*/ 3450550 w 5806384"/>
                  <a:gd name="connsiteY1533" fmla="*/ 936810 h 4036143"/>
                  <a:gd name="connsiteX1534" fmla="*/ 3975957 w 5806384"/>
                  <a:gd name="connsiteY1534" fmla="*/ 924064 h 4036143"/>
                  <a:gd name="connsiteX1535" fmla="*/ 3828673 w 5806384"/>
                  <a:gd name="connsiteY1535" fmla="*/ 1017533 h 4036143"/>
                  <a:gd name="connsiteX1536" fmla="*/ 3103583 w 5806384"/>
                  <a:gd name="connsiteY1536" fmla="*/ 1013285 h 4036143"/>
                  <a:gd name="connsiteX1537" fmla="*/ 3116329 w 5806384"/>
                  <a:gd name="connsiteY1537" fmla="*/ 943891 h 4036143"/>
                  <a:gd name="connsiteX1538" fmla="*/ 3449134 w 5806384"/>
                  <a:gd name="connsiteY1538" fmla="*/ 935394 h 4036143"/>
                  <a:gd name="connsiteX1539" fmla="*/ 3597834 w 5806384"/>
                  <a:gd name="connsiteY1539" fmla="*/ 1102505 h 4036143"/>
                  <a:gd name="connsiteX1540" fmla="*/ 3103583 w 5806384"/>
                  <a:gd name="connsiteY1540" fmla="*/ 1013285 h 4036143"/>
                  <a:gd name="connsiteX1541" fmla="*/ 3116329 w 5806384"/>
                  <a:gd name="connsiteY1541" fmla="*/ 942475 h 4036143"/>
                  <a:gd name="connsiteX1542" fmla="*/ 3174393 w 5806384"/>
                  <a:gd name="connsiteY1542" fmla="*/ 626664 h 4036143"/>
                  <a:gd name="connsiteX1543" fmla="*/ 3446301 w 5806384"/>
                  <a:gd name="connsiteY1543" fmla="*/ 933978 h 4036143"/>
                  <a:gd name="connsiteX1544" fmla="*/ 3116329 w 5806384"/>
                  <a:gd name="connsiteY1544" fmla="*/ 942475 h 4036143"/>
                  <a:gd name="connsiteX1545" fmla="*/ 3146069 w 5806384"/>
                  <a:gd name="connsiteY1545" fmla="*/ 592676 h 4036143"/>
                  <a:gd name="connsiteX1546" fmla="*/ 3121994 w 5806384"/>
                  <a:gd name="connsiteY1546" fmla="*/ 565768 h 4036143"/>
                  <a:gd name="connsiteX1547" fmla="*/ 3073843 w 5806384"/>
                  <a:gd name="connsiteY1547" fmla="*/ 494959 h 4036143"/>
                  <a:gd name="connsiteX1548" fmla="*/ 3211214 w 5806384"/>
                  <a:gd name="connsiteY1548" fmla="*/ 408571 h 4036143"/>
                  <a:gd name="connsiteX1549" fmla="*/ 3174393 w 5806384"/>
                  <a:gd name="connsiteY1549" fmla="*/ 606838 h 4036143"/>
                  <a:gd name="connsiteX1550" fmla="*/ 3146069 w 5806384"/>
                  <a:gd name="connsiteY1550" fmla="*/ 592676 h 4036143"/>
                  <a:gd name="connsiteX1551" fmla="*/ 3212630 w 5806384"/>
                  <a:gd name="connsiteY1551" fmla="*/ 404322 h 4036143"/>
                  <a:gd name="connsiteX1552" fmla="*/ 3072427 w 5806384"/>
                  <a:gd name="connsiteY1552" fmla="*/ 492126 h 4036143"/>
                  <a:gd name="connsiteX1553" fmla="*/ 3051185 w 5806384"/>
                  <a:gd name="connsiteY1553" fmla="*/ 459554 h 4036143"/>
                  <a:gd name="connsiteX1554" fmla="*/ 3218295 w 5806384"/>
                  <a:gd name="connsiteY1554" fmla="*/ 371750 h 4036143"/>
                  <a:gd name="connsiteX1555" fmla="*/ 3212630 w 5806384"/>
                  <a:gd name="connsiteY1555" fmla="*/ 404322 h 4036143"/>
                  <a:gd name="connsiteX1556" fmla="*/ 3106416 w 5806384"/>
                  <a:gd name="connsiteY1556" fmla="*/ 574265 h 4036143"/>
                  <a:gd name="connsiteX1557" fmla="*/ 3106416 w 5806384"/>
                  <a:gd name="connsiteY1557" fmla="*/ 574265 h 4036143"/>
                  <a:gd name="connsiteX1558" fmla="*/ 3114913 w 5806384"/>
                  <a:gd name="connsiteY1558" fmla="*/ 853255 h 4036143"/>
                  <a:gd name="connsiteX1559" fmla="*/ 3051185 w 5806384"/>
                  <a:gd name="connsiteY1559" fmla="*/ 884411 h 4036143"/>
                  <a:gd name="connsiteX1560" fmla="*/ 2994537 w 5806384"/>
                  <a:gd name="connsiteY1560" fmla="*/ 895741 h 4036143"/>
                  <a:gd name="connsiteX1561" fmla="*/ 2823177 w 5806384"/>
                  <a:gd name="connsiteY1561" fmla="*/ 653572 h 4036143"/>
                  <a:gd name="connsiteX1562" fmla="*/ 3073843 w 5806384"/>
                  <a:gd name="connsiteY1562" fmla="*/ 494959 h 4036143"/>
                  <a:gd name="connsiteX1563" fmla="*/ 3121994 w 5806384"/>
                  <a:gd name="connsiteY1563" fmla="*/ 565768 h 4036143"/>
                  <a:gd name="connsiteX1564" fmla="*/ 3143237 w 5806384"/>
                  <a:gd name="connsiteY1564" fmla="*/ 589843 h 4036143"/>
                  <a:gd name="connsiteX1565" fmla="*/ 3106416 w 5806384"/>
                  <a:gd name="connsiteY1565" fmla="*/ 574265 h 4036143"/>
                  <a:gd name="connsiteX1566" fmla="*/ 2715547 w 5806384"/>
                  <a:gd name="connsiteY1566" fmla="*/ 952388 h 4036143"/>
                  <a:gd name="connsiteX1567" fmla="*/ 2715547 w 5806384"/>
                  <a:gd name="connsiteY1567" fmla="*/ 952388 h 4036143"/>
                  <a:gd name="connsiteX1568" fmla="*/ 2715547 w 5806384"/>
                  <a:gd name="connsiteY1568" fmla="*/ 953805 h 4036143"/>
                  <a:gd name="connsiteX1569" fmla="*/ 2715547 w 5806384"/>
                  <a:gd name="connsiteY1569" fmla="*/ 953805 h 4036143"/>
                  <a:gd name="connsiteX1570" fmla="*/ 2766530 w 5806384"/>
                  <a:gd name="connsiteY1570" fmla="*/ 952388 h 4036143"/>
                  <a:gd name="connsiteX1571" fmla="*/ 3071011 w 5806384"/>
                  <a:gd name="connsiteY1571" fmla="*/ 1009036 h 4036143"/>
                  <a:gd name="connsiteX1572" fmla="*/ 3096502 w 5806384"/>
                  <a:gd name="connsiteY1572" fmla="*/ 1044441 h 4036143"/>
                  <a:gd name="connsiteX1573" fmla="*/ 3069595 w 5806384"/>
                  <a:gd name="connsiteY1573" fmla="*/ 1190308 h 4036143"/>
                  <a:gd name="connsiteX1574" fmla="*/ 2545604 w 5806384"/>
                  <a:gd name="connsiteY1574" fmla="*/ 912735 h 4036143"/>
                  <a:gd name="connsiteX1575" fmla="*/ 2738206 w 5806384"/>
                  <a:gd name="connsiteY1575" fmla="*/ 948140 h 4036143"/>
                  <a:gd name="connsiteX1576" fmla="*/ 2715547 w 5806384"/>
                  <a:gd name="connsiteY1576" fmla="*/ 952388 h 4036143"/>
                  <a:gd name="connsiteX1577" fmla="*/ 3167312 w 5806384"/>
                  <a:gd name="connsiteY1577" fmla="*/ 1273864 h 4036143"/>
                  <a:gd name="connsiteX1578" fmla="*/ 3182890 w 5806384"/>
                  <a:gd name="connsiteY1578" fmla="*/ 1340425 h 4036143"/>
                  <a:gd name="connsiteX1579" fmla="*/ 3042687 w 5806384"/>
                  <a:gd name="connsiteY1579" fmla="*/ 1351754 h 4036143"/>
                  <a:gd name="connsiteX1580" fmla="*/ 3069595 w 5806384"/>
                  <a:gd name="connsiteY1580" fmla="*/ 1201638 h 4036143"/>
                  <a:gd name="connsiteX1581" fmla="*/ 3167312 w 5806384"/>
                  <a:gd name="connsiteY1581" fmla="*/ 1273864 h 4036143"/>
                  <a:gd name="connsiteX1582" fmla="*/ 3038439 w 5806384"/>
                  <a:gd name="connsiteY1582" fmla="*/ 1353170 h 4036143"/>
                  <a:gd name="connsiteX1583" fmla="*/ 2947802 w 5806384"/>
                  <a:gd name="connsiteY1583" fmla="*/ 1850253 h 4036143"/>
                  <a:gd name="connsiteX1584" fmla="*/ 2729709 w 5806384"/>
                  <a:gd name="connsiteY1584" fmla="*/ 1807768 h 4036143"/>
                  <a:gd name="connsiteX1585" fmla="*/ 2627743 w 5806384"/>
                  <a:gd name="connsiteY1585" fmla="*/ 1548605 h 4036143"/>
                  <a:gd name="connsiteX1586" fmla="*/ 2627743 w 5806384"/>
                  <a:gd name="connsiteY1586" fmla="*/ 1548605 h 4036143"/>
                  <a:gd name="connsiteX1587" fmla="*/ 2626327 w 5806384"/>
                  <a:gd name="connsiteY1587" fmla="*/ 1548605 h 4036143"/>
                  <a:gd name="connsiteX1588" fmla="*/ 2711299 w 5806384"/>
                  <a:gd name="connsiteY1588" fmla="*/ 1803519 h 4036143"/>
                  <a:gd name="connsiteX1589" fmla="*/ 2573928 w 5806384"/>
                  <a:gd name="connsiteY1589" fmla="*/ 1776611 h 4036143"/>
                  <a:gd name="connsiteX1590" fmla="*/ 2626327 w 5806384"/>
                  <a:gd name="connsiteY1590" fmla="*/ 1540108 h 4036143"/>
                  <a:gd name="connsiteX1591" fmla="*/ 2626327 w 5806384"/>
                  <a:gd name="connsiteY1591" fmla="*/ 1540108 h 4036143"/>
                  <a:gd name="connsiteX1592" fmla="*/ 2287857 w 5806384"/>
                  <a:gd name="connsiteY1592" fmla="*/ 1640657 h 4036143"/>
                  <a:gd name="connsiteX1593" fmla="*/ 2241123 w 5806384"/>
                  <a:gd name="connsiteY1593" fmla="*/ 1582593 h 4036143"/>
                  <a:gd name="connsiteX1594" fmla="*/ 2239707 w 5806384"/>
                  <a:gd name="connsiteY1594" fmla="*/ 1520281 h 4036143"/>
                  <a:gd name="connsiteX1595" fmla="*/ 2548436 w 5806384"/>
                  <a:gd name="connsiteY1595" fmla="*/ 1391407 h 4036143"/>
                  <a:gd name="connsiteX1596" fmla="*/ 3038439 w 5806384"/>
                  <a:gd name="connsiteY1596" fmla="*/ 1353170 h 4036143"/>
                  <a:gd name="connsiteX1597" fmla="*/ 2201469 w 5806384"/>
                  <a:gd name="connsiteY1597" fmla="*/ 1533027 h 4036143"/>
                  <a:gd name="connsiteX1598" fmla="*/ 2191556 w 5806384"/>
                  <a:gd name="connsiteY1598" fmla="*/ 1520281 h 4036143"/>
                  <a:gd name="connsiteX1599" fmla="*/ 2236874 w 5806384"/>
                  <a:gd name="connsiteY1599" fmla="*/ 1497622 h 4036143"/>
                  <a:gd name="connsiteX1600" fmla="*/ 2236874 w 5806384"/>
                  <a:gd name="connsiteY1600" fmla="*/ 1517448 h 4036143"/>
                  <a:gd name="connsiteX1601" fmla="*/ 2201469 w 5806384"/>
                  <a:gd name="connsiteY1601" fmla="*/ 1533027 h 4036143"/>
                  <a:gd name="connsiteX1602" fmla="*/ 2202886 w 5806384"/>
                  <a:gd name="connsiteY1602" fmla="*/ 1535859 h 4036143"/>
                  <a:gd name="connsiteX1603" fmla="*/ 2236874 w 5806384"/>
                  <a:gd name="connsiteY1603" fmla="*/ 1521697 h 4036143"/>
                  <a:gd name="connsiteX1604" fmla="*/ 2238290 w 5806384"/>
                  <a:gd name="connsiteY1604" fmla="*/ 1581177 h 4036143"/>
                  <a:gd name="connsiteX1605" fmla="*/ 2202886 w 5806384"/>
                  <a:gd name="connsiteY1605" fmla="*/ 1535859 h 4036143"/>
                  <a:gd name="connsiteX1606" fmla="*/ 1930977 w 5806384"/>
                  <a:gd name="connsiteY1606" fmla="*/ 1646322 h 4036143"/>
                  <a:gd name="connsiteX1607" fmla="*/ 2190140 w 5806384"/>
                  <a:gd name="connsiteY1607" fmla="*/ 1521697 h 4036143"/>
                  <a:gd name="connsiteX1608" fmla="*/ 2200053 w 5806384"/>
                  <a:gd name="connsiteY1608" fmla="*/ 1534443 h 4036143"/>
                  <a:gd name="connsiteX1609" fmla="*/ 1930977 w 5806384"/>
                  <a:gd name="connsiteY1609" fmla="*/ 1646322 h 4036143"/>
                  <a:gd name="connsiteX1610" fmla="*/ 1691640 w 5806384"/>
                  <a:gd name="connsiteY1610" fmla="*/ 1429645 h 4036143"/>
                  <a:gd name="connsiteX1611" fmla="*/ 1687392 w 5806384"/>
                  <a:gd name="connsiteY1611" fmla="*/ 1456552 h 4036143"/>
                  <a:gd name="connsiteX1612" fmla="*/ 1623663 w 5806384"/>
                  <a:gd name="connsiteY1612" fmla="*/ 1462217 h 4036143"/>
                  <a:gd name="connsiteX1613" fmla="*/ 1691640 w 5806384"/>
                  <a:gd name="connsiteY1613" fmla="*/ 1429645 h 4036143"/>
                  <a:gd name="connsiteX1614" fmla="*/ 1793606 w 5806384"/>
                  <a:gd name="connsiteY1614" fmla="*/ 1381494 h 4036143"/>
                  <a:gd name="connsiteX1615" fmla="*/ 1694473 w 5806384"/>
                  <a:gd name="connsiteY1615" fmla="*/ 1426812 h 4036143"/>
                  <a:gd name="connsiteX1616" fmla="*/ 1721381 w 5806384"/>
                  <a:gd name="connsiteY1616" fmla="*/ 1272448 h 4036143"/>
                  <a:gd name="connsiteX1617" fmla="*/ 1837508 w 5806384"/>
                  <a:gd name="connsiteY1617" fmla="*/ 1314933 h 4036143"/>
                  <a:gd name="connsiteX1618" fmla="*/ 1793606 w 5806384"/>
                  <a:gd name="connsiteY1618" fmla="*/ 1381494 h 4036143"/>
                  <a:gd name="connsiteX1619" fmla="*/ 1521697 w 5806384"/>
                  <a:gd name="connsiteY1619" fmla="*/ 1472130 h 4036143"/>
                  <a:gd name="connsiteX1620" fmla="*/ 1610918 w 5806384"/>
                  <a:gd name="connsiteY1620" fmla="*/ 1465049 h 4036143"/>
                  <a:gd name="connsiteX1621" fmla="*/ 1428229 w 5806384"/>
                  <a:gd name="connsiteY1621" fmla="*/ 1548605 h 4036143"/>
                  <a:gd name="connsiteX1622" fmla="*/ 1525946 w 5806384"/>
                  <a:gd name="connsiteY1622" fmla="*/ 1491957 h 4036143"/>
                  <a:gd name="connsiteX1623" fmla="*/ 1525946 w 5806384"/>
                  <a:gd name="connsiteY1623" fmla="*/ 1491957 h 4036143"/>
                  <a:gd name="connsiteX1624" fmla="*/ 1521697 w 5806384"/>
                  <a:gd name="connsiteY1624" fmla="*/ 1472130 h 4036143"/>
                  <a:gd name="connsiteX1625" fmla="*/ 1474963 w 5806384"/>
                  <a:gd name="connsiteY1625" fmla="*/ 1235626 h 4036143"/>
                  <a:gd name="connsiteX1626" fmla="*/ 1520281 w 5806384"/>
                  <a:gd name="connsiteY1626" fmla="*/ 1470714 h 4036143"/>
                  <a:gd name="connsiteX1627" fmla="*/ 1358835 w 5806384"/>
                  <a:gd name="connsiteY1627" fmla="*/ 1483460 h 4036143"/>
                  <a:gd name="connsiteX1628" fmla="*/ 1474963 w 5806384"/>
                  <a:gd name="connsiteY1628" fmla="*/ 1235626 h 4036143"/>
                  <a:gd name="connsiteX1629" fmla="*/ 1746872 w 5806384"/>
                  <a:gd name="connsiteY1629" fmla="*/ 1453720 h 4036143"/>
                  <a:gd name="connsiteX1630" fmla="*/ 1668981 w 5806384"/>
                  <a:gd name="connsiteY1630" fmla="*/ 1574096 h 4036143"/>
                  <a:gd name="connsiteX1631" fmla="*/ 1688808 w 5806384"/>
                  <a:gd name="connsiteY1631" fmla="*/ 1457969 h 4036143"/>
                  <a:gd name="connsiteX1632" fmla="*/ 1746872 w 5806384"/>
                  <a:gd name="connsiteY1632" fmla="*/ 1453720 h 4036143"/>
                  <a:gd name="connsiteX1633" fmla="*/ 1688808 w 5806384"/>
                  <a:gd name="connsiteY1633" fmla="*/ 1456552 h 4036143"/>
                  <a:gd name="connsiteX1634" fmla="*/ 1693057 w 5806384"/>
                  <a:gd name="connsiteY1634" fmla="*/ 1429645 h 4036143"/>
                  <a:gd name="connsiteX1635" fmla="*/ 1790774 w 5806384"/>
                  <a:gd name="connsiteY1635" fmla="*/ 1384327 h 4036143"/>
                  <a:gd name="connsiteX1636" fmla="*/ 1746872 w 5806384"/>
                  <a:gd name="connsiteY1636" fmla="*/ 1452304 h 4036143"/>
                  <a:gd name="connsiteX1637" fmla="*/ 1688808 w 5806384"/>
                  <a:gd name="connsiteY1637" fmla="*/ 1456552 h 4036143"/>
                  <a:gd name="connsiteX1638" fmla="*/ 1838924 w 5806384"/>
                  <a:gd name="connsiteY1638" fmla="*/ 1314933 h 4036143"/>
                  <a:gd name="connsiteX1639" fmla="*/ 1882826 w 5806384"/>
                  <a:gd name="connsiteY1639" fmla="*/ 1330511 h 4036143"/>
                  <a:gd name="connsiteX1640" fmla="*/ 1882826 w 5806384"/>
                  <a:gd name="connsiteY1640" fmla="*/ 1330511 h 4036143"/>
                  <a:gd name="connsiteX1641" fmla="*/ 1959300 w 5806384"/>
                  <a:gd name="connsiteY1641" fmla="*/ 1234210 h 4036143"/>
                  <a:gd name="connsiteX1642" fmla="*/ 2000370 w 5806384"/>
                  <a:gd name="connsiteY1642" fmla="*/ 1285193 h 4036143"/>
                  <a:gd name="connsiteX1643" fmla="*/ 1797855 w 5806384"/>
                  <a:gd name="connsiteY1643" fmla="*/ 1378662 h 4036143"/>
                  <a:gd name="connsiteX1644" fmla="*/ 1838924 w 5806384"/>
                  <a:gd name="connsiteY1644" fmla="*/ 1314933 h 4036143"/>
                  <a:gd name="connsiteX1645" fmla="*/ 1718548 w 5806384"/>
                  <a:gd name="connsiteY1645" fmla="*/ 1271031 h 4036143"/>
                  <a:gd name="connsiteX1646" fmla="*/ 1691640 w 5806384"/>
                  <a:gd name="connsiteY1646" fmla="*/ 1428229 h 4036143"/>
                  <a:gd name="connsiteX1647" fmla="*/ 1616582 w 5806384"/>
                  <a:gd name="connsiteY1647" fmla="*/ 1462217 h 4036143"/>
                  <a:gd name="connsiteX1648" fmla="*/ 1521697 w 5806384"/>
                  <a:gd name="connsiteY1648" fmla="*/ 1469298 h 4036143"/>
                  <a:gd name="connsiteX1649" fmla="*/ 1476380 w 5806384"/>
                  <a:gd name="connsiteY1649" fmla="*/ 1228546 h 4036143"/>
                  <a:gd name="connsiteX1650" fmla="*/ 1476380 w 5806384"/>
                  <a:gd name="connsiteY1650" fmla="*/ 1228546 h 4036143"/>
                  <a:gd name="connsiteX1651" fmla="*/ 1356003 w 5806384"/>
                  <a:gd name="connsiteY1651" fmla="*/ 1482044 h 4036143"/>
                  <a:gd name="connsiteX1652" fmla="*/ 1180395 w 5806384"/>
                  <a:gd name="connsiteY1652" fmla="*/ 1496206 h 4036143"/>
                  <a:gd name="connsiteX1653" fmla="*/ 1467882 w 5806384"/>
                  <a:gd name="connsiteY1653" fmla="*/ 1225713 h 4036143"/>
                  <a:gd name="connsiteX1654" fmla="*/ 1584010 w 5806384"/>
                  <a:gd name="connsiteY1654" fmla="*/ 1167649 h 4036143"/>
                  <a:gd name="connsiteX1655" fmla="*/ 1562767 w 5806384"/>
                  <a:gd name="connsiteY1655" fmla="*/ 1214384 h 4036143"/>
                  <a:gd name="connsiteX1656" fmla="*/ 1562767 w 5806384"/>
                  <a:gd name="connsiteY1656" fmla="*/ 1214384 h 4036143"/>
                  <a:gd name="connsiteX1657" fmla="*/ 1718548 w 5806384"/>
                  <a:gd name="connsiteY1657" fmla="*/ 1271031 h 4036143"/>
                  <a:gd name="connsiteX1658" fmla="*/ 1751121 w 5806384"/>
                  <a:gd name="connsiteY1658" fmla="*/ 1452304 h 4036143"/>
                  <a:gd name="connsiteX1659" fmla="*/ 1796438 w 5806384"/>
                  <a:gd name="connsiteY1659" fmla="*/ 1382910 h 4036143"/>
                  <a:gd name="connsiteX1660" fmla="*/ 2003203 w 5806384"/>
                  <a:gd name="connsiteY1660" fmla="*/ 1288026 h 4036143"/>
                  <a:gd name="connsiteX1661" fmla="*/ 2112249 w 5806384"/>
                  <a:gd name="connsiteY1661" fmla="*/ 1423980 h 4036143"/>
                  <a:gd name="connsiteX1662" fmla="*/ 1751121 w 5806384"/>
                  <a:gd name="connsiteY1662" fmla="*/ 1452304 h 4036143"/>
                  <a:gd name="connsiteX1663" fmla="*/ 1881410 w 5806384"/>
                  <a:gd name="connsiteY1663" fmla="*/ 1329095 h 4036143"/>
                  <a:gd name="connsiteX1664" fmla="*/ 1838924 w 5806384"/>
                  <a:gd name="connsiteY1664" fmla="*/ 1313517 h 4036143"/>
                  <a:gd name="connsiteX1665" fmla="*/ 1919647 w 5806384"/>
                  <a:gd name="connsiteY1665" fmla="*/ 1187476 h 4036143"/>
                  <a:gd name="connsiteX1666" fmla="*/ 1956468 w 5806384"/>
                  <a:gd name="connsiteY1666" fmla="*/ 1234210 h 4036143"/>
                  <a:gd name="connsiteX1667" fmla="*/ 1881410 w 5806384"/>
                  <a:gd name="connsiteY1667" fmla="*/ 1329095 h 4036143"/>
                  <a:gd name="connsiteX1668" fmla="*/ 1837508 w 5806384"/>
                  <a:gd name="connsiteY1668" fmla="*/ 1313517 h 4036143"/>
                  <a:gd name="connsiteX1669" fmla="*/ 1719964 w 5806384"/>
                  <a:gd name="connsiteY1669" fmla="*/ 1271031 h 4036143"/>
                  <a:gd name="connsiteX1670" fmla="*/ 1751121 w 5806384"/>
                  <a:gd name="connsiteY1670" fmla="*/ 1084094 h 4036143"/>
                  <a:gd name="connsiteX1671" fmla="*/ 1812017 w 5806384"/>
                  <a:gd name="connsiteY1671" fmla="*/ 1054354 h 4036143"/>
                  <a:gd name="connsiteX1672" fmla="*/ 1918231 w 5806384"/>
                  <a:gd name="connsiteY1672" fmla="*/ 1187476 h 4036143"/>
                  <a:gd name="connsiteX1673" fmla="*/ 1837508 w 5806384"/>
                  <a:gd name="connsiteY1673" fmla="*/ 1313517 h 4036143"/>
                  <a:gd name="connsiteX1674" fmla="*/ 1718548 w 5806384"/>
                  <a:gd name="connsiteY1674" fmla="*/ 1269615 h 4036143"/>
                  <a:gd name="connsiteX1675" fmla="*/ 1565599 w 5806384"/>
                  <a:gd name="connsiteY1675" fmla="*/ 1212967 h 4036143"/>
                  <a:gd name="connsiteX1676" fmla="*/ 1586842 w 5806384"/>
                  <a:gd name="connsiteY1676" fmla="*/ 1166233 h 4036143"/>
                  <a:gd name="connsiteX1677" fmla="*/ 1749704 w 5806384"/>
                  <a:gd name="connsiteY1677" fmla="*/ 1084094 h 4036143"/>
                  <a:gd name="connsiteX1678" fmla="*/ 1718548 w 5806384"/>
                  <a:gd name="connsiteY1678" fmla="*/ 1269615 h 4036143"/>
                  <a:gd name="connsiteX1679" fmla="*/ 1316350 w 5806384"/>
                  <a:gd name="connsiteY1679" fmla="*/ 1571264 h 4036143"/>
                  <a:gd name="connsiteX1680" fmla="*/ 1409818 w 5806384"/>
                  <a:gd name="connsiteY1680" fmla="*/ 1572680 h 4036143"/>
                  <a:gd name="connsiteX1681" fmla="*/ 1448056 w 5806384"/>
                  <a:gd name="connsiteY1681" fmla="*/ 1646322 h 4036143"/>
                  <a:gd name="connsiteX1682" fmla="*/ 1428229 w 5806384"/>
                  <a:gd name="connsiteY1682" fmla="*/ 1646322 h 4036143"/>
                  <a:gd name="connsiteX1683" fmla="*/ 1309269 w 5806384"/>
                  <a:gd name="connsiteY1683" fmla="*/ 1588258 h 4036143"/>
                  <a:gd name="connsiteX1684" fmla="*/ 1316350 w 5806384"/>
                  <a:gd name="connsiteY1684" fmla="*/ 1571264 h 4036143"/>
                  <a:gd name="connsiteX1685" fmla="*/ 2187307 w 5806384"/>
                  <a:gd name="connsiteY1685" fmla="*/ 2433724 h 4036143"/>
                  <a:gd name="connsiteX1686" fmla="*/ 2187307 w 5806384"/>
                  <a:gd name="connsiteY1686" fmla="*/ 2433724 h 4036143"/>
                  <a:gd name="connsiteX1687" fmla="*/ 2054185 w 5806384"/>
                  <a:gd name="connsiteY1687" fmla="*/ 2452135 h 4036143"/>
                  <a:gd name="connsiteX1688" fmla="*/ 2137741 w 5806384"/>
                  <a:gd name="connsiteY1688" fmla="*/ 1994705 h 4036143"/>
                  <a:gd name="connsiteX1689" fmla="*/ 2251036 w 5806384"/>
                  <a:gd name="connsiteY1689" fmla="*/ 2049936 h 4036143"/>
                  <a:gd name="connsiteX1690" fmla="*/ 2258117 w 5806384"/>
                  <a:gd name="connsiteY1690" fmla="*/ 2303435 h 4036143"/>
                  <a:gd name="connsiteX1691" fmla="*/ 2258117 w 5806384"/>
                  <a:gd name="connsiteY1691" fmla="*/ 2304851 h 4036143"/>
                  <a:gd name="connsiteX1692" fmla="*/ 2323262 w 5806384"/>
                  <a:gd name="connsiteY1692" fmla="*/ 2085341 h 4036143"/>
                  <a:gd name="connsiteX1693" fmla="*/ 2487540 w 5806384"/>
                  <a:gd name="connsiteY1693" fmla="*/ 2164648 h 4036143"/>
                  <a:gd name="connsiteX1694" fmla="*/ 2436557 w 5806384"/>
                  <a:gd name="connsiteY1694" fmla="*/ 2396903 h 4036143"/>
                  <a:gd name="connsiteX1695" fmla="*/ 2408233 w 5806384"/>
                  <a:gd name="connsiteY1695" fmla="*/ 2402568 h 4036143"/>
                  <a:gd name="connsiteX1696" fmla="*/ 2272279 w 5806384"/>
                  <a:gd name="connsiteY1696" fmla="*/ 2299186 h 4036143"/>
                  <a:gd name="connsiteX1697" fmla="*/ 2270863 w 5806384"/>
                  <a:gd name="connsiteY1697" fmla="*/ 2299186 h 4036143"/>
                  <a:gd name="connsiteX1698" fmla="*/ 2336008 w 5806384"/>
                  <a:gd name="connsiteY1698" fmla="*/ 2415314 h 4036143"/>
                  <a:gd name="connsiteX1699" fmla="*/ 2197221 w 5806384"/>
                  <a:gd name="connsiteY1699" fmla="*/ 2439389 h 4036143"/>
                  <a:gd name="connsiteX1700" fmla="*/ 2187307 w 5806384"/>
                  <a:gd name="connsiteY1700" fmla="*/ 2433724 h 4036143"/>
                  <a:gd name="connsiteX1701" fmla="*/ 2191556 w 5806384"/>
                  <a:gd name="connsiteY1701" fmla="*/ 2439389 h 4036143"/>
                  <a:gd name="connsiteX1702" fmla="*/ 2183059 w 5806384"/>
                  <a:gd name="connsiteY1702" fmla="*/ 2440805 h 4036143"/>
                  <a:gd name="connsiteX1703" fmla="*/ 2187307 w 5806384"/>
                  <a:gd name="connsiteY1703" fmla="*/ 2433724 h 4036143"/>
                  <a:gd name="connsiteX1704" fmla="*/ 2336008 w 5806384"/>
                  <a:gd name="connsiteY1704" fmla="*/ 2415314 h 4036143"/>
                  <a:gd name="connsiteX1705" fmla="*/ 2377077 w 5806384"/>
                  <a:gd name="connsiteY1705" fmla="*/ 2488955 h 4036143"/>
                  <a:gd name="connsiteX1706" fmla="*/ 2277944 w 5806384"/>
                  <a:gd name="connsiteY1706" fmla="*/ 2440805 h 4036143"/>
                  <a:gd name="connsiteX1707" fmla="*/ 2276528 w 5806384"/>
                  <a:gd name="connsiteY1707" fmla="*/ 2440805 h 4036143"/>
                  <a:gd name="connsiteX1708" fmla="*/ 2399736 w 5806384"/>
                  <a:gd name="connsiteY1708" fmla="*/ 2555516 h 4036143"/>
                  <a:gd name="connsiteX1709" fmla="*/ 2395488 w 5806384"/>
                  <a:gd name="connsiteY1709" fmla="*/ 2578175 h 4036143"/>
                  <a:gd name="connsiteX1710" fmla="*/ 2198637 w 5806384"/>
                  <a:gd name="connsiteY1710" fmla="*/ 2439389 h 4036143"/>
                  <a:gd name="connsiteX1711" fmla="*/ 2336008 w 5806384"/>
                  <a:gd name="connsiteY1711" fmla="*/ 2415314 h 4036143"/>
                  <a:gd name="connsiteX1712" fmla="*/ 2532858 w 5806384"/>
                  <a:gd name="connsiteY1712" fmla="*/ 2674476 h 4036143"/>
                  <a:gd name="connsiteX1713" fmla="*/ 2432309 w 5806384"/>
                  <a:gd name="connsiteY1713" fmla="*/ 2582424 h 4036143"/>
                  <a:gd name="connsiteX1714" fmla="*/ 2406817 w 5806384"/>
                  <a:gd name="connsiteY1714" fmla="*/ 2537106 h 4036143"/>
                  <a:gd name="connsiteX1715" fmla="*/ 2412482 w 5806384"/>
                  <a:gd name="connsiteY1715" fmla="*/ 2508782 h 4036143"/>
                  <a:gd name="connsiteX1716" fmla="*/ 2769362 w 5806384"/>
                  <a:gd name="connsiteY1716" fmla="*/ 2678725 h 4036143"/>
                  <a:gd name="connsiteX1717" fmla="*/ 2777859 w 5806384"/>
                  <a:gd name="connsiteY1717" fmla="*/ 2685806 h 4036143"/>
                  <a:gd name="connsiteX1718" fmla="*/ 2793438 w 5806384"/>
                  <a:gd name="connsiteY1718" fmla="*/ 2729708 h 4036143"/>
                  <a:gd name="connsiteX1719" fmla="*/ 2576761 w 5806384"/>
                  <a:gd name="connsiteY1719" fmla="*/ 2670228 h 4036143"/>
                  <a:gd name="connsiteX1720" fmla="*/ 2576761 w 5806384"/>
                  <a:gd name="connsiteY1720" fmla="*/ 2670228 h 4036143"/>
                  <a:gd name="connsiteX1721" fmla="*/ 2629159 w 5806384"/>
                  <a:gd name="connsiteY1721" fmla="*/ 2743870 h 4036143"/>
                  <a:gd name="connsiteX1722" fmla="*/ 2532858 w 5806384"/>
                  <a:gd name="connsiteY1722" fmla="*/ 2674476 h 4036143"/>
                  <a:gd name="connsiteX1723" fmla="*/ 2923727 w 5806384"/>
                  <a:gd name="connsiteY1723" fmla="*/ 2792020 h 4036143"/>
                  <a:gd name="connsiteX1724" fmla="*/ 2942138 w 5806384"/>
                  <a:gd name="connsiteY1724" fmla="*/ 2772194 h 4036143"/>
                  <a:gd name="connsiteX1725" fmla="*/ 2998785 w 5806384"/>
                  <a:gd name="connsiteY1725" fmla="*/ 2787772 h 4036143"/>
                  <a:gd name="connsiteX1726" fmla="*/ 3140404 w 5806384"/>
                  <a:gd name="connsiteY1726" fmla="*/ 2855749 h 4036143"/>
                  <a:gd name="connsiteX1727" fmla="*/ 3197052 w 5806384"/>
                  <a:gd name="connsiteY1727" fmla="*/ 2981790 h 4036143"/>
                  <a:gd name="connsiteX1728" fmla="*/ 3185723 w 5806384"/>
                  <a:gd name="connsiteY1728" fmla="*/ 2993119 h 4036143"/>
                  <a:gd name="connsiteX1729" fmla="*/ 2923727 w 5806384"/>
                  <a:gd name="connsiteY1729" fmla="*/ 2792020 h 4036143"/>
                  <a:gd name="connsiteX1730" fmla="*/ 3323093 w 5806384"/>
                  <a:gd name="connsiteY1730" fmla="*/ 2942136 h 4036143"/>
                  <a:gd name="connsiteX1731" fmla="*/ 3209797 w 5806384"/>
                  <a:gd name="connsiteY1731" fmla="*/ 2998784 h 4036143"/>
                  <a:gd name="connsiteX1732" fmla="*/ 3201301 w 5806384"/>
                  <a:gd name="connsiteY1732" fmla="*/ 2981790 h 4036143"/>
                  <a:gd name="connsiteX1733" fmla="*/ 3269278 w 5806384"/>
                  <a:gd name="connsiteY1733" fmla="*/ 2916645 h 4036143"/>
                  <a:gd name="connsiteX1734" fmla="*/ 3323093 w 5806384"/>
                  <a:gd name="connsiteY1734" fmla="*/ 2942136 h 4036143"/>
                  <a:gd name="connsiteX1735" fmla="*/ 3325925 w 5806384"/>
                  <a:gd name="connsiteY1735" fmla="*/ 2943553 h 4036143"/>
                  <a:gd name="connsiteX1736" fmla="*/ 3342920 w 5806384"/>
                  <a:gd name="connsiteY1736" fmla="*/ 2952050 h 4036143"/>
                  <a:gd name="connsiteX1737" fmla="*/ 3372659 w 5806384"/>
                  <a:gd name="connsiteY1737" fmla="*/ 3103582 h 4036143"/>
                  <a:gd name="connsiteX1738" fmla="*/ 3216878 w 5806384"/>
                  <a:gd name="connsiteY1738" fmla="*/ 3017195 h 4036143"/>
                  <a:gd name="connsiteX1739" fmla="*/ 3209797 w 5806384"/>
                  <a:gd name="connsiteY1739" fmla="*/ 3001616 h 4036143"/>
                  <a:gd name="connsiteX1740" fmla="*/ 3325925 w 5806384"/>
                  <a:gd name="connsiteY1740" fmla="*/ 2943553 h 4036143"/>
                  <a:gd name="connsiteX1741" fmla="*/ 3345752 w 5806384"/>
                  <a:gd name="connsiteY1741" fmla="*/ 2949217 h 4036143"/>
                  <a:gd name="connsiteX1742" fmla="*/ 3342920 w 5806384"/>
                  <a:gd name="connsiteY1742" fmla="*/ 2933639 h 4036143"/>
                  <a:gd name="connsiteX1743" fmla="*/ 3436388 w 5806384"/>
                  <a:gd name="connsiteY1743" fmla="*/ 2886905 h 4036143"/>
                  <a:gd name="connsiteX1744" fmla="*/ 3451967 w 5806384"/>
                  <a:gd name="connsiteY1744" fmla="*/ 2998784 h 4036143"/>
                  <a:gd name="connsiteX1745" fmla="*/ 3345752 w 5806384"/>
                  <a:gd name="connsiteY1745" fmla="*/ 2949217 h 4036143"/>
                  <a:gd name="connsiteX1746" fmla="*/ 3623325 w 5806384"/>
                  <a:gd name="connsiteY1746" fmla="*/ 2716962 h 4036143"/>
                  <a:gd name="connsiteX1747" fmla="*/ 3570926 w 5806384"/>
                  <a:gd name="connsiteY1747" fmla="*/ 2690054 h 4036143"/>
                  <a:gd name="connsiteX1748" fmla="*/ 3507198 w 5806384"/>
                  <a:gd name="connsiteY1748" fmla="*/ 2658898 h 4036143"/>
                  <a:gd name="connsiteX1749" fmla="*/ 3369828 w 5806384"/>
                  <a:gd name="connsiteY1749" fmla="*/ 2403984 h 4036143"/>
                  <a:gd name="connsiteX1750" fmla="*/ 3369828 w 5806384"/>
                  <a:gd name="connsiteY1750" fmla="*/ 2402568 h 4036143"/>
                  <a:gd name="connsiteX1751" fmla="*/ 3398152 w 5806384"/>
                  <a:gd name="connsiteY1751" fmla="*/ 2605083 h 4036143"/>
                  <a:gd name="connsiteX1752" fmla="*/ 3189971 w 5806384"/>
                  <a:gd name="connsiteY1752" fmla="*/ 2503117 h 4036143"/>
                  <a:gd name="connsiteX1753" fmla="*/ 3325925 w 5806384"/>
                  <a:gd name="connsiteY1753" fmla="*/ 2354417 h 4036143"/>
                  <a:gd name="connsiteX1754" fmla="*/ 3701216 w 5806384"/>
                  <a:gd name="connsiteY1754" fmla="*/ 2456383 h 4036143"/>
                  <a:gd name="connsiteX1755" fmla="*/ 3702633 w 5806384"/>
                  <a:gd name="connsiteY1755" fmla="*/ 2456383 h 4036143"/>
                  <a:gd name="connsiteX1756" fmla="*/ 3395319 w 5806384"/>
                  <a:gd name="connsiteY1756" fmla="*/ 2277943 h 4036143"/>
                  <a:gd name="connsiteX1757" fmla="*/ 3549683 w 5806384"/>
                  <a:gd name="connsiteY1757" fmla="*/ 2109416 h 4036143"/>
                  <a:gd name="connsiteX1758" fmla="*/ 3552516 w 5806384"/>
                  <a:gd name="connsiteY1758" fmla="*/ 2110833 h 4036143"/>
                  <a:gd name="connsiteX1759" fmla="*/ 3552516 w 5806384"/>
                  <a:gd name="connsiteY1759" fmla="*/ 2110833 h 4036143"/>
                  <a:gd name="connsiteX1760" fmla="*/ 3551100 w 5806384"/>
                  <a:gd name="connsiteY1760" fmla="*/ 2106584 h 4036143"/>
                  <a:gd name="connsiteX1761" fmla="*/ 3553933 w 5806384"/>
                  <a:gd name="connsiteY1761" fmla="*/ 2103752 h 4036143"/>
                  <a:gd name="connsiteX1762" fmla="*/ 3553933 w 5806384"/>
                  <a:gd name="connsiteY1762" fmla="*/ 2103752 h 4036143"/>
                  <a:gd name="connsiteX1763" fmla="*/ 3549683 w 5806384"/>
                  <a:gd name="connsiteY1763" fmla="*/ 2103752 h 4036143"/>
                  <a:gd name="connsiteX1764" fmla="*/ 3497285 w 5806384"/>
                  <a:gd name="connsiteY1764" fmla="*/ 1974878 h 4036143"/>
                  <a:gd name="connsiteX1765" fmla="*/ 3746534 w 5806384"/>
                  <a:gd name="connsiteY1765" fmla="*/ 2068347 h 4036143"/>
                  <a:gd name="connsiteX1766" fmla="*/ 3780523 w 5806384"/>
                  <a:gd name="connsiteY1766" fmla="*/ 2343088 h 4036143"/>
                  <a:gd name="connsiteX1767" fmla="*/ 3623325 w 5806384"/>
                  <a:gd name="connsiteY1767" fmla="*/ 2716962 h 4036143"/>
                  <a:gd name="connsiteX1768" fmla="*/ 3726707 w 5806384"/>
                  <a:gd name="connsiteY1768" fmla="*/ 1884242 h 4036143"/>
                  <a:gd name="connsiteX1769" fmla="*/ 3868326 w 5806384"/>
                  <a:gd name="connsiteY1769" fmla="*/ 1966381 h 4036143"/>
                  <a:gd name="connsiteX1770" fmla="*/ 3825841 w 5806384"/>
                  <a:gd name="connsiteY1770" fmla="*/ 2098087 h 4036143"/>
                  <a:gd name="connsiteX1771" fmla="*/ 3747950 w 5806384"/>
                  <a:gd name="connsiteY1771" fmla="*/ 2069763 h 4036143"/>
                  <a:gd name="connsiteX1772" fmla="*/ 3726707 w 5806384"/>
                  <a:gd name="connsiteY1772" fmla="*/ 1884242 h 4036143"/>
                  <a:gd name="connsiteX1773" fmla="*/ 3893818 w 5806384"/>
                  <a:gd name="connsiteY1773" fmla="*/ 1892739 h 4036143"/>
                  <a:gd name="connsiteX1774" fmla="*/ 4041102 w 5806384"/>
                  <a:gd name="connsiteY1774" fmla="*/ 2065514 h 4036143"/>
                  <a:gd name="connsiteX1775" fmla="*/ 3869743 w 5806384"/>
                  <a:gd name="connsiteY1775" fmla="*/ 1966381 h 4036143"/>
                  <a:gd name="connsiteX1776" fmla="*/ 3893818 w 5806384"/>
                  <a:gd name="connsiteY1776" fmla="*/ 1892739 h 4036143"/>
                  <a:gd name="connsiteX1777" fmla="*/ 3696968 w 5806384"/>
                  <a:gd name="connsiteY1777" fmla="*/ 1660484 h 4036143"/>
                  <a:gd name="connsiteX1778" fmla="*/ 3696968 w 5806384"/>
                  <a:gd name="connsiteY1778" fmla="*/ 1660484 h 4036143"/>
                  <a:gd name="connsiteX1779" fmla="*/ 3723876 w 5806384"/>
                  <a:gd name="connsiteY1779" fmla="*/ 1879993 h 4036143"/>
                  <a:gd name="connsiteX1780" fmla="*/ 3374076 w 5806384"/>
                  <a:gd name="connsiteY1780" fmla="*/ 1677478 h 4036143"/>
                  <a:gd name="connsiteX1781" fmla="*/ 3235289 w 5806384"/>
                  <a:gd name="connsiteY1781" fmla="*/ 1337592 h 4036143"/>
                  <a:gd name="connsiteX1782" fmla="*/ 3250867 w 5806384"/>
                  <a:gd name="connsiteY1782" fmla="*/ 1336176 h 4036143"/>
                  <a:gd name="connsiteX1783" fmla="*/ 3682806 w 5806384"/>
                  <a:gd name="connsiteY1783" fmla="*/ 1659068 h 4036143"/>
                  <a:gd name="connsiteX1784" fmla="*/ 3682806 w 5806384"/>
                  <a:gd name="connsiteY1784" fmla="*/ 1659068 h 4036143"/>
                  <a:gd name="connsiteX1785" fmla="*/ 3718210 w 5806384"/>
                  <a:gd name="connsiteY1785" fmla="*/ 1299355 h 4036143"/>
                  <a:gd name="connsiteX1786" fmla="*/ 3749367 w 5806384"/>
                  <a:gd name="connsiteY1786" fmla="*/ 1296523 h 4036143"/>
                  <a:gd name="connsiteX1787" fmla="*/ 3871159 w 5806384"/>
                  <a:gd name="connsiteY1787" fmla="*/ 1489125 h 4036143"/>
                  <a:gd name="connsiteX1788" fmla="*/ 3861245 w 5806384"/>
                  <a:gd name="connsiteY1788" fmla="*/ 1514616 h 4036143"/>
                  <a:gd name="connsiteX1789" fmla="*/ 3882488 w 5806384"/>
                  <a:gd name="connsiteY1789" fmla="*/ 1506119 h 4036143"/>
                  <a:gd name="connsiteX1790" fmla="*/ 3919310 w 5806384"/>
                  <a:gd name="connsiteY1790" fmla="*/ 1564183 h 4036143"/>
                  <a:gd name="connsiteX1791" fmla="*/ 3895234 w 5806384"/>
                  <a:gd name="connsiteY1791" fmla="*/ 1762449 h 4036143"/>
                  <a:gd name="connsiteX1792" fmla="*/ 3895234 w 5806384"/>
                  <a:gd name="connsiteY1792" fmla="*/ 1762449 h 4036143"/>
                  <a:gd name="connsiteX1793" fmla="*/ 3936304 w 5806384"/>
                  <a:gd name="connsiteY1793" fmla="*/ 1751120 h 4036143"/>
                  <a:gd name="connsiteX1794" fmla="*/ 3892402 w 5806384"/>
                  <a:gd name="connsiteY1794" fmla="*/ 1887074 h 4036143"/>
                  <a:gd name="connsiteX1795" fmla="*/ 3696968 w 5806384"/>
                  <a:gd name="connsiteY1795" fmla="*/ 1660484 h 4036143"/>
                  <a:gd name="connsiteX1796" fmla="*/ 4308763 w 5806384"/>
                  <a:gd name="connsiteY1796" fmla="*/ 1474963 h 4036143"/>
                  <a:gd name="connsiteX1797" fmla="*/ 4308763 w 5806384"/>
                  <a:gd name="connsiteY1797" fmla="*/ 1474963 h 4036143"/>
                  <a:gd name="connsiteX1798" fmla="*/ 4177057 w 5806384"/>
                  <a:gd name="connsiteY1798" fmla="*/ 1389991 h 4036143"/>
                  <a:gd name="connsiteX1799" fmla="*/ 4270525 w 5806384"/>
                  <a:gd name="connsiteY1799" fmla="*/ 1353170 h 4036143"/>
                  <a:gd name="connsiteX1800" fmla="*/ 4402231 w 5806384"/>
                  <a:gd name="connsiteY1800" fmla="*/ 1622247 h 4036143"/>
                  <a:gd name="connsiteX1801" fmla="*/ 4269109 w 5806384"/>
                  <a:gd name="connsiteY1801" fmla="*/ 1659068 h 4036143"/>
                  <a:gd name="connsiteX1802" fmla="*/ 4308763 w 5806384"/>
                  <a:gd name="connsiteY1802" fmla="*/ 1474963 h 4036143"/>
                  <a:gd name="connsiteX1803" fmla="*/ 4271941 w 5806384"/>
                  <a:gd name="connsiteY1803" fmla="*/ 1351754 h 4036143"/>
                  <a:gd name="connsiteX1804" fmla="*/ 4206797 w 5806384"/>
                  <a:gd name="connsiteY1804" fmla="*/ 1217216 h 4036143"/>
                  <a:gd name="connsiteX1805" fmla="*/ 4460295 w 5806384"/>
                  <a:gd name="connsiteY1805" fmla="*/ 1263950 h 4036143"/>
                  <a:gd name="connsiteX1806" fmla="*/ 4460295 w 5806384"/>
                  <a:gd name="connsiteY1806" fmla="*/ 1263950 h 4036143"/>
                  <a:gd name="connsiteX1807" fmla="*/ 4475873 w 5806384"/>
                  <a:gd name="connsiteY1807" fmla="*/ 1259702 h 4036143"/>
                  <a:gd name="connsiteX1808" fmla="*/ 4477289 w 5806384"/>
                  <a:gd name="connsiteY1808" fmla="*/ 1269615 h 4036143"/>
                  <a:gd name="connsiteX1809" fmla="*/ 4271941 w 5806384"/>
                  <a:gd name="connsiteY1809" fmla="*/ 1351754 h 4036143"/>
                  <a:gd name="connsiteX1810" fmla="*/ 4539602 w 5806384"/>
                  <a:gd name="connsiteY1810" fmla="*/ 982128 h 4036143"/>
                  <a:gd name="connsiteX1811" fmla="*/ 4458878 w 5806384"/>
                  <a:gd name="connsiteY1811" fmla="*/ 1112418 h 4036143"/>
                  <a:gd name="connsiteX1812" fmla="*/ 4446133 w 5806384"/>
                  <a:gd name="connsiteY1812" fmla="*/ 1013285 h 4036143"/>
                  <a:gd name="connsiteX1813" fmla="*/ 4539602 w 5806384"/>
                  <a:gd name="connsiteY1813" fmla="*/ 982128 h 4036143"/>
                  <a:gd name="connsiteX1814" fmla="*/ 4446133 w 5806384"/>
                  <a:gd name="connsiteY1814" fmla="*/ 1010452 h 4036143"/>
                  <a:gd name="connsiteX1815" fmla="*/ 4433387 w 5806384"/>
                  <a:gd name="connsiteY1815" fmla="*/ 911319 h 4036143"/>
                  <a:gd name="connsiteX1816" fmla="*/ 4569341 w 5806384"/>
                  <a:gd name="connsiteY1816" fmla="*/ 908486 h 4036143"/>
                  <a:gd name="connsiteX1817" fmla="*/ 4579255 w 5806384"/>
                  <a:gd name="connsiteY1817" fmla="*/ 918400 h 4036143"/>
                  <a:gd name="connsiteX1818" fmla="*/ 4541017 w 5806384"/>
                  <a:gd name="connsiteY1818" fmla="*/ 980712 h 4036143"/>
                  <a:gd name="connsiteX1819" fmla="*/ 4446133 w 5806384"/>
                  <a:gd name="connsiteY1819" fmla="*/ 1010452 h 4036143"/>
                  <a:gd name="connsiteX1820" fmla="*/ 4652897 w 5806384"/>
                  <a:gd name="connsiteY1820" fmla="*/ 802272 h 4036143"/>
                  <a:gd name="connsiteX1821" fmla="*/ 4589168 w 5806384"/>
                  <a:gd name="connsiteY1821" fmla="*/ 905654 h 4036143"/>
                  <a:gd name="connsiteX1822" fmla="*/ 4572174 w 5806384"/>
                  <a:gd name="connsiteY1822" fmla="*/ 905654 h 4036143"/>
                  <a:gd name="connsiteX1823" fmla="*/ 4414977 w 5806384"/>
                  <a:gd name="connsiteY1823" fmla="*/ 749873 h 4036143"/>
                  <a:gd name="connsiteX1824" fmla="*/ 4397982 w 5806384"/>
                  <a:gd name="connsiteY1824" fmla="*/ 618167 h 4036143"/>
                  <a:gd name="connsiteX1825" fmla="*/ 4652897 w 5806384"/>
                  <a:gd name="connsiteY1825" fmla="*/ 802272 h 4036143"/>
                  <a:gd name="connsiteX1826" fmla="*/ 3400983 w 5806384"/>
                  <a:gd name="connsiteY1826" fmla="*/ 92760 h 4036143"/>
                  <a:gd name="connsiteX1827" fmla="*/ 3528440 w 5806384"/>
                  <a:gd name="connsiteY1827" fmla="*/ 350507 h 4036143"/>
                  <a:gd name="connsiteX1828" fmla="*/ 3453382 w 5806384"/>
                  <a:gd name="connsiteY1828" fmla="*/ 731463 h 4036143"/>
                  <a:gd name="connsiteX1829" fmla="*/ 3177225 w 5806384"/>
                  <a:gd name="connsiteY1829" fmla="*/ 605422 h 4036143"/>
                  <a:gd name="connsiteX1830" fmla="*/ 3214047 w 5806384"/>
                  <a:gd name="connsiteY1830" fmla="*/ 404322 h 4036143"/>
                  <a:gd name="connsiteX1831" fmla="*/ 3313180 w 5806384"/>
                  <a:gd name="connsiteY1831" fmla="*/ 342010 h 4036143"/>
                  <a:gd name="connsiteX1832" fmla="*/ 3313180 w 5806384"/>
                  <a:gd name="connsiteY1832" fmla="*/ 342010 h 4036143"/>
                  <a:gd name="connsiteX1833" fmla="*/ 3231040 w 5806384"/>
                  <a:gd name="connsiteY1833" fmla="*/ 138079 h 4036143"/>
                  <a:gd name="connsiteX1834" fmla="*/ 3150318 w 5806384"/>
                  <a:gd name="connsiteY1834" fmla="*/ 13454 h 4036143"/>
                  <a:gd name="connsiteX1835" fmla="*/ 3400983 w 5806384"/>
                  <a:gd name="connsiteY1835" fmla="*/ 92760 h 4036143"/>
                  <a:gd name="connsiteX1836" fmla="*/ 2412482 w 5806384"/>
                  <a:gd name="connsiteY1836" fmla="*/ 1399905 h 4036143"/>
                  <a:gd name="connsiteX1837" fmla="*/ 2238290 w 5806384"/>
                  <a:gd name="connsiteY1837" fmla="*/ 1414067 h 4036143"/>
                  <a:gd name="connsiteX1838" fmla="*/ 2234042 w 5806384"/>
                  <a:gd name="connsiteY1838" fmla="*/ 1231378 h 4036143"/>
                  <a:gd name="connsiteX1839" fmla="*/ 2412482 w 5806384"/>
                  <a:gd name="connsiteY1839" fmla="*/ 1399905 h 4036143"/>
                  <a:gd name="connsiteX1840" fmla="*/ 1268199 w 5806384"/>
                  <a:gd name="connsiteY1840" fmla="*/ 1569848 h 4036143"/>
                  <a:gd name="connsiteX1841" fmla="*/ 1305020 w 5806384"/>
                  <a:gd name="connsiteY1841" fmla="*/ 1588258 h 4036143"/>
                  <a:gd name="connsiteX1842" fmla="*/ 1279529 w 5806384"/>
                  <a:gd name="connsiteY1842" fmla="*/ 1640657 h 4036143"/>
                  <a:gd name="connsiteX1843" fmla="*/ 1184644 w 5806384"/>
                  <a:gd name="connsiteY1843" fmla="*/ 1637825 h 4036143"/>
                  <a:gd name="connsiteX1844" fmla="*/ 1178979 w 5806384"/>
                  <a:gd name="connsiteY1844" fmla="*/ 1568431 h 4036143"/>
                  <a:gd name="connsiteX1845" fmla="*/ 1268199 w 5806384"/>
                  <a:gd name="connsiteY1845" fmla="*/ 1569848 h 4036143"/>
                  <a:gd name="connsiteX1846" fmla="*/ 698890 w 5806384"/>
                  <a:gd name="connsiteY1846" fmla="*/ 1550021 h 4036143"/>
                  <a:gd name="connsiteX1847" fmla="*/ 904238 w 5806384"/>
                  <a:gd name="connsiteY1847" fmla="*/ 1497622 h 4036143"/>
                  <a:gd name="connsiteX1848" fmla="*/ 885828 w 5806384"/>
                  <a:gd name="connsiteY1848" fmla="*/ 1561350 h 4036143"/>
                  <a:gd name="connsiteX1849" fmla="*/ 885828 w 5806384"/>
                  <a:gd name="connsiteY1849" fmla="*/ 1561350 h 4036143"/>
                  <a:gd name="connsiteX1850" fmla="*/ 1176147 w 5806384"/>
                  <a:gd name="connsiteY1850" fmla="*/ 1567015 h 4036143"/>
                  <a:gd name="connsiteX1851" fmla="*/ 1181812 w 5806384"/>
                  <a:gd name="connsiteY1851" fmla="*/ 1636409 h 4036143"/>
                  <a:gd name="connsiteX1852" fmla="*/ 1060019 w 5806384"/>
                  <a:gd name="connsiteY1852" fmla="*/ 1632160 h 4036143"/>
                  <a:gd name="connsiteX1853" fmla="*/ 1060019 w 5806384"/>
                  <a:gd name="connsiteY1853" fmla="*/ 1632160 h 4036143"/>
                  <a:gd name="connsiteX1854" fmla="*/ 1197390 w 5806384"/>
                  <a:gd name="connsiteY1854" fmla="*/ 1796438 h 4036143"/>
                  <a:gd name="connsiteX1855" fmla="*/ 1197390 w 5806384"/>
                  <a:gd name="connsiteY1855" fmla="*/ 1803519 h 4036143"/>
                  <a:gd name="connsiteX1856" fmla="*/ 875914 w 5806384"/>
                  <a:gd name="connsiteY1856" fmla="*/ 1854502 h 4036143"/>
                  <a:gd name="connsiteX1857" fmla="*/ 844758 w 5806384"/>
                  <a:gd name="connsiteY1857" fmla="*/ 1807768 h 4036143"/>
                  <a:gd name="connsiteX1858" fmla="*/ 873082 w 5806384"/>
                  <a:gd name="connsiteY1858" fmla="*/ 1803519 h 4036143"/>
                  <a:gd name="connsiteX1859" fmla="*/ 873082 w 5806384"/>
                  <a:gd name="connsiteY1859" fmla="*/ 1803519 h 4036143"/>
                  <a:gd name="connsiteX1860" fmla="*/ 698890 w 5806384"/>
                  <a:gd name="connsiteY1860" fmla="*/ 1550021 h 4036143"/>
                  <a:gd name="connsiteX1861" fmla="*/ 1263951 w 5806384"/>
                  <a:gd name="connsiteY1861" fmla="*/ 1567015 h 4036143"/>
                  <a:gd name="connsiteX1862" fmla="*/ 1178979 w 5806384"/>
                  <a:gd name="connsiteY1862" fmla="*/ 1565599 h 4036143"/>
                  <a:gd name="connsiteX1863" fmla="*/ 1174731 w 5806384"/>
                  <a:gd name="connsiteY1863" fmla="*/ 1524529 h 4036143"/>
                  <a:gd name="connsiteX1864" fmla="*/ 1263951 w 5806384"/>
                  <a:gd name="connsiteY1864" fmla="*/ 1567015 h 4036143"/>
                  <a:gd name="connsiteX1865" fmla="*/ 1065684 w 5806384"/>
                  <a:gd name="connsiteY1865" fmla="*/ 1634992 h 4036143"/>
                  <a:gd name="connsiteX1866" fmla="*/ 1183228 w 5806384"/>
                  <a:gd name="connsiteY1866" fmla="*/ 1639241 h 4036143"/>
                  <a:gd name="connsiteX1867" fmla="*/ 1197390 w 5806384"/>
                  <a:gd name="connsiteY1867" fmla="*/ 1793606 h 4036143"/>
                  <a:gd name="connsiteX1868" fmla="*/ 1065684 w 5806384"/>
                  <a:gd name="connsiteY1868" fmla="*/ 1634992 h 4036143"/>
                  <a:gd name="connsiteX1869" fmla="*/ 1200222 w 5806384"/>
                  <a:gd name="connsiteY1869" fmla="*/ 1796438 h 4036143"/>
                  <a:gd name="connsiteX1870" fmla="*/ 1186060 w 5806384"/>
                  <a:gd name="connsiteY1870" fmla="*/ 1639241 h 4036143"/>
                  <a:gd name="connsiteX1871" fmla="*/ 1280945 w 5806384"/>
                  <a:gd name="connsiteY1871" fmla="*/ 1642073 h 4036143"/>
                  <a:gd name="connsiteX1872" fmla="*/ 1205887 w 5806384"/>
                  <a:gd name="connsiteY1872" fmla="*/ 1802103 h 4036143"/>
                  <a:gd name="connsiteX1873" fmla="*/ 1200222 w 5806384"/>
                  <a:gd name="connsiteY1873" fmla="*/ 1796438 h 4036143"/>
                  <a:gd name="connsiteX1874" fmla="*/ 1422564 w 5806384"/>
                  <a:gd name="connsiteY1874" fmla="*/ 1644906 h 4036143"/>
                  <a:gd name="connsiteX1875" fmla="*/ 1283777 w 5806384"/>
                  <a:gd name="connsiteY1875" fmla="*/ 1640657 h 4036143"/>
                  <a:gd name="connsiteX1876" fmla="*/ 1307852 w 5806384"/>
                  <a:gd name="connsiteY1876" fmla="*/ 1588258 h 4036143"/>
                  <a:gd name="connsiteX1877" fmla="*/ 1422564 w 5806384"/>
                  <a:gd name="connsiteY1877" fmla="*/ 1644906 h 4036143"/>
                  <a:gd name="connsiteX1878" fmla="*/ 1449472 w 5806384"/>
                  <a:gd name="connsiteY1878" fmla="*/ 1647738 h 4036143"/>
                  <a:gd name="connsiteX1879" fmla="*/ 1455137 w 5806384"/>
                  <a:gd name="connsiteY1879" fmla="*/ 1657651 h 4036143"/>
                  <a:gd name="connsiteX1880" fmla="*/ 1432478 w 5806384"/>
                  <a:gd name="connsiteY1880" fmla="*/ 1646322 h 4036143"/>
                  <a:gd name="connsiteX1881" fmla="*/ 1449472 w 5806384"/>
                  <a:gd name="connsiteY1881" fmla="*/ 1647738 h 4036143"/>
                  <a:gd name="connsiteX1882" fmla="*/ 2674477 w 5806384"/>
                  <a:gd name="connsiteY1882" fmla="*/ 2814679 h 4036143"/>
                  <a:gd name="connsiteX1883" fmla="*/ 2674477 w 5806384"/>
                  <a:gd name="connsiteY1883" fmla="*/ 2813263 h 4036143"/>
                  <a:gd name="connsiteX1884" fmla="*/ 2634824 w 5806384"/>
                  <a:gd name="connsiteY1884" fmla="*/ 2942136 h 4036143"/>
                  <a:gd name="connsiteX1885" fmla="*/ 2454968 w 5806384"/>
                  <a:gd name="connsiteY1885" fmla="*/ 2623494 h 4036143"/>
                  <a:gd name="connsiteX1886" fmla="*/ 2531442 w 5806384"/>
                  <a:gd name="connsiteY1886" fmla="*/ 2677309 h 4036143"/>
                  <a:gd name="connsiteX1887" fmla="*/ 2675894 w 5806384"/>
                  <a:gd name="connsiteY1887" fmla="*/ 2810431 h 4036143"/>
                  <a:gd name="connsiteX1888" fmla="*/ 2675894 w 5806384"/>
                  <a:gd name="connsiteY1888" fmla="*/ 2810431 h 4036143"/>
                  <a:gd name="connsiteX1889" fmla="*/ 2677310 w 5806384"/>
                  <a:gd name="connsiteY1889" fmla="*/ 2809015 h 4036143"/>
                  <a:gd name="connsiteX1890" fmla="*/ 2636240 w 5806384"/>
                  <a:gd name="connsiteY1890" fmla="*/ 2750951 h 4036143"/>
                  <a:gd name="connsiteX1891" fmla="*/ 2834507 w 5806384"/>
                  <a:gd name="connsiteY1891" fmla="*/ 2891154 h 4036143"/>
                  <a:gd name="connsiteX1892" fmla="*/ 2668813 w 5806384"/>
                  <a:gd name="connsiteY1892" fmla="*/ 2974709 h 4036143"/>
                  <a:gd name="connsiteX1893" fmla="*/ 2674477 w 5806384"/>
                  <a:gd name="connsiteY1893" fmla="*/ 2814679 h 4036143"/>
                  <a:gd name="connsiteX1894" fmla="*/ 2520112 w 5806384"/>
                  <a:gd name="connsiteY1894" fmla="*/ 2665979 h 4036143"/>
                  <a:gd name="connsiteX1895" fmla="*/ 2452135 w 5806384"/>
                  <a:gd name="connsiteY1895" fmla="*/ 2619245 h 4036143"/>
                  <a:gd name="connsiteX1896" fmla="*/ 2435141 w 5806384"/>
                  <a:gd name="connsiteY1896" fmla="*/ 2589505 h 4036143"/>
                  <a:gd name="connsiteX1897" fmla="*/ 2520112 w 5806384"/>
                  <a:gd name="connsiteY1897" fmla="*/ 2665979 h 4036143"/>
                  <a:gd name="connsiteX1898" fmla="*/ 2654651 w 5806384"/>
                  <a:gd name="connsiteY1898" fmla="*/ 2981790 h 4036143"/>
                  <a:gd name="connsiteX1899" fmla="*/ 2617830 w 5806384"/>
                  <a:gd name="connsiteY1899" fmla="*/ 3000200 h 4036143"/>
                  <a:gd name="connsiteX1900" fmla="*/ 2634824 w 5806384"/>
                  <a:gd name="connsiteY1900" fmla="*/ 2946385 h 4036143"/>
                  <a:gd name="connsiteX1901" fmla="*/ 2654651 w 5806384"/>
                  <a:gd name="connsiteY1901" fmla="*/ 2981790 h 4036143"/>
                  <a:gd name="connsiteX1902" fmla="*/ 2671645 w 5806384"/>
                  <a:gd name="connsiteY1902" fmla="*/ 2827425 h 4036143"/>
                  <a:gd name="connsiteX1903" fmla="*/ 2668813 w 5806384"/>
                  <a:gd name="connsiteY1903" fmla="*/ 2974709 h 4036143"/>
                  <a:gd name="connsiteX1904" fmla="*/ 2657483 w 5806384"/>
                  <a:gd name="connsiteY1904" fmla="*/ 2980374 h 4036143"/>
                  <a:gd name="connsiteX1905" fmla="*/ 2636240 w 5806384"/>
                  <a:gd name="connsiteY1905" fmla="*/ 2943553 h 4036143"/>
                  <a:gd name="connsiteX1906" fmla="*/ 2671645 w 5806384"/>
                  <a:gd name="connsiteY1906" fmla="*/ 2827425 h 4036143"/>
                  <a:gd name="connsiteX1907" fmla="*/ 2668813 w 5806384"/>
                  <a:gd name="connsiteY1907" fmla="*/ 2977541 h 4036143"/>
                  <a:gd name="connsiteX1908" fmla="*/ 2668813 w 5806384"/>
                  <a:gd name="connsiteY1908" fmla="*/ 3001616 h 4036143"/>
                  <a:gd name="connsiteX1909" fmla="*/ 2658899 w 5806384"/>
                  <a:gd name="connsiteY1909" fmla="*/ 2983206 h 4036143"/>
                  <a:gd name="connsiteX1910" fmla="*/ 2668813 w 5806384"/>
                  <a:gd name="connsiteY1910" fmla="*/ 2977541 h 4036143"/>
                  <a:gd name="connsiteX1911" fmla="*/ 2695720 w 5806384"/>
                  <a:gd name="connsiteY1911" fmla="*/ 3054016 h 4036143"/>
                  <a:gd name="connsiteX1912" fmla="*/ 2661732 w 5806384"/>
                  <a:gd name="connsiteY1912" fmla="*/ 3381156 h 4036143"/>
                  <a:gd name="connsiteX1913" fmla="*/ 2670229 w 5806384"/>
                  <a:gd name="connsiteY1913" fmla="*/ 3008697 h 4036143"/>
                  <a:gd name="connsiteX1914" fmla="*/ 2695720 w 5806384"/>
                  <a:gd name="connsiteY1914" fmla="*/ 3054016 h 4036143"/>
                  <a:gd name="connsiteX1915" fmla="*/ 2861415 w 5806384"/>
                  <a:gd name="connsiteY1915" fmla="*/ 2746702 h 4036143"/>
                  <a:gd name="connsiteX1916" fmla="*/ 2797686 w 5806384"/>
                  <a:gd name="connsiteY1916" fmla="*/ 2728292 h 4036143"/>
                  <a:gd name="connsiteX1917" fmla="*/ 2783524 w 5806384"/>
                  <a:gd name="connsiteY1917" fmla="*/ 2685806 h 4036143"/>
                  <a:gd name="connsiteX1918" fmla="*/ 2861415 w 5806384"/>
                  <a:gd name="connsiteY1918" fmla="*/ 2746702 h 4036143"/>
                  <a:gd name="connsiteX1919" fmla="*/ 2865663 w 5806384"/>
                  <a:gd name="connsiteY1919" fmla="*/ 2750951 h 4036143"/>
                  <a:gd name="connsiteX1920" fmla="*/ 2920895 w 5806384"/>
                  <a:gd name="connsiteY1920" fmla="*/ 2793436 h 4036143"/>
                  <a:gd name="connsiteX1921" fmla="*/ 2847253 w 5806384"/>
                  <a:gd name="connsiteY1921" fmla="*/ 2874159 h 4036143"/>
                  <a:gd name="connsiteX1922" fmla="*/ 2797686 w 5806384"/>
                  <a:gd name="connsiteY1922" fmla="*/ 2732540 h 4036143"/>
                  <a:gd name="connsiteX1923" fmla="*/ 2865663 w 5806384"/>
                  <a:gd name="connsiteY1923" fmla="*/ 2750951 h 4036143"/>
                  <a:gd name="connsiteX1924" fmla="*/ 2871328 w 5806384"/>
                  <a:gd name="connsiteY1924" fmla="*/ 2752367 h 4036143"/>
                  <a:gd name="connsiteX1925" fmla="*/ 2940721 w 5806384"/>
                  <a:gd name="connsiteY1925" fmla="*/ 2772194 h 4036143"/>
                  <a:gd name="connsiteX1926" fmla="*/ 2922311 w 5806384"/>
                  <a:gd name="connsiteY1926" fmla="*/ 2792020 h 4036143"/>
                  <a:gd name="connsiteX1927" fmla="*/ 2871328 w 5806384"/>
                  <a:gd name="connsiteY1927" fmla="*/ 2752367 h 4036143"/>
                  <a:gd name="connsiteX1928" fmla="*/ 3208382 w 5806384"/>
                  <a:gd name="connsiteY1928" fmla="*/ 3001616 h 4036143"/>
                  <a:gd name="connsiteX1929" fmla="*/ 3214047 w 5806384"/>
                  <a:gd name="connsiteY1929" fmla="*/ 3015778 h 4036143"/>
                  <a:gd name="connsiteX1930" fmla="*/ 3198468 w 5806384"/>
                  <a:gd name="connsiteY1930" fmla="*/ 3007281 h 4036143"/>
                  <a:gd name="connsiteX1931" fmla="*/ 3208382 w 5806384"/>
                  <a:gd name="connsiteY1931" fmla="*/ 3001616 h 4036143"/>
                  <a:gd name="connsiteX1932" fmla="*/ 4617492 w 5806384"/>
                  <a:gd name="connsiteY1932" fmla="*/ 955221 h 4036143"/>
                  <a:gd name="connsiteX1933" fmla="*/ 4545267 w 5806384"/>
                  <a:gd name="connsiteY1933" fmla="*/ 979296 h 4036143"/>
                  <a:gd name="connsiteX1934" fmla="*/ 4582087 w 5806384"/>
                  <a:gd name="connsiteY1934" fmla="*/ 919816 h 4036143"/>
                  <a:gd name="connsiteX1935" fmla="*/ 4617492 w 5806384"/>
                  <a:gd name="connsiteY1935" fmla="*/ 955221 h 4036143"/>
                  <a:gd name="connsiteX1936" fmla="*/ 4781770 w 5806384"/>
                  <a:gd name="connsiteY1936" fmla="*/ 902822 h 4036143"/>
                  <a:gd name="connsiteX1937" fmla="*/ 4618908 w 5806384"/>
                  <a:gd name="connsiteY1937" fmla="*/ 955221 h 4036143"/>
                  <a:gd name="connsiteX1938" fmla="*/ 4582087 w 5806384"/>
                  <a:gd name="connsiteY1938" fmla="*/ 918400 h 4036143"/>
                  <a:gd name="connsiteX1939" fmla="*/ 4589168 w 5806384"/>
                  <a:gd name="connsiteY1939" fmla="*/ 908486 h 4036143"/>
                  <a:gd name="connsiteX1940" fmla="*/ 4781770 w 5806384"/>
                  <a:gd name="connsiteY1940" fmla="*/ 902822 h 4036143"/>
                  <a:gd name="connsiteX1941" fmla="*/ 5083419 w 5806384"/>
                  <a:gd name="connsiteY1941" fmla="*/ 871665 h 4036143"/>
                  <a:gd name="connsiteX1942" fmla="*/ 5115992 w 5806384"/>
                  <a:gd name="connsiteY1942" fmla="*/ 868833 h 4036143"/>
                  <a:gd name="connsiteX1943" fmla="*/ 5098997 w 5806384"/>
                  <a:gd name="connsiteY1943" fmla="*/ 880163 h 4036143"/>
                  <a:gd name="connsiteX1944" fmla="*/ 5083419 w 5806384"/>
                  <a:gd name="connsiteY1944" fmla="*/ 871665 h 4036143"/>
                  <a:gd name="connsiteX1945" fmla="*/ 5080587 w 5806384"/>
                  <a:gd name="connsiteY1945" fmla="*/ 870249 h 4036143"/>
                  <a:gd name="connsiteX1946" fmla="*/ 4951713 w 5806384"/>
                  <a:gd name="connsiteY1946" fmla="*/ 796607 h 4036143"/>
                  <a:gd name="connsiteX1947" fmla="*/ 5182553 w 5806384"/>
                  <a:gd name="connsiteY1947" fmla="*/ 822099 h 4036143"/>
                  <a:gd name="connsiteX1948" fmla="*/ 5118824 w 5806384"/>
                  <a:gd name="connsiteY1948" fmla="*/ 866001 h 4036143"/>
                  <a:gd name="connsiteX1949" fmla="*/ 5080587 w 5806384"/>
                  <a:gd name="connsiteY1949" fmla="*/ 870249 h 4036143"/>
                  <a:gd name="connsiteX1950" fmla="*/ 5057927 w 5806384"/>
                  <a:gd name="connsiteY1950" fmla="*/ 874498 h 4036143"/>
                  <a:gd name="connsiteX1951" fmla="*/ 5080587 w 5806384"/>
                  <a:gd name="connsiteY1951" fmla="*/ 871665 h 4036143"/>
                  <a:gd name="connsiteX1952" fmla="*/ 5097581 w 5806384"/>
                  <a:gd name="connsiteY1952" fmla="*/ 881579 h 4036143"/>
                  <a:gd name="connsiteX1953" fmla="*/ 5086251 w 5806384"/>
                  <a:gd name="connsiteY1953" fmla="*/ 890076 h 4036143"/>
                  <a:gd name="connsiteX1954" fmla="*/ 5057927 w 5806384"/>
                  <a:gd name="connsiteY1954" fmla="*/ 874498 h 4036143"/>
                  <a:gd name="connsiteX1955" fmla="*/ 5053679 w 5806384"/>
                  <a:gd name="connsiteY1955" fmla="*/ 873082 h 4036143"/>
                  <a:gd name="connsiteX1956" fmla="*/ 4910644 w 5806384"/>
                  <a:gd name="connsiteY1956" fmla="*/ 792359 h 4036143"/>
                  <a:gd name="connsiteX1957" fmla="*/ 4946049 w 5806384"/>
                  <a:gd name="connsiteY1957" fmla="*/ 796607 h 4036143"/>
                  <a:gd name="connsiteX1958" fmla="*/ 5076338 w 5806384"/>
                  <a:gd name="connsiteY1958" fmla="*/ 870249 h 4036143"/>
                  <a:gd name="connsiteX1959" fmla="*/ 5053679 w 5806384"/>
                  <a:gd name="connsiteY1959" fmla="*/ 873082 h 4036143"/>
                  <a:gd name="connsiteX1960" fmla="*/ 4941800 w 5806384"/>
                  <a:gd name="connsiteY1960" fmla="*/ 793775 h 4036143"/>
                  <a:gd name="connsiteX1961" fmla="*/ 4902146 w 5806384"/>
                  <a:gd name="connsiteY1961" fmla="*/ 789526 h 4036143"/>
                  <a:gd name="connsiteX1962" fmla="*/ 4900730 w 5806384"/>
                  <a:gd name="connsiteY1962" fmla="*/ 789526 h 4036143"/>
                  <a:gd name="connsiteX1963" fmla="*/ 5050846 w 5806384"/>
                  <a:gd name="connsiteY1963" fmla="*/ 873082 h 4036143"/>
                  <a:gd name="connsiteX1964" fmla="*/ 4801597 w 5806384"/>
                  <a:gd name="connsiteY1964" fmla="*/ 899989 h 4036143"/>
                  <a:gd name="connsiteX1965" fmla="*/ 4791683 w 5806384"/>
                  <a:gd name="connsiteY1965" fmla="*/ 899989 h 4036143"/>
                  <a:gd name="connsiteX1966" fmla="*/ 4654313 w 5806384"/>
                  <a:gd name="connsiteY1966" fmla="*/ 800856 h 4036143"/>
                  <a:gd name="connsiteX1967" fmla="*/ 4732203 w 5806384"/>
                  <a:gd name="connsiteY1967" fmla="*/ 674815 h 4036143"/>
                  <a:gd name="connsiteX1968" fmla="*/ 4941800 w 5806384"/>
                  <a:gd name="connsiteY1968" fmla="*/ 793775 h 4036143"/>
                  <a:gd name="connsiteX1969" fmla="*/ 4790268 w 5806384"/>
                  <a:gd name="connsiteY1969" fmla="*/ 902822 h 4036143"/>
                  <a:gd name="connsiteX1970" fmla="*/ 4803013 w 5806384"/>
                  <a:gd name="connsiteY1970" fmla="*/ 902822 h 4036143"/>
                  <a:gd name="connsiteX1971" fmla="*/ 5055096 w 5806384"/>
                  <a:gd name="connsiteY1971" fmla="*/ 875914 h 4036143"/>
                  <a:gd name="connsiteX1972" fmla="*/ 5083419 w 5806384"/>
                  <a:gd name="connsiteY1972" fmla="*/ 891492 h 4036143"/>
                  <a:gd name="connsiteX1973" fmla="*/ 4773273 w 5806384"/>
                  <a:gd name="connsiteY1973" fmla="*/ 1106753 h 4036143"/>
                  <a:gd name="connsiteX1974" fmla="*/ 4621740 w 5806384"/>
                  <a:gd name="connsiteY1974" fmla="*/ 956637 h 4036143"/>
                  <a:gd name="connsiteX1975" fmla="*/ 4790268 w 5806384"/>
                  <a:gd name="connsiteY1975" fmla="*/ 902822 h 4036143"/>
                  <a:gd name="connsiteX1976" fmla="*/ 5086251 w 5806384"/>
                  <a:gd name="connsiteY1976" fmla="*/ 891492 h 4036143"/>
                  <a:gd name="connsiteX1977" fmla="*/ 5097581 w 5806384"/>
                  <a:gd name="connsiteY1977" fmla="*/ 882995 h 4036143"/>
                  <a:gd name="connsiteX1978" fmla="*/ 5268940 w 5806384"/>
                  <a:gd name="connsiteY1978" fmla="*/ 980712 h 4036143"/>
                  <a:gd name="connsiteX1979" fmla="*/ 5263275 w 5806384"/>
                  <a:gd name="connsiteY1979" fmla="*/ 989209 h 4036143"/>
                  <a:gd name="connsiteX1980" fmla="*/ 5086251 w 5806384"/>
                  <a:gd name="connsiteY1980" fmla="*/ 891492 h 4036143"/>
                  <a:gd name="connsiteX1981" fmla="*/ 5365241 w 5806384"/>
                  <a:gd name="connsiteY1981" fmla="*/ 841925 h 4036143"/>
                  <a:gd name="connsiteX1982" fmla="*/ 5271773 w 5806384"/>
                  <a:gd name="connsiteY1982" fmla="*/ 979296 h 4036143"/>
                  <a:gd name="connsiteX1983" fmla="*/ 5100413 w 5806384"/>
                  <a:gd name="connsiteY1983" fmla="*/ 881579 h 4036143"/>
                  <a:gd name="connsiteX1984" fmla="*/ 5120240 w 5806384"/>
                  <a:gd name="connsiteY1984" fmla="*/ 867417 h 4036143"/>
                  <a:gd name="connsiteX1985" fmla="*/ 5365241 w 5806384"/>
                  <a:gd name="connsiteY1985" fmla="*/ 841925 h 4036143"/>
                  <a:gd name="connsiteX1986" fmla="*/ 1812017 w 5806384"/>
                  <a:gd name="connsiteY1986" fmla="*/ 1051522 h 4036143"/>
                  <a:gd name="connsiteX1987" fmla="*/ 1752537 w 5806384"/>
                  <a:gd name="connsiteY1987" fmla="*/ 1081262 h 4036143"/>
                  <a:gd name="connsiteX1988" fmla="*/ 1766699 w 5806384"/>
                  <a:gd name="connsiteY1988" fmla="*/ 996290 h 4036143"/>
                  <a:gd name="connsiteX1989" fmla="*/ 1812017 w 5806384"/>
                  <a:gd name="connsiteY1989" fmla="*/ 1051522 h 4036143"/>
                  <a:gd name="connsiteX1990" fmla="*/ 1108170 w 5806384"/>
                  <a:gd name="connsiteY1990" fmla="*/ 946724 h 4036143"/>
                  <a:gd name="connsiteX1991" fmla="*/ 1103921 w 5806384"/>
                  <a:gd name="connsiteY1991" fmla="*/ 959469 h 4036143"/>
                  <a:gd name="connsiteX1992" fmla="*/ 1092592 w 5806384"/>
                  <a:gd name="connsiteY1992" fmla="*/ 938226 h 4036143"/>
                  <a:gd name="connsiteX1993" fmla="*/ 1108170 w 5806384"/>
                  <a:gd name="connsiteY1993" fmla="*/ 946724 h 4036143"/>
                  <a:gd name="connsiteX1994" fmla="*/ 1421148 w 5806384"/>
                  <a:gd name="connsiteY1994" fmla="*/ 1898404 h 4036143"/>
                  <a:gd name="connsiteX1995" fmla="*/ 1559935 w 5806384"/>
                  <a:gd name="connsiteY1995" fmla="*/ 1857334 h 4036143"/>
                  <a:gd name="connsiteX1996" fmla="*/ 1601004 w 5806384"/>
                  <a:gd name="connsiteY1996" fmla="*/ 1935225 h 4036143"/>
                  <a:gd name="connsiteX1997" fmla="*/ 1421148 w 5806384"/>
                  <a:gd name="connsiteY1997" fmla="*/ 1898404 h 4036143"/>
                  <a:gd name="connsiteX1998" fmla="*/ 1742623 w 5806384"/>
                  <a:gd name="connsiteY1998" fmla="*/ 1800687 h 4036143"/>
                  <a:gd name="connsiteX1999" fmla="*/ 1561351 w 5806384"/>
                  <a:gd name="connsiteY1999" fmla="*/ 1854502 h 4036143"/>
                  <a:gd name="connsiteX2000" fmla="*/ 1459385 w 5806384"/>
                  <a:gd name="connsiteY2000" fmla="*/ 1663316 h 4036143"/>
                  <a:gd name="connsiteX2001" fmla="*/ 1742623 w 5806384"/>
                  <a:gd name="connsiteY2001" fmla="*/ 1800687 h 4036143"/>
                  <a:gd name="connsiteX2002" fmla="*/ 2194388 w 5806384"/>
                  <a:gd name="connsiteY2002" fmla="*/ 2439389 h 4036143"/>
                  <a:gd name="connsiteX2003" fmla="*/ 2195805 w 5806384"/>
                  <a:gd name="connsiteY2003" fmla="*/ 2439389 h 4036143"/>
                  <a:gd name="connsiteX2004" fmla="*/ 2395488 w 5806384"/>
                  <a:gd name="connsiteY2004" fmla="*/ 2579592 h 4036143"/>
                  <a:gd name="connsiteX2005" fmla="*/ 2347337 w 5806384"/>
                  <a:gd name="connsiteY2005" fmla="*/ 2797685 h 4036143"/>
                  <a:gd name="connsiteX2006" fmla="*/ 2194388 w 5806384"/>
                  <a:gd name="connsiteY2006" fmla="*/ 2439389 h 4036143"/>
                  <a:gd name="connsiteX2007" fmla="*/ 2192972 w 5806384"/>
                  <a:gd name="connsiteY2007" fmla="*/ 2437973 h 4036143"/>
                  <a:gd name="connsiteX2008" fmla="*/ 2192972 w 5806384"/>
                  <a:gd name="connsiteY2008" fmla="*/ 2437973 h 4036143"/>
                  <a:gd name="connsiteX2009" fmla="*/ 2192972 w 5806384"/>
                  <a:gd name="connsiteY2009" fmla="*/ 2437973 h 4036143"/>
                  <a:gd name="connsiteX2010" fmla="*/ 2192972 w 5806384"/>
                  <a:gd name="connsiteY2010" fmla="*/ 2437973 h 4036143"/>
                  <a:gd name="connsiteX2011" fmla="*/ 4089253 w 5806384"/>
                  <a:gd name="connsiteY2011" fmla="*/ 1708634 h 4036143"/>
                  <a:gd name="connsiteX2012" fmla="*/ 3939136 w 5806384"/>
                  <a:gd name="connsiteY2012" fmla="*/ 1749704 h 4036143"/>
                  <a:gd name="connsiteX2013" fmla="*/ 3971709 w 5806384"/>
                  <a:gd name="connsiteY2013" fmla="*/ 1647738 h 4036143"/>
                  <a:gd name="connsiteX2014" fmla="*/ 4089253 w 5806384"/>
                  <a:gd name="connsiteY2014" fmla="*/ 1708634 h 4036143"/>
                  <a:gd name="connsiteX2015" fmla="*/ 5284518 w 5806384"/>
                  <a:gd name="connsiteY2015" fmla="*/ 1140742 h 4036143"/>
                  <a:gd name="connsiteX2016" fmla="*/ 5356744 w 5806384"/>
                  <a:gd name="connsiteY2016" fmla="*/ 1031695 h 4036143"/>
                  <a:gd name="connsiteX2017" fmla="*/ 5400646 w 5806384"/>
                  <a:gd name="connsiteY2017" fmla="*/ 1057186 h 4036143"/>
                  <a:gd name="connsiteX2018" fmla="*/ 5284518 w 5806384"/>
                  <a:gd name="connsiteY2018" fmla="*/ 1140742 h 4036143"/>
                  <a:gd name="connsiteX2019" fmla="*/ 2801934 w 5806384"/>
                  <a:gd name="connsiteY2019" fmla="*/ 629497 h 4036143"/>
                  <a:gd name="connsiteX2020" fmla="*/ 2818929 w 5806384"/>
                  <a:gd name="connsiteY2020" fmla="*/ 653572 h 4036143"/>
                  <a:gd name="connsiteX2021" fmla="*/ 2541355 w 5806384"/>
                  <a:gd name="connsiteY2021" fmla="*/ 829180 h 4036143"/>
                  <a:gd name="connsiteX2022" fmla="*/ 2801934 w 5806384"/>
                  <a:gd name="connsiteY2022" fmla="*/ 629497 h 4036143"/>
                  <a:gd name="connsiteX2023" fmla="*/ 2532858 w 5806384"/>
                  <a:gd name="connsiteY2023" fmla="*/ 908486 h 4036143"/>
                  <a:gd name="connsiteX2024" fmla="*/ 1926728 w 5806384"/>
                  <a:gd name="connsiteY2024" fmla="*/ 796607 h 4036143"/>
                  <a:gd name="connsiteX2025" fmla="*/ 2129244 w 5806384"/>
                  <a:gd name="connsiteY2025" fmla="*/ 693225 h 4036143"/>
                  <a:gd name="connsiteX2026" fmla="*/ 2532858 w 5806384"/>
                  <a:gd name="connsiteY2026" fmla="*/ 908486 h 4036143"/>
                  <a:gd name="connsiteX2027" fmla="*/ 1710051 w 5806384"/>
                  <a:gd name="connsiteY2027" fmla="*/ 897157 h 4036143"/>
                  <a:gd name="connsiteX2028" fmla="*/ 1753953 w 5806384"/>
                  <a:gd name="connsiteY2028" fmla="*/ 800856 h 4036143"/>
                  <a:gd name="connsiteX2029" fmla="*/ 1763866 w 5806384"/>
                  <a:gd name="connsiteY2029" fmla="*/ 973631 h 4036143"/>
                  <a:gd name="connsiteX2030" fmla="*/ 1710051 w 5806384"/>
                  <a:gd name="connsiteY2030" fmla="*/ 897157 h 4036143"/>
                  <a:gd name="connsiteX2031" fmla="*/ 579930 w 5806384"/>
                  <a:gd name="connsiteY2031" fmla="*/ 1177563 h 4036143"/>
                  <a:gd name="connsiteX2032" fmla="*/ 570017 w 5806384"/>
                  <a:gd name="connsiteY2032" fmla="*/ 1207303 h 4036143"/>
                  <a:gd name="connsiteX2033" fmla="*/ 568601 w 5806384"/>
                  <a:gd name="connsiteY2033" fmla="*/ 1208719 h 4036143"/>
                  <a:gd name="connsiteX2034" fmla="*/ 554439 w 5806384"/>
                  <a:gd name="connsiteY2034" fmla="*/ 1197389 h 4036143"/>
                  <a:gd name="connsiteX2035" fmla="*/ 579930 w 5806384"/>
                  <a:gd name="connsiteY2035" fmla="*/ 1177563 h 4036143"/>
                  <a:gd name="connsiteX2036" fmla="*/ 759787 w 5806384"/>
                  <a:gd name="connsiteY2036" fmla="*/ 871665 h 4036143"/>
                  <a:gd name="connsiteX2037" fmla="*/ 748457 w 5806384"/>
                  <a:gd name="connsiteY2037" fmla="*/ 882995 h 4036143"/>
                  <a:gd name="connsiteX2038" fmla="*/ 747041 w 5806384"/>
                  <a:gd name="connsiteY2038" fmla="*/ 861752 h 4036143"/>
                  <a:gd name="connsiteX2039" fmla="*/ 759787 w 5806384"/>
                  <a:gd name="connsiteY2039" fmla="*/ 871665 h 4036143"/>
                  <a:gd name="connsiteX2040" fmla="*/ 762619 w 5806384"/>
                  <a:gd name="connsiteY2040" fmla="*/ 871665 h 4036143"/>
                  <a:gd name="connsiteX2041" fmla="*/ 948140 w 5806384"/>
                  <a:gd name="connsiteY2041" fmla="*/ 687561 h 4036143"/>
                  <a:gd name="connsiteX2042" fmla="*/ 983545 w 5806384"/>
                  <a:gd name="connsiteY2042" fmla="*/ 749873 h 4036143"/>
                  <a:gd name="connsiteX2043" fmla="*/ 822099 w 5806384"/>
                  <a:gd name="connsiteY2043" fmla="*/ 919816 h 4036143"/>
                  <a:gd name="connsiteX2044" fmla="*/ 762619 w 5806384"/>
                  <a:gd name="connsiteY2044" fmla="*/ 871665 h 4036143"/>
                  <a:gd name="connsiteX2045" fmla="*/ 820683 w 5806384"/>
                  <a:gd name="connsiteY2045" fmla="*/ 921232 h 4036143"/>
                  <a:gd name="connsiteX2046" fmla="*/ 762619 w 5806384"/>
                  <a:gd name="connsiteY2046" fmla="*/ 982128 h 4036143"/>
                  <a:gd name="connsiteX2047" fmla="*/ 756954 w 5806384"/>
                  <a:gd name="connsiteY2047" fmla="*/ 986377 h 4036143"/>
                  <a:gd name="connsiteX2048" fmla="*/ 749873 w 5806384"/>
                  <a:gd name="connsiteY2048" fmla="*/ 884411 h 4036143"/>
                  <a:gd name="connsiteX2049" fmla="*/ 762619 w 5806384"/>
                  <a:gd name="connsiteY2049" fmla="*/ 871665 h 4036143"/>
                  <a:gd name="connsiteX2050" fmla="*/ 820683 w 5806384"/>
                  <a:gd name="connsiteY2050" fmla="*/ 921232 h 4036143"/>
                  <a:gd name="connsiteX2051" fmla="*/ 756954 w 5806384"/>
                  <a:gd name="connsiteY2051" fmla="*/ 989209 h 4036143"/>
                  <a:gd name="connsiteX2052" fmla="*/ 764035 w 5806384"/>
                  <a:gd name="connsiteY2052" fmla="*/ 984961 h 4036143"/>
                  <a:gd name="connsiteX2053" fmla="*/ 822099 w 5806384"/>
                  <a:gd name="connsiteY2053" fmla="*/ 924064 h 4036143"/>
                  <a:gd name="connsiteX2054" fmla="*/ 871666 w 5806384"/>
                  <a:gd name="connsiteY2054" fmla="*/ 965134 h 4036143"/>
                  <a:gd name="connsiteX2055" fmla="*/ 761203 w 5806384"/>
                  <a:gd name="connsiteY2055" fmla="*/ 1045857 h 4036143"/>
                  <a:gd name="connsiteX2056" fmla="*/ 756954 w 5806384"/>
                  <a:gd name="connsiteY2056" fmla="*/ 989209 h 4036143"/>
                  <a:gd name="connsiteX2057" fmla="*/ 584179 w 5806384"/>
                  <a:gd name="connsiteY2057" fmla="*/ 1171898 h 4036143"/>
                  <a:gd name="connsiteX2058" fmla="*/ 602589 w 5806384"/>
                  <a:gd name="connsiteY2058" fmla="*/ 1120915 h 4036143"/>
                  <a:gd name="connsiteX2059" fmla="*/ 616751 w 5806384"/>
                  <a:gd name="connsiteY2059" fmla="*/ 1118083 h 4036143"/>
                  <a:gd name="connsiteX2060" fmla="*/ 592676 w 5806384"/>
                  <a:gd name="connsiteY2060" fmla="*/ 1166233 h 4036143"/>
                  <a:gd name="connsiteX2061" fmla="*/ 584179 w 5806384"/>
                  <a:gd name="connsiteY2061" fmla="*/ 1171898 h 4036143"/>
                  <a:gd name="connsiteX2062" fmla="*/ 591260 w 5806384"/>
                  <a:gd name="connsiteY2062" fmla="*/ 1169066 h 4036143"/>
                  <a:gd name="connsiteX2063" fmla="*/ 572849 w 5806384"/>
                  <a:gd name="connsiteY2063" fmla="*/ 1204470 h 4036143"/>
                  <a:gd name="connsiteX2064" fmla="*/ 571433 w 5806384"/>
                  <a:gd name="connsiteY2064" fmla="*/ 1204470 h 4036143"/>
                  <a:gd name="connsiteX2065" fmla="*/ 582763 w 5806384"/>
                  <a:gd name="connsiteY2065" fmla="*/ 1174730 h 4036143"/>
                  <a:gd name="connsiteX2066" fmla="*/ 591260 w 5806384"/>
                  <a:gd name="connsiteY2066" fmla="*/ 1169066 h 4036143"/>
                  <a:gd name="connsiteX2067" fmla="*/ 490710 w 5806384"/>
                  <a:gd name="connsiteY2067" fmla="*/ 1139326 h 4036143"/>
                  <a:gd name="connsiteX2068" fmla="*/ 490710 w 5806384"/>
                  <a:gd name="connsiteY2068" fmla="*/ 1139326 h 4036143"/>
                  <a:gd name="connsiteX2069" fmla="*/ 599757 w 5806384"/>
                  <a:gd name="connsiteY2069" fmla="*/ 1120915 h 4036143"/>
                  <a:gd name="connsiteX2070" fmla="*/ 579930 w 5806384"/>
                  <a:gd name="connsiteY2070" fmla="*/ 1174730 h 4036143"/>
                  <a:gd name="connsiteX2071" fmla="*/ 550190 w 5806384"/>
                  <a:gd name="connsiteY2071" fmla="*/ 1195973 h 4036143"/>
                  <a:gd name="connsiteX2072" fmla="*/ 435479 w 5806384"/>
                  <a:gd name="connsiteY2072" fmla="*/ 1103921 h 4036143"/>
                  <a:gd name="connsiteX2073" fmla="*/ 608254 w 5806384"/>
                  <a:gd name="connsiteY2073" fmla="*/ 1021782 h 4036143"/>
                  <a:gd name="connsiteX2074" fmla="*/ 490710 w 5806384"/>
                  <a:gd name="connsiteY2074" fmla="*/ 1139326 h 4036143"/>
                  <a:gd name="connsiteX2075" fmla="*/ 684728 w 5806384"/>
                  <a:gd name="connsiteY2075" fmla="*/ 984961 h 4036143"/>
                  <a:gd name="connsiteX2076" fmla="*/ 647908 w 5806384"/>
                  <a:gd name="connsiteY2076" fmla="*/ 1058603 h 4036143"/>
                  <a:gd name="connsiteX2077" fmla="*/ 615335 w 5806384"/>
                  <a:gd name="connsiteY2077" fmla="*/ 1079845 h 4036143"/>
                  <a:gd name="connsiteX2078" fmla="*/ 615335 w 5806384"/>
                  <a:gd name="connsiteY2078" fmla="*/ 1079845 h 4036143"/>
                  <a:gd name="connsiteX2079" fmla="*/ 601173 w 5806384"/>
                  <a:gd name="connsiteY2079" fmla="*/ 1118083 h 4036143"/>
                  <a:gd name="connsiteX2080" fmla="*/ 496375 w 5806384"/>
                  <a:gd name="connsiteY2080" fmla="*/ 1136493 h 4036143"/>
                  <a:gd name="connsiteX2081" fmla="*/ 615335 w 5806384"/>
                  <a:gd name="connsiteY2081" fmla="*/ 1017533 h 4036143"/>
                  <a:gd name="connsiteX2082" fmla="*/ 684728 w 5806384"/>
                  <a:gd name="connsiteY2082" fmla="*/ 984961 h 4036143"/>
                  <a:gd name="connsiteX2083" fmla="*/ 645075 w 5806384"/>
                  <a:gd name="connsiteY2083" fmla="*/ 1062851 h 4036143"/>
                  <a:gd name="connsiteX2084" fmla="*/ 618167 w 5806384"/>
                  <a:gd name="connsiteY2084" fmla="*/ 1115250 h 4036143"/>
                  <a:gd name="connsiteX2085" fmla="*/ 602589 w 5806384"/>
                  <a:gd name="connsiteY2085" fmla="*/ 1118083 h 4036143"/>
                  <a:gd name="connsiteX2086" fmla="*/ 615335 w 5806384"/>
                  <a:gd name="connsiteY2086" fmla="*/ 1081262 h 4036143"/>
                  <a:gd name="connsiteX2087" fmla="*/ 645075 w 5806384"/>
                  <a:gd name="connsiteY2087" fmla="*/ 1062851 h 4036143"/>
                  <a:gd name="connsiteX2088" fmla="*/ 650740 w 5806384"/>
                  <a:gd name="connsiteY2088" fmla="*/ 1057186 h 4036143"/>
                  <a:gd name="connsiteX2089" fmla="*/ 688977 w 5806384"/>
                  <a:gd name="connsiteY2089" fmla="*/ 982128 h 4036143"/>
                  <a:gd name="connsiteX2090" fmla="*/ 688977 w 5806384"/>
                  <a:gd name="connsiteY2090" fmla="*/ 982128 h 4036143"/>
                  <a:gd name="connsiteX2091" fmla="*/ 619584 w 5806384"/>
                  <a:gd name="connsiteY2091" fmla="*/ 1014701 h 4036143"/>
                  <a:gd name="connsiteX2092" fmla="*/ 747041 w 5806384"/>
                  <a:gd name="connsiteY2092" fmla="*/ 887244 h 4036143"/>
                  <a:gd name="connsiteX2093" fmla="*/ 754122 w 5806384"/>
                  <a:gd name="connsiteY2093" fmla="*/ 987793 h 4036143"/>
                  <a:gd name="connsiteX2094" fmla="*/ 650740 w 5806384"/>
                  <a:gd name="connsiteY2094" fmla="*/ 1057186 h 4036143"/>
                  <a:gd name="connsiteX2095" fmla="*/ 647908 w 5806384"/>
                  <a:gd name="connsiteY2095" fmla="*/ 1060019 h 4036143"/>
                  <a:gd name="connsiteX2096" fmla="*/ 754122 w 5806384"/>
                  <a:gd name="connsiteY2096" fmla="*/ 989209 h 4036143"/>
                  <a:gd name="connsiteX2097" fmla="*/ 758370 w 5806384"/>
                  <a:gd name="connsiteY2097" fmla="*/ 1044441 h 4036143"/>
                  <a:gd name="connsiteX2098" fmla="*/ 676231 w 5806384"/>
                  <a:gd name="connsiteY2098" fmla="*/ 1103921 h 4036143"/>
                  <a:gd name="connsiteX2099" fmla="*/ 621000 w 5806384"/>
                  <a:gd name="connsiteY2099" fmla="*/ 1113834 h 4036143"/>
                  <a:gd name="connsiteX2100" fmla="*/ 647908 w 5806384"/>
                  <a:gd name="connsiteY2100" fmla="*/ 1060019 h 4036143"/>
                  <a:gd name="connsiteX2101" fmla="*/ 551606 w 5806384"/>
                  <a:gd name="connsiteY2101" fmla="*/ 1197389 h 4036143"/>
                  <a:gd name="connsiteX2102" fmla="*/ 565768 w 5806384"/>
                  <a:gd name="connsiteY2102" fmla="*/ 1208719 h 4036143"/>
                  <a:gd name="connsiteX2103" fmla="*/ 459554 w 5806384"/>
                  <a:gd name="connsiteY2103" fmla="*/ 1265367 h 4036143"/>
                  <a:gd name="connsiteX2104" fmla="*/ 551606 w 5806384"/>
                  <a:gd name="connsiteY2104" fmla="*/ 1197389 h 4036143"/>
                  <a:gd name="connsiteX2105" fmla="*/ 571433 w 5806384"/>
                  <a:gd name="connsiteY2105" fmla="*/ 1211551 h 4036143"/>
                  <a:gd name="connsiteX2106" fmla="*/ 574265 w 5806384"/>
                  <a:gd name="connsiteY2106" fmla="*/ 1205887 h 4036143"/>
                  <a:gd name="connsiteX2107" fmla="*/ 670566 w 5806384"/>
                  <a:gd name="connsiteY2107" fmla="*/ 1154904 h 4036143"/>
                  <a:gd name="connsiteX2108" fmla="*/ 681896 w 5806384"/>
                  <a:gd name="connsiteY2108" fmla="*/ 1300771 h 4036143"/>
                  <a:gd name="connsiteX2109" fmla="*/ 571433 w 5806384"/>
                  <a:gd name="connsiteY2109" fmla="*/ 1211551 h 4036143"/>
                  <a:gd name="connsiteX2110" fmla="*/ 671983 w 5806384"/>
                  <a:gd name="connsiteY2110" fmla="*/ 1108169 h 4036143"/>
                  <a:gd name="connsiteX2111" fmla="*/ 596925 w 5806384"/>
                  <a:gd name="connsiteY2111" fmla="*/ 1163401 h 4036143"/>
                  <a:gd name="connsiteX2112" fmla="*/ 619584 w 5806384"/>
                  <a:gd name="connsiteY2112" fmla="*/ 1118083 h 4036143"/>
                  <a:gd name="connsiteX2113" fmla="*/ 671983 w 5806384"/>
                  <a:gd name="connsiteY2113" fmla="*/ 1108169 h 4036143"/>
                  <a:gd name="connsiteX2114" fmla="*/ 758370 w 5806384"/>
                  <a:gd name="connsiteY2114" fmla="*/ 1047273 h 4036143"/>
                  <a:gd name="connsiteX2115" fmla="*/ 761203 w 5806384"/>
                  <a:gd name="connsiteY2115" fmla="*/ 1089759 h 4036143"/>
                  <a:gd name="connsiteX2116" fmla="*/ 680480 w 5806384"/>
                  <a:gd name="connsiteY2116" fmla="*/ 1103921 h 4036143"/>
                  <a:gd name="connsiteX2117" fmla="*/ 758370 w 5806384"/>
                  <a:gd name="connsiteY2117" fmla="*/ 1047273 h 4036143"/>
                  <a:gd name="connsiteX2118" fmla="*/ 568601 w 5806384"/>
                  <a:gd name="connsiteY2118" fmla="*/ 1208719 h 4036143"/>
                  <a:gd name="connsiteX2119" fmla="*/ 568601 w 5806384"/>
                  <a:gd name="connsiteY2119" fmla="*/ 1208719 h 4036143"/>
                  <a:gd name="connsiteX2120" fmla="*/ 568601 w 5806384"/>
                  <a:gd name="connsiteY2120" fmla="*/ 1208719 h 4036143"/>
                  <a:gd name="connsiteX2121" fmla="*/ 568601 w 5806384"/>
                  <a:gd name="connsiteY2121" fmla="*/ 1208719 h 4036143"/>
                  <a:gd name="connsiteX2122" fmla="*/ 568601 w 5806384"/>
                  <a:gd name="connsiteY2122" fmla="*/ 1211551 h 4036143"/>
                  <a:gd name="connsiteX2123" fmla="*/ 568601 w 5806384"/>
                  <a:gd name="connsiteY2123" fmla="*/ 1211551 h 4036143"/>
                  <a:gd name="connsiteX2124" fmla="*/ 567185 w 5806384"/>
                  <a:gd name="connsiteY2124" fmla="*/ 1214384 h 4036143"/>
                  <a:gd name="connsiteX2125" fmla="*/ 568601 w 5806384"/>
                  <a:gd name="connsiteY2125" fmla="*/ 1211551 h 4036143"/>
                  <a:gd name="connsiteX2126" fmla="*/ 570017 w 5806384"/>
                  <a:gd name="connsiteY2126" fmla="*/ 1208719 h 4036143"/>
                  <a:gd name="connsiteX2127" fmla="*/ 570017 w 5806384"/>
                  <a:gd name="connsiteY2127" fmla="*/ 1208719 h 4036143"/>
                  <a:gd name="connsiteX2128" fmla="*/ 570017 w 5806384"/>
                  <a:gd name="connsiteY2128" fmla="*/ 1211551 h 4036143"/>
                  <a:gd name="connsiteX2129" fmla="*/ 570017 w 5806384"/>
                  <a:gd name="connsiteY2129" fmla="*/ 1211551 h 4036143"/>
                  <a:gd name="connsiteX2130" fmla="*/ 570017 w 5806384"/>
                  <a:gd name="connsiteY2130" fmla="*/ 1208719 h 4036143"/>
                  <a:gd name="connsiteX2131" fmla="*/ 752706 w 5806384"/>
                  <a:gd name="connsiteY2131" fmla="*/ 2127827 h 4036143"/>
                  <a:gd name="connsiteX2132" fmla="*/ 728630 w 5806384"/>
                  <a:gd name="connsiteY2132" fmla="*/ 2195804 h 4036143"/>
                  <a:gd name="connsiteX2133" fmla="*/ 741376 w 5806384"/>
                  <a:gd name="connsiteY2133" fmla="*/ 2120746 h 4036143"/>
                  <a:gd name="connsiteX2134" fmla="*/ 752706 w 5806384"/>
                  <a:gd name="connsiteY2134" fmla="*/ 2127827 h 4036143"/>
                  <a:gd name="connsiteX2135" fmla="*/ 605422 w 5806384"/>
                  <a:gd name="connsiteY2135" fmla="*/ 1766698 h 4036143"/>
                  <a:gd name="connsiteX2136" fmla="*/ 486461 w 5806384"/>
                  <a:gd name="connsiteY2136" fmla="*/ 1647738 h 4036143"/>
                  <a:gd name="connsiteX2137" fmla="*/ 649323 w 5806384"/>
                  <a:gd name="connsiteY2137" fmla="*/ 1517448 h 4036143"/>
                  <a:gd name="connsiteX2138" fmla="*/ 843342 w 5806384"/>
                  <a:gd name="connsiteY2138" fmla="*/ 1809184 h 4036143"/>
                  <a:gd name="connsiteX2139" fmla="*/ 751289 w 5806384"/>
                  <a:gd name="connsiteY2139" fmla="*/ 1824762 h 4036143"/>
                  <a:gd name="connsiteX2140" fmla="*/ 625248 w 5806384"/>
                  <a:gd name="connsiteY2140" fmla="*/ 1752536 h 4036143"/>
                  <a:gd name="connsiteX2141" fmla="*/ 625248 w 5806384"/>
                  <a:gd name="connsiteY2141" fmla="*/ 1752536 h 4036143"/>
                  <a:gd name="connsiteX2142" fmla="*/ 605422 w 5806384"/>
                  <a:gd name="connsiteY2142" fmla="*/ 1766698 h 4036143"/>
                  <a:gd name="connsiteX2143" fmla="*/ 605422 w 5806384"/>
                  <a:gd name="connsiteY2143" fmla="*/ 1769530 h 4036143"/>
                  <a:gd name="connsiteX2144" fmla="*/ 674815 w 5806384"/>
                  <a:gd name="connsiteY2144" fmla="*/ 1838924 h 4036143"/>
                  <a:gd name="connsiteX2145" fmla="*/ 596925 w 5806384"/>
                  <a:gd name="connsiteY2145" fmla="*/ 1860167 h 4036143"/>
                  <a:gd name="connsiteX2146" fmla="*/ 595508 w 5806384"/>
                  <a:gd name="connsiteY2146" fmla="*/ 1851669 h 4036143"/>
                  <a:gd name="connsiteX2147" fmla="*/ 595508 w 5806384"/>
                  <a:gd name="connsiteY2147" fmla="*/ 1851669 h 4036143"/>
                  <a:gd name="connsiteX2148" fmla="*/ 456722 w 5806384"/>
                  <a:gd name="connsiteY2148" fmla="*/ 1885658 h 4036143"/>
                  <a:gd name="connsiteX2149" fmla="*/ 605422 w 5806384"/>
                  <a:gd name="connsiteY2149" fmla="*/ 1769530 h 4036143"/>
                  <a:gd name="connsiteX2150" fmla="*/ 739960 w 5806384"/>
                  <a:gd name="connsiteY2150" fmla="*/ 2117913 h 4036143"/>
                  <a:gd name="connsiteX2151" fmla="*/ 690393 w 5806384"/>
                  <a:gd name="connsiteY2151" fmla="*/ 2086757 h 4036143"/>
                  <a:gd name="connsiteX2152" fmla="*/ 619584 w 5806384"/>
                  <a:gd name="connsiteY2152" fmla="*/ 1991873 h 4036143"/>
                  <a:gd name="connsiteX2153" fmla="*/ 592676 w 5806384"/>
                  <a:gd name="connsiteY2153" fmla="*/ 1862999 h 4036143"/>
                  <a:gd name="connsiteX2154" fmla="*/ 596925 w 5806384"/>
                  <a:gd name="connsiteY2154" fmla="*/ 1861583 h 4036143"/>
                  <a:gd name="connsiteX2155" fmla="*/ 626665 w 5806384"/>
                  <a:gd name="connsiteY2155" fmla="*/ 1990456 h 4036143"/>
                  <a:gd name="connsiteX2156" fmla="*/ 626665 w 5806384"/>
                  <a:gd name="connsiteY2156" fmla="*/ 1990456 h 4036143"/>
                  <a:gd name="connsiteX2157" fmla="*/ 748457 w 5806384"/>
                  <a:gd name="connsiteY2157" fmla="*/ 2074011 h 4036143"/>
                  <a:gd name="connsiteX2158" fmla="*/ 739960 w 5806384"/>
                  <a:gd name="connsiteY2158" fmla="*/ 2117913 h 4036143"/>
                  <a:gd name="connsiteX2159" fmla="*/ 187645 w 5806384"/>
                  <a:gd name="connsiteY2159" fmla="*/ 2093838 h 4036143"/>
                  <a:gd name="connsiteX2160" fmla="*/ 230131 w 5806384"/>
                  <a:gd name="connsiteY2160" fmla="*/ 1996121 h 4036143"/>
                  <a:gd name="connsiteX2161" fmla="*/ 317935 w 5806384"/>
                  <a:gd name="connsiteY2161" fmla="*/ 1984792 h 4036143"/>
                  <a:gd name="connsiteX2162" fmla="*/ 302357 w 5806384"/>
                  <a:gd name="connsiteY2162" fmla="*/ 2004618 h 4036143"/>
                  <a:gd name="connsiteX2163" fmla="*/ 187645 w 5806384"/>
                  <a:gd name="connsiteY2163" fmla="*/ 2093838 h 4036143"/>
                  <a:gd name="connsiteX2164" fmla="*/ 152241 w 5806384"/>
                  <a:gd name="connsiteY2164" fmla="*/ 2123578 h 4036143"/>
                  <a:gd name="connsiteX2165" fmla="*/ 180564 w 5806384"/>
                  <a:gd name="connsiteY2165" fmla="*/ 2102335 h 4036143"/>
                  <a:gd name="connsiteX2166" fmla="*/ 181980 w 5806384"/>
                  <a:gd name="connsiteY2166" fmla="*/ 2102335 h 4036143"/>
                  <a:gd name="connsiteX2167" fmla="*/ 172067 w 5806384"/>
                  <a:gd name="connsiteY2167" fmla="*/ 2126411 h 4036143"/>
                  <a:gd name="connsiteX2168" fmla="*/ 152241 w 5806384"/>
                  <a:gd name="connsiteY2168" fmla="*/ 2123578 h 4036143"/>
                  <a:gd name="connsiteX2169" fmla="*/ 48858 w 5806384"/>
                  <a:gd name="connsiteY2169" fmla="*/ 2106584 h 4036143"/>
                  <a:gd name="connsiteX2170" fmla="*/ 77182 w 5806384"/>
                  <a:gd name="connsiteY2170" fmla="*/ 2085341 h 4036143"/>
                  <a:gd name="connsiteX2171" fmla="*/ 98425 w 5806384"/>
                  <a:gd name="connsiteY2171" fmla="*/ 2115081 h 4036143"/>
                  <a:gd name="connsiteX2172" fmla="*/ 48858 w 5806384"/>
                  <a:gd name="connsiteY2172" fmla="*/ 2106584 h 4036143"/>
                  <a:gd name="connsiteX2173" fmla="*/ 157905 w 5806384"/>
                  <a:gd name="connsiteY2173" fmla="*/ 2083925 h 4036143"/>
                  <a:gd name="connsiteX2174" fmla="*/ 223050 w 5806384"/>
                  <a:gd name="connsiteY2174" fmla="*/ 1997537 h 4036143"/>
                  <a:gd name="connsiteX2175" fmla="*/ 228715 w 5806384"/>
                  <a:gd name="connsiteY2175" fmla="*/ 1997537 h 4036143"/>
                  <a:gd name="connsiteX2176" fmla="*/ 184813 w 5806384"/>
                  <a:gd name="connsiteY2176" fmla="*/ 2098087 h 4036143"/>
                  <a:gd name="connsiteX2177" fmla="*/ 180564 w 5806384"/>
                  <a:gd name="connsiteY2177" fmla="*/ 2100919 h 4036143"/>
                  <a:gd name="connsiteX2178" fmla="*/ 157905 w 5806384"/>
                  <a:gd name="connsiteY2178" fmla="*/ 2083925 h 4036143"/>
                  <a:gd name="connsiteX2179" fmla="*/ 123917 w 5806384"/>
                  <a:gd name="connsiteY2179" fmla="*/ 2146237 h 4036143"/>
                  <a:gd name="connsiteX2180" fmla="*/ 150824 w 5806384"/>
                  <a:gd name="connsiteY2180" fmla="*/ 2124994 h 4036143"/>
                  <a:gd name="connsiteX2181" fmla="*/ 170651 w 5806384"/>
                  <a:gd name="connsiteY2181" fmla="*/ 2127827 h 4036143"/>
                  <a:gd name="connsiteX2182" fmla="*/ 147992 w 5806384"/>
                  <a:gd name="connsiteY2182" fmla="*/ 2178810 h 4036143"/>
                  <a:gd name="connsiteX2183" fmla="*/ 123917 w 5806384"/>
                  <a:gd name="connsiteY2183" fmla="*/ 2146237 h 4036143"/>
                  <a:gd name="connsiteX2184" fmla="*/ 115420 w 5806384"/>
                  <a:gd name="connsiteY2184" fmla="*/ 2139156 h 4036143"/>
                  <a:gd name="connsiteX2185" fmla="*/ 119668 w 5806384"/>
                  <a:gd name="connsiteY2185" fmla="*/ 2146237 h 4036143"/>
                  <a:gd name="connsiteX2186" fmla="*/ 95593 w 5806384"/>
                  <a:gd name="connsiteY2186" fmla="*/ 2164648 h 4036143"/>
                  <a:gd name="connsiteX2187" fmla="*/ 115420 w 5806384"/>
                  <a:gd name="connsiteY2187" fmla="*/ 2139156 h 4036143"/>
                  <a:gd name="connsiteX2188" fmla="*/ 128165 w 5806384"/>
                  <a:gd name="connsiteY2188" fmla="*/ 2122162 h 4036143"/>
                  <a:gd name="connsiteX2189" fmla="*/ 146575 w 5806384"/>
                  <a:gd name="connsiteY2189" fmla="*/ 2124994 h 4036143"/>
                  <a:gd name="connsiteX2190" fmla="*/ 122500 w 5806384"/>
                  <a:gd name="connsiteY2190" fmla="*/ 2144821 h 4036143"/>
                  <a:gd name="connsiteX2191" fmla="*/ 116836 w 5806384"/>
                  <a:gd name="connsiteY2191" fmla="*/ 2137740 h 4036143"/>
                  <a:gd name="connsiteX2192" fmla="*/ 128165 w 5806384"/>
                  <a:gd name="connsiteY2192" fmla="*/ 2122162 h 4036143"/>
                  <a:gd name="connsiteX2193" fmla="*/ 116836 w 5806384"/>
                  <a:gd name="connsiteY2193" fmla="*/ 2057017 h 4036143"/>
                  <a:gd name="connsiteX2194" fmla="*/ 155073 w 5806384"/>
                  <a:gd name="connsiteY2194" fmla="*/ 2083925 h 4036143"/>
                  <a:gd name="connsiteX2195" fmla="*/ 128165 w 5806384"/>
                  <a:gd name="connsiteY2195" fmla="*/ 2119330 h 4036143"/>
                  <a:gd name="connsiteX2196" fmla="*/ 102674 w 5806384"/>
                  <a:gd name="connsiteY2196" fmla="*/ 2115081 h 4036143"/>
                  <a:gd name="connsiteX2197" fmla="*/ 80015 w 5806384"/>
                  <a:gd name="connsiteY2197" fmla="*/ 2083925 h 4036143"/>
                  <a:gd name="connsiteX2198" fmla="*/ 116836 w 5806384"/>
                  <a:gd name="connsiteY2198" fmla="*/ 2057017 h 4036143"/>
                  <a:gd name="connsiteX2199" fmla="*/ 129581 w 5806384"/>
                  <a:gd name="connsiteY2199" fmla="*/ 2120746 h 4036143"/>
                  <a:gd name="connsiteX2200" fmla="*/ 155073 w 5806384"/>
                  <a:gd name="connsiteY2200" fmla="*/ 2085341 h 4036143"/>
                  <a:gd name="connsiteX2201" fmla="*/ 177732 w 5806384"/>
                  <a:gd name="connsiteY2201" fmla="*/ 2100919 h 4036143"/>
                  <a:gd name="connsiteX2202" fmla="*/ 149408 w 5806384"/>
                  <a:gd name="connsiteY2202" fmla="*/ 2123578 h 4036143"/>
                  <a:gd name="connsiteX2203" fmla="*/ 129581 w 5806384"/>
                  <a:gd name="connsiteY2203" fmla="*/ 2120746 h 4036143"/>
                  <a:gd name="connsiteX2204" fmla="*/ 118252 w 5806384"/>
                  <a:gd name="connsiteY2204" fmla="*/ 2055601 h 4036143"/>
                  <a:gd name="connsiteX2205" fmla="*/ 193310 w 5806384"/>
                  <a:gd name="connsiteY2205" fmla="*/ 2000370 h 4036143"/>
                  <a:gd name="connsiteX2206" fmla="*/ 220218 w 5806384"/>
                  <a:gd name="connsiteY2206" fmla="*/ 1997537 h 4036143"/>
                  <a:gd name="connsiteX2207" fmla="*/ 156489 w 5806384"/>
                  <a:gd name="connsiteY2207" fmla="*/ 2082509 h 4036143"/>
                  <a:gd name="connsiteX2208" fmla="*/ 118252 w 5806384"/>
                  <a:gd name="connsiteY2208" fmla="*/ 2055601 h 4036143"/>
                  <a:gd name="connsiteX2209" fmla="*/ 63020 w 5806384"/>
                  <a:gd name="connsiteY2209" fmla="*/ 2015948 h 4036143"/>
                  <a:gd name="connsiteX2210" fmla="*/ 189061 w 5806384"/>
                  <a:gd name="connsiteY2210" fmla="*/ 2000370 h 4036143"/>
                  <a:gd name="connsiteX2211" fmla="*/ 116836 w 5806384"/>
                  <a:gd name="connsiteY2211" fmla="*/ 2054185 h 4036143"/>
                  <a:gd name="connsiteX2212" fmla="*/ 63020 w 5806384"/>
                  <a:gd name="connsiteY2212" fmla="*/ 2015948 h 4036143"/>
                  <a:gd name="connsiteX2213" fmla="*/ 126749 w 5806384"/>
                  <a:gd name="connsiteY2213" fmla="*/ 2122162 h 4036143"/>
                  <a:gd name="connsiteX2214" fmla="*/ 116836 w 5806384"/>
                  <a:gd name="connsiteY2214" fmla="*/ 2136324 h 4036143"/>
                  <a:gd name="connsiteX2215" fmla="*/ 104090 w 5806384"/>
                  <a:gd name="connsiteY2215" fmla="*/ 2119330 h 4036143"/>
                  <a:gd name="connsiteX2216" fmla="*/ 126749 w 5806384"/>
                  <a:gd name="connsiteY2216" fmla="*/ 2122162 h 4036143"/>
                  <a:gd name="connsiteX2217" fmla="*/ 223050 w 5806384"/>
                  <a:gd name="connsiteY2217" fmla="*/ 1994705 h 4036143"/>
                  <a:gd name="connsiteX2218" fmla="*/ 232963 w 5806384"/>
                  <a:gd name="connsiteY2218" fmla="*/ 1980543 h 4036143"/>
                  <a:gd name="connsiteX2219" fmla="*/ 227299 w 5806384"/>
                  <a:gd name="connsiteY2219" fmla="*/ 1993289 h 4036143"/>
                  <a:gd name="connsiteX2220" fmla="*/ 223050 w 5806384"/>
                  <a:gd name="connsiteY2220" fmla="*/ 1994705 h 4036143"/>
                  <a:gd name="connsiteX2221" fmla="*/ 238628 w 5806384"/>
                  <a:gd name="connsiteY2221" fmla="*/ 1973462 h 4036143"/>
                  <a:gd name="connsiteX2222" fmla="*/ 238628 w 5806384"/>
                  <a:gd name="connsiteY2222" fmla="*/ 1973462 h 4036143"/>
                  <a:gd name="connsiteX2223" fmla="*/ 237212 w 5806384"/>
                  <a:gd name="connsiteY2223" fmla="*/ 1972046 h 4036143"/>
                  <a:gd name="connsiteX2224" fmla="*/ 220218 w 5806384"/>
                  <a:gd name="connsiteY2224" fmla="*/ 1994705 h 4036143"/>
                  <a:gd name="connsiteX2225" fmla="*/ 194726 w 5806384"/>
                  <a:gd name="connsiteY2225" fmla="*/ 1997537 h 4036143"/>
                  <a:gd name="connsiteX2226" fmla="*/ 234380 w 5806384"/>
                  <a:gd name="connsiteY2226" fmla="*/ 1967797 h 4036143"/>
                  <a:gd name="connsiteX2227" fmla="*/ 234380 w 5806384"/>
                  <a:gd name="connsiteY2227" fmla="*/ 1967797 h 4036143"/>
                  <a:gd name="connsiteX2228" fmla="*/ 74350 w 5806384"/>
                  <a:gd name="connsiteY2228" fmla="*/ 1981959 h 4036143"/>
                  <a:gd name="connsiteX2229" fmla="*/ 370334 w 5806384"/>
                  <a:gd name="connsiteY2229" fmla="*/ 1909733 h 4036143"/>
                  <a:gd name="connsiteX2230" fmla="*/ 375999 w 5806384"/>
                  <a:gd name="connsiteY2230" fmla="*/ 1912566 h 4036143"/>
                  <a:gd name="connsiteX2231" fmla="*/ 317935 w 5806384"/>
                  <a:gd name="connsiteY2231" fmla="*/ 1984792 h 4036143"/>
                  <a:gd name="connsiteX2232" fmla="*/ 228715 w 5806384"/>
                  <a:gd name="connsiteY2232" fmla="*/ 1996121 h 4036143"/>
                  <a:gd name="connsiteX2233" fmla="*/ 238628 w 5806384"/>
                  <a:gd name="connsiteY2233" fmla="*/ 1973462 h 4036143"/>
                  <a:gd name="connsiteX2234" fmla="*/ 230131 w 5806384"/>
                  <a:gd name="connsiteY2234" fmla="*/ 1970630 h 4036143"/>
                  <a:gd name="connsiteX2235" fmla="*/ 191894 w 5806384"/>
                  <a:gd name="connsiteY2235" fmla="*/ 1998953 h 4036143"/>
                  <a:gd name="connsiteX2236" fmla="*/ 57356 w 5806384"/>
                  <a:gd name="connsiteY2236" fmla="*/ 2015948 h 4036143"/>
                  <a:gd name="connsiteX2237" fmla="*/ 57356 w 5806384"/>
                  <a:gd name="connsiteY2237" fmla="*/ 2015948 h 4036143"/>
                  <a:gd name="connsiteX2238" fmla="*/ 115420 w 5806384"/>
                  <a:gd name="connsiteY2238" fmla="*/ 2057017 h 4036143"/>
                  <a:gd name="connsiteX2239" fmla="*/ 80015 w 5806384"/>
                  <a:gd name="connsiteY2239" fmla="*/ 2083925 h 4036143"/>
                  <a:gd name="connsiteX2240" fmla="*/ 19118 w 5806384"/>
                  <a:gd name="connsiteY2240" fmla="*/ 1997537 h 4036143"/>
                  <a:gd name="connsiteX2241" fmla="*/ 65853 w 5806384"/>
                  <a:gd name="connsiteY2241" fmla="*/ 1986208 h 4036143"/>
                  <a:gd name="connsiteX2242" fmla="*/ 230131 w 5806384"/>
                  <a:gd name="connsiteY2242" fmla="*/ 1970630 h 4036143"/>
                  <a:gd name="connsiteX2243" fmla="*/ 13454 w 5806384"/>
                  <a:gd name="connsiteY2243" fmla="*/ 1994705 h 4036143"/>
                  <a:gd name="connsiteX2244" fmla="*/ 13454 w 5806384"/>
                  <a:gd name="connsiteY2244" fmla="*/ 1994705 h 4036143"/>
                  <a:gd name="connsiteX2245" fmla="*/ 75766 w 5806384"/>
                  <a:gd name="connsiteY2245" fmla="*/ 2083925 h 4036143"/>
                  <a:gd name="connsiteX2246" fmla="*/ 43194 w 5806384"/>
                  <a:gd name="connsiteY2246" fmla="*/ 2108000 h 4036143"/>
                  <a:gd name="connsiteX2247" fmla="*/ 99841 w 5806384"/>
                  <a:gd name="connsiteY2247" fmla="*/ 2117913 h 4036143"/>
                  <a:gd name="connsiteX2248" fmla="*/ 114003 w 5806384"/>
                  <a:gd name="connsiteY2248" fmla="*/ 2137740 h 4036143"/>
                  <a:gd name="connsiteX2249" fmla="*/ 89928 w 5806384"/>
                  <a:gd name="connsiteY2249" fmla="*/ 2170312 h 4036143"/>
                  <a:gd name="connsiteX2250" fmla="*/ 47442 w 5806384"/>
                  <a:gd name="connsiteY2250" fmla="*/ 2204301 h 4036143"/>
                  <a:gd name="connsiteX2251" fmla="*/ 10621 w 5806384"/>
                  <a:gd name="connsiteY2251" fmla="*/ 1990456 h 4036143"/>
                  <a:gd name="connsiteX2252" fmla="*/ 50275 w 5806384"/>
                  <a:gd name="connsiteY2252" fmla="*/ 1987624 h 4036143"/>
                  <a:gd name="connsiteX2253" fmla="*/ 13454 w 5806384"/>
                  <a:gd name="connsiteY2253" fmla="*/ 1994705 h 4036143"/>
                  <a:gd name="connsiteX2254" fmla="*/ 58772 w 5806384"/>
                  <a:gd name="connsiteY2254" fmla="*/ 2215631 h 4036143"/>
                  <a:gd name="connsiteX2255" fmla="*/ 92760 w 5806384"/>
                  <a:gd name="connsiteY2255" fmla="*/ 2170312 h 4036143"/>
                  <a:gd name="connsiteX2256" fmla="*/ 122500 w 5806384"/>
                  <a:gd name="connsiteY2256" fmla="*/ 2147654 h 4036143"/>
                  <a:gd name="connsiteX2257" fmla="*/ 147992 w 5806384"/>
                  <a:gd name="connsiteY2257" fmla="*/ 2184474 h 4036143"/>
                  <a:gd name="connsiteX2258" fmla="*/ 147992 w 5806384"/>
                  <a:gd name="connsiteY2258" fmla="*/ 2184474 h 4036143"/>
                  <a:gd name="connsiteX2259" fmla="*/ 172067 w 5806384"/>
                  <a:gd name="connsiteY2259" fmla="*/ 2129243 h 4036143"/>
                  <a:gd name="connsiteX2260" fmla="*/ 196142 w 5806384"/>
                  <a:gd name="connsiteY2260" fmla="*/ 2133492 h 4036143"/>
                  <a:gd name="connsiteX2261" fmla="*/ 130998 w 5806384"/>
                  <a:gd name="connsiteY2261" fmla="*/ 2214214 h 4036143"/>
                  <a:gd name="connsiteX2262" fmla="*/ 58772 w 5806384"/>
                  <a:gd name="connsiteY2262" fmla="*/ 2215631 h 4036143"/>
                  <a:gd name="connsiteX2263" fmla="*/ 181980 w 5806384"/>
                  <a:gd name="connsiteY2263" fmla="*/ 2100919 h 4036143"/>
                  <a:gd name="connsiteX2264" fmla="*/ 181980 w 5806384"/>
                  <a:gd name="connsiteY2264" fmla="*/ 2100919 h 4036143"/>
                  <a:gd name="connsiteX2265" fmla="*/ 181980 w 5806384"/>
                  <a:gd name="connsiteY2265" fmla="*/ 2100919 h 4036143"/>
                  <a:gd name="connsiteX2266" fmla="*/ 181980 w 5806384"/>
                  <a:gd name="connsiteY2266" fmla="*/ 2100919 h 4036143"/>
                  <a:gd name="connsiteX2267" fmla="*/ 183397 w 5806384"/>
                  <a:gd name="connsiteY2267" fmla="*/ 2102335 h 4036143"/>
                  <a:gd name="connsiteX2268" fmla="*/ 184813 w 5806384"/>
                  <a:gd name="connsiteY2268" fmla="*/ 2098087 h 4036143"/>
                  <a:gd name="connsiteX2269" fmla="*/ 293860 w 5806384"/>
                  <a:gd name="connsiteY2269" fmla="*/ 2011699 h 4036143"/>
                  <a:gd name="connsiteX2270" fmla="*/ 206056 w 5806384"/>
                  <a:gd name="connsiteY2270" fmla="*/ 2119330 h 4036143"/>
                  <a:gd name="connsiteX2271" fmla="*/ 183397 w 5806384"/>
                  <a:gd name="connsiteY2271" fmla="*/ 2102335 h 4036143"/>
                  <a:gd name="connsiteX2272" fmla="*/ 380247 w 5806384"/>
                  <a:gd name="connsiteY2272" fmla="*/ 1911149 h 4036143"/>
                  <a:gd name="connsiteX2273" fmla="*/ 384496 w 5806384"/>
                  <a:gd name="connsiteY2273" fmla="*/ 1905485 h 4036143"/>
                  <a:gd name="connsiteX2274" fmla="*/ 448224 w 5806384"/>
                  <a:gd name="connsiteY2274" fmla="*/ 1889907 h 4036143"/>
                  <a:gd name="connsiteX2275" fmla="*/ 405739 w 5806384"/>
                  <a:gd name="connsiteY2275" fmla="*/ 1923895 h 4036143"/>
                  <a:gd name="connsiteX2276" fmla="*/ 380247 w 5806384"/>
                  <a:gd name="connsiteY2276" fmla="*/ 1911149 h 4036143"/>
                  <a:gd name="connsiteX2277" fmla="*/ 320767 w 5806384"/>
                  <a:gd name="connsiteY2277" fmla="*/ 1780860 h 4036143"/>
                  <a:gd name="connsiteX2278" fmla="*/ 485046 w 5806384"/>
                  <a:gd name="connsiteY2278" fmla="*/ 1776611 h 4036143"/>
                  <a:gd name="connsiteX2279" fmla="*/ 381663 w 5806384"/>
                  <a:gd name="connsiteY2279" fmla="*/ 1902652 h 4036143"/>
                  <a:gd name="connsiteX2280" fmla="*/ 370334 w 5806384"/>
                  <a:gd name="connsiteY2280" fmla="*/ 1905485 h 4036143"/>
                  <a:gd name="connsiteX2281" fmla="*/ 133830 w 5806384"/>
                  <a:gd name="connsiteY2281" fmla="*/ 1783692 h 4036143"/>
                  <a:gd name="connsiteX2282" fmla="*/ 254206 w 5806384"/>
                  <a:gd name="connsiteY2282" fmla="*/ 1780860 h 4036143"/>
                  <a:gd name="connsiteX2283" fmla="*/ 269784 w 5806384"/>
                  <a:gd name="connsiteY2283" fmla="*/ 1817681 h 4036143"/>
                  <a:gd name="connsiteX2284" fmla="*/ 269784 w 5806384"/>
                  <a:gd name="connsiteY2284" fmla="*/ 1817681 h 4036143"/>
                  <a:gd name="connsiteX2285" fmla="*/ 320767 w 5806384"/>
                  <a:gd name="connsiteY2285" fmla="*/ 1780860 h 4036143"/>
                  <a:gd name="connsiteX2286" fmla="*/ 317935 w 5806384"/>
                  <a:gd name="connsiteY2286" fmla="*/ 1780860 h 4036143"/>
                  <a:gd name="connsiteX2287" fmla="*/ 274033 w 5806384"/>
                  <a:gd name="connsiteY2287" fmla="*/ 1816265 h 4036143"/>
                  <a:gd name="connsiteX2288" fmla="*/ 258455 w 5806384"/>
                  <a:gd name="connsiteY2288" fmla="*/ 1782276 h 4036143"/>
                  <a:gd name="connsiteX2289" fmla="*/ 317935 w 5806384"/>
                  <a:gd name="connsiteY2289" fmla="*/ 1780860 h 4036143"/>
                  <a:gd name="connsiteX2290" fmla="*/ 320767 w 5806384"/>
                  <a:gd name="connsiteY2290" fmla="*/ 1779444 h 4036143"/>
                  <a:gd name="connsiteX2291" fmla="*/ 258455 w 5806384"/>
                  <a:gd name="connsiteY2291" fmla="*/ 1780860 h 4036143"/>
                  <a:gd name="connsiteX2292" fmla="*/ 235796 w 5806384"/>
                  <a:gd name="connsiteY2292" fmla="*/ 1729877 h 4036143"/>
                  <a:gd name="connsiteX2293" fmla="*/ 459554 w 5806384"/>
                  <a:gd name="connsiteY2293" fmla="*/ 1547188 h 4036143"/>
                  <a:gd name="connsiteX2294" fmla="*/ 459554 w 5806384"/>
                  <a:gd name="connsiteY2294" fmla="*/ 1625079 h 4036143"/>
                  <a:gd name="connsiteX2295" fmla="*/ 483629 w 5806384"/>
                  <a:gd name="connsiteY2295" fmla="*/ 1649154 h 4036143"/>
                  <a:gd name="connsiteX2296" fmla="*/ 320767 w 5806384"/>
                  <a:gd name="connsiteY2296" fmla="*/ 1779444 h 4036143"/>
                  <a:gd name="connsiteX2297" fmla="*/ 387328 w 5806384"/>
                  <a:gd name="connsiteY2297" fmla="*/ 1902652 h 4036143"/>
                  <a:gd name="connsiteX2298" fmla="*/ 490710 w 5806384"/>
                  <a:gd name="connsiteY2298" fmla="*/ 1775195 h 4036143"/>
                  <a:gd name="connsiteX2299" fmla="*/ 490710 w 5806384"/>
                  <a:gd name="connsiteY2299" fmla="*/ 1775195 h 4036143"/>
                  <a:gd name="connsiteX2300" fmla="*/ 323599 w 5806384"/>
                  <a:gd name="connsiteY2300" fmla="*/ 1779444 h 4036143"/>
                  <a:gd name="connsiteX2301" fmla="*/ 485046 w 5806384"/>
                  <a:gd name="connsiteY2301" fmla="*/ 1650570 h 4036143"/>
                  <a:gd name="connsiteX2302" fmla="*/ 604006 w 5806384"/>
                  <a:gd name="connsiteY2302" fmla="*/ 1769530 h 4036143"/>
                  <a:gd name="connsiteX2303" fmla="*/ 452473 w 5806384"/>
                  <a:gd name="connsiteY2303" fmla="*/ 1888491 h 4036143"/>
                  <a:gd name="connsiteX2304" fmla="*/ 387328 w 5806384"/>
                  <a:gd name="connsiteY2304" fmla="*/ 1902652 h 4036143"/>
                  <a:gd name="connsiteX2305" fmla="*/ 206056 w 5806384"/>
                  <a:gd name="connsiteY2305" fmla="*/ 2120746 h 4036143"/>
                  <a:gd name="connsiteX2306" fmla="*/ 197558 w 5806384"/>
                  <a:gd name="connsiteY2306" fmla="*/ 2132075 h 4036143"/>
                  <a:gd name="connsiteX2307" fmla="*/ 172067 w 5806384"/>
                  <a:gd name="connsiteY2307" fmla="*/ 2127827 h 4036143"/>
                  <a:gd name="connsiteX2308" fmla="*/ 181980 w 5806384"/>
                  <a:gd name="connsiteY2308" fmla="*/ 2105168 h 4036143"/>
                  <a:gd name="connsiteX2309" fmla="*/ 206056 w 5806384"/>
                  <a:gd name="connsiteY2309" fmla="*/ 2120746 h 4036143"/>
                  <a:gd name="connsiteX2310" fmla="*/ 228715 w 5806384"/>
                  <a:gd name="connsiteY2310" fmla="*/ 2136324 h 4036143"/>
                  <a:gd name="connsiteX2311" fmla="*/ 200391 w 5806384"/>
                  <a:gd name="connsiteY2311" fmla="*/ 2132075 h 4036143"/>
                  <a:gd name="connsiteX2312" fmla="*/ 208888 w 5806384"/>
                  <a:gd name="connsiteY2312" fmla="*/ 2122162 h 4036143"/>
                  <a:gd name="connsiteX2313" fmla="*/ 228715 w 5806384"/>
                  <a:gd name="connsiteY2313" fmla="*/ 2136324 h 4036143"/>
                  <a:gd name="connsiteX2314" fmla="*/ 327848 w 5806384"/>
                  <a:gd name="connsiteY2314" fmla="*/ 1983375 h 4036143"/>
                  <a:gd name="connsiteX2315" fmla="*/ 308022 w 5806384"/>
                  <a:gd name="connsiteY2315" fmla="*/ 1998953 h 4036143"/>
                  <a:gd name="connsiteX2316" fmla="*/ 319351 w 5806384"/>
                  <a:gd name="connsiteY2316" fmla="*/ 1984792 h 4036143"/>
                  <a:gd name="connsiteX2317" fmla="*/ 327848 w 5806384"/>
                  <a:gd name="connsiteY2317" fmla="*/ 1983375 h 4036143"/>
                  <a:gd name="connsiteX2318" fmla="*/ 402906 w 5806384"/>
                  <a:gd name="connsiteY2318" fmla="*/ 1925311 h 4036143"/>
                  <a:gd name="connsiteX2319" fmla="*/ 330680 w 5806384"/>
                  <a:gd name="connsiteY2319" fmla="*/ 1981959 h 4036143"/>
                  <a:gd name="connsiteX2320" fmla="*/ 320767 w 5806384"/>
                  <a:gd name="connsiteY2320" fmla="*/ 1983375 h 4036143"/>
                  <a:gd name="connsiteX2321" fmla="*/ 377415 w 5806384"/>
                  <a:gd name="connsiteY2321" fmla="*/ 1912566 h 4036143"/>
                  <a:gd name="connsiteX2322" fmla="*/ 402906 w 5806384"/>
                  <a:gd name="connsiteY2322" fmla="*/ 1925311 h 4036143"/>
                  <a:gd name="connsiteX2323" fmla="*/ 477965 w 5806384"/>
                  <a:gd name="connsiteY2323" fmla="*/ 1963549 h 4036143"/>
                  <a:gd name="connsiteX2324" fmla="*/ 334929 w 5806384"/>
                  <a:gd name="connsiteY2324" fmla="*/ 1980543 h 4036143"/>
                  <a:gd name="connsiteX2325" fmla="*/ 405739 w 5806384"/>
                  <a:gd name="connsiteY2325" fmla="*/ 1925311 h 4036143"/>
                  <a:gd name="connsiteX2326" fmla="*/ 477965 w 5806384"/>
                  <a:gd name="connsiteY2326" fmla="*/ 1963549 h 4036143"/>
                  <a:gd name="connsiteX2327" fmla="*/ 687561 w 5806384"/>
                  <a:gd name="connsiteY2327" fmla="*/ 1836092 h 4036143"/>
                  <a:gd name="connsiteX2328" fmla="*/ 751289 w 5806384"/>
                  <a:gd name="connsiteY2328" fmla="*/ 1826178 h 4036143"/>
                  <a:gd name="connsiteX2329" fmla="*/ 977880 w 5806384"/>
                  <a:gd name="connsiteY2329" fmla="*/ 1956468 h 4036143"/>
                  <a:gd name="connsiteX2330" fmla="*/ 687561 w 5806384"/>
                  <a:gd name="connsiteY2330" fmla="*/ 1836092 h 4036143"/>
                  <a:gd name="connsiteX2331" fmla="*/ 3391071 w 5806384"/>
                  <a:gd name="connsiteY2331" fmla="*/ 3753614 h 4036143"/>
                  <a:gd name="connsiteX2332" fmla="*/ 3575175 w 5806384"/>
                  <a:gd name="connsiteY2332" fmla="*/ 3889568 h 4036143"/>
                  <a:gd name="connsiteX2333" fmla="*/ 3572343 w 5806384"/>
                  <a:gd name="connsiteY2333" fmla="*/ 3899481 h 4036143"/>
                  <a:gd name="connsiteX2334" fmla="*/ 3393902 w 5806384"/>
                  <a:gd name="connsiteY2334" fmla="*/ 3808845 h 4036143"/>
                  <a:gd name="connsiteX2335" fmla="*/ 3391071 w 5806384"/>
                  <a:gd name="connsiteY2335" fmla="*/ 3753614 h 4036143"/>
                  <a:gd name="connsiteX2336" fmla="*/ 3395319 w 5806384"/>
                  <a:gd name="connsiteY2336" fmla="*/ 3832921 h 4036143"/>
                  <a:gd name="connsiteX2337" fmla="*/ 3393902 w 5806384"/>
                  <a:gd name="connsiteY2337" fmla="*/ 3810261 h 4036143"/>
                  <a:gd name="connsiteX2338" fmla="*/ 3572343 w 5806384"/>
                  <a:gd name="connsiteY2338" fmla="*/ 3900898 h 4036143"/>
                  <a:gd name="connsiteX2339" fmla="*/ 3556764 w 5806384"/>
                  <a:gd name="connsiteY2339" fmla="*/ 3957545 h 4036143"/>
                  <a:gd name="connsiteX2340" fmla="*/ 3395319 w 5806384"/>
                  <a:gd name="connsiteY2340" fmla="*/ 3832921 h 4036143"/>
                  <a:gd name="connsiteX2341" fmla="*/ 3357082 w 5806384"/>
                  <a:gd name="connsiteY2341" fmla="*/ 3803181 h 4036143"/>
                  <a:gd name="connsiteX2342" fmla="*/ 3347168 w 5806384"/>
                  <a:gd name="connsiteY2342" fmla="*/ 3786186 h 4036143"/>
                  <a:gd name="connsiteX2343" fmla="*/ 3392486 w 5806384"/>
                  <a:gd name="connsiteY2343" fmla="*/ 3810261 h 4036143"/>
                  <a:gd name="connsiteX2344" fmla="*/ 3393902 w 5806384"/>
                  <a:gd name="connsiteY2344" fmla="*/ 3831504 h 4036143"/>
                  <a:gd name="connsiteX2345" fmla="*/ 3357082 w 5806384"/>
                  <a:gd name="connsiteY2345" fmla="*/ 3803181 h 4036143"/>
                  <a:gd name="connsiteX2346" fmla="*/ 3359914 w 5806384"/>
                  <a:gd name="connsiteY2346" fmla="*/ 3807429 h 4036143"/>
                  <a:gd name="connsiteX2347" fmla="*/ 3393902 w 5806384"/>
                  <a:gd name="connsiteY2347" fmla="*/ 3834337 h 4036143"/>
                  <a:gd name="connsiteX2348" fmla="*/ 3395319 w 5806384"/>
                  <a:gd name="connsiteY2348" fmla="*/ 3866909 h 4036143"/>
                  <a:gd name="connsiteX2349" fmla="*/ 3359914 w 5806384"/>
                  <a:gd name="connsiteY2349" fmla="*/ 3807429 h 4036143"/>
                  <a:gd name="connsiteX2350" fmla="*/ 3342920 w 5806384"/>
                  <a:gd name="connsiteY2350" fmla="*/ 3784770 h 4036143"/>
                  <a:gd name="connsiteX2351" fmla="*/ 3351416 w 5806384"/>
                  <a:gd name="connsiteY2351" fmla="*/ 3800348 h 4036143"/>
                  <a:gd name="connsiteX2352" fmla="*/ 3311763 w 5806384"/>
                  <a:gd name="connsiteY2352" fmla="*/ 3770608 h 4036143"/>
                  <a:gd name="connsiteX2353" fmla="*/ 3342920 w 5806384"/>
                  <a:gd name="connsiteY2353" fmla="*/ 3784770 h 4036143"/>
                  <a:gd name="connsiteX2354" fmla="*/ 3344336 w 5806384"/>
                  <a:gd name="connsiteY2354" fmla="*/ 3783354 h 4036143"/>
                  <a:gd name="connsiteX2355" fmla="*/ 3274943 w 5806384"/>
                  <a:gd name="connsiteY2355" fmla="*/ 3667226 h 4036143"/>
                  <a:gd name="connsiteX2356" fmla="*/ 3389654 w 5806384"/>
                  <a:gd name="connsiteY2356" fmla="*/ 3752198 h 4036143"/>
                  <a:gd name="connsiteX2357" fmla="*/ 3392486 w 5806384"/>
                  <a:gd name="connsiteY2357" fmla="*/ 3807429 h 4036143"/>
                  <a:gd name="connsiteX2358" fmla="*/ 3344336 w 5806384"/>
                  <a:gd name="connsiteY2358" fmla="*/ 3783354 h 4036143"/>
                  <a:gd name="connsiteX2359" fmla="*/ 3575175 w 5806384"/>
                  <a:gd name="connsiteY2359" fmla="*/ 3900898 h 4036143"/>
                  <a:gd name="connsiteX2360" fmla="*/ 3578007 w 5806384"/>
                  <a:gd name="connsiteY2360" fmla="*/ 3890985 h 4036143"/>
                  <a:gd name="connsiteX2361" fmla="*/ 3630406 w 5806384"/>
                  <a:gd name="connsiteY2361" fmla="*/ 3929221 h 4036143"/>
                  <a:gd name="connsiteX2362" fmla="*/ 3575175 w 5806384"/>
                  <a:gd name="connsiteY2362" fmla="*/ 3900898 h 4036143"/>
                  <a:gd name="connsiteX2363" fmla="*/ 3266445 w 5806384"/>
                  <a:gd name="connsiteY2363" fmla="*/ 3525607 h 4036143"/>
                  <a:gd name="connsiteX2364" fmla="*/ 3317428 w 5806384"/>
                  <a:gd name="connsiteY2364" fmla="*/ 3504364 h 4036143"/>
                  <a:gd name="connsiteX2365" fmla="*/ 3350001 w 5806384"/>
                  <a:gd name="connsiteY2365" fmla="*/ 3573757 h 4036143"/>
                  <a:gd name="connsiteX2366" fmla="*/ 3266445 w 5806384"/>
                  <a:gd name="connsiteY2366" fmla="*/ 3525607 h 4036143"/>
                  <a:gd name="connsiteX2367" fmla="*/ 3265029 w 5806384"/>
                  <a:gd name="connsiteY2367" fmla="*/ 3524191 h 4036143"/>
                  <a:gd name="connsiteX2368" fmla="*/ 3170144 w 5806384"/>
                  <a:gd name="connsiteY2368" fmla="*/ 3468959 h 4036143"/>
                  <a:gd name="connsiteX2369" fmla="*/ 3317428 w 5806384"/>
                  <a:gd name="connsiteY2369" fmla="*/ 3501532 h 4036143"/>
                  <a:gd name="connsiteX2370" fmla="*/ 3265029 w 5806384"/>
                  <a:gd name="connsiteY2370" fmla="*/ 3524191 h 4036143"/>
                  <a:gd name="connsiteX2371" fmla="*/ 3361330 w 5806384"/>
                  <a:gd name="connsiteY2371" fmla="*/ 3511445 h 4036143"/>
                  <a:gd name="connsiteX2372" fmla="*/ 3359914 w 5806384"/>
                  <a:gd name="connsiteY2372" fmla="*/ 3711128 h 4036143"/>
                  <a:gd name="connsiteX2373" fmla="*/ 3233873 w 5806384"/>
                  <a:gd name="connsiteY2373" fmla="*/ 3538353 h 4036143"/>
                  <a:gd name="connsiteX2374" fmla="*/ 3265029 w 5806384"/>
                  <a:gd name="connsiteY2374" fmla="*/ 3525607 h 4036143"/>
                  <a:gd name="connsiteX2375" fmla="*/ 3355666 w 5806384"/>
                  <a:gd name="connsiteY2375" fmla="*/ 3578006 h 4036143"/>
                  <a:gd name="connsiteX2376" fmla="*/ 3355666 w 5806384"/>
                  <a:gd name="connsiteY2376" fmla="*/ 3578006 h 4036143"/>
                  <a:gd name="connsiteX2377" fmla="*/ 3320261 w 5806384"/>
                  <a:gd name="connsiteY2377" fmla="*/ 3501532 h 4036143"/>
                  <a:gd name="connsiteX2378" fmla="*/ 3320261 w 5806384"/>
                  <a:gd name="connsiteY2378" fmla="*/ 3501532 h 4036143"/>
                  <a:gd name="connsiteX2379" fmla="*/ 3361330 w 5806384"/>
                  <a:gd name="connsiteY2379" fmla="*/ 3511445 h 4036143"/>
                  <a:gd name="connsiteX2380" fmla="*/ 3668644 w 5806384"/>
                  <a:gd name="connsiteY2380" fmla="*/ 3749365 h 4036143"/>
                  <a:gd name="connsiteX2381" fmla="*/ 3780523 w 5806384"/>
                  <a:gd name="connsiteY2381" fmla="*/ 3692718 h 4036143"/>
                  <a:gd name="connsiteX2382" fmla="*/ 3756448 w 5806384"/>
                  <a:gd name="connsiteY2382" fmla="*/ 3757862 h 4036143"/>
                  <a:gd name="connsiteX2383" fmla="*/ 3668644 w 5806384"/>
                  <a:gd name="connsiteY2383" fmla="*/ 3749365 h 4036143"/>
                  <a:gd name="connsiteX2384" fmla="*/ 4385236 w 5806384"/>
                  <a:gd name="connsiteY2384" fmla="*/ 3800348 h 4036143"/>
                  <a:gd name="connsiteX2385" fmla="*/ 4422058 w 5806384"/>
                  <a:gd name="connsiteY2385" fmla="*/ 3784770 h 4036143"/>
                  <a:gd name="connsiteX2386" fmla="*/ 4451797 w 5806384"/>
                  <a:gd name="connsiteY2386" fmla="*/ 3818759 h 4036143"/>
                  <a:gd name="connsiteX2387" fmla="*/ 4426306 w 5806384"/>
                  <a:gd name="connsiteY2387" fmla="*/ 3815926 h 4036143"/>
                  <a:gd name="connsiteX2388" fmla="*/ 4385236 w 5806384"/>
                  <a:gd name="connsiteY2388" fmla="*/ 3800348 h 4036143"/>
                  <a:gd name="connsiteX2389" fmla="*/ 4431971 w 5806384"/>
                  <a:gd name="connsiteY2389" fmla="*/ 3820175 h 4036143"/>
                  <a:gd name="connsiteX2390" fmla="*/ 4453214 w 5806384"/>
                  <a:gd name="connsiteY2390" fmla="*/ 3821591 h 4036143"/>
                  <a:gd name="connsiteX2391" fmla="*/ 4461711 w 5806384"/>
                  <a:gd name="connsiteY2391" fmla="*/ 3831504 h 4036143"/>
                  <a:gd name="connsiteX2392" fmla="*/ 4431971 w 5806384"/>
                  <a:gd name="connsiteY2392" fmla="*/ 3820175 h 4036143"/>
                  <a:gd name="connsiteX2393" fmla="*/ 4361162 w 5806384"/>
                  <a:gd name="connsiteY2393" fmla="*/ 3811678 h 4036143"/>
                  <a:gd name="connsiteX2394" fmla="*/ 4382405 w 5806384"/>
                  <a:gd name="connsiteY2394" fmla="*/ 3803181 h 4036143"/>
                  <a:gd name="connsiteX2395" fmla="*/ 4417809 w 5806384"/>
                  <a:gd name="connsiteY2395" fmla="*/ 3817342 h 4036143"/>
                  <a:gd name="connsiteX2396" fmla="*/ 4361162 w 5806384"/>
                  <a:gd name="connsiteY2396" fmla="*/ 3811678 h 4036143"/>
                  <a:gd name="connsiteX2397" fmla="*/ 4514110 w 5806384"/>
                  <a:gd name="connsiteY2397" fmla="*/ 3895233 h 4036143"/>
                  <a:gd name="connsiteX2398" fmla="*/ 4361162 w 5806384"/>
                  <a:gd name="connsiteY2398" fmla="*/ 3837169 h 4036143"/>
                  <a:gd name="connsiteX2399" fmla="*/ 4473040 w 5806384"/>
                  <a:gd name="connsiteY2399" fmla="*/ 3845666 h 4036143"/>
                  <a:gd name="connsiteX2400" fmla="*/ 4514110 w 5806384"/>
                  <a:gd name="connsiteY2400" fmla="*/ 3895233 h 4036143"/>
                  <a:gd name="connsiteX2401" fmla="*/ 4474457 w 5806384"/>
                  <a:gd name="connsiteY2401" fmla="*/ 3844250 h 4036143"/>
                  <a:gd name="connsiteX2402" fmla="*/ 4468792 w 5806384"/>
                  <a:gd name="connsiteY2402" fmla="*/ 3837169 h 4036143"/>
                  <a:gd name="connsiteX2403" fmla="*/ 4487202 w 5806384"/>
                  <a:gd name="connsiteY2403" fmla="*/ 3844250 h 4036143"/>
                  <a:gd name="connsiteX2404" fmla="*/ 4474457 w 5806384"/>
                  <a:gd name="connsiteY2404" fmla="*/ 3844250 h 4036143"/>
                  <a:gd name="connsiteX2405" fmla="*/ 4521191 w 5806384"/>
                  <a:gd name="connsiteY2405" fmla="*/ 3899481 h 4036143"/>
                  <a:gd name="connsiteX2406" fmla="*/ 4702464 w 5806384"/>
                  <a:gd name="connsiteY2406" fmla="*/ 3967459 h 4036143"/>
                  <a:gd name="connsiteX2407" fmla="*/ 4586336 w 5806384"/>
                  <a:gd name="connsiteY2407" fmla="*/ 3990118 h 4036143"/>
                  <a:gd name="connsiteX2408" fmla="*/ 4446133 w 5806384"/>
                  <a:gd name="connsiteY2408" fmla="*/ 3963210 h 4036143"/>
                  <a:gd name="connsiteX2409" fmla="*/ 4539602 w 5806384"/>
                  <a:gd name="connsiteY2409" fmla="*/ 3922140 h 4036143"/>
                  <a:gd name="connsiteX2410" fmla="*/ 4539602 w 5806384"/>
                  <a:gd name="connsiteY2410" fmla="*/ 3922140 h 4036143"/>
                  <a:gd name="connsiteX2411" fmla="*/ 4521191 w 5806384"/>
                  <a:gd name="connsiteY2411" fmla="*/ 3899481 h 4036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Lst>
                <a:rect l="l" t="t" r="r" b="b"/>
                <a:pathLst>
                  <a:path w="5806384" h="4036143">
                    <a:moveTo>
                      <a:pt x="5707959" y="799440"/>
                    </a:moveTo>
                    <a:lnTo>
                      <a:pt x="5707959" y="799440"/>
                    </a:lnTo>
                    <a:lnTo>
                      <a:pt x="5491282" y="1038776"/>
                    </a:lnTo>
                    <a:lnTo>
                      <a:pt x="5413392" y="945307"/>
                    </a:lnTo>
                    <a:lnTo>
                      <a:pt x="5413392" y="945307"/>
                    </a:lnTo>
                    <a:lnTo>
                      <a:pt x="5358160" y="1028863"/>
                    </a:lnTo>
                    <a:lnTo>
                      <a:pt x="5274605" y="980712"/>
                    </a:lnTo>
                    <a:lnTo>
                      <a:pt x="5369489" y="841925"/>
                    </a:lnTo>
                    <a:lnTo>
                      <a:pt x="5557843" y="822099"/>
                    </a:lnTo>
                    <a:lnTo>
                      <a:pt x="5557843" y="822099"/>
                    </a:lnTo>
                    <a:lnTo>
                      <a:pt x="5471455" y="690393"/>
                    </a:lnTo>
                    <a:lnTo>
                      <a:pt x="5471455" y="690393"/>
                    </a:lnTo>
                    <a:lnTo>
                      <a:pt x="5368073" y="840509"/>
                    </a:lnTo>
                    <a:lnTo>
                      <a:pt x="5124488" y="866001"/>
                    </a:lnTo>
                    <a:lnTo>
                      <a:pt x="5189634" y="820683"/>
                    </a:lnTo>
                    <a:lnTo>
                      <a:pt x="4947464" y="795191"/>
                    </a:lnTo>
                    <a:lnTo>
                      <a:pt x="4732203" y="673399"/>
                    </a:lnTo>
                    <a:lnTo>
                      <a:pt x="4732203" y="673399"/>
                    </a:lnTo>
                    <a:lnTo>
                      <a:pt x="4652897" y="800856"/>
                    </a:lnTo>
                    <a:lnTo>
                      <a:pt x="4393734" y="613919"/>
                    </a:lnTo>
                    <a:lnTo>
                      <a:pt x="4393734" y="613919"/>
                    </a:lnTo>
                    <a:lnTo>
                      <a:pt x="4410728" y="748457"/>
                    </a:lnTo>
                    <a:lnTo>
                      <a:pt x="4273358" y="611086"/>
                    </a:lnTo>
                    <a:lnTo>
                      <a:pt x="4273358" y="611086"/>
                    </a:lnTo>
                    <a:lnTo>
                      <a:pt x="3893818" y="545942"/>
                    </a:lnTo>
                    <a:lnTo>
                      <a:pt x="3893818" y="545942"/>
                    </a:lnTo>
                    <a:lnTo>
                      <a:pt x="3593586" y="928313"/>
                    </a:lnTo>
                    <a:lnTo>
                      <a:pt x="3593586" y="929729"/>
                    </a:lnTo>
                    <a:lnTo>
                      <a:pt x="3960379" y="720133"/>
                    </a:lnTo>
                    <a:lnTo>
                      <a:pt x="4039686" y="882995"/>
                    </a:lnTo>
                    <a:lnTo>
                      <a:pt x="3978790" y="921232"/>
                    </a:lnTo>
                    <a:lnTo>
                      <a:pt x="3449134" y="933978"/>
                    </a:lnTo>
                    <a:lnTo>
                      <a:pt x="3174393" y="623832"/>
                    </a:lnTo>
                    <a:lnTo>
                      <a:pt x="3177225" y="608254"/>
                    </a:lnTo>
                    <a:lnTo>
                      <a:pt x="3454799" y="734295"/>
                    </a:lnTo>
                    <a:lnTo>
                      <a:pt x="3454799" y="734295"/>
                    </a:lnTo>
                    <a:lnTo>
                      <a:pt x="3529857" y="350507"/>
                    </a:lnTo>
                    <a:lnTo>
                      <a:pt x="3529857" y="350507"/>
                    </a:lnTo>
                    <a:lnTo>
                      <a:pt x="3402400" y="91344"/>
                    </a:lnTo>
                    <a:lnTo>
                      <a:pt x="3402400" y="91344"/>
                    </a:lnTo>
                    <a:lnTo>
                      <a:pt x="3146069" y="10621"/>
                    </a:lnTo>
                    <a:lnTo>
                      <a:pt x="3146069" y="10621"/>
                    </a:lnTo>
                    <a:lnTo>
                      <a:pt x="3229624" y="139495"/>
                    </a:lnTo>
                    <a:lnTo>
                      <a:pt x="3310347" y="340594"/>
                    </a:lnTo>
                    <a:lnTo>
                      <a:pt x="3214047" y="401490"/>
                    </a:lnTo>
                    <a:lnTo>
                      <a:pt x="3219711" y="367502"/>
                    </a:lnTo>
                    <a:lnTo>
                      <a:pt x="3219711" y="367502"/>
                    </a:lnTo>
                    <a:lnTo>
                      <a:pt x="3048352" y="456722"/>
                    </a:lnTo>
                    <a:lnTo>
                      <a:pt x="2974710" y="347675"/>
                    </a:lnTo>
                    <a:lnTo>
                      <a:pt x="2974710" y="347675"/>
                    </a:lnTo>
                    <a:lnTo>
                      <a:pt x="2902485" y="537444"/>
                    </a:lnTo>
                    <a:lnTo>
                      <a:pt x="2902485" y="537444"/>
                    </a:lnTo>
                    <a:lnTo>
                      <a:pt x="3049768" y="459554"/>
                    </a:lnTo>
                    <a:lnTo>
                      <a:pt x="3071011" y="492126"/>
                    </a:lnTo>
                    <a:lnTo>
                      <a:pt x="2820345" y="650740"/>
                    </a:lnTo>
                    <a:lnTo>
                      <a:pt x="2801934" y="625248"/>
                    </a:lnTo>
                    <a:lnTo>
                      <a:pt x="2801934" y="625248"/>
                    </a:lnTo>
                    <a:lnTo>
                      <a:pt x="2521529" y="840509"/>
                    </a:lnTo>
                    <a:lnTo>
                      <a:pt x="2521529" y="840509"/>
                    </a:lnTo>
                    <a:lnTo>
                      <a:pt x="2522945" y="841925"/>
                    </a:lnTo>
                    <a:lnTo>
                      <a:pt x="2522945" y="841925"/>
                    </a:lnTo>
                    <a:lnTo>
                      <a:pt x="2820345" y="653572"/>
                    </a:lnTo>
                    <a:lnTo>
                      <a:pt x="2991704" y="894324"/>
                    </a:lnTo>
                    <a:lnTo>
                      <a:pt x="2743871" y="945307"/>
                    </a:lnTo>
                    <a:lnTo>
                      <a:pt x="2539939" y="908486"/>
                    </a:lnTo>
                    <a:lnTo>
                      <a:pt x="2129244" y="690393"/>
                    </a:lnTo>
                    <a:lnTo>
                      <a:pt x="2129244" y="690393"/>
                    </a:lnTo>
                    <a:lnTo>
                      <a:pt x="1921064" y="796607"/>
                    </a:lnTo>
                    <a:lnTo>
                      <a:pt x="1921064" y="796607"/>
                    </a:lnTo>
                    <a:lnTo>
                      <a:pt x="2539939" y="909903"/>
                    </a:lnTo>
                    <a:lnTo>
                      <a:pt x="3069595" y="1191725"/>
                    </a:lnTo>
                    <a:lnTo>
                      <a:pt x="3068178" y="1195973"/>
                    </a:lnTo>
                    <a:lnTo>
                      <a:pt x="3046935" y="1180395"/>
                    </a:lnTo>
                    <a:lnTo>
                      <a:pt x="3046935" y="1180395"/>
                    </a:lnTo>
                    <a:lnTo>
                      <a:pt x="2548436" y="1388575"/>
                    </a:lnTo>
                    <a:lnTo>
                      <a:pt x="2415314" y="1398488"/>
                    </a:lnTo>
                    <a:lnTo>
                      <a:pt x="2231209" y="1225713"/>
                    </a:lnTo>
                    <a:lnTo>
                      <a:pt x="2231209" y="1225713"/>
                    </a:lnTo>
                    <a:lnTo>
                      <a:pt x="2236874" y="1414067"/>
                    </a:lnTo>
                    <a:lnTo>
                      <a:pt x="2115082" y="1423980"/>
                    </a:lnTo>
                    <a:lnTo>
                      <a:pt x="2004619" y="1286609"/>
                    </a:lnTo>
                    <a:lnTo>
                      <a:pt x="2265198" y="1167649"/>
                    </a:lnTo>
                    <a:lnTo>
                      <a:pt x="2266614" y="1167649"/>
                    </a:lnTo>
                    <a:lnTo>
                      <a:pt x="2024445" y="1154904"/>
                    </a:lnTo>
                    <a:lnTo>
                      <a:pt x="2024445" y="1154904"/>
                    </a:lnTo>
                    <a:lnTo>
                      <a:pt x="1962133" y="1232794"/>
                    </a:lnTo>
                    <a:lnTo>
                      <a:pt x="1923896" y="1186060"/>
                    </a:lnTo>
                    <a:lnTo>
                      <a:pt x="2103752" y="907070"/>
                    </a:lnTo>
                    <a:lnTo>
                      <a:pt x="2103752" y="907070"/>
                    </a:lnTo>
                    <a:lnTo>
                      <a:pt x="1813433" y="1050106"/>
                    </a:lnTo>
                    <a:lnTo>
                      <a:pt x="1766699" y="990626"/>
                    </a:lnTo>
                    <a:lnTo>
                      <a:pt x="1766699" y="990626"/>
                    </a:lnTo>
                    <a:lnTo>
                      <a:pt x="1751121" y="1081262"/>
                    </a:lnTo>
                    <a:lnTo>
                      <a:pt x="1589675" y="1161985"/>
                    </a:lnTo>
                    <a:lnTo>
                      <a:pt x="1710051" y="898573"/>
                    </a:lnTo>
                    <a:lnTo>
                      <a:pt x="1768115" y="979296"/>
                    </a:lnTo>
                    <a:lnTo>
                      <a:pt x="1768115" y="979296"/>
                    </a:lnTo>
                    <a:lnTo>
                      <a:pt x="1756785" y="792359"/>
                    </a:lnTo>
                    <a:lnTo>
                      <a:pt x="1756785" y="790943"/>
                    </a:lnTo>
                    <a:lnTo>
                      <a:pt x="1710051" y="894324"/>
                    </a:lnTo>
                    <a:lnTo>
                      <a:pt x="1626496" y="776781"/>
                    </a:lnTo>
                    <a:lnTo>
                      <a:pt x="1626496" y="776781"/>
                    </a:lnTo>
                    <a:lnTo>
                      <a:pt x="1507536" y="949556"/>
                    </a:lnTo>
                    <a:lnTo>
                      <a:pt x="1282361" y="1034527"/>
                    </a:lnTo>
                    <a:lnTo>
                      <a:pt x="1273864" y="1030279"/>
                    </a:lnTo>
                    <a:lnTo>
                      <a:pt x="1152071" y="830596"/>
                    </a:lnTo>
                    <a:lnTo>
                      <a:pt x="1152071" y="830596"/>
                    </a:lnTo>
                    <a:lnTo>
                      <a:pt x="1112418" y="943891"/>
                    </a:lnTo>
                    <a:lnTo>
                      <a:pt x="1094008" y="933978"/>
                    </a:lnTo>
                    <a:lnTo>
                      <a:pt x="1064268" y="881579"/>
                    </a:lnTo>
                    <a:lnTo>
                      <a:pt x="1106754" y="816434"/>
                    </a:lnTo>
                    <a:lnTo>
                      <a:pt x="1432478" y="841925"/>
                    </a:lnTo>
                    <a:lnTo>
                      <a:pt x="1432478" y="841925"/>
                    </a:lnTo>
                    <a:lnTo>
                      <a:pt x="1432478" y="840509"/>
                    </a:lnTo>
                    <a:lnTo>
                      <a:pt x="1181812" y="783862"/>
                    </a:lnTo>
                    <a:lnTo>
                      <a:pt x="1357419" y="717301"/>
                    </a:lnTo>
                    <a:lnTo>
                      <a:pt x="1358835" y="717301"/>
                    </a:lnTo>
                    <a:lnTo>
                      <a:pt x="1136494" y="739960"/>
                    </a:lnTo>
                    <a:lnTo>
                      <a:pt x="1116667" y="615335"/>
                    </a:lnTo>
                    <a:lnTo>
                      <a:pt x="1116667" y="615335"/>
                    </a:lnTo>
                    <a:lnTo>
                      <a:pt x="1023198" y="713052"/>
                    </a:lnTo>
                    <a:lnTo>
                      <a:pt x="952389" y="670566"/>
                    </a:lnTo>
                    <a:lnTo>
                      <a:pt x="1109586" y="613919"/>
                    </a:lnTo>
                    <a:lnTo>
                      <a:pt x="1109586" y="613919"/>
                    </a:lnTo>
                    <a:lnTo>
                      <a:pt x="1109586" y="612503"/>
                    </a:lnTo>
                    <a:lnTo>
                      <a:pt x="949556" y="670566"/>
                    </a:lnTo>
                    <a:lnTo>
                      <a:pt x="949556" y="670566"/>
                    </a:lnTo>
                    <a:lnTo>
                      <a:pt x="1023198" y="714468"/>
                    </a:lnTo>
                    <a:lnTo>
                      <a:pt x="990626" y="748457"/>
                    </a:lnTo>
                    <a:lnTo>
                      <a:pt x="953805" y="683312"/>
                    </a:lnTo>
                    <a:lnTo>
                      <a:pt x="953805" y="683312"/>
                    </a:lnTo>
                    <a:lnTo>
                      <a:pt x="766868" y="870249"/>
                    </a:lnTo>
                    <a:lnTo>
                      <a:pt x="751289" y="857504"/>
                    </a:lnTo>
                    <a:lnTo>
                      <a:pt x="751289" y="857504"/>
                    </a:lnTo>
                    <a:lnTo>
                      <a:pt x="752706" y="885827"/>
                    </a:lnTo>
                    <a:lnTo>
                      <a:pt x="619584" y="1018949"/>
                    </a:lnTo>
                    <a:lnTo>
                      <a:pt x="438311" y="1105337"/>
                    </a:lnTo>
                    <a:lnTo>
                      <a:pt x="438311" y="1105337"/>
                    </a:lnTo>
                    <a:lnTo>
                      <a:pt x="555855" y="1198806"/>
                    </a:lnTo>
                    <a:lnTo>
                      <a:pt x="451057" y="1275280"/>
                    </a:lnTo>
                    <a:lnTo>
                      <a:pt x="451057" y="1275280"/>
                    </a:lnTo>
                    <a:lnTo>
                      <a:pt x="452473" y="1276696"/>
                    </a:lnTo>
                    <a:lnTo>
                      <a:pt x="574265" y="1212967"/>
                    </a:lnTo>
                    <a:lnTo>
                      <a:pt x="575682" y="1212967"/>
                    </a:lnTo>
                    <a:lnTo>
                      <a:pt x="570017" y="1229962"/>
                    </a:lnTo>
                    <a:lnTo>
                      <a:pt x="570017" y="1229962"/>
                    </a:lnTo>
                    <a:lnTo>
                      <a:pt x="571433" y="1229962"/>
                    </a:lnTo>
                    <a:lnTo>
                      <a:pt x="571433" y="1229962"/>
                    </a:lnTo>
                    <a:lnTo>
                      <a:pt x="578514" y="1214384"/>
                    </a:lnTo>
                    <a:lnTo>
                      <a:pt x="693225" y="1305020"/>
                    </a:lnTo>
                    <a:lnTo>
                      <a:pt x="681896" y="1152071"/>
                    </a:lnTo>
                    <a:lnTo>
                      <a:pt x="681896" y="1152071"/>
                    </a:lnTo>
                    <a:lnTo>
                      <a:pt x="584179" y="1203054"/>
                    </a:lnTo>
                    <a:lnTo>
                      <a:pt x="602589" y="1166233"/>
                    </a:lnTo>
                    <a:lnTo>
                      <a:pt x="684728" y="1106753"/>
                    </a:lnTo>
                    <a:lnTo>
                      <a:pt x="772532" y="1091175"/>
                    </a:lnTo>
                    <a:lnTo>
                      <a:pt x="772532" y="1091175"/>
                    </a:lnTo>
                    <a:lnTo>
                      <a:pt x="769700" y="1045857"/>
                    </a:lnTo>
                    <a:lnTo>
                      <a:pt x="884411" y="963718"/>
                    </a:lnTo>
                    <a:lnTo>
                      <a:pt x="884411" y="963718"/>
                    </a:lnTo>
                    <a:lnTo>
                      <a:pt x="832012" y="921232"/>
                    </a:lnTo>
                    <a:lnTo>
                      <a:pt x="993458" y="751289"/>
                    </a:lnTo>
                    <a:lnTo>
                      <a:pt x="1026030" y="807937"/>
                    </a:lnTo>
                    <a:lnTo>
                      <a:pt x="979296" y="803688"/>
                    </a:lnTo>
                    <a:lnTo>
                      <a:pt x="979296" y="803688"/>
                    </a:lnTo>
                    <a:lnTo>
                      <a:pt x="1030279" y="898573"/>
                    </a:lnTo>
                    <a:lnTo>
                      <a:pt x="1030279" y="898573"/>
                    </a:lnTo>
                    <a:lnTo>
                      <a:pt x="1050106" y="909903"/>
                    </a:lnTo>
                    <a:lnTo>
                      <a:pt x="949556" y="1065684"/>
                    </a:lnTo>
                    <a:lnTo>
                      <a:pt x="949556" y="1065684"/>
                    </a:lnTo>
                    <a:lnTo>
                      <a:pt x="1052938" y="1140742"/>
                    </a:lnTo>
                    <a:lnTo>
                      <a:pt x="1052938" y="1140742"/>
                    </a:lnTo>
                    <a:lnTo>
                      <a:pt x="1113834" y="963718"/>
                    </a:lnTo>
                    <a:lnTo>
                      <a:pt x="1136494" y="1003371"/>
                    </a:lnTo>
                    <a:lnTo>
                      <a:pt x="1177563" y="1469298"/>
                    </a:lnTo>
                    <a:lnTo>
                      <a:pt x="1164817" y="1514616"/>
                    </a:lnTo>
                    <a:lnTo>
                      <a:pt x="1164817" y="1514616"/>
                    </a:lnTo>
                    <a:lnTo>
                      <a:pt x="1181812" y="1523113"/>
                    </a:lnTo>
                    <a:lnTo>
                      <a:pt x="1186060" y="1565599"/>
                    </a:lnTo>
                    <a:lnTo>
                      <a:pt x="898573" y="1559934"/>
                    </a:lnTo>
                    <a:lnTo>
                      <a:pt x="916984" y="1494789"/>
                    </a:lnTo>
                    <a:lnTo>
                      <a:pt x="916984" y="1494789"/>
                    </a:lnTo>
                    <a:lnTo>
                      <a:pt x="705971" y="1548605"/>
                    </a:lnTo>
                    <a:lnTo>
                      <a:pt x="705971" y="1548605"/>
                    </a:lnTo>
                    <a:lnTo>
                      <a:pt x="881579" y="1803519"/>
                    </a:lnTo>
                    <a:lnTo>
                      <a:pt x="854671" y="1807768"/>
                    </a:lnTo>
                    <a:lnTo>
                      <a:pt x="659237" y="1514616"/>
                    </a:lnTo>
                    <a:lnTo>
                      <a:pt x="659237" y="1514616"/>
                    </a:lnTo>
                    <a:lnTo>
                      <a:pt x="494959" y="1646322"/>
                    </a:lnTo>
                    <a:lnTo>
                      <a:pt x="470884" y="1622247"/>
                    </a:lnTo>
                    <a:lnTo>
                      <a:pt x="470884" y="1541524"/>
                    </a:lnTo>
                    <a:lnTo>
                      <a:pt x="470884" y="1541524"/>
                    </a:lnTo>
                    <a:lnTo>
                      <a:pt x="242877" y="1728461"/>
                    </a:lnTo>
                    <a:lnTo>
                      <a:pt x="242877" y="1728461"/>
                    </a:lnTo>
                    <a:lnTo>
                      <a:pt x="265536" y="1779444"/>
                    </a:lnTo>
                    <a:lnTo>
                      <a:pt x="139495" y="1782276"/>
                    </a:lnTo>
                    <a:lnTo>
                      <a:pt x="138079" y="1782276"/>
                    </a:lnTo>
                    <a:lnTo>
                      <a:pt x="378831" y="1906901"/>
                    </a:lnTo>
                    <a:lnTo>
                      <a:pt x="72934" y="1981959"/>
                    </a:lnTo>
                    <a:lnTo>
                      <a:pt x="17702" y="1986208"/>
                    </a:lnTo>
                    <a:lnTo>
                      <a:pt x="17702" y="1986208"/>
                    </a:lnTo>
                    <a:lnTo>
                      <a:pt x="55939" y="2205717"/>
                    </a:lnTo>
                    <a:lnTo>
                      <a:pt x="55939" y="2205717"/>
                    </a:lnTo>
                    <a:lnTo>
                      <a:pt x="95593" y="2174561"/>
                    </a:lnTo>
                    <a:lnTo>
                      <a:pt x="64437" y="2217047"/>
                    </a:lnTo>
                    <a:lnTo>
                      <a:pt x="64437" y="2217047"/>
                    </a:lnTo>
                    <a:lnTo>
                      <a:pt x="140911" y="2215631"/>
                    </a:lnTo>
                    <a:lnTo>
                      <a:pt x="140911" y="2215631"/>
                    </a:lnTo>
                    <a:lnTo>
                      <a:pt x="207472" y="2133492"/>
                    </a:lnTo>
                    <a:lnTo>
                      <a:pt x="245709" y="2140573"/>
                    </a:lnTo>
                    <a:lnTo>
                      <a:pt x="217385" y="2120746"/>
                    </a:lnTo>
                    <a:lnTo>
                      <a:pt x="309437" y="2006034"/>
                    </a:lnTo>
                    <a:lnTo>
                      <a:pt x="339178" y="1983375"/>
                    </a:lnTo>
                    <a:lnTo>
                      <a:pt x="492127" y="1964965"/>
                    </a:lnTo>
                    <a:lnTo>
                      <a:pt x="492127" y="1964965"/>
                    </a:lnTo>
                    <a:lnTo>
                      <a:pt x="414236" y="1925311"/>
                    </a:lnTo>
                    <a:lnTo>
                      <a:pt x="459554" y="1889907"/>
                    </a:lnTo>
                    <a:lnTo>
                      <a:pt x="601173" y="1854502"/>
                    </a:lnTo>
                    <a:lnTo>
                      <a:pt x="602589" y="1861583"/>
                    </a:lnTo>
                    <a:lnTo>
                      <a:pt x="595508" y="1862999"/>
                    </a:lnTo>
                    <a:lnTo>
                      <a:pt x="595508" y="1862999"/>
                    </a:lnTo>
                    <a:lnTo>
                      <a:pt x="623832" y="1994705"/>
                    </a:lnTo>
                    <a:lnTo>
                      <a:pt x="694642" y="2091006"/>
                    </a:lnTo>
                    <a:lnTo>
                      <a:pt x="745625" y="2122162"/>
                    </a:lnTo>
                    <a:lnTo>
                      <a:pt x="730047" y="2209966"/>
                    </a:lnTo>
                    <a:lnTo>
                      <a:pt x="730047" y="2209966"/>
                    </a:lnTo>
                    <a:lnTo>
                      <a:pt x="731463" y="2209966"/>
                    </a:lnTo>
                    <a:lnTo>
                      <a:pt x="761203" y="2129243"/>
                    </a:lnTo>
                    <a:lnTo>
                      <a:pt x="761203" y="2129243"/>
                    </a:lnTo>
                    <a:lnTo>
                      <a:pt x="748457" y="2120746"/>
                    </a:lnTo>
                    <a:lnTo>
                      <a:pt x="756954" y="2076844"/>
                    </a:lnTo>
                    <a:lnTo>
                      <a:pt x="756954" y="2076844"/>
                    </a:lnTo>
                    <a:lnTo>
                      <a:pt x="635162" y="1991873"/>
                    </a:lnTo>
                    <a:lnTo>
                      <a:pt x="605422" y="1862999"/>
                    </a:lnTo>
                    <a:lnTo>
                      <a:pt x="686144" y="1840340"/>
                    </a:lnTo>
                    <a:lnTo>
                      <a:pt x="686144" y="1840340"/>
                    </a:lnTo>
                    <a:lnTo>
                      <a:pt x="613919" y="1768114"/>
                    </a:lnTo>
                    <a:lnTo>
                      <a:pt x="632329" y="1753952"/>
                    </a:lnTo>
                    <a:lnTo>
                      <a:pt x="755538" y="1824762"/>
                    </a:lnTo>
                    <a:lnTo>
                      <a:pt x="680480" y="1834675"/>
                    </a:lnTo>
                    <a:lnTo>
                      <a:pt x="679064" y="1834675"/>
                    </a:lnTo>
                    <a:lnTo>
                      <a:pt x="992042" y="1963549"/>
                    </a:lnTo>
                    <a:lnTo>
                      <a:pt x="992042" y="1963549"/>
                    </a:lnTo>
                    <a:lnTo>
                      <a:pt x="993458" y="1962132"/>
                    </a:lnTo>
                    <a:lnTo>
                      <a:pt x="754122" y="1824762"/>
                    </a:lnTo>
                    <a:lnTo>
                      <a:pt x="843342" y="1810600"/>
                    </a:lnTo>
                    <a:lnTo>
                      <a:pt x="875914" y="1858750"/>
                    </a:lnTo>
                    <a:lnTo>
                      <a:pt x="875914" y="1858750"/>
                    </a:lnTo>
                    <a:lnTo>
                      <a:pt x="1200222" y="1807768"/>
                    </a:lnTo>
                    <a:lnTo>
                      <a:pt x="1200222" y="1807768"/>
                    </a:lnTo>
                    <a:lnTo>
                      <a:pt x="1200222" y="1800687"/>
                    </a:lnTo>
                    <a:lnTo>
                      <a:pt x="1204471" y="1806351"/>
                    </a:lnTo>
                    <a:lnTo>
                      <a:pt x="1204471" y="1806351"/>
                    </a:lnTo>
                    <a:lnTo>
                      <a:pt x="1282361" y="1642073"/>
                    </a:lnTo>
                    <a:lnTo>
                      <a:pt x="1426813" y="1646322"/>
                    </a:lnTo>
                    <a:lnTo>
                      <a:pt x="1455137" y="1660484"/>
                    </a:lnTo>
                    <a:lnTo>
                      <a:pt x="1557102" y="1854502"/>
                    </a:lnTo>
                    <a:lnTo>
                      <a:pt x="1411235" y="1896988"/>
                    </a:lnTo>
                    <a:lnTo>
                      <a:pt x="1409818" y="1896988"/>
                    </a:lnTo>
                    <a:lnTo>
                      <a:pt x="1601004" y="1936641"/>
                    </a:lnTo>
                    <a:lnTo>
                      <a:pt x="1601004" y="1936641"/>
                    </a:lnTo>
                    <a:lnTo>
                      <a:pt x="1558518" y="1855918"/>
                    </a:lnTo>
                    <a:lnTo>
                      <a:pt x="1742623" y="1802103"/>
                    </a:lnTo>
                    <a:lnTo>
                      <a:pt x="2133492" y="1993289"/>
                    </a:lnTo>
                    <a:lnTo>
                      <a:pt x="2049937" y="2452135"/>
                    </a:lnTo>
                    <a:lnTo>
                      <a:pt x="1928145" y="2469129"/>
                    </a:lnTo>
                    <a:lnTo>
                      <a:pt x="1480628" y="2091006"/>
                    </a:lnTo>
                    <a:lnTo>
                      <a:pt x="1480628" y="2091006"/>
                    </a:lnTo>
                    <a:lnTo>
                      <a:pt x="1489125" y="2110833"/>
                    </a:lnTo>
                    <a:lnTo>
                      <a:pt x="1350338" y="2127827"/>
                    </a:lnTo>
                    <a:lnTo>
                      <a:pt x="1331928" y="2051352"/>
                    </a:lnTo>
                    <a:lnTo>
                      <a:pt x="1331928" y="2051352"/>
                    </a:lnTo>
                    <a:lnTo>
                      <a:pt x="1224297" y="2141989"/>
                    </a:lnTo>
                    <a:lnTo>
                      <a:pt x="1215800" y="2143405"/>
                    </a:lnTo>
                    <a:lnTo>
                      <a:pt x="1079846" y="1964965"/>
                    </a:lnTo>
                    <a:lnTo>
                      <a:pt x="1079846" y="1964965"/>
                    </a:lnTo>
                    <a:lnTo>
                      <a:pt x="1123748" y="2231209"/>
                    </a:lnTo>
                    <a:lnTo>
                      <a:pt x="1123748" y="2231209"/>
                    </a:lnTo>
                    <a:lnTo>
                      <a:pt x="1208719" y="2157567"/>
                    </a:lnTo>
                    <a:lnTo>
                      <a:pt x="1295107" y="2249619"/>
                    </a:lnTo>
                    <a:lnTo>
                      <a:pt x="1380078" y="2361498"/>
                    </a:lnTo>
                    <a:lnTo>
                      <a:pt x="1363084" y="2401152"/>
                    </a:lnTo>
                    <a:lnTo>
                      <a:pt x="1329095" y="2411065"/>
                    </a:lnTo>
                    <a:lnTo>
                      <a:pt x="1329095" y="2411065"/>
                    </a:lnTo>
                    <a:lnTo>
                      <a:pt x="1266783" y="2571095"/>
                    </a:lnTo>
                    <a:lnTo>
                      <a:pt x="1266783" y="2571095"/>
                    </a:lnTo>
                    <a:lnTo>
                      <a:pt x="1469299" y="2735373"/>
                    </a:lnTo>
                    <a:lnTo>
                      <a:pt x="1438142" y="2779275"/>
                    </a:lnTo>
                    <a:lnTo>
                      <a:pt x="1438142" y="2779275"/>
                    </a:lnTo>
                    <a:lnTo>
                      <a:pt x="1547189" y="2799101"/>
                    </a:lnTo>
                    <a:lnTo>
                      <a:pt x="1644906" y="2878408"/>
                    </a:lnTo>
                    <a:lnTo>
                      <a:pt x="1644906" y="2878408"/>
                    </a:lnTo>
                    <a:lnTo>
                      <a:pt x="1701554" y="2876992"/>
                    </a:lnTo>
                    <a:lnTo>
                      <a:pt x="1693057" y="2986038"/>
                    </a:lnTo>
                    <a:lnTo>
                      <a:pt x="1520281" y="3005865"/>
                    </a:lnTo>
                    <a:lnTo>
                      <a:pt x="1520281" y="3005865"/>
                    </a:lnTo>
                    <a:lnTo>
                      <a:pt x="1520281" y="3007281"/>
                    </a:lnTo>
                    <a:lnTo>
                      <a:pt x="1520281" y="3007281"/>
                    </a:lnTo>
                    <a:lnTo>
                      <a:pt x="1690224" y="3018611"/>
                    </a:lnTo>
                    <a:lnTo>
                      <a:pt x="1678895" y="3151733"/>
                    </a:lnTo>
                    <a:lnTo>
                      <a:pt x="1678895" y="3151733"/>
                    </a:lnTo>
                    <a:lnTo>
                      <a:pt x="1888491" y="3028524"/>
                    </a:lnTo>
                    <a:lnTo>
                      <a:pt x="1888491" y="3028524"/>
                    </a:lnTo>
                    <a:lnTo>
                      <a:pt x="1691640" y="3015778"/>
                    </a:lnTo>
                    <a:lnTo>
                      <a:pt x="1694473" y="2987455"/>
                    </a:lnTo>
                    <a:lnTo>
                      <a:pt x="1844589" y="2970460"/>
                    </a:lnTo>
                    <a:lnTo>
                      <a:pt x="1887075" y="3027108"/>
                    </a:lnTo>
                    <a:lnTo>
                      <a:pt x="1887075" y="3027108"/>
                    </a:lnTo>
                    <a:lnTo>
                      <a:pt x="1888491" y="3025692"/>
                    </a:lnTo>
                    <a:lnTo>
                      <a:pt x="1863000" y="2967628"/>
                    </a:lnTo>
                    <a:lnTo>
                      <a:pt x="2001786" y="2952050"/>
                    </a:lnTo>
                    <a:lnTo>
                      <a:pt x="2001786" y="2952050"/>
                    </a:lnTo>
                    <a:lnTo>
                      <a:pt x="1964966" y="2801934"/>
                    </a:lnTo>
                    <a:lnTo>
                      <a:pt x="2055602" y="2831674"/>
                    </a:lnTo>
                    <a:lnTo>
                      <a:pt x="2057018" y="2831674"/>
                    </a:lnTo>
                    <a:lnTo>
                      <a:pt x="1940890" y="2712714"/>
                    </a:lnTo>
                    <a:lnTo>
                      <a:pt x="1940890" y="2712714"/>
                    </a:lnTo>
                    <a:lnTo>
                      <a:pt x="1962133" y="2799101"/>
                    </a:lnTo>
                    <a:lnTo>
                      <a:pt x="1759618" y="2732540"/>
                    </a:lnTo>
                    <a:lnTo>
                      <a:pt x="1489125" y="2112249"/>
                    </a:lnTo>
                    <a:lnTo>
                      <a:pt x="1490541" y="2112249"/>
                    </a:lnTo>
                    <a:lnTo>
                      <a:pt x="1707219" y="2500285"/>
                    </a:lnTo>
                    <a:lnTo>
                      <a:pt x="1707219" y="2500285"/>
                    </a:lnTo>
                    <a:lnTo>
                      <a:pt x="1925312" y="2470545"/>
                    </a:lnTo>
                    <a:lnTo>
                      <a:pt x="1938058" y="2481874"/>
                    </a:lnTo>
                    <a:lnTo>
                      <a:pt x="1782277" y="2508782"/>
                    </a:lnTo>
                    <a:lnTo>
                      <a:pt x="1782277" y="2508782"/>
                    </a:lnTo>
                    <a:lnTo>
                      <a:pt x="2018781" y="2614997"/>
                    </a:lnTo>
                    <a:lnTo>
                      <a:pt x="2008867" y="2671644"/>
                    </a:lnTo>
                    <a:lnTo>
                      <a:pt x="2042856" y="2624910"/>
                    </a:lnTo>
                    <a:lnTo>
                      <a:pt x="2195805" y="2694303"/>
                    </a:lnTo>
                    <a:lnTo>
                      <a:pt x="2197221" y="2694303"/>
                    </a:lnTo>
                    <a:lnTo>
                      <a:pt x="2069764" y="2586673"/>
                    </a:lnTo>
                    <a:lnTo>
                      <a:pt x="2177394" y="2440805"/>
                    </a:lnTo>
                    <a:lnTo>
                      <a:pt x="2188724" y="2439389"/>
                    </a:lnTo>
                    <a:lnTo>
                      <a:pt x="2344505" y="2803350"/>
                    </a:lnTo>
                    <a:lnTo>
                      <a:pt x="2344505" y="2803350"/>
                    </a:lnTo>
                    <a:lnTo>
                      <a:pt x="2394071" y="2579592"/>
                    </a:lnTo>
                    <a:lnTo>
                      <a:pt x="2447887" y="2617829"/>
                    </a:lnTo>
                    <a:lnTo>
                      <a:pt x="2630576" y="2942136"/>
                    </a:lnTo>
                    <a:lnTo>
                      <a:pt x="2613581" y="2998784"/>
                    </a:lnTo>
                    <a:lnTo>
                      <a:pt x="2498870" y="3055432"/>
                    </a:lnTo>
                    <a:lnTo>
                      <a:pt x="2498870" y="3055432"/>
                    </a:lnTo>
                    <a:lnTo>
                      <a:pt x="2576761" y="3116328"/>
                    </a:lnTo>
                    <a:lnTo>
                      <a:pt x="2532858" y="3257947"/>
                    </a:lnTo>
                    <a:lnTo>
                      <a:pt x="2532858" y="3257947"/>
                    </a:lnTo>
                    <a:lnTo>
                      <a:pt x="2656067" y="3174392"/>
                    </a:lnTo>
                    <a:lnTo>
                      <a:pt x="2656067" y="3174392"/>
                    </a:lnTo>
                    <a:lnTo>
                      <a:pt x="2579592" y="3114912"/>
                    </a:lnTo>
                    <a:lnTo>
                      <a:pt x="2614997" y="3000200"/>
                    </a:lnTo>
                    <a:lnTo>
                      <a:pt x="2653234" y="2981790"/>
                    </a:lnTo>
                    <a:lnTo>
                      <a:pt x="2665980" y="3003033"/>
                    </a:lnTo>
                    <a:lnTo>
                      <a:pt x="2657483" y="3405231"/>
                    </a:lnTo>
                    <a:lnTo>
                      <a:pt x="2657483" y="3405231"/>
                    </a:lnTo>
                    <a:lnTo>
                      <a:pt x="2658899" y="3405231"/>
                    </a:lnTo>
                    <a:lnTo>
                      <a:pt x="2658899" y="3405231"/>
                    </a:lnTo>
                    <a:lnTo>
                      <a:pt x="2695720" y="3051183"/>
                    </a:lnTo>
                    <a:lnTo>
                      <a:pt x="2695720" y="3051183"/>
                    </a:lnTo>
                    <a:lnTo>
                      <a:pt x="2668813" y="3001616"/>
                    </a:lnTo>
                    <a:lnTo>
                      <a:pt x="2668813" y="2973293"/>
                    </a:lnTo>
                    <a:lnTo>
                      <a:pt x="2837339" y="2888321"/>
                    </a:lnTo>
                    <a:lnTo>
                      <a:pt x="2837339" y="2888321"/>
                    </a:lnTo>
                    <a:lnTo>
                      <a:pt x="2631991" y="2742454"/>
                    </a:lnTo>
                    <a:lnTo>
                      <a:pt x="2579592" y="2668812"/>
                    </a:lnTo>
                    <a:lnTo>
                      <a:pt x="2792021" y="2728292"/>
                    </a:lnTo>
                    <a:lnTo>
                      <a:pt x="2843004" y="2874159"/>
                    </a:lnTo>
                    <a:lnTo>
                      <a:pt x="2843004" y="2874159"/>
                    </a:lnTo>
                    <a:lnTo>
                      <a:pt x="2919478" y="2790604"/>
                    </a:lnTo>
                    <a:lnTo>
                      <a:pt x="3184306" y="2991703"/>
                    </a:lnTo>
                    <a:lnTo>
                      <a:pt x="3184306" y="2991703"/>
                    </a:lnTo>
                    <a:lnTo>
                      <a:pt x="3197052" y="2980374"/>
                    </a:lnTo>
                    <a:lnTo>
                      <a:pt x="3204133" y="2997368"/>
                    </a:lnTo>
                    <a:lnTo>
                      <a:pt x="3191387" y="3004449"/>
                    </a:lnTo>
                    <a:lnTo>
                      <a:pt x="3191387" y="3004449"/>
                    </a:lnTo>
                    <a:lnTo>
                      <a:pt x="3212630" y="3017195"/>
                    </a:lnTo>
                    <a:lnTo>
                      <a:pt x="3270694" y="3144652"/>
                    </a:lnTo>
                    <a:lnTo>
                      <a:pt x="3270694" y="3144652"/>
                    </a:lnTo>
                    <a:lnTo>
                      <a:pt x="3376909" y="3140403"/>
                    </a:lnTo>
                    <a:lnTo>
                      <a:pt x="3396735" y="3242369"/>
                    </a:lnTo>
                    <a:lnTo>
                      <a:pt x="3396735" y="3242369"/>
                    </a:lnTo>
                    <a:lnTo>
                      <a:pt x="3480290" y="3165895"/>
                    </a:lnTo>
                    <a:lnTo>
                      <a:pt x="3553933" y="3206964"/>
                    </a:lnTo>
                    <a:lnTo>
                      <a:pt x="3430724" y="3306097"/>
                    </a:lnTo>
                    <a:lnTo>
                      <a:pt x="3277775" y="3231040"/>
                    </a:lnTo>
                    <a:lnTo>
                      <a:pt x="3277775" y="3231040"/>
                    </a:lnTo>
                    <a:lnTo>
                      <a:pt x="3248035" y="3364161"/>
                    </a:lnTo>
                    <a:lnTo>
                      <a:pt x="3248035" y="3364161"/>
                    </a:lnTo>
                    <a:lnTo>
                      <a:pt x="3311763" y="3500116"/>
                    </a:lnTo>
                    <a:lnTo>
                      <a:pt x="3154566" y="3464711"/>
                    </a:lnTo>
                    <a:lnTo>
                      <a:pt x="3153150" y="3464711"/>
                    </a:lnTo>
                    <a:lnTo>
                      <a:pt x="3257948" y="3525607"/>
                    </a:lnTo>
                    <a:lnTo>
                      <a:pt x="3226792" y="3538353"/>
                    </a:lnTo>
                    <a:lnTo>
                      <a:pt x="3226792" y="3538353"/>
                    </a:lnTo>
                    <a:lnTo>
                      <a:pt x="3357082" y="3718209"/>
                    </a:lnTo>
                    <a:lnTo>
                      <a:pt x="3357082" y="3718209"/>
                    </a:lnTo>
                    <a:lnTo>
                      <a:pt x="3358497" y="3510029"/>
                    </a:lnTo>
                    <a:lnTo>
                      <a:pt x="3358497" y="3510029"/>
                    </a:lnTo>
                    <a:lnTo>
                      <a:pt x="3320261" y="3501532"/>
                    </a:lnTo>
                    <a:lnTo>
                      <a:pt x="3372659" y="3480289"/>
                    </a:lnTo>
                    <a:lnTo>
                      <a:pt x="3386821" y="3749365"/>
                    </a:lnTo>
                    <a:lnTo>
                      <a:pt x="3265029" y="3660145"/>
                    </a:lnTo>
                    <a:lnTo>
                      <a:pt x="3263613" y="3660145"/>
                    </a:lnTo>
                    <a:lnTo>
                      <a:pt x="3337255" y="3781938"/>
                    </a:lnTo>
                    <a:lnTo>
                      <a:pt x="3300434" y="3763527"/>
                    </a:lnTo>
                    <a:lnTo>
                      <a:pt x="3300434" y="3763527"/>
                    </a:lnTo>
                    <a:lnTo>
                      <a:pt x="3299018" y="3764943"/>
                    </a:lnTo>
                    <a:lnTo>
                      <a:pt x="3351416" y="3806013"/>
                    </a:lnTo>
                    <a:lnTo>
                      <a:pt x="3393902" y="3875406"/>
                    </a:lnTo>
                    <a:lnTo>
                      <a:pt x="3393902" y="3876823"/>
                    </a:lnTo>
                    <a:lnTo>
                      <a:pt x="3392486" y="3838585"/>
                    </a:lnTo>
                    <a:lnTo>
                      <a:pt x="3555348" y="3964626"/>
                    </a:lnTo>
                    <a:lnTo>
                      <a:pt x="3555348" y="3964626"/>
                    </a:lnTo>
                    <a:lnTo>
                      <a:pt x="3570926" y="3905146"/>
                    </a:lnTo>
                    <a:lnTo>
                      <a:pt x="3637487" y="3939135"/>
                    </a:lnTo>
                    <a:lnTo>
                      <a:pt x="3637487" y="3939135"/>
                    </a:lnTo>
                    <a:lnTo>
                      <a:pt x="3638904" y="3937719"/>
                    </a:lnTo>
                    <a:lnTo>
                      <a:pt x="3638904" y="3937719"/>
                    </a:lnTo>
                    <a:lnTo>
                      <a:pt x="3575175" y="3890985"/>
                    </a:lnTo>
                    <a:lnTo>
                      <a:pt x="3647401" y="3619076"/>
                    </a:lnTo>
                    <a:lnTo>
                      <a:pt x="3772026" y="3688469"/>
                    </a:lnTo>
                    <a:lnTo>
                      <a:pt x="3772026" y="3688469"/>
                    </a:lnTo>
                    <a:lnTo>
                      <a:pt x="3783355" y="3453381"/>
                    </a:lnTo>
                    <a:lnTo>
                      <a:pt x="3896650" y="3772024"/>
                    </a:lnTo>
                    <a:lnTo>
                      <a:pt x="3756448" y="3759279"/>
                    </a:lnTo>
                    <a:lnTo>
                      <a:pt x="3781939" y="3691302"/>
                    </a:lnTo>
                    <a:lnTo>
                      <a:pt x="3781939" y="3691302"/>
                    </a:lnTo>
                    <a:lnTo>
                      <a:pt x="3660147" y="3753614"/>
                    </a:lnTo>
                    <a:lnTo>
                      <a:pt x="3660147" y="3753614"/>
                    </a:lnTo>
                    <a:lnTo>
                      <a:pt x="3755031" y="3762111"/>
                    </a:lnTo>
                    <a:lnTo>
                      <a:pt x="3739453" y="3803181"/>
                    </a:lnTo>
                    <a:lnTo>
                      <a:pt x="3739453" y="3803181"/>
                    </a:lnTo>
                    <a:lnTo>
                      <a:pt x="3929223" y="3837169"/>
                    </a:lnTo>
                    <a:lnTo>
                      <a:pt x="3929223" y="3837169"/>
                    </a:lnTo>
                    <a:lnTo>
                      <a:pt x="4247866" y="3749365"/>
                    </a:lnTo>
                    <a:lnTo>
                      <a:pt x="4379572" y="3804597"/>
                    </a:lnTo>
                    <a:lnTo>
                      <a:pt x="4352664" y="3815926"/>
                    </a:lnTo>
                    <a:lnTo>
                      <a:pt x="4424890" y="3823007"/>
                    </a:lnTo>
                    <a:lnTo>
                      <a:pt x="4464544" y="3840002"/>
                    </a:lnTo>
                    <a:lnTo>
                      <a:pt x="4471625" y="3848499"/>
                    </a:lnTo>
                    <a:lnTo>
                      <a:pt x="4348416" y="3838585"/>
                    </a:lnTo>
                    <a:lnTo>
                      <a:pt x="4347000" y="3838585"/>
                    </a:lnTo>
                    <a:lnTo>
                      <a:pt x="4516943" y="3902314"/>
                    </a:lnTo>
                    <a:lnTo>
                      <a:pt x="4536769" y="3924973"/>
                    </a:lnTo>
                    <a:lnTo>
                      <a:pt x="4440468" y="3967459"/>
                    </a:lnTo>
                    <a:lnTo>
                      <a:pt x="4440468" y="3967459"/>
                    </a:lnTo>
                    <a:lnTo>
                      <a:pt x="4586336" y="3995783"/>
                    </a:lnTo>
                    <a:lnTo>
                      <a:pt x="4586336" y="3995783"/>
                    </a:lnTo>
                    <a:lnTo>
                      <a:pt x="4709544" y="3971707"/>
                    </a:lnTo>
                    <a:lnTo>
                      <a:pt x="4710960" y="3971707"/>
                    </a:lnTo>
                    <a:lnTo>
                      <a:pt x="4519775" y="3899481"/>
                    </a:lnTo>
                    <a:lnTo>
                      <a:pt x="4477289" y="3849915"/>
                    </a:lnTo>
                    <a:lnTo>
                      <a:pt x="4501364" y="3851331"/>
                    </a:lnTo>
                    <a:lnTo>
                      <a:pt x="4467376" y="3837169"/>
                    </a:lnTo>
                    <a:lnTo>
                      <a:pt x="4457463" y="3825840"/>
                    </a:lnTo>
                    <a:lnTo>
                      <a:pt x="4841250" y="3862661"/>
                    </a:lnTo>
                    <a:lnTo>
                      <a:pt x="4987118" y="3964626"/>
                    </a:lnTo>
                    <a:lnTo>
                      <a:pt x="5087668" y="4029771"/>
                    </a:lnTo>
                    <a:lnTo>
                      <a:pt x="5087668" y="4029771"/>
                    </a:lnTo>
                    <a:lnTo>
                      <a:pt x="5089084" y="4028355"/>
                    </a:lnTo>
                    <a:lnTo>
                      <a:pt x="4985702" y="3958962"/>
                    </a:lnTo>
                    <a:lnTo>
                      <a:pt x="4839834" y="3856996"/>
                    </a:lnTo>
                    <a:lnTo>
                      <a:pt x="4453214" y="3820175"/>
                    </a:lnTo>
                    <a:lnTo>
                      <a:pt x="4422058" y="3783354"/>
                    </a:lnTo>
                    <a:lnTo>
                      <a:pt x="4422058" y="3783354"/>
                    </a:lnTo>
                    <a:lnTo>
                      <a:pt x="4382405" y="3800348"/>
                    </a:lnTo>
                    <a:lnTo>
                      <a:pt x="4247866" y="3745117"/>
                    </a:lnTo>
                    <a:lnTo>
                      <a:pt x="4247866" y="3745117"/>
                    </a:lnTo>
                    <a:lnTo>
                      <a:pt x="3929223" y="3832921"/>
                    </a:lnTo>
                    <a:lnTo>
                      <a:pt x="3742286" y="3800348"/>
                    </a:lnTo>
                    <a:lnTo>
                      <a:pt x="3756448" y="3760695"/>
                    </a:lnTo>
                    <a:lnTo>
                      <a:pt x="3899483" y="3773440"/>
                    </a:lnTo>
                    <a:lnTo>
                      <a:pt x="3899483" y="3773440"/>
                    </a:lnTo>
                    <a:lnTo>
                      <a:pt x="3781939" y="3442052"/>
                    </a:lnTo>
                    <a:lnTo>
                      <a:pt x="3781939" y="3440636"/>
                    </a:lnTo>
                    <a:lnTo>
                      <a:pt x="3770610" y="3682804"/>
                    </a:lnTo>
                    <a:lnTo>
                      <a:pt x="3647401" y="3614827"/>
                    </a:lnTo>
                    <a:lnTo>
                      <a:pt x="3647401" y="3614827"/>
                    </a:lnTo>
                    <a:lnTo>
                      <a:pt x="3575175" y="3888152"/>
                    </a:lnTo>
                    <a:lnTo>
                      <a:pt x="3389654" y="3752198"/>
                    </a:lnTo>
                    <a:lnTo>
                      <a:pt x="3375492" y="3478873"/>
                    </a:lnTo>
                    <a:lnTo>
                      <a:pt x="3375492" y="3478873"/>
                    </a:lnTo>
                    <a:lnTo>
                      <a:pt x="3318844" y="3502948"/>
                    </a:lnTo>
                    <a:lnTo>
                      <a:pt x="3317428" y="3502948"/>
                    </a:lnTo>
                    <a:lnTo>
                      <a:pt x="3252283" y="3366994"/>
                    </a:lnTo>
                    <a:lnTo>
                      <a:pt x="3280607" y="3236704"/>
                    </a:lnTo>
                    <a:lnTo>
                      <a:pt x="3432140" y="3310346"/>
                    </a:lnTo>
                    <a:lnTo>
                      <a:pt x="3432140" y="3310346"/>
                    </a:lnTo>
                    <a:lnTo>
                      <a:pt x="3558181" y="3209797"/>
                    </a:lnTo>
                    <a:lnTo>
                      <a:pt x="3558181" y="3209797"/>
                    </a:lnTo>
                    <a:lnTo>
                      <a:pt x="3483123" y="3167311"/>
                    </a:lnTo>
                    <a:lnTo>
                      <a:pt x="3517111" y="3136155"/>
                    </a:lnTo>
                    <a:lnTo>
                      <a:pt x="3432140" y="3138987"/>
                    </a:lnTo>
                    <a:lnTo>
                      <a:pt x="3372659" y="3106415"/>
                    </a:lnTo>
                    <a:lnTo>
                      <a:pt x="3342920" y="2954882"/>
                    </a:lnTo>
                    <a:lnTo>
                      <a:pt x="3450550" y="3005865"/>
                    </a:lnTo>
                    <a:lnTo>
                      <a:pt x="3450550" y="3005865"/>
                    </a:lnTo>
                    <a:lnTo>
                      <a:pt x="3434972" y="2888321"/>
                    </a:lnTo>
                    <a:lnTo>
                      <a:pt x="3696968" y="2756616"/>
                    </a:lnTo>
                    <a:lnTo>
                      <a:pt x="3696968" y="2756616"/>
                    </a:lnTo>
                    <a:lnTo>
                      <a:pt x="3621910" y="2718378"/>
                    </a:lnTo>
                    <a:lnTo>
                      <a:pt x="3779106" y="2347336"/>
                    </a:lnTo>
                    <a:lnTo>
                      <a:pt x="3779106" y="2347336"/>
                    </a:lnTo>
                    <a:lnTo>
                      <a:pt x="3745118" y="2072595"/>
                    </a:lnTo>
                    <a:lnTo>
                      <a:pt x="3823009" y="2102335"/>
                    </a:lnTo>
                    <a:lnTo>
                      <a:pt x="3823009" y="2102335"/>
                    </a:lnTo>
                    <a:lnTo>
                      <a:pt x="3865495" y="1969213"/>
                    </a:lnTo>
                    <a:lnTo>
                      <a:pt x="4045350" y="2074011"/>
                    </a:lnTo>
                    <a:lnTo>
                      <a:pt x="4046767" y="2074011"/>
                    </a:lnTo>
                    <a:lnTo>
                      <a:pt x="3889569" y="1891323"/>
                    </a:lnTo>
                    <a:lnTo>
                      <a:pt x="3933472" y="1752536"/>
                    </a:lnTo>
                    <a:lnTo>
                      <a:pt x="4086420" y="1710050"/>
                    </a:lnTo>
                    <a:lnTo>
                      <a:pt x="4235120" y="1786525"/>
                    </a:lnTo>
                    <a:lnTo>
                      <a:pt x="4195467" y="1974878"/>
                    </a:lnTo>
                    <a:lnTo>
                      <a:pt x="4195467" y="1974878"/>
                    </a:lnTo>
                    <a:lnTo>
                      <a:pt x="4390901" y="1862999"/>
                    </a:lnTo>
                    <a:lnTo>
                      <a:pt x="4390901" y="1862999"/>
                    </a:lnTo>
                    <a:lnTo>
                      <a:pt x="4243617" y="1786525"/>
                    </a:lnTo>
                    <a:lnTo>
                      <a:pt x="4270525" y="1661900"/>
                    </a:lnTo>
                    <a:lnTo>
                      <a:pt x="4407896" y="1625079"/>
                    </a:lnTo>
                    <a:lnTo>
                      <a:pt x="4407896" y="1625079"/>
                    </a:lnTo>
                    <a:lnTo>
                      <a:pt x="4274774" y="1354587"/>
                    </a:lnTo>
                    <a:lnTo>
                      <a:pt x="4480121" y="1273864"/>
                    </a:lnTo>
                    <a:lnTo>
                      <a:pt x="4480121" y="1273864"/>
                    </a:lnTo>
                    <a:lnTo>
                      <a:pt x="4478705" y="1261118"/>
                    </a:lnTo>
                    <a:lnTo>
                      <a:pt x="4777522" y="1191725"/>
                    </a:lnTo>
                    <a:lnTo>
                      <a:pt x="4984286" y="970799"/>
                    </a:lnTo>
                    <a:lnTo>
                      <a:pt x="5267524" y="1129412"/>
                    </a:lnTo>
                    <a:lnTo>
                      <a:pt x="5149980" y="1232794"/>
                    </a:lnTo>
                    <a:lnTo>
                      <a:pt x="5040934" y="1307852"/>
                    </a:lnTo>
                    <a:lnTo>
                      <a:pt x="5040934" y="1307852"/>
                    </a:lnTo>
                    <a:lnTo>
                      <a:pt x="5113159" y="1416899"/>
                    </a:lnTo>
                    <a:lnTo>
                      <a:pt x="5021107" y="1585426"/>
                    </a:lnTo>
                    <a:lnTo>
                      <a:pt x="4934719" y="1693056"/>
                    </a:lnTo>
                    <a:lnTo>
                      <a:pt x="4844083" y="1821930"/>
                    </a:lnTo>
                    <a:lnTo>
                      <a:pt x="4784602" y="1879993"/>
                    </a:lnTo>
                    <a:lnTo>
                      <a:pt x="4784602" y="1879993"/>
                    </a:lnTo>
                    <a:lnTo>
                      <a:pt x="4786019" y="1881410"/>
                    </a:lnTo>
                    <a:lnTo>
                      <a:pt x="4786019" y="1881410"/>
                    </a:lnTo>
                    <a:lnTo>
                      <a:pt x="4845499" y="1823346"/>
                    </a:lnTo>
                    <a:lnTo>
                      <a:pt x="4937551" y="1693056"/>
                    </a:lnTo>
                    <a:lnTo>
                      <a:pt x="5023939" y="1585426"/>
                    </a:lnTo>
                    <a:lnTo>
                      <a:pt x="5115992" y="1416899"/>
                    </a:lnTo>
                    <a:lnTo>
                      <a:pt x="5115992" y="1416899"/>
                    </a:lnTo>
                    <a:lnTo>
                      <a:pt x="5045182" y="1309268"/>
                    </a:lnTo>
                    <a:lnTo>
                      <a:pt x="5152812" y="1235626"/>
                    </a:lnTo>
                    <a:lnTo>
                      <a:pt x="5271773" y="1130828"/>
                    </a:lnTo>
                    <a:lnTo>
                      <a:pt x="5271773" y="1130828"/>
                    </a:lnTo>
                    <a:lnTo>
                      <a:pt x="4984286" y="969383"/>
                    </a:lnTo>
                    <a:lnTo>
                      <a:pt x="4984286" y="969383"/>
                    </a:lnTo>
                    <a:lnTo>
                      <a:pt x="4776106" y="1188892"/>
                    </a:lnTo>
                    <a:lnTo>
                      <a:pt x="4477289" y="1258286"/>
                    </a:lnTo>
                    <a:lnTo>
                      <a:pt x="4458878" y="1115250"/>
                    </a:lnTo>
                    <a:lnTo>
                      <a:pt x="4542434" y="980712"/>
                    </a:lnTo>
                    <a:lnTo>
                      <a:pt x="4618908" y="956637"/>
                    </a:lnTo>
                    <a:lnTo>
                      <a:pt x="4771857" y="1108169"/>
                    </a:lnTo>
                    <a:lnTo>
                      <a:pt x="4771857" y="1108169"/>
                    </a:lnTo>
                    <a:lnTo>
                      <a:pt x="5084835" y="892908"/>
                    </a:lnTo>
                    <a:lnTo>
                      <a:pt x="5264692" y="993458"/>
                    </a:lnTo>
                    <a:lnTo>
                      <a:pt x="5264692" y="993458"/>
                    </a:lnTo>
                    <a:lnTo>
                      <a:pt x="5271773" y="982128"/>
                    </a:lnTo>
                    <a:lnTo>
                      <a:pt x="5355327" y="1030279"/>
                    </a:lnTo>
                    <a:lnTo>
                      <a:pt x="5277437" y="1147823"/>
                    </a:lnTo>
                    <a:lnTo>
                      <a:pt x="5277437" y="1149239"/>
                    </a:lnTo>
                    <a:lnTo>
                      <a:pt x="5404894" y="1057186"/>
                    </a:lnTo>
                    <a:lnTo>
                      <a:pt x="5404894" y="1057186"/>
                    </a:lnTo>
                    <a:lnTo>
                      <a:pt x="5358160" y="1030279"/>
                    </a:lnTo>
                    <a:lnTo>
                      <a:pt x="5411975" y="949556"/>
                    </a:lnTo>
                    <a:lnTo>
                      <a:pt x="5489866" y="1043025"/>
                    </a:lnTo>
                    <a:lnTo>
                      <a:pt x="5489866" y="1043025"/>
                    </a:lnTo>
                    <a:lnTo>
                      <a:pt x="5706544" y="803688"/>
                    </a:lnTo>
                    <a:lnTo>
                      <a:pt x="5804260" y="929729"/>
                    </a:lnTo>
                    <a:lnTo>
                      <a:pt x="5804260" y="929729"/>
                    </a:lnTo>
                    <a:lnTo>
                      <a:pt x="5805677" y="928313"/>
                    </a:lnTo>
                    <a:lnTo>
                      <a:pt x="5805677" y="928313"/>
                    </a:lnTo>
                    <a:lnTo>
                      <a:pt x="5707959" y="799440"/>
                    </a:lnTo>
                    <a:close/>
                    <a:moveTo>
                      <a:pt x="3376909" y="3106415"/>
                    </a:moveTo>
                    <a:lnTo>
                      <a:pt x="3432140" y="3137571"/>
                    </a:lnTo>
                    <a:lnTo>
                      <a:pt x="3383990" y="3138987"/>
                    </a:lnTo>
                    <a:lnTo>
                      <a:pt x="3376909" y="3106415"/>
                    </a:lnTo>
                    <a:close/>
                    <a:moveTo>
                      <a:pt x="3402400" y="3239537"/>
                    </a:moveTo>
                    <a:lnTo>
                      <a:pt x="3382573" y="3141819"/>
                    </a:lnTo>
                    <a:lnTo>
                      <a:pt x="3434972" y="3140403"/>
                    </a:lnTo>
                    <a:lnTo>
                      <a:pt x="3483123" y="3167311"/>
                    </a:lnTo>
                    <a:lnTo>
                      <a:pt x="3402400" y="3239537"/>
                    </a:lnTo>
                    <a:close/>
                    <a:moveTo>
                      <a:pt x="3439221" y="3138987"/>
                    </a:moveTo>
                    <a:lnTo>
                      <a:pt x="3514279" y="3136155"/>
                    </a:lnTo>
                    <a:lnTo>
                      <a:pt x="3483123" y="3164478"/>
                    </a:lnTo>
                    <a:lnTo>
                      <a:pt x="3439221" y="3138987"/>
                    </a:lnTo>
                    <a:close/>
                    <a:moveTo>
                      <a:pt x="2505951" y="3059680"/>
                    </a:moveTo>
                    <a:lnTo>
                      <a:pt x="2614997" y="3004449"/>
                    </a:lnTo>
                    <a:lnTo>
                      <a:pt x="2579592" y="3117744"/>
                    </a:lnTo>
                    <a:lnTo>
                      <a:pt x="2505951" y="3059680"/>
                    </a:lnTo>
                    <a:close/>
                    <a:moveTo>
                      <a:pt x="2539939" y="3255115"/>
                    </a:moveTo>
                    <a:lnTo>
                      <a:pt x="2581009" y="3119160"/>
                    </a:lnTo>
                    <a:lnTo>
                      <a:pt x="2654651" y="3175808"/>
                    </a:lnTo>
                    <a:lnTo>
                      <a:pt x="2539939" y="3255115"/>
                    </a:lnTo>
                    <a:close/>
                    <a:moveTo>
                      <a:pt x="1928145" y="2469129"/>
                    </a:moveTo>
                    <a:lnTo>
                      <a:pt x="1712883" y="2498869"/>
                    </a:lnTo>
                    <a:lnTo>
                      <a:pt x="1496206" y="2110833"/>
                    </a:lnTo>
                    <a:lnTo>
                      <a:pt x="1496206" y="2110833"/>
                    </a:lnTo>
                    <a:lnTo>
                      <a:pt x="1493374" y="2110833"/>
                    </a:lnTo>
                    <a:lnTo>
                      <a:pt x="1487709" y="2098087"/>
                    </a:lnTo>
                    <a:lnTo>
                      <a:pt x="1928145" y="2469129"/>
                    </a:lnTo>
                    <a:close/>
                    <a:moveTo>
                      <a:pt x="1928145" y="2865662"/>
                    </a:moveTo>
                    <a:lnTo>
                      <a:pt x="1824762" y="2869911"/>
                    </a:lnTo>
                    <a:lnTo>
                      <a:pt x="1814849" y="2845835"/>
                    </a:lnTo>
                    <a:lnTo>
                      <a:pt x="1928145" y="2865662"/>
                    </a:lnTo>
                    <a:close/>
                    <a:moveTo>
                      <a:pt x="1867248" y="2966212"/>
                    </a:moveTo>
                    <a:lnTo>
                      <a:pt x="1826179" y="2871327"/>
                    </a:lnTo>
                    <a:lnTo>
                      <a:pt x="1939474" y="2867078"/>
                    </a:lnTo>
                    <a:lnTo>
                      <a:pt x="1939474" y="2867078"/>
                    </a:lnTo>
                    <a:lnTo>
                      <a:pt x="1939474" y="2865662"/>
                    </a:lnTo>
                    <a:lnTo>
                      <a:pt x="1813433" y="2843003"/>
                    </a:lnTo>
                    <a:lnTo>
                      <a:pt x="1766699" y="2735373"/>
                    </a:lnTo>
                    <a:lnTo>
                      <a:pt x="1969214" y="2801934"/>
                    </a:lnTo>
                    <a:lnTo>
                      <a:pt x="2006035" y="2950634"/>
                    </a:lnTo>
                    <a:lnTo>
                      <a:pt x="1867248" y="2966212"/>
                    </a:lnTo>
                    <a:close/>
                    <a:moveTo>
                      <a:pt x="1745456" y="2833090"/>
                    </a:moveTo>
                    <a:lnTo>
                      <a:pt x="1812017" y="2844419"/>
                    </a:lnTo>
                    <a:lnTo>
                      <a:pt x="1823346" y="2868495"/>
                    </a:lnTo>
                    <a:lnTo>
                      <a:pt x="1775196" y="2869911"/>
                    </a:lnTo>
                    <a:lnTo>
                      <a:pt x="1745456" y="2833090"/>
                    </a:lnTo>
                    <a:close/>
                    <a:moveTo>
                      <a:pt x="1708635" y="2827425"/>
                    </a:moveTo>
                    <a:lnTo>
                      <a:pt x="1704386" y="2874159"/>
                    </a:lnTo>
                    <a:lnTo>
                      <a:pt x="1649155" y="2875576"/>
                    </a:lnTo>
                    <a:lnTo>
                      <a:pt x="1554270" y="2799101"/>
                    </a:lnTo>
                    <a:lnTo>
                      <a:pt x="1708635" y="2827425"/>
                    </a:lnTo>
                    <a:close/>
                    <a:moveTo>
                      <a:pt x="1405570" y="2392654"/>
                    </a:moveTo>
                    <a:lnTo>
                      <a:pt x="1439559" y="2437973"/>
                    </a:lnTo>
                    <a:lnTo>
                      <a:pt x="1303604" y="2547019"/>
                    </a:lnTo>
                    <a:lnTo>
                      <a:pt x="1365916" y="2402568"/>
                    </a:lnTo>
                    <a:lnTo>
                      <a:pt x="1405570" y="2392654"/>
                    </a:lnTo>
                    <a:close/>
                    <a:moveTo>
                      <a:pt x="1299356" y="2249619"/>
                    </a:moveTo>
                    <a:lnTo>
                      <a:pt x="1222881" y="2149070"/>
                    </a:lnTo>
                    <a:lnTo>
                      <a:pt x="1228546" y="2144821"/>
                    </a:lnTo>
                    <a:lnTo>
                      <a:pt x="1351754" y="2130659"/>
                    </a:lnTo>
                    <a:lnTo>
                      <a:pt x="1387159" y="2272278"/>
                    </a:lnTo>
                    <a:lnTo>
                      <a:pt x="1387159" y="2272278"/>
                    </a:lnTo>
                    <a:lnTo>
                      <a:pt x="1480628" y="2137740"/>
                    </a:lnTo>
                    <a:lnTo>
                      <a:pt x="1389992" y="2345920"/>
                    </a:lnTo>
                    <a:lnTo>
                      <a:pt x="1299356" y="2249619"/>
                    </a:lnTo>
                    <a:close/>
                    <a:moveTo>
                      <a:pt x="1296523" y="2565430"/>
                    </a:moveTo>
                    <a:lnTo>
                      <a:pt x="1303604" y="2551268"/>
                    </a:lnTo>
                    <a:lnTo>
                      <a:pt x="1442391" y="2439389"/>
                    </a:lnTo>
                    <a:lnTo>
                      <a:pt x="1567016" y="2602251"/>
                    </a:lnTo>
                    <a:lnTo>
                      <a:pt x="1542940" y="2636239"/>
                    </a:lnTo>
                    <a:lnTo>
                      <a:pt x="1296523" y="2565430"/>
                    </a:lnTo>
                    <a:close/>
                    <a:moveTo>
                      <a:pt x="1609501" y="2658898"/>
                    </a:moveTo>
                    <a:lnTo>
                      <a:pt x="1632161" y="2688638"/>
                    </a:lnTo>
                    <a:lnTo>
                      <a:pt x="1530195" y="2654650"/>
                    </a:lnTo>
                    <a:lnTo>
                      <a:pt x="1541524" y="2639072"/>
                    </a:lnTo>
                    <a:lnTo>
                      <a:pt x="1609501" y="2658898"/>
                    </a:lnTo>
                    <a:close/>
                    <a:moveTo>
                      <a:pt x="1425397" y="2386990"/>
                    </a:moveTo>
                    <a:lnTo>
                      <a:pt x="1459385" y="2422394"/>
                    </a:lnTo>
                    <a:lnTo>
                      <a:pt x="1442391" y="2436556"/>
                    </a:lnTo>
                    <a:lnTo>
                      <a:pt x="1408402" y="2392654"/>
                    </a:lnTo>
                    <a:lnTo>
                      <a:pt x="1425397" y="2386990"/>
                    </a:lnTo>
                    <a:close/>
                    <a:moveTo>
                      <a:pt x="1428229" y="2386990"/>
                    </a:moveTo>
                    <a:lnTo>
                      <a:pt x="1542940" y="2354417"/>
                    </a:lnTo>
                    <a:lnTo>
                      <a:pt x="1460801" y="2420978"/>
                    </a:lnTo>
                    <a:lnTo>
                      <a:pt x="1428229" y="2386990"/>
                    </a:lnTo>
                    <a:close/>
                    <a:moveTo>
                      <a:pt x="1460801" y="2423811"/>
                    </a:moveTo>
                    <a:lnTo>
                      <a:pt x="1593923" y="2564014"/>
                    </a:lnTo>
                    <a:lnTo>
                      <a:pt x="1568432" y="2600835"/>
                    </a:lnTo>
                    <a:lnTo>
                      <a:pt x="1443807" y="2437973"/>
                    </a:lnTo>
                    <a:lnTo>
                      <a:pt x="1460801" y="2423811"/>
                    </a:lnTo>
                    <a:close/>
                    <a:moveTo>
                      <a:pt x="1544357" y="2637655"/>
                    </a:moveTo>
                    <a:lnTo>
                      <a:pt x="1568432" y="2603667"/>
                    </a:lnTo>
                    <a:lnTo>
                      <a:pt x="1608085" y="2656066"/>
                    </a:lnTo>
                    <a:lnTo>
                      <a:pt x="1544357" y="2637655"/>
                    </a:lnTo>
                    <a:close/>
                    <a:moveTo>
                      <a:pt x="1636409" y="2690054"/>
                    </a:moveTo>
                    <a:lnTo>
                      <a:pt x="1613750" y="2660315"/>
                    </a:lnTo>
                    <a:lnTo>
                      <a:pt x="1721381" y="2691471"/>
                    </a:lnTo>
                    <a:lnTo>
                      <a:pt x="1718548" y="2718378"/>
                    </a:lnTo>
                    <a:lnTo>
                      <a:pt x="1636409" y="2690054"/>
                    </a:lnTo>
                    <a:close/>
                    <a:moveTo>
                      <a:pt x="1718548" y="2719795"/>
                    </a:moveTo>
                    <a:lnTo>
                      <a:pt x="1712883" y="2789188"/>
                    </a:lnTo>
                    <a:lnTo>
                      <a:pt x="1639242" y="2692887"/>
                    </a:lnTo>
                    <a:lnTo>
                      <a:pt x="1718548" y="2719795"/>
                    </a:lnTo>
                    <a:close/>
                    <a:moveTo>
                      <a:pt x="1423980" y="2385573"/>
                    </a:moveTo>
                    <a:lnTo>
                      <a:pt x="1406986" y="2389822"/>
                    </a:lnTo>
                    <a:lnTo>
                      <a:pt x="1385743" y="2361498"/>
                    </a:lnTo>
                    <a:lnTo>
                      <a:pt x="1391408" y="2348753"/>
                    </a:lnTo>
                    <a:lnTo>
                      <a:pt x="1423980" y="2385573"/>
                    </a:lnTo>
                    <a:close/>
                    <a:moveTo>
                      <a:pt x="1288026" y="2564014"/>
                    </a:moveTo>
                    <a:lnTo>
                      <a:pt x="1299356" y="2554100"/>
                    </a:lnTo>
                    <a:lnTo>
                      <a:pt x="1293691" y="2565430"/>
                    </a:lnTo>
                    <a:lnTo>
                      <a:pt x="1288026" y="2564014"/>
                    </a:lnTo>
                    <a:close/>
                    <a:moveTo>
                      <a:pt x="1540108" y="2639072"/>
                    </a:moveTo>
                    <a:lnTo>
                      <a:pt x="1528778" y="2654650"/>
                    </a:lnTo>
                    <a:lnTo>
                      <a:pt x="1292275" y="2576759"/>
                    </a:lnTo>
                    <a:lnTo>
                      <a:pt x="1296523" y="2568262"/>
                    </a:lnTo>
                    <a:lnTo>
                      <a:pt x="1540108" y="2639072"/>
                    </a:lnTo>
                    <a:close/>
                    <a:moveTo>
                      <a:pt x="1711467" y="2824593"/>
                    </a:moveTo>
                    <a:lnTo>
                      <a:pt x="1714300" y="2794853"/>
                    </a:lnTo>
                    <a:lnTo>
                      <a:pt x="1741207" y="2830257"/>
                    </a:lnTo>
                    <a:lnTo>
                      <a:pt x="1711467" y="2824593"/>
                    </a:lnTo>
                    <a:close/>
                    <a:moveTo>
                      <a:pt x="1707219" y="2874159"/>
                    </a:moveTo>
                    <a:lnTo>
                      <a:pt x="1711467" y="2827425"/>
                    </a:lnTo>
                    <a:lnTo>
                      <a:pt x="1742623" y="2833090"/>
                    </a:lnTo>
                    <a:lnTo>
                      <a:pt x="1772363" y="2871327"/>
                    </a:lnTo>
                    <a:lnTo>
                      <a:pt x="1707219" y="2874159"/>
                    </a:lnTo>
                    <a:close/>
                    <a:moveTo>
                      <a:pt x="1388576" y="2347336"/>
                    </a:moveTo>
                    <a:lnTo>
                      <a:pt x="1382911" y="2360082"/>
                    </a:lnTo>
                    <a:lnTo>
                      <a:pt x="1310685" y="2265197"/>
                    </a:lnTo>
                    <a:lnTo>
                      <a:pt x="1388576" y="2347336"/>
                    </a:lnTo>
                    <a:close/>
                    <a:moveTo>
                      <a:pt x="1404154" y="2391238"/>
                    </a:moveTo>
                    <a:lnTo>
                      <a:pt x="1368749" y="2401152"/>
                    </a:lnTo>
                    <a:lnTo>
                      <a:pt x="1384327" y="2364331"/>
                    </a:lnTo>
                    <a:lnTo>
                      <a:pt x="1404154" y="2391238"/>
                    </a:lnTo>
                    <a:close/>
                    <a:moveTo>
                      <a:pt x="1302188" y="2549852"/>
                    </a:moveTo>
                    <a:lnTo>
                      <a:pt x="1285194" y="2564014"/>
                    </a:lnTo>
                    <a:lnTo>
                      <a:pt x="1285194" y="2564014"/>
                    </a:lnTo>
                    <a:lnTo>
                      <a:pt x="1295107" y="2566846"/>
                    </a:lnTo>
                    <a:lnTo>
                      <a:pt x="1290858" y="2576759"/>
                    </a:lnTo>
                    <a:lnTo>
                      <a:pt x="1290858" y="2576759"/>
                    </a:lnTo>
                    <a:lnTo>
                      <a:pt x="1528778" y="2656066"/>
                    </a:lnTo>
                    <a:lnTo>
                      <a:pt x="1473547" y="2732540"/>
                    </a:lnTo>
                    <a:lnTo>
                      <a:pt x="1272448" y="2569678"/>
                    </a:lnTo>
                    <a:lnTo>
                      <a:pt x="1334760" y="2412481"/>
                    </a:lnTo>
                    <a:lnTo>
                      <a:pt x="1365916" y="2403984"/>
                    </a:lnTo>
                    <a:lnTo>
                      <a:pt x="1302188" y="2549852"/>
                    </a:lnTo>
                    <a:close/>
                    <a:moveTo>
                      <a:pt x="1530195" y="2657482"/>
                    </a:moveTo>
                    <a:lnTo>
                      <a:pt x="1634993" y="2692887"/>
                    </a:lnTo>
                    <a:lnTo>
                      <a:pt x="1711467" y="2793436"/>
                    </a:lnTo>
                    <a:lnTo>
                      <a:pt x="1708635" y="2826009"/>
                    </a:lnTo>
                    <a:lnTo>
                      <a:pt x="1551438" y="2797685"/>
                    </a:lnTo>
                    <a:lnTo>
                      <a:pt x="1474963" y="2735373"/>
                    </a:lnTo>
                    <a:lnTo>
                      <a:pt x="1530195" y="2657482"/>
                    </a:lnTo>
                    <a:close/>
                    <a:moveTo>
                      <a:pt x="1707219" y="2875576"/>
                    </a:moveTo>
                    <a:lnTo>
                      <a:pt x="1773780" y="2872743"/>
                    </a:lnTo>
                    <a:lnTo>
                      <a:pt x="1846005" y="2967628"/>
                    </a:lnTo>
                    <a:lnTo>
                      <a:pt x="1697305" y="2984622"/>
                    </a:lnTo>
                    <a:lnTo>
                      <a:pt x="1707219" y="2875576"/>
                    </a:lnTo>
                    <a:close/>
                    <a:moveTo>
                      <a:pt x="1744040" y="2831674"/>
                    </a:moveTo>
                    <a:lnTo>
                      <a:pt x="1714300" y="2792020"/>
                    </a:lnTo>
                    <a:lnTo>
                      <a:pt x="1719964" y="2719795"/>
                    </a:lnTo>
                    <a:lnTo>
                      <a:pt x="1763866" y="2733956"/>
                    </a:lnTo>
                    <a:lnTo>
                      <a:pt x="1810600" y="2843003"/>
                    </a:lnTo>
                    <a:lnTo>
                      <a:pt x="1744040" y="2831674"/>
                    </a:lnTo>
                    <a:close/>
                    <a:moveTo>
                      <a:pt x="1719964" y="2718378"/>
                    </a:moveTo>
                    <a:lnTo>
                      <a:pt x="1722797" y="2690054"/>
                    </a:lnTo>
                    <a:lnTo>
                      <a:pt x="1722797" y="2690054"/>
                    </a:lnTo>
                    <a:lnTo>
                      <a:pt x="1610918" y="2657482"/>
                    </a:lnTo>
                    <a:lnTo>
                      <a:pt x="1568432" y="2602251"/>
                    </a:lnTo>
                    <a:lnTo>
                      <a:pt x="1595340" y="2564014"/>
                    </a:lnTo>
                    <a:lnTo>
                      <a:pt x="1595340" y="2564014"/>
                    </a:lnTo>
                    <a:lnTo>
                      <a:pt x="1462218" y="2422394"/>
                    </a:lnTo>
                    <a:lnTo>
                      <a:pt x="1551438" y="2350169"/>
                    </a:lnTo>
                    <a:lnTo>
                      <a:pt x="1552854" y="2350169"/>
                    </a:lnTo>
                    <a:lnTo>
                      <a:pt x="1426813" y="2385573"/>
                    </a:lnTo>
                    <a:lnTo>
                      <a:pt x="1391408" y="2348753"/>
                    </a:lnTo>
                    <a:lnTo>
                      <a:pt x="1486293" y="2129243"/>
                    </a:lnTo>
                    <a:lnTo>
                      <a:pt x="1486293" y="2129243"/>
                    </a:lnTo>
                    <a:lnTo>
                      <a:pt x="1484876" y="2127827"/>
                    </a:lnTo>
                    <a:lnTo>
                      <a:pt x="1387159" y="2266613"/>
                    </a:lnTo>
                    <a:lnTo>
                      <a:pt x="1353171" y="2129243"/>
                    </a:lnTo>
                    <a:lnTo>
                      <a:pt x="1491957" y="2112249"/>
                    </a:lnTo>
                    <a:lnTo>
                      <a:pt x="1762450" y="2731124"/>
                    </a:lnTo>
                    <a:lnTo>
                      <a:pt x="1719964" y="2718378"/>
                    </a:lnTo>
                    <a:close/>
                    <a:moveTo>
                      <a:pt x="1547189" y="2796269"/>
                    </a:moveTo>
                    <a:lnTo>
                      <a:pt x="1443807" y="2777858"/>
                    </a:lnTo>
                    <a:lnTo>
                      <a:pt x="1473547" y="2736789"/>
                    </a:lnTo>
                    <a:lnTo>
                      <a:pt x="1547189" y="2796269"/>
                    </a:lnTo>
                    <a:close/>
                    <a:moveTo>
                      <a:pt x="1823346" y="2871327"/>
                    </a:moveTo>
                    <a:lnTo>
                      <a:pt x="1864416" y="2966212"/>
                    </a:lnTo>
                    <a:lnTo>
                      <a:pt x="1848838" y="2967628"/>
                    </a:lnTo>
                    <a:lnTo>
                      <a:pt x="1776612" y="2872743"/>
                    </a:lnTo>
                    <a:lnTo>
                      <a:pt x="1823346" y="2871327"/>
                    </a:lnTo>
                    <a:close/>
                    <a:moveTo>
                      <a:pt x="1865832" y="2969044"/>
                    </a:moveTo>
                    <a:lnTo>
                      <a:pt x="1887075" y="3018611"/>
                    </a:lnTo>
                    <a:lnTo>
                      <a:pt x="1850254" y="2970460"/>
                    </a:lnTo>
                    <a:lnTo>
                      <a:pt x="1865832" y="2969044"/>
                    </a:lnTo>
                    <a:close/>
                    <a:moveTo>
                      <a:pt x="2055602" y="2828841"/>
                    </a:moveTo>
                    <a:lnTo>
                      <a:pt x="1970630" y="2800517"/>
                    </a:lnTo>
                    <a:lnTo>
                      <a:pt x="1950804" y="2721211"/>
                    </a:lnTo>
                    <a:lnTo>
                      <a:pt x="2055602" y="2828841"/>
                    </a:lnTo>
                    <a:close/>
                    <a:moveTo>
                      <a:pt x="1229962" y="2141989"/>
                    </a:moveTo>
                    <a:lnTo>
                      <a:pt x="1331928" y="2055601"/>
                    </a:lnTo>
                    <a:lnTo>
                      <a:pt x="1350338" y="2127827"/>
                    </a:lnTo>
                    <a:lnTo>
                      <a:pt x="1229962" y="2141989"/>
                    </a:lnTo>
                    <a:close/>
                    <a:moveTo>
                      <a:pt x="1220049" y="2150486"/>
                    </a:moveTo>
                    <a:lnTo>
                      <a:pt x="1285194" y="2235457"/>
                    </a:lnTo>
                    <a:lnTo>
                      <a:pt x="1211552" y="2157567"/>
                    </a:lnTo>
                    <a:lnTo>
                      <a:pt x="1220049" y="2150486"/>
                    </a:lnTo>
                    <a:close/>
                    <a:moveTo>
                      <a:pt x="1215800" y="2143405"/>
                    </a:moveTo>
                    <a:lnTo>
                      <a:pt x="1198806" y="2144821"/>
                    </a:lnTo>
                    <a:lnTo>
                      <a:pt x="1198806" y="2144821"/>
                    </a:lnTo>
                    <a:lnTo>
                      <a:pt x="1210135" y="2156151"/>
                    </a:lnTo>
                    <a:lnTo>
                      <a:pt x="1127996" y="2226960"/>
                    </a:lnTo>
                    <a:lnTo>
                      <a:pt x="1085511" y="1972046"/>
                    </a:lnTo>
                    <a:lnTo>
                      <a:pt x="1215800" y="2143405"/>
                    </a:lnTo>
                    <a:close/>
                    <a:moveTo>
                      <a:pt x="1217216" y="2146237"/>
                    </a:moveTo>
                    <a:lnTo>
                      <a:pt x="1220049" y="2149070"/>
                    </a:lnTo>
                    <a:lnTo>
                      <a:pt x="1211552" y="2156151"/>
                    </a:lnTo>
                    <a:lnTo>
                      <a:pt x="1203054" y="2147654"/>
                    </a:lnTo>
                    <a:lnTo>
                      <a:pt x="1217216" y="2146237"/>
                    </a:lnTo>
                    <a:close/>
                    <a:moveTo>
                      <a:pt x="1684559" y="3147484"/>
                    </a:moveTo>
                    <a:lnTo>
                      <a:pt x="1695889" y="3017195"/>
                    </a:lnTo>
                    <a:lnTo>
                      <a:pt x="1885659" y="3029940"/>
                    </a:lnTo>
                    <a:lnTo>
                      <a:pt x="1684559" y="3147484"/>
                    </a:lnTo>
                    <a:close/>
                    <a:moveTo>
                      <a:pt x="1535859" y="3005865"/>
                    </a:moveTo>
                    <a:lnTo>
                      <a:pt x="1695889" y="2987455"/>
                    </a:lnTo>
                    <a:lnTo>
                      <a:pt x="1693057" y="3015778"/>
                    </a:lnTo>
                    <a:lnTo>
                      <a:pt x="1535859" y="3005865"/>
                    </a:lnTo>
                    <a:close/>
                    <a:moveTo>
                      <a:pt x="1072765" y="744208"/>
                    </a:moveTo>
                    <a:lnTo>
                      <a:pt x="1020366" y="713052"/>
                    </a:lnTo>
                    <a:lnTo>
                      <a:pt x="1111002" y="618167"/>
                    </a:lnTo>
                    <a:lnTo>
                      <a:pt x="1130829" y="738544"/>
                    </a:lnTo>
                    <a:lnTo>
                      <a:pt x="1072765" y="744208"/>
                    </a:lnTo>
                    <a:close/>
                    <a:moveTo>
                      <a:pt x="942475" y="1064267"/>
                    </a:moveTo>
                    <a:lnTo>
                      <a:pt x="1041609" y="909903"/>
                    </a:lnTo>
                    <a:lnTo>
                      <a:pt x="1088343" y="935394"/>
                    </a:lnTo>
                    <a:lnTo>
                      <a:pt x="1102505" y="960886"/>
                    </a:lnTo>
                    <a:lnTo>
                      <a:pt x="1041609" y="1136493"/>
                    </a:lnTo>
                    <a:lnTo>
                      <a:pt x="942475" y="1064267"/>
                    </a:lnTo>
                    <a:close/>
                    <a:moveTo>
                      <a:pt x="1043025" y="909903"/>
                    </a:moveTo>
                    <a:lnTo>
                      <a:pt x="1060019" y="884411"/>
                    </a:lnTo>
                    <a:lnTo>
                      <a:pt x="1088343" y="932562"/>
                    </a:lnTo>
                    <a:lnTo>
                      <a:pt x="1043025" y="909903"/>
                    </a:lnTo>
                    <a:close/>
                    <a:moveTo>
                      <a:pt x="1101089" y="816434"/>
                    </a:moveTo>
                    <a:lnTo>
                      <a:pt x="1060019" y="880163"/>
                    </a:lnTo>
                    <a:lnTo>
                      <a:pt x="1020366" y="809353"/>
                    </a:lnTo>
                    <a:lnTo>
                      <a:pt x="1101089" y="816434"/>
                    </a:lnTo>
                    <a:close/>
                    <a:moveTo>
                      <a:pt x="1017533" y="809353"/>
                    </a:moveTo>
                    <a:lnTo>
                      <a:pt x="1058603" y="881579"/>
                    </a:lnTo>
                    <a:lnTo>
                      <a:pt x="1041609" y="908486"/>
                    </a:lnTo>
                    <a:lnTo>
                      <a:pt x="1021782" y="897157"/>
                    </a:lnTo>
                    <a:lnTo>
                      <a:pt x="973632" y="805105"/>
                    </a:lnTo>
                    <a:lnTo>
                      <a:pt x="1017533" y="809353"/>
                    </a:lnTo>
                    <a:close/>
                    <a:moveTo>
                      <a:pt x="1072765" y="747041"/>
                    </a:moveTo>
                    <a:lnTo>
                      <a:pt x="1072765" y="747041"/>
                    </a:lnTo>
                    <a:lnTo>
                      <a:pt x="1130829" y="741376"/>
                    </a:lnTo>
                    <a:lnTo>
                      <a:pt x="1135077" y="765451"/>
                    </a:lnTo>
                    <a:lnTo>
                      <a:pt x="1102505" y="815018"/>
                    </a:lnTo>
                    <a:lnTo>
                      <a:pt x="1018949" y="807937"/>
                    </a:lnTo>
                    <a:lnTo>
                      <a:pt x="986377" y="749873"/>
                    </a:lnTo>
                    <a:lnTo>
                      <a:pt x="1020366" y="714468"/>
                    </a:lnTo>
                    <a:lnTo>
                      <a:pt x="1072765" y="747041"/>
                    </a:lnTo>
                    <a:close/>
                    <a:moveTo>
                      <a:pt x="1171898" y="783862"/>
                    </a:moveTo>
                    <a:lnTo>
                      <a:pt x="1171898" y="783862"/>
                    </a:lnTo>
                    <a:lnTo>
                      <a:pt x="1414067" y="839093"/>
                    </a:lnTo>
                    <a:lnTo>
                      <a:pt x="1105337" y="815018"/>
                    </a:lnTo>
                    <a:lnTo>
                      <a:pt x="1136494" y="765451"/>
                    </a:lnTo>
                    <a:lnTo>
                      <a:pt x="1136494" y="765451"/>
                    </a:lnTo>
                    <a:lnTo>
                      <a:pt x="1132245" y="739960"/>
                    </a:lnTo>
                    <a:lnTo>
                      <a:pt x="1340425" y="718717"/>
                    </a:lnTo>
                    <a:lnTo>
                      <a:pt x="1171898" y="783862"/>
                    </a:lnTo>
                    <a:close/>
                    <a:moveTo>
                      <a:pt x="1266783" y="1028863"/>
                    </a:moveTo>
                    <a:lnTo>
                      <a:pt x="1111002" y="945307"/>
                    </a:lnTo>
                    <a:lnTo>
                      <a:pt x="1149239" y="834845"/>
                    </a:lnTo>
                    <a:lnTo>
                      <a:pt x="1266783" y="1028863"/>
                    </a:lnTo>
                    <a:close/>
                    <a:moveTo>
                      <a:pt x="3048352" y="459554"/>
                    </a:moveTo>
                    <a:lnTo>
                      <a:pt x="2905316" y="534612"/>
                    </a:lnTo>
                    <a:lnTo>
                      <a:pt x="2974710" y="351923"/>
                    </a:lnTo>
                    <a:lnTo>
                      <a:pt x="3048352" y="459554"/>
                    </a:lnTo>
                    <a:close/>
                    <a:moveTo>
                      <a:pt x="5369489" y="840509"/>
                    </a:moveTo>
                    <a:lnTo>
                      <a:pt x="5470039" y="694642"/>
                    </a:lnTo>
                    <a:lnTo>
                      <a:pt x="5553594" y="822099"/>
                    </a:lnTo>
                    <a:lnTo>
                      <a:pt x="5369489" y="840509"/>
                    </a:lnTo>
                    <a:close/>
                    <a:moveTo>
                      <a:pt x="4267693" y="1661900"/>
                    </a:moveTo>
                    <a:lnTo>
                      <a:pt x="4240785" y="1785109"/>
                    </a:lnTo>
                    <a:lnTo>
                      <a:pt x="4094917" y="1708634"/>
                    </a:lnTo>
                    <a:lnTo>
                      <a:pt x="4267693" y="1661900"/>
                    </a:lnTo>
                    <a:close/>
                    <a:moveTo>
                      <a:pt x="4203964" y="1970630"/>
                    </a:moveTo>
                    <a:lnTo>
                      <a:pt x="4243617" y="1787941"/>
                    </a:lnTo>
                    <a:lnTo>
                      <a:pt x="4388069" y="1862999"/>
                    </a:lnTo>
                    <a:lnTo>
                      <a:pt x="4203964" y="1970630"/>
                    </a:lnTo>
                    <a:close/>
                    <a:moveTo>
                      <a:pt x="3374076" y="3104998"/>
                    </a:moveTo>
                    <a:lnTo>
                      <a:pt x="3381157" y="3138987"/>
                    </a:lnTo>
                    <a:lnTo>
                      <a:pt x="3276359" y="3143236"/>
                    </a:lnTo>
                    <a:lnTo>
                      <a:pt x="3219711" y="3020027"/>
                    </a:lnTo>
                    <a:lnTo>
                      <a:pt x="3374076" y="3104998"/>
                    </a:lnTo>
                    <a:close/>
                    <a:moveTo>
                      <a:pt x="2035775" y="2556933"/>
                    </a:moveTo>
                    <a:lnTo>
                      <a:pt x="2052769" y="2464880"/>
                    </a:lnTo>
                    <a:lnTo>
                      <a:pt x="2178810" y="2443637"/>
                    </a:lnTo>
                    <a:lnTo>
                      <a:pt x="2072596" y="2588089"/>
                    </a:lnTo>
                    <a:lnTo>
                      <a:pt x="2035775" y="2556933"/>
                    </a:lnTo>
                    <a:close/>
                    <a:moveTo>
                      <a:pt x="2049937" y="2464880"/>
                    </a:moveTo>
                    <a:lnTo>
                      <a:pt x="2032943" y="2555516"/>
                    </a:lnTo>
                    <a:lnTo>
                      <a:pt x="1946555" y="2483291"/>
                    </a:lnTo>
                    <a:lnTo>
                      <a:pt x="2049937" y="2464880"/>
                    </a:lnTo>
                    <a:close/>
                    <a:moveTo>
                      <a:pt x="2049937" y="2463464"/>
                    </a:moveTo>
                    <a:lnTo>
                      <a:pt x="1945139" y="2481874"/>
                    </a:lnTo>
                    <a:lnTo>
                      <a:pt x="1932393" y="2471961"/>
                    </a:lnTo>
                    <a:lnTo>
                      <a:pt x="2051353" y="2454967"/>
                    </a:lnTo>
                    <a:lnTo>
                      <a:pt x="2049937" y="2463464"/>
                    </a:lnTo>
                    <a:close/>
                    <a:moveTo>
                      <a:pt x="2032943" y="2556933"/>
                    </a:moveTo>
                    <a:lnTo>
                      <a:pt x="2023029" y="2612164"/>
                    </a:lnTo>
                    <a:lnTo>
                      <a:pt x="1793606" y="2508782"/>
                    </a:lnTo>
                    <a:lnTo>
                      <a:pt x="1945139" y="2483291"/>
                    </a:lnTo>
                    <a:lnTo>
                      <a:pt x="2032943" y="2556933"/>
                    </a:lnTo>
                    <a:close/>
                    <a:moveTo>
                      <a:pt x="2024445" y="2613580"/>
                    </a:moveTo>
                    <a:lnTo>
                      <a:pt x="2034359" y="2558349"/>
                    </a:lnTo>
                    <a:lnTo>
                      <a:pt x="2069764" y="2588089"/>
                    </a:lnTo>
                    <a:lnTo>
                      <a:pt x="2044272" y="2622077"/>
                    </a:lnTo>
                    <a:lnTo>
                      <a:pt x="2024445" y="2613580"/>
                    </a:lnTo>
                    <a:close/>
                    <a:moveTo>
                      <a:pt x="2044272" y="2624910"/>
                    </a:moveTo>
                    <a:lnTo>
                      <a:pt x="2015948" y="2663147"/>
                    </a:lnTo>
                    <a:lnTo>
                      <a:pt x="2024445" y="2616413"/>
                    </a:lnTo>
                    <a:lnTo>
                      <a:pt x="2044272" y="2624910"/>
                    </a:lnTo>
                    <a:close/>
                    <a:moveTo>
                      <a:pt x="2047105" y="2623494"/>
                    </a:moveTo>
                    <a:lnTo>
                      <a:pt x="2072596" y="2589505"/>
                    </a:lnTo>
                    <a:lnTo>
                      <a:pt x="2188724" y="2687222"/>
                    </a:lnTo>
                    <a:lnTo>
                      <a:pt x="2047105" y="2623494"/>
                    </a:lnTo>
                    <a:close/>
                    <a:moveTo>
                      <a:pt x="2052769" y="2462048"/>
                    </a:moveTo>
                    <a:lnTo>
                      <a:pt x="2054185" y="2453551"/>
                    </a:lnTo>
                    <a:lnTo>
                      <a:pt x="2183059" y="2435140"/>
                    </a:lnTo>
                    <a:lnTo>
                      <a:pt x="2178810" y="2440805"/>
                    </a:lnTo>
                    <a:lnTo>
                      <a:pt x="2052769" y="2462048"/>
                    </a:lnTo>
                    <a:close/>
                    <a:moveTo>
                      <a:pt x="1129413" y="1003371"/>
                    </a:moveTo>
                    <a:lnTo>
                      <a:pt x="1105337" y="962302"/>
                    </a:lnTo>
                    <a:lnTo>
                      <a:pt x="1109586" y="948140"/>
                    </a:lnTo>
                    <a:lnTo>
                      <a:pt x="1268199" y="1033111"/>
                    </a:lnTo>
                    <a:lnTo>
                      <a:pt x="1282361" y="1055770"/>
                    </a:lnTo>
                    <a:lnTo>
                      <a:pt x="1169066" y="1463633"/>
                    </a:lnTo>
                    <a:lnTo>
                      <a:pt x="1129413" y="1003371"/>
                    </a:lnTo>
                    <a:close/>
                    <a:moveTo>
                      <a:pt x="1169066" y="1474963"/>
                    </a:moveTo>
                    <a:lnTo>
                      <a:pt x="1173314" y="1521697"/>
                    </a:lnTo>
                    <a:lnTo>
                      <a:pt x="1157737" y="1514616"/>
                    </a:lnTo>
                    <a:lnTo>
                      <a:pt x="1169066" y="1474963"/>
                    </a:lnTo>
                    <a:close/>
                    <a:moveTo>
                      <a:pt x="1814849" y="1051522"/>
                    </a:moveTo>
                    <a:lnTo>
                      <a:pt x="2096671" y="911319"/>
                    </a:lnTo>
                    <a:lnTo>
                      <a:pt x="1921064" y="1183227"/>
                    </a:lnTo>
                    <a:lnTo>
                      <a:pt x="1814849" y="1051522"/>
                    </a:lnTo>
                    <a:close/>
                    <a:moveTo>
                      <a:pt x="2726876" y="952388"/>
                    </a:moveTo>
                    <a:lnTo>
                      <a:pt x="2742454" y="949556"/>
                    </a:lnTo>
                    <a:lnTo>
                      <a:pt x="2755200" y="952388"/>
                    </a:lnTo>
                    <a:lnTo>
                      <a:pt x="2726876" y="952388"/>
                    </a:lnTo>
                    <a:close/>
                    <a:moveTo>
                      <a:pt x="4590584" y="905654"/>
                    </a:moveTo>
                    <a:lnTo>
                      <a:pt x="4654313" y="803688"/>
                    </a:lnTo>
                    <a:lnTo>
                      <a:pt x="4788851" y="901405"/>
                    </a:lnTo>
                    <a:lnTo>
                      <a:pt x="4590584" y="905654"/>
                    </a:lnTo>
                    <a:close/>
                    <a:moveTo>
                      <a:pt x="4572174" y="907070"/>
                    </a:moveTo>
                    <a:lnTo>
                      <a:pt x="4586336" y="907070"/>
                    </a:lnTo>
                    <a:lnTo>
                      <a:pt x="4580671" y="915567"/>
                    </a:lnTo>
                    <a:lnTo>
                      <a:pt x="4572174" y="907070"/>
                    </a:lnTo>
                    <a:close/>
                    <a:moveTo>
                      <a:pt x="4092085" y="1707218"/>
                    </a:moveTo>
                    <a:lnTo>
                      <a:pt x="3970292" y="1643489"/>
                    </a:lnTo>
                    <a:lnTo>
                      <a:pt x="3970292" y="1643489"/>
                    </a:lnTo>
                    <a:lnTo>
                      <a:pt x="3936304" y="1749704"/>
                    </a:lnTo>
                    <a:lnTo>
                      <a:pt x="3896650" y="1761033"/>
                    </a:lnTo>
                    <a:lnTo>
                      <a:pt x="3920726" y="1565599"/>
                    </a:lnTo>
                    <a:lnTo>
                      <a:pt x="3920726" y="1565599"/>
                    </a:lnTo>
                    <a:lnTo>
                      <a:pt x="3883905" y="1507535"/>
                    </a:lnTo>
                    <a:lnTo>
                      <a:pt x="4175640" y="1392824"/>
                    </a:lnTo>
                    <a:lnTo>
                      <a:pt x="4307346" y="1477795"/>
                    </a:lnTo>
                    <a:lnTo>
                      <a:pt x="4267693" y="1661900"/>
                    </a:lnTo>
                    <a:lnTo>
                      <a:pt x="4092085" y="1707218"/>
                    </a:lnTo>
                    <a:close/>
                    <a:moveTo>
                      <a:pt x="3267862" y="2915229"/>
                    </a:moveTo>
                    <a:lnTo>
                      <a:pt x="3201301" y="2978958"/>
                    </a:lnTo>
                    <a:lnTo>
                      <a:pt x="3146069" y="2857165"/>
                    </a:lnTo>
                    <a:lnTo>
                      <a:pt x="3267862" y="2915229"/>
                    </a:lnTo>
                    <a:close/>
                    <a:moveTo>
                      <a:pt x="2544188" y="2685806"/>
                    </a:moveTo>
                    <a:lnTo>
                      <a:pt x="2631991" y="2748118"/>
                    </a:lnTo>
                    <a:lnTo>
                      <a:pt x="2670229" y="2801934"/>
                    </a:lnTo>
                    <a:lnTo>
                      <a:pt x="2544188" y="2685806"/>
                    </a:lnTo>
                    <a:close/>
                    <a:moveTo>
                      <a:pt x="2402569" y="2556933"/>
                    </a:moveTo>
                    <a:lnTo>
                      <a:pt x="2430893" y="2582424"/>
                    </a:lnTo>
                    <a:lnTo>
                      <a:pt x="2449303" y="2614997"/>
                    </a:lnTo>
                    <a:lnTo>
                      <a:pt x="2398320" y="2578175"/>
                    </a:lnTo>
                    <a:lnTo>
                      <a:pt x="2402569" y="2556933"/>
                    </a:lnTo>
                    <a:close/>
                    <a:moveTo>
                      <a:pt x="1874329" y="1660484"/>
                    </a:moveTo>
                    <a:lnTo>
                      <a:pt x="1966381" y="1734126"/>
                    </a:lnTo>
                    <a:lnTo>
                      <a:pt x="1744040" y="1799270"/>
                    </a:lnTo>
                    <a:lnTo>
                      <a:pt x="1456553" y="1659068"/>
                    </a:lnTo>
                    <a:lnTo>
                      <a:pt x="1450888" y="1647738"/>
                    </a:lnTo>
                    <a:lnTo>
                      <a:pt x="1874329" y="1660484"/>
                    </a:lnTo>
                    <a:close/>
                    <a:moveTo>
                      <a:pt x="1273864" y="1569848"/>
                    </a:moveTo>
                    <a:lnTo>
                      <a:pt x="1314933" y="1571264"/>
                    </a:lnTo>
                    <a:lnTo>
                      <a:pt x="1307852" y="1586842"/>
                    </a:lnTo>
                    <a:lnTo>
                      <a:pt x="1273864" y="1569848"/>
                    </a:lnTo>
                    <a:close/>
                    <a:moveTo>
                      <a:pt x="1285194" y="1055770"/>
                    </a:moveTo>
                    <a:lnTo>
                      <a:pt x="1285194" y="1055770"/>
                    </a:lnTo>
                    <a:lnTo>
                      <a:pt x="1272448" y="1034527"/>
                    </a:lnTo>
                    <a:lnTo>
                      <a:pt x="1278113" y="1037360"/>
                    </a:lnTo>
                    <a:lnTo>
                      <a:pt x="1278113" y="1037360"/>
                    </a:lnTo>
                    <a:lnTo>
                      <a:pt x="1504703" y="952388"/>
                    </a:lnTo>
                    <a:lnTo>
                      <a:pt x="1504703" y="952388"/>
                    </a:lnTo>
                    <a:lnTo>
                      <a:pt x="1622247" y="781029"/>
                    </a:lnTo>
                    <a:lnTo>
                      <a:pt x="1705802" y="897157"/>
                    </a:lnTo>
                    <a:lnTo>
                      <a:pt x="1584010" y="1163401"/>
                    </a:lnTo>
                    <a:lnTo>
                      <a:pt x="1465050" y="1222881"/>
                    </a:lnTo>
                    <a:lnTo>
                      <a:pt x="1173314" y="1497622"/>
                    </a:lnTo>
                    <a:lnTo>
                      <a:pt x="1173314" y="1497622"/>
                    </a:lnTo>
                    <a:lnTo>
                      <a:pt x="1353171" y="1483460"/>
                    </a:lnTo>
                    <a:lnTo>
                      <a:pt x="1313518" y="1567015"/>
                    </a:lnTo>
                    <a:lnTo>
                      <a:pt x="1268199" y="1565599"/>
                    </a:lnTo>
                    <a:lnTo>
                      <a:pt x="1174731" y="1520281"/>
                    </a:lnTo>
                    <a:lnTo>
                      <a:pt x="1170482" y="1467882"/>
                    </a:lnTo>
                    <a:lnTo>
                      <a:pt x="1285194" y="1055770"/>
                    </a:lnTo>
                    <a:close/>
                    <a:moveTo>
                      <a:pt x="2256701" y="1169066"/>
                    </a:moveTo>
                    <a:lnTo>
                      <a:pt x="2003203" y="1285193"/>
                    </a:lnTo>
                    <a:lnTo>
                      <a:pt x="1962133" y="1234210"/>
                    </a:lnTo>
                    <a:lnTo>
                      <a:pt x="2024445" y="1156320"/>
                    </a:lnTo>
                    <a:lnTo>
                      <a:pt x="2256701" y="1169066"/>
                    </a:lnTo>
                    <a:close/>
                    <a:moveTo>
                      <a:pt x="1749704" y="1453720"/>
                    </a:moveTo>
                    <a:lnTo>
                      <a:pt x="2113666" y="1425396"/>
                    </a:lnTo>
                    <a:lnTo>
                      <a:pt x="2188724" y="1520281"/>
                    </a:lnTo>
                    <a:lnTo>
                      <a:pt x="1895572" y="1661900"/>
                    </a:lnTo>
                    <a:lnTo>
                      <a:pt x="1895572" y="1661900"/>
                    </a:lnTo>
                    <a:lnTo>
                      <a:pt x="1896988" y="1663316"/>
                    </a:lnTo>
                    <a:lnTo>
                      <a:pt x="2201469" y="1535859"/>
                    </a:lnTo>
                    <a:lnTo>
                      <a:pt x="2239707" y="1584010"/>
                    </a:lnTo>
                    <a:lnTo>
                      <a:pt x="2241123" y="1654819"/>
                    </a:lnTo>
                    <a:lnTo>
                      <a:pt x="1969214" y="1734126"/>
                    </a:lnTo>
                    <a:lnTo>
                      <a:pt x="1874329" y="1659068"/>
                    </a:lnTo>
                    <a:lnTo>
                      <a:pt x="1874329" y="1659068"/>
                    </a:lnTo>
                    <a:lnTo>
                      <a:pt x="1449472" y="1646322"/>
                    </a:lnTo>
                    <a:lnTo>
                      <a:pt x="1409818" y="1571264"/>
                    </a:lnTo>
                    <a:lnTo>
                      <a:pt x="1409818" y="1571264"/>
                    </a:lnTo>
                    <a:lnTo>
                      <a:pt x="1316350" y="1569848"/>
                    </a:lnTo>
                    <a:lnTo>
                      <a:pt x="1356003" y="1486292"/>
                    </a:lnTo>
                    <a:lnTo>
                      <a:pt x="1518865" y="1473547"/>
                    </a:lnTo>
                    <a:lnTo>
                      <a:pt x="1523114" y="1493373"/>
                    </a:lnTo>
                    <a:lnTo>
                      <a:pt x="1405570" y="1559934"/>
                    </a:lnTo>
                    <a:lnTo>
                      <a:pt x="1405570" y="1559934"/>
                    </a:lnTo>
                    <a:lnTo>
                      <a:pt x="1406986" y="1561350"/>
                    </a:lnTo>
                    <a:lnTo>
                      <a:pt x="1616582" y="1465049"/>
                    </a:lnTo>
                    <a:lnTo>
                      <a:pt x="1685976" y="1459385"/>
                    </a:lnTo>
                    <a:lnTo>
                      <a:pt x="1664733" y="1584010"/>
                    </a:lnTo>
                    <a:lnTo>
                      <a:pt x="1664733" y="1585426"/>
                    </a:lnTo>
                    <a:lnTo>
                      <a:pt x="1749704" y="1453720"/>
                    </a:lnTo>
                    <a:close/>
                    <a:moveTo>
                      <a:pt x="2190140" y="1518865"/>
                    </a:moveTo>
                    <a:lnTo>
                      <a:pt x="2115082" y="1425396"/>
                    </a:lnTo>
                    <a:lnTo>
                      <a:pt x="2235458" y="1415483"/>
                    </a:lnTo>
                    <a:lnTo>
                      <a:pt x="2238290" y="1496206"/>
                    </a:lnTo>
                    <a:lnTo>
                      <a:pt x="2190140" y="1518865"/>
                    </a:lnTo>
                    <a:close/>
                    <a:moveTo>
                      <a:pt x="2239707" y="1494789"/>
                    </a:moveTo>
                    <a:lnTo>
                      <a:pt x="2236874" y="1415483"/>
                    </a:lnTo>
                    <a:lnTo>
                      <a:pt x="2413898" y="1401321"/>
                    </a:lnTo>
                    <a:lnTo>
                      <a:pt x="2419563" y="1406986"/>
                    </a:lnTo>
                    <a:lnTo>
                      <a:pt x="2239707" y="1494789"/>
                    </a:lnTo>
                    <a:close/>
                    <a:moveTo>
                      <a:pt x="2239707" y="1517448"/>
                    </a:moveTo>
                    <a:lnTo>
                      <a:pt x="2239707" y="1497622"/>
                    </a:lnTo>
                    <a:lnTo>
                      <a:pt x="2423812" y="1408402"/>
                    </a:lnTo>
                    <a:lnTo>
                      <a:pt x="2423812" y="1408402"/>
                    </a:lnTo>
                    <a:lnTo>
                      <a:pt x="2416731" y="1401321"/>
                    </a:lnTo>
                    <a:lnTo>
                      <a:pt x="2541355" y="1391407"/>
                    </a:lnTo>
                    <a:lnTo>
                      <a:pt x="2239707" y="1517448"/>
                    </a:lnTo>
                    <a:close/>
                    <a:moveTo>
                      <a:pt x="3039854" y="1351754"/>
                    </a:moveTo>
                    <a:lnTo>
                      <a:pt x="2554101" y="1389991"/>
                    </a:lnTo>
                    <a:lnTo>
                      <a:pt x="3045520" y="1184644"/>
                    </a:lnTo>
                    <a:lnTo>
                      <a:pt x="3066762" y="1200222"/>
                    </a:lnTo>
                    <a:lnTo>
                      <a:pt x="3039854" y="1351754"/>
                    </a:lnTo>
                    <a:close/>
                    <a:moveTo>
                      <a:pt x="2765114" y="950972"/>
                    </a:moveTo>
                    <a:lnTo>
                      <a:pt x="2746703" y="948140"/>
                    </a:lnTo>
                    <a:lnTo>
                      <a:pt x="2990288" y="898573"/>
                    </a:lnTo>
                    <a:lnTo>
                      <a:pt x="3022861" y="945307"/>
                    </a:lnTo>
                    <a:lnTo>
                      <a:pt x="2765114" y="950972"/>
                    </a:lnTo>
                    <a:close/>
                    <a:moveTo>
                      <a:pt x="3150318" y="595508"/>
                    </a:moveTo>
                    <a:lnTo>
                      <a:pt x="3175809" y="606838"/>
                    </a:lnTo>
                    <a:lnTo>
                      <a:pt x="3172977" y="621000"/>
                    </a:lnTo>
                    <a:lnTo>
                      <a:pt x="3150318" y="595508"/>
                    </a:lnTo>
                    <a:close/>
                    <a:moveTo>
                      <a:pt x="4273358" y="611086"/>
                    </a:moveTo>
                    <a:lnTo>
                      <a:pt x="4412144" y="749873"/>
                    </a:lnTo>
                    <a:lnTo>
                      <a:pt x="4431971" y="908486"/>
                    </a:lnTo>
                    <a:lnTo>
                      <a:pt x="4114744" y="916984"/>
                    </a:lnTo>
                    <a:lnTo>
                      <a:pt x="4161478" y="803688"/>
                    </a:lnTo>
                    <a:lnTo>
                      <a:pt x="4161478" y="803688"/>
                    </a:lnTo>
                    <a:lnTo>
                      <a:pt x="4041102" y="881579"/>
                    </a:lnTo>
                    <a:lnTo>
                      <a:pt x="3960379" y="717301"/>
                    </a:lnTo>
                    <a:lnTo>
                      <a:pt x="3960379" y="717301"/>
                    </a:lnTo>
                    <a:lnTo>
                      <a:pt x="3600667" y="922648"/>
                    </a:lnTo>
                    <a:lnTo>
                      <a:pt x="3895234" y="548774"/>
                    </a:lnTo>
                    <a:lnTo>
                      <a:pt x="4273358" y="611086"/>
                    </a:lnTo>
                    <a:close/>
                    <a:moveTo>
                      <a:pt x="2947802" y="2763697"/>
                    </a:moveTo>
                    <a:lnTo>
                      <a:pt x="2942138" y="2770778"/>
                    </a:lnTo>
                    <a:lnTo>
                      <a:pt x="2865663" y="2749535"/>
                    </a:lnTo>
                    <a:lnTo>
                      <a:pt x="2780692" y="2684390"/>
                    </a:lnTo>
                    <a:lnTo>
                      <a:pt x="2780692" y="2684390"/>
                    </a:lnTo>
                    <a:lnTo>
                      <a:pt x="2947802" y="2763697"/>
                    </a:lnTo>
                    <a:close/>
                    <a:moveTo>
                      <a:pt x="1969214" y="1736958"/>
                    </a:moveTo>
                    <a:lnTo>
                      <a:pt x="2156151" y="1885658"/>
                    </a:lnTo>
                    <a:lnTo>
                      <a:pt x="2136324" y="1991873"/>
                    </a:lnTo>
                    <a:lnTo>
                      <a:pt x="1748288" y="1802103"/>
                    </a:lnTo>
                    <a:lnTo>
                      <a:pt x="1969214" y="1736958"/>
                    </a:lnTo>
                    <a:close/>
                    <a:moveTo>
                      <a:pt x="4433387" y="908486"/>
                    </a:moveTo>
                    <a:lnTo>
                      <a:pt x="4413560" y="752705"/>
                    </a:lnTo>
                    <a:lnTo>
                      <a:pt x="4566510" y="905654"/>
                    </a:lnTo>
                    <a:lnTo>
                      <a:pt x="4433387" y="908486"/>
                    </a:lnTo>
                    <a:close/>
                    <a:moveTo>
                      <a:pt x="3508614" y="2661731"/>
                    </a:moveTo>
                    <a:lnTo>
                      <a:pt x="3569510" y="2691471"/>
                    </a:lnTo>
                    <a:lnTo>
                      <a:pt x="3623325" y="2718378"/>
                    </a:lnTo>
                    <a:lnTo>
                      <a:pt x="3586505" y="2804766"/>
                    </a:lnTo>
                    <a:lnTo>
                      <a:pt x="3508614" y="2661731"/>
                    </a:lnTo>
                    <a:close/>
                    <a:moveTo>
                      <a:pt x="3328758" y="2942136"/>
                    </a:moveTo>
                    <a:lnTo>
                      <a:pt x="3340087" y="2936472"/>
                    </a:lnTo>
                    <a:lnTo>
                      <a:pt x="3342920" y="2949217"/>
                    </a:lnTo>
                    <a:lnTo>
                      <a:pt x="3328758" y="2942136"/>
                    </a:lnTo>
                    <a:close/>
                    <a:moveTo>
                      <a:pt x="3308931" y="2878408"/>
                    </a:moveTo>
                    <a:lnTo>
                      <a:pt x="3308931" y="2878408"/>
                    </a:lnTo>
                    <a:lnTo>
                      <a:pt x="3316012" y="2809015"/>
                    </a:lnTo>
                    <a:lnTo>
                      <a:pt x="3340087" y="2933639"/>
                    </a:lnTo>
                    <a:lnTo>
                      <a:pt x="3325925" y="2940720"/>
                    </a:lnTo>
                    <a:lnTo>
                      <a:pt x="3270694" y="2915229"/>
                    </a:lnTo>
                    <a:lnTo>
                      <a:pt x="3308931" y="2878408"/>
                    </a:lnTo>
                    <a:close/>
                    <a:moveTo>
                      <a:pt x="2950635" y="2763697"/>
                    </a:moveTo>
                    <a:lnTo>
                      <a:pt x="2990288" y="2782107"/>
                    </a:lnTo>
                    <a:lnTo>
                      <a:pt x="2944970" y="2769361"/>
                    </a:lnTo>
                    <a:lnTo>
                      <a:pt x="2950635" y="2763697"/>
                    </a:lnTo>
                    <a:close/>
                    <a:moveTo>
                      <a:pt x="2382742" y="2494620"/>
                    </a:moveTo>
                    <a:lnTo>
                      <a:pt x="2411066" y="2507366"/>
                    </a:lnTo>
                    <a:lnTo>
                      <a:pt x="2405401" y="2534273"/>
                    </a:lnTo>
                    <a:lnTo>
                      <a:pt x="2382742" y="2494620"/>
                    </a:lnTo>
                    <a:close/>
                    <a:moveTo>
                      <a:pt x="2403985" y="2401152"/>
                    </a:moveTo>
                    <a:lnTo>
                      <a:pt x="2337424" y="2412481"/>
                    </a:lnTo>
                    <a:lnTo>
                      <a:pt x="2276528" y="2304851"/>
                    </a:lnTo>
                    <a:lnTo>
                      <a:pt x="2403985" y="2401152"/>
                    </a:lnTo>
                    <a:close/>
                    <a:moveTo>
                      <a:pt x="3158815" y="1241291"/>
                    </a:moveTo>
                    <a:lnTo>
                      <a:pt x="3165896" y="1271031"/>
                    </a:lnTo>
                    <a:lnTo>
                      <a:pt x="3069595" y="1198806"/>
                    </a:lnTo>
                    <a:lnTo>
                      <a:pt x="3071011" y="1193141"/>
                    </a:lnTo>
                    <a:lnTo>
                      <a:pt x="3158815" y="1241291"/>
                    </a:lnTo>
                    <a:close/>
                    <a:moveTo>
                      <a:pt x="3072427" y="1007620"/>
                    </a:moveTo>
                    <a:lnTo>
                      <a:pt x="3029942" y="946724"/>
                    </a:lnTo>
                    <a:lnTo>
                      <a:pt x="3114913" y="945307"/>
                    </a:lnTo>
                    <a:lnTo>
                      <a:pt x="3102167" y="1013285"/>
                    </a:lnTo>
                    <a:lnTo>
                      <a:pt x="3072427" y="1007620"/>
                    </a:lnTo>
                    <a:close/>
                    <a:moveTo>
                      <a:pt x="3100751" y="1014701"/>
                    </a:moveTo>
                    <a:lnTo>
                      <a:pt x="3096502" y="1041608"/>
                    </a:lnTo>
                    <a:lnTo>
                      <a:pt x="3073843" y="1010452"/>
                    </a:lnTo>
                    <a:lnTo>
                      <a:pt x="3100751" y="1014701"/>
                    </a:lnTo>
                    <a:close/>
                    <a:moveTo>
                      <a:pt x="4157230" y="809353"/>
                    </a:moveTo>
                    <a:lnTo>
                      <a:pt x="4111911" y="918400"/>
                    </a:lnTo>
                    <a:lnTo>
                      <a:pt x="4059512" y="919816"/>
                    </a:lnTo>
                    <a:lnTo>
                      <a:pt x="4042519" y="884411"/>
                    </a:lnTo>
                    <a:lnTo>
                      <a:pt x="4157230" y="809353"/>
                    </a:lnTo>
                    <a:close/>
                    <a:moveTo>
                      <a:pt x="3961795" y="1280945"/>
                    </a:moveTo>
                    <a:lnTo>
                      <a:pt x="4001449" y="1278112"/>
                    </a:lnTo>
                    <a:lnTo>
                      <a:pt x="4174224" y="1389991"/>
                    </a:lnTo>
                    <a:lnTo>
                      <a:pt x="3883905" y="1504703"/>
                    </a:lnTo>
                    <a:lnTo>
                      <a:pt x="3875407" y="1490541"/>
                    </a:lnTo>
                    <a:lnTo>
                      <a:pt x="3961795" y="1280945"/>
                    </a:lnTo>
                    <a:close/>
                    <a:moveTo>
                      <a:pt x="3864078" y="1511784"/>
                    </a:moveTo>
                    <a:lnTo>
                      <a:pt x="3872576" y="1491957"/>
                    </a:lnTo>
                    <a:lnTo>
                      <a:pt x="3881072" y="1504703"/>
                    </a:lnTo>
                    <a:lnTo>
                      <a:pt x="3864078" y="1511784"/>
                    </a:lnTo>
                    <a:close/>
                    <a:moveTo>
                      <a:pt x="3752199" y="1297939"/>
                    </a:moveTo>
                    <a:lnTo>
                      <a:pt x="3958963" y="1282361"/>
                    </a:lnTo>
                    <a:lnTo>
                      <a:pt x="3872576" y="1489125"/>
                    </a:lnTo>
                    <a:lnTo>
                      <a:pt x="3752199" y="1297939"/>
                    </a:lnTo>
                    <a:close/>
                    <a:moveTo>
                      <a:pt x="3011531" y="2790604"/>
                    </a:moveTo>
                    <a:lnTo>
                      <a:pt x="3127658" y="2823177"/>
                    </a:lnTo>
                    <a:lnTo>
                      <a:pt x="3140404" y="2852916"/>
                    </a:lnTo>
                    <a:lnTo>
                      <a:pt x="3011531" y="2790604"/>
                    </a:lnTo>
                    <a:close/>
                    <a:moveTo>
                      <a:pt x="3051185" y="2654650"/>
                    </a:moveTo>
                    <a:lnTo>
                      <a:pt x="3127658" y="2820344"/>
                    </a:lnTo>
                    <a:lnTo>
                      <a:pt x="3001618" y="2784939"/>
                    </a:lnTo>
                    <a:lnTo>
                      <a:pt x="2952051" y="2760864"/>
                    </a:lnTo>
                    <a:lnTo>
                      <a:pt x="3051185" y="2654650"/>
                    </a:lnTo>
                    <a:close/>
                    <a:moveTo>
                      <a:pt x="1972047" y="1735542"/>
                    </a:moveTo>
                    <a:lnTo>
                      <a:pt x="2241123" y="1656235"/>
                    </a:lnTo>
                    <a:lnTo>
                      <a:pt x="2252452" y="2047104"/>
                    </a:lnTo>
                    <a:lnTo>
                      <a:pt x="2139157" y="1991873"/>
                    </a:lnTo>
                    <a:lnTo>
                      <a:pt x="2158984" y="1884242"/>
                    </a:lnTo>
                    <a:lnTo>
                      <a:pt x="2158984" y="1884242"/>
                    </a:lnTo>
                    <a:lnTo>
                      <a:pt x="1972047" y="1735542"/>
                    </a:lnTo>
                    <a:close/>
                    <a:moveTo>
                      <a:pt x="3069595" y="2630574"/>
                    </a:moveTo>
                    <a:lnTo>
                      <a:pt x="3051185" y="2650401"/>
                    </a:lnTo>
                    <a:lnTo>
                      <a:pt x="3017196" y="2575343"/>
                    </a:lnTo>
                    <a:lnTo>
                      <a:pt x="3069595" y="2630574"/>
                    </a:lnTo>
                    <a:close/>
                    <a:moveTo>
                      <a:pt x="2854334" y="2226960"/>
                    </a:moveTo>
                    <a:lnTo>
                      <a:pt x="2715547" y="1807768"/>
                    </a:lnTo>
                    <a:lnTo>
                      <a:pt x="2729709" y="1810600"/>
                    </a:lnTo>
                    <a:lnTo>
                      <a:pt x="2896819" y="2239706"/>
                    </a:lnTo>
                    <a:lnTo>
                      <a:pt x="2854334" y="2226960"/>
                    </a:lnTo>
                    <a:close/>
                    <a:moveTo>
                      <a:pt x="2714130" y="1804935"/>
                    </a:moveTo>
                    <a:lnTo>
                      <a:pt x="2641905" y="1585426"/>
                    </a:lnTo>
                    <a:lnTo>
                      <a:pt x="2728292" y="1807768"/>
                    </a:lnTo>
                    <a:lnTo>
                      <a:pt x="2714130" y="1804935"/>
                    </a:lnTo>
                    <a:close/>
                    <a:moveTo>
                      <a:pt x="3393902" y="2280775"/>
                    </a:moveTo>
                    <a:lnTo>
                      <a:pt x="3688471" y="2452135"/>
                    </a:lnTo>
                    <a:lnTo>
                      <a:pt x="3327342" y="2354417"/>
                    </a:lnTo>
                    <a:lnTo>
                      <a:pt x="3393902" y="2280775"/>
                    </a:lnTo>
                    <a:close/>
                    <a:moveTo>
                      <a:pt x="3324509" y="2353001"/>
                    </a:moveTo>
                    <a:lnTo>
                      <a:pt x="3124826" y="2299186"/>
                    </a:lnTo>
                    <a:lnTo>
                      <a:pt x="3171561" y="2156151"/>
                    </a:lnTo>
                    <a:lnTo>
                      <a:pt x="3184306" y="2154735"/>
                    </a:lnTo>
                    <a:lnTo>
                      <a:pt x="3182890" y="2157567"/>
                    </a:lnTo>
                    <a:lnTo>
                      <a:pt x="3182890" y="2157567"/>
                    </a:lnTo>
                    <a:lnTo>
                      <a:pt x="3392486" y="2279359"/>
                    </a:lnTo>
                    <a:lnTo>
                      <a:pt x="3324509" y="2353001"/>
                    </a:lnTo>
                    <a:close/>
                    <a:moveTo>
                      <a:pt x="2321846" y="2083925"/>
                    </a:moveTo>
                    <a:lnTo>
                      <a:pt x="2260950" y="2292105"/>
                    </a:lnTo>
                    <a:lnTo>
                      <a:pt x="2253869" y="2051352"/>
                    </a:lnTo>
                    <a:lnTo>
                      <a:pt x="2321846" y="2083925"/>
                    </a:lnTo>
                    <a:close/>
                    <a:moveTo>
                      <a:pt x="2253869" y="2048520"/>
                    </a:moveTo>
                    <a:lnTo>
                      <a:pt x="2243955" y="1656235"/>
                    </a:lnTo>
                    <a:lnTo>
                      <a:pt x="2287857" y="1643489"/>
                    </a:lnTo>
                    <a:lnTo>
                      <a:pt x="2408233" y="1792190"/>
                    </a:lnTo>
                    <a:lnTo>
                      <a:pt x="2323262" y="2081092"/>
                    </a:lnTo>
                    <a:lnTo>
                      <a:pt x="2253869" y="2048520"/>
                    </a:lnTo>
                    <a:close/>
                    <a:moveTo>
                      <a:pt x="2843004" y="2336007"/>
                    </a:moveTo>
                    <a:lnTo>
                      <a:pt x="2488956" y="2163232"/>
                    </a:lnTo>
                    <a:lnTo>
                      <a:pt x="2535691" y="1952219"/>
                    </a:lnTo>
                    <a:lnTo>
                      <a:pt x="2843004" y="2336007"/>
                    </a:lnTo>
                    <a:close/>
                    <a:moveTo>
                      <a:pt x="2957715" y="2394071"/>
                    </a:moveTo>
                    <a:lnTo>
                      <a:pt x="3020028" y="2552684"/>
                    </a:lnTo>
                    <a:lnTo>
                      <a:pt x="2850085" y="2341672"/>
                    </a:lnTo>
                    <a:lnTo>
                      <a:pt x="2957715" y="2394071"/>
                    </a:lnTo>
                    <a:close/>
                    <a:moveTo>
                      <a:pt x="2847253" y="2337423"/>
                    </a:moveTo>
                    <a:lnTo>
                      <a:pt x="2535691" y="1949387"/>
                    </a:lnTo>
                    <a:lnTo>
                      <a:pt x="2573928" y="1778028"/>
                    </a:lnTo>
                    <a:lnTo>
                      <a:pt x="2712715" y="1804935"/>
                    </a:lnTo>
                    <a:lnTo>
                      <a:pt x="2851501" y="2226960"/>
                    </a:lnTo>
                    <a:lnTo>
                      <a:pt x="2851501" y="2226960"/>
                    </a:lnTo>
                    <a:lnTo>
                      <a:pt x="2898235" y="2239706"/>
                    </a:lnTo>
                    <a:lnTo>
                      <a:pt x="2957715" y="2389822"/>
                    </a:lnTo>
                    <a:lnTo>
                      <a:pt x="2847253" y="2337423"/>
                    </a:lnTo>
                    <a:close/>
                    <a:moveTo>
                      <a:pt x="2534274" y="1947971"/>
                    </a:moveTo>
                    <a:lnTo>
                      <a:pt x="2408233" y="1792190"/>
                    </a:lnTo>
                    <a:lnTo>
                      <a:pt x="2420979" y="1749704"/>
                    </a:lnTo>
                    <a:lnTo>
                      <a:pt x="2571095" y="1779444"/>
                    </a:lnTo>
                    <a:lnTo>
                      <a:pt x="2534274" y="1947971"/>
                    </a:lnTo>
                    <a:close/>
                    <a:moveTo>
                      <a:pt x="2420979" y="1746871"/>
                    </a:moveTo>
                    <a:lnTo>
                      <a:pt x="2420979" y="1746871"/>
                    </a:lnTo>
                    <a:lnTo>
                      <a:pt x="2408233" y="1789357"/>
                    </a:lnTo>
                    <a:lnTo>
                      <a:pt x="2289273" y="1642073"/>
                    </a:lnTo>
                    <a:lnTo>
                      <a:pt x="2623495" y="1542940"/>
                    </a:lnTo>
                    <a:lnTo>
                      <a:pt x="2572511" y="1776611"/>
                    </a:lnTo>
                    <a:lnTo>
                      <a:pt x="2420979" y="1746871"/>
                    </a:lnTo>
                    <a:close/>
                    <a:moveTo>
                      <a:pt x="2408233" y="1793606"/>
                    </a:moveTo>
                    <a:lnTo>
                      <a:pt x="2534274" y="1949387"/>
                    </a:lnTo>
                    <a:lnTo>
                      <a:pt x="2487540" y="2160399"/>
                    </a:lnTo>
                    <a:lnTo>
                      <a:pt x="2323262" y="2081092"/>
                    </a:lnTo>
                    <a:lnTo>
                      <a:pt x="2408233" y="1793606"/>
                    </a:lnTo>
                    <a:close/>
                    <a:moveTo>
                      <a:pt x="3310347" y="1892739"/>
                    </a:moveTo>
                    <a:lnTo>
                      <a:pt x="3304682" y="1904069"/>
                    </a:lnTo>
                    <a:lnTo>
                      <a:pt x="3211214" y="1868664"/>
                    </a:lnTo>
                    <a:lnTo>
                      <a:pt x="3209797" y="1868664"/>
                    </a:lnTo>
                    <a:lnTo>
                      <a:pt x="3293353" y="1928144"/>
                    </a:lnTo>
                    <a:lnTo>
                      <a:pt x="3185723" y="2153318"/>
                    </a:lnTo>
                    <a:lnTo>
                      <a:pt x="3170144" y="2154735"/>
                    </a:lnTo>
                    <a:lnTo>
                      <a:pt x="3170144" y="2154735"/>
                    </a:lnTo>
                    <a:lnTo>
                      <a:pt x="3121994" y="2299186"/>
                    </a:lnTo>
                    <a:lnTo>
                      <a:pt x="3031358" y="2275111"/>
                    </a:lnTo>
                    <a:lnTo>
                      <a:pt x="3021444" y="1476379"/>
                    </a:lnTo>
                    <a:lnTo>
                      <a:pt x="3243786" y="1605252"/>
                    </a:lnTo>
                    <a:lnTo>
                      <a:pt x="3310347" y="1892739"/>
                    </a:lnTo>
                    <a:close/>
                    <a:moveTo>
                      <a:pt x="3544019" y="2106584"/>
                    </a:moveTo>
                    <a:lnTo>
                      <a:pt x="3188554" y="2151902"/>
                    </a:lnTo>
                    <a:lnTo>
                      <a:pt x="3296186" y="1928144"/>
                    </a:lnTo>
                    <a:lnTo>
                      <a:pt x="3544019" y="2106584"/>
                    </a:lnTo>
                    <a:close/>
                    <a:moveTo>
                      <a:pt x="3223959" y="1875745"/>
                    </a:moveTo>
                    <a:lnTo>
                      <a:pt x="3303267" y="1905485"/>
                    </a:lnTo>
                    <a:lnTo>
                      <a:pt x="3293353" y="1925311"/>
                    </a:lnTo>
                    <a:lnTo>
                      <a:pt x="3223959" y="1875745"/>
                    </a:lnTo>
                    <a:close/>
                    <a:moveTo>
                      <a:pt x="3121994" y="2300602"/>
                    </a:moveTo>
                    <a:lnTo>
                      <a:pt x="3073843" y="2447886"/>
                    </a:lnTo>
                    <a:lnTo>
                      <a:pt x="3034190" y="2429475"/>
                    </a:lnTo>
                    <a:lnTo>
                      <a:pt x="3032773" y="2277943"/>
                    </a:lnTo>
                    <a:lnTo>
                      <a:pt x="3121994" y="2300602"/>
                    </a:lnTo>
                    <a:close/>
                    <a:moveTo>
                      <a:pt x="3031358" y="2428059"/>
                    </a:moveTo>
                    <a:lnTo>
                      <a:pt x="2959132" y="2392654"/>
                    </a:lnTo>
                    <a:lnTo>
                      <a:pt x="2899652" y="2241122"/>
                    </a:lnTo>
                    <a:lnTo>
                      <a:pt x="3028525" y="2276527"/>
                    </a:lnTo>
                    <a:lnTo>
                      <a:pt x="3031358" y="2428059"/>
                    </a:lnTo>
                    <a:close/>
                    <a:moveTo>
                      <a:pt x="3072427" y="2449302"/>
                    </a:moveTo>
                    <a:lnTo>
                      <a:pt x="3035606" y="2559765"/>
                    </a:lnTo>
                    <a:lnTo>
                      <a:pt x="3034190" y="2429475"/>
                    </a:lnTo>
                    <a:lnTo>
                      <a:pt x="3072427" y="2449302"/>
                    </a:lnTo>
                    <a:close/>
                    <a:moveTo>
                      <a:pt x="3075259" y="2447886"/>
                    </a:moveTo>
                    <a:lnTo>
                      <a:pt x="3123410" y="2300602"/>
                    </a:lnTo>
                    <a:lnTo>
                      <a:pt x="3323093" y="2354417"/>
                    </a:lnTo>
                    <a:lnTo>
                      <a:pt x="3187139" y="2503117"/>
                    </a:lnTo>
                    <a:lnTo>
                      <a:pt x="3075259" y="2447886"/>
                    </a:lnTo>
                    <a:close/>
                    <a:moveTo>
                      <a:pt x="3185723" y="2157567"/>
                    </a:moveTo>
                    <a:lnTo>
                      <a:pt x="3187139" y="2154735"/>
                    </a:lnTo>
                    <a:lnTo>
                      <a:pt x="3546852" y="2109416"/>
                    </a:lnTo>
                    <a:lnTo>
                      <a:pt x="3548267" y="2110833"/>
                    </a:lnTo>
                    <a:lnTo>
                      <a:pt x="3393902" y="2279359"/>
                    </a:lnTo>
                    <a:lnTo>
                      <a:pt x="3185723" y="2157567"/>
                    </a:lnTo>
                    <a:close/>
                    <a:moveTo>
                      <a:pt x="3493036" y="1973462"/>
                    </a:moveTo>
                    <a:lnTo>
                      <a:pt x="3306099" y="1904069"/>
                    </a:lnTo>
                    <a:lnTo>
                      <a:pt x="3311763" y="1892739"/>
                    </a:lnTo>
                    <a:lnTo>
                      <a:pt x="3311763" y="1892739"/>
                    </a:lnTo>
                    <a:lnTo>
                      <a:pt x="3245202" y="1605252"/>
                    </a:lnTo>
                    <a:lnTo>
                      <a:pt x="3372659" y="1678894"/>
                    </a:lnTo>
                    <a:lnTo>
                      <a:pt x="3493036" y="1973462"/>
                    </a:lnTo>
                    <a:close/>
                    <a:moveTo>
                      <a:pt x="3245202" y="1602420"/>
                    </a:moveTo>
                    <a:lnTo>
                      <a:pt x="3184306" y="1341841"/>
                    </a:lnTo>
                    <a:lnTo>
                      <a:pt x="3232457" y="1337592"/>
                    </a:lnTo>
                    <a:lnTo>
                      <a:pt x="3371244" y="1676062"/>
                    </a:lnTo>
                    <a:lnTo>
                      <a:pt x="3245202" y="1602420"/>
                    </a:lnTo>
                    <a:close/>
                    <a:moveTo>
                      <a:pt x="3546852" y="2106584"/>
                    </a:moveTo>
                    <a:lnTo>
                      <a:pt x="3296186" y="1926728"/>
                    </a:lnTo>
                    <a:lnTo>
                      <a:pt x="3306099" y="1905485"/>
                    </a:lnTo>
                    <a:lnTo>
                      <a:pt x="3494452" y="1976294"/>
                    </a:lnTo>
                    <a:lnTo>
                      <a:pt x="3546852" y="2106584"/>
                    </a:lnTo>
                    <a:lnTo>
                      <a:pt x="3546852" y="2106584"/>
                    </a:lnTo>
                    <a:close/>
                    <a:moveTo>
                      <a:pt x="3248035" y="1334760"/>
                    </a:moveTo>
                    <a:lnTo>
                      <a:pt x="3233873" y="1336176"/>
                    </a:lnTo>
                    <a:lnTo>
                      <a:pt x="3226792" y="1320598"/>
                    </a:lnTo>
                    <a:lnTo>
                      <a:pt x="3248035" y="1334760"/>
                    </a:lnTo>
                    <a:close/>
                    <a:moveTo>
                      <a:pt x="3223959" y="1317766"/>
                    </a:moveTo>
                    <a:lnTo>
                      <a:pt x="3231040" y="1336176"/>
                    </a:lnTo>
                    <a:lnTo>
                      <a:pt x="3182890" y="1340425"/>
                    </a:lnTo>
                    <a:lnTo>
                      <a:pt x="3168728" y="1276696"/>
                    </a:lnTo>
                    <a:lnTo>
                      <a:pt x="3223959" y="1317766"/>
                    </a:lnTo>
                    <a:close/>
                    <a:moveTo>
                      <a:pt x="2243955" y="1653403"/>
                    </a:moveTo>
                    <a:lnTo>
                      <a:pt x="2242539" y="1586842"/>
                    </a:lnTo>
                    <a:lnTo>
                      <a:pt x="2286441" y="1642073"/>
                    </a:lnTo>
                    <a:lnTo>
                      <a:pt x="2243955" y="1653403"/>
                    </a:lnTo>
                    <a:close/>
                    <a:moveTo>
                      <a:pt x="3071011" y="2631991"/>
                    </a:moveTo>
                    <a:lnTo>
                      <a:pt x="3301850" y="2869911"/>
                    </a:lnTo>
                    <a:lnTo>
                      <a:pt x="3129075" y="2821760"/>
                    </a:lnTo>
                    <a:lnTo>
                      <a:pt x="3052600" y="2653234"/>
                    </a:lnTo>
                    <a:lnTo>
                      <a:pt x="3071011" y="2631991"/>
                    </a:lnTo>
                    <a:close/>
                    <a:moveTo>
                      <a:pt x="3398152" y="2607916"/>
                    </a:moveTo>
                    <a:lnTo>
                      <a:pt x="3436388" y="2885489"/>
                    </a:lnTo>
                    <a:lnTo>
                      <a:pt x="3342920" y="2932223"/>
                    </a:lnTo>
                    <a:lnTo>
                      <a:pt x="3314596" y="2797685"/>
                    </a:lnTo>
                    <a:lnTo>
                      <a:pt x="3314596" y="2796269"/>
                    </a:lnTo>
                    <a:lnTo>
                      <a:pt x="3307515" y="2872743"/>
                    </a:lnTo>
                    <a:lnTo>
                      <a:pt x="3072427" y="2630574"/>
                    </a:lnTo>
                    <a:lnTo>
                      <a:pt x="3187139" y="2505950"/>
                    </a:lnTo>
                    <a:lnTo>
                      <a:pt x="3398152" y="2607916"/>
                    </a:lnTo>
                    <a:close/>
                    <a:moveTo>
                      <a:pt x="3716795" y="1300771"/>
                    </a:moveTo>
                    <a:lnTo>
                      <a:pt x="3681390" y="1656235"/>
                    </a:lnTo>
                    <a:lnTo>
                      <a:pt x="3253700" y="1337592"/>
                    </a:lnTo>
                    <a:lnTo>
                      <a:pt x="3716795" y="1300771"/>
                    </a:lnTo>
                    <a:close/>
                    <a:moveTo>
                      <a:pt x="3747950" y="1296523"/>
                    </a:moveTo>
                    <a:lnTo>
                      <a:pt x="3718210" y="1299355"/>
                    </a:lnTo>
                    <a:lnTo>
                      <a:pt x="3722459" y="1256869"/>
                    </a:lnTo>
                    <a:lnTo>
                      <a:pt x="3747950" y="1296523"/>
                    </a:lnTo>
                    <a:close/>
                    <a:moveTo>
                      <a:pt x="4004281" y="1178979"/>
                    </a:moveTo>
                    <a:lnTo>
                      <a:pt x="4015611" y="1150655"/>
                    </a:lnTo>
                    <a:lnTo>
                      <a:pt x="4150149" y="1108169"/>
                    </a:lnTo>
                    <a:lnTo>
                      <a:pt x="4202548" y="1215800"/>
                    </a:lnTo>
                    <a:lnTo>
                      <a:pt x="4004281" y="1178979"/>
                    </a:lnTo>
                    <a:close/>
                    <a:moveTo>
                      <a:pt x="3957547" y="1169066"/>
                    </a:moveTo>
                    <a:lnTo>
                      <a:pt x="4014195" y="1150655"/>
                    </a:lnTo>
                    <a:lnTo>
                      <a:pt x="4002865" y="1177563"/>
                    </a:lnTo>
                    <a:lnTo>
                      <a:pt x="3957547" y="1169066"/>
                    </a:lnTo>
                    <a:close/>
                    <a:moveTo>
                      <a:pt x="4182721" y="1095424"/>
                    </a:moveTo>
                    <a:lnTo>
                      <a:pt x="4151565" y="1105337"/>
                    </a:lnTo>
                    <a:lnTo>
                      <a:pt x="4143068" y="1086926"/>
                    </a:lnTo>
                    <a:lnTo>
                      <a:pt x="4182721" y="1095424"/>
                    </a:lnTo>
                    <a:close/>
                    <a:moveTo>
                      <a:pt x="4185554" y="1094007"/>
                    </a:moveTo>
                    <a:lnTo>
                      <a:pt x="4140235" y="1084094"/>
                    </a:lnTo>
                    <a:lnTo>
                      <a:pt x="4087836" y="977880"/>
                    </a:lnTo>
                    <a:lnTo>
                      <a:pt x="4111911" y="919816"/>
                    </a:lnTo>
                    <a:lnTo>
                      <a:pt x="4430555" y="911319"/>
                    </a:lnTo>
                    <a:lnTo>
                      <a:pt x="4443301" y="1010452"/>
                    </a:lnTo>
                    <a:lnTo>
                      <a:pt x="4185554" y="1094007"/>
                    </a:lnTo>
                    <a:close/>
                    <a:moveTo>
                      <a:pt x="4110496" y="919816"/>
                    </a:moveTo>
                    <a:lnTo>
                      <a:pt x="4087836" y="975047"/>
                    </a:lnTo>
                    <a:lnTo>
                      <a:pt x="4060929" y="921232"/>
                    </a:lnTo>
                    <a:lnTo>
                      <a:pt x="4110496" y="919816"/>
                    </a:lnTo>
                    <a:close/>
                    <a:moveTo>
                      <a:pt x="4138819" y="1084094"/>
                    </a:moveTo>
                    <a:lnTo>
                      <a:pt x="4052431" y="1065684"/>
                    </a:lnTo>
                    <a:lnTo>
                      <a:pt x="4087836" y="980712"/>
                    </a:lnTo>
                    <a:lnTo>
                      <a:pt x="4138819" y="1084094"/>
                    </a:lnTo>
                    <a:close/>
                    <a:moveTo>
                      <a:pt x="4140235" y="1085510"/>
                    </a:moveTo>
                    <a:lnTo>
                      <a:pt x="4150149" y="1105337"/>
                    </a:lnTo>
                    <a:lnTo>
                      <a:pt x="4017026" y="1147823"/>
                    </a:lnTo>
                    <a:lnTo>
                      <a:pt x="4051015" y="1065684"/>
                    </a:lnTo>
                    <a:lnTo>
                      <a:pt x="4140235" y="1085510"/>
                    </a:lnTo>
                    <a:close/>
                    <a:moveTo>
                      <a:pt x="3136156" y="1101088"/>
                    </a:moveTo>
                    <a:lnTo>
                      <a:pt x="3222543" y="1313517"/>
                    </a:lnTo>
                    <a:lnTo>
                      <a:pt x="3167312" y="1272448"/>
                    </a:lnTo>
                    <a:lnTo>
                      <a:pt x="3158815" y="1238459"/>
                    </a:lnTo>
                    <a:lnTo>
                      <a:pt x="3158815" y="1238459"/>
                    </a:lnTo>
                    <a:lnTo>
                      <a:pt x="3069595" y="1190308"/>
                    </a:lnTo>
                    <a:lnTo>
                      <a:pt x="3096502" y="1044441"/>
                    </a:lnTo>
                    <a:lnTo>
                      <a:pt x="3136156" y="1101088"/>
                    </a:lnTo>
                    <a:close/>
                    <a:moveTo>
                      <a:pt x="3020028" y="1472130"/>
                    </a:moveTo>
                    <a:lnTo>
                      <a:pt x="3020028" y="1472130"/>
                    </a:lnTo>
                    <a:lnTo>
                      <a:pt x="3041271" y="1353170"/>
                    </a:lnTo>
                    <a:lnTo>
                      <a:pt x="3182890" y="1341841"/>
                    </a:lnTo>
                    <a:lnTo>
                      <a:pt x="3243786" y="1601004"/>
                    </a:lnTo>
                    <a:lnTo>
                      <a:pt x="3020028" y="1472130"/>
                    </a:lnTo>
                    <a:close/>
                    <a:moveTo>
                      <a:pt x="3020028" y="1472130"/>
                    </a:moveTo>
                    <a:lnTo>
                      <a:pt x="3029942" y="2273694"/>
                    </a:lnTo>
                    <a:lnTo>
                      <a:pt x="2899652" y="2238290"/>
                    </a:lnTo>
                    <a:lnTo>
                      <a:pt x="2732542" y="1809184"/>
                    </a:lnTo>
                    <a:lnTo>
                      <a:pt x="2950635" y="1851669"/>
                    </a:lnTo>
                    <a:lnTo>
                      <a:pt x="2950635" y="1851669"/>
                    </a:lnTo>
                    <a:lnTo>
                      <a:pt x="3020028" y="1472130"/>
                    </a:lnTo>
                    <a:close/>
                    <a:moveTo>
                      <a:pt x="2437973" y="2398319"/>
                    </a:moveTo>
                    <a:lnTo>
                      <a:pt x="2665980" y="2358666"/>
                    </a:lnTo>
                    <a:lnTo>
                      <a:pt x="2777859" y="2680141"/>
                    </a:lnTo>
                    <a:lnTo>
                      <a:pt x="2772195" y="2677309"/>
                    </a:lnTo>
                    <a:lnTo>
                      <a:pt x="2433725" y="2420978"/>
                    </a:lnTo>
                    <a:lnTo>
                      <a:pt x="2437973" y="2398319"/>
                    </a:lnTo>
                    <a:close/>
                    <a:moveTo>
                      <a:pt x="2413898" y="2507366"/>
                    </a:moveTo>
                    <a:lnTo>
                      <a:pt x="2432309" y="2423811"/>
                    </a:lnTo>
                    <a:lnTo>
                      <a:pt x="2762281" y="2673060"/>
                    </a:lnTo>
                    <a:lnTo>
                      <a:pt x="2413898" y="2507366"/>
                    </a:lnTo>
                    <a:close/>
                    <a:moveTo>
                      <a:pt x="2409650" y="2402568"/>
                    </a:moveTo>
                    <a:lnTo>
                      <a:pt x="2436557" y="2398319"/>
                    </a:lnTo>
                    <a:lnTo>
                      <a:pt x="2432309" y="2419562"/>
                    </a:lnTo>
                    <a:lnTo>
                      <a:pt x="2409650" y="2402568"/>
                    </a:lnTo>
                    <a:close/>
                    <a:moveTo>
                      <a:pt x="2430893" y="2420978"/>
                    </a:moveTo>
                    <a:lnTo>
                      <a:pt x="2412482" y="2504534"/>
                    </a:lnTo>
                    <a:lnTo>
                      <a:pt x="2382742" y="2490372"/>
                    </a:lnTo>
                    <a:lnTo>
                      <a:pt x="2340256" y="2413897"/>
                    </a:lnTo>
                    <a:lnTo>
                      <a:pt x="2408233" y="2402568"/>
                    </a:lnTo>
                    <a:lnTo>
                      <a:pt x="2430893" y="2420978"/>
                    </a:lnTo>
                    <a:close/>
                    <a:moveTo>
                      <a:pt x="2488956" y="2164648"/>
                    </a:moveTo>
                    <a:lnTo>
                      <a:pt x="2847253" y="2338839"/>
                    </a:lnTo>
                    <a:lnTo>
                      <a:pt x="3027109" y="2562597"/>
                    </a:lnTo>
                    <a:lnTo>
                      <a:pt x="3028525" y="2564014"/>
                    </a:lnTo>
                    <a:lnTo>
                      <a:pt x="2961964" y="2395487"/>
                    </a:lnTo>
                    <a:lnTo>
                      <a:pt x="3032773" y="2429475"/>
                    </a:lnTo>
                    <a:lnTo>
                      <a:pt x="3034190" y="2571095"/>
                    </a:lnTo>
                    <a:lnTo>
                      <a:pt x="3034190" y="2572511"/>
                    </a:lnTo>
                    <a:lnTo>
                      <a:pt x="3075259" y="2450718"/>
                    </a:lnTo>
                    <a:lnTo>
                      <a:pt x="3187139" y="2504534"/>
                    </a:lnTo>
                    <a:lnTo>
                      <a:pt x="3072427" y="2629158"/>
                    </a:lnTo>
                    <a:lnTo>
                      <a:pt x="3011531" y="2566846"/>
                    </a:lnTo>
                    <a:lnTo>
                      <a:pt x="3010115" y="2565430"/>
                    </a:lnTo>
                    <a:lnTo>
                      <a:pt x="3049768" y="2651817"/>
                    </a:lnTo>
                    <a:lnTo>
                      <a:pt x="2949219" y="2760864"/>
                    </a:lnTo>
                    <a:lnTo>
                      <a:pt x="2779276" y="2680141"/>
                    </a:lnTo>
                    <a:lnTo>
                      <a:pt x="2665980" y="2355834"/>
                    </a:lnTo>
                    <a:lnTo>
                      <a:pt x="2665980" y="2355834"/>
                    </a:lnTo>
                    <a:lnTo>
                      <a:pt x="2437973" y="2395487"/>
                    </a:lnTo>
                    <a:lnTo>
                      <a:pt x="2488956" y="2164648"/>
                    </a:lnTo>
                    <a:close/>
                    <a:moveTo>
                      <a:pt x="3504366" y="2657482"/>
                    </a:moveTo>
                    <a:lnTo>
                      <a:pt x="3399567" y="2606499"/>
                    </a:lnTo>
                    <a:lnTo>
                      <a:pt x="3372659" y="2413897"/>
                    </a:lnTo>
                    <a:lnTo>
                      <a:pt x="3504366" y="2657482"/>
                    </a:lnTo>
                    <a:close/>
                    <a:moveTo>
                      <a:pt x="4004281" y="1180395"/>
                    </a:moveTo>
                    <a:lnTo>
                      <a:pt x="4205381" y="1217216"/>
                    </a:lnTo>
                    <a:lnTo>
                      <a:pt x="4271941" y="1351754"/>
                    </a:lnTo>
                    <a:lnTo>
                      <a:pt x="4177057" y="1388575"/>
                    </a:lnTo>
                    <a:lnTo>
                      <a:pt x="4001449" y="1275280"/>
                    </a:lnTo>
                    <a:lnTo>
                      <a:pt x="4001449" y="1275280"/>
                    </a:lnTo>
                    <a:lnTo>
                      <a:pt x="3961795" y="1278112"/>
                    </a:lnTo>
                    <a:lnTo>
                      <a:pt x="4004281" y="1180395"/>
                    </a:lnTo>
                    <a:close/>
                    <a:moveTo>
                      <a:pt x="4436220" y="1149239"/>
                    </a:moveTo>
                    <a:lnTo>
                      <a:pt x="4189802" y="1095424"/>
                    </a:lnTo>
                    <a:lnTo>
                      <a:pt x="4444717" y="1013285"/>
                    </a:lnTo>
                    <a:lnTo>
                      <a:pt x="4457463" y="1115250"/>
                    </a:lnTo>
                    <a:lnTo>
                      <a:pt x="4436220" y="1149239"/>
                    </a:lnTo>
                    <a:close/>
                    <a:moveTo>
                      <a:pt x="3949049" y="1170482"/>
                    </a:moveTo>
                    <a:lnTo>
                      <a:pt x="3723876" y="1242707"/>
                    </a:lnTo>
                    <a:lnTo>
                      <a:pt x="3603499" y="1106753"/>
                    </a:lnTo>
                    <a:lnTo>
                      <a:pt x="3949049" y="1170482"/>
                    </a:lnTo>
                    <a:close/>
                    <a:moveTo>
                      <a:pt x="3953298" y="1170482"/>
                    </a:moveTo>
                    <a:lnTo>
                      <a:pt x="4001449" y="1178979"/>
                    </a:lnTo>
                    <a:lnTo>
                      <a:pt x="3960379" y="1278112"/>
                    </a:lnTo>
                    <a:lnTo>
                      <a:pt x="3750783" y="1295107"/>
                    </a:lnTo>
                    <a:lnTo>
                      <a:pt x="3722459" y="1249788"/>
                    </a:lnTo>
                    <a:lnTo>
                      <a:pt x="3722459" y="1249788"/>
                    </a:lnTo>
                    <a:lnTo>
                      <a:pt x="3718210" y="1297939"/>
                    </a:lnTo>
                    <a:lnTo>
                      <a:pt x="3252283" y="1334760"/>
                    </a:lnTo>
                    <a:lnTo>
                      <a:pt x="3226792" y="1316349"/>
                    </a:lnTo>
                    <a:lnTo>
                      <a:pt x="3138988" y="1101088"/>
                    </a:lnTo>
                    <a:lnTo>
                      <a:pt x="3099335" y="1044441"/>
                    </a:lnTo>
                    <a:lnTo>
                      <a:pt x="3105000" y="1016117"/>
                    </a:lnTo>
                    <a:lnTo>
                      <a:pt x="3600667" y="1106753"/>
                    </a:lnTo>
                    <a:lnTo>
                      <a:pt x="3723876" y="1245540"/>
                    </a:lnTo>
                    <a:lnTo>
                      <a:pt x="3723876" y="1245540"/>
                    </a:lnTo>
                    <a:lnTo>
                      <a:pt x="3953298" y="1170482"/>
                    </a:lnTo>
                    <a:close/>
                    <a:moveTo>
                      <a:pt x="3069595" y="1006204"/>
                    </a:moveTo>
                    <a:lnTo>
                      <a:pt x="2776443" y="952388"/>
                    </a:lnTo>
                    <a:lnTo>
                      <a:pt x="3027109" y="946724"/>
                    </a:lnTo>
                    <a:lnTo>
                      <a:pt x="3069595" y="1006204"/>
                    </a:lnTo>
                    <a:close/>
                    <a:moveTo>
                      <a:pt x="3027109" y="943891"/>
                    </a:moveTo>
                    <a:lnTo>
                      <a:pt x="2993120" y="897157"/>
                    </a:lnTo>
                    <a:lnTo>
                      <a:pt x="3049768" y="885827"/>
                    </a:lnTo>
                    <a:lnTo>
                      <a:pt x="3114913" y="854671"/>
                    </a:lnTo>
                    <a:lnTo>
                      <a:pt x="3114913" y="854671"/>
                    </a:lnTo>
                    <a:lnTo>
                      <a:pt x="3106416" y="577098"/>
                    </a:lnTo>
                    <a:lnTo>
                      <a:pt x="3143237" y="594092"/>
                    </a:lnTo>
                    <a:lnTo>
                      <a:pt x="3170144" y="623832"/>
                    </a:lnTo>
                    <a:lnTo>
                      <a:pt x="3113497" y="942475"/>
                    </a:lnTo>
                    <a:lnTo>
                      <a:pt x="3027109" y="943891"/>
                    </a:lnTo>
                    <a:close/>
                    <a:moveTo>
                      <a:pt x="2379910" y="2493204"/>
                    </a:moveTo>
                    <a:lnTo>
                      <a:pt x="2405401" y="2537106"/>
                    </a:lnTo>
                    <a:lnTo>
                      <a:pt x="2401152" y="2552684"/>
                    </a:lnTo>
                    <a:lnTo>
                      <a:pt x="2287857" y="2449302"/>
                    </a:lnTo>
                    <a:lnTo>
                      <a:pt x="2379910" y="2493204"/>
                    </a:lnTo>
                    <a:close/>
                    <a:moveTo>
                      <a:pt x="2402569" y="2555516"/>
                    </a:moveTo>
                    <a:lnTo>
                      <a:pt x="2405401" y="2539938"/>
                    </a:lnTo>
                    <a:lnTo>
                      <a:pt x="2426644" y="2578175"/>
                    </a:lnTo>
                    <a:lnTo>
                      <a:pt x="2402569" y="2555516"/>
                    </a:lnTo>
                    <a:close/>
                    <a:moveTo>
                      <a:pt x="2777859" y="2681557"/>
                    </a:moveTo>
                    <a:lnTo>
                      <a:pt x="2777859" y="2681557"/>
                    </a:lnTo>
                    <a:lnTo>
                      <a:pt x="2777859" y="2681557"/>
                    </a:lnTo>
                    <a:lnTo>
                      <a:pt x="2777859" y="2681557"/>
                    </a:lnTo>
                    <a:close/>
                    <a:moveTo>
                      <a:pt x="3307515" y="2872743"/>
                    </a:moveTo>
                    <a:lnTo>
                      <a:pt x="3307515" y="2876992"/>
                    </a:lnTo>
                    <a:lnTo>
                      <a:pt x="3270694" y="2912397"/>
                    </a:lnTo>
                    <a:lnTo>
                      <a:pt x="3144653" y="2852916"/>
                    </a:lnTo>
                    <a:lnTo>
                      <a:pt x="3130491" y="2823177"/>
                    </a:lnTo>
                    <a:lnTo>
                      <a:pt x="3307515" y="2872743"/>
                    </a:lnTo>
                    <a:close/>
                    <a:moveTo>
                      <a:pt x="3505782" y="2660315"/>
                    </a:moveTo>
                    <a:lnTo>
                      <a:pt x="3586505" y="2809015"/>
                    </a:lnTo>
                    <a:lnTo>
                      <a:pt x="3586505" y="2809015"/>
                    </a:lnTo>
                    <a:lnTo>
                      <a:pt x="3624742" y="2718378"/>
                    </a:lnTo>
                    <a:lnTo>
                      <a:pt x="3696968" y="2753783"/>
                    </a:lnTo>
                    <a:lnTo>
                      <a:pt x="3439221" y="2882656"/>
                    </a:lnTo>
                    <a:lnTo>
                      <a:pt x="3400983" y="2606499"/>
                    </a:lnTo>
                    <a:lnTo>
                      <a:pt x="3505782" y="2660315"/>
                    </a:lnTo>
                    <a:close/>
                    <a:moveTo>
                      <a:pt x="3375492" y="1680311"/>
                    </a:moveTo>
                    <a:lnTo>
                      <a:pt x="3723876" y="1882826"/>
                    </a:lnTo>
                    <a:lnTo>
                      <a:pt x="3746534" y="2068347"/>
                    </a:lnTo>
                    <a:lnTo>
                      <a:pt x="3495868" y="1974878"/>
                    </a:lnTo>
                    <a:lnTo>
                      <a:pt x="3375492" y="1680311"/>
                    </a:lnTo>
                    <a:close/>
                    <a:moveTo>
                      <a:pt x="3699800" y="1666149"/>
                    </a:moveTo>
                    <a:lnTo>
                      <a:pt x="3892402" y="1891323"/>
                    </a:lnTo>
                    <a:lnTo>
                      <a:pt x="3868326" y="1964965"/>
                    </a:lnTo>
                    <a:lnTo>
                      <a:pt x="3725291" y="1881410"/>
                    </a:lnTo>
                    <a:lnTo>
                      <a:pt x="3699800" y="1666149"/>
                    </a:lnTo>
                    <a:close/>
                    <a:moveTo>
                      <a:pt x="4460295" y="1262534"/>
                    </a:moveTo>
                    <a:lnTo>
                      <a:pt x="4205381" y="1215800"/>
                    </a:lnTo>
                    <a:lnTo>
                      <a:pt x="4151565" y="1106753"/>
                    </a:lnTo>
                    <a:lnTo>
                      <a:pt x="4185554" y="1095424"/>
                    </a:lnTo>
                    <a:lnTo>
                      <a:pt x="4436220" y="1150655"/>
                    </a:lnTo>
                    <a:lnTo>
                      <a:pt x="4436220" y="1150655"/>
                    </a:lnTo>
                    <a:lnTo>
                      <a:pt x="4457463" y="1118083"/>
                    </a:lnTo>
                    <a:lnTo>
                      <a:pt x="4474457" y="1258286"/>
                    </a:lnTo>
                    <a:lnTo>
                      <a:pt x="4460295" y="1262534"/>
                    </a:lnTo>
                    <a:close/>
                    <a:moveTo>
                      <a:pt x="3983038" y="919816"/>
                    </a:moveTo>
                    <a:lnTo>
                      <a:pt x="4039686" y="882995"/>
                    </a:lnTo>
                    <a:lnTo>
                      <a:pt x="4056680" y="918400"/>
                    </a:lnTo>
                    <a:lnTo>
                      <a:pt x="3983038" y="919816"/>
                    </a:lnTo>
                    <a:close/>
                    <a:moveTo>
                      <a:pt x="4058096" y="919816"/>
                    </a:moveTo>
                    <a:lnTo>
                      <a:pt x="4086420" y="976464"/>
                    </a:lnTo>
                    <a:lnTo>
                      <a:pt x="4049600" y="1062851"/>
                    </a:lnTo>
                    <a:lnTo>
                      <a:pt x="3832922" y="1014701"/>
                    </a:lnTo>
                    <a:lnTo>
                      <a:pt x="3978790" y="921232"/>
                    </a:lnTo>
                    <a:lnTo>
                      <a:pt x="4058096" y="919816"/>
                    </a:lnTo>
                    <a:close/>
                    <a:moveTo>
                      <a:pt x="3828673" y="1017533"/>
                    </a:moveTo>
                    <a:lnTo>
                      <a:pt x="3828673" y="1017533"/>
                    </a:lnTo>
                    <a:lnTo>
                      <a:pt x="4049600" y="1067100"/>
                    </a:lnTo>
                    <a:lnTo>
                      <a:pt x="4014195" y="1150655"/>
                    </a:lnTo>
                    <a:lnTo>
                      <a:pt x="3951882" y="1170482"/>
                    </a:lnTo>
                    <a:lnTo>
                      <a:pt x="3599250" y="1105337"/>
                    </a:lnTo>
                    <a:lnTo>
                      <a:pt x="3450550" y="936810"/>
                    </a:lnTo>
                    <a:lnTo>
                      <a:pt x="3975957" y="924064"/>
                    </a:lnTo>
                    <a:lnTo>
                      <a:pt x="3828673" y="1017533"/>
                    </a:lnTo>
                    <a:close/>
                    <a:moveTo>
                      <a:pt x="3103583" y="1013285"/>
                    </a:moveTo>
                    <a:lnTo>
                      <a:pt x="3116329" y="943891"/>
                    </a:lnTo>
                    <a:lnTo>
                      <a:pt x="3449134" y="935394"/>
                    </a:lnTo>
                    <a:lnTo>
                      <a:pt x="3597834" y="1102505"/>
                    </a:lnTo>
                    <a:lnTo>
                      <a:pt x="3103583" y="1013285"/>
                    </a:lnTo>
                    <a:close/>
                    <a:moveTo>
                      <a:pt x="3116329" y="942475"/>
                    </a:moveTo>
                    <a:lnTo>
                      <a:pt x="3174393" y="626664"/>
                    </a:lnTo>
                    <a:lnTo>
                      <a:pt x="3446301" y="933978"/>
                    </a:lnTo>
                    <a:lnTo>
                      <a:pt x="3116329" y="942475"/>
                    </a:lnTo>
                    <a:close/>
                    <a:moveTo>
                      <a:pt x="3146069" y="592676"/>
                    </a:moveTo>
                    <a:lnTo>
                      <a:pt x="3121994" y="565768"/>
                    </a:lnTo>
                    <a:lnTo>
                      <a:pt x="3073843" y="494959"/>
                    </a:lnTo>
                    <a:lnTo>
                      <a:pt x="3211214" y="408571"/>
                    </a:lnTo>
                    <a:lnTo>
                      <a:pt x="3174393" y="606838"/>
                    </a:lnTo>
                    <a:lnTo>
                      <a:pt x="3146069" y="592676"/>
                    </a:lnTo>
                    <a:close/>
                    <a:moveTo>
                      <a:pt x="3212630" y="404322"/>
                    </a:moveTo>
                    <a:lnTo>
                      <a:pt x="3072427" y="492126"/>
                    </a:lnTo>
                    <a:lnTo>
                      <a:pt x="3051185" y="459554"/>
                    </a:lnTo>
                    <a:lnTo>
                      <a:pt x="3218295" y="371750"/>
                    </a:lnTo>
                    <a:lnTo>
                      <a:pt x="3212630" y="404322"/>
                    </a:lnTo>
                    <a:close/>
                    <a:moveTo>
                      <a:pt x="3106416" y="574265"/>
                    </a:moveTo>
                    <a:lnTo>
                      <a:pt x="3106416" y="574265"/>
                    </a:lnTo>
                    <a:lnTo>
                      <a:pt x="3114913" y="853255"/>
                    </a:lnTo>
                    <a:lnTo>
                      <a:pt x="3051185" y="884411"/>
                    </a:lnTo>
                    <a:lnTo>
                      <a:pt x="2994537" y="895741"/>
                    </a:lnTo>
                    <a:lnTo>
                      <a:pt x="2823177" y="653572"/>
                    </a:lnTo>
                    <a:lnTo>
                      <a:pt x="3073843" y="494959"/>
                    </a:lnTo>
                    <a:lnTo>
                      <a:pt x="3121994" y="565768"/>
                    </a:lnTo>
                    <a:lnTo>
                      <a:pt x="3143237" y="589843"/>
                    </a:lnTo>
                    <a:lnTo>
                      <a:pt x="3106416" y="574265"/>
                    </a:lnTo>
                    <a:close/>
                    <a:moveTo>
                      <a:pt x="2715547" y="952388"/>
                    </a:moveTo>
                    <a:lnTo>
                      <a:pt x="2715547" y="952388"/>
                    </a:lnTo>
                    <a:lnTo>
                      <a:pt x="2715547" y="953805"/>
                    </a:lnTo>
                    <a:lnTo>
                      <a:pt x="2715547" y="953805"/>
                    </a:lnTo>
                    <a:lnTo>
                      <a:pt x="2766530" y="952388"/>
                    </a:lnTo>
                    <a:lnTo>
                      <a:pt x="3071011" y="1009036"/>
                    </a:lnTo>
                    <a:lnTo>
                      <a:pt x="3096502" y="1044441"/>
                    </a:lnTo>
                    <a:lnTo>
                      <a:pt x="3069595" y="1190308"/>
                    </a:lnTo>
                    <a:lnTo>
                      <a:pt x="2545604" y="912735"/>
                    </a:lnTo>
                    <a:lnTo>
                      <a:pt x="2738206" y="948140"/>
                    </a:lnTo>
                    <a:lnTo>
                      <a:pt x="2715547" y="952388"/>
                    </a:lnTo>
                    <a:close/>
                    <a:moveTo>
                      <a:pt x="3167312" y="1273864"/>
                    </a:moveTo>
                    <a:lnTo>
                      <a:pt x="3182890" y="1340425"/>
                    </a:lnTo>
                    <a:lnTo>
                      <a:pt x="3042687" y="1351754"/>
                    </a:lnTo>
                    <a:lnTo>
                      <a:pt x="3069595" y="1201638"/>
                    </a:lnTo>
                    <a:lnTo>
                      <a:pt x="3167312" y="1273864"/>
                    </a:lnTo>
                    <a:close/>
                    <a:moveTo>
                      <a:pt x="3038439" y="1353170"/>
                    </a:moveTo>
                    <a:lnTo>
                      <a:pt x="2947802" y="1850253"/>
                    </a:lnTo>
                    <a:lnTo>
                      <a:pt x="2729709" y="1807768"/>
                    </a:lnTo>
                    <a:lnTo>
                      <a:pt x="2627743" y="1548605"/>
                    </a:lnTo>
                    <a:lnTo>
                      <a:pt x="2627743" y="1548605"/>
                    </a:lnTo>
                    <a:lnTo>
                      <a:pt x="2626327" y="1548605"/>
                    </a:lnTo>
                    <a:lnTo>
                      <a:pt x="2711299" y="1803519"/>
                    </a:lnTo>
                    <a:lnTo>
                      <a:pt x="2573928" y="1776611"/>
                    </a:lnTo>
                    <a:lnTo>
                      <a:pt x="2626327" y="1540108"/>
                    </a:lnTo>
                    <a:lnTo>
                      <a:pt x="2626327" y="1540108"/>
                    </a:lnTo>
                    <a:lnTo>
                      <a:pt x="2287857" y="1640657"/>
                    </a:lnTo>
                    <a:lnTo>
                      <a:pt x="2241123" y="1582593"/>
                    </a:lnTo>
                    <a:lnTo>
                      <a:pt x="2239707" y="1520281"/>
                    </a:lnTo>
                    <a:lnTo>
                      <a:pt x="2548436" y="1391407"/>
                    </a:lnTo>
                    <a:lnTo>
                      <a:pt x="3038439" y="1353170"/>
                    </a:lnTo>
                    <a:close/>
                    <a:moveTo>
                      <a:pt x="2201469" y="1533027"/>
                    </a:moveTo>
                    <a:lnTo>
                      <a:pt x="2191556" y="1520281"/>
                    </a:lnTo>
                    <a:lnTo>
                      <a:pt x="2236874" y="1497622"/>
                    </a:lnTo>
                    <a:lnTo>
                      <a:pt x="2236874" y="1517448"/>
                    </a:lnTo>
                    <a:lnTo>
                      <a:pt x="2201469" y="1533027"/>
                    </a:lnTo>
                    <a:close/>
                    <a:moveTo>
                      <a:pt x="2202886" y="1535859"/>
                    </a:moveTo>
                    <a:lnTo>
                      <a:pt x="2236874" y="1521697"/>
                    </a:lnTo>
                    <a:lnTo>
                      <a:pt x="2238290" y="1581177"/>
                    </a:lnTo>
                    <a:lnTo>
                      <a:pt x="2202886" y="1535859"/>
                    </a:lnTo>
                    <a:close/>
                    <a:moveTo>
                      <a:pt x="1930977" y="1646322"/>
                    </a:moveTo>
                    <a:lnTo>
                      <a:pt x="2190140" y="1521697"/>
                    </a:lnTo>
                    <a:lnTo>
                      <a:pt x="2200053" y="1534443"/>
                    </a:lnTo>
                    <a:lnTo>
                      <a:pt x="1930977" y="1646322"/>
                    </a:lnTo>
                    <a:close/>
                    <a:moveTo>
                      <a:pt x="1691640" y="1429645"/>
                    </a:moveTo>
                    <a:lnTo>
                      <a:pt x="1687392" y="1456552"/>
                    </a:lnTo>
                    <a:lnTo>
                      <a:pt x="1623663" y="1462217"/>
                    </a:lnTo>
                    <a:lnTo>
                      <a:pt x="1691640" y="1429645"/>
                    </a:lnTo>
                    <a:close/>
                    <a:moveTo>
                      <a:pt x="1793606" y="1381494"/>
                    </a:moveTo>
                    <a:lnTo>
                      <a:pt x="1694473" y="1426812"/>
                    </a:lnTo>
                    <a:lnTo>
                      <a:pt x="1721381" y="1272448"/>
                    </a:lnTo>
                    <a:lnTo>
                      <a:pt x="1837508" y="1314933"/>
                    </a:lnTo>
                    <a:lnTo>
                      <a:pt x="1793606" y="1381494"/>
                    </a:lnTo>
                    <a:close/>
                    <a:moveTo>
                      <a:pt x="1521697" y="1472130"/>
                    </a:moveTo>
                    <a:lnTo>
                      <a:pt x="1610918" y="1465049"/>
                    </a:lnTo>
                    <a:lnTo>
                      <a:pt x="1428229" y="1548605"/>
                    </a:lnTo>
                    <a:lnTo>
                      <a:pt x="1525946" y="1491957"/>
                    </a:lnTo>
                    <a:lnTo>
                      <a:pt x="1525946" y="1491957"/>
                    </a:lnTo>
                    <a:lnTo>
                      <a:pt x="1521697" y="1472130"/>
                    </a:lnTo>
                    <a:close/>
                    <a:moveTo>
                      <a:pt x="1474963" y="1235626"/>
                    </a:moveTo>
                    <a:lnTo>
                      <a:pt x="1520281" y="1470714"/>
                    </a:lnTo>
                    <a:lnTo>
                      <a:pt x="1358835" y="1483460"/>
                    </a:lnTo>
                    <a:lnTo>
                      <a:pt x="1474963" y="1235626"/>
                    </a:lnTo>
                    <a:close/>
                    <a:moveTo>
                      <a:pt x="1746872" y="1453720"/>
                    </a:moveTo>
                    <a:lnTo>
                      <a:pt x="1668981" y="1574096"/>
                    </a:lnTo>
                    <a:lnTo>
                      <a:pt x="1688808" y="1457969"/>
                    </a:lnTo>
                    <a:lnTo>
                      <a:pt x="1746872" y="1453720"/>
                    </a:lnTo>
                    <a:close/>
                    <a:moveTo>
                      <a:pt x="1688808" y="1456552"/>
                    </a:moveTo>
                    <a:lnTo>
                      <a:pt x="1693057" y="1429645"/>
                    </a:lnTo>
                    <a:lnTo>
                      <a:pt x="1790774" y="1384327"/>
                    </a:lnTo>
                    <a:lnTo>
                      <a:pt x="1746872" y="1452304"/>
                    </a:lnTo>
                    <a:lnTo>
                      <a:pt x="1688808" y="1456552"/>
                    </a:lnTo>
                    <a:close/>
                    <a:moveTo>
                      <a:pt x="1838924" y="1314933"/>
                    </a:moveTo>
                    <a:lnTo>
                      <a:pt x="1882826" y="1330511"/>
                    </a:lnTo>
                    <a:lnTo>
                      <a:pt x="1882826" y="1330511"/>
                    </a:lnTo>
                    <a:lnTo>
                      <a:pt x="1959300" y="1234210"/>
                    </a:lnTo>
                    <a:lnTo>
                      <a:pt x="2000370" y="1285193"/>
                    </a:lnTo>
                    <a:lnTo>
                      <a:pt x="1797855" y="1378662"/>
                    </a:lnTo>
                    <a:lnTo>
                      <a:pt x="1838924" y="1314933"/>
                    </a:lnTo>
                    <a:close/>
                    <a:moveTo>
                      <a:pt x="1718548" y="1271031"/>
                    </a:moveTo>
                    <a:lnTo>
                      <a:pt x="1691640" y="1428229"/>
                    </a:lnTo>
                    <a:lnTo>
                      <a:pt x="1616582" y="1462217"/>
                    </a:lnTo>
                    <a:lnTo>
                      <a:pt x="1521697" y="1469298"/>
                    </a:lnTo>
                    <a:lnTo>
                      <a:pt x="1476380" y="1228546"/>
                    </a:lnTo>
                    <a:lnTo>
                      <a:pt x="1476380" y="1228546"/>
                    </a:lnTo>
                    <a:lnTo>
                      <a:pt x="1356003" y="1482044"/>
                    </a:lnTo>
                    <a:lnTo>
                      <a:pt x="1180395" y="1496206"/>
                    </a:lnTo>
                    <a:lnTo>
                      <a:pt x="1467882" y="1225713"/>
                    </a:lnTo>
                    <a:lnTo>
                      <a:pt x="1584010" y="1167649"/>
                    </a:lnTo>
                    <a:lnTo>
                      <a:pt x="1562767" y="1214384"/>
                    </a:lnTo>
                    <a:lnTo>
                      <a:pt x="1562767" y="1214384"/>
                    </a:lnTo>
                    <a:lnTo>
                      <a:pt x="1718548" y="1271031"/>
                    </a:lnTo>
                    <a:close/>
                    <a:moveTo>
                      <a:pt x="1751121" y="1452304"/>
                    </a:moveTo>
                    <a:lnTo>
                      <a:pt x="1796438" y="1382910"/>
                    </a:lnTo>
                    <a:lnTo>
                      <a:pt x="2003203" y="1288026"/>
                    </a:lnTo>
                    <a:lnTo>
                      <a:pt x="2112249" y="1423980"/>
                    </a:lnTo>
                    <a:lnTo>
                      <a:pt x="1751121" y="1452304"/>
                    </a:lnTo>
                    <a:close/>
                    <a:moveTo>
                      <a:pt x="1881410" y="1329095"/>
                    </a:moveTo>
                    <a:lnTo>
                      <a:pt x="1838924" y="1313517"/>
                    </a:lnTo>
                    <a:lnTo>
                      <a:pt x="1919647" y="1187476"/>
                    </a:lnTo>
                    <a:lnTo>
                      <a:pt x="1956468" y="1234210"/>
                    </a:lnTo>
                    <a:lnTo>
                      <a:pt x="1881410" y="1329095"/>
                    </a:lnTo>
                    <a:close/>
                    <a:moveTo>
                      <a:pt x="1837508" y="1313517"/>
                    </a:moveTo>
                    <a:lnTo>
                      <a:pt x="1719964" y="1271031"/>
                    </a:lnTo>
                    <a:lnTo>
                      <a:pt x="1751121" y="1084094"/>
                    </a:lnTo>
                    <a:lnTo>
                      <a:pt x="1812017" y="1054354"/>
                    </a:lnTo>
                    <a:lnTo>
                      <a:pt x="1918231" y="1187476"/>
                    </a:lnTo>
                    <a:lnTo>
                      <a:pt x="1837508" y="1313517"/>
                    </a:lnTo>
                    <a:close/>
                    <a:moveTo>
                      <a:pt x="1718548" y="1269615"/>
                    </a:moveTo>
                    <a:lnTo>
                      <a:pt x="1565599" y="1212967"/>
                    </a:lnTo>
                    <a:lnTo>
                      <a:pt x="1586842" y="1166233"/>
                    </a:lnTo>
                    <a:lnTo>
                      <a:pt x="1749704" y="1084094"/>
                    </a:lnTo>
                    <a:lnTo>
                      <a:pt x="1718548" y="1269615"/>
                    </a:lnTo>
                    <a:close/>
                    <a:moveTo>
                      <a:pt x="1316350" y="1571264"/>
                    </a:moveTo>
                    <a:lnTo>
                      <a:pt x="1409818" y="1572680"/>
                    </a:lnTo>
                    <a:lnTo>
                      <a:pt x="1448056" y="1646322"/>
                    </a:lnTo>
                    <a:lnTo>
                      <a:pt x="1428229" y="1646322"/>
                    </a:lnTo>
                    <a:lnTo>
                      <a:pt x="1309269" y="1588258"/>
                    </a:lnTo>
                    <a:lnTo>
                      <a:pt x="1316350" y="1571264"/>
                    </a:lnTo>
                    <a:close/>
                    <a:moveTo>
                      <a:pt x="2187307" y="2433724"/>
                    </a:moveTo>
                    <a:lnTo>
                      <a:pt x="2187307" y="2433724"/>
                    </a:lnTo>
                    <a:lnTo>
                      <a:pt x="2054185" y="2452135"/>
                    </a:lnTo>
                    <a:lnTo>
                      <a:pt x="2137741" y="1994705"/>
                    </a:lnTo>
                    <a:lnTo>
                      <a:pt x="2251036" y="2049936"/>
                    </a:lnTo>
                    <a:lnTo>
                      <a:pt x="2258117" y="2303435"/>
                    </a:lnTo>
                    <a:lnTo>
                      <a:pt x="2258117" y="2304851"/>
                    </a:lnTo>
                    <a:lnTo>
                      <a:pt x="2323262" y="2085341"/>
                    </a:lnTo>
                    <a:lnTo>
                      <a:pt x="2487540" y="2164648"/>
                    </a:lnTo>
                    <a:lnTo>
                      <a:pt x="2436557" y="2396903"/>
                    </a:lnTo>
                    <a:lnTo>
                      <a:pt x="2408233" y="2402568"/>
                    </a:lnTo>
                    <a:lnTo>
                      <a:pt x="2272279" y="2299186"/>
                    </a:lnTo>
                    <a:lnTo>
                      <a:pt x="2270863" y="2299186"/>
                    </a:lnTo>
                    <a:lnTo>
                      <a:pt x="2336008" y="2415314"/>
                    </a:lnTo>
                    <a:lnTo>
                      <a:pt x="2197221" y="2439389"/>
                    </a:lnTo>
                    <a:lnTo>
                      <a:pt x="2187307" y="2433724"/>
                    </a:lnTo>
                    <a:lnTo>
                      <a:pt x="2191556" y="2439389"/>
                    </a:lnTo>
                    <a:lnTo>
                      <a:pt x="2183059" y="2440805"/>
                    </a:lnTo>
                    <a:lnTo>
                      <a:pt x="2187307" y="2433724"/>
                    </a:lnTo>
                    <a:close/>
                    <a:moveTo>
                      <a:pt x="2336008" y="2415314"/>
                    </a:moveTo>
                    <a:lnTo>
                      <a:pt x="2377077" y="2488955"/>
                    </a:lnTo>
                    <a:lnTo>
                      <a:pt x="2277944" y="2440805"/>
                    </a:lnTo>
                    <a:lnTo>
                      <a:pt x="2276528" y="2440805"/>
                    </a:lnTo>
                    <a:lnTo>
                      <a:pt x="2399736" y="2555516"/>
                    </a:lnTo>
                    <a:lnTo>
                      <a:pt x="2395488" y="2578175"/>
                    </a:lnTo>
                    <a:lnTo>
                      <a:pt x="2198637" y="2439389"/>
                    </a:lnTo>
                    <a:lnTo>
                      <a:pt x="2336008" y="2415314"/>
                    </a:lnTo>
                    <a:close/>
                    <a:moveTo>
                      <a:pt x="2532858" y="2674476"/>
                    </a:moveTo>
                    <a:lnTo>
                      <a:pt x="2432309" y="2582424"/>
                    </a:lnTo>
                    <a:lnTo>
                      <a:pt x="2406817" y="2537106"/>
                    </a:lnTo>
                    <a:lnTo>
                      <a:pt x="2412482" y="2508782"/>
                    </a:lnTo>
                    <a:lnTo>
                      <a:pt x="2769362" y="2678725"/>
                    </a:lnTo>
                    <a:lnTo>
                      <a:pt x="2777859" y="2685806"/>
                    </a:lnTo>
                    <a:lnTo>
                      <a:pt x="2793438" y="2729708"/>
                    </a:lnTo>
                    <a:lnTo>
                      <a:pt x="2576761" y="2670228"/>
                    </a:lnTo>
                    <a:lnTo>
                      <a:pt x="2576761" y="2670228"/>
                    </a:lnTo>
                    <a:lnTo>
                      <a:pt x="2629159" y="2743870"/>
                    </a:lnTo>
                    <a:lnTo>
                      <a:pt x="2532858" y="2674476"/>
                    </a:lnTo>
                    <a:close/>
                    <a:moveTo>
                      <a:pt x="2923727" y="2792020"/>
                    </a:moveTo>
                    <a:lnTo>
                      <a:pt x="2942138" y="2772194"/>
                    </a:lnTo>
                    <a:lnTo>
                      <a:pt x="2998785" y="2787772"/>
                    </a:lnTo>
                    <a:lnTo>
                      <a:pt x="3140404" y="2855749"/>
                    </a:lnTo>
                    <a:lnTo>
                      <a:pt x="3197052" y="2981790"/>
                    </a:lnTo>
                    <a:lnTo>
                      <a:pt x="3185723" y="2993119"/>
                    </a:lnTo>
                    <a:lnTo>
                      <a:pt x="2923727" y="2792020"/>
                    </a:lnTo>
                    <a:close/>
                    <a:moveTo>
                      <a:pt x="3323093" y="2942136"/>
                    </a:moveTo>
                    <a:lnTo>
                      <a:pt x="3209797" y="2998784"/>
                    </a:lnTo>
                    <a:lnTo>
                      <a:pt x="3201301" y="2981790"/>
                    </a:lnTo>
                    <a:lnTo>
                      <a:pt x="3269278" y="2916645"/>
                    </a:lnTo>
                    <a:lnTo>
                      <a:pt x="3323093" y="2942136"/>
                    </a:lnTo>
                    <a:close/>
                    <a:moveTo>
                      <a:pt x="3325925" y="2943553"/>
                    </a:moveTo>
                    <a:lnTo>
                      <a:pt x="3342920" y="2952050"/>
                    </a:lnTo>
                    <a:lnTo>
                      <a:pt x="3372659" y="3103582"/>
                    </a:lnTo>
                    <a:lnTo>
                      <a:pt x="3216878" y="3017195"/>
                    </a:lnTo>
                    <a:lnTo>
                      <a:pt x="3209797" y="3001616"/>
                    </a:lnTo>
                    <a:lnTo>
                      <a:pt x="3325925" y="2943553"/>
                    </a:lnTo>
                    <a:close/>
                    <a:moveTo>
                      <a:pt x="3345752" y="2949217"/>
                    </a:moveTo>
                    <a:lnTo>
                      <a:pt x="3342920" y="2933639"/>
                    </a:lnTo>
                    <a:lnTo>
                      <a:pt x="3436388" y="2886905"/>
                    </a:lnTo>
                    <a:lnTo>
                      <a:pt x="3451967" y="2998784"/>
                    </a:lnTo>
                    <a:lnTo>
                      <a:pt x="3345752" y="2949217"/>
                    </a:lnTo>
                    <a:close/>
                    <a:moveTo>
                      <a:pt x="3623325" y="2716962"/>
                    </a:moveTo>
                    <a:lnTo>
                      <a:pt x="3570926" y="2690054"/>
                    </a:lnTo>
                    <a:lnTo>
                      <a:pt x="3507198" y="2658898"/>
                    </a:lnTo>
                    <a:lnTo>
                      <a:pt x="3369828" y="2403984"/>
                    </a:lnTo>
                    <a:lnTo>
                      <a:pt x="3369828" y="2402568"/>
                    </a:lnTo>
                    <a:lnTo>
                      <a:pt x="3398152" y="2605083"/>
                    </a:lnTo>
                    <a:lnTo>
                      <a:pt x="3189971" y="2503117"/>
                    </a:lnTo>
                    <a:lnTo>
                      <a:pt x="3325925" y="2354417"/>
                    </a:lnTo>
                    <a:lnTo>
                      <a:pt x="3701216" y="2456383"/>
                    </a:lnTo>
                    <a:lnTo>
                      <a:pt x="3702633" y="2456383"/>
                    </a:lnTo>
                    <a:lnTo>
                      <a:pt x="3395319" y="2277943"/>
                    </a:lnTo>
                    <a:lnTo>
                      <a:pt x="3549683" y="2109416"/>
                    </a:lnTo>
                    <a:lnTo>
                      <a:pt x="3552516" y="2110833"/>
                    </a:lnTo>
                    <a:lnTo>
                      <a:pt x="3552516" y="2110833"/>
                    </a:lnTo>
                    <a:lnTo>
                      <a:pt x="3551100" y="2106584"/>
                    </a:lnTo>
                    <a:lnTo>
                      <a:pt x="3553933" y="2103752"/>
                    </a:lnTo>
                    <a:lnTo>
                      <a:pt x="3553933" y="2103752"/>
                    </a:lnTo>
                    <a:lnTo>
                      <a:pt x="3549683" y="2103752"/>
                    </a:lnTo>
                    <a:lnTo>
                      <a:pt x="3497285" y="1974878"/>
                    </a:lnTo>
                    <a:lnTo>
                      <a:pt x="3746534" y="2068347"/>
                    </a:lnTo>
                    <a:lnTo>
                      <a:pt x="3780523" y="2343088"/>
                    </a:lnTo>
                    <a:lnTo>
                      <a:pt x="3623325" y="2716962"/>
                    </a:lnTo>
                    <a:close/>
                    <a:moveTo>
                      <a:pt x="3726707" y="1884242"/>
                    </a:moveTo>
                    <a:lnTo>
                      <a:pt x="3868326" y="1966381"/>
                    </a:lnTo>
                    <a:lnTo>
                      <a:pt x="3825841" y="2098087"/>
                    </a:lnTo>
                    <a:lnTo>
                      <a:pt x="3747950" y="2069763"/>
                    </a:lnTo>
                    <a:lnTo>
                      <a:pt x="3726707" y="1884242"/>
                    </a:lnTo>
                    <a:close/>
                    <a:moveTo>
                      <a:pt x="3893818" y="1892739"/>
                    </a:moveTo>
                    <a:lnTo>
                      <a:pt x="4041102" y="2065514"/>
                    </a:lnTo>
                    <a:lnTo>
                      <a:pt x="3869743" y="1966381"/>
                    </a:lnTo>
                    <a:lnTo>
                      <a:pt x="3893818" y="1892739"/>
                    </a:lnTo>
                    <a:close/>
                    <a:moveTo>
                      <a:pt x="3696968" y="1660484"/>
                    </a:moveTo>
                    <a:lnTo>
                      <a:pt x="3696968" y="1660484"/>
                    </a:lnTo>
                    <a:lnTo>
                      <a:pt x="3723876" y="1879993"/>
                    </a:lnTo>
                    <a:lnTo>
                      <a:pt x="3374076" y="1677478"/>
                    </a:lnTo>
                    <a:lnTo>
                      <a:pt x="3235289" y="1337592"/>
                    </a:lnTo>
                    <a:lnTo>
                      <a:pt x="3250867" y="1336176"/>
                    </a:lnTo>
                    <a:lnTo>
                      <a:pt x="3682806" y="1659068"/>
                    </a:lnTo>
                    <a:lnTo>
                      <a:pt x="3682806" y="1659068"/>
                    </a:lnTo>
                    <a:lnTo>
                      <a:pt x="3718210" y="1299355"/>
                    </a:lnTo>
                    <a:lnTo>
                      <a:pt x="3749367" y="1296523"/>
                    </a:lnTo>
                    <a:lnTo>
                      <a:pt x="3871159" y="1489125"/>
                    </a:lnTo>
                    <a:lnTo>
                      <a:pt x="3861245" y="1514616"/>
                    </a:lnTo>
                    <a:lnTo>
                      <a:pt x="3882488" y="1506119"/>
                    </a:lnTo>
                    <a:lnTo>
                      <a:pt x="3919310" y="1564183"/>
                    </a:lnTo>
                    <a:lnTo>
                      <a:pt x="3895234" y="1762449"/>
                    </a:lnTo>
                    <a:lnTo>
                      <a:pt x="3895234" y="1762449"/>
                    </a:lnTo>
                    <a:lnTo>
                      <a:pt x="3936304" y="1751120"/>
                    </a:lnTo>
                    <a:lnTo>
                      <a:pt x="3892402" y="1887074"/>
                    </a:lnTo>
                    <a:lnTo>
                      <a:pt x="3696968" y="1660484"/>
                    </a:lnTo>
                    <a:close/>
                    <a:moveTo>
                      <a:pt x="4308763" y="1474963"/>
                    </a:moveTo>
                    <a:lnTo>
                      <a:pt x="4308763" y="1474963"/>
                    </a:lnTo>
                    <a:lnTo>
                      <a:pt x="4177057" y="1389991"/>
                    </a:lnTo>
                    <a:lnTo>
                      <a:pt x="4270525" y="1353170"/>
                    </a:lnTo>
                    <a:lnTo>
                      <a:pt x="4402231" y="1622247"/>
                    </a:lnTo>
                    <a:lnTo>
                      <a:pt x="4269109" y="1659068"/>
                    </a:lnTo>
                    <a:lnTo>
                      <a:pt x="4308763" y="1474963"/>
                    </a:lnTo>
                    <a:close/>
                    <a:moveTo>
                      <a:pt x="4271941" y="1351754"/>
                    </a:moveTo>
                    <a:lnTo>
                      <a:pt x="4206797" y="1217216"/>
                    </a:lnTo>
                    <a:lnTo>
                      <a:pt x="4460295" y="1263950"/>
                    </a:lnTo>
                    <a:lnTo>
                      <a:pt x="4460295" y="1263950"/>
                    </a:lnTo>
                    <a:lnTo>
                      <a:pt x="4475873" y="1259702"/>
                    </a:lnTo>
                    <a:lnTo>
                      <a:pt x="4477289" y="1269615"/>
                    </a:lnTo>
                    <a:lnTo>
                      <a:pt x="4271941" y="1351754"/>
                    </a:lnTo>
                    <a:close/>
                    <a:moveTo>
                      <a:pt x="4539602" y="982128"/>
                    </a:moveTo>
                    <a:lnTo>
                      <a:pt x="4458878" y="1112418"/>
                    </a:lnTo>
                    <a:lnTo>
                      <a:pt x="4446133" y="1013285"/>
                    </a:lnTo>
                    <a:lnTo>
                      <a:pt x="4539602" y="982128"/>
                    </a:lnTo>
                    <a:close/>
                    <a:moveTo>
                      <a:pt x="4446133" y="1010452"/>
                    </a:moveTo>
                    <a:lnTo>
                      <a:pt x="4433387" y="911319"/>
                    </a:lnTo>
                    <a:lnTo>
                      <a:pt x="4569341" y="908486"/>
                    </a:lnTo>
                    <a:lnTo>
                      <a:pt x="4579255" y="918400"/>
                    </a:lnTo>
                    <a:lnTo>
                      <a:pt x="4541017" y="980712"/>
                    </a:lnTo>
                    <a:lnTo>
                      <a:pt x="4446133" y="1010452"/>
                    </a:lnTo>
                    <a:close/>
                    <a:moveTo>
                      <a:pt x="4652897" y="802272"/>
                    </a:moveTo>
                    <a:lnTo>
                      <a:pt x="4589168" y="905654"/>
                    </a:lnTo>
                    <a:lnTo>
                      <a:pt x="4572174" y="905654"/>
                    </a:lnTo>
                    <a:lnTo>
                      <a:pt x="4414977" y="749873"/>
                    </a:lnTo>
                    <a:lnTo>
                      <a:pt x="4397982" y="618167"/>
                    </a:lnTo>
                    <a:lnTo>
                      <a:pt x="4652897" y="802272"/>
                    </a:lnTo>
                    <a:close/>
                    <a:moveTo>
                      <a:pt x="3400983" y="92760"/>
                    </a:moveTo>
                    <a:lnTo>
                      <a:pt x="3528440" y="350507"/>
                    </a:lnTo>
                    <a:lnTo>
                      <a:pt x="3453382" y="731463"/>
                    </a:lnTo>
                    <a:lnTo>
                      <a:pt x="3177225" y="605422"/>
                    </a:lnTo>
                    <a:lnTo>
                      <a:pt x="3214047" y="404322"/>
                    </a:lnTo>
                    <a:lnTo>
                      <a:pt x="3313180" y="342010"/>
                    </a:lnTo>
                    <a:lnTo>
                      <a:pt x="3313180" y="342010"/>
                    </a:lnTo>
                    <a:lnTo>
                      <a:pt x="3231040" y="138079"/>
                    </a:lnTo>
                    <a:lnTo>
                      <a:pt x="3150318" y="13454"/>
                    </a:lnTo>
                    <a:lnTo>
                      <a:pt x="3400983" y="92760"/>
                    </a:lnTo>
                    <a:close/>
                    <a:moveTo>
                      <a:pt x="2412482" y="1399905"/>
                    </a:moveTo>
                    <a:lnTo>
                      <a:pt x="2238290" y="1414067"/>
                    </a:lnTo>
                    <a:lnTo>
                      <a:pt x="2234042" y="1231378"/>
                    </a:lnTo>
                    <a:lnTo>
                      <a:pt x="2412482" y="1399905"/>
                    </a:lnTo>
                    <a:close/>
                    <a:moveTo>
                      <a:pt x="1268199" y="1569848"/>
                    </a:moveTo>
                    <a:lnTo>
                      <a:pt x="1305020" y="1588258"/>
                    </a:lnTo>
                    <a:lnTo>
                      <a:pt x="1279529" y="1640657"/>
                    </a:lnTo>
                    <a:lnTo>
                      <a:pt x="1184644" y="1637825"/>
                    </a:lnTo>
                    <a:lnTo>
                      <a:pt x="1178979" y="1568431"/>
                    </a:lnTo>
                    <a:lnTo>
                      <a:pt x="1268199" y="1569848"/>
                    </a:lnTo>
                    <a:close/>
                    <a:moveTo>
                      <a:pt x="698890" y="1550021"/>
                    </a:moveTo>
                    <a:lnTo>
                      <a:pt x="904238" y="1497622"/>
                    </a:lnTo>
                    <a:lnTo>
                      <a:pt x="885828" y="1561350"/>
                    </a:lnTo>
                    <a:lnTo>
                      <a:pt x="885828" y="1561350"/>
                    </a:lnTo>
                    <a:lnTo>
                      <a:pt x="1176147" y="1567015"/>
                    </a:lnTo>
                    <a:lnTo>
                      <a:pt x="1181812" y="1636409"/>
                    </a:lnTo>
                    <a:lnTo>
                      <a:pt x="1060019" y="1632160"/>
                    </a:lnTo>
                    <a:lnTo>
                      <a:pt x="1060019" y="1632160"/>
                    </a:lnTo>
                    <a:lnTo>
                      <a:pt x="1197390" y="1796438"/>
                    </a:lnTo>
                    <a:lnTo>
                      <a:pt x="1197390" y="1803519"/>
                    </a:lnTo>
                    <a:lnTo>
                      <a:pt x="875914" y="1854502"/>
                    </a:lnTo>
                    <a:lnTo>
                      <a:pt x="844758" y="1807768"/>
                    </a:lnTo>
                    <a:lnTo>
                      <a:pt x="873082" y="1803519"/>
                    </a:lnTo>
                    <a:lnTo>
                      <a:pt x="873082" y="1803519"/>
                    </a:lnTo>
                    <a:lnTo>
                      <a:pt x="698890" y="1550021"/>
                    </a:lnTo>
                    <a:close/>
                    <a:moveTo>
                      <a:pt x="1263951" y="1567015"/>
                    </a:moveTo>
                    <a:lnTo>
                      <a:pt x="1178979" y="1565599"/>
                    </a:lnTo>
                    <a:lnTo>
                      <a:pt x="1174731" y="1524529"/>
                    </a:lnTo>
                    <a:lnTo>
                      <a:pt x="1263951" y="1567015"/>
                    </a:lnTo>
                    <a:close/>
                    <a:moveTo>
                      <a:pt x="1065684" y="1634992"/>
                    </a:moveTo>
                    <a:lnTo>
                      <a:pt x="1183228" y="1639241"/>
                    </a:lnTo>
                    <a:lnTo>
                      <a:pt x="1197390" y="1793606"/>
                    </a:lnTo>
                    <a:lnTo>
                      <a:pt x="1065684" y="1634992"/>
                    </a:lnTo>
                    <a:close/>
                    <a:moveTo>
                      <a:pt x="1200222" y="1796438"/>
                    </a:moveTo>
                    <a:lnTo>
                      <a:pt x="1186060" y="1639241"/>
                    </a:lnTo>
                    <a:lnTo>
                      <a:pt x="1280945" y="1642073"/>
                    </a:lnTo>
                    <a:lnTo>
                      <a:pt x="1205887" y="1802103"/>
                    </a:lnTo>
                    <a:lnTo>
                      <a:pt x="1200222" y="1796438"/>
                    </a:lnTo>
                    <a:close/>
                    <a:moveTo>
                      <a:pt x="1422564" y="1644906"/>
                    </a:moveTo>
                    <a:lnTo>
                      <a:pt x="1283777" y="1640657"/>
                    </a:lnTo>
                    <a:lnTo>
                      <a:pt x="1307852" y="1588258"/>
                    </a:lnTo>
                    <a:lnTo>
                      <a:pt x="1422564" y="1644906"/>
                    </a:lnTo>
                    <a:close/>
                    <a:moveTo>
                      <a:pt x="1449472" y="1647738"/>
                    </a:moveTo>
                    <a:lnTo>
                      <a:pt x="1455137" y="1657651"/>
                    </a:lnTo>
                    <a:lnTo>
                      <a:pt x="1432478" y="1646322"/>
                    </a:lnTo>
                    <a:lnTo>
                      <a:pt x="1449472" y="1647738"/>
                    </a:lnTo>
                    <a:close/>
                    <a:moveTo>
                      <a:pt x="2674477" y="2814679"/>
                    </a:moveTo>
                    <a:lnTo>
                      <a:pt x="2674477" y="2813263"/>
                    </a:lnTo>
                    <a:lnTo>
                      <a:pt x="2634824" y="2942136"/>
                    </a:lnTo>
                    <a:lnTo>
                      <a:pt x="2454968" y="2623494"/>
                    </a:lnTo>
                    <a:lnTo>
                      <a:pt x="2531442" y="2677309"/>
                    </a:lnTo>
                    <a:lnTo>
                      <a:pt x="2675894" y="2810431"/>
                    </a:lnTo>
                    <a:lnTo>
                      <a:pt x="2675894" y="2810431"/>
                    </a:lnTo>
                    <a:lnTo>
                      <a:pt x="2677310" y="2809015"/>
                    </a:lnTo>
                    <a:lnTo>
                      <a:pt x="2636240" y="2750951"/>
                    </a:lnTo>
                    <a:lnTo>
                      <a:pt x="2834507" y="2891154"/>
                    </a:lnTo>
                    <a:lnTo>
                      <a:pt x="2668813" y="2974709"/>
                    </a:lnTo>
                    <a:lnTo>
                      <a:pt x="2674477" y="2814679"/>
                    </a:lnTo>
                    <a:close/>
                    <a:moveTo>
                      <a:pt x="2520112" y="2665979"/>
                    </a:moveTo>
                    <a:lnTo>
                      <a:pt x="2452135" y="2619245"/>
                    </a:lnTo>
                    <a:lnTo>
                      <a:pt x="2435141" y="2589505"/>
                    </a:lnTo>
                    <a:lnTo>
                      <a:pt x="2520112" y="2665979"/>
                    </a:lnTo>
                    <a:close/>
                    <a:moveTo>
                      <a:pt x="2654651" y="2981790"/>
                    </a:moveTo>
                    <a:lnTo>
                      <a:pt x="2617830" y="3000200"/>
                    </a:lnTo>
                    <a:lnTo>
                      <a:pt x="2634824" y="2946385"/>
                    </a:lnTo>
                    <a:lnTo>
                      <a:pt x="2654651" y="2981790"/>
                    </a:lnTo>
                    <a:close/>
                    <a:moveTo>
                      <a:pt x="2671645" y="2827425"/>
                    </a:moveTo>
                    <a:lnTo>
                      <a:pt x="2668813" y="2974709"/>
                    </a:lnTo>
                    <a:lnTo>
                      <a:pt x="2657483" y="2980374"/>
                    </a:lnTo>
                    <a:lnTo>
                      <a:pt x="2636240" y="2943553"/>
                    </a:lnTo>
                    <a:lnTo>
                      <a:pt x="2671645" y="2827425"/>
                    </a:lnTo>
                    <a:close/>
                    <a:moveTo>
                      <a:pt x="2668813" y="2977541"/>
                    </a:moveTo>
                    <a:lnTo>
                      <a:pt x="2668813" y="3001616"/>
                    </a:lnTo>
                    <a:lnTo>
                      <a:pt x="2658899" y="2983206"/>
                    </a:lnTo>
                    <a:lnTo>
                      <a:pt x="2668813" y="2977541"/>
                    </a:lnTo>
                    <a:close/>
                    <a:moveTo>
                      <a:pt x="2695720" y="3054016"/>
                    </a:moveTo>
                    <a:lnTo>
                      <a:pt x="2661732" y="3381156"/>
                    </a:lnTo>
                    <a:lnTo>
                      <a:pt x="2670229" y="3008697"/>
                    </a:lnTo>
                    <a:lnTo>
                      <a:pt x="2695720" y="3054016"/>
                    </a:lnTo>
                    <a:close/>
                    <a:moveTo>
                      <a:pt x="2861415" y="2746702"/>
                    </a:moveTo>
                    <a:lnTo>
                      <a:pt x="2797686" y="2728292"/>
                    </a:lnTo>
                    <a:lnTo>
                      <a:pt x="2783524" y="2685806"/>
                    </a:lnTo>
                    <a:lnTo>
                      <a:pt x="2861415" y="2746702"/>
                    </a:lnTo>
                    <a:close/>
                    <a:moveTo>
                      <a:pt x="2865663" y="2750951"/>
                    </a:moveTo>
                    <a:lnTo>
                      <a:pt x="2920895" y="2793436"/>
                    </a:lnTo>
                    <a:lnTo>
                      <a:pt x="2847253" y="2874159"/>
                    </a:lnTo>
                    <a:lnTo>
                      <a:pt x="2797686" y="2732540"/>
                    </a:lnTo>
                    <a:lnTo>
                      <a:pt x="2865663" y="2750951"/>
                    </a:lnTo>
                    <a:close/>
                    <a:moveTo>
                      <a:pt x="2871328" y="2752367"/>
                    </a:moveTo>
                    <a:lnTo>
                      <a:pt x="2940721" y="2772194"/>
                    </a:lnTo>
                    <a:lnTo>
                      <a:pt x="2922311" y="2792020"/>
                    </a:lnTo>
                    <a:lnTo>
                      <a:pt x="2871328" y="2752367"/>
                    </a:lnTo>
                    <a:close/>
                    <a:moveTo>
                      <a:pt x="3208382" y="3001616"/>
                    </a:moveTo>
                    <a:lnTo>
                      <a:pt x="3214047" y="3015778"/>
                    </a:lnTo>
                    <a:lnTo>
                      <a:pt x="3198468" y="3007281"/>
                    </a:lnTo>
                    <a:lnTo>
                      <a:pt x="3208382" y="3001616"/>
                    </a:lnTo>
                    <a:close/>
                    <a:moveTo>
                      <a:pt x="4617492" y="955221"/>
                    </a:moveTo>
                    <a:lnTo>
                      <a:pt x="4545267" y="979296"/>
                    </a:lnTo>
                    <a:lnTo>
                      <a:pt x="4582087" y="919816"/>
                    </a:lnTo>
                    <a:lnTo>
                      <a:pt x="4617492" y="955221"/>
                    </a:lnTo>
                    <a:close/>
                    <a:moveTo>
                      <a:pt x="4781770" y="902822"/>
                    </a:moveTo>
                    <a:lnTo>
                      <a:pt x="4618908" y="955221"/>
                    </a:lnTo>
                    <a:lnTo>
                      <a:pt x="4582087" y="918400"/>
                    </a:lnTo>
                    <a:lnTo>
                      <a:pt x="4589168" y="908486"/>
                    </a:lnTo>
                    <a:lnTo>
                      <a:pt x="4781770" y="902822"/>
                    </a:lnTo>
                    <a:close/>
                    <a:moveTo>
                      <a:pt x="5083419" y="871665"/>
                    </a:moveTo>
                    <a:lnTo>
                      <a:pt x="5115992" y="868833"/>
                    </a:lnTo>
                    <a:lnTo>
                      <a:pt x="5098997" y="880163"/>
                    </a:lnTo>
                    <a:lnTo>
                      <a:pt x="5083419" y="871665"/>
                    </a:lnTo>
                    <a:close/>
                    <a:moveTo>
                      <a:pt x="5080587" y="870249"/>
                    </a:moveTo>
                    <a:lnTo>
                      <a:pt x="4951713" y="796607"/>
                    </a:lnTo>
                    <a:lnTo>
                      <a:pt x="5182553" y="822099"/>
                    </a:lnTo>
                    <a:lnTo>
                      <a:pt x="5118824" y="866001"/>
                    </a:lnTo>
                    <a:lnTo>
                      <a:pt x="5080587" y="870249"/>
                    </a:lnTo>
                    <a:close/>
                    <a:moveTo>
                      <a:pt x="5057927" y="874498"/>
                    </a:moveTo>
                    <a:lnTo>
                      <a:pt x="5080587" y="871665"/>
                    </a:lnTo>
                    <a:lnTo>
                      <a:pt x="5097581" y="881579"/>
                    </a:lnTo>
                    <a:lnTo>
                      <a:pt x="5086251" y="890076"/>
                    </a:lnTo>
                    <a:lnTo>
                      <a:pt x="5057927" y="874498"/>
                    </a:lnTo>
                    <a:close/>
                    <a:moveTo>
                      <a:pt x="5053679" y="873082"/>
                    </a:moveTo>
                    <a:lnTo>
                      <a:pt x="4910644" y="792359"/>
                    </a:lnTo>
                    <a:lnTo>
                      <a:pt x="4946049" y="796607"/>
                    </a:lnTo>
                    <a:lnTo>
                      <a:pt x="5076338" y="870249"/>
                    </a:lnTo>
                    <a:lnTo>
                      <a:pt x="5053679" y="873082"/>
                    </a:lnTo>
                    <a:close/>
                    <a:moveTo>
                      <a:pt x="4941800" y="793775"/>
                    </a:moveTo>
                    <a:lnTo>
                      <a:pt x="4902146" y="789526"/>
                    </a:lnTo>
                    <a:lnTo>
                      <a:pt x="4900730" y="789526"/>
                    </a:lnTo>
                    <a:lnTo>
                      <a:pt x="5050846" y="873082"/>
                    </a:lnTo>
                    <a:lnTo>
                      <a:pt x="4801597" y="899989"/>
                    </a:lnTo>
                    <a:lnTo>
                      <a:pt x="4791683" y="899989"/>
                    </a:lnTo>
                    <a:lnTo>
                      <a:pt x="4654313" y="800856"/>
                    </a:lnTo>
                    <a:lnTo>
                      <a:pt x="4732203" y="674815"/>
                    </a:lnTo>
                    <a:lnTo>
                      <a:pt x="4941800" y="793775"/>
                    </a:lnTo>
                    <a:close/>
                    <a:moveTo>
                      <a:pt x="4790268" y="902822"/>
                    </a:moveTo>
                    <a:lnTo>
                      <a:pt x="4803013" y="902822"/>
                    </a:lnTo>
                    <a:lnTo>
                      <a:pt x="5055096" y="875914"/>
                    </a:lnTo>
                    <a:lnTo>
                      <a:pt x="5083419" y="891492"/>
                    </a:lnTo>
                    <a:lnTo>
                      <a:pt x="4773273" y="1106753"/>
                    </a:lnTo>
                    <a:lnTo>
                      <a:pt x="4621740" y="956637"/>
                    </a:lnTo>
                    <a:lnTo>
                      <a:pt x="4790268" y="902822"/>
                    </a:lnTo>
                    <a:close/>
                    <a:moveTo>
                      <a:pt x="5086251" y="891492"/>
                    </a:moveTo>
                    <a:lnTo>
                      <a:pt x="5097581" y="882995"/>
                    </a:lnTo>
                    <a:lnTo>
                      <a:pt x="5268940" y="980712"/>
                    </a:lnTo>
                    <a:lnTo>
                      <a:pt x="5263275" y="989209"/>
                    </a:lnTo>
                    <a:lnTo>
                      <a:pt x="5086251" y="891492"/>
                    </a:lnTo>
                    <a:close/>
                    <a:moveTo>
                      <a:pt x="5365241" y="841925"/>
                    </a:moveTo>
                    <a:lnTo>
                      <a:pt x="5271773" y="979296"/>
                    </a:lnTo>
                    <a:lnTo>
                      <a:pt x="5100413" y="881579"/>
                    </a:lnTo>
                    <a:lnTo>
                      <a:pt x="5120240" y="867417"/>
                    </a:lnTo>
                    <a:lnTo>
                      <a:pt x="5365241" y="841925"/>
                    </a:lnTo>
                    <a:close/>
                    <a:moveTo>
                      <a:pt x="1812017" y="1051522"/>
                    </a:moveTo>
                    <a:lnTo>
                      <a:pt x="1752537" y="1081262"/>
                    </a:lnTo>
                    <a:lnTo>
                      <a:pt x="1766699" y="996290"/>
                    </a:lnTo>
                    <a:lnTo>
                      <a:pt x="1812017" y="1051522"/>
                    </a:lnTo>
                    <a:close/>
                    <a:moveTo>
                      <a:pt x="1108170" y="946724"/>
                    </a:moveTo>
                    <a:lnTo>
                      <a:pt x="1103921" y="959469"/>
                    </a:lnTo>
                    <a:lnTo>
                      <a:pt x="1092592" y="938226"/>
                    </a:lnTo>
                    <a:lnTo>
                      <a:pt x="1108170" y="946724"/>
                    </a:lnTo>
                    <a:close/>
                    <a:moveTo>
                      <a:pt x="1421148" y="1898404"/>
                    </a:moveTo>
                    <a:lnTo>
                      <a:pt x="1559935" y="1857334"/>
                    </a:lnTo>
                    <a:lnTo>
                      <a:pt x="1601004" y="1935225"/>
                    </a:lnTo>
                    <a:lnTo>
                      <a:pt x="1421148" y="1898404"/>
                    </a:lnTo>
                    <a:close/>
                    <a:moveTo>
                      <a:pt x="1742623" y="1800687"/>
                    </a:moveTo>
                    <a:lnTo>
                      <a:pt x="1561351" y="1854502"/>
                    </a:lnTo>
                    <a:lnTo>
                      <a:pt x="1459385" y="1663316"/>
                    </a:lnTo>
                    <a:lnTo>
                      <a:pt x="1742623" y="1800687"/>
                    </a:lnTo>
                    <a:close/>
                    <a:moveTo>
                      <a:pt x="2194388" y="2439389"/>
                    </a:moveTo>
                    <a:lnTo>
                      <a:pt x="2195805" y="2439389"/>
                    </a:lnTo>
                    <a:lnTo>
                      <a:pt x="2395488" y="2579592"/>
                    </a:lnTo>
                    <a:lnTo>
                      <a:pt x="2347337" y="2797685"/>
                    </a:lnTo>
                    <a:lnTo>
                      <a:pt x="2194388" y="2439389"/>
                    </a:lnTo>
                    <a:close/>
                    <a:moveTo>
                      <a:pt x="2192972" y="2437973"/>
                    </a:moveTo>
                    <a:lnTo>
                      <a:pt x="2192972" y="2437973"/>
                    </a:lnTo>
                    <a:lnTo>
                      <a:pt x="2192972" y="2437973"/>
                    </a:lnTo>
                    <a:lnTo>
                      <a:pt x="2192972" y="2437973"/>
                    </a:lnTo>
                    <a:close/>
                    <a:moveTo>
                      <a:pt x="4089253" y="1708634"/>
                    </a:moveTo>
                    <a:lnTo>
                      <a:pt x="3939136" y="1749704"/>
                    </a:lnTo>
                    <a:lnTo>
                      <a:pt x="3971709" y="1647738"/>
                    </a:lnTo>
                    <a:lnTo>
                      <a:pt x="4089253" y="1708634"/>
                    </a:lnTo>
                    <a:close/>
                    <a:moveTo>
                      <a:pt x="5284518" y="1140742"/>
                    </a:moveTo>
                    <a:lnTo>
                      <a:pt x="5356744" y="1031695"/>
                    </a:lnTo>
                    <a:lnTo>
                      <a:pt x="5400646" y="1057186"/>
                    </a:lnTo>
                    <a:lnTo>
                      <a:pt x="5284518" y="1140742"/>
                    </a:lnTo>
                    <a:close/>
                    <a:moveTo>
                      <a:pt x="2801934" y="629497"/>
                    </a:moveTo>
                    <a:lnTo>
                      <a:pt x="2818929" y="653572"/>
                    </a:lnTo>
                    <a:lnTo>
                      <a:pt x="2541355" y="829180"/>
                    </a:lnTo>
                    <a:lnTo>
                      <a:pt x="2801934" y="629497"/>
                    </a:lnTo>
                    <a:close/>
                    <a:moveTo>
                      <a:pt x="2532858" y="908486"/>
                    </a:moveTo>
                    <a:lnTo>
                      <a:pt x="1926728" y="796607"/>
                    </a:lnTo>
                    <a:lnTo>
                      <a:pt x="2129244" y="693225"/>
                    </a:lnTo>
                    <a:lnTo>
                      <a:pt x="2532858" y="908486"/>
                    </a:lnTo>
                    <a:close/>
                    <a:moveTo>
                      <a:pt x="1710051" y="897157"/>
                    </a:moveTo>
                    <a:lnTo>
                      <a:pt x="1753953" y="800856"/>
                    </a:lnTo>
                    <a:lnTo>
                      <a:pt x="1763866" y="973631"/>
                    </a:lnTo>
                    <a:lnTo>
                      <a:pt x="1710051" y="897157"/>
                    </a:lnTo>
                    <a:close/>
                    <a:moveTo>
                      <a:pt x="579930" y="1177563"/>
                    </a:moveTo>
                    <a:lnTo>
                      <a:pt x="570017" y="1207303"/>
                    </a:lnTo>
                    <a:lnTo>
                      <a:pt x="568601" y="1208719"/>
                    </a:lnTo>
                    <a:lnTo>
                      <a:pt x="554439" y="1197389"/>
                    </a:lnTo>
                    <a:lnTo>
                      <a:pt x="579930" y="1177563"/>
                    </a:lnTo>
                    <a:close/>
                    <a:moveTo>
                      <a:pt x="759787" y="871665"/>
                    </a:moveTo>
                    <a:lnTo>
                      <a:pt x="748457" y="882995"/>
                    </a:lnTo>
                    <a:lnTo>
                      <a:pt x="747041" y="861752"/>
                    </a:lnTo>
                    <a:lnTo>
                      <a:pt x="759787" y="871665"/>
                    </a:lnTo>
                    <a:close/>
                    <a:moveTo>
                      <a:pt x="762619" y="871665"/>
                    </a:moveTo>
                    <a:lnTo>
                      <a:pt x="948140" y="687561"/>
                    </a:lnTo>
                    <a:lnTo>
                      <a:pt x="983545" y="749873"/>
                    </a:lnTo>
                    <a:lnTo>
                      <a:pt x="822099" y="919816"/>
                    </a:lnTo>
                    <a:lnTo>
                      <a:pt x="762619" y="871665"/>
                    </a:lnTo>
                    <a:close/>
                    <a:moveTo>
                      <a:pt x="820683" y="921232"/>
                    </a:moveTo>
                    <a:lnTo>
                      <a:pt x="762619" y="982128"/>
                    </a:lnTo>
                    <a:lnTo>
                      <a:pt x="756954" y="986377"/>
                    </a:lnTo>
                    <a:lnTo>
                      <a:pt x="749873" y="884411"/>
                    </a:lnTo>
                    <a:lnTo>
                      <a:pt x="762619" y="871665"/>
                    </a:lnTo>
                    <a:lnTo>
                      <a:pt x="820683" y="921232"/>
                    </a:lnTo>
                    <a:close/>
                    <a:moveTo>
                      <a:pt x="756954" y="989209"/>
                    </a:moveTo>
                    <a:lnTo>
                      <a:pt x="764035" y="984961"/>
                    </a:lnTo>
                    <a:lnTo>
                      <a:pt x="822099" y="924064"/>
                    </a:lnTo>
                    <a:lnTo>
                      <a:pt x="871666" y="965134"/>
                    </a:lnTo>
                    <a:lnTo>
                      <a:pt x="761203" y="1045857"/>
                    </a:lnTo>
                    <a:lnTo>
                      <a:pt x="756954" y="989209"/>
                    </a:lnTo>
                    <a:close/>
                    <a:moveTo>
                      <a:pt x="584179" y="1171898"/>
                    </a:moveTo>
                    <a:lnTo>
                      <a:pt x="602589" y="1120915"/>
                    </a:lnTo>
                    <a:lnTo>
                      <a:pt x="616751" y="1118083"/>
                    </a:lnTo>
                    <a:lnTo>
                      <a:pt x="592676" y="1166233"/>
                    </a:lnTo>
                    <a:lnTo>
                      <a:pt x="584179" y="1171898"/>
                    </a:lnTo>
                    <a:close/>
                    <a:moveTo>
                      <a:pt x="591260" y="1169066"/>
                    </a:moveTo>
                    <a:lnTo>
                      <a:pt x="572849" y="1204470"/>
                    </a:lnTo>
                    <a:lnTo>
                      <a:pt x="571433" y="1204470"/>
                    </a:lnTo>
                    <a:lnTo>
                      <a:pt x="582763" y="1174730"/>
                    </a:lnTo>
                    <a:lnTo>
                      <a:pt x="591260" y="1169066"/>
                    </a:lnTo>
                    <a:close/>
                    <a:moveTo>
                      <a:pt x="490710" y="1139326"/>
                    </a:moveTo>
                    <a:lnTo>
                      <a:pt x="490710" y="1139326"/>
                    </a:lnTo>
                    <a:lnTo>
                      <a:pt x="599757" y="1120915"/>
                    </a:lnTo>
                    <a:lnTo>
                      <a:pt x="579930" y="1174730"/>
                    </a:lnTo>
                    <a:lnTo>
                      <a:pt x="550190" y="1195973"/>
                    </a:lnTo>
                    <a:lnTo>
                      <a:pt x="435479" y="1103921"/>
                    </a:lnTo>
                    <a:lnTo>
                      <a:pt x="608254" y="1021782"/>
                    </a:lnTo>
                    <a:lnTo>
                      <a:pt x="490710" y="1139326"/>
                    </a:lnTo>
                    <a:close/>
                    <a:moveTo>
                      <a:pt x="684728" y="984961"/>
                    </a:moveTo>
                    <a:lnTo>
                      <a:pt x="647908" y="1058603"/>
                    </a:lnTo>
                    <a:lnTo>
                      <a:pt x="615335" y="1079845"/>
                    </a:lnTo>
                    <a:lnTo>
                      <a:pt x="615335" y="1079845"/>
                    </a:lnTo>
                    <a:lnTo>
                      <a:pt x="601173" y="1118083"/>
                    </a:lnTo>
                    <a:lnTo>
                      <a:pt x="496375" y="1136493"/>
                    </a:lnTo>
                    <a:lnTo>
                      <a:pt x="615335" y="1017533"/>
                    </a:lnTo>
                    <a:lnTo>
                      <a:pt x="684728" y="984961"/>
                    </a:lnTo>
                    <a:close/>
                    <a:moveTo>
                      <a:pt x="645075" y="1062851"/>
                    </a:moveTo>
                    <a:lnTo>
                      <a:pt x="618167" y="1115250"/>
                    </a:lnTo>
                    <a:lnTo>
                      <a:pt x="602589" y="1118083"/>
                    </a:lnTo>
                    <a:lnTo>
                      <a:pt x="615335" y="1081262"/>
                    </a:lnTo>
                    <a:lnTo>
                      <a:pt x="645075" y="1062851"/>
                    </a:lnTo>
                    <a:close/>
                    <a:moveTo>
                      <a:pt x="650740" y="1057186"/>
                    </a:moveTo>
                    <a:lnTo>
                      <a:pt x="688977" y="982128"/>
                    </a:lnTo>
                    <a:lnTo>
                      <a:pt x="688977" y="982128"/>
                    </a:lnTo>
                    <a:lnTo>
                      <a:pt x="619584" y="1014701"/>
                    </a:lnTo>
                    <a:lnTo>
                      <a:pt x="747041" y="887244"/>
                    </a:lnTo>
                    <a:lnTo>
                      <a:pt x="754122" y="987793"/>
                    </a:lnTo>
                    <a:lnTo>
                      <a:pt x="650740" y="1057186"/>
                    </a:lnTo>
                    <a:close/>
                    <a:moveTo>
                      <a:pt x="647908" y="1060019"/>
                    </a:moveTo>
                    <a:lnTo>
                      <a:pt x="754122" y="989209"/>
                    </a:lnTo>
                    <a:lnTo>
                      <a:pt x="758370" y="1044441"/>
                    </a:lnTo>
                    <a:lnTo>
                      <a:pt x="676231" y="1103921"/>
                    </a:lnTo>
                    <a:lnTo>
                      <a:pt x="621000" y="1113834"/>
                    </a:lnTo>
                    <a:lnTo>
                      <a:pt x="647908" y="1060019"/>
                    </a:lnTo>
                    <a:close/>
                    <a:moveTo>
                      <a:pt x="551606" y="1197389"/>
                    </a:moveTo>
                    <a:lnTo>
                      <a:pt x="565768" y="1208719"/>
                    </a:lnTo>
                    <a:lnTo>
                      <a:pt x="459554" y="1265367"/>
                    </a:lnTo>
                    <a:lnTo>
                      <a:pt x="551606" y="1197389"/>
                    </a:lnTo>
                    <a:close/>
                    <a:moveTo>
                      <a:pt x="571433" y="1211551"/>
                    </a:moveTo>
                    <a:lnTo>
                      <a:pt x="574265" y="1205887"/>
                    </a:lnTo>
                    <a:lnTo>
                      <a:pt x="670566" y="1154904"/>
                    </a:lnTo>
                    <a:lnTo>
                      <a:pt x="681896" y="1300771"/>
                    </a:lnTo>
                    <a:lnTo>
                      <a:pt x="571433" y="1211551"/>
                    </a:lnTo>
                    <a:close/>
                    <a:moveTo>
                      <a:pt x="671983" y="1108169"/>
                    </a:moveTo>
                    <a:lnTo>
                      <a:pt x="596925" y="1163401"/>
                    </a:lnTo>
                    <a:lnTo>
                      <a:pt x="619584" y="1118083"/>
                    </a:lnTo>
                    <a:lnTo>
                      <a:pt x="671983" y="1108169"/>
                    </a:lnTo>
                    <a:close/>
                    <a:moveTo>
                      <a:pt x="758370" y="1047273"/>
                    </a:moveTo>
                    <a:lnTo>
                      <a:pt x="761203" y="1089759"/>
                    </a:lnTo>
                    <a:lnTo>
                      <a:pt x="680480" y="1103921"/>
                    </a:lnTo>
                    <a:lnTo>
                      <a:pt x="758370" y="1047273"/>
                    </a:lnTo>
                    <a:close/>
                    <a:moveTo>
                      <a:pt x="568601" y="1208719"/>
                    </a:moveTo>
                    <a:lnTo>
                      <a:pt x="568601" y="1208719"/>
                    </a:lnTo>
                    <a:lnTo>
                      <a:pt x="568601" y="1208719"/>
                    </a:lnTo>
                    <a:lnTo>
                      <a:pt x="568601" y="1208719"/>
                    </a:lnTo>
                    <a:close/>
                    <a:moveTo>
                      <a:pt x="568601" y="1211551"/>
                    </a:moveTo>
                    <a:lnTo>
                      <a:pt x="568601" y="1211551"/>
                    </a:lnTo>
                    <a:lnTo>
                      <a:pt x="567185" y="1214384"/>
                    </a:lnTo>
                    <a:lnTo>
                      <a:pt x="568601" y="1211551"/>
                    </a:lnTo>
                    <a:close/>
                    <a:moveTo>
                      <a:pt x="570017" y="1208719"/>
                    </a:moveTo>
                    <a:lnTo>
                      <a:pt x="570017" y="1208719"/>
                    </a:lnTo>
                    <a:lnTo>
                      <a:pt x="570017" y="1211551"/>
                    </a:lnTo>
                    <a:lnTo>
                      <a:pt x="570017" y="1211551"/>
                    </a:lnTo>
                    <a:lnTo>
                      <a:pt x="570017" y="1208719"/>
                    </a:lnTo>
                    <a:close/>
                    <a:moveTo>
                      <a:pt x="752706" y="2127827"/>
                    </a:moveTo>
                    <a:lnTo>
                      <a:pt x="728630" y="2195804"/>
                    </a:lnTo>
                    <a:lnTo>
                      <a:pt x="741376" y="2120746"/>
                    </a:lnTo>
                    <a:lnTo>
                      <a:pt x="752706" y="2127827"/>
                    </a:lnTo>
                    <a:close/>
                    <a:moveTo>
                      <a:pt x="605422" y="1766698"/>
                    </a:moveTo>
                    <a:lnTo>
                      <a:pt x="486461" y="1647738"/>
                    </a:lnTo>
                    <a:lnTo>
                      <a:pt x="649323" y="1517448"/>
                    </a:lnTo>
                    <a:lnTo>
                      <a:pt x="843342" y="1809184"/>
                    </a:lnTo>
                    <a:lnTo>
                      <a:pt x="751289" y="1824762"/>
                    </a:lnTo>
                    <a:lnTo>
                      <a:pt x="625248" y="1752536"/>
                    </a:lnTo>
                    <a:lnTo>
                      <a:pt x="625248" y="1752536"/>
                    </a:lnTo>
                    <a:lnTo>
                      <a:pt x="605422" y="1766698"/>
                    </a:lnTo>
                    <a:close/>
                    <a:moveTo>
                      <a:pt x="605422" y="1769530"/>
                    </a:moveTo>
                    <a:lnTo>
                      <a:pt x="674815" y="1838924"/>
                    </a:lnTo>
                    <a:lnTo>
                      <a:pt x="596925" y="1860167"/>
                    </a:lnTo>
                    <a:lnTo>
                      <a:pt x="595508" y="1851669"/>
                    </a:lnTo>
                    <a:lnTo>
                      <a:pt x="595508" y="1851669"/>
                    </a:lnTo>
                    <a:lnTo>
                      <a:pt x="456722" y="1885658"/>
                    </a:lnTo>
                    <a:lnTo>
                      <a:pt x="605422" y="1769530"/>
                    </a:lnTo>
                    <a:close/>
                    <a:moveTo>
                      <a:pt x="739960" y="2117913"/>
                    </a:moveTo>
                    <a:lnTo>
                      <a:pt x="690393" y="2086757"/>
                    </a:lnTo>
                    <a:lnTo>
                      <a:pt x="619584" y="1991873"/>
                    </a:lnTo>
                    <a:lnTo>
                      <a:pt x="592676" y="1862999"/>
                    </a:lnTo>
                    <a:lnTo>
                      <a:pt x="596925" y="1861583"/>
                    </a:lnTo>
                    <a:lnTo>
                      <a:pt x="626665" y="1990456"/>
                    </a:lnTo>
                    <a:lnTo>
                      <a:pt x="626665" y="1990456"/>
                    </a:lnTo>
                    <a:lnTo>
                      <a:pt x="748457" y="2074011"/>
                    </a:lnTo>
                    <a:lnTo>
                      <a:pt x="739960" y="2117913"/>
                    </a:lnTo>
                    <a:close/>
                    <a:moveTo>
                      <a:pt x="187645" y="2093838"/>
                    </a:moveTo>
                    <a:lnTo>
                      <a:pt x="230131" y="1996121"/>
                    </a:lnTo>
                    <a:lnTo>
                      <a:pt x="317935" y="1984792"/>
                    </a:lnTo>
                    <a:lnTo>
                      <a:pt x="302357" y="2004618"/>
                    </a:lnTo>
                    <a:lnTo>
                      <a:pt x="187645" y="2093838"/>
                    </a:lnTo>
                    <a:close/>
                    <a:moveTo>
                      <a:pt x="152241" y="2123578"/>
                    </a:moveTo>
                    <a:lnTo>
                      <a:pt x="180564" y="2102335"/>
                    </a:lnTo>
                    <a:lnTo>
                      <a:pt x="181980" y="2102335"/>
                    </a:lnTo>
                    <a:lnTo>
                      <a:pt x="172067" y="2126411"/>
                    </a:lnTo>
                    <a:lnTo>
                      <a:pt x="152241" y="2123578"/>
                    </a:lnTo>
                    <a:close/>
                    <a:moveTo>
                      <a:pt x="48858" y="2106584"/>
                    </a:moveTo>
                    <a:lnTo>
                      <a:pt x="77182" y="2085341"/>
                    </a:lnTo>
                    <a:lnTo>
                      <a:pt x="98425" y="2115081"/>
                    </a:lnTo>
                    <a:lnTo>
                      <a:pt x="48858" y="2106584"/>
                    </a:lnTo>
                    <a:close/>
                    <a:moveTo>
                      <a:pt x="157905" y="2083925"/>
                    </a:moveTo>
                    <a:lnTo>
                      <a:pt x="223050" y="1997537"/>
                    </a:lnTo>
                    <a:lnTo>
                      <a:pt x="228715" y="1997537"/>
                    </a:lnTo>
                    <a:lnTo>
                      <a:pt x="184813" y="2098087"/>
                    </a:lnTo>
                    <a:lnTo>
                      <a:pt x="180564" y="2100919"/>
                    </a:lnTo>
                    <a:lnTo>
                      <a:pt x="157905" y="2083925"/>
                    </a:lnTo>
                    <a:close/>
                    <a:moveTo>
                      <a:pt x="123917" y="2146237"/>
                    </a:moveTo>
                    <a:lnTo>
                      <a:pt x="150824" y="2124994"/>
                    </a:lnTo>
                    <a:lnTo>
                      <a:pt x="170651" y="2127827"/>
                    </a:lnTo>
                    <a:lnTo>
                      <a:pt x="147992" y="2178810"/>
                    </a:lnTo>
                    <a:lnTo>
                      <a:pt x="123917" y="2146237"/>
                    </a:lnTo>
                    <a:close/>
                    <a:moveTo>
                      <a:pt x="115420" y="2139156"/>
                    </a:moveTo>
                    <a:lnTo>
                      <a:pt x="119668" y="2146237"/>
                    </a:lnTo>
                    <a:lnTo>
                      <a:pt x="95593" y="2164648"/>
                    </a:lnTo>
                    <a:lnTo>
                      <a:pt x="115420" y="2139156"/>
                    </a:lnTo>
                    <a:close/>
                    <a:moveTo>
                      <a:pt x="128165" y="2122162"/>
                    </a:moveTo>
                    <a:lnTo>
                      <a:pt x="146575" y="2124994"/>
                    </a:lnTo>
                    <a:lnTo>
                      <a:pt x="122500" y="2144821"/>
                    </a:lnTo>
                    <a:lnTo>
                      <a:pt x="116836" y="2137740"/>
                    </a:lnTo>
                    <a:lnTo>
                      <a:pt x="128165" y="2122162"/>
                    </a:lnTo>
                    <a:close/>
                    <a:moveTo>
                      <a:pt x="116836" y="2057017"/>
                    </a:moveTo>
                    <a:lnTo>
                      <a:pt x="155073" y="2083925"/>
                    </a:lnTo>
                    <a:lnTo>
                      <a:pt x="128165" y="2119330"/>
                    </a:lnTo>
                    <a:lnTo>
                      <a:pt x="102674" y="2115081"/>
                    </a:lnTo>
                    <a:lnTo>
                      <a:pt x="80015" y="2083925"/>
                    </a:lnTo>
                    <a:lnTo>
                      <a:pt x="116836" y="2057017"/>
                    </a:lnTo>
                    <a:close/>
                    <a:moveTo>
                      <a:pt x="129581" y="2120746"/>
                    </a:moveTo>
                    <a:lnTo>
                      <a:pt x="155073" y="2085341"/>
                    </a:lnTo>
                    <a:lnTo>
                      <a:pt x="177732" y="2100919"/>
                    </a:lnTo>
                    <a:lnTo>
                      <a:pt x="149408" y="2123578"/>
                    </a:lnTo>
                    <a:lnTo>
                      <a:pt x="129581" y="2120746"/>
                    </a:lnTo>
                    <a:close/>
                    <a:moveTo>
                      <a:pt x="118252" y="2055601"/>
                    </a:moveTo>
                    <a:lnTo>
                      <a:pt x="193310" y="2000370"/>
                    </a:lnTo>
                    <a:lnTo>
                      <a:pt x="220218" y="1997537"/>
                    </a:lnTo>
                    <a:lnTo>
                      <a:pt x="156489" y="2082509"/>
                    </a:lnTo>
                    <a:lnTo>
                      <a:pt x="118252" y="2055601"/>
                    </a:lnTo>
                    <a:close/>
                    <a:moveTo>
                      <a:pt x="63020" y="2015948"/>
                    </a:moveTo>
                    <a:lnTo>
                      <a:pt x="189061" y="2000370"/>
                    </a:lnTo>
                    <a:lnTo>
                      <a:pt x="116836" y="2054185"/>
                    </a:lnTo>
                    <a:lnTo>
                      <a:pt x="63020" y="2015948"/>
                    </a:lnTo>
                    <a:close/>
                    <a:moveTo>
                      <a:pt x="126749" y="2122162"/>
                    </a:moveTo>
                    <a:lnTo>
                      <a:pt x="116836" y="2136324"/>
                    </a:lnTo>
                    <a:lnTo>
                      <a:pt x="104090" y="2119330"/>
                    </a:lnTo>
                    <a:lnTo>
                      <a:pt x="126749" y="2122162"/>
                    </a:lnTo>
                    <a:close/>
                    <a:moveTo>
                      <a:pt x="223050" y="1994705"/>
                    </a:moveTo>
                    <a:lnTo>
                      <a:pt x="232963" y="1980543"/>
                    </a:lnTo>
                    <a:lnTo>
                      <a:pt x="227299" y="1993289"/>
                    </a:lnTo>
                    <a:lnTo>
                      <a:pt x="223050" y="1994705"/>
                    </a:lnTo>
                    <a:close/>
                    <a:moveTo>
                      <a:pt x="238628" y="1973462"/>
                    </a:moveTo>
                    <a:lnTo>
                      <a:pt x="238628" y="1973462"/>
                    </a:lnTo>
                    <a:lnTo>
                      <a:pt x="237212" y="1972046"/>
                    </a:lnTo>
                    <a:lnTo>
                      <a:pt x="220218" y="1994705"/>
                    </a:lnTo>
                    <a:lnTo>
                      <a:pt x="194726" y="1997537"/>
                    </a:lnTo>
                    <a:lnTo>
                      <a:pt x="234380" y="1967797"/>
                    </a:lnTo>
                    <a:lnTo>
                      <a:pt x="234380" y="1967797"/>
                    </a:lnTo>
                    <a:lnTo>
                      <a:pt x="74350" y="1981959"/>
                    </a:lnTo>
                    <a:lnTo>
                      <a:pt x="370334" y="1909733"/>
                    </a:lnTo>
                    <a:lnTo>
                      <a:pt x="375999" y="1912566"/>
                    </a:lnTo>
                    <a:lnTo>
                      <a:pt x="317935" y="1984792"/>
                    </a:lnTo>
                    <a:lnTo>
                      <a:pt x="228715" y="1996121"/>
                    </a:lnTo>
                    <a:lnTo>
                      <a:pt x="238628" y="1973462"/>
                    </a:lnTo>
                    <a:close/>
                    <a:moveTo>
                      <a:pt x="230131" y="1970630"/>
                    </a:moveTo>
                    <a:lnTo>
                      <a:pt x="191894" y="1998953"/>
                    </a:lnTo>
                    <a:lnTo>
                      <a:pt x="57356" y="2015948"/>
                    </a:lnTo>
                    <a:lnTo>
                      <a:pt x="57356" y="2015948"/>
                    </a:lnTo>
                    <a:lnTo>
                      <a:pt x="115420" y="2057017"/>
                    </a:lnTo>
                    <a:lnTo>
                      <a:pt x="80015" y="2083925"/>
                    </a:lnTo>
                    <a:lnTo>
                      <a:pt x="19118" y="1997537"/>
                    </a:lnTo>
                    <a:lnTo>
                      <a:pt x="65853" y="1986208"/>
                    </a:lnTo>
                    <a:lnTo>
                      <a:pt x="230131" y="1970630"/>
                    </a:lnTo>
                    <a:close/>
                    <a:moveTo>
                      <a:pt x="13454" y="1994705"/>
                    </a:moveTo>
                    <a:lnTo>
                      <a:pt x="13454" y="1994705"/>
                    </a:lnTo>
                    <a:lnTo>
                      <a:pt x="75766" y="2083925"/>
                    </a:lnTo>
                    <a:lnTo>
                      <a:pt x="43194" y="2108000"/>
                    </a:lnTo>
                    <a:lnTo>
                      <a:pt x="99841" y="2117913"/>
                    </a:lnTo>
                    <a:lnTo>
                      <a:pt x="114003" y="2137740"/>
                    </a:lnTo>
                    <a:lnTo>
                      <a:pt x="89928" y="2170312"/>
                    </a:lnTo>
                    <a:lnTo>
                      <a:pt x="47442" y="2204301"/>
                    </a:lnTo>
                    <a:lnTo>
                      <a:pt x="10621" y="1990456"/>
                    </a:lnTo>
                    <a:lnTo>
                      <a:pt x="50275" y="1987624"/>
                    </a:lnTo>
                    <a:lnTo>
                      <a:pt x="13454" y="1994705"/>
                    </a:lnTo>
                    <a:close/>
                    <a:moveTo>
                      <a:pt x="58772" y="2215631"/>
                    </a:moveTo>
                    <a:lnTo>
                      <a:pt x="92760" y="2170312"/>
                    </a:lnTo>
                    <a:lnTo>
                      <a:pt x="122500" y="2147654"/>
                    </a:lnTo>
                    <a:lnTo>
                      <a:pt x="147992" y="2184474"/>
                    </a:lnTo>
                    <a:lnTo>
                      <a:pt x="147992" y="2184474"/>
                    </a:lnTo>
                    <a:lnTo>
                      <a:pt x="172067" y="2129243"/>
                    </a:lnTo>
                    <a:lnTo>
                      <a:pt x="196142" y="2133492"/>
                    </a:lnTo>
                    <a:lnTo>
                      <a:pt x="130998" y="2214214"/>
                    </a:lnTo>
                    <a:lnTo>
                      <a:pt x="58772" y="2215631"/>
                    </a:lnTo>
                    <a:close/>
                    <a:moveTo>
                      <a:pt x="181980" y="2100919"/>
                    </a:moveTo>
                    <a:lnTo>
                      <a:pt x="181980" y="2100919"/>
                    </a:lnTo>
                    <a:lnTo>
                      <a:pt x="181980" y="2100919"/>
                    </a:lnTo>
                    <a:lnTo>
                      <a:pt x="181980" y="2100919"/>
                    </a:lnTo>
                    <a:close/>
                    <a:moveTo>
                      <a:pt x="183397" y="2102335"/>
                    </a:moveTo>
                    <a:lnTo>
                      <a:pt x="184813" y="2098087"/>
                    </a:lnTo>
                    <a:lnTo>
                      <a:pt x="293860" y="2011699"/>
                    </a:lnTo>
                    <a:lnTo>
                      <a:pt x="206056" y="2119330"/>
                    </a:lnTo>
                    <a:lnTo>
                      <a:pt x="183397" y="2102335"/>
                    </a:lnTo>
                    <a:close/>
                    <a:moveTo>
                      <a:pt x="380247" y="1911149"/>
                    </a:moveTo>
                    <a:lnTo>
                      <a:pt x="384496" y="1905485"/>
                    </a:lnTo>
                    <a:lnTo>
                      <a:pt x="448224" y="1889907"/>
                    </a:lnTo>
                    <a:lnTo>
                      <a:pt x="405739" y="1923895"/>
                    </a:lnTo>
                    <a:lnTo>
                      <a:pt x="380247" y="1911149"/>
                    </a:lnTo>
                    <a:close/>
                    <a:moveTo>
                      <a:pt x="320767" y="1780860"/>
                    </a:moveTo>
                    <a:lnTo>
                      <a:pt x="485046" y="1776611"/>
                    </a:lnTo>
                    <a:lnTo>
                      <a:pt x="381663" y="1902652"/>
                    </a:lnTo>
                    <a:lnTo>
                      <a:pt x="370334" y="1905485"/>
                    </a:lnTo>
                    <a:lnTo>
                      <a:pt x="133830" y="1783692"/>
                    </a:lnTo>
                    <a:lnTo>
                      <a:pt x="254206" y="1780860"/>
                    </a:lnTo>
                    <a:lnTo>
                      <a:pt x="269784" y="1817681"/>
                    </a:lnTo>
                    <a:lnTo>
                      <a:pt x="269784" y="1817681"/>
                    </a:lnTo>
                    <a:lnTo>
                      <a:pt x="320767" y="1780860"/>
                    </a:lnTo>
                    <a:close/>
                    <a:moveTo>
                      <a:pt x="317935" y="1780860"/>
                    </a:moveTo>
                    <a:lnTo>
                      <a:pt x="274033" y="1816265"/>
                    </a:lnTo>
                    <a:lnTo>
                      <a:pt x="258455" y="1782276"/>
                    </a:lnTo>
                    <a:lnTo>
                      <a:pt x="317935" y="1780860"/>
                    </a:lnTo>
                    <a:close/>
                    <a:moveTo>
                      <a:pt x="320767" y="1779444"/>
                    </a:moveTo>
                    <a:lnTo>
                      <a:pt x="258455" y="1780860"/>
                    </a:lnTo>
                    <a:lnTo>
                      <a:pt x="235796" y="1729877"/>
                    </a:lnTo>
                    <a:lnTo>
                      <a:pt x="459554" y="1547188"/>
                    </a:lnTo>
                    <a:lnTo>
                      <a:pt x="459554" y="1625079"/>
                    </a:lnTo>
                    <a:lnTo>
                      <a:pt x="483629" y="1649154"/>
                    </a:lnTo>
                    <a:lnTo>
                      <a:pt x="320767" y="1779444"/>
                    </a:lnTo>
                    <a:close/>
                    <a:moveTo>
                      <a:pt x="387328" y="1902652"/>
                    </a:moveTo>
                    <a:lnTo>
                      <a:pt x="490710" y="1775195"/>
                    </a:lnTo>
                    <a:lnTo>
                      <a:pt x="490710" y="1775195"/>
                    </a:lnTo>
                    <a:lnTo>
                      <a:pt x="323599" y="1779444"/>
                    </a:lnTo>
                    <a:lnTo>
                      <a:pt x="485046" y="1650570"/>
                    </a:lnTo>
                    <a:lnTo>
                      <a:pt x="604006" y="1769530"/>
                    </a:lnTo>
                    <a:lnTo>
                      <a:pt x="452473" y="1888491"/>
                    </a:lnTo>
                    <a:lnTo>
                      <a:pt x="387328" y="1902652"/>
                    </a:lnTo>
                    <a:close/>
                    <a:moveTo>
                      <a:pt x="206056" y="2120746"/>
                    </a:moveTo>
                    <a:lnTo>
                      <a:pt x="197558" y="2132075"/>
                    </a:lnTo>
                    <a:lnTo>
                      <a:pt x="172067" y="2127827"/>
                    </a:lnTo>
                    <a:lnTo>
                      <a:pt x="181980" y="2105168"/>
                    </a:lnTo>
                    <a:lnTo>
                      <a:pt x="206056" y="2120746"/>
                    </a:lnTo>
                    <a:close/>
                    <a:moveTo>
                      <a:pt x="228715" y="2136324"/>
                    </a:moveTo>
                    <a:lnTo>
                      <a:pt x="200391" y="2132075"/>
                    </a:lnTo>
                    <a:lnTo>
                      <a:pt x="208888" y="2122162"/>
                    </a:lnTo>
                    <a:lnTo>
                      <a:pt x="228715" y="2136324"/>
                    </a:lnTo>
                    <a:close/>
                    <a:moveTo>
                      <a:pt x="327848" y="1983375"/>
                    </a:moveTo>
                    <a:lnTo>
                      <a:pt x="308022" y="1998953"/>
                    </a:lnTo>
                    <a:lnTo>
                      <a:pt x="319351" y="1984792"/>
                    </a:lnTo>
                    <a:lnTo>
                      <a:pt x="327848" y="1983375"/>
                    </a:lnTo>
                    <a:close/>
                    <a:moveTo>
                      <a:pt x="402906" y="1925311"/>
                    </a:moveTo>
                    <a:lnTo>
                      <a:pt x="330680" y="1981959"/>
                    </a:lnTo>
                    <a:lnTo>
                      <a:pt x="320767" y="1983375"/>
                    </a:lnTo>
                    <a:lnTo>
                      <a:pt x="377415" y="1912566"/>
                    </a:lnTo>
                    <a:lnTo>
                      <a:pt x="402906" y="1925311"/>
                    </a:lnTo>
                    <a:close/>
                    <a:moveTo>
                      <a:pt x="477965" y="1963549"/>
                    </a:moveTo>
                    <a:lnTo>
                      <a:pt x="334929" y="1980543"/>
                    </a:lnTo>
                    <a:lnTo>
                      <a:pt x="405739" y="1925311"/>
                    </a:lnTo>
                    <a:lnTo>
                      <a:pt x="477965" y="1963549"/>
                    </a:lnTo>
                    <a:close/>
                    <a:moveTo>
                      <a:pt x="687561" y="1836092"/>
                    </a:moveTo>
                    <a:lnTo>
                      <a:pt x="751289" y="1826178"/>
                    </a:lnTo>
                    <a:lnTo>
                      <a:pt x="977880" y="1956468"/>
                    </a:lnTo>
                    <a:lnTo>
                      <a:pt x="687561" y="1836092"/>
                    </a:lnTo>
                    <a:close/>
                    <a:moveTo>
                      <a:pt x="3391071" y="3753614"/>
                    </a:moveTo>
                    <a:lnTo>
                      <a:pt x="3575175" y="3889568"/>
                    </a:lnTo>
                    <a:lnTo>
                      <a:pt x="3572343" y="3899481"/>
                    </a:lnTo>
                    <a:lnTo>
                      <a:pt x="3393902" y="3808845"/>
                    </a:lnTo>
                    <a:lnTo>
                      <a:pt x="3391071" y="3753614"/>
                    </a:lnTo>
                    <a:close/>
                    <a:moveTo>
                      <a:pt x="3395319" y="3832921"/>
                    </a:moveTo>
                    <a:lnTo>
                      <a:pt x="3393902" y="3810261"/>
                    </a:lnTo>
                    <a:lnTo>
                      <a:pt x="3572343" y="3900898"/>
                    </a:lnTo>
                    <a:lnTo>
                      <a:pt x="3556764" y="3957545"/>
                    </a:lnTo>
                    <a:lnTo>
                      <a:pt x="3395319" y="3832921"/>
                    </a:lnTo>
                    <a:close/>
                    <a:moveTo>
                      <a:pt x="3357082" y="3803181"/>
                    </a:moveTo>
                    <a:lnTo>
                      <a:pt x="3347168" y="3786186"/>
                    </a:lnTo>
                    <a:lnTo>
                      <a:pt x="3392486" y="3810261"/>
                    </a:lnTo>
                    <a:lnTo>
                      <a:pt x="3393902" y="3831504"/>
                    </a:lnTo>
                    <a:lnTo>
                      <a:pt x="3357082" y="3803181"/>
                    </a:lnTo>
                    <a:close/>
                    <a:moveTo>
                      <a:pt x="3359914" y="3807429"/>
                    </a:moveTo>
                    <a:lnTo>
                      <a:pt x="3393902" y="3834337"/>
                    </a:lnTo>
                    <a:lnTo>
                      <a:pt x="3395319" y="3866909"/>
                    </a:lnTo>
                    <a:lnTo>
                      <a:pt x="3359914" y="3807429"/>
                    </a:lnTo>
                    <a:close/>
                    <a:moveTo>
                      <a:pt x="3342920" y="3784770"/>
                    </a:moveTo>
                    <a:lnTo>
                      <a:pt x="3351416" y="3800348"/>
                    </a:lnTo>
                    <a:lnTo>
                      <a:pt x="3311763" y="3770608"/>
                    </a:lnTo>
                    <a:lnTo>
                      <a:pt x="3342920" y="3784770"/>
                    </a:lnTo>
                    <a:close/>
                    <a:moveTo>
                      <a:pt x="3344336" y="3783354"/>
                    </a:moveTo>
                    <a:lnTo>
                      <a:pt x="3274943" y="3667226"/>
                    </a:lnTo>
                    <a:lnTo>
                      <a:pt x="3389654" y="3752198"/>
                    </a:lnTo>
                    <a:lnTo>
                      <a:pt x="3392486" y="3807429"/>
                    </a:lnTo>
                    <a:lnTo>
                      <a:pt x="3344336" y="3783354"/>
                    </a:lnTo>
                    <a:close/>
                    <a:moveTo>
                      <a:pt x="3575175" y="3900898"/>
                    </a:moveTo>
                    <a:lnTo>
                      <a:pt x="3578007" y="3890985"/>
                    </a:lnTo>
                    <a:lnTo>
                      <a:pt x="3630406" y="3929221"/>
                    </a:lnTo>
                    <a:lnTo>
                      <a:pt x="3575175" y="3900898"/>
                    </a:lnTo>
                    <a:close/>
                    <a:moveTo>
                      <a:pt x="3266445" y="3525607"/>
                    </a:moveTo>
                    <a:lnTo>
                      <a:pt x="3317428" y="3504364"/>
                    </a:lnTo>
                    <a:lnTo>
                      <a:pt x="3350001" y="3573757"/>
                    </a:lnTo>
                    <a:lnTo>
                      <a:pt x="3266445" y="3525607"/>
                    </a:lnTo>
                    <a:close/>
                    <a:moveTo>
                      <a:pt x="3265029" y="3524191"/>
                    </a:moveTo>
                    <a:lnTo>
                      <a:pt x="3170144" y="3468959"/>
                    </a:lnTo>
                    <a:lnTo>
                      <a:pt x="3317428" y="3501532"/>
                    </a:lnTo>
                    <a:lnTo>
                      <a:pt x="3265029" y="3524191"/>
                    </a:lnTo>
                    <a:close/>
                    <a:moveTo>
                      <a:pt x="3361330" y="3511445"/>
                    </a:moveTo>
                    <a:lnTo>
                      <a:pt x="3359914" y="3711128"/>
                    </a:lnTo>
                    <a:lnTo>
                      <a:pt x="3233873" y="3538353"/>
                    </a:lnTo>
                    <a:lnTo>
                      <a:pt x="3265029" y="3525607"/>
                    </a:lnTo>
                    <a:lnTo>
                      <a:pt x="3355666" y="3578006"/>
                    </a:lnTo>
                    <a:lnTo>
                      <a:pt x="3355666" y="3578006"/>
                    </a:lnTo>
                    <a:lnTo>
                      <a:pt x="3320261" y="3501532"/>
                    </a:lnTo>
                    <a:lnTo>
                      <a:pt x="3320261" y="3501532"/>
                    </a:lnTo>
                    <a:lnTo>
                      <a:pt x="3361330" y="3511445"/>
                    </a:lnTo>
                    <a:close/>
                    <a:moveTo>
                      <a:pt x="3668644" y="3749365"/>
                    </a:moveTo>
                    <a:lnTo>
                      <a:pt x="3780523" y="3692718"/>
                    </a:lnTo>
                    <a:lnTo>
                      <a:pt x="3756448" y="3757862"/>
                    </a:lnTo>
                    <a:lnTo>
                      <a:pt x="3668644" y="3749365"/>
                    </a:lnTo>
                    <a:close/>
                    <a:moveTo>
                      <a:pt x="4385236" y="3800348"/>
                    </a:moveTo>
                    <a:lnTo>
                      <a:pt x="4422058" y="3784770"/>
                    </a:lnTo>
                    <a:lnTo>
                      <a:pt x="4451797" y="3818759"/>
                    </a:lnTo>
                    <a:lnTo>
                      <a:pt x="4426306" y="3815926"/>
                    </a:lnTo>
                    <a:lnTo>
                      <a:pt x="4385236" y="3800348"/>
                    </a:lnTo>
                    <a:close/>
                    <a:moveTo>
                      <a:pt x="4431971" y="3820175"/>
                    </a:moveTo>
                    <a:lnTo>
                      <a:pt x="4453214" y="3821591"/>
                    </a:lnTo>
                    <a:lnTo>
                      <a:pt x="4461711" y="3831504"/>
                    </a:lnTo>
                    <a:lnTo>
                      <a:pt x="4431971" y="3820175"/>
                    </a:lnTo>
                    <a:close/>
                    <a:moveTo>
                      <a:pt x="4361162" y="3811678"/>
                    </a:moveTo>
                    <a:lnTo>
                      <a:pt x="4382405" y="3803181"/>
                    </a:lnTo>
                    <a:lnTo>
                      <a:pt x="4417809" y="3817342"/>
                    </a:lnTo>
                    <a:lnTo>
                      <a:pt x="4361162" y="3811678"/>
                    </a:lnTo>
                    <a:close/>
                    <a:moveTo>
                      <a:pt x="4514110" y="3895233"/>
                    </a:moveTo>
                    <a:lnTo>
                      <a:pt x="4361162" y="3837169"/>
                    </a:lnTo>
                    <a:lnTo>
                      <a:pt x="4473040" y="3845666"/>
                    </a:lnTo>
                    <a:lnTo>
                      <a:pt x="4514110" y="3895233"/>
                    </a:lnTo>
                    <a:close/>
                    <a:moveTo>
                      <a:pt x="4474457" y="3844250"/>
                    </a:moveTo>
                    <a:lnTo>
                      <a:pt x="4468792" y="3837169"/>
                    </a:lnTo>
                    <a:lnTo>
                      <a:pt x="4487202" y="3844250"/>
                    </a:lnTo>
                    <a:lnTo>
                      <a:pt x="4474457" y="3844250"/>
                    </a:lnTo>
                    <a:close/>
                    <a:moveTo>
                      <a:pt x="4521191" y="3899481"/>
                    </a:moveTo>
                    <a:lnTo>
                      <a:pt x="4702464" y="3967459"/>
                    </a:lnTo>
                    <a:lnTo>
                      <a:pt x="4586336" y="3990118"/>
                    </a:lnTo>
                    <a:lnTo>
                      <a:pt x="4446133" y="3963210"/>
                    </a:lnTo>
                    <a:lnTo>
                      <a:pt x="4539602" y="3922140"/>
                    </a:lnTo>
                    <a:lnTo>
                      <a:pt x="4539602" y="3922140"/>
                    </a:lnTo>
                    <a:lnTo>
                      <a:pt x="4521191" y="3899481"/>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49" name="Freeform: Shape 948">
                <a:extLst>
                  <a:ext uri="{FF2B5EF4-FFF2-40B4-BE49-F238E27FC236}">
                    <a16:creationId xmlns:a16="http://schemas.microsoft.com/office/drawing/2014/main" id="{637AEF78-A656-41E8-96FE-0D379B4076CE}"/>
                  </a:ext>
                </a:extLst>
              </p:cNvPr>
              <p:cNvSpPr/>
              <p:nvPr/>
            </p:nvSpPr>
            <p:spPr>
              <a:xfrm>
                <a:off x="5261155" y="2789590"/>
                <a:ext cx="2081801" cy="2563305"/>
              </a:xfrm>
              <a:custGeom>
                <a:avLst/>
                <a:gdLst>
                  <a:gd name="connsiteX0" fmla="*/ 1861584 w 2081801"/>
                  <a:gd name="connsiteY0" fmla="*/ 1065684 h 2563305"/>
                  <a:gd name="connsiteX1" fmla="*/ 1996122 w 2081801"/>
                  <a:gd name="connsiteY1" fmla="*/ 1212967 h 2563305"/>
                  <a:gd name="connsiteX2" fmla="*/ 1976295 w 2081801"/>
                  <a:gd name="connsiteY2" fmla="*/ 1265367 h 2563305"/>
                  <a:gd name="connsiteX3" fmla="*/ 1908318 w 2081801"/>
                  <a:gd name="connsiteY3" fmla="*/ 1344673 h 2563305"/>
                  <a:gd name="connsiteX4" fmla="*/ 1654820 w 2081801"/>
                  <a:gd name="connsiteY4" fmla="*/ 1440974 h 2563305"/>
                  <a:gd name="connsiteX5" fmla="*/ 1663317 w 2081801"/>
                  <a:gd name="connsiteY5" fmla="*/ 1357419 h 2563305"/>
                  <a:gd name="connsiteX6" fmla="*/ 1779445 w 2081801"/>
                  <a:gd name="connsiteY6" fmla="*/ 1259702 h 2563305"/>
                  <a:gd name="connsiteX7" fmla="*/ 1779445 w 2081801"/>
                  <a:gd name="connsiteY7" fmla="*/ 1259702 h 2563305"/>
                  <a:gd name="connsiteX8" fmla="*/ 1778029 w 2081801"/>
                  <a:gd name="connsiteY8" fmla="*/ 1258286 h 2563305"/>
                  <a:gd name="connsiteX9" fmla="*/ 1664733 w 2081801"/>
                  <a:gd name="connsiteY9" fmla="*/ 1339008 h 2563305"/>
                  <a:gd name="connsiteX10" fmla="*/ 1681727 w 2081801"/>
                  <a:gd name="connsiteY10" fmla="*/ 1174730 h 2563305"/>
                  <a:gd name="connsiteX11" fmla="*/ 1691641 w 2081801"/>
                  <a:gd name="connsiteY11" fmla="*/ 1113834 h 2563305"/>
                  <a:gd name="connsiteX12" fmla="*/ 1734127 w 2081801"/>
                  <a:gd name="connsiteY12" fmla="*/ 1109585 h 2563305"/>
                  <a:gd name="connsiteX13" fmla="*/ 1734127 w 2081801"/>
                  <a:gd name="connsiteY13" fmla="*/ 1109585 h 2563305"/>
                  <a:gd name="connsiteX14" fmla="*/ 1735543 w 2081801"/>
                  <a:gd name="connsiteY14" fmla="*/ 857503 h 2563305"/>
                  <a:gd name="connsiteX15" fmla="*/ 1735543 w 2081801"/>
                  <a:gd name="connsiteY15" fmla="*/ 857503 h 2563305"/>
                  <a:gd name="connsiteX16" fmla="*/ 1734127 w 2081801"/>
                  <a:gd name="connsiteY16" fmla="*/ 857503 h 2563305"/>
                  <a:gd name="connsiteX17" fmla="*/ 1690225 w 2081801"/>
                  <a:gd name="connsiteY17" fmla="*/ 1112418 h 2563305"/>
                  <a:gd name="connsiteX18" fmla="*/ 1616583 w 2081801"/>
                  <a:gd name="connsiteY18" fmla="*/ 1119499 h 2563305"/>
                  <a:gd name="connsiteX19" fmla="*/ 1667565 w 2081801"/>
                  <a:gd name="connsiteY19" fmla="*/ 1101088 h 2563305"/>
                  <a:gd name="connsiteX20" fmla="*/ 1667565 w 2081801"/>
                  <a:gd name="connsiteY20" fmla="*/ 1101088 h 2563305"/>
                  <a:gd name="connsiteX21" fmla="*/ 1567016 w 2081801"/>
                  <a:gd name="connsiteY21" fmla="*/ 1052938 h 2563305"/>
                  <a:gd name="connsiteX22" fmla="*/ 1610918 w 2081801"/>
                  <a:gd name="connsiteY22" fmla="*/ 1003371 h 2563305"/>
                  <a:gd name="connsiteX23" fmla="*/ 1610918 w 2081801"/>
                  <a:gd name="connsiteY23" fmla="*/ 1003371 h 2563305"/>
                  <a:gd name="connsiteX24" fmla="*/ 1564184 w 2081801"/>
                  <a:gd name="connsiteY24" fmla="*/ 837677 h 2563305"/>
                  <a:gd name="connsiteX25" fmla="*/ 1690225 w 2081801"/>
                  <a:gd name="connsiteY25" fmla="*/ 707387 h 2563305"/>
                  <a:gd name="connsiteX26" fmla="*/ 1690225 w 2081801"/>
                  <a:gd name="connsiteY26" fmla="*/ 707387 h 2563305"/>
                  <a:gd name="connsiteX27" fmla="*/ 1582594 w 2081801"/>
                  <a:gd name="connsiteY27" fmla="*/ 720133 h 2563305"/>
                  <a:gd name="connsiteX28" fmla="*/ 1650571 w 2081801"/>
                  <a:gd name="connsiteY28" fmla="*/ 643659 h 2563305"/>
                  <a:gd name="connsiteX29" fmla="*/ 1650571 w 2081801"/>
                  <a:gd name="connsiteY29" fmla="*/ 643659 h 2563305"/>
                  <a:gd name="connsiteX30" fmla="*/ 1406986 w 2081801"/>
                  <a:gd name="connsiteY30" fmla="*/ 670566 h 2563305"/>
                  <a:gd name="connsiteX31" fmla="*/ 1436726 w 2081801"/>
                  <a:gd name="connsiteY31" fmla="*/ 625248 h 2563305"/>
                  <a:gd name="connsiteX32" fmla="*/ 1450888 w 2081801"/>
                  <a:gd name="connsiteY32" fmla="*/ 477964 h 2563305"/>
                  <a:gd name="connsiteX33" fmla="*/ 1593924 w 2081801"/>
                  <a:gd name="connsiteY33" fmla="*/ 509121 h 2563305"/>
                  <a:gd name="connsiteX34" fmla="*/ 1620831 w 2081801"/>
                  <a:gd name="connsiteY34" fmla="*/ 585595 h 2563305"/>
                  <a:gd name="connsiteX35" fmla="*/ 1620831 w 2081801"/>
                  <a:gd name="connsiteY35" fmla="*/ 585595 h 2563305"/>
                  <a:gd name="connsiteX36" fmla="*/ 1622248 w 2081801"/>
                  <a:gd name="connsiteY36" fmla="*/ 585595 h 2563305"/>
                  <a:gd name="connsiteX37" fmla="*/ 1593924 w 2081801"/>
                  <a:gd name="connsiteY37" fmla="*/ 507704 h 2563305"/>
                  <a:gd name="connsiteX38" fmla="*/ 1593924 w 2081801"/>
                  <a:gd name="connsiteY38" fmla="*/ 507704 h 2563305"/>
                  <a:gd name="connsiteX39" fmla="*/ 1449472 w 2081801"/>
                  <a:gd name="connsiteY39" fmla="*/ 476548 h 2563305"/>
                  <a:gd name="connsiteX40" fmla="*/ 1473547 w 2081801"/>
                  <a:gd name="connsiteY40" fmla="*/ 215969 h 2563305"/>
                  <a:gd name="connsiteX41" fmla="*/ 1473547 w 2081801"/>
                  <a:gd name="connsiteY41" fmla="*/ 215969 h 2563305"/>
                  <a:gd name="connsiteX42" fmla="*/ 1472131 w 2081801"/>
                  <a:gd name="connsiteY42" fmla="*/ 215969 h 2563305"/>
                  <a:gd name="connsiteX43" fmla="*/ 1472131 w 2081801"/>
                  <a:gd name="connsiteY43" fmla="*/ 215969 h 2563305"/>
                  <a:gd name="connsiteX44" fmla="*/ 1392824 w 2081801"/>
                  <a:gd name="connsiteY44" fmla="*/ 465219 h 2563305"/>
                  <a:gd name="connsiteX45" fmla="*/ 1339009 w 2081801"/>
                  <a:gd name="connsiteY45" fmla="*/ 453889 h 2563305"/>
                  <a:gd name="connsiteX46" fmla="*/ 1310685 w 2081801"/>
                  <a:gd name="connsiteY46" fmla="*/ 208888 h 2563305"/>
                  <a:gd name="connsiteX47" fmla="*/ 1310685 w 2081801"/>
                  <a:gd name="connsiteY47" fmla="*/ 208888 h 2563305"/>
                  <a:gd name="connsiteX48" fmla="*/ 1309269 w 2081801"/>
                  <a:gd name="connsiteY48" fmla="*/ 208888 h 2563305"/>
                  <a:gd name="connsiteX49" fmla="*/ 1302188 w 2081801"/>
                  <a:gd name="connsiteY49" fmla="*/ 446808 h 2563305"/>
                  <a:gd name="connsiteX50" fmla="*/ 1184644 w 2081801"/>
                  <a:gd name="connsiteY50" fmla="*/ 421317 h 2563305"/>
                  <a:gd name="connsiteX51" fmla="*/ 1203055 w 2081801"/>
                  <a:gd name="connsiteY51" fmla="*/ 343426 h 2563305"/>
                  <a:gd name="connsiteX52" fmla="*/ 1203055 w 2081801"/>
                  <a:gd name="connsiteY52" fmla="*/ 343426 h 2563305"/>
                  <a:gd name="connsiteX53" fmla="*/ 1021782 w 2081801"/>
                  <a:gd name="connsiteY53" fmla="*/ 285362 h 2563305"/>
                  <a:gd name="connsiteX54" fmla="*/ 1043025 w 2081801"/>
                  <a:gd name="connsiteY54" fmla="*/ 274033 h 2563305"/>
                  <a:gd name="connsiteX55" fmla="*/ 958054 w 2081801"/>
                  <a:gd name="connsiteY55" fmla="*/ 264120 h 2563305"/>
                  <a:gd name="connsiteX56" fmla="*/ 783862 w 2081801"/>
                  <a:gd name="connsiteY56" fmla="*/ 207472 h 2563305"/>
                  <a:gd name="connsiteX57" fmla="*/ 921233 w 2081801"/>
                  <a:gd name="connsiteY57" fmla="*/ 206056 h 2563305"/>
                  <a:gd name="connsiteX58" fmla="*/ 921233 w 2081801"/>
                  <a:gd name="connsiteY58" fmla="*/ 206056 h 2563305"/>
                  <a:gd name="connsiteX59" fmla="*/ 921233 w 2081801"/>
                  <a:gd name="connsiteY59" fmla="*/ 204640 h 2563305"/>
                  <a:gd name="connsiteX60" fmla="*/ 657821 w 2081801"/>
                  <a:gd name="connsiteY60" fmla="*/ 146576 h 2563305"/>
                  <a:gd name="connsiteX61" fmla="*/ 837678 w 2081801"/>
                  <a:gd name="connsiteY61" fmla="*/ 12037 h 2563305"/>
                  <a:gd name="connsiteX62" fmla="*/ 839093 w 2081801"/>
                  <a:gd name="connsiteY62" fmla="*/ 12037 h 2563305"/>
                  <a:gd name="connsiteX63" fmla="*/ 405739 w 2081801"/>
                  <a:gd name="connsiteY63" fmla="*/ 92760 h 2563305"/>
                  <a:gd name="connsiteX64" fmla="*/ 404323 w 2081801"/>
                  <a:gd name="connsiteY64" fmla="*/ 92760 h 2563305"/>
                  <a:gd name="connsiteX65" fmla="*/ 653573 w 2081801"/>
                  <a:gd name="connsiteY65" fmla="*/ 147992 h 2563305"/>
                  <a:gd name="connsiteX66" fmla="*/ 636578 w 2081801"/>
                  <a:gd name="connsiteY66" fmla="*/ 160738 h 2563305"/>
                  <a:gd name="connsiteX67" fmla="*/ 537445 w 2081801"/>
                  <a:gd name="connsiteY67" fmla="*/ 128165 h 2563305"/>
                  <a:gd name="connsiteX68" fmla="*/ 536029 w 2081801"/>
                  <a:gd name="connsiteY68" fmla="*/ 128165 h 2563305"/>
                  <a:gd name="connsiteX69" fmla="*/ 598341 w 2081801"/>
                  <a:gd name="connsiteY69" fmla="*/ 189061 h 2563305"/>
                  <a:gd name="connsiteX70" fmla="*/ 571433 w 2081801"/>
                  <a:gd name="connsiteY70" fmla="*/ 208888 h 2563305"/>
                  <a:gd name="connsiteX71" fmla="*/ 493543 w 2081801"/>
                  <a:gd name="connsiteY71" fmla="*/ 210304 h 2563305"/>
                  <a:gd name="connsiteX72" fmla="*/ 281114 w 2081801"/>
                  <a:gd name="connsiteY72" fmla="*/ 184813 h 2563305"/>
                  <a:gd name="connsiteX73" fmla="*/ 279698 w 2081801"/>
                  <a:gd name="connsiteY73" fmla="*/ 184813 h 2563305"/>
                  <a:gd name="connsiteX74" fmla="*/ 315103 w 2081801"/>
                  <a:gd name="connsiteY74" fmla="*/ 211720 h 2563305"/>
                  <a:gd name="connsiteX75" fmla="*/ 227299 w 2081801"/>
                  <a:gd name="connsiteY75" fmla="*/ 213137 h 2563305"/>
                  <a:gd name="connsiteX76" fmla="*/ 227299 w 2081801"/>
                  <a:gd name="connsiteY76" fmla="*/ 213137 h 2563305"/>
                  <a:gd name="connsiteX77" fmla="*/ 227299 w 2081801"/>
                  <a:gd name="connsiteY77" fmla="*/ 214553 h 2563305"/>
                  <a:gd name="connsiteX78" fmla="*/ 227299 w 2081801"/>
                  <a:gd name="connsiteY78" fmla="*/ 214553 h 2563305"/>
                  <a:gd name="connsiteX79" fmla="*/ 357588 w 2081801"/>
                  <a:gd name="connsiteY79" fmla="*/ 242877 h 2563305"/>
                  <a:gd name="connsiteX80" fmla="*/ 441144 w 2081801"/>
                  <a:gd name="connsiteY80" fmla="*/ 306605 h 2563305"/>
                  <a:gd name="connsiteX81" fmla="*/ 367502 w 2081801"/>
                  <a:gd name="connsiteY81" fmla="*/ 361837 h 2563305"/>
                  <a:gd name="connsiteX82" fmla="*/ 367502 w 2081801"/>
                  <a:gd name="connsiteY82" fmla="*/ 361837 h 2563305"/>
                  <a:gd name="connsiteX83" fmla="*/ 446809 w 2081801"/>
                  <a:gd name="connsiteY83" fmla="*/ 534612 h 2563305"/>
                  <a:gd name="connsiteX84" fmla="*/ 381664 w 2081801"/>
                  <a:gd name="connsiteY84" fmla="*/ 509121 h 2563305"/>
                  <a:gd name="connsiteX85" fmla="*/ 381664 w 2081801"/>
                  <a:gd name="connsiteY85" fmla="*/ 509121 h 2563305"/>
                  <a:gd name="connsiteX86" fmla="*/ 310854 w 2081801"/>
                  <a:gd name="connsiteY86" fmla="*/ 656404 h 2563305"/>
                  <a:gd name="connsiteX87" fmla="*/ 298109 w 2081801"/>
                  <a:gd name="connsiteY87" fmla="*/ 653572 h 2563305"/>
                  <a:gd name="connsiteX88" fmla="*/ 262704 w 2081801"/>
                  <a:gd name="connsiteY88" fmla="*/ 596924 h 2563305"/>
                  <a:gd name="connsiteX89" fmla="*/ 296692 w 2081801"/>
                  <a:gd name="connsiteY89" fmla="*/ 557271 h 2563305"/>
                  <a:gd name="connsiteX90" fmla="*/ 298109 w 2081801"/>
                  <a:gd name="connsiteY90" fmla="*/ 555855 h 2563305"/>
                  <a:gd name="connsiteX91" fmla="*/ 254207 w 2081801"/>
                  <a:gd name="connsiteY91" fmla="*/ 582762 h 2563305"/>
                  <a:gd name="connsiteX92" fmla="*/ 191894 w 2081801"/>
                  <a:gd name="connsiteY92" fmla="*/ 485045 h 2563305"/>
                  <a:gd name="connsiteX93" fmla="*/ 223050 w 2081801"/>
                  <a:gd name="connsiteY93" fmla="*/ 308022 h 2563305"/>
                  <a:gd name="connsiteX94" fmla="*/ 223050 w 2081801"/>
                  <a:gd name="connsiteY94" fmla="*/ 308022 h 2563305"/>
                  <a:gd name="connsiteX95" fmla="*/ 221634 w 2081801"/>
                  <a:gd name="connsiteY95" fmla="*/ 308022 h 2563305"/>
                  <a:gd name="connsiteX96" fmla="*/ 156489 w 2081801"/>
                  <a:gd name="connsiteY96" fmla="*/ 520450 h 2563305"/>
                  <a:gd name="connsiteX97" fmla="*/ 115420 w 2081801"/>
                  <a:gd name="connsiteY97" fmla="*/ 594092 h 2563305"/>
                  <a:gd name="connsiteX98" fmla="*/ 54523 w 2081801"/>
                  <a:gd name="connsiteY98" fmla="*/ 487878 h 2563305"/>
                  <a:gd name="connsiteX99" fmla="*/ 53107 w 2081801"/>
                  <a:gd name="connsiteY99" fmla="*/ 486461 h 2563305"/>
                  <a:gd name="connsiteX100" fmla="*/ 99842 w 2081801"/>
                  <a:gd name="connsiteY100" fmla="*/ 676231 h 2563305"/>
                  <a:gd name="connsiteX101" fmla="*/ 99842 w 2081801"/>
                  <a:gd name="connsiteY101" fmla="*/ 676231 h 2563305"/>
                  <a:gd name="connsiteX102" fmla="*/ 109755 w 2081801"/>
                  <a:gd name="connsiteY102" fmla="*/ 670566 h 2563305"/>
                  <a:gd name="connsiteX103" fmla="*/ 10621 w 2081801"/>
                  <a:gd name="connsiteY103" fmla="*/ 993458 h 2563305"/>
                  <a:gd name="connsiteX104" fmla="*/ 10621 w 2081801"/>
                  <a:gd name="connsiteY104" fmla="*/ 993458 h 2563305"/>
                  <a:gd name="connsiteX105" fmla="*/ 84264 w 2081801"/>
                  <a:gd name="connsiteY105" fmla="*/ 1081262 h 2563305"/>
                  <a:gd name="connsiteX106" fmla="*/ 82847 w 2081801"/>
                  <a:gd name="connsiteY106" fmla="*/ 1091175 h 2563305"/>
                  <a:gd name="connsiteX107" fmla="*/ 82847 w 2081801"/>
                  <a:gd name="connsiteY107" fmla="*/ 1091175 h 2563305"/>
                  <a:gd name="connsiteX108" fmla="*/ 97009 w 2081801"/>
                  <a:gd name="connsiteY108" fmla="*/ 1095424 h 2563305"/>
                  <a:gd name="connsiteX109" fmla="*/ 268368 w 2081801"/>
                  <a:gd name="connsiteY109" fmla="*/ 1299355 h 2563305"/>
                  <a:gd name="connsiteX110" fmla="*/ 268368 w 2081801"/>
                  <a:gd name="connsiteY110" fmla="*/ 1299355 h 2563305"/>
                  <a:gd name="connsiteX111" fmla="*/ 305190 w 2081801"/>
                  <a:gd name="connsiteY111" fmla="*/ 1157736 h 2563305"/>
                  <a:gd name="connsiteX112" fmla="*/ 390161 w 2081801"/>
                  <a:gd name="connsiteY112" fmla="*/ 1183227 h 2563305"/>
                  <a:gd name="connsiteX113" fmla="*/ 354756 w 2081801"/>
                  <a:gd name="connsiteY113" fmla="*/ 1278112 h 2563305"/>
                  <a:gd name="connsiteX114" fmla="*/ 354756 w 2081801"/>
                  <a:gd name="connsiteY114" fmla="*/ 1278112 h 2563305"/>
                  <a:gd name="connsiteX115" fmla="*/ 536029 w 2081801"/>
                  <a:gd name="connsiteY115" fmla="*/ 1225713 h 2563305"/>
                  <a:gd name="connsiteX116" fmla="*/ 536029 w 2081801"/>
                  <a:gd name="connsiteY116" fmla="*/ 1225713 h 2563305"/>
                  <a:gd name="connsiteX117" fmla="*/ 392993 w 2081801"/>
                  <a:gd name="connsiteY117" fmla="*/ 1181811 h 2563305"/>
                  <a:gd name="connsiteX118" fmla="*/ 421317 w 2081801"/>
                  <a:gd name="connsiteY118" fmla="*/ 1106753 h 2563305"/>
                  <a:gd name="connsiteX119" fmla="*/ 565769 w 2081801"/>
                  <a:gd name="connsiteY119" fmla="*/ 1140742 h 2563305"/>
                  <a:gd name="connsiteX120" fmla="*/ 671983 w 2081801"/>
                  <a:gd name="connsiteY120" fmla="*/ 1256869 h 2563305"/>
                  <a:gd name="connsiteX121" fmla="*/ 943892 w 2081801"/>
                  <a:gd name="connsiteY121" fmla="*/ 1336176 h 2563305"/>
                  <a:gd name="connsiteX122" fmla="*/ 943892 w 2081801"/>
                  <a:gd name="connsiteY122" fmla="*/ 1367332 h 2563305"/>
                  <a:gd name="connsiteX123" fmla="*/ 943892 w 2081801"/>
                  <a:gd name="connsiteY123" fmla="*/ 1367332 h 2563305"/>
                  <a:gd name="connsiteX124" fmla="*/ 959470 w 2081801"/>
                  <a:gd name="connsiteY124" fmla="*/ 1344673 h 2563305"/>
                  <a:gd name="connsiteX125" fmla="*/ 982129 w 2081801"/>
                  <a:gd name="connsiteY125" fmla="*/ 1371581 h 2563305"/>
                  <a:gd name="connsiteX126" fmla="*/ 958054 w 2081801"/>
                  <a:gd name="connsiteY126" fmla="*/ 1439558 h 2563305"/>
                  <a:gd name="connsiteX127" fmla="*/ 847591 w 2081801"/>
                  <a:gd name="connsiteY127" fmla="*/ 1525946 h 2563305"/>
                  <a:gd name="connsiteX128" fmla="*/ 847591 w 2081801"/>
                  <a:gd name="connsiteY128" fmla="*/ 1525946 h 2563305"/>
                  <a:gd name="connsiteX129" fmla="*/ 914152 w 2081801"/>
                  <a:gd name="connsiteY129" fmla="*/ 1528778 h 2563305"/>
                  <a:gd name="connsiteX130" fmla="*/ 925481 w 2081801"/>
                  <a:gd name="connsiteY130" fmla="*/ 1530194 h 2563305"/>
                  <a:gd name="connsiteX131" fmla="*/ 853255 w 2081801"/>
                  <a:gd name="connsiteY131" fmla="*/ 1735542 h 2563305"/>
                  <a:gd name="connsiteX132" fmla="*/ 853255 w 2081801"/>
                  <a:gd name="connsiteY132" fmla="*/ 1735542 h 2563305"/>
                  <a:gd name="connsiteX133" fmla="*/ 977880 w 2081801"/>
                  <a:gd name="connsiteY133" fmla="*/ 1756785 h 2563305"/>
                  <a:gd name="connsiteX134" fmla="*/ 982129 w 2081801"/>
                  <a:gd name="connsiteY134" fmla="*/ 1797854 h 2563305"/>
                  <a:gd name="connsiteX135" fmla="*/ 929730 w 2081801"/>
                  <a:gd name="connsiteY135" fmla="*/ 1891323 h 2563305"/>
                  <a:gd name="connsiteX136" fmla="*/ 929730 w 2081801"/>
                  <a:gd name="connsiteY136" fmla="*/ 1891323 h 2563305"/>
                  <a:gd name="connsiteX137" fmla="*/ 935395 w 2081801"/>
                  <a:gd name="connsiteY137" fmla="*/ 1904068 h 2563305"/>
                  <a:gd name="connsiteX138" fmla="*/ 935395 w 2081801"/>
                  <a:gd name="connsiteY138" fmla="*/ 1905485 h 2563305"/>
                  <a:gd name="connsiteX139" fmla="*/ 953805 w 2081801"/>
                  <a:gd name="connsiteY139" fmla="*/ 1939473 h 2563305"/>
                  <a:gd name="connsiteX140" fmla="*/ 1010453 w 2081801"/>
                  <a:gd name="connsiteY140" fmla="*/ 2041439 h 2563305"/>
                  <a:gd name="connsiteX141" fmla="*/ 1040193 w 2081801"/>
                  <a:gd name="connsiteY141" fmla="*/ 2303434 h 2563305"/>
                  <a:gd name="connsiteX142" fmla="*/ 1040193 w 2081801"/>
                  <a:gd name="connsiteY142" fmla="*/ 2303434 h 2563305"/>
                  <a:gd name="connsiteX143" fmla="*/ 1113835 w 2081801"/>
                  <a:gd name="connsiteY143" fmla="*/ 2185891 h 2563305"/>
                  <a:gd name="connsiteX144" fmla="*/ 1174731 w 2081801"/>
                  <a:gd name="connsiteY144" fmla="*/ 2174561 h 2563305"/>
                  <a:gd name="connsiteX145" fmla="*/ 1136494 w 2081801"/>
                  <a:gd name="connsiteY145" fmla="*/ 2316180 h 2563305"/>
                  <a:gd name="connsiteX146" fmla="*/ 1048690 w 2081801"/>
                  <a:gd name="connsiteY146" fmla="*/ 2302018 h 2563305"/>
                  <a:gd name="connsiteX147" fmla="*/ 1047274 w 2081801"/>
                  <a:gd name="connsiteY147" fmla="*/ 2302018 h 2563305"/>
                  <a:gd name="connsiteX148" fmla="*/ 1129413 w 2081801"/>
                  <a:gd name="connsiteY148" fmla="*/ 2344504 h 2563305"/>
                  <a:gd name="connsiteX149" fmla="*/ 1102505 w 2081801"/>
                  <a:gd name="connsiteY149" fmla="*/ 2446470 h 2563305"/>
                  <a:gd name="connsiteX150" fmla="*/ 1102505 w 2081801"/>
                  <a:gd name="connsiteY150" fmla="*/ 2446470 h 2563305"/>
                  <a:gd name="connsiteX151" fmla="*/ 1224298 w 2081801"/>
                  <a:gd name="connsiteY151" fmla="*/ 2391238 h 2563305"/>
                  <a:gd name="connsiteX152" fmla="*/ 1307853 w 2081801"/>
                  <a:gd name="connsiteY152" fmla="*/ 2433724 h 2563305"/>
                  <a:gd name="connsiteX153" fmla="*/ 1163402 w 2081801"/>
                  <a:gd name="connsiteY153" fmla="*/ 2564013 h 2563305"/>
                  <a:gd name="connsiteX154" fmla="*/ 1163402 w 2081801"/>
                  <a:gd name="connsiteY154" fmla="*/ 2564013 h 2563305"/>
                  <a:gd name="connsiteX155" fmla="*/ 1164817 w 2081801"/>
                  <a:gd name="connsiteY155" fmla="*/ 2565430 h 2563305"/>
                  <a:gd name="connsiteX156" fmla="*/ 1310685 w 2081801"/>
                  <a:gd name="connsiteY156" fmla="*/ 2433724 h 2563305"/>
                  <a:gd name="connsiteX157" fmla="*/ 1310685 w 2081801"/>
                  <a:gd name="connsiteY157" fmla="*/ 2433724 h 2563305"/>
                  <a:gd name="connsiteX158" fmla="*/ 1225714 w 2081801"/>
                  <a:gd name="connsiteY158" fmla="*/ 2389822 h 2563305"/>
                  <a:gd name="connsiteX159" fmla="*/ 1319183 w 2081801"/>
                  <a:gd name="connsiteY159" fmla="*/ 2347336 h 2563305"/>
                  <a:gd name="connsiteX160" fmla="*/ 1387160 w 2081801"/>
                  <a:gd name="connsiteY160" fmla="*/ 2358666 h 2563305"/>
                  <a:gd name="connsiteX161" fmla="*/ 1387160 w 2081801"/>
                  <a:gd name="connsiteY161" fmla="*/ 2358666 h 2563305"/>
                  <a:gd name="connsiteX162" fmla="*/ 1414067 w 2081801"/>
                  <a:gd name="connsiteY162" fmla="*/ 2304851 h 2563305"/>
                  <a:gd name="connsiteX163" fmla="*/ 1525946 w 2081801"/>
                  <a:gd name="connsiteY163" fmla="*/ 2253868 h 2563305"/>
                  <a:gd name="connsiteX164" fmla="*/ 1525946 w 2081801"/>
                  <a:gd name="connsiteY164" fmla="*/ 2253868 h 2563305"/>
                  <a:gd name="connsiteX165" fmla="*/ 1525946 w 2081801"/>
                  <a:gd name="connsiteY165" fmla="*/ 2252451 h 2563305"/>
                  <a:gd name="connsiteX166" fmla="*/ 1525946 w 2081801"/>
                  <a:gd name="connsiteY166" fmla="*/ 2252451 h 2563305"/>
                  <a:gd name="connsiteX167" fmla="*/ 1432478 w 2081801"/>
                  <a:gd name="connsiteY167" fmla="*/ 2269446 h 2563305"/>
                  <a:gd name="connsiteX168" fmla="*/ 1490541 w 2081801"/>
                  <a:gd name="connsiteY168" fmla="*/ 2154734 h 2563305"/>
                  <a:gd name="connsiteX169" fmla="*/ 1595340 w 2081801"/>
                  <a:gd name="connsiteY169" fmla="*/ 2079676 h 2563305"/>
                  <a:gd name="connsiteX170" fmla="*/ 1595340 w 2081801"/>
                  <a:gd name="connsiteY170" fmla="*/ 2079676 h 2563305"/>
                  <a:gd name="connsiteX171" fmla="*/ 1540108 w 2081801"/>
                  <a:gd name="connsiteY171" fmla="*/ 2055601 h 2563305"/>
                  <a:gd name="connsiteX172" fmla="*/ 1660484 w 2081801"/>
                  <a:gd name="connsiteY172" fmla="*/ 1816265 h 2563305"/>
                  <a:gd name="connsiteX173" fmla="*/ 1670398 w 2081801"/>
                  <a:gd name="connsiteY173" fmla="*/ 1823346 h 2563305"/>
                  <a:gd name="connsiteX174" fmla="*/ 1853087 w 2081801"/>
                  <a:gd name="connsiteY174" fmla="*/ 2194388 h 2563305"/>
                  <a:gd name="connsiteX175" fmla="*/ 1853087 w 2081801"/>
                  <a:gd name="connsiteY175" fmla="*/ 2194388 h 2563305"/>
                  <a:gd name="connsiteX176" fmla="*/ 1906902 w 2081801"/>
                  <a:gd name="connsiteY176" fmla="*/ 2007451 h 2563305"/>
                  <a:gd name="connsiteX177" fmla="*/ 1915399 w 2081801"/>
                  <a:gd name="connsiteY177" fmla="*/ 2137740 h 2563305"/>
                  <a:gd name="connsiteX178" fmla="*/ 1894156 w 2081801"/>
                  <a:gd name="connsiteY178" fmla="*/ 2194388 h 2563305"/>
                  <a:gd name="connsiteX179" fmla="*/ 1894156 w 2081801"/>
                  <a:gd name="connsiteY179" fmla="*/ 2195804 h 2563305"/>
                  <a:gd name="connsiteX180" fmla="*/ 1918231 w 2081801"/>
                  <a:gd name="connsiteY180" fmla="*/ 2167480 h 2563305"/>
                  <a:gd name="connsiteX181" fmla="*/ 1923896 w 2081801"/>
                  <a:gd name="connsiteY181" fmla="*/ 2260949 h 2563305"/>
                  <a:gd name="connsiteX182" fmla="*/ 1923896 w 2081801"/>
                  <a:gd name="connsiteY182" fmla="*/ 2262365 h 2563305"/>
                  <a:gd name="connsiteX183" fmla="*/ 1987625 w 2081801"/>
                  <a:gd name="connsiteY183" fmla="*/ 2081092 h 2563305"/>
                  <a:gd name="connsiteX184" fmla="*/ 1987625 w 2081801"/>
                  <a:gd name="connsiteY184" fmla="*/ 2079676 h 2563305"/>
                  <a:gd name="connsiteX185" fmla="*/ 1919648 w 2081801"/>
                  <a:gd name="connsiteY185" fmla="*/ 2161815 h 2563305"/>
                  <a:gd name="connsiteX186" fmla="*/ 1918231 w 2081801"/>
                  <a:gd name="connsiteY186" fmla="*/ 2139156 h 2563305"/>
                  <a:gd name="connsiteX187" fmla="*/ 2021613 w 2081801"/>
                  <a:gd name="connsiteY187" fmla="*/ 1872912 h 2563305"/>
                  <a:gd name="connsiteX188" fmla="*/ 2021613 w 2081801"/>
                  <a:gd name="connsiteY188" fmla="*/ 1871496 h 2563305"/>
                  <a:gd name="connsiteX189" fmla="*/ 1908318 w 2081801"/>
                  <a:gd name="connsiteY189" fmla="*/ 1991872 h 2563305"/>
                  <a:gd name="connsiteX190" fmla="*/ 1673231 w 2081801"/>
                  <a:gd name="connsiteY190" fmla="*/ 1821929 h 2563305"/>
                  <a:gd name="connsiteX191" fmla="*/ 1664733 w 2081801"/>
                  <a:gd name="connsiteY191" fmla="*/ 1803519 h 2563305"/>
                  <a:gd name="connsiteX192" fmla="*/ 1684560 w 2081801"/>
                  <a:gd name="connsiteY192" fmla="*/ 1678894 h 2563305"/>
                  <a:gd name="connsiteX193" fmla="*/ 1684560 w 2081801"/>
                  <a:gd name="connsiteY193" fmla="*/ 1678894 h 2563305"/>
                  <a:gd name="connsiteX194" fmla="*/ 1472131 w 2081801"/>
                  <a:gd name="connsiteY194" fmla="*/ 1804935 h 2563305"/>
                  <a:gd name="connsiteX195" fmla="*/ 1443807 w 2081801"/>
                  <a:gd name="connsiteY195" fmla="*/ 1702970 h 2563305"/>
                  <a:gd name="connsiteX196" fmla="*/ 1637826 w 2081801"/>
                  <a:gd name="connsiteY196" fmla="*/ 1592506 h 2563305"/>
                  <a:gd name="connsiteX197" fmla="*/ 1637826 w 2081801"/>
                  <a:gd name="connsiteY197" fmla="*/ 1592506 h 2563305"/>
                  <a:gd name="connsiteX198" fmla="*/ 1643490 w 2081801"/>
                  <a:gd name="connsiteY198" fmla="*/ 1537275 h 2563305"/>
                  <a:gd name="connsiteX199" fmla="*/ 1724213 w 2081801"/>
                  <a:gd name="connsiteY199" fmla="*/ 1561350 h 2563305"/>
                  <a:gd name="connsiteX200" fmla="*/ 1724213 w 2081801"/>
                  <a:gd name="connsiteY200" fmla="*/ 1561350 h 2563305"/>
                  <a:gd name="connsiteX201" fmla="*/ 1908318 w 2081801"/>
                  <a:gd name="connsiteY201" fmla="*/ 1348922 h 2563305"/>
                  <a:gd name="connsiteX202" fmla="*/ 1953636 w 2081801"/>
                  <a:gd name="connsiteY202" fmla="*/ 1331927 h 2563305"/>
                  <a:gd name="connsiteX203" fmla="*/ 1953636 w 2081801"/>
                  <a:gd name="connsiteY203" fmla="*/ 1331927 h 2563305"/>
                  <a:gd name="connsiteX204" fmla="*/ 1977712 w 2081801"/>
                  <a:gd name="connsiteY204" fmla="*/ 1269615 h 2563305"/>
                  <a:gd name="connsiteX205" fmla="*/ 2011700 w 2081801"/>
                  <a:gd name="connsiteY205" fmla="*/ 1231378 h 2563305"/>
                  <a:gd name="connsiteX206" fmla="*/ 2011700 w 2081801"/>
                  <a:gd name="connsiteY206" fmla="*/ 1231378 h 2563305"/>
                  <a:gd name="connsiteX207" fmla="*/ 1998955 w 2081801"/>
                  <a:gd name="connsiteY207" fmla="*/ 1217216 h 2563305"/>
                  <a:gd name="connsiteX208" fmla="*/ 2072596 w 2081801"/>
                  <a:gd name="connsiteY208" fmla="*/ 1026030 h 2563305"/>
                  <a:gd name="connsiteX209" fmla="*/ 2072596 w 2081801"/>
                  <a:gd name="connsiteY209" fmla="*/ 1026030 h 2563305"/>
                  <a:gd name="connsiteX210" fmla="*/ 1861584 w 2081801"/>
                  <a:gd name="connsiteY210" fmla="*/ 1065684 h 2563305"/>
                  <a:gd name="connsiteX211" fmla="*/ 1861584 w 2081801"/>
                  <a:gd name="connsiteY211" fmla="*/ 1065684 h 2563305"/>
                  <a:gd name="connsiteX212" fmla="*/ 2008868 w 2081801"/>
                  <a:gd name="connsiteY212" fmla="*/ 1227129 h 2563305"/>
                  <a:gd name="connsiteX213" fmla="*/ 1980544 w 2081801"/>
                  <a:gd name="connsiteY213" fmla="*/ 1261118 h 2563305"/>
                  <a:gd name="connsiteX214" fmla="*/ 1997538 w 2081801"/>
                  <a:gd name="connsiteY214" fmla="*/ 1215800 h 2563305"/>
                  <a:gd name="connsiteX215" fmla="*/ 2008868 w 2081801"/>
                  <a:gd name="connsiteY215" fmla="*/ 1227129 h 2563305"/>
                  <a:gd name="connsiteX216" fmla="*/ 2068348 w 2081801"/>
                  <a:gd name="connsiteY216" fmla="*/ 1024614 h 2563305"/>
                  <a:gd name="connsiteX217" fmla="*/ 1996122 w 2081801"/>
                  <a:gd name="connsiteY217" fmla="*/ 1211551 h 2563305"/>
                  <a:gd name="connsiteX218" fmla="*/ 1864416 w 2081801"/>
                  <a:gd name="connsiteY218" fmla="*/ 1067100 h 2563305"/>
                  <a:gd name="connsiteX219" fmla="*/ 2068348 w 2081801"/>
                  <a:gd name="connsiteY219" fmla="*/ 1024614 h 2563305"/>
                  <a:gd name="connsiteX220" fmla="*/ 1973463 w 2081801"/>
                  <a:gd name="connsiteY220" fmla="*/ 1271031 h 2563305"/>
                  <a:gd name="connsiteX221" fmla="*/ 1952220 w 2081801"/>
                  <a:gd name="connsiteY221" fmla="*/ 1327679 h 2563305"/>
                  <a:gd name="connsiteX222" fmla="*/ 1911150 w 2081801"/>
                  <a:gd name="connsiteY222" fmla="*/ 1343257 h 2563305"/>
                  <a:gd name="connsiteX223" fmla="*/ 1973463 w 2081801"/>
                  <a:gd name="connsiteY223" fmla="*/ 1271031 h 2563305"/>
                  <a:gd name="connsiteX224" fmla="*/ 1324847 w 2081801"/>
                  <a:gd name="connsiteY224" fmla="*/ 2343088 h 2563305"/>
                  <a:gd name="connsiteX225" fmla="*/ 1414067 w 2081801"/>
                  <a:gd name="connsiteY225" fmla="*/ 2303434 h 2563305"/>
                  <a:gd name="connsiteX226" fmla="*/ 1388576 w 2081801"/>
                  <a:gd name="connsiteY226" fmla="*/ 2354417 h 2563305"/>
                  <a:gd name="connsiteX227" fmla="*/ 1324847 w 2081801"/>
                  <a:gd name="connsiteY227" fmla="*/ 2343088 h 2563305"/>
                  <a:gd name="connsiteX228" fmla="*/ 99842 w 2081801"/>
                  <a:gd name="connsiteY228" fmla="*/ 1091175 h 2563305"/>
                  <a:gd name="connsiteX229" fmla="*/ 302357 w 2081801"/>
                  <a:gd name="connsiteY229" fmla="*/ 1152071 h 2563305"/>
                  <a:gd name="connsiteX230" fmla="*/ 266952 w 2081801"/>
                  <a:gd name="connsiteY230" fmla="*/ 1289442 h 2563305"/>
                  <a:gd name="connsiteX231" fmla="*/ 99842 w 2081801"/>
                  <a:gd name="connsiteY231" fmla="*/ 1091175 h 2563305"/>
                  <a:gd name="connsiteX232" fmla="*/ 1395657 w 2081801"/>
                  <a:gd name="connsiteY232" fmla="*/ 462386 h 2563305"/>
                  <a:gd name="connsiteX233" fmla="*/ 1472131 w 2081801"/>
                  <a:gd name="connsiteY233" fmla="*/ 224466 h 2563305"/>
                  <a:gd name="connsiteX234" fmla="*/ 1448056 w 2081801"/>
                  <a:gd name="connsiteY234" fmla="*/ 475132 h 2563305"/>
                  <a:gd name="connsiteX235" fmla="*/ 1395657 w 2081801"/>
                  <a:gd name="connsiteY235" fmla="*/ 462386 h 2563305"/>
                  <a:gd name="connsiteX236" fmla="*/ 1317766 w 2081801"/>
                  <a:gd name="connsiteY236" fmla="*/ 2343088 h 2563305"/>
                  <a:gd name="connsiteX237" fmla="*/ 1225714 w 2081801"/>
                  <a:gd name="connsiteY237" fmla="*/ 2384157 h 2563305"/>
                  <a:gd name="connsiteX238" fmla="*/ 1133662 w 2081801"/>
                  <a:gd name="connsiteY238" fmla="*/ 2337423 h 2563305"/>
                  <a:gd name="connsiteX239" fmla="*/ 1139326 w 2081801"/>
                  <a:gd name="connsiteY239" fmla="*/ 2313348 h 2563305"/>
                  <a:gd name="connsiteX240" fmla="*/ 1317766 w 2081801"/>
                  <a:gd name="connsiteY240" fmla="*/ 2343088 h 2563305"/>
                  <a:gd name="connsiteX241" fmla="*/ 1095424 w 2081801"/>
                  <a:gd name="connsiteY241" fmla="*/ 2184474 h 2563305"/>
                  <a:gd name="connsiteX242" fmla="*/ 1095424 w 2081801"/>
                  <a:gd name="connsiteY242" fmla="*/ 2184474 h 2563305"/>
                  <a:gd name="connsiteX243" fmla="*/ 1112419 w 2081801"/>
                  <a:gd name="connsiteY243" fmla="*/ 2181642 h 2563305"/>
                  <a:gd name="connsiteX244" fmla="*/ 1043025 w 2081801"/>
                  <a:gd name="connsiteY244" fmla="*/ 2292105 h 2563305"/>
                  <a:gd name="connsiteX245" fmla="*/ 1014701 w 2081801"/>
                  <a:gd name="connsiteY245" fmla="*/ 2040023 h 2563305"/>
                  <a:gd name="connsiteX246" fmla="*/ 1095424 w 2081801"/>
                  <a:gd name="connsiteY246" fmla="*/ 2184474 h 2563305"/>
                  <a:gd name="connsiteX247" fmla="*/ 418485 w 2081801"/>
                  <a:gd name="connsiteY247" fmla="*/ 1102504 h 2563305"/>
                  <a:gd name="connsiteX248" fmla="*/ 390161 w 2081801"/>
                  <a:gd name="connsiteY248" fmla="*/ 1177563 h 2563305"/>
                  <a:gd name="connsiteX249" fmla="*/ 305190 w 2081801"/>
                  <a:gd name="connsiteY249" fmla="*/ 1152071 h 2563305"/>
                  <a:gd name="connsiteX250" fmla="*/ 323600 w 2081801"/>
                  <a:gd name="connsiteY250" fmla="*/ 1079846 h 2563305"/>
                  <a:gd name="connsiteX251" fmla="*/ 418485 w 2081801"/>
                  <a:gd name="connsiteY251" fmla="*/ 1102504 h 2563305"/>
                  <a:gd name="connsiteX252" fmla="*/ 357588 w 2081801"/>
                  <a:gd name="connsiteY252" fmla="*/ 1269615 h 2563305"/>
                  <a:gd name="connsiteX253" fmla="*/ 391577 w 2081801"/>
                  <a:gd name="connsiteY253" fmla="*/ 1178979 h 2563305"/>
                  <a:gd name="connsiteX254" fmla="*/ 528948 w 2081801"/>
                  <a:gd name="connsiteY254" fmla="*/ 1220048 h 2563305"/>
                  <a:gd name="connsiteX255" fmla="*/ 357588 w 2081801"/>
                  <a:gd name="connsiteY255" fmla="*/ 1269615 h 2563305"/>
                  <a:gd name="connsiteX256" fmla="*/ 94177 w 2081801"/>
                  <a:gd name="connsiteY256" fmla="*/ 1086927 h 2563305"/>
                  <a:gd name="connsiteX257" fmla="*/ 85680 w 2081801"/>
                  <a:gd name="connsiteY257" fmla="*/ 1084094 h 2563305"/>
                  <a:gd name="connsiteX258" fmla="*/ 87096 w 2081801"/>
                  <a:gd name="connsiteY258" fmla="*/ 1077013 h 2563305"/>
                  <a:gd name="connsiteX259" fmla="*/ 94177 w 2081801"/>
                  <a:gd name="connsiteY259" fmla="*/ 1086927 h 2563305"/>
                  <a:gd name="connsiteX260" fmla="*/ 108339 w 2081801"/>
                  <a:gd name="connsiteY260" fmla="*/ 605422 h 2563305"/>
                  <a:gd name="connsiteX261" fmla="*/ 115420 w 2081801"/>
                  <a:gd name="connsiteY261" fmla="*/ 592676 h 2563305"/>
                  <a:gd name="connsiteX262" fmla="*/ 125333 w 2081801"/>
                  <a:gd name="connsiteY262" fmla="*/ 609670 h 2563305"/>
                  <a:gd name="connsiteX263" fmla="*/ 108339 w 2081801"/>
                  <a:gd name="connsiteY263" fmla="*/ 605422 h 2563305"/>
                  <a:gd name="connsiteX264" fmla="*/ 1303604 w 2081801"/>
                  <a:gd name="connsiteY264" fmla="*/ 530363 h 2563305"/>
                  <a:gd name="connsiteX265" fmla="*/ 1306437 w 2081801"/>
                  <a:gd name="connsiteY265" fmla="*/ 445392 h 2563305"/>
                  <a:gd name="connsiteX266" fmla="*/ 1339009 w 2081801"/>
                  <a:gd name="connsiteY266" fmla="*/ 452473 h 2563305"/>
                  <a:gd name="connsiteX267" fmla="*/ 1346090 w 2081801"/>
                  <a:gd name="connsiteY267" fmla="*/ 511953 h 2563305"/>
                  <a:gd name="connsiteX268" fmla="*/ 1303604 w 2081801"/>
                  <a:gd name="connsiteY268" fmla="*/ 530363 h 2563305"/>
                  <a:gd name="connsiteX269" fmla="*/ 1664733 w 2081801"/>
                  <a:gd name="connsiteY269" fmla="*/ 1800687 h 2563305"/>
                  <a:gd name="connsiteX270" fmla="*/ 1664733 w 2081801"/>
                  <a:gd name="connsiteY270" fmla="*/ 1800687 h 2563305"/>
                  <a:gd name="connsiteX271" fmla="*/ 1671814 w 2081801"/>
                  <a:gd name="connsiteY271" fmla="*/ 1816265 h 2563305"/>
                  <a:gd name="connsiteX272" fmla="*/ 1663317 w 2081801"/>
                  <a:gd name="connsiteY272" fmla="*/ 1809184 h 2563305"/>
                  <a:gd name="connsiteX273" fmla="*/ 1663317 w 2081801"/>
                  <a:gd name="connsiteY273" fmla="*/ 1809184 h 2563305"/>
                  <a:gd name="connsiteX274" fmla="*/ 1541524 w 2081801"/>
                  <a:gd name="connsiteY274" fmla="*/ 2051353 h 2563305"/>
                  <a:gd name="connsiteX275" fmla="*/ 1446640 w 2081801"/>
                  <a:gd name="connsiteY275" fmla="*/ 2010283 h 2563305"/>
                  <a:gd name="connsiteX276" fmla="*/ 1496207 w 2081801"/>
                  <a:gd name="connsiteY276" fmla="*/ 1898404 h 2563305"/>
                  <a:gd name="connsiteX277" fmla="*/ 1496207 w 2081801"/>
                  <a:gd name="connsiteY277" fmla="*/ 1898404 h 2563305"/>
                  <a:gd name="connsiteX278" fmla="*/ 1487709 w 2081801"/>
                  <a:gd name="connsiteY278" fmla="*/ 1898404 h 2563305"/>
                  <a:gd name="connsiteX279" fmla="*/ 1499039 w 2081801"/>
                  <a:gd name="connsiteY279" fmla="*/ 1889906 h 2563305"/>
                  <a:gd name="connsiteX280" fmla="*/ 1499039 w 2081801"/>
                  <a:gd name="connsiteY280" fmla="*/ 1889906 h 2563305"/>
                  <a:gd name="connsiteX281" fmla="*/ 1474964 w 2081801"/>
                  <a:gd name="connsiteY281" fmla="*/ 1804935 h 2563305"/>
                  <a:gd name="connsiteX282" fmla="*/ 1684560 w 2081801"/>
                  <a:gd name="connsiteY282" fmla="*/ 1680310 h 2563305"/>
                  <a:gd name="connsiteX283" fmla="*/ 1664733 w 2081801"/>
                  <a:gd name="connsiteY283" fmla="*/ 1800687 h 2563305"/>
                  <a:gd name="connsiteX284" fmla="*/ 1292275 w 2081801"/>
                  <a:gd name="connsiteY284" fmla="*/ 2292105 h 2563305"/>
                  <a:gd name="connsiteX285" fmla="*/ 1292275 w 2081801"/>
                  <a:gd name="connsiteY285" fmla="*/ 2292105 h 2563305"/>
                  <a:gd name="connsiteX286" fmla="*/ 1431062 w 2081801"/>
                  <a:gd name="connsiteY286" fmla="*/ 2268030 h 2563305"/>
                  <a:gd name="connsiteX287" fmla="*/ 1415484 w 2081801"/>
                  <a:gd name="connsiteY287" fmla="*/ 2299186 h 2563305"/>
                  <a:gd name="connsiteX288" fmla="*/ 1320599 w 2081801"/>
                  <a:gd name="connsiteY288" fmla="*/ 2341672 h 2563305"/>
                  <a:gd name="connsiteX289" fmla="*/ 1139326 w 2081801"/>
                  <a:gd name="connsiteY289" fmla="*/ 2311932 h 2563305"/>
                  <a:gd name="connsiteX290" fmla="*/ 1177564 w 2081801"/>
                  <a:gd name="connsiteY290" fmla="*/ 2167480 h 2563305"/>
                  <a:gd name="connsiteX291" fmla="*/ 1177564 w 2081801"/>
                  <a:gd name="connsiteY291" fmla="*/ 2167480 h 2563305"/>
                  <a:gd name="connsiteX292" fmla="*/ 1115251 w 2081801"/>
                  <a:gd name="connsiteY292" fmla="*/ 2178810 h 2563305"/>
                  <a:gd name="connsiteX293" fmla="*/ 1163402 w 2081801"/>
                  <a:gd name="connsiteY293" fmla="*/ 2102335 h 2563305"/>
                  <a:gd name="connsiteX294" fmla="*/ 1170483 w 2081801"/>
                  <a:gd name="connsiteY294" fmla="*/ 2124994 h 2563305"/>
                  <a:gd name="connsiteX295" fmla="*/ 1166234 w 2081801"/>
                  <a:gd name="connsiteY295" fmla="*/ 2160399 h 2563305"/>
                  <a:gd name="connsiteX296" fmla="*/ 1166234 w 2081801"/>
                  <a:gd name="connsiteY296" fmla="*/ 2160399 h 2563305"/>
                  <a:gd name="connsiteX297" fmla="*/ 1178979 w 2081801"/>
                  <a:gd name="connsiteY297" fmla="*/ 2150486 h 2563305"/>
                  <a:gd name="connsiteX298" fmla="*/ 1181812 w 2081801"/>
                  <a:gd name="connsiteY298" fmla="*/ 2158983 h 2563305"/>
                  <a:gd name="connsiteX299" fmla="*/ 1181812 w 2081801"/>
                  <a:gd name="connsiteY299" fmla="*/ 2158983 h 2563305"/>
                  <a:gd name="connsiteX300" fmla="*/ 1323431 w 2081801"/>
                  <a:gd name="connsiteY300" fmla="*/ 2130659 h 2563305"/>
                  <a:gd name="connsiteX301" fmla="*/ 1323431 w 2081801"/>
                  <a:gd name="connsiteY301" fmla="*/ 2130659 h 2563305"/>
                  <a:gd name="connsiteX302" fmla="*/ 1255454 w 2081801"/>
                  <a:gd name="connsiteY302" fmla="*/ 2086757 h 2563305"/>
                  <a:gd name="connsiteX303" fmla="*/ 1483461 w 2081801"/>
                  <a:gd name="connsiteY303" fmla="*/ 1898404 h 2563305"/>
                  <a:gd name="connsiteX304" fmla="*/ 1490541 w 2081801"/>
                  <a:gd name="connsiteY304" fmla="*/ 1898404 h 2563305"/>
                  <a:gd name="connsiteX305" fmla="*/ 1442391 w 2081801"/>
                  <a:gd name="connsiteY305" fmla="*/ 2010283 h 2563305"/>
                  <a:gd name="connsiteX306" fmla="*/ 1442391 w 2081801"/>
                  <a:gd name="connsiteY306" fmla="*/ 2010283 h 2563305"/>
                  <a:gd name="connsiteX307" fmla="*/ 1540108 w 2081801"/>
                  <a:gd name="connsiteY307" fmla="*/ 2051353 h 2563305"/>
                  <a:gd name="connsiteX308" fmla="*/ 1490541 w 2081801"/>
                  <a:gd name="connsiteY308" fmla="*/ 2149070 h 2563305"/>
                  <a:gd name="connsiteX309" fmla="*/ 1292275 w 2081801"/>
                  <a:gd name="connsiteY309" fmla="*/ 2292105 h 2563305"/>
                  <a:gd name="connsiteX310" fmla="*/ 1096840 w 2081801"/>
                  <a:gd name="connsiteY310" fmla="*/ 2183058 h 2563305"/>
                  <a:gd name="connsiteX311" fmla="*/ 1013285 w 2081801"/>
                  <a:gd name="connsiteY311" fmla="*/ 2035774 h 2563305"/>
                  <a:gd name="connsiteX312" fmla="*/ 1013285 w 2081801"/>
                  <a:gd name="connsiteY312" fmla="*/ 2035774 h 2563305"/>
                  <a:gd name="connsiteX313" fmla="*/ 984961 w 2081801"/>
                  <a:gd name="connsiteY313" fmla="*/ 1793606 h 2563305"/>
                  <a:gd name="connsiteX314" fmla="*/ 1004788 w 2081801"/>
                  <a:gd name="connsiteY314" fmla="*/ 1755368 h 2563305"/>
                  <a:gd name="connsiteX315" fmla="*/ 1004788 w 2081801"/>
                  <a:gd name="connsiteY315" fmla="*/ 1753952 h 2563305"/>
                  <a:gd name="connsiteX316" fmla="*/ 979297 w 2081801"/>
                  <a:gd name="connsiteY316" fmla="*/ 1749704 h 2563305"/>
                  <a:gd name="connsiteX317" fmla="*/ 973632 w 2081801"/>
                  <a:gd name="connsiteY317" fmla="*/ 1701553 h 2563305"/>
                  <a:gd name="connsiteX318" fmla="*/ 1044441 w 2081801"/>
                  <a:gd name="connsiteY318" fmla="*/ 1674646 h 2563305"/>
                  <a:gd name="connsiteX319" fmla="*/ 1218633 w 2081801"/>
                  <a:gd name="connsiteY319" fmla="*/ 1663316 h 2563305"/>
                  <a:gd name="connsiteX320" fmla="*/ 1210136 w 2081801"/>
                  <a:gd name="connsiteY320" fmla="*/ 1751120 h 2563305"/>
                  <a:gd name="connsiteX321" fmla="*/ 1055771 w 2081801"/>
                  <a:gd name="connsiteY321" fmla="*/ 1770946 h 2563305"/>
                  <a:gd name="connsiteX322" fmla="*/ 1055771 w 2081801"/>
                  <a:gd name="connsiteY322" fmla="*/ 1770946 h 2563305"/>
                  <a:gd name="connsiteX323" fmla="*/ 1106754 w 2081801"/>
                  <a:gd name="connsiteY323" fmla="*/ 1925311 h 2563305"/>
                  <a:gd name="connsiteX324" fmla="*/ 1010453 w 2081801"/>
                  <a:gd name="connsiteY324" fmla="*/ 1932392 h 2563305"/>
                  <a:gd name="connsiteX325" fmla="*/ 1010453 w 2081801"/>
                  <a:gd name="connsiteY325" fmla="*/ 1932392 h 2563305"/>
                  <a:gd name="connsiteX326" fmla="*/ 1136494 w 2081801"/>
                  <a:gd name="connsiteY326" fmla="*/ 2013115 h 2563305"/>
                  <a:gd name="connsiteX327" fmla="*/ 1164817 w 2081801"/>
                  <a:gd name="connsiteY327" fmla="*/ 2100919 h 2563305"/>
                  <a:gd name="connsiteX328" fmla="*/ 1115251 w 2081801"/>
                  <a:gd name="connsiteY328" fmla="*/ 2180226 h 2563305"/>
                  <a:gd name="connsiteX329" fmla="*/ 1096840 w 2081801"/>
                  <a:gd name="connsiteY329" fmla="*/ 2183058 h 2563305"/>
                  <a:gd name="connsiteX330" fmla="*/ 114004 w 2081801"/>
                  <a:gd name="connsiteY330" fmla="*/ 589843 h 2563305"/>
                  <a:gd name="connsiteX331" fmla="*/ 104090 w 2081801"/>
                  <a:gd name="connsiteY331" fmla="*/ 606838 h 2563305"/>
                  <a:gd name="connsiteX332" fmla="*/ 125333 w 2081801"/>
                  <a:gd name="connsiteY332" fmla="*/ 611086 h 2563305"/>
                  <a:gd name="connsiteX333" fmla="*/ 109755 w 2081801"/>
                  <a:gd name="connsiteY333" fmla="*/ 662069 h 2563305"/>
                  <a:gd name="connsiteX334" fmla="*/ 101258 w 2081801"/>
                  <a:gd name="connsiteY334" fmla="*/ 667734 h 2563305"/>
                  <a:gd name="connsiteX335" fmla="*/ 58772 w 2081801"/>
                  <a:gd name="connsiteY335" fmla="*/ 493542 h 2563305"/>
                  <a:gd name="connsiteX336" fmla="*/ 114004 w 2081801"/>
                  <a:gd name="connsiteY336" fmla="*/ 589843 h 2563305"/>
                  <a:gd name="connsiteX337" fmla="*/ 225883 w 2081801"/>
                  <a:gd name="connsiteY337" fmla="*/ 632329 h 2563305"/>
                  <a:gd name="connsiteX338" fmla="*/ 181981 w 2081801"/>
                  <a:gd name="connsiteY338" fmla="*/ 622416 h 2563305"/>
                  <a:gd name="connsiteX339" fmla="*/ 252790 w 2081801"/>
                  <a:gd name="connsiteY339" fmla="*/ 579930 h 2563305"/>
                  <a:gd name="connsiteX340" fmla="*/ 259871 w 2081801"/>
                  <a:gd name="connsiteY340" fmla="*/ 591260 h 2563305"/>
                  <a:gd name="connsiteX341" fmla="*/ 225883 w 2081801"/>
                  <a:gd name="connsiteY341" fmla="*/ 632329 h 2563305"/>
                  <a:gd name="connsiteX342" fmla="*/ 640827 w 2081801"/>
                  <a:gd name="connsiteY342" fmla="*/ 156489 h 2563305"/>
                  <a:gd name="connsiteX343" fmla="*/ 657821 w 2081801"/>
                  <a:gd name="connsiteY343" fmla="*/ 143743 h 2563305"/>
                  <a:gd name="connsiteX344" fmla="*/ 914152 w 2081801"/>
                  <a:gd name="connsiteY344" fmla="*/ 200391 h 2563305"/>
                  <a:gd name="connsiteX345" fmla="*/ 781030 w 2081801"/>
                  <a:gd name="connsiteY345" fmla="*/ 201807 h 2563305"/>
                  <a:gd name="connsiteX346" fmla="*/ 640827 w 2081801"/>
                  <a:gd name="connsiteY346" fmla="*/ 156489 h 2563305"/>
                  <a:gd name="connsiteX347" fmla="*/ 884412 w 2081801"/>
                  <a:gd name="connsiteY347" fmla="*/ 351923 h 2563305"/>
                  <a:gd name="connsiteX348" fmla="*/ 1020366 w 2081801"/>
                  <a:gd name="connsiteY348" fmla="*/ 282530 h 2563305"/>
                  <a:gd name="connsiteX349" fmla="*/ 1201639 w 2081801"/>
                  <a:gd name="connsiteY349" fmla="*/ 340594 h 2563305"/>
                  <a:gd name="connsiteX350" fmla="*/ 1184644 w 2081801"/>
                  <a:gd name="connsiteY350" fmla="*/ 417068 h 2563305"/>
                  <a:gd name="connsiteX351" fmla="*/ 884412 w 2081801"/>
                  <a:gd name="connsiteY351" fmla="*/ 351923 h 2563305"/>
                  <a:gd name="connsiteX352" fmla="*/ 1493374 w 2081801"/>
                  <a:gd name="connsiteY352" fmla="*/ 1130828 h 2563305"/>
                  <a:gd name="connsiteX353" fmla="*/ 1562767 w 2081801"/>
                  <a:gd name="connsiteY353" fmla="*/ 1054354 h 2563305"/>
                  <a:gd name="connsiteX354" fmla="*/ 1659069 w 2081801"/>
                  <a:gd name="connsiteY354" fmla="*/ 1101088 h 2563305"/>
                  <a:gd name="connsiteX355" fmla="*/ 1605253 w 2081801"/>
                  <a:gd name="connsiteY355" fmla="*/ 1120915 h 2563305"/>
                  <a:gd name="connsiteX356" fmla="*/ 1493374 w 2081801"/>
                  <a:gd name="connsiteY356" fmla="*/ 1130828 h 2563305"/>
                  <a:gd name="connsiteX357" fmla="*/ 1513201 w 2081801"/>
                  <a:gd name="connsiteY357" fmla="*/ 1494789 h 2563305"/>
                  <a:gd name="connsiteX358" fmla="*/ 1501871 w 2081801"/>
                  <a:gd name="connsiteY358" fmla="*/ 1491957 h 2563305"/>
                  <a:gd name="connsiteX359" fmla="*/ 1659069 w 2081801"/>
                  <a:gd name="connsiteY359" fmla="*/ 1360251 h 2563305"/>
                  <a:gd name="connsiteX360" fmla="*/ 1650571 w 2081801"/>
                  <a:gd name="connsiteY360" fmla="*/ 1442390 h 2563305"/>
                  <a:gd name="connsiteX361" fmla="*/ 1513201 w 2081801"/>
                  <a:gd name="connsiteY361" fmla="*/ 1494789 h 2563305"/>
                  <a:gd name="connsiteX362" fmla="*/ 960886 w 2081801"/>
                  <a:gd name="connsiteY362" fmla="*/ 1336176 h 2563305"/>
                  <a:gd name="connsiteX363" fmla="*/ 989210 w 2081801"/>
                  <a:gd name="connsiteY363" fmla="*/ 1344673 h 2563305"/>
                  <a:gd name="connsiteX364" fmla="*/ 982129 w 2081801"/>
                  <a:gd name="connsiteY364" fmla="*/ 1364500 h 2563305"/>
                  <a:gd name="connsiteX365" fmla="*/ 959470 w 2081801"/>
                  <a:gd name="connsiteY365" fmla="*/ 1337592 h 2563305"/>
                  <a:gd name="connsiteX366" fmla="*/ 960886 w 2081801"/>
                  <a:gd name="connsiteY366" fmla="*/ 1336176 h 2563305"/>
                  <a:gd name="connsiteX367" fmla="*/ 945308 w 2081801"/>
                  <a:gd name="connsiteY367" fmla="*/ 1329095 h 2563305"/>
                  <a:gd name="connsiteX368" fmla="*/ 945308 w 2081801"/>
                  <a:gd name="connsiteY368" fmla="*/ 1323430 h 2563305"/>
                  <a:gd name="connsiteX369" fmla="*/ 950973 w 2081801"/>
                  <a:gd name="connsiteY369" fmla="*/ 1330511 h 2563305"/>
                  <a:gd name="connsiteX370" fmla="*/ 945308 w 2081801"/>
                  <a:gd name="connsiteY370" fmla="*/ 1329095 h 2563305"/>
                  <a:gd name="connsiteX371" fmla="*/ 114004 w 2081801"/>
                  <a:gd name="connsiteY371" fmla="*/ 660653 h 2563305"/>
                  <a:gd name="connsiteX372" fmla="*/ 128166 w 2081801"/>
                  <a:gd name="connsiteY372" fmla="*/ 613919 h 2563305"/>
                  <a:gd name="connsiteX373" fmla="*/ 145160 w 2081801"/>
                  <a:gd name="connsiteY373" fmla="*/ 642242 h 2563305"/>
                  <a:gd name="connsiteX374" fmla="*/ 114004 w 2081801"/>
                  <a:gd name="connsiteY374" fmla="*/ 660653 h 2563305"/>
                  <a:gd name="connsiteX375" fmla="*/ 180564 w 2081801"/>
                  <a:gd name="connsiteY375" fmla="*/ 621000 h 2563305"/>
                  <a:gd name="connsiteX376" fmla="*/ 167819 w 2081801"/>
                  <a:gd name="connsiteY376" fmla="*/ 618167 h 2563305"/>
                  <a:gd name="connsiteX377" fmla="*/ 191894 w 2081801"/>
                  <a:gd name="connsiteY377" fmla="*/ 482213 h 2563305"/>
                  <a:gd name="connsiteX378" fmla="*/ 252790 w 2081801"/>
                  <a:gd name="connsiteY378" fmla="*/ 578514 h 2563305"/>
                  <a:gd name="connsiteX379" fmla="*/ 180564 w 2081801"/>
                  <a:gd name="connsiteY379" fmla="*/ 621000 h 2563305"/>
                  <a:gd name="connsiteX380" fmla="*/ 507705 w 2081801"/>
                  <a:gd name="connsiteY380" fmla="*/ 660653 h 2563305"/>
                  <a:gd name="connsiteX381" fmla="*/ 524699 w 2081801"/>
                  <a:gd name="connsiteY381" fmla="*/ 698890 h 2563305"/>
                  <a:gd name="connsiteX382" fmla="*/ 516202 w 2081801"/>
                  <a:gd name="connsiteY382" fmla="*/ 697474 h 2563305"/>
                  <a:gd name="connsiteX383" fmla="*/ 492127 w 2081801"/>
                  <a:gd name="connsiteY383" fmla="*/ 664902 h 2563305"/>
                  <a:gd name="connsiteX384" fmla="*/ 507705 w 2081801"/>
                  <a:gd name="connsiteY384" fmla="*/ 660653 h 2563305"/>
                  <a:gd name="connsiteX385" fmla="*/ 489294 w 2081801"/>
                  <a:gd name="connsiteY385" fmla="*/ 266952 h 2563305"/>
                  <a:gd name="connsiteX386" fmla="*/ 443976 w 2081801"/>
                  <a:gd name="connsiteY386" fmla="*/ 300941 h 2563305"/>
                  <a:gd name="connsiteX387" fmla="*/ 363253 w 2081801"/>
                  <a:gd name="connsiteY387" fmla="*/ 240044 h 2563305"/>
                  <a:gd name="connsiteX388" fmla="*/ 489294 w 2081801"/>
                  <a:gd name="connsiteY388" fmla="*/ 266952 h 2563305"/>
                  <a:gd name="connsiteX389" fmla="*/ 643659 w 2081801"/>
                  <a:gd name="connsiteY389" fmla="*/ 223050 h 2563305"/>
                  <a:gd name="connsiteX390" fmla="*/ 626665 w 2081801"/>
                  <a:gd name="connsiteY390" fmla="*/ 206056 h 2563305"/>
                  <a:gd name="connsiteX391" fmla="*/ 781030 w 2081801"/>
                  <a:gd name="connsiteY391" fmla="*/ 204640 h 2563305"/>
                  <a:gd name="connsiteX392" fmla="*/ 950973 w 2081801"/>
                  <a:gd name="connsiteY392" fmla="*/ 259871 h 2563305"/>
                  <a:gd name="connsiteX393" fmla="*/ 643659 w 2081801"/>
                  <a:gd name="connsiteY393" fmla="*/ 223050 h 2563305"/>
                  <a:gd name="connsiteX394" fmla="*/ 642243 w 2081801"/>
                  <a:gd name="connsiteY394" fmla="*/ 224466 h 2563305"/>
                  <a:gd name="connsiteX395" fmla="*/ 739960 w 2081801"/>
                  <a:gd name="connsiteY395" fmla="*/ 319351 h 2563305"/>
                  <a:gd name="connsiteX396" fmla="*/ 493543 w 2081801"/>
                  <a:gd name="connsiteY396" fmla="*/ 265536 h 2563305"/>
                  <a:gd name="connsiteX397" fmla="*/ 561520 w 2081801"/>
                  <a:gd name="connsiteY397" fmla="*/ 214553 h 2563305"/>
                  <a:gd name="connsiteX398" fmla="*/ 642243 w 2081801"/>
                  <a:gd name="connsiteY398" fmla="*/ 224466 h 2563305"/>
                  <a:gd name="connsiteX399" fmla="*/ 1453721 w 2081801"/>
                  <a:gd name="connsiteY399" fmla="*/ 1174730 h 2563305"/>
                  <a:gd name="connsiteX400" fmla="*/ 1491958 w 2081801"/>
                  <a:gd name="connsiteY400" fmla="*/ 1132245 h 2563305"/>
                  <a:gd name="connsiteX401" fmla="*/ 1598172 w 2081801"/>
                  <a:gd name="connsiteY401" fmla="*/ 1122331 h 2563305"/>
                  <a:gd name="connsiteX402" fmla="*/ 1453721 w 2081801"/>
                  <a:gd name="connsiteY402" fmla="*/ 1174730 h 2563305"/>
                  <a:gd name="connsiteX403" fmla="*/ 1484877 w 2081801"/>
                  <a:gd name="connsiteY403" fmla="*/ 1504703 h 2563305"/>
                  <a:gd name="connsiteX404" fmla="*/ 1499039 w 2081801"/>
                  <a:gd name="connsiteY404" fmla="*/ 1491957 h 2563305"/>
                  <a:gd name="connsiteX405" fmla="*/ 1508952 w 2081801"/>
                  <a:gd name="connsiteY405" fmla="*/ 1494789 h 2563305"/>
                  <a:gd name="connsiteX406" fmla="*/ 1484877 w 2081801"/>
                  <a:gd name="connsiteY406" fmla="*/ 1504703 h 2563305"/>
                  <a:gd name="connsiteX407" fmla="*/ 1397073 w 2081801"/>
                  <a:gd name="connsiteY407" fmla="*/ 1727044 h 2563305"/>
                  <a:gd name="connsiteX408" fmla="*/ 1320599 w 2081801"/>
                  <a:gd name="connsiteY408" fmla="*/ 1848837 h 2563305"/>
                  <a:gd name="connsiteX409" fmla="*/ 1282362 w 2081801"/>
                  <a:gd name="connsiteY409" fmla="*/ 1744039 h 2563305"/>
                  <a:gd name="connsiteX410" fmla="*/ 1391408 w 2081801"/>
                  <a:gd name="connsiteY410" fmla="*/ 1729877 h 2563305"/>
                  <a:gd name="connsiteX411" fmla="*/ 1397073 w 2081801"/>
                  <a:gd name="connsiteY411" fmla="*/ 1727044 h 2563305"/>
                  <a:gd name="connsiteX412" fmla="*/ 1191725 w 2081801"/>
                  <a:gd name="connsiteY412" fmla="*/ 1921063 h 2563305"/>
                  <a:gd name="connsiteX413" fmla="*/ 1178979 w 2081801"/>
                  <a:gd name="connsiteY413" fmla="*/ 2038606 h 2563305"/>
                  <a:gd name="connsiteX414" fmla="*/ 1135078 w 2081801"/>
                  <a:gd name="connsiteY414" fmla="*/ 2010283 h 2563305"/>
                  <a:gd name="connsiteX415" fmla="*/ 1108170 w 2081801"/>
                  <a:gd name="connsiteY415" fmla="*/ 1926727 h 2563305"/>
                  <a:gd name="connsiteX416" fmla="*/ 1191725 w 2081801"/>
                  <a:gd name="connsiteY416" fmla="*/ 1921063 h 2563305"/>
                  <a:gd name="connsiteX417" fmla="*/ 1224298 w 2081801"/>
                  <a:gd name="connsiteY417" fmla="*/ 1606668 h 2563305"/>
                  <a:gd name="connsiteX418" fmla="*/ 1218633 w 2081801"/>
                  <a:gd name="connsiteY418" fmla="*/ 1661900 h 2563305"/>
                  <a:gd name="connsiteX419" fmla="*/ 1051522 w 2081801"/>
                  <a:gd name="connsiteY419" fmla="*/ 1673229 h 2563305"/>
                  <a:gd name="connsiteX420" fmla="*/ 1224298 w 2081801"/>
                  <a:gd name="connsiteY420" fmla="*/ 1606668 h 2563305"/>
                  <a:gd name="connsiteX421" fmla="*/ 1215800 w 2081801"/>
                  <a:gd name="connsiteY421" fmla="*/ 1565599 h 2563305"/>
                  <a:gd name="connsiteX422" fmla="*/ 1225714 w 2081801"/>
                  <a:gd name="connsiteY422" fmla="*/ 1593923 h 2563305"/>
                  <a:gd name="connsiteX423" fmla="*/ 1224298 w 2081801"/>
                  <a:gd name="connsiteY423" fmla="*/ 1603836 h 2563305"/>
                  <a:gd name="connsiteX424" fmla="*/ 1044441 w 2081801"/>
                  <a:gd name="connsiteY424" fmla="*/ 1671813 h 2563305"/>
                  <a:gd name="connsiteX425" fmla="*/ 999123 w 2081801"/>
                  <a:gd name="connsiteY425" fmla="*/ 1674646 h 2563305"/>
                  <a:gd name="connsiteX426" fmla="*/ 1112419 w 2081801"/>
                  <a:gd name="connsiteY426" fmla="*/ 1550021 h 2563305"/>
                  <a:gd name="connsiteX427" fmla="*/ 1215800 w 2081801"/>
                  <a:gd name="connsiteY427" fmla="*/ 1565599 h 2563305"/>
                  <a:gd name="connsiteX428" fmla="*/ 166402 w 2081801"/>
                  <a:gd name="connsiteY428" fmla="*/ 956637 h 2563305"/>
                  <a:gd name="connsiteX429" fmla="*/ 220218 w 2081801"/>
                  <a:gd name="connsiteY429" fmla="*/ 844758 h 2563305"/>
                  <a:gd name="connsiteX430" fmla="*/ 434063 w 2081801"/>
                  <a:gd name="connsiteY430" fmla="*/ 915567 h 2563305"/>
                  <a:gd name="connsiteX431" fmla="*/ 456722 w 2081801"/>
                  <a:gd name="connsiteY431" fmla="*/ 931145 h 2563305"/>
                  <a:gd name="connsiteX432" fmla="*/ 166402 w 2081801"/>
                  <a:gd name="connsiteY432" fmla="*/ 956637 h 2563305"/>
                  <a:gd name="connsiteX433" fmla="*/ 659237 w 2081801"/>
                  <a:gd name="connsiteY433" fmla="*/ 463803 h 2563305"/>
                  <a:gd name="connsiteX434" fmla="*/ 445392 w 2081801"/>
                  <a:gd name="connsiteY434" fmla="*/ 302357 h 2563305"/>
                  <a:gd name="connsiteX435" fmla="*/ 490711 w 2081801"/>
                  <a:gd name="connsiteY435" fmla="*/ 268368 h 2563305"/>
                  <a:gd name="connsiteX436" fmla="*/ 741376 w 2081801"/>
                  <a:gd name="connsiteY436" fmla="*/ 323599 h 2563305"/>
                  <a:gd name="connsiteX437" fmla="*/ 807937 w 2081801"/>
                  <a:gd name="connsiteY437" fmla="*/ 388744 h 2563305"/>
                  <a:gd name="connsiteX438" fmla="*/ 659237 w 2081801"/>
                  <a:gd name="connsiteY438" fmla="*/ 463803 h 2563305"/>
                  <a:gd name="connsiteX439" fmla="*/ 878747 w 2081801"/>
                  <a:gd name="connsiteY439" fmla="*/ 351923 h 2563305"/>
                  <a:gd name="connsiteX440" fmla="*/ 812186 w 2081801"/>
                  <a:gd name="connsiteY440" fmla="*/ 385912 h 2563305"/>
                  <a:gd name="connsiteX441" fmla="*/ 747041 w 2081801"/>
                  <a:gd name="connsiteY441" fmla="*/ 322183 h 2563305"/>
                  <a:gd name="connsiteX442" fmla="*/ 878747 w 2081801"/>
                  <a:gd name="connsiteY442" fmla="*/ 351923 h 2563305"/>
                  <a:gd name="connsiteX443" fmla="*/ 1197390 w 2081801"/>
                  <a:gd name="connsiteY443" fmla="*/ 2049936 h 2563305"/>
                  <a:gd name="connsiteX444" fmla="*/ 1282362 w 2081801"/>
                  <a:gd name="connsiteY444" fmla="*/ 1913982 h 2563305"/>
                  <a:gd name="connsiteX445" fmla="*/ 1480628 w 2081801"/>
                  <a:gd name="connsiteY445" fmla="*/ 1899820 h 2563305"/>
                  <a:gd name="connsiteX446" fmla="*/ 1254038 w 2081801"/>
                  <a:gd name="connsiteY446" fmla="*/ 2086757 h 2563305"/>
                  <a:gd name="connsiteX447" fmla="*/ 1197390 w 2081801"/>
                  <a:gd name="connsiteY447" fmla="*/ 2049936 h 2563305"/>
                  <a:gd name="connsiteX448" fmla="*/ 1183228 w 2081801"/>
                  <a:gd name="connsiteY448" fmla="*/ 2156151 h 2563305"/>
                  <a:gd name="connsiteX449" fmla="*/ 1180396 w 2081801"/>
                  <a:gd name="connsiteY449" fmla="*/ 2149070 h 2563305"/>
                  <a:gd name="connsiteX450" fmla="*/ 1254038 w 2081801"/>
                  <a:gd name="connsiteY450" fmla="*/ 2088173 h 2563305"/>
                  <a:gd name="connsiteX451" fmla="*/ 1317766 w 2081801"/>
                  <a:gd name="connsiteY451" fmla="*/ 2129243 h 2563305"/>
                  <a:gd name="connsiteX452" fmla="*/ 1183228 w 2081801"/>
                  <a:gd name="connsiteY452" fmla="*/ 2156151 h 2563305"/>
                  <a:gd name="connsiteX453" fmla="*/ 1178979 w 2081801"/>
                  <a:gd name="connsiteY453" fmla="*/ 2149070 h 2563305"/>
                  <a:gd name="connsiteX454" fmla="*/ 1170483 w 2081801"/>
                  <a:gd name="connsiteY454" fmla="*/ 2156151 h 2563305"/>
                  <a:gd name="connsiteX455" fmla="*/ 1173315 w 2081801"/>
                  <a:gd name="connsiteY455" fmla="*/ 2130659 h 2563305"/>
                  <a:gd name="connsiteX456" fmla="*/ 1178979 w 2081801"/>
                  <a:gd name="connsiteY456" fmla="*/ 2149070 h 2563305"/>
                  <a:gd name="connsiteX457" fmla="*/ 1194558 w 2081801"/>
                  <a:gd name="connsiteY457" fmla="*/ 1918230 h 2563305"/>
                  <a:gd name="connsiteX458" fmla="*/ 1211552 w 2081801"/>
                  <a:gd name="connsiteY458" fmla="*/ 1751120 h 2563305"/>
                  <a:gd name="connsiteX459" fmla="*/ 1279529 w 2081801"/>
                  <a:gd name="connsiteY459" fmla="*/ 1742623 h 2563305"/>
                  <a:gd name="connsiteX460" fmla="*/ 1317766 w 2081801"/>
                  <a:gd name="connsiteY460" fmla="*/ 1848837 h 2563305"/>
                  <a:gd name="connsiteX461" fmla="*/ 1279529 w 2081801"/>
                  <a:gd name="connsiteY461" fmla="*/ 1911149 h 2563305"/>
                  <a:gd name="connsiteX462" fmla="*/ 1194558 w 2081801"/>
                  <a:gd name="connsiteY462" fmla="*/ 1918230 h 2563305"/>
                  <a:gd name="connsiteX463" fmla="*/ 1252622 w 2081801"/>
                  <a:gd name="connsiteY463" fmla="*/ 2088173 h 2563305"/>
                  <a:gd name="connsiteX464" fmla="*/ 1180396 w 2081801"/>
                  <a:gd name="connsiteY464" fmla="*/ 2147653 h 2563305"/>
                  <a:gd name="connsiteX465" fmla="*/ 1173315 w 2081801"/>
                  <a:gd name="connsiteY465" fmla="*/ 2124994 h 2563305"/>
                  <a:gd name="connsiteX466" fmla="*/ 1177564 w 2081801"/>
                  <a:gd name="connsiteY466" fmla="*/ 2081092 h 2563305"/>
                  <a:gd name="connsiteX467" fmla="*/ 1195974 w 2081801"/>
                  <a:gd name="connsiteY467" fmla="*/ 2052768 h 2563305"/>
                  <a:gd name="connsiteX468" fmla="*/ 1252622 w 2081801"/>
                  <a:gd name="connsiteY468" fmla="*/ 2088173 h 2563305"/>
                  <a:gd name="connsiteX469" fmla="*/ 1279529 w 2081801"/>
                  <a:gd name="connsiteY469" fmla="*/ 1915398 h 2563305"/>
                  <a:gd name="connsiteX470" fmla="*/ 1195974 w 2081801"/>
                  <a:gd name="connsiteY470" fmla="*/ 2049936 h 2563305"/>
                  <a:gd name="connsiteX471" fmla="*/ 1183228 w 2081801"/>
                  <a:gd name="connsiteY471" fmla="*/ 2041439 h 2563305"/>
                  <a:gd name="connsiteX472" fmla="*/ 1195974 w 2081801"/>
                  <a:gd name="connsiteY472" fmla="*/ 1922479 h 2563305"/>
                  <a:gd name="connsiteX473" fmla="*/ 1279529 w 2081801"/>
                  <a:gd name="connsiteY473" fmla="*/ 1915398 h 2563305"/>
                  <a:gd name="connsiteX474" fmla="*/ 1194558 w 2081801"/>
                  <a:gd name="connsiteY474" fmla="*/ 2049936 h 2563305"/>
                  <a:gd name="connsiteX475" fmla="*/ 1178979 w 2081801"/>
                  <a:gd name="connsiteY475" fmla="*/ 2075428 h 2563305"/>
                  <a:gd name="connsiteX476" fmla="*/ 1181812 w 2081801"/>
                  <a:gd name="connsiteY476" fmla="*/ 2042855 h 2563305"/>
                  <a:gd name="connsiteX477" fmla="*/ 1194558 w 2081801"/>
                  <a:gd name="connsiteY477" fmla="*/ 2049936 h 2563305"/>
                  <a:gd name="connsiteX478" fmla="*/ 1174731 w 2081801"/>
                  <a:gd name="connsiteY478" fmla="*/ 2083925 h 2563305"/>
                  <a:gd name="connsiteX479" fmla="*/ 1170483 w 2081801"/>
                  <a:gd name="connsiteY479" fmla="*/ 2119330 h 2563305"/>
                  <a:gd name="connsiteX480" fmla="*/ 1163402 w 2081801"/>
                  <a:gd name="connsiteY480" fmla="*/ 2099503 h 2563305"/>
                  <a:gd name="connsiteX481" fmla="*/ 1174731 w 2081801"/>
                  <a:gd name="connsiteY481" fmla="*/ 2083925 h 2563305"/>
                  <a:gd name="connsiteX482" fmla="*/ 1229962 w 2081801"/>
                  <a:gd name="connsiteY482" fmla="*/ 1603836 h 2563305"/>
                  <a:gd name="connsiteX483" fmla="*/ 1249789 w 2081801"/>
                  <a:gd name="connsiteY483" fmla="*/ 1659068 h 2563305"/>
                  <a:gd name="connsiteX484" fmla="*/ 1221465 w 2081801"/>
                  <a:gd name="connsiteY484" fmla="*/ 1660484 h 2563305"/>
                  <a:gd name="connsiteX485" fmla="*/ 1227130 w 2081801"/>
                  <a:gd name="connsiteY485" fmla="*/ 1605252 h 2563305"/>
                  <a:gd name="connsiteX486" fmla="*/ 1229962 w 2081801"/>
                  <a:gd name="connsiteY486" fmla="*/ 1603836 h 2563305"/>
                  <a:gd name="connsiteX487" fmla="*/ 945308 w 2081801"/>
                  <a:gd name="connsiteY487" fmla="*/ 888660 h 2563305"/>
                  <a:gd name="connsiteX488" fmla="*/ 945308 w 2081801"/>
                  <a:gd name="connsiteY488" fmla="*/ 925481 h 2563305"/>
                  <a:gd name="connsiteX489" fmla="*/ 789527 w 2081801"/>
                  <a:gd name="connsiteY489" fmla="*/ 902822 h 2563305"/>
                  <a:gd name="connsiteX490" fmla="*/ 945308 w 2081801"/>
                  <a:gd name="connsiteY490" fmla="*/ 888660 h 2563305"/>
                  <a:gd name="connsiteX491" fmla="*/ 633746 w 2081801"/>
                  <a:gd name="connsiteY491" fmla="*/ 936810 h 2563305"/>
                  <a:gd name="connsiteX492" fmla="*/ 704555 w 2081801"/>
                  <a:gd name="connsiteY492" fmla="*/ 1092591 h 2563305"/>
                  <a:gd name="connsiteX493" fmla="*/ 690393 w 2081801"/>
                  <a:gd name="connsiteY493" fmla="*/ 1091175 h 2563305"/>
                  <a:gd name="connsiteX494" fmla="*/ 460971 w 2081801"/>
                  <a:gd name="connsiteY494" fmla="*/ 931145 h 2563305"/>
                  <a:gd name="connsiteX495" fmla="*/ 479381 w 2081801"/>
                  <a:gd name="connsiteY495" fmla="*/ 929729 h 2563305"/>
                  <a:gd name="connsiteX496" fmla="*/ 528948 w 2081801"/>
                  <a:gd name="connsiteY496" fmla="*/ 946723 h 2563305"/>
                  <a:gd name="connsiteX497" fmla="*/ 528948 w 2081801"/>
                  <a:gd name="connsiteY497" fmla="*/ 946723 h 2563305"/>
                  <a:gd name="connsiteX498" fmla="*/ 633746 w 2081801"/>
                  <a:gd name="connsiteY498" fmla="*/ 936810 h 2563305"/>
                  <a:gd name="connsiteX499" fmla="*/ 633746 w 2081801"/>
                  <a:gd name="connsiteY499" fmla="*/ 856087 h 2563305"/>
                  <a:gd name="connsiteX500" fmla="*/ 602590 w 2081801"/>
                  <a:gd name="connsiteY500" fmla="*/ 861752 h 2563305"/>
                  <a:gd name="connsiteX501" fmla="*/ 547358 w 2081801"/>
                  <a:gd name="connsiteY501" fmla="*/ 739960 h 2563305"/>
                  <a:gd name="connsiteX502" fmla="*/ 633746 w 2081801"/>
                  <a:gd name="connsiteY502" fmla="*/ 856087 h 2563305"/>
                  <a:gd name="connsiteX503" fmla="*/ 637995 w 2081801"/>
                  <a:gd name="connsiteY503" fmla="*/ 622416 h 2563305"/>
                  <a:gd name="connsiteX504" fmla="*/ 656405 w 2081801"/>
                  <a:gd name="connsiteY504" fmla="*/ 728630 h 2563305"/>
                  <a:gd name="connsiteX505" fmla="*/ 527531 w 2081801"/>
                  <a:gd name="connsiteY505" fmla="*/ 698890 h 2563305"/>
                  <a:gd name="connsiteX506" fmla="*/ 509121 w 2081801"/>
                  <a:gd name="connsiteY506" fmla="*/ 659237 h 2563305"/>
                  <a:gd name="connsiteX507" fmla="*/ 637995 w 2081801"/>
                  <a:gd name="connsiteY507" fmla="*/ 622416 h 2563305"/>
                  <a:gd name="connsiteX508" fmla="*/ 1173315 w 2081801"/>
                  <a:gd name="connsiteY508" fmla="*/ 591260 h 2563305"/>
                  <a:gd name="connsiteX509" fmla="*/ 1204471 w 2081801"/>
                  <a:gd name="connsiteY509" fmla="*/ 577098 h 2563305"/>
                  <a:gd name="connsiteX510" fmla="*/ 1224298 w 2081801"/>
                  <a:gd name="connsiteY510" fmla="*/ 594092 h 2563305"/>
                  <a:gd name="connsiteX511" fmla="*/ 1173315 w 2081801"/>
                  <a:gd name="connsiteY511" fmla="*/ 591260 h 2563305"/>
                  <a:gd name="connsiteX512" fmla="*/ 1227130 w 2081801"/>
                  <a:gd name="connsiteY512" fmla="*/ 594092 h 2563305"/>
                  <a:gd name="connsiteX513" fmla="*/ 1205887 w 2081801"/>
                  <a:gd name="connsiteY513" fmla="*/ 575682 h 2563305"/>
                  <a:gd name="connsiteX514" fmla="*/ 1300772 w 2081801"/>
                  <a:gd name="connsiteY514" fmla="*/ 533196 h 2563305"/>
                  <a:gd name="connsiteX515" fmla="*/ 1299356 w 2081801"/>
                  <a:gd name="connsiteY515" fmla="*/ 598341 h 2563305"/>
                  <a:gd name="connsiteX516" fmla="*/ 1227130 w 2081801"/>
                  <a:gd name="connsiteY516" fmla="*/ 594092 h 2563305"/>
                  <a:gd name="connsiteX517" fmla="*/ 1229962 w 2081801"/>
                  <a:gd name="connsiteY517" fmla="*/ 596924 h 2563305"/>
                  <a:gd name="connsiteX518" fmla="*/ 1299356 w 2081801"/>
                  <a:gd name="connsiteY518" fmla="*/ 601173 h 2563305"/>
                  <a:gd name="connsiteX519" fmla="*/ 1297940 w 2081801"/>
                  <a:gd name="connsiteY519" fmla="*/ 653572 h 2563305"/>
                  <a:gd name="connsiteX520" fmla="*/ 1229962 w 2081801"/>
                  <a:gd name="connsiteY520" fmla="*/ 596924 h 2563305"/>
                  <a:gd name="connsiteX521" fmla="*/ 1299356 w 2081801"/>
                  <a:gd name="connsiteY521" fmla="*/ 680480 h 2563305"/>
                  <a:gd name="connsiteX522" fmla="*/ 1299356 w 2081801"/>
                  <a:gd name="connsiteY522" fmla="*/ 657821 h 2563305"/>
                  <a:gd name="connsiteX523" fmla="*/ 1323431 w 2081801"/>
                  <a:gd name="connsiteY523" fmla="*/ 677647 h 2563305"/>
                  <a:gd name="connsiteX524" fmla="*/ 1299356 w 2081801"/>
                  <a:gd name="connsiteY524" fmla="*/ 680480 h 2563305"/>
                  <a:gd name="connsiteX525" fmla="*/ 1350339 w 2081801"/>
                  <a:gd name="connsiteY525" fmla="*/ 748457 h 2563305"/>
                  <a:gd name="connsiteX526" fmla="*/ 1348922 w 2081801"/>
                  <a:gd name="connsiteY526" fmla="*/ 749873 h 2563305"/>
                  <a:gd name="connsiteX527" fmla="*/ 1350339 w 2081801"/>
                  <a:gd name="connsiteY527" fmla="*/ 748457 h 2563305"/>
                  <a:gd name="connsiteX528" fmla="*/ 1350339 w 2081801"/>
                  <a:gd name="connsiteY528" fmla="*/ 748457 h 2563305"/>
                  <a:gd name="connsiteX529" fmla="*/ 1350339 w 2081801"/>
                  <a:gd name="connsiteY529" fmla="*/ 745624 h 2563305"/>
                  <a:gd name="connsiteX530" fmla="*/ 1357420 w 2081801"/>
                  <a:gd name="connsiteY530" fmla="*/ 703139 h 2563305"/>
                  <a:gd name="connsiteX531" fmla="*/ 1357420 w 2081801"/>
                  <a:gd name="connsiteY531" fmla="*/ 703139 h 2563305"/>
                  <a:gd name="connsiteX532" fmla="*/ 1327679 w 2081801"/>
                  <a:gd name="connsiteY532" fmla="*/ 679063 h 2563305"/>
                  <a:gd name="connsiteX533" fmla="*/ 1401322 w 2081801"/>
                  <a:gd name="connsiteY533" fmla="*/ 670566 h 2563305"/>
                  <a:gd name="connsiteX534" fmla="*/ 1350339 w 2081801"/>
                  <a:gd name="connsiteY534" fmla="*/ 745624 h 2563305"/>
                  <a:gd name="connsiteX535" fmla="*/ 1350339 w 2081801"/>
                  <a:gd name="connsiteY535" fmla="*/ 745624 h 2563305"/>
                  <a:gd name="connsiteX536" fmla="*/ 1561351 w 2081801"/>
                  <a:gd name="connsiteY536" fmla="*/ 837677 h 2563305"/>
                  <a:gd name="connsiteX537" fmla="*/ 1496207 w 2081801"/>
                  <a:gd name="connsiteY537" fmla="*/ 905654 h 2563305"/>
                  <a:gd name="connsiteX538" fmla="*/ 1339009 w 2081801"/>
                  <a:gd name="connsiteY538" fmla="*/ 941059 h 2563305"/>
                  <a:gd name="connsiteX539" fmla="*/ 1319183 w 2081801"/>
                  <a:gd name="connsiteY539" fmla="*/ 931145 h 2563305"/>
                  <a:gd name="connsiteX540" fmla="*/ 1350339 w 2081801"/>
                  <a:gd name="connsiteY540" fmla="*/ 752705 h 2563305"/>
                  <a:gd name="connsiteX541" fmla="*/ 1354587 w 2081801"/>
                  <a:gd name="connsiteY541" fmla="*/ 747041 h 2563305"/>
                  <a:gd name="connsiteX542" fmla="*/ 1578346 w 2081801"/>
                  <a:gd name="connsiteY542" fmla="*/ 721549 h 2563305"/>
                  <a:gd name="connsiteX543" fmla="*/ 1541524 w 2081801"/>
                  <a:gd name="connsiteY543" fmla="*/ 762619 h 2563305"/>
                  <a:gd name="connsiteX544" fmla="*/ 1541524 w 2081801"/>
                  <a:gd name="connsiteY544" fmla="*/ 762619 h 2563305"/>
                  <a:gd name="connsiteX545" fmla="*/ 1561351 w 2081801"/>
                  <a:gd name="connsiteY545" fmla="*/ 837677 h 2563305"/>
                  <a:gd name="connsiteX546" fmla="*/ 1392824 w 2081801"/>
                  <a:gd name="connsiteY546" fmla="*/ 1306436 h 2563305"/>
                  <a:gd name="connsiteX547" fmla="*/ 1421148 w 2081801"/>
                  <a:gd name="connsiteY547" fmla="*/ 1341841 h 2563305"/>
                  <a:gd name="connsiteX548" fmla="*/ 1322015 w 2081801"/>
                  <a:gd name="connsiteY548" fmla="*/ 1423980 h 2563305"/>
                  <a:gd name="connsiteX549" fmla="*/ 1367333 w 2081801"/>
                  <a:gd name="connsiteY549" fmla="*/ 1293690 h 2563305"/>
                  <a:gd name="connsiteX550" fmla="*/ 1392824 w 2081801"/>
                  <a:gd name="connsiteY550" fmla="*/ 1306436 h 2563305"/>
                  <a:gd name="connsiteX551" fmla="*/ 1378662 w 2081801"/>
                  <a:gd name="connsiteY551" fmla="*/ 1256869 h 2563305"/>
                  <a:gd name="connsiteX552" fmla="*/ 1367333 w 2081801"/>
                  <a:gd name="connsiteY552" fmla="*/ 1290858 h 2563305"/>
                  <a:gd name="connsiteX553" fmla="*/ 1354587 w 2081801"/>
                  <a:gd name="connsiteY553" fmla="*/ 1283777 h 2563305"/>
                  <a:gd name="connsiteX554" fmla="*/ 1378662 w 2081801"/>
                  <a:gd name="connsiteY554" fmla="*/ 1256869 h 2563305"/>
                  <a:gd name="connsiteX555" fmla="*/ 1391408 w 2081801"/>
                  <a:gd name="connsiteY555" fmla="*/ 1541524 h 2563305"/>
                  <a:gd name="connsiteX556" fmla="*/ 1450888 w 2081801"/>
                  <a:gd name="connsiteY556" fmla="*/ 1479211 h 2563305"/>
                  <a:gd name="connsiteX557" fmla="*/ 1497622 w 2081801"/>
                  <a:gd name="connsiteY557" fmla="*/ 1493373 h 2563305"/>
                  <a:gd name="connsiteX558" fmla="*/ 1479212 w 2081801"/>
                  <a:gd name="connsiteY558" fmla="*/ 1508951 h 2563305"/>
                  <a:gd name="connsiteX559" fmla="*/ 1391408 w 2081801"/>
                  <a:gd name="connsiteY559" fmla="*/ 1541524 h 2563305"/>
                  <a:gd name="connsiteX560" fmla="*/ 1382911 w 2081801"/>
                  <a:gd name="connsiteY560" fmla="*/ 1545772 h 2563305"/>
                  <a:gd name="connsiteX561" fmla="*/ 1348922 w 2081801"/>
                  <a:gd name="connsiteY561" fmla="*/ 1581177 h 2563305"/>
                  <a:gd name="connsiteX562" fmla="*/ 1306437 w 2081801"/>
                  <a:gd name="connsiteY562" fmla="*/ 1575512 h 2563305"/>
                  <a:gd name="connsiteX563" fmla="*/ 1382911 w 2081801"/>
                  <a:gd name="connsiteY563" fmla="*/ 1545772 h 2563305"/>
                  <a:gd name="connsiteX564" fmla="*/ 1224298 w 2081801"/>
                  <a:gd name="connsiteY564" fmla="*/ 1423980 h 2563305"/>
                  <a:gd name="connsiteX565" fmla="*/ 1183228 w 2081801"/>
                  <a:gd name="connsiteY565" fmla="*/ 1469298 h 2563305"/>
                  <a:gd name="connsiteX566" fmla="*/ 1163402 w 2081801"/>
                  <a:gd name="connsiteY566" fmla="*/ 1416899 h 2563305"/>
                  <a:gd name="connsiteX567" fmla="*/ 1224298 w 2081801"/>
                  <a:gd name="connsiteY567" fmla="*/ 1423980 h 2563305"/>
                  <a:gd name="connsiteX568" fmla="*/ 1237043 w 2081801"/>
                  <a:gd name="connsiteY568" fmla="*/ 1414067 h 2563305"/>
                  <a:gd name="connsiteX569" fmla="*/ 1246957 w 2081801"/>
                  <a:gd name="connsiteY569" fmla="*/ 1404153 h 2563305"/>
                  <a:gd name="connsiteX570" fmla="*/ 1245541 w 2081801"/>
                  <a:gd name="connsiteY570" fmla="*/ 1416899 h 2563305"/>
                  <a:gd name="connsiteX571" fmla="*/ 1237043 w 2081801"/>
                  <a:gd name="connsiteY571" fmla="*/ 1414067 h 2563305"/>
                  <a:gd name="connsiteX572" fmla="*/ 1245541 w 2081801"/>
                  <a:gd name="connsiteY572" fmla="*/ 1425396 h 2563305"/>
                  <a:gd name="connsiteX573" fmla="*/ 1245541 w 2081801"/>
                  <a:gd name="connsiteY573" fmla="*/ 1419731 h 2563305"/>
                  <a:gd name="connsiteX574" fmla="*/ 1285194 w 2081801"/>
                  <a:gd name="connsiteY574" fmla="*/ 1431061 h 2563305"/>
                  <a:gd name="connsiteX575" fmla="*/ 1245541 w 2081801"/>
                  <a:gd name="connsiteY575" fmla="*/ 1425396 h 2563305"/>
                  <a:gd name="connsiteX576" fmla="*/ 1347507 w 2081801"/>
                  <a:gd name="connsiteY576" fmla="*/ 1582593 h 2563305"/>
                  <a:gd name="connsiteX577" fmla="*/ 1275281 w 2081801"/>
                  <a:gd name="connsiteY577" fmla="*/ 1657651 h 2563305"/>
                  <a:gd name="connsiteX578" fmla="*/ 1251205 w 2081801"/>
                  <a:gd name="connsiteY578" fmla="*/ 1659068 h 2563305"/>
                  <a:gd name="connsiteX579" fmla="*/ 1231379 w 2081801"/>
                  <a:gd name="connsiteY579" fmla="*/ 1603836 h 2563305"/>
                  <a:gd name="connsiteX580" fmla="*/ 1302188 w 2081801"/>
                  <a:gd name="connsiteY580" fmla="*/ 1576929 h 2563305"/>
                  <a:gd name="connsiteX581" fmla="*/ 1347507 w 2081801"/>
                  <a:gd name="connsiteY581" fmla="*/ 1582593 h 2563305"/>
                  <a:gd name="connsiteX582" fmla="*/ 1231379 w 2081801"/>
                  <a:gd name="connsiteY582" fmla="*/ 1567015 h 2563305"/>
                  <a:gd name="connsiteX583" fmla="*/ 1299356 w 2081801"/>
                  <a:gd name="connsiteY583" fmla="*/ 1575512 h 2563305"/>
                  <a:gd name="connsiteX584" fmla="*/ 1232795 w 2081801"/>
                  <a:gd name="connsiteY584" fmla="*/ 1601004 h 2563305"/>
                  <a:gd name="connsiteX585" fmla="*/ 1229962 w 2081801"/>
                  <a:gd name="connsiteY585" fmla="*/ 1592506 h 2563305"/>
                  <a:gd name="connsiteX586" fmla="*/ 1231379 w 2081801"/>
                  <a:gd name="connsiteY586" fmla="*/ 1567015 h 2563305"/>
                  <a:gd name="connsiteX587" fmla="*/ 1231379 w 2081801"/>
                  <a:gd name="connsiteY587" fmla="*/ 1565599 h 2563305"/>
                  <a:gd name="connsiteX588" fmla="*/ 1245541 w 2081801"/>
                  <a:gd name="connsiteY588" fmla="*/ 1428229 h 2563305"/>
                  <a:gd name="connsiteX589" fmla="*/ 1299356 w 2081801"/>
                  <a:gd name="connsiteY589" fmla="*/ 1435310 h 2563305"/>
                  <a:gd name="connsiteX590" fmla="*/ 1449472 w 2081801"/>
                  <a:gd name="connsiteY590" fmla="*/ 1479211 h 2563305"/>
                  <a:gd name="connsiteX591" fmla="*/ 1387160 w 2081801"/>
                  <a:gd name="connsiteY591" fmla="*/ 1544356 h 2563305"/>
                  <a:gd name="connsiteX592" fmla="*/ 1303604 w 2081801"/>
                  <a:gd name="connsiteY592" fmla="*/ 1576929 h 2563305"/>
                  <a:gd name="connsiteX593" fmla="*/ 1231379 w 2081801"/>
                  <a:gd name="connsiteY593" fmla="*/ 1565599 h 2563305"/>
                  <a:gd name="connsiteX594" fmla="*/ 1228546 w 2081801"/>
                  <a:gd name="connsiteY594" fmla="*/ 1422563 h 2563305"/>
                  <a:gd name="connsiteX595" fmla="*/ 1235627 w 2081801"/>
                  <a:gd name="connsiteY595" fmla="*/ 1415483 h 2563305"/>
                  <a:gd name="connsiteX596" fmla="*/ 1245541 w 2081801"/>
                  <a:gd name="connsiteY596" fmla="*/ 1418315 h 2563305"/>
                  <a:gd name="connsiteX597" fmla="*/ 1245541 w 2081801"/>
                  <a:gd name="connsiteY597" fmla="*/ 1425396 h 2563305"/>
                  <a:gd name="connsiteX598" fmla="*/ 1228546 w 2081801"/>
                  <a:gd name="connsiteY598" fmla="*/ 1422563 h 2563305"/>
                  <a:gd name="connsiteX599" fmla="*/ 1227130 w 2081801"/>
                  <a:gd name="connsiteY599" fmla="*/ 1425396 h 2563305"/>
                  <a:gd name="connsiteX600" fmla="*/ 1244124 w 2081801"/>
                  <a:gd name="connsiteY600" fmla="*/ 1428229 h 2563305"/>
                  <a:gd name="connsiteX601" fmla="*/ 1229962 w 2081801"/>
                  <a:gd name="connsiteY601" fmla="*/ 1565599 h 2563305"/>
                  <a:gd name="connsiteX602" fmla="*/ 1218633 w 2081801"/>
                  <a:gd name="connsiteY602" fmla="*/ 1564183 h 2563305"/>
                  <a:gd name="connsiteX603" fmla="*/ 1186060 w 2081801"/>
                  <a:gd name="connsiteY603" fmla="*/ 1473546 h 2563305"/>
                  <a:gd name="connsiteX604" fmla="*/ 1227130 w 2081801"/>
                  <a:gd name="connsiteY604" fmla="*/ 1425396 h 2563305"/>
                  <a:gd name="connsiteX605" fmla="*/ 1232795 w 2081801"/>
                  <a:gd name="connsiteY605" fmla="*/ 1415483 h 2563305"/>
                  <a:gd name="connsiteX606" fmla="*/ 1225714 w 2081801"/>
                  <a:gd name="connsiteY606" fmla="*/ 1422563 h 2563305"/>
                  <a:gd name="connsiteX607" fmla="*/ 1163402 w 2081801"/>
                  <a:gd name="connsiteY607" fmla="*/ 1414067 h 2563305"/>
                  <a:gd name="connsiteX608" fmla="*/ 1154904 w 2081801"/>
                  <a:gd name="connsiteY608" fmla="*/ 1392824 h 2563305"/>
                  <a:gd name="connsiteX609" fmla="*/ 1232795 w 2081801"/>
                  <a:gd name="connsiteY609" fmla="*/ 1415483 h 2563305"/>
                  <a:gd name="connsiteX610" fmla="*/ 1474964 w 2081801"/>
                  <a:gd name="connsiteY610" fmla="*/ 1511784 h 2563305"/>
                  <a:gd name="connsiteX611" fmla="*/ 1385743 w 2081801"/>
                  <a:gd name="connsiteY611" fmla="*/ 1586842 h 2563305"/>
                  <a:gd name="connsiteX612" fmla="*/ 1353171 w 2081801"/>
                  <a:gd name="connsiteY612" fmla="*/ 1582593 h 2563305"/>
                  <a:gd name="connsiteX613" fmla="*/ 1388576 w 2081801"/>
                  <a:gd name="connsiteY613" fmla="*/ 1545772 h 2563305"/>
                  <a:gd name="connsiteX614" fmla="*/ 1474964 w 2081801"/>
                  <a:gd name="connsiteY614" fmla="*/ 1511784 h 2563305"/>
                  <a:gd name="connsiteX615" fmla="*/ 1312102 w 2081801"/>
                  <a:gd name="connsiteY615" fmla="*/ 1436725 h 2563305"/>
                  <a:gd name="connsiteX616" fmla="*/ 1469299 w 2081801"/>
                  <a:gd name="connsiteY616" fmla="*/ 1457968 h 2563305"/>
                  <a:gd name="connsiteX617" fmla="*/ 1450888 w 2081801"/>
                  <a:gd name="connsiteY617" fmla="*/ 1477795 h 2563305"/>
                  <a:gd name="connsiteX618" fmla="*/ 1312102 w 2081801"/>
                  <a:gd name="connsiteY618" fmla="*/ 1436725 h 2563305"/>
                  <a:gd name="connsiteX619" fmla="*/ 676231 w 2081801"/>
                  <a:gd name="connsiteY619" fmla="*/ 912735 h 2563305"/>
                  <a:gd name="connsiteX620" fmla="*/ 688977 w 2081801"/>
                  <a:gd name="connsiteY620" fmla="*/ 929729 h 2563305"/>
                  <a:gd name="connsiteX621" fmla="*/ 636578 w 2081801"/>
                  <a:gd name="connsiteY621" fmla="*/ 935394 h 2563305"/>
                  <a:gd name="connsiteX622" fmla="*/ 628081 w 2081801"/>
                  <a:gd name="connsiteY622" fmla="*/ 918400 h 2563305"/>
                  <a:gd name="connsiteX623" fmla="*/ 676231 w 2081801"/>
                  <a:gd name="connsiteY623" fmla="*/ 912735 h 2563305"/>
                  <a:gd name="connsiteX624" fmla="*/ 531780 w 2081801"/>
                  <a:gd name="connsiteY624" fmla="*/ 945307 h 2563305"/>
                  <a:gd name="connsiteX625" fmla="*/ 486462 w 2081801"/>
                  <a:gd name="connsiteY625" fmla="*/ 929729 h 2563305"/>
                  <a:gd name="connsiteX626" fmla="*/ 625249 w 2081801"/>
                  <a:gd name="connsiteY626" fmla="*/ 916984 h 2563305"/>
                  <a:gd name="connsiteX627" fmla="*/ 633746 w 2081801"/>
                  <a:gd name="connsiteY627" fmla="*/ 933978 h 2563305"/>
                  <a:gd name="connsiteX628" fmla="*/ 531780 w 2081801"/>
                  <a:gd name="connsiteY628" fmla="*/ 945307 h 2563305"/>
                  <a:gd name="connsiteX629" fmla="*/ 626665 w 2081801"/>
                  <a:gd name="connsiteY629" fmla="*/ 915567 h 2563305"/>
                  <a:gd name="connsiteX630" fmla="*/ 602590 w 2081801"/>
                  <a:gd name="connsiteY630" fmla="*/ 863168 h 2563305"/>
                  <a:gd name="connsiteX631" fmla="*/ 633746 w 2081801"/>
                  <a:gd name="connsiteY631" fmla="*/ 857503 h 2563305"/>
                  <a:gd name="connsiteX632" fmla="*/ 673399 w 2081801"/>
                  <a:gd name="connsiteY632" fmla="*/ 911319 h 2563305"/>
                  <a:gd name="connsiteX633" fmla="*/ 626665 w 2081801"/>
                  <a:gd name="connsiteY633" fmla="*/ 915567 h 2563305"/>
                  <a:gd name="connsiteX634" fmla="*/ 504873 w 2081801"/>
                  <a:gd name="connsiteY634" fmla="*/ 553022 h 2563305"/>
                  <a:gd name="connsiteX635" fmla="*/ 496375 w 2081801"/>
                  <a:gd name="connsiteY635" fmla="*/ 550190 h 2563305"/>
                  <a:gd name="connsiteX636" fmla="*/ 659237 w 2081801"/>
                  <a:gd name="connsiteY636" fmla="*/ 466635 h 2563305"/>
                  <a:gd name="connsiteX637" fmla="*/ 795192 w 2081801"/>
                  <a:gd name="connsiteY637" fmla="*/ 570017 h 2563305"/>
                  <a:gd name="connsiteX638" fmla="*/ 504873 w 2081801"/>
                  <a:gd name="connsiteY638" fmla="*/ 553022 h 2563305"/>
                  <a:gd name="connsiteX639" fmla="*/ 1094008 w 2081801"/>
                  <a:gd name="connsiteY639" fmla="*/ 485045 h 2563305"/>
                  <a:gd name="connsiteX640" fmla="*/ 1157737 w 2081801"/>
                  <a:gd name="connsiteY640" fmla="*/ 538860 h 2563305"/>
                  <a:gd name="connsiteX641" fmla="*/ 1146407 w 2081801"/>
                  <a:gd name="connsiteY641" fmla="*/ 591260 h 2563305"/>
                  <a:gd name="connsiteX642" fmla="*/ 1035944 w 2081801"/>
                  <a:gd name="connsiteY642" fmla="*/ 585595 h 2563305"/>
                  <a:gd name="connsiteX643" fmla="*/ 996291 w 2081801"/>
                  <a:gd name="connsiteY643" fmla="*/ 414236 h 2563305"/>
                  <a:gd name="connsiteX644" fmla="*/ 1094008 w 2081801"/>
                  <a:gd name="connsiteY644" fmla="*/ 485045 h 2563305"/>
                  <a:gd name="connsiteX645" fmla="*/ 1033112 w 2081801"/>
                  <a:gd name="connsiteY645" fmla="*/ 585595 h 2563305"/>
                  <a:gd name="connsiteX646" fmla="*/ 1037360 w 2081801"/>
                  <a:gd name="connsiteY646" fmla="*/ 605422 h 2563305"/>
                  <a:gd name="connsiteX647" fmla="*/ 1016117 w 2081801"/>
                  <a:gd name="connsiteY647" fmla="*/ 584179 h 2563305"/>
                  <a:gd name="connsiteX648" fmla="*/ 1033112 w 2081801"/>
                  <a:gd name="connsiteY648" fmla="*/ 585595 h 2563305"/>
                  <a:gd name="connsiteX649" fmla="*/ 1297940 w 2081801"/>
                  <a:gd name="connsiteY649" fmla="*/ 752705 h 2563305"/>
                  <a:gd name="connsiteX650" fmla="*/ 1299356 w 2081801"/>
                  <a:gd name="connsiteY650" fmla="*/ 681896 h 2563305"/>
                  <a:gd name="connsiteX651" fmla="*/ 1326264 w 2081801"/>
                  <a:gd name="connsiteY651" fmla="*/ 679063 h 2563305"/>
                  <a:gd name="connsiteX652" fmla="*/ 1356003 w 2081801"/>
                  <a:gd name="connsiteY652" fmla="*/ 704555 h 2563305"/>
                  <a:gd name="connsiteX653" fmla="*/ 1348922 w 2081801"/>
                  <a:gd name="connsiteY653" fmla="*/ 747041 h 2563305"/>
                  <a:gd name="connsiteX654" fmla="*/ 1297940 w 2081801"/>
                  <a:gd name="connsiteY654" fmla="*/ 752705 h 2563305"/>
                  <a:gd name="connsiteX655" fmla="*/ 1314934 w 2081801"/>
                  <a:gd name="connsiteY655" fmla="*/ 946723 h 2563305"/>
                  <a:gd name="connsiteX656" fmla="*/ 1317766 w 2081801"/>
                  <a:gd name="connsiteY656" fmla="*/ 933978 h 2563305"/>
                  <a:gd name="connsiteX657" fmla="*/ 1334760 w 2081801"/>
                  <a:gd name="connsiteY657" fmla="*/ 942475 h 2563305"/>
                  <a:gd name="connsiteX658" fmla="*/ 1314934 w 2081801"/>
                  <a:gd name="connsiteY658" fmla="*/ 946723 h 2563305"/>
                  <a:gd name="connsiteX659" fmla="*/ 1327679 w 2081801"/>
                  <a:gd name="connsiteY659" fmla="*/ 1146406 h 2563305"/>
                  <a:gd name="connsiteX660" fmla="*/ 1450888 w 2081801"/>
                  <a:gd name="connsiteY660" fmla="*/ 1048689 h 2563305"/>
                  <a:gd name="connsiteX661" fmla="*/ 1419732 w 2081801"/>
                  <a:gd name="connsiteY661" fmla="*/ 1136493 h 2563305"/>
                  <a:gd name="connsiteX662" fmla="*/ 1327679 w 2081801"/>
                  <a:gd name="connsiteY662" fmla="*/ 1146406 h 2563305"/>
                  <a:gd name="connsiteX663" fmla="*/ 1271032 w 2081801"/>
                  <a:gd name="connsiteY663" fmla="*/ 1190308 h 2563305"/>
                  <a:gd name="connsiteX664" fmla="*/ 1262535 w 2081801"/>
                  <a:gd name="connsiteY664" fmla="*/ 1235627 h 2563305"/>
                  <a:gd name="connsiteX665" fmla="*/ 1245541 w 2081801"/>
                  <a:gd name="connsiteY665" fmla="*/ 1401321 h 2563305"/>
                  <a:gd name="connsiteX666" fmla="*/ 1234211 w 2081801"/>
                  <a:gd name="connsiteY666" fmla="*/ 1414067 h 2563305"/>
                  <a:gd name="connsiteX667" fmla="*/ 1154904 w 2081801"/>
                  <a:gd name="connsiteY667" fmla="*/ 1391408 h 2563305"/>
                  <a:gd name="connsiteX668" fmla="*/ 1123748 w 2081801"/>
                  <a:gd name="connsiteY668" fmla="*/ 1306436 h 2563305"/>
                  <a:gd name="connsiteX669" fmla="*/ 1271032 w 2081801"/>
                  <a:gd name="connsiteY669" fmla="*/ 1190308 h 2563305"/>
                  <a:gd name="connsiteX670" fmla="*/ 781030 w 2081801"/>
                  <a:gd name="connsiteY670" fmla="*/ 901405 h 2563305"/>
                  <a:gd name="connsiteX671" fmla="*/ 687561 w 2081801"/>
                  <a:gd name="connsiteY671" fmla="*/ 887243 h 2563305"/>
                  <a:gd name="connsiteX672" fmla="*/ 680480 w 2081801"/>
                  <a:gd name="connsiteY672" fmla="*/ 850422 h 2563305"/>
                  <a:gd name="connsiteX673" fmla="*/ 1102505 w 2081801"/>
                  <a:gd name="connsiteY673" fmla="*/ 781029 h 2563305"/>
                  <a:gd name="connsiteX674" fmla="*/ 1102505 w 2081801"/>
                  <a:gd name="connsiteY674" fmla="*/ 781029 h 2563305"/>
                  <a:gd name="connsiteX675" fmla="*/ 1120916 w 2081801"/>
                  <a:gd name="connsiteY675" fmla="*/ 701722 h 2563305"/>
                  <a:gd name="connsiteX676" fmla="*/ 1130829 w 2081801"/>
                  <a:gd name="connsiteY676" fmla="*/ 700306 h 2563305"/>
                  <a:gd name="connsiteX677" fmla="*/ 1198806 w 2081801"/>
                  <a:gd name="connsiteY677" fmla="*/ 765451 h 2563305"/>
                  <a:gd name="connsiteX678" fmla="*/ 1198806 w 2081801"/>
                  <a:gd name="connsiteY678" fmla="*/ 765451 h 2563305"/>
                  <a:gd name="connsiteX679" fmla="*/ 1293691 w 2081801"/>
                  <a:gd name="connsiteY679" fmla="*/ 754122 h 2563305"/>
                  <a:gd name="connsiteX680" fmla="*/ 1290859 w 2081801"/>
                  <a:gd name="connsiteY680" fmla="*/ 833428 h 2563305"/>
                  <a:gd name="connsiteX681" fmla="*/ 1242708 w 2081801"/>
                  <a:gd name="connsiteY681" fmla="*/ 907070 h 2563305"/>
                  <a:gd name="connsiteX682" fmla="*/ 1132245 w 2081801"/>
                  <a:gd name="connsiteY682" fmla="*/ 911319 h 2563305"/>
                  <a:gd name="connsiteX683" fmla="*/ 1132245 w 2081801"/>
                  <a:gd name="connsiteY683" fmla="*/ 911319 h 2563305"/>
                  <a:gd name="connsiteX684" fmla="*/ 1112419 w 2081801"/>
                  <a:gd name="connsiteY684" fmla="*/ 950972 h 2563305"/>
                  <a:gd name="connsiteX685" fmla="*/ 946724 w 2081801"/>
                  <a:gd name="connsiteY685" fmla="*/ 925481 h 2563305"/>
                  <a:gd name="connsiteX686" fmla="*/ 946724 w 2081801"/>
                  <a:gd name="connsiteY686" fmla="*/ 885827 h 2563305"/>
                  <a:gd name="connsiteX687" fmla="*/ 946724 w 2081801"/>
                  <a:gd name="connsiteY687" fmla="*/ 885827 h 2563305"/>
                  <a:gd name="connsiteX688" fmla="*/ 781030 w 2081801"/>
                  <a:gd name="connsiteY688" fmla="*/ 901405 h 2563305"/>
                  <a:gd name="connsiteX689" fmla="*/ 1292275 w 2081801"/>
                  <a:gd name="connsiteY689" fmla="*/ 919816 h 2563305"/>
                  <a:gd name="connsiteX690" fmla="*/ 1295107 w 2081801"/>
                  <a:gd name="connsiteY690" fmla="*/ 834844 h 2563305"/>
                  <a:gd name="connsiteX691" fmla="*/ 1346090 w 2081801"/>
                  <a:gd name="connsiteY691" fmla="*/ 758370 h 2563305"/>
                  <a:gd name="connsiteX692" fmla="*/ 1316350 w 2081801"/>
                  <a:gd name="connsiteY692" fmla="*/ 931145 h 2563305"/>
                  <a:gd name="connsiteX693" fmla="*/ 1292275 w 2081801"/>
                  <a:gd name="connsiteY693" fmla="*/ 919816 h 2563305"/>
                  <a:gd name="connsiteX694" fmla="*/ 1320599 w 2081801"/>
                  <a:gd name="connsiteY694" fmla="*/ 1150655 h 2563305"/>
                  <a:gd name="connsiteX695" fmla="*/ 1324847 w 2081801"/>
                  <a:gd name="connsiteY695" fmla="*/ 1147823 h 2563305"/>
                  <a:gd name="connsiteX696" fmla="*/ 1419732 w 2081801"/>
                  <a:gd name="connsiteY696" fmla="*/ 1139326 h 2563305"/>
                  <a:gd name="connsiteX697" fmla="*/ 1409819 w 2081801"/>
                  <a:gd name="connsiteY697" fmla="*/ 1169065 h 2563305"/>
                  <a:gd name="connsiteX698" fmla="*/ 1320599 w 2081801"/>
                  <a:gd name="connsiteY698" fmla="*/ 1150655 h 2563305"/>
                  <a:gd name="connsiteX699" fmla="*/ 1278113 w 2081801"/>
                  <a:gd name="connsiteY699" fmla="*/ 1152071 h 2563305"/>
                  <a:gd name="connsiteX700" fmla="*/ 1272448 w 2081801"/>
                  <a:gd name="connsiteY700" fmla="*/ 1187476 h 2563305"/>
                  <a:gd name="connsiteX701" fmla="*/ 1123748 w 2081801"/>
                  <a:gd name="connsiteY701" fmla="*/ 1303604 h 2563305"/>
                  <a:gd name="connsiteX702" fmla="*/ 1075598 w 2081801"/>
                  <a:gd name="connsiteY702" fmla="*/ 1170482 h 2563305"/>
                  <a:gd name="connsiteX703" fmla="*/ 1278113 w 2081801"/>
                  <a:gd name="connsiteY703" fmla="*/ 1152071 h 2563305"/>
                  <a:gd name="connsiteX704" fmla="*/ 1273864 w 2081801"/>
                  <a:gd name="connsiteY704" fmla="*/ 1186060 h 2563305"/>
                  <a:gd name="connsiteX705" fmla="*/ 1279529 w 2081801"/>
                  <a:gd name="connsiteY705" fmla="*/ 1153487 h 2563305"/>
                  <a:gd name="connsiteX706" fmla="*/ 1305021 w 2081801"/>
                  <a:gd name="connsiteY706" fmla="*/ 1150655 h 2563305"/>
                  <a:gd name="connsiteX707" fmla="*/ 1316350 w 2081801"/>
                  <a:gd name="connsiteY707" fmla="*/ 1153487 h 2563305"/>
                  <a:gd name="connsiteX708" fmla="*/ 1273864 w 2081801"/>
                  <a:gd name="connsiteY708" fmla="*/ 1186060 h 2563305"/>
                  <a:gd name="connsiteX709" fmla="*/ 1273864 w 2081801"/>
                  <a:gd name="connsiteY709" fmla="*/ 1188892 h 2563305"/>
                  <a:gd name="connsiteX710" fmla="*/ 1319183 w 2081801"/>
                  <a:gd name="connsiteY710" fmla="*/ 1153487 h 2563305"/>
                  <a:gd name="connsiteX711" fmla="*/ 1409819 w 2081801"/>
                  <a:gd name="connsiteY711" fmla="*/ 1171898 h 2563305"/>
                  <a:gd name="connsiteX712" fmla="*/ 1401322 w 2081801"/>
                  <a:gd name="connsiteY712" fmla="*/ 1194557 h 2563305"/>
                  <a:gd name="connsiteX713" fmla="*/ 1265367 w 2081801"/>
                  <a:gd name="connsiteY713" fmla="*/ 1242707 h 2563305"/>
                  <a:gd name="connsiteX714" fmla="*/ 1266783 w 2081801"/>
                  <a:gd name="connsiteY714" fmla="*/ 1235627 h 2563305"/>
                  <a:gd name="connsiteX715" fmla="*/ 1273864 w 2081801"/>
                  <a:gd name="connsiteY715" fmla="*/ 1188892 h 2563305"/>
                  <a:gd name="connsiteX716" fmla="*/ 1263951 w 2081801"/>
                  <a:gd name="connsiteY716" fmla="*/ 1242707 h 2563305"/>
                  <a:gd name="connsiteX717" fmla="*/ 1348922 w 2081801"/>
                  <a:gd name="connsiteY717" fmla="*/ 1285193 h 2563305"/>
                  <a:gd name="connsiteX718" fmla="*/ 1246957 w 2081801"/>
                  <a:gd name="connsiteY718" fmla="*/ 1397072 h 2563305"/>
                  <a:gd name="connsiteX719" fmla="*/ 1263951 w 2081801"/>
                  <a:gd name="connsiteY719" fmla="*/ 1242707 h 2563305"/>
                  <a:gd name="connsiteX720" fmla="*/ 1067100 w 2081801"/>
                  <a:gd name="connsiteY720" fmla="*/ 636578 h 2563305"/>
                  <a:gd name="connsiteX721" fmla="*/ 1048690 w 2081801"/>
                  <a:gd name="connsiteY721" fmla="*/ 645075 h 2563305"/>
                  <a:gd name="connsiteX722" fmla="*/ 1040193 w 2081801"/>
                  <a:gd name="connsiteY722" fmla="*/ 611086 h 2563305"/>
                  <a:gd name="connsiteX723" fmla="*/ 1067100 w 2081801"/>
                  <a:gd name="connsiteY723" fmla="*/ 636578 h 2563305"/>
                  <a:gd name="connsiteX724" fmla="*/ 1200222 w 2081801"/>
                  <a:gd name="connsiteY724" fmla="*/ 764035 h 2563305"/>
                  <a:gd name="connsiteX725" fmla="*/ 1135078 w 2081801"/>
                  <a:gd name="connsiteY725" fmla="*/ 700306 h 2563305"/>
                  <a:gd name="connsiteX726" fmla="*/ 1297940 w 2081801"/>
                  <a:gd name="connsiteY726" fmla="*/ 683312 h 2563305"/>
                  <a:gd name="connsiteX727" fmla="*/ 1296524 w 2081801"/>
                  <a:gd name="connsiteY727" fmla="*/ 754122 h 2563305"/>
                  <a:gd name="connsiteX728" fmla="*/ 1200222 w 2081801"/>
                  <a:gd name="connsiteY728" fmla="*/ 764035 h 2563305"/>
                  <a:gd name="connsiteX729" fmla="*/ 1129413 w 2081801"/>
                  <a:gd name="connsiteY729" fmla="*/ 698890 h 2563305"/>
                  <a:gd name="connsiteX730" fmla="*/ 1120916 w 2081801"/>
                  <a:gd name="connsiteY730" fmla="*/ 700306 h 2563305"/>
                  <a:gd name="connsiteX731" fmla="*/ 1122332 w 2081801"/>
                  <a:gd name="connsiteY731" fmla="*/ 693225 h 2563305"/>
                  <a:gd name="connsiteX732" fmla="*/ 1129413 w 2081801"/>
                  <a:gd name="connsiteY732" fmla="*/ 698890 h 2563305"/>
                  <a:gd name="connsiteX733" fmla="*/ 1140742 w 2081801"/>
                  <a:gd name="connsiteY733" fmla="*/ 605422 h 2563305"/>
                  <a:gd name="connsiteX734" fmla="*/ 1122332 w 2081801"/>
                  <a:gd name="connsiteY734" fmla="*/ 687560 h 2563305"/>
                  <a:gd name="connsiteX735" fmla="*/ 1069933 w 2081801"/>
                  <a:gd name="connsiteY735" fmla="*/ 637994 h 2563305"/>
                  <a:gd name="connsiteX736" fmla="*/ 1140742 w 2081801"/>
                  <a:gd name="connsiteY736" fmla="*/ 605422 h 2563305"/>
                  <a:gd name="connsiteX737" fmla="*/ 1119500 w 2081801"/>
                  <a:gd name="connsiteY737" fmla="*/ 698890 h 2563305"/>
                  <a:gd name="connsiteX738" fmla="*/ 1062852 w 2081801"/>
                  <a:gd name="connsiteY738" fmla="*/ 704555 h 2563305"/>
                  <a:gd name="connsiteX739" fmla="*/ 1048690 w 2081801"/>
                  <a:gd name="connsiteY739" fmla="*/ 646491 h 2563305"/>
                  <a:gd name="connsiteX740" fmla="*/ 1068517 w 2081801"/>
                  <a:gd name="connsiteY740" fmla="*/ 637994 h 2563305"/>
                  <a:gd name="connsiteX741" fmla="*/ 1122332 w 2081801"/>
                  <a:gd name="connsiteY741" fmla="*/ 688977 h 2563305"/>
                  <a:gd name="connsiteX742" fmla="*/ 1119500 w 2081801"/>
                  <a:gd name="connsiteY742" fmla="*/ 698890 h 2563305"/>
                  <a:gd name="connsiteX743" fmla="*/ 1101089 w 2081801"/>
                  <a:gd name="connsiteY743" fmla="*/ 778197 h 2563305"/>
                  <a:gd name="connsiteX744" fmla="*/ 679064 w 2081801"/>
                  <a:gd name="connsiteY744" fmla="*/ 847590 h 2563305"/>
                  <a:gd name="connsiteX745" fmla="*/ 659237 w 2081801"/>
                  <a:gd name="connsiteY745" fmla="*/ 731462 h 2563305"/>
                  <a:gd name="connsiteX746" fmla="*/ 681897 w 2081801"/>
                  <a:gd name="connsiteY746" fmla="*/ 737127 h 2563305"/>
                  <a:gd name="connsiteX747" fmla="*/ 681897 w 2081801"/>
                  <a:gd name="connsiteY747" fmla="*/ 737127 h 2563305"/>
                  <a:gd name="connsiteX748" fmla="*/ 764035 w 2081801"/>
                  <a:gd name="connsiteY748" fmla="*/ 659237 h 2563305"/>
                  <a:gd name="connsiteX749" fmla="*/ 901406 w 2081801"/>
                  <a:gd name="connsiteY749" fmla="*/ 714468 h 2563305"/>
                  <a:gd name="connsiteX750" fmla="*/ 901406 w 2081801"/>
                  <a:gd name="connsiteY750" fmla="*/ 714468 h 2563305"/>
                  <a:gd name="connsiteX751" fmla="*/ 1045857 w 2081801"/>
                  <a:gd name="connsiteY751" fmla="*/ 649323 h 2563305"/>
                  <a:gd name="connsiteX752" fmla="*/ 1060019 w 2081801"/>
                  <a:gd name="connsiteY752" fmla="*/ 708803 h 2563305"/>
                  <a:gd name="connsiteX753" fmla="*/ 1060019 w 2081801"/>
                  <a:gd name="connsiteY753" fmla="*/ 708803 h 2563305"/>
                  <a:gd name="connsiteX754" fmla="*/ 1118083 w 2081801"/>
                  <a:gd name="connsiteY754" fmla="*/ 703139 h 2563305"/>
                  <a:gd name="connsiteX755" fmla="*/ 1101089 w 2081801"/>
                  <a:gd name="connsiteY755" fmla="*/ 778197 h 2563305"/>
                  <a:gd name="connsiteX756" fmla="*/ 1292275 w 2081801"/>
                  <a:gd name="connsiteY756" fmla="*/ 952388 h 2563305"/>
                  <a:gd name="connsiteX757" fmla="*/ 1293691 w 2081801"/>
                  <a:gd name="connsiteY757" fmla="*/ 922648 h 2563305"/>
                  <a:gd name="connsiteX758" fmla="*/ 1316350 w 2081801"/>
                  <a:gd name="connsiteY758" fmla="*/ 933978 h 2563305"/>
                  <a:gd name="connsiteX759" fmla="*/ 1313518 w 2081801"/>
                  <a:gd name="connsiteY759" fmla="*/ 948140 h 2563305"/>
                  <a:gd name="connsiteX760" fmla="*/ 1292275 w 2081801"/>
                  <a:gd name="connsiteY760" fmla="*/ 952388 h 2563305"/>
                  <a:gd name="connsiteX761" fmla="*/ 1279529 w 2081801"/>
                  <a:gd name="connsiteY761" fmla="*/ 1150655 h 2563305"/>
                  <a:gd name="connsiteX762" fmla="*/ 1280945 w 2081801"/>
                  <a:gd name="connsiteY762" fmla="*/ 1146406 h 2563305"/>
                  <a:gd name="connsiteX763" fmla="*/ 1297940 w 2081801"/>
                  <a:gd name="connsiteY763" fmla="*/ 1149239 h 2563305"/>
                  <a:gd name="connsiteX764" fmla="*/ 1279529 w 2081801"/>
                  <a:gd name="connsiteY764" fmla="*/ 1150655 h 2563305"/>
                  <a:gd name="connsiteX765" fmla="*/ 1204471 w 2081801"/>
                  <a:gd name="connsiteY765" fmla="*/ 966550 h 2563305"/>
                  <a:gd name="connsiteX766" fmla="*/ 1200222 w 2081801"/>
                  <a:gd name="connsiteY766" fmla="*/ 973631 h 2563305"/>
                  <a:gd name="connsiteX767" fmla="*/ 1091176 w 2081801"/>
                  <a:gd name="connsiteY767" fmla="*/ 999122 h 2563305"/>
                  <a:gd name="connsiteX768" fmla="*/ 1113835 w 2081801"/>
                  <a:gd name="connsiteY768" fmla="*/ 953804 h 2563305"/>
                  <a:gd name="connsiteX769" fmla="*/ 1204471 w 2081801"/>
                  <a:gd name="connsiteY769" fmla="*/ 966550 h 2563305"/>
                  <a:gd name="connsiteX770" fmla="*/ 1265367 w 2081801"/>
                  <a:gd name="connsiteY770" fmla="*/ 905654 h 2563305"/>
                  <a:gd name="connsiteX771" fmla="*/ 1265367 w 2081801"/>
                  <a:gd name="connsiteY771" fmla="*/ 905654 h 2563305"/>
                  <a:gd name="connsiteX772" fmla="*/ 1246957 w 2081801"/>
                  <a:gd name="connsiteY772" fmla="*/ 905654 h 2563305"/>
                  <a:gd name="connsiteX773" fmla="*/ 1293691 w 2081801"/>
                  <a:gd name="connsiteY773" fmla="*/ 836261 h 2563305"/>
                  <a:gd name="connsiteX774" fmla="*/ 1290859 w 2081801"/>
                  <a:gd name="connsiteY774" fmla="*/ 916984 h 2563305"/>
                  <a:gd name="connsiteX775" fmla="*/ 1265367 w 2081801"/>
                  <a:gd name="connsiteY775" fmla="*/ 905654 h 2563305"/>
                  <a:gd name="connsiteX776" fmla="*/ 1220049 w 2081801"/>
                  <a:gd name="connsiteY776" fmla="*/ 969383 h 2563305"/>
                  <a:gd name="connsiteX777" fmla="*/ 1203055 w 2081801"/>
                  <a:gd name="connsiteY777" fmla="*/ 972215 h 2563305"/>
                  <a:gd name="connsiteX778" fmla="*/ 1207303 w 2081801"/>
                  <a:gd name="connsiteY778" fmla="*/ 966550 h 2563305"/>
                  <a:gd name="connsiteX779" fmla="*/ 1220049 w 2081801"/>
                  <a:gd name="connsiteY779" fmla="*/ 969383 h 2563305"/>
                  <a:gd name="connsiteX780" fmla="*/ 1289443 w 2081801"/>
                  <a:gd name="connsiteY780" fmla="*/ 955221 h 2563305"/>
                  <a:gd name="connsiteX781" fmla="*/ 1289443 w 2081801"/>
                  <a:gd name="connsiteY781" fmla="*/ 977880 h 2563305"/>
                  <a:gd name="connsiteX782" fmla="*/ 1231379 w 2081801"/>
                  <a:gd name="connsiteY782" fmla="*/ 969383 h 2563305"/>
                  <a:gd name="connsiteX783" fmla="*/ 1289443 w 2081801"/>
                  <a:gd name="connsiteY783" fmla="*/ 955221 h 2563305"/>
                  <a:gd name="connsiteX784" fmla="*/ 1289443 w 2081801"/>
                  <a:gd name="connsiteY784" fmla="*/ 952388 h 2563305"/>
                  <a:gd name="connsiteX785" fmla="*/ 1224298 w 2081801"/>
                  <a:gd name="connsiteY785" fmla="*/ 966550 h 2563305"/>
                  <a:gd name="connsiteX786" fmla="*/ 1207303 w 2081801"/>
                  <a:gd name="connsiteY786" fmla="*/ 963718 h 2563305"/>
                  <a:gd name="connsiteX787" fmla="*/ 1244124 w 2081801"/>
                  <a:gd name="connsiteY787" fmla="*/ 907070 h 2563305"/>
                  <a:gd name="connsiteX788" fmla="*/ 1262535 w 2081801"/>
                  <a:gd name="connsiteY788" fmla="*/ 907070 h 2563305"/>
                  <a:gd name="connsiteX789" fmla="*/ 1289443 w 2081801"/>
                  <a:gd name="connsiteY789" fmla="*/ 919816 h 2563305"/>
                  <a:gd name="connsiteX790" fmla="*/ 1289443 w 2081801"/>
                  <a:gd name="connsiteY790" fmla="*/ 952388 h 2563305"/>
                  <a:gd name="connsiteX791" fmla="*/ 1242708 w 2081801"/>
                  <a:gd name="connsiteY791" fmla="*/ 908486 h 2563305"/>
                  <a:gd name="connsiteX792" fmla="*/ 1205887 w 2081801"/>
                  <a:gd name="connsiteY792" fmla="*/ 963718 h 2563305"/>
                  <a:gd name="connsiteX793" fmla="*/ 1115251 w 2081801"/>
                  <a:gd name="connsiteY793" fmla="*/ 949556 h 2563305"/>
                  <a:gd name="connsiteX794" fmla="*/ 1135078 w 2081801"/>
                  <a:gd name="connsiteY794" fmla="*/ 911319 h 2563305"/>
                  <a:gd name="connsiteX795" fmla="*/ 1242708 w 2081801"/>
                  <a:gd name="connsiteY795" fmla="*/ 908486 h 2563305"/>
                  <a:gd name="connsiteX796" fmla="*/ 1195974 w 2081801"/>
                  <a:gd name="connsiteY796" fmla="*/ 1126580 h 2563305"/>
                  <a:gd name="connsiteX797" fmla="*/ 1103921 w 2081801"/>
                  <a:gd name="connsiteY797" fmla="*/ 1120915 h 2563305"/>
                  <a:gd name="connsiteX798" fmla="*/ 1200222 w 2081801"/>
                  <a:gd name="connsiteY798" fmla="*/ 976464 h 2563305"/>
                  <a:gd name="connsiteX799" fmla="*/ 1224298 w 2081801"/>
                  <a:gd name="connsiteY799" fmla="*/ 970799 h 2563305"/>
                  <a:gd name="connsiteX800" fmla="*/ 1289443 w 2081801"/>
                  <a:gd name="connsiteY800" fmla="*/ 980712 h 2563305"/>
                  <a:gd name="connsiteX801" fmla="*/ 1289443 w 2081801"/>
                  <a:gd name="connsiteY801" fmla="*/ 980712 h 2563305"/>
                  <a:gd name="connsiteX802" fmla="*/ 1289443 w 2081801"/>
                  <a:gd name="connsiteY802" fmla="*/ 955221 h 2563305"/>
                  <a:gd name="connsiteX803" fmla="*/ 1310685 w 2081801"/>
                  <a:gd name="connsiteY803" fmla="*/ 950972 h 2563305"/>
                  <a:gd name="connsiteX804" fmla="*/ 1276697 w 2081801"/>
                  <a:gd name="connsiteY804" fmla="*/ 1144990 h 2563305"/>
                  <a:gd name="connsiteX805" fmla="*/ 1195974 w 2081801"/>
                  <a:gd name="connsiteY805" fmla="*/ 1126580 h 2563305"/>
                  <a:gd name="connsiteX806" fmla="*/ 1054355 w 2081801"/>
                  <a:gd name="connsiteY806" fmla="*/ 1119499 h 2563305"/>
                  <a:gd name="connsiteX807" fmla="*/ 1071349 w 2081801"/>
                  <a:gd name="connsiteY807" fmla="*/ 1166233 h 2563305"/>
                  <a:gd name="connsiteX808" fmla="*/ 1068517 w 2081801"/>
                  <a:gd name="connsiteY808" fmla="*/ 1170482 h 2563305"/>
                  <a:gd name="connsiteX809" fmla="*/ 1000540 w 2081801"/>
                  <a:gd name="connsiteY809" fmla="*/ 1176146 h 2563305"/>
                  <a:gd name="connsiteX810" fmla="*/ 1030279 w 2081801"/>
                  <a:gd name="connsiteY810" fmla="*/ 1116666 h 2563305"/>
                  <a:gd name="connsiteX811" fmla="*/ 1054355 w 2081801"/>
                  <a:gd name="connsiteY811" fmla="*/ 1119499 h 2563305"/>
                  <a:gd name="connsiteX812" fmla="*/ 1198806 w 2081801"/>
                  <a:gd name="connsiteY812" fmla="*/ 976464 h 2563305"/>
                  <a:gd name="connsiteX813" fmla="*/ 1102505 w 2081801"/>
                  <a:gd name="connsiteY813" fmla="*/ 1120915 h 2563305"/>
                  <a:gd name="connsiteX814" fmla="*/ 1055771 w 2081801"/>
                  <a:gd name="connsiteY814" fmla="*/ 1118083 h 2563305"/>
                  <a:gd name="connsiteX815" fmla="*/ 1045857 w 2081801"/>
                  <a:gd name="connsiteY815" fmla="*/ 1089759 h 2563305"/>
                  <a:gd name="connsiteX816" fmla="*/ 1091176 w 2081801"/>
                  <a:gd name="connsiteY816" fmla="*/ 1001955 h 2563305"/>
                  <a:gd name="connsiteX817" fmla="*/ 1198806 w 2081801"/>
                  <a:gd name="connsiteY817" fmla="*/ 976464 h 2563305"/>
                  <a:gd name="connsiteX818" fmla="*/ 1031696 w 2081801"/>
                  <a:gd name="connsiteY818" fmla="*/ 1115250 h 2563305"/>
                  <a:gd name="connsiteX819" fmla="*/ 1044441 w 2081801"/>
                  <a:gd name="connsiteY819" fmla="*/ 1091175 h 2563305"/>
                  <a:gd name="connsiteX820" fmla="*/ 1052938 w 2081801"/>
                  <a:gd name="connsiteY820" fmla="*/ 1116666 h 2563305"/>
                  <a:gd name="connsiteX821" fmla="*/ 1031696 w 2081801"/>
                  <a:gd name="connsiteY821" fmla="*/ 1115250 h 2563305"/>
                  <a:gd name="connsiteX822" fmla="*/ 1088343 w 2081801"/>
                  <a:gd name="connsiteY822" fmla="*/ 1000539 h 2563305"/>
                  <a:gd name="connsiteX823" fmla="*/ 1045857 w 2081801"/>
                  <a:gd name="connsiteY823" fmla="*/ 1085510 h 2563305"/>
                  <a:gd name="connsiteX824" fmla="*/ 1020366 w 2081801"/>
                  <a:gd name="connsiteY824" fmla="*/ 1016117 h 2563305"/>
                  <a:gd name="connsiteX825" fmla="*/ 1088343 w 2081801"/>
                  <a:gd name="connsiteY825" fmla="*/ 1000539 h 2563305"/>
                  <a:gd name="connsiteX826" fmla="*/ 1088343 w 2081801"/>
                  <a:gd name="connsiteY826" fmla="*/ 999122 h 2563305"/>
                  <a:gd name="connsiteX827" fmla="*/ 1016117 w 2081801"/>
                  <a:gd name="connsiteY827" fmla="*/ 1016117 h 2563305"/>
                  <a:gd name="connsiteX828" fmla="*/ 1016117 w 2081801"/>
                  <a:gd name="connsiteY828" fmla="*/ 1016117 h 2563305"/>
                  <a:gd name="connsiteX829" fmla="*/ 1043025 w 2081801"/>
                  <a:gd name="connsiteY829" fmla="*/ 1089759 h 2563305"/>
                  <a:gd name="connsiteX830" fmla="*/ 1030279 w 2081801"/>
                  <a:gd name="connsiteY830" fmla="*/ 1116666 h 2563305"/>
                  <a:gd name="connsiteX831" fmla="*/ 946724 w 2081801"/>
                  <a:gd name="connsiteY831" fmla="*/ 1111002 h 2563305"/>
                  <a:gd name="connsiteX832" fmla="*/ 948140 w 2081801"/>
                  <a:gd name="connsiteY832" fmla="*/ 929729 h 2563305"/>
                  <a:gd name="connsiteX833" fmla="*/ 1113835 w 2081801"/>
                  <a:gd name="connsiteY833" fmla="*/ 953804 h 2563305"/>
                  <a:gd name="connsiteX834" fmla="*/ 1088343 w 2081801"/>
                  <a:gd name="connsiteY834" fmla="*/ 999122 h 2563305"/>
                  <a:gd name="connsiteX835" fmla="*/ 1101089 w 2081801"/>
                  <a:gd name="connsiteY835" fmla="*/ 1122331 h 2563305"/>
                  <a:gd name="connsiteX836" fmla="*/ 1072765 w 2081801"/>
                  <a:gd name="connsiteY836" fmla="*/ 1164817 h 2563305"/>
                  <a:gd name="connsiteX837" fmla="*/ 1055771 w 2081801"/>
                  <a:gd name="connsiteY837" fmla="*/ 1119499 h 2563305"/>
                  <a:gd name="connsiteX838" fmla="*/ 1101089 w 2081801"/>
                  <a:gd name="connsiteY838" fmla="*/ 1122331 h 2563305"/>
                  <a:gd name="connsiteX839" fmla="*/ 1102505 w 2081801"/>
                  <a:gd name="connsiteY839" fmla="*/ 1122331 h 2563305"/>
                  <a:gd name="connsiteX840" fmla="*/ 1195974 w 2081801"/>
                  <a:gd name="connsiteY840" fmla="*/ 1129412 h 2563305"/>
                  <a:gd name="connsiteX841" fmla="*/ 1279529 w 2081801"/>
                  <a:gd name="connsiteY841" fmla="*/ 1146406 h 2563305"/>
                  <a:gd name="connsiteX842" fmla="*/ 1278113 w 2081801"/>
                  <a:gd name="connsiteY842" fmla="*/ 1152071 h 2563305"/>
                  <a:gd name="connsiteX843" fmla="*/ 1074181 w 2081801"/>
                  <a:gd name="connsiteY843" fmla="*/ 1170482 h 2563305"/>
                  <a:gd name="connsiteX844" fmla="*/ 1072765 w 2081801"/>
                  <a:gd name="connsiteY844" fmla="*/ 1167649 h 2563305"/>
                  <a:gd name="connsiteX845" fmla="*/ 1102505 w 2081801"/>
                  <a:gd name="connsiteY845" fmla="*/ 1122331 h 2563305"/>
                  <a:gd name="connsiteX846" fmla="*/ 1296524 w 2081801"/>
                  <a:gd name="connsiteY846" fmla="*/ 680480 h 2563305"/>
                  <a:gd name="connsiteX847" fmla="*/ 1132245 w 2081801"/>
                  <a:gd name="connsiteY847" fmla="*/ 697474 h 2563305"/>
                  <a:gd name="connsiteX848" fmla="*/ 1123748 w 2081801"/>
                  <a:gd name="connsiteY848" fmla="*/ 688977 h 2563305"/>
                  <a:gd name="connsiteX849" fmla="*/ 1143575 w 2081801"/>
                  <a:gd name="connsiteY849" fmla="*/ 604005 h 2563305"/>
                  <a:gd name="connsiteX850" fmla="*/ 1169066 w 2081801"/>
                  <a:gd name="connsiteY850" fmla="*/ 592676 h 2563305"/>
                  <a:gd name="connsiteX851" fmla="*/ 1227130 w 2081801"/>
                  <a:gd name="connsiteY851" fmla="*/ 595508 h 2563305"/>
                  <a:gd name="connsiteX852" fmla="*/ 1297940 w 2081801"/>
                  <a:gd name="connsiteY852" fmla="*/ 654988 h 2563305"/>
                  <a:gd name="connsiteX853" fmla="*/ 1296524 w 2081801"/>
                  <a:gd name="connsiteY853" fmla="*/ 680480 h 2563305"/>
                  <a:gd name="connsiteX854" fmla="*/ 1144991 w 2081801"/>
                  <a:gd name="connsiteY854" fmla="*/ 591260 h 2563305"/>
                  <a:gd name="connsiteX855" fmla="*/ 1142159 w 2081801"/>
                  <a:gd name="connsiteY855" fmla="*/ 602589 h 2563305"/>
                  <a:gd name="connsiteX856" fmla="*/ 1069933 w 2081801"/>
                  <a:gd name="connsiteY856" fmla="*/ 635161 h 2563305"/>
                  <a:gd name="connsiteX857" fmla="*/ 1040193 w 2081801"/>
                  <a:gd name="connsiteY857" fmla="*/ 606838 h 2563305"/>
                  <a:gd name="connsiteX858" fmla="*/ 1034528 w 2081801"/>
                  <a:gd name="connsiteY858" fmla="*/ 584179 h 2563305"/>
                  <a:gd name="connsiteX859" fmla="*/ 1144991 w 2081801"/>
                  <a:gd name="connsiteY859" fmla="*/ 591260 h 2563305"/>
                  <a:gd name="connsiteX860" fmla="*/ 510537 w 2081801"/>
                  <a:gd name="connsiteY860" fmla="*/ 555855 h 2563305"/>
                  <a:gd name="connsiteX861" fmla="*/ 798024 w 2081801"/>
                  <a:gd name="connsiteY861" fmla="*/ 572849 h 2563305"/>
                  <a:gd name="connsiteX862" fmla="*/ 827764 w 2081801"/>
                  <a:gd name="connsiteY862" fmla="*/ 595508 h 2563305"/>
                  <a:gd name="connsiteX863" fmla="*/ 762619 w 2081801"/>
                  <a:gd name="connsiteY863" fmla="*/ 657821 h 2563305"/>
                  <a:gd name="connsiteX864" fmla="*/ 510537 w 2081801"/>
                  <a:gd name="connsiteY864" fmla="*/ 555855 h 2563305"/>
                  <a:gd name="connsiteX865" fmla="*/ 679064 w 2081801"/>
                  <a:gd name="connsiteY865" fmla="*/ 850422 h 2563305"/>
                  <a:gd name="connsiteX866" fmla="*/ 686145 w 2081801"/>
                  <a:gd name="connsiteY866" fmla="*/ 888660 h 2563305"/>
                  <a:gd name="connsiteX867" fmla="*/ 686145 w 2081801"/>
                  <a:gd name="connsiteY867" fmla="*/ 888660 h 2563305"/>
                  <a:gd name="connsiteX868" fmla="*/ 772533 w 2081801"/>
                  <a:gd name="connsiteY868" fmla="*/ 901405 h 2563305"/>
                  <a:gd name="connsiteX869" fmla="*/ 677648 w 2081801"/>
                  <a:gd name="connsiteY869" fmla="*/ 909903 h 2563305"/>
                  <a:gd name="connsiteX870" fmla="*/ 637995 w 2081801"/>
                  <a:gd name="connsiteY870" fmla="*/ 856087 h 2563305"/>
                  <a:gd name="connsiteX871" fmla="*/ 679064 w 2081801"/>
                  <a:gd name="connsiteY871" fmla="*/ 850422 h 2563305"/>
                  <a:gd name="connsiteX872" fmla="*/ 1071349 w 2081801"/>
                  <a:gd name="connsiteY872" fmla="*/ 1170482 h 2563305"/>
                  <a:gd name="connsiteX873" fmla="*/ 1072765 w 2081801"/>
                  <a:gd name="connsiteY873" fmla="*/ 1169065 h 2563305"/>
                  <a:gd name="connsiteX874" fmla="*/ 1072765 w 2081801"/>
                  <a:gd name="connsiteY874" fmla="*/ 1170482 h 2563305"/>
                  <a:gd name="connsiteX875" fmla="*/ 1071349 w 2081801"/>
                  <a:gd name="connsiteY875" fmla="*/ 1170482 h 2563305"/>
                  <a:gd name="connsiteX876" fmla="*/ 1402738 w 2081801"/>
                  <a:gd name="connsiteY876" fmla="*/ 1193141 h 2563305"/>
                  <a:gd name="connsiteX877" fmla="*/ 1409819 w 2081801"/>
                  <a:gd name="connsiteY877" fmla="*/ 1171898 h 2563305"/>
                  <a:gd name="connsiteX878" fmla="*/ 1443807 w 2081801"/>
                  <a:gd name="connsiteY878" fmla="*/ 1178979 h 2563305"/>
                  <a:gd name="connsiteX879" fmla="*/ 1402738 w 2081801"/>
                  <a:gd name="connsiteY879" fmla="*/ 1193141 h 2563305"/>
                  <a:gd name="connsiteX880" fmla="*/ 1347507 w 2081801"/>
                  <a:gd name="connsiteY880" fmla="*/ 748457 h 2563305"/>
                  <a:gd name="connsiteX881" fmla="*/ 1346090 w 2081801"/>
                  <a:gd name="connsiteY881" fmla="*/ 752705 h 2563305"/>
                  <a:gd name="connsiteX882" fmla="*/ 1293691 w 2081801"/>
                  <a:gd name="connsiteY882" fmla="*/ 830596 h 2563305"/>
                  <a:gd name="connsiteX883" fmla="*/ 1295107 w 2081801"/>
                  <a:gd name="connsiteY883" fmla="*/ 754122 h 2563305"/>
                  <a:gd name="connsiteX884" fmla="*/ 1347507 w 2081801"/>
                  <a:gd name="connsiteY884" fmla="*/ 748457 h 2563305"/>
                  <a:gd name="connsiteX885" fmla="*/ 1144991 w 2081801"/>
                  <a:gd name="connsiteY885" fmla="*/ 602589 h 2563305"/>
                  <a:gd name="connsiteX886" fmla="*/ 1147823 w 2081801"/>
                  <a:gd name="connsiteY886" fmla="*/ 592676 h 2563305"/>
                  <a:gd name="connsiteX887" fmla="*/ 1166234 w 2081801"/>
                  <a:gd name="connsiteY887" fmla="*/ 594092 h 2563305"/>
                  <a:gd name="connsiteX888" fmla="*/ 1144991 w 2081801"/>
                  <a:gd name="connsiteY888" fmla="*/ 602589 h 2563305"/>
                  <a:gd name="connsiteX889" fmla="*/ 901406 w 2081801"/>
                  <a:gd name="connsiteY889" fmla="*/ 711636 h 2563305"/>
                  <a:gd name="connsiteX890" fmla="*/ 765452 w 2081801"/>
                  <a:gd name="connsiteY890" fmla="*/ 657821 h 2563305"/>
                  <a:gd name="connsiteX891" fmla="*/ 832012 w 2081801"/>
                  <a:gd name="connsiteY891" fmla="*/ 595508 h 2563305"/>
                  <a:gd name="connsiteX892" fmla="*/ 832012 w 2081801"/>
                  <a:gd name="connsiteY892" fmla="*/ 595508 h 2563305"/>
                  <a:gd name="connsiteX893" fmla="*/ 802273 w 2081801"/>
                  <a:gd name="connsiteY893" fmla="*/ 572849 h 2563305"/>
                  <a:gd name="connsiteX894" fmla="*/ 1011869 w 2081801"/>
                  <a:gd name="connsiteY894" fmla="*/ 584179 h 2563305"/>
                  <a:gd name="connsiteX895" fmla="*/ 1037360 w 2081801"/>
                  <a:gd name="connsiteY895" fmla="*/ 608254 h 2563305"/>
                  <a:gd name="connsiteX896" fmla="*/ 1045857 w 2081801"/>
                  <a:gd name="connsiteY896" fmla="*/ 645075 h 2563305"/>
                  <a:gd name="connsiteX897" fmla="*/ 901406 w 2081801"/>
                  <a:gd name="connsiteY897" fmla="*/ 711636 h 2563305"/>
                  <a:gd name="connsiteX898" fmla="*/ 1000540 w 2081801"/>
                  <a:gd name="connsiteY898" fmla="*/ 1317765 h 2563305"/>
                  <a:gd name="connsiteX899" fmla="*/ 1000540 w 2081801"/>
                  <a:gd name="connsiteY899" fmla="*/ 1317765 h 2563305"/>
                  <a:gd name="connsiteX900" fmla="*/ 992042 w 2081801"/>
                  <a:gd name="connsiteY900" fmla="*/ 1289442 h 2563305"/>
                  <a:gd name="connsiteX901" fmla="*/ 1069933 w 2081801"/>
                  <a:gd name="connsiteY901" fmla="*/ 1171898 h 2563305"/>
                  <a:gd name="connsiteX902" fmla="*/ 1072765 w 2081801"/>
                  <a:gd name="connsiteY902" fmla="*/ 1171898 h 2563305"/>
                  <a:gd name="connsiteX903" fmla="*/ 1120916 w 2081801"/>
                  <a:gd name="connsiteY903" fmla="*/ 1305020 h 2563305"/>
                  <a:gd name="connsiteX904" fmla="*/ 1050106 w 2081801"/>
                  <a:gd name="connsiteY904" fmla="*/ 1360251 h 2563305"/>
                  <a:gd name="connsiteX905" fmla="*/ 990626 w 2081801"/>
                  <a:gd name="connsiteY905" fmla="*/ 1343257 h 2563305"/>
                  <a:gd name="connsiteX906" fmla="*/ 1000540 w 2081801"/>
                  <a:gd name="connsiteY906" fmla="*/ 1317765 h 2563305"/>
                  <a:gd name="connsiteX907" fmla="*/ 1054355 w 2081801"/>
                  <a:gd name="connsiteY907" fmla="*/ 1361667 h 2563305"/>
                  <a:gd name="connsiteX908" fmla="*/ 1122332 w 2081801"/>
                  <a:gd name="connsiteY908" fmla="*/ 1307852 h 2563305"/>
                  <a:gd name="connsiteX909" fmla="*/ 1152072 w 2081801"/>
                  <a:gd name="connsiteY909" fmla="*/ 1389991 h 2563305"/>
                  <a:gd name="connsiteX910" fmla="*/ 1054355 w 2081801"/>
                  <a:gd name="connsiteY910" fmla="*/ 1361667 h 2563305"/>
                  <a:gd name="connsiteX911" fmla="*/ 1351755 w 2081801"/>
                  <a:gd name="connsiteY911" fmla="*/ 1283777 h 2563305"/>
                  <a:gd name="connsiteX912" fmla="*/ 1269616 w 2081801"/>
                  <a:gd name="connsiteY912" fmla="*/ 1242707 h 2563305"/>
                  <a:gd name="connsiteX913" fmla="*/ 1399905 w 2081801"/>
                  <a:gd name="connsiteY913" fmla="*/ 1195973 h 2563305"/>
                  <a:gd name="connsiteX914" fmla="*/ 1380079 w 2081801"/>
                  <a:gd name="connsiteY914" fmla="*/ 1252621 h 2563305"/>
                  <a:gd name="connsiteX915" fmla="*/ 1351755 w 2081801"/>
                  <a:gd name="connsiteY915" fmla="*/ 1283777 h 2563305"/>
                  <a:gd name="connsiteX916" fmla="*/ 1446640 w 2081801"/>
                  <a:gd name="connsiteY916" fmla="*/ 1178979 h 2563305"/>
                  <a:gd name="connsiteX917" fmla="*/ 1384327 w 2081801"/>
                  <a:gd name="connsiteY917" fmla="*/ 1248372 h 2563305"/>
                  <a:gd name="connsiteX918" fmla="*/ 1402738 w 2081801"/>
                  <a:gd name="connsiteY918" fmla="*/ 1194557 h 2563305"/>
                  <a:gd name="connsiteX919" fmla="*/ 1446640 w 2081801"/>
                  <a:gd name="connsiteY919" fmla="*/ 1178979 h 2563305"/>
                  <a:gd name="connsiteX920" fmla="*/ 1146407 w 2081801"/>
                  <a:gd name="connsiteY920" fmla="*/ 589843 h 2563305"/>
                  <a:gd name="connsiteX921" fmla="*/ 1157737 w 2081801"/>
                  <a:gd name="connsiteY921" fmla="*/ 538860 h 2563305"/>
                  <a:gd name="connsiteX922" fmla="*/ 1201639 w 2081801"/>
                  <a:gd name="connsiteY922" fmla="*/ 575682 h 2563305"/>
                  <a:gd name="connsiteX923" fmla="*/ 1167650 w 2081801"/>
                  <a:gd name="connsiteY923" fmla="*/ 591260 h 2563305"/>
                  <a:gd name="connsiteX924" fmla="*/ 1146407 w 2081801"/>
                  <a:gd name="connsiteY924" fmla="*/ 589843 h 2563305"/>
                  <a:gd name="connsiteX925" fmla="*/ 799440 w 2081801"/>
                  <a:gd name="connsiteY925" fmla="*/ 570017 h 2563305"/>
                  <a:gd name="connsiteX926" fmla="*/ 662069 w 2081801"/>
                  <a:gd name="connsiteY926" fmla="*/ 465219 h 2563305"/>
                  <a:gd name="connsiteX927" fmla="*/ 812186 w 2081801"/>
                  <a:gd name="connsiteY927" fmla="*/ 388744 h 2563305"/>
                  <a:gd name="connsiteX928" fmla="*/ 1010453 w 2081801"/>
                  <a:gd name="connsiteY928" fmla="*/ 581346 h 2563305"/>
                  <a:gd name="connsiteX929" fmla="*/ 799440 w 2081801"/>
                  <a:gd name="connsiteY929" fmla="*/ 570017 h 2563305"/>
                  <a:gd name="connsiteX930" fmla="*/ 492127 w 2081801"/>
                  <a:gd name="connsiteY930" fmla="*/ 550190 h 2563305"/>
                  <a:gd name="connsiteX931" fmla="*/ 483630 w 2081801"/>
                  <a:gd name="connsiteY931" fmla="*/ 554439 h 2563305"/>
                  <a:gd name="connsiteX932" fmla="*/ 504873 w 2081801"/>
                  <a:gd name="connsiteY932" fmla="*/ 555855 h 2563305"/>
                  <a:gd name="connsiteX933" fmla="*/ 762619 w 2081801"/>
                  <a:gd name="connsiteY933" fmla="*/ 659237 h 2563305"/>
                  <a:gd name="connsiteX934" fmla="*/ 681897 w 2081801"/>
                  <a:gd name="connsiteY934" fmla="*/ 735711 h 2563305"/>
                  <a:gd name="connsiteX935" fmla="*/ 659237 w 2081801"/>
                  <a:gd name="connsiteY935" fmla="*/ 730046 h 2563305"/>
                  <a:gd name="connsiteX936" fmla="*/ 639411 w 2081801"/>
                  <a:gd name="connsiteY936" fmla="*/ 621000 h 2563305"/>
                  <a:gd name="connsiteX937" fmla="*/ 639411 w 2081801"/>
                  <a:gd name="connsiteY937" fmla="*/ 621000 h 2563305"/>
                  <a:gd name="connsiteX938" fmla="*/ 509121 w 2081801"/>
                  <a:gd name="connsiteY938" fmla="*/ 659237 h 2563305"/>
                  <a:gd name="connsiteX939" fmla="*/ 452473 w 2081801"/>
                  <a:gd name="connsiteY939" fmla="*/ 534612 h 2563305"/>
                  <a:gd name="connsiteX940" fmla="*/ 492127 w 2081801"/>
                  <a:gd name="connsiteY940" fmla="*/ 550190 h 2563305"/>
                  <a:gd name="connsiteX941" fmla="*/ 657821 w 2081801"/>
                  <a:gd name="connsiteY941" fmla="*/ 731462 h 2563305"/>
                  <a:gd name="connsiteX942" fmla="*/ 679064 w 2081801"/>
                  <a:gd name="connsiteY942" fmla="*/ 847590 h 2563305"/>
                  <a:gd name="connsiteX943" fmla="*/ 636578 w 2081801"/>
                  <a:gd name="connsiteY943" fmla="*/ 854671 h 2563305"/>
                  <a:gd name="connsiteX944" fmla="*/ 543110 w 2081801"/>
                  <a:gd name="connsiteY944" fmla="*/ 730046 h 2563305"/>
                  <a:gd name="connsiteX945" fmla="*/ 530364 w 2081801"/>
                  <a:gd name="connsiteY945" fmla="*/ 701722 h 2563305"/>
                  <a:gd name="connsiteX946" fmla="*/ 657821 w 2081801"/>
                  <a:gd name="connsiteY946" fmla="*/ 731462 h 2563305"/>
                  <a:gd name="connsiteX947" fmla="*/ 691810 w 2081801"/>
                  <a:gd name="connsiteY947" fmla="*/ 931145 h 2563305"/>
                  <a:gd name="connsiteX948" fmla="*/ 691810 w 2081801"/>
                  <a:gd name="connsiteY948" fmla="*/ 931145 h 2563305"/>
                  <a:gd name="connsiteX949" fmla="*/ 677648 w 2081801"/>
                  <a:gd name="connsiteY949" fmla="*/ 912735 h 2563305"/>
                  <a:gd name="connsiteX950" fmla="*/ 779614 w 2081801"/>
                  <a:gd name="connsiteY950" fmla="*/ 902822 h 2563305"/>
                  <a:gd name="connsiteX951" fmla="*/ 943892 w 2081801"/>
                  <a:gd name="connsiteY951" fmla="*/ 926897 h 2563305"/>
                  <a:gd name="connsiteX952" fmla="*/ 942476 w 2081801"/>
                  <a:gd name="connsiteY952" fmla="*/ 1108169 h 2563305"/>
                  <a:gd name="connsiteX953" fmla="*/ 705972 w 2081801"/>
                  <a:gd name="connsiteY953" fmla="*/ 1091175 h 2563305"/>
                  <a:gd name="connsiteX954" fmla="*/ 633746 w 2081801"/>
                  <a:gd name="connsiteY954" fmla="*/ 935394 h 2563305"/>
                  <a:gd name="connsiteX955" fmla="*/ 691810 w 2081801"/>
                  <a:gd name="connsiteY955" fmla="*/ 931145 h 2563305"/>
                  <a:gd name="connsiteX956" fmla="*/ 946724 w 2081801"/>
                  <a:gd name="connsiteY956" fmla="*/ 1111002 h 2563305"/>
                  <a:gd name="connsiteX957" fmla="*/ 1028863 w 2081801"/>
                  <a:gd name="connsiteY957" fmla="*/ 1116666 h 2563305"/>
                  <a:gd name="connsiteX958" fmla="*/ 997707 w 2081801"/>
                  <a:gd name="connsiteY958" fmla="*/ 1177563 h 2563305"/>
                  <a:gd name="connsiteX959" fmla="*/ 997707 w 2081801"/>
                  <a:gd name="connsiteY959" fmla="*/ 1177563 h 2563305"/>
                  <a:gd name="connsiteX960" fmla="*/ 1067100 w 2081801"/>
                  <a:gd name="connsiteY960" fmla="*/ 1170482 h 2563305"/>
                  <a:gd name="connsiteX961" fmla="*/ 990626 w 2081801"/>
                  <a:gd name="connsiteY961" fmla="*/ 1285193 h 2563305"/>
                  <a:gd name="connsiteX962" fmla="*/ 962302 w 2081801"/>
                  <a:gd name="connsiteY962" fmla="*/ 1188892 h 2563305"/>
                  <a:gd name="connsiteX963" fmla="*/ 962302 w 2081801"/>
                  <a:gd name="connsiteY963" fmla="*/ 1188892 h 2563305"/>
                  <a:gd name="connsiteX964" fmla="*/ 945308 w 2081801"/>
                  <a:gd name="connsiteY964" fmla="*/ 1188892 h 2563305"/>
                  <a:gd name="connsiteX965" fmla="*/ 946724 w 2081801"/>
                  <a:gd name="connsiteY965" fmla="*/ 1111002 h 2563305"/>
                  <a:gd name="connsiteX966" fmla="*/ 1153488 w 2081801"/>
                  <a:gd name="connsiteY966" fmla="*/ 1392824 h 2563305"/>
                  <a:gd name="connsiteX967" fmla="*/ 1161985 w 2081801"/>
                  <a:gd name="connsiteY967" fmla="*/ 1414067 h 2563305"/>
                  <a:gd name="connsiteX968" fmla="*/ 1011869 w 2081801"/>
                  <a:gd name="connsiteY968" fmla="*/ 1394240 h 2563305"/>
                  <a:gd name="connsiteX969" fmla="*/ 1051522 w 2081801"/>
                  <a:gd name="connsiteY969" fmla="*/ 1363084 h 2563305"/>
                  <a:gd name="connsiteX970" fmla="*/ 1153488 w 2081801"/>
                  <a:gd name="connsiteY970" fmla="*/ 1392824 h 2563305"/>
                  <a:gd name="connsiteX971" fmla="*/ 1113835 w 2081801"/>
                  <a:gd name="connsiteY971" fmla="*/ 1548605 h 2563305"/>
                  <a:gd name="connsiteX972" fmla="*/ 1181812 w 2081801"/>
                  <a:gd name="connsiteY972" fmla="*/ 1473546 h 2563305"/>
                  <a:gd name="connsiteX973" fmla="*/ 1214384 w 2081801"/>
                  <a:gd name="connsiteY973" fmla="*/ 1562767 h 2563305"/>
                  <a:gd name="connsiteX974" fmla="*/ 1113835 w 2081801"/>
                  <a:gd name="connsiteY974" fmla="*/ 1548605 h 2563305"/>
                  <a:gd name="connsiteX975" fmla="*/ 1228546 w 2081801"/>
                  <a:gd name="connsiteY975" fmla="*/ 1567015 h 2563305"/>
                  <a:gd name="connsiteX976" fmla="*/ 1225714 w 2081801"/>
                  <a:gd name="connsiteY976" fmla="*/ 1589674 h 2563305"/>
                  <a:gd name="connsiteX977" fmla="*/ 1217217 w 2081801"/>
                  <a:gd name="connsiteY977" fmla="*/ 1565599 h 2563305"/>
                  <a:gd name="connsiteX978" fmla="*/ 1228546 w 2081801"/>
                  <a:gd name="connsiteY978" fmla="*/ 1567015 h 2563305"/>
                  <a:gd name="connsiteX979" fmla="*/ 1251205 w 2081801"/>
                  <a:gd name="connsiteY979" fmla="*/ 1661900 h 2563305"/>
                  <a:gd name="connsiteX980" fmla="*/ 1280945 w 2081801"/>
                  <a:gd name="connsiteY980" fmla="*/ 1742623 h 2563305"/>
                  <a:gd name="connsiteX981" fmla="*/ 1212968 w 2081801"/>
                  <a:gd name="connsiteY981" fmla="*/ 1751120 h 2563305"/>
                  <a:gd name="connsiteX982" fmla="*/ 1221465 w 2081801"/>
                  <a:gd name="connsiteY982" fmla="*/ 1664732 h 2563305"/>
                  <a:gd name="connsiteX983" fmla="*/ 1251205 w 2081801"/>
                  <a:gd name="connsiteY983" fmla="*/ 1661900 h 2563305"/>
                  <a:gd name="connsiteX984" fmla="*/ 1368749 w 2081801"/>
                  <a:gd name="connsiteY984" fmla="*/ 1292274 h 2563305"/>
                  <a:gd name="connsiteX985" fmla="*/ 1382911 w 2081801"/>
                  <a:gd name="connsiteY985" fmla="*/ 1252621 h 2563305"/>
                  <a:gd name="connsiteX986" fmla="*/ 1450888 w 2081801"/>
                  <a:gd name="connsiteY986" fmla="*/ 1177563 h 2563305"/>
                  <a:gd name="connsiteX987" fmla="*/ 1586843 w 2081801"/>
                  <a:gd name="connsiteY987" fmla="*/ 1204470 h 2563305"/>
                  <a:gd name="connsiteX988" fmla="*/ 1423981 w 2081801"/>
                  <a:gd name="connsiteY988" fmla="*/ 1340425 h 2563305"/>
                  <a:gd name="connsiteX989" fmla="*/ 1394241 w 2081801"/>
                  <a:gd name="connsiteY989" fmla="*/ 1303604 h 2563305"/>
                  <a:gd name="connsiteX990" fmla="*/ 1368749 w 2081801"/>
                  <a:gd name="connsiteY990" fmla="*/ 1292274 h 2563305"/>
                  <a:gd name="connsiteX991" fmla="*/ 1449472 w 2081801"/>
                  <a:gd name="connsiteY991" fmla="*/ 1176146 h 2563305"/>
                  <a:gd name="connsiteX992" fmla="*/ 1411235 w 2081801"/>
                  <a:gd name="connsiteY992" fmla="*/ 1169065 h 2563305"/>
                  <a:gd name="connsiteX993" fmla="*/ 1421148 w 2081801"/>
                  <a:gd name="connsiteY993" fmla="*/ 1139326 h 2563305"/>
                  <a:gd name="connsiteX994" fmla="*/ 1487709 w 2081801"/>
                  <a:gd name="connsiteY994" fmla="*/ 1133661 h 2563305"/>
                  <a:gd name="connsiteX995" fmla="*/ 1449472 w 2081801"/>
                  <a:gd name="connsiteY995" fmla="*/ 1176146 h 2563305"/>
                  <a:gd name="connsiteX996" fmla="*/ 1449472 w 2081801"/>
                  <a:gd name="connsiteY996" fmla="*/ 1176146 h 2563305"/>
                  <a:gd name="connsiteX997" fmla="*/ 1422564 w 2081801"/>
                  <a:gd name="connsiteY997" fmla="*/ 1136493 h 2563305"/>
                  <a:gd name="connsiteX998" fmla="*/ 1455137 w 2081801"/>
                  <a:gd name="connsiteY998" fmla="*/ 1043024 h 2563305"/>
                  <a:gd name="connsiteX999" fmla="*/ 1455137 w 2081801"/>
                  <a:gd name="connsiteY999" fmla="*/ 1043024 h 2563305"/>
                  <a:gd name="connsiteX1000" fmla="*/ 1323431 w 2081801"/>
                  <a:gd name="connsiteY1000" fmla="*/ 1146406 h 2563305"/>
                  <a:gd name="connsiteX1001" fmla="*/ 1305021 w 2081801"/>
                  <a:gd name="connsiteY1001" fmla="*/ 1147823 h 2563305"/>
                  <a:gd name="connsiteX1002" fmla="*/ 1280945 w 2081801"/>
                  <a:gd name="connsiteY1002" fmla="*/ 1143574 h 2563305"/>
                  <a:gd name="connsiteX1003" fmla="*/ 1314934 w 2081801"/>
                  <a:gd name="connsiteY1003" fmla="*/ 949556 h 2563305"/>
                  <a:gd name="connsiteX1004" fmla="*/ 1337593 w 2081801"/>
                  <a:gd name="connsiteY1004" fmla="*/ 943891 h 2563305"/>
                  <a:gd name="connsiteX1005" fmla="*/ 1561351 w 2081801"/>
                  <a:gd name="connsiteY1005" fmla="*/ 1052938 h 2563305"/>
                  <a:gd name="connsiteX1006" fmla="*/ 1490541 w 2081801"/>
                  <a:gd name="connsiteY1006" fmla="*/ 1130828 h 2563305"/>
                  <a:gd name="connsiteX1007" fmla="*/ 1422564 w 2081801"/>
                  <a:gd name="connsiteY1007" fmla="*/ 1136493 h 2563305"/>
                  <a:gd name="connsiteX1008" fmla="*/ 1157737 w 2081801"/>
                  <a:gd name="connsiteY1008" fmla="*/ 536028 h 2563305"/>
                  <a:gd name="connsiteX1009" fmla="*/ 1095424 w 2081801"/>
                  <a:gd name="connsiteY1009" fmla="*/ 483629 h 2563305"/>
                  <a:gd name="connsiteX1010" fmla="*/ 992042 w 2081801"/>
                  <a:gd name="connsiteY1010" fmla="*/ 408571 h 2563305"/>
                  <a:gd name="connsiteX1011" fmla="*/ 992042 w 2081801"/>
                  <a:gd name="connsiteY1011" fmla="*/ 408571 h 2563305"/>
                  <a:gd name="connsiteX1012" fmla="*/ 1033112 w 2081801"/>
                  <a:gd name="connsiteY1012" fmla="*/ 584179 h 2563305"/>
                  <a:gd name="connsiteX1013" fmla="*/ 1014701 w 2081801"/>
                  <a:gd name="connsiteY1013" fmla="*/ 582762 h 2563305"/>
                  <a:gd name="connsiteX1014" fmla="*/ 815018 w 2081801"/>
                  <a:gd name="connsiteY1014" fmla="*/ 388744 h 2563305"/>
                  <a:gd name="connsiteX1015" fmla="*/ 884412 w 2081801"/>
                  <a:gd name="connsiteY1015" fmla="*/ 353340 h 2563305"/>
                  <a:gd name="connsiteX1016" fmla="*/ 1186060 w 2081801"/>
                  <a:gd name="connsiteY1016" fmla="*/ 419901 h 2563305"/>
                  <a:gd name="connsiteX1017" fmla="*/ 1157737 w 2081801"/>
                  <a:gd name="connsiteY1017" fmla="*/ 536028 h 2563305"/>
                  <a:gd name="connsiteX1018" fmla="*/ 527531 w 2081801"/>
                  <a:gd name="connsiteY1018" fmla="*/ 701722 h 2563305"/>
                  <a:gd name="connsiteX1019" fmla="*/ 537445 w 2081801"/>
                  <a:gd name="connsiteY1019" fmla="*/ 722965 h 2563305"/>
                  <a:gd name="connsiteX1020" fmla="*/ 520450 w 2081801"/>
                  <a:gd name="connsiteY1020" fmla="*/ 700306 h 2563305"/>
                  <a:gd name="connsiteX1021" fmla="*/ 527531 w 2081801"/>
                  <a:gd name="connsiteY1021" fmla="*/ 701722 h 2563305"/>
                  <a:gd name="connsiteX1022" fmla="*/ 476549 w 2081801"/>
                  <a:gd name="connsiteY1022" fmla="*/ 928313 h 2563305"/>
                  <a:gd name="connsiteX1023" fmla="*/ 460971 w 2081801"/>
                  <a:gd name="connsiteY1023" fmla="*/ 929729 h 2563305"/>
                  <a:gd name="connsiteX1024" fmla="*/ 442560 w 2081801"/>
                  <a:gd name="connsiteY1024" fmla="*/ 916984 h 2563305"/>
                  <a:gd name="connsiteX1025" fmla="*/ 476549 w 2081801"/>
                  <a:gd name="connsiteY1025" fmla="*/ 928313 h 2563305"/>
                  <a:gd name="connsiteX1026" fmla="*/ 962302 w 2081801"/>
                  <a:gd name="connsiteY1026" fmla="*/ 1334760 h 2563305"/>
                  <a:gd name="connsiteX1027" fmla="*/ 990626 w 2081801"/>
                  <a:gd name="connsiteY1027" fmla="*/ 1292274 h 2563305"/>
                  <a:gd name="connsiteX1028" fmla="*/ 997707 w 2081801"/>
                  <a:gd name="connsiteY1028" fmla="*/ 1317765 h 2563305"/>
                  <a:gd name="connsiteX1029" fmla="*/ 989210 w 2081801"/>
                  <a:gd name="connsiteY1029" fmla="*/ 1343257 h 2563305"/>
                  <a:gd name="connsiteX1030" fmla="*/ 962302 w 2081801"/>
                  <a:gd name="connsiteY1030" fmla="*/ 1334760 h 2563305"/>
                  <a:gd name="connsiteX1031" fmla="*/ 1014701 w 2081801"/>
                  <a:gd name="connsiteY1031" fmla="*/ 1933808 h 2563305"/>
                  <a:gd name="connsiteX1032" fmla="*/ 1106754 w 2081801"/>
                  <a:gd name="connsiteY1032" fmla="*/ 1926727 h 2563305"/>
                  <a:gd name="connsiteX1033" fmla="*/ 1133662 w 2081801"/>
                  <a:gd name="connsiteY1033" fmla="*/ 2008867 h 2563305"/>
                  <a:gd name="connsiteX1034" fmla="*/ 1014701 w 2081801"/>
                  <a:gd name="connsiteY1034" fmla="*/ 1933808 h 2563305"/>
                  <a:gd name="connsiteX1035" fmla="*/ 1210136 w 2081801"/>
                  <a:gd name="connsiteY1035" fmla="*/ 1752536 h 2563305"/>
                  <a:gd name="connsiteX1036" fmla="*/ 1193141 w 2081801"/>
                  <a:gd name="connsiteY1036" fmla="*/ 1918230 h 2563305"/>
                  <a:gd name="connsiteX1037" fmla="*/ 1108170 w 2081801"/>
                  <a:gd name="connsiteY1037" fmla="*/ 1923895 h 2563305"/>
                  <a:gd name="connsiteX1038" fmla="*/ 1058603 w 2081801"/>
                  <a:gd name="connsiteY1038" fmla="*/ 1770946 h 2563305"/>
                  <a:gd name="connsiteX1039" fmla="*/ 1210136 w 2081801"/>
                  <a:gd name="connsiteY1039" fmla="*/ 1752536 h 2563305"/>
                  <a:gd name="connsiteX1040" fmla="*/ 1180396 w 2081801"/>
                  <a:gd name="connsiteY1040" fmla="*/ 2041439 h 2563305"/>
                  <a:gd name="connsiteX1041" fmla="*/ 1176147 w 2081801"/>
                  <a:gd name="connsiteY1041" fmla="*/ 2079676 h 2563305"/>
                  <a:gd name="connsiteX1042" fmla="*/ 1164817 w 2081801"/>
                  <a:gd name="connsiteY1042" fmla="*/ 2098087 h 2563305"/>
                  <a:gd name="connsiteX1043" fmla="*/ 1137910 w 2081801"/>
                  <a:gd name="connsiteY1043" fmla="*/ 2014531 h 2563305"/>
                  <a:gd name="connsiteX1044" fmla="*/ 1180396 w 2081801"/>
                  <a:gd name="connsiteY1044" fmla="*/ 2041439 h 2563305"/>
                  <a:gd name="connsiteX1045" fmla="*/ 1340426 w 2081801"/>
                  <a:gd name="connsiteY1045" fmla="*/ 943891 h 2563305"/>
                  <a:gd name="connsiteX1046" fmla="*/ 1496207 w 2081801"/>
                  <a:gd name="connsiteY1046" fmla="*/ 908486 h 2563305"/>
                  <a:gd name="connsiteX1047" fmla="*/ 1496207 w 2081801"/>
                  <a:gd name="connsiteY1047" fmla="*/ 908486 h 2563305"/>
                  <a:gd name="connsiteX1048" fmla="*/ 1561351 w 2081801"/>
                  <a:gd name="connsiteY1048" fmla="*/ 840509 h 2563305"/>
                  <a:gd name="connsiteX1049" fmla="*/ 1606669 w 2081801"/>
                  <a:gd name="connsiteY1049" fmla="*/ 1003371 h 2563305"/>
                  <a:gd name="connsiteX1050" fmla="*/ 1562767 w 2081801"/>
                  <a:gd name="connsiteY1050" fmla="*/ 1051522 h 2563305"/>
                  <a:gd name="connsiteX1051" fmla="*/ 1340426 w 2081801"/>
                  <a:gd name="connsiteY1051" fmla="*/ 943891 h 2563305"/>
                  <a:gd name="connsiteX1052" fmla="*/ 451057 w 2081801"/>
                  <a:gd name="connsiteY1052" fmla="*/ 531780 h 2563305"/>
                  <a:gd name="connsiteX1053" fmla="*/ 371750 w 2081801"/>
                  <a:gd name="connsiteY1053" fmla="*/ 357588 h 2563305"/>
                  <a:gd name="connsiteX1054" fmla="*/ 443976 w 2081801"/>
                  <a:gd name="connsiteY1054" fmla="*/ 303773 h 2563305"/>
                  <a:gd name="connsiteX1055" fmla="*/ 657821 w 2081801"/>
                  <a:gd name="connsiteY1055" fmla="*/ 465219 h 2563305"/>
                  <a:gd name="connsiteX1056" fmla="*/ 493543 w 2081801"/>
                  <a:gd name="connsiteY1056" fmla="*/ 548774 h 2563305"/>
                  <a:gd name="connsiteX1057" fmla="*/ 451057 w 2081801"/>
                  <a:gd name="connsiteY1057" fmla="*/ 531780 h 2563305"/>
                  <a:gd name="connsiteX1058" fmla="*/ 448225 w 2081801"/>
                  <a:gd name="connsiteY1058" fmla="*/ 888660 h 2563305"/>
                  <a:gd name="connsiteX1059" fmla="*/ 448225 w 2081801"/>
                  <a:gd name="connsiteY1059" fmla="*/ 888660 h 2563305"/>
                  <a:gd name="connsiteX1060" fmla="*/ 601173 w 2081801"/>
                  <a:gd name="connsiteY1060" fmla="*/ 863168 h 2563305"/>
                  <a:gd name="connsiteX1061" fmla="*/ 625249 w 2081801"/>
                  <a:gd name="connsiteY1061" fmla="*/ 915567 h 2563305"/>
                  <a:gd name="connsiteX1062" fmla="*/ 482213 w 2081801"/>
                  <a:gd name="connsiteY1062" fmla="*/ 928313 h 2563305"/>
                  <a:gd name="connsiteX1063" fmla="*/ 436895 w 2081801"/>
                  <a:gd name="connsiteY1063" fmla="*/ 912735 h 2563305"/>
                  <a:gd name="connsiteX1064" fmla="*/ 251374 w 2081801"/>
                  <a:gd name="connsiteY1064" fmla="*/ 783862 h 2563305"/>
                  <a:gd name="connsiteX1065" fmla="*/ 308022 w 2081801"/>
                  <a:gd name="connsiteY1065" fmla="*/ 666318 h 2563305"/>
                  <a:gd name="connsiteX1066" fmla="*/ 448225 w 2081801"/>
                  <a:gd name="connsiteY1066" fmla="*/ 888660 h 2563305"/>
                  <a:gd name="connsiteX1067" fmla="*/ 174900 w 2081801"/>
                  <a:gd name="connsiteY1067" fmla="*/ 696058 h 2563305"/>
                  <a:gd name="connsiteX1068" fmla="*/ 211721 w 2081801"/>
                  <a:gd name="connsiteY1068" fmla="*/ 759786 h 2563305"/>
                  <a:gd name="connsiteX1069" fmla="*/ 248542 w 2081801"/>
                  <a:gd name="connsiteY1069" fmla="*/ 785278 h 2563305"/>
                  <a:gd name="connsiteX1070" fmla="*/ 220218 w 2081801"/>
                  <a:gd name="connsiteY1070" fmla="*/ 843341 h 2563305"/>
                  <a:gd name="connsiteX1071" fmla="*/ 133830 w 2081801"/>
                  <a:gd name="connsiteY1071" fmla="*/ 815018 h 2563305"/>
                  <a:gd name="connsiteX1072" fmla="*/ 149408 w 2081801"/>
                  <a:gd name="connsiteY1072" fmla="*/ 728630 h 2563305"/>
                  <a:gd name="connsiteX1073" fmla="*/ 174900 w 2081801"/>
                  <a:gd name="connsiteY1073" fmla="*/ 696058 h 2563305"/>
                  <a:gd name="connsiteX1074" fmla="*/ 173483 w 2081801"/>
                  <a:gd name="connsiteY1074" fmla="*/ 693225 h 2563305"/>
                  <a:gd name="connsiteX1075" fmla="*/ 147992 w 2081801"/>
                  <a:gd name="connsiteY1075" fmla="*/ 722965 h 2563305"/>
                  <a:gd name="connsiteX1076" fmla="*/ 157906 w 2081801"/>
                  <a:gd name="connsiteY1076" fmla="*/ 667734 h 2563305"/>
                  <a:gd name="connsiteX1077" fmla="*/ 173483 w 2081801"/>
                  <a:gd name="connsiteY1077" fmla="*/ 693225 h 2563305"/>
                  <a:gd name="connsiteX1078" fmla="*/ 162154 w 2081801"/>
                  <a:gd name="connsiteY1078" fmla="*/ 633745 h 2563305"/>
                  <a:gd name="connsiteX1079" fmla="*/ 157906 w 2081801"/>
                  <a:gd name="connsiteY1079" fmla="*/ 660653 h 2563305"/>
                  <a:gd name="connsiteX1080" fmla="*/ 147992 w 2081801"/>
                  <a:gd name="connsiteY1080" fmla="*/ 642242 h 2563305"/>
                  <a:gd name="connsiteX1081" fmla="*/ 162154 w 2081801"/>
                  <a:gd name="connsiteY1081" fmla="*/ 633745 h 2563305"/>
                  <a:gd name="connsiteX1082" fmla="*/ 159322 w 2081801"/>
                  <a:gd name="connsiteY1082" fmla="*/ 664902 h 2563305"/>
                  <a:gd name="connsiteX1083" fmla="*/ 164987 w 2081801"/>
                  <a:gd name="connsiteY1083" fmla="*/ 633745 h 2563305"/>
                  <a:gd name="connsiteX1084" fmla="*/ 180564 w 2081801"/>
                  <a:gd name="connsiteY1084" fmla="*/ 625248 h 2563305"/>
                  <a:gd name="connsiteX1085" fmla="*/ 225883 w 2081801"/>
                  <a:gd name="connsiteY1085" fmla="*/ 635161 h 2563305"/>
                  <a:gd name="connsiteX1086" fmla="*/ 176316 w 2081801"/>
                  <a:gd name="connsiteY1086" fmla="*/ 693225 h 2563305"/>
                  <a:gd name="connsiteX1087" fmla="*/ 159322 w 2081801"/>
                  <a:gd name="connsiteY1087" fmla="*/ 664902 h 2563305"/>
                  <a:gd name="connsiteX1088" fmla="*/ 163570 w 2081801"/>
                  <a:gd name="connsiteY1088" fmla="*/ 630913 h 2563305"/>
                  <a:gd name="connsiteX1089" fmla="*/ 146576 w 2081801"/>
                  <a:gd name="connsiteY1089" fmla="*/ 640826 h 2563305"/>
                  <a:gd name="connsiteX1090" fmla="*/ 129582 w 2081801"/>
                  <a:gd name="connsiteY1090" fmla="*/ 611086 h 2563305"/>
                  <a:gd name="connsiteX1091" fmla="*/ 164987 w 2081801"/>
                  <a:gd name="connsiteY1091" fmla="*/ 619584 h 2563305"/>
                  <a:gd name="connsiteX1092" fmla="*/ 163570 w 2081801"/>
                  <a:gd name="connsiteY1092" fmla="*/ 630913 h 2563305"/>
                  <a:gd name="connsiteX1093" fmla="*/ 177732 w 2081801"/>
                  <a:gd name="connsiteY1093" fmla="*/ 622416 h 2563305"/>
                  <a:gd name="connsiteX1094" fmla="*/ 166402 w 2081801"/>
                  <a:gd name="connsiteY1094" fmla="*/ 629497 h 2563305"/>
                  <a:gd name="connsiteX1095" fmla="*/ 167819 w 2081801"/>
                  <a:gd name="connsiteY1095" fmla="*/ 619584 h 2563305"/>
                  <a:gd name="connsiteX1096" fmla="*/ 177732 w 2081801"/>
                  <a:gd name="connsiteY1096" fmla="*/ 622416 h 2563305"/>
                  <a:gd name="connsiteX1097" fmla="*/ 145160 w 2081801"/>
                  <a:gd name="connsiteY1097" fmla="*/ 643659 h 2563305"/>
                  <a:gd name="connsiteX1098" fmla="*/ 156489 w 2081801"/>
                  <a:gd name="connsiteY1098" fmla="*/ 663485 h 2563305"/>
                  <a:gd name="connsiteX1099" fmla="*/ 145160 w 2081801"/>
                  <a:gd name="connsiteY1099" fmla="*/ 724382 h 2563305"/>
                  <a:gd name="connsiteX1100" fmla="*/ 82847 w 2081801"/>
                  <a:gd name="connsiteY1100" fmla="*/ 798023 h 2563305"/>
                  <a:gd name="connsiteX1101" fmla="*/ 82847 w 2081801"/>
                  <a:gd name="connsiteY1101" fmla="*/ 798023 h 2563305"/>
                  <a:gd name="connsiteX1102" fmla="*/ 129582 w 2081801"/>
                  <a:gd name="connsiteY1102" fmla="*/ 813602 h 2563305"/>
                  <a:gd name="connsiteX1103" fmla="*/ 82847 w 2081801"/>
                  <a:gd name="connsiteY1103" fmla="*/ 1071348 h 2563305"/>
                  <a:gd name="connsiteX1104" fmla="*/ 12038 w 2081801"/>
                  <a:gd name="connsiteY1104" fmla="*/ 986377 h 2563305"/>
                  <a:gd name="connsiteX1105" fmla="*/ 111171 w 2081801"/>
                  <a:gd name="connsiteY1105" fmla="*/ 662069 h 2563305"/>
                  <a:gd name="connsiteX1106" fmla="*/ 145160 w 2081801"/>
                  <a:gd name="connsiteY1106" fmla="*/ 643659 h 2563305"/>
                  <a:gd name="connsiteX1107" fmla="*/ 145160 w 2081801"/>
                  <a:gd name="connsiteY1107" fmla="*/ 730046 h 2563305"/>
                  <a:gd name="connsiteX1108" fmla="*/ 130998 w 2081801"/>
                  <a:gd name="connsiteY1108" fmla="*/ 812185 h 2563305"/>
                  <a:gd name="connsiteX1109" fmla="*/ 87096 w 2081801"/>
                  <a:gd name="connsiteY1109" fmla="*/ 798023 h 2563305"/>
                  <a:gd name="connsiteX1110" fmla="*/ 145160 w 2081801"/>
                  <a:gd name="connsiteY1110" fmla="*/ 730046 h 2563305"/>
                  <a:gd name="connsiteX1111" fmla="*/ 945308 w 2081801"/>
                  <a:gd name="connsiteY1111" fmla="*/ 1191725 h 2563305"/>
                  <a:gd name="connsiteX1112" fmla="*/ 960886 w 2081801"/>
                  <a:gd name="connsiteY1112" fmla="*/ 1191725 h 2563305"/>
                  <a:gd name="connsiteX1113" fmla="*/ 989210 w 2081801"/>
                  <a:gd name="connsiteY1113" fmla="*/ 1288025 h 2563305"/>
                  <a:gd name="connsiteX1114" fmla="*/ 959470 w 2081801"/>
                  <a:gd name="connsiteY1114" fmla="*/ 1333344 h 2563305"/>
                  <a:gd name="connsiteX1115" fmla="*/ 955221 w 2081801"/>
                  <a:gd name="connsiteY1115" fmla="*/ 1331927 h 2563305"/>
                  <a:gd name="connsiteX1116" fmla="*/ 945308 w 2081801"/>
                  <a:gd name="connsiteY1116" fmla="*/ 1320598 h 2563305"/>
                  <a:gd name="connsiteX1117" fmla="*/ 945308 w 2081801"/>
                  <a:gd name="connsiteY1117" fmla="*/ 1191725 h 2563305"/>
                  <a:gd name="connsiteX1118" fmla="*/ 1048690 w 2081801"/>
                  <a:gd name="connsiteY1118" fmla="*/ 1361667 h 2563305"/>
                  <a:gd name="connsiteX1119" fmla="*/ 1007621 w 2081801"/>
                  <a:gd name="connsiteY1119" fmla="*/ 1392824 h 2563305"/>
                  <a:gd name="connsiteX1120" fmla="*/ 1003372 w 2081801"/>
                  <a:gd name="connsiteY1120" fmla="*/ 1392824 h 2563305"/>
                  <a:gd name="connsiteX1121" fmla="*/ 980713 w 2081801"/>
                  <a:gd name="connsiteY1121" fmla="*/ 1365916 h 2563305"/>
                  <a:gd name="connsiteX1122" fmla="*/ 987794 w 2081801"/>
                  <a:gd name="connsiteY1122" fmla="*/ 1344673 h 2563305"/>
                  <a:gd name="connsiteX1123" fmla="*/ 1048690 w 2081801"/>
                  <a:gd name="connsiteY1123" fmla="*/ 1361667 h 2563305"/>
                  <a:gd name="connsiteX1124" fmla="*/ 1003372 w 2081801"/>
                  <a:gd name="connsiteY1124" fmla="*/ 1395656 h 2563305"/>
                  <a:gd name="connsiteX1125" fmla="*/ 1003372 w 2081801"/>
                  <a:gd name="connsiteY1125" fmla="*/ 1395656 h 2563305"/>
                  <a:gd name="connsiteX1126" fmla="*/ 1006204 w 2081801"/>
                  <a:gd name="connsiteY1126" fmla="*/ 1395656 h 2563305"/>
                  <a:gd name="connsiteX1127" fmla="*/ 959470 w 2081801"/>
                  <a:gd name="connsiteY1127" fmla="*/ 1432477 h 2563305"/>
                  <a:gd name="connsiteX1128" fmla="*/ 982129 w 2081801"/>
                  <a:gd name="connsiteY1128" fmla="*/ 1368748 h 2563305"/>
                  <a:gd name="connsiteX1129" fmla="*/ 1003372 w 2081801"/>
                  <a:gd name="connsiteY1129" fmla="*/ 1395656 h 2563305"/>
                  <a:gd name="connsiteX1130" fmla="*/ 1333345 w 2081801"/>
                  <a:gd name="connsiteY1130" fmla="*/ 1884242 h 2563305"/>
                  <a:gd name="connsiteX1131" fmla="*/ 1322015 w 2081801"/>
                  <a:gd name="connsiteY1131" fmla="*/ 1851670 h 2563305"/>
                  <a:gd name="connsiteX1132" fmla="*/ 1401322 w 2081801"/>
                  <a:gd name="connsiteY1132" fmla="*/ 1725629 h 2563305"/>
                  <a:gd name="connsiteX1133" fmla="*/ 1443807 w 2081801"/>
                  <a:gd name="connsiteY1133" fmla="*/ 1701553 h 2563305"/>
                  <a:gd name="connsiteX1134" fmla="*/ 1472131 w 2081801"/>
                  <a:gd name="connsiteY1134" fmla="*/ 1803519 h 2563305"/>
                  <a:gd name="connsiteX1135" fmla="*/ 1333345 w 2081801"/>
                  <a:gd name="connsiteY1135" fmla="*/ 1884242 h 2563305"/>
                  <a:gd name="connsiteX1136" fmla="*/ 1402738 w 2081801"/>
                  <a:gd name="connsiteY1136" fmla="*/ 1721380 h 2563305"/>
                  <a:gd name="connsiteX1137" fmla="*/ 1433894 w 2081801"/>
                  <a:gd name="connsiteY1137" fmla="*/ 1670397 h 2563305"/>
                  <a:gd name="connsiteX1138" fmla="*/ 1442391 w 2081801"/>
                  <a:gd name="connsiteY1138" fmla="*/ 1698721 h 2563305"/>
                  <a:gd name="connsiteX1139" fmla="*/ 1402738 w 2081801"/>
                  <a:gd name="connsiteY1139" fmla="*/ 1721380 h 2563305"/>
                  <a:gd name="connsiteX1140" fmla="*/ 1499039 w 2081801"/>
                  <a:gd name="connsiteY1140" fmla="*/ 1490541 h 2563305"/>
                  <a:gd name="connsiteX1141" fmla="*/ 1452305 w 2081801"/>
                  <a:gd name="connsiteY1141" fmla="*/ 1476379 h 2563305"/>
                  <a:gd name="connsiteX1142" fmla="*/ 1472131 w 2081801"/>
                  <a:gd name="connsiteY1142" fmla="*/ 1455136 h 2563305"/>
                  <a:gd name="connsiteX1143" fmla="*/ 1472131 w 2081801"/>
                  <a:gd name="connsiteY1143" fmla="*/ 1455136 h 2563305"/>
                  <a:gd name="connsiteX1144" fmla="*/ 1297940 w 2081801"/>
                  <a:gd name="connsiteY1144" fmla="*/ 1432477 h 2563305"/>
                  <a:gd name="connsiteX1145" fmla="*/ 1245541 w 2081801"/>
                  <a:gd name="connsiteY1145" fmla="*/ 1416899 h 2563305"/>
                  <a:gd name="connsiteX1146" fmla="*/ 1246957 w 2081801"/>
                  <a:gd name="connsiteY1146" fmla="*/ 1401321 h 2563305"/>
                  <a:gd name="connsiteX1147" fmla="*/ 1350339 w 2081801"/>
                  <a:gd name="connsiteY1147" fmla="*/ 1286609 h 2563305"/>
                  <a:gd name="connsiteX1148" fmla="*/ 1364501 w 2081801"/>
                  <a:gd name="connsiteY1148" fmla="*/ 1293690 h 2563305"/>
                  <a:gd name="connsiteX1149" fmla="*/ 1316350 w 2081801"/>
                  <a:gd name="connsiteY1149" fmla="*/ 1431061 h 2563305"/>
                  <a:gd name="connsiteX1150" fmla="*/ 1316350 w 2081801"/>
                  <a:gd name="connsiteY1150" fmla="*/ 1432477 h 2563305"/>
                  <a:gd name="connsiteX1151" fmla="*/ 1421148 w 2081801"/>
                  <a:gd name="connsiteY1151" fmla="*/ 1346089 h 2563305"/>
                  <a:gd name="connsiteX1152" fmla="*/ 1507536 w 2081801"/>
                  <a:gd name="connsiteY1152" fmla="*/ 1453720 h 2563305"/>
                  <a:gd name="connsiteX1153" fmla="*/ 1507536 w 2081801"/>
                  <a:gd name="connsiteY1153" fmla="*/ 1453720 h 2563305"/>
                  <a:gd name="connsiteX1154" fmla="*/ 1659069 w 2081801"/>
                  <a:gd name="connsiteY1154" fmla="*/ 1346089 h 2563305"/>
                  <a:gd name="connsiteX1155" fmla="*/ 1657652 w 2081801"/>
                  <a:gd name="connsiteY1155" fmla="*/ 1358835 h 2563305"/>
                  <a:gd name="connsiteX1156" fmla="*/ 1499039 w 2081801"/>
                  <a:gd name="connsiteY1156" fmla="*/ 1490541 h 2563305"/>
                  <a:gd name="connsiteX1157" fmla="*/ 1660484 w 2081801"/>
                  <a:gd name="connsiteY1157" fmla="*/ 1341841 h 2563305"/>
                  <a:gd name="connsiteX1158" fmla="*/ 1508952 w 2081801"/>
                  <a:gd name="connsiteY1158" fmla="*/ 1449471 h 2563305"/>
                  <a:gd name="connsiteX1159" fmla="*/ 1423981 w 2081801"/>
                  <a:gd name="connsiteY1159" fmla="*/ 1343257 h 2563305"/>
                  <a:gd name="connsiteX1160" fmla="*/ 1591091 w 2081801"/>
                  <a:gd name="connsiteY1160" fmla="*/ 1204470 h 2563305"/>
                  <a:gd name="connsiteX1161" fmla="*/ 1591091 w 2081801"/>
                  <a:gd name="connsiteY1161" fmla="*/ 1204470 h 2563305"/>
                  <a:gd name="connsiteX1162" fmla="*/ 1453721 w 2081801"/>
                  <a:gd name="connsiteY1162" fmla="*/ 1177563 h 2563305"/>
                  <a:gd name="connsiteX1163" fmla="*/ 1606669 w 2081801"/>
                  <a:gd name="connsiteY1163" fmla="*/ 1122331 h 2563305"/>
                  <a:gd name="connsiteX1164" fmla="*/ 1688808 w 2081801"/>
                  <a:gd name="connsiteY1164" fmla="*/ 1115250 h 2563305"/>
                  <a:gd name="connsiteX1165" fmla="*/ 1678895 w 2081801"/>
                  <a:gd name="connsiteY1165" fmla="*/ 1176146 h 2563305"/>
                  <a:gd name="connsiteX1166" fmla="*/ 1660484 w 2081801"/>
                  <a:gd name="connsiteY1166" fmla="*/ 1341841 h 2563305"/>
                  <a:gd name="connsiteX1167" fmla="*/ 1542941 w 2081801"/>
                  <a:gd name="connsiteY1167" fmla="*/ 764035 h 2563305"/>
                  <a:gd name="connsiteX1168" fmla="*/ 1579762 w 2081801"/>
                  <a:gd name="connsiteY1168" fmla="*/ 721549 h 2563305"/>
                  <a:gd name="connsiteX1169" fmla="*/ 1684560 w 2081801"/>
                  <a:gd name="connsiteY1169" fmla="*/ 708803 h 2563305"/>
                  <a:gd name="connsiteX1170" fmla="*/ 1562767 w 2081801"/>
                  <a:gd name="connsiteY1170" fmla="*/ 834844 h 2563305"/>
                  <a:gd name="connsiteX1171" fmla="*/ 1542941 w 2081801"/>
                  <a:gd name="connsiteY1171" fmla="*/ 764035 h 2563305"/>
                  <a:gd name="connsiteX1172" fmla="*/ 1354587 w 2081801"/>
                  <a:gd name="connsiteY1172" fmla="*/ 745624 h 2563305"/>
                  <a:gd name="connsiteX1173" fmla="*/ 1404154 w 2081801"/>
                  <a:gd name="connsiteY1173" fmla="*/ 670566 h 2563305"/>
                  <a:gd name="connsiteX1174" fmla="*/ 1644907 w 2081801"/>
                  <a:gd name="connsiteY1174" fmla="*/ 645075 h 2563305"/>
                  <a:gd name="connsiteX1175" fmla="*/ 1578346 w 2081801"/>
                  <a:gd name="connsiteY1175" fmla="*/ 720133 h 2563305"/>
                  <a:gd name="connsiteX1176" fmla="*/ 1354587 w 2081801"/>
                  <a:gd name="connsiteY1176" fmla="*/ 745624 h 2563305"/>
                  <a:gd name="connsiteX1177" fmla="*/ 1402738 w 2081801"/>
                  <a:gd name="connsiteY1177" fmla="*/ 669150 h 2563305"/>
                  <a:gd name="connsiteX1178" fmla="*/ 1326264 w 2081801"/>
                  <a:gd name="connsiteY1178" fmla="*/ 677647 h 2563305"/>
                  <a:gd name="connsiteX1179" fmla="*/ 1299356 w 2081801"/>
                  <a:gd name="connsiteY1179" fmla="*/ 654988 h 2563305"/>
                  <a:gd name="connsiteX1180" fmla="*/ 1300772 w 2081801"/>
                  <a:gd name="connsiteY1180" fmla="*/ 601173 h 2563305"/>
                  <a:gd name="connsiteX1181" fmla="*/ 1348922 w 2081801"/>
                  <a:gd name="connsiteY1181" fmla="*/ 604005 h 2563305"/>
                  <a:gd name="connsiteX1182" fmla="*/ 1348922 w 2081801"/>
                  <a:gd name="connsiteY1182" fmla="*/ 604005 h 2563305"/>
                  <a:gd name="connsiteX1183" fmla="*/ 1392824 w 2081801"/>
                  <a:gd name="connsiteY1183" fmla="*/ 465219 h 2563305"/>
                  <a:gd name="connsiteX1184" fmla="*/ 1446640 w 2081801"/>
                  <a:gd name="connsiteY1184" fmla="*/ 476548 h 2563305"/>
                  <a:gd name="connsiteX1185" fmla="*/ 1432478 w 2081801"/>
                  <a:gd name="connsiteY1185" fmla="*/ 623832 h 2563305"/>
                  <a:gd name="connsiteX1186" fmla="*/ 1402738 w 2081801"/>
                  <a:gd name="connsiteY1186" fmla="*/ 669150 h 2563305"/>
                  <a:gd name="connsiteX1187" fmla="*/ 1348922 w 2081801"/>
                  <a:gd name="connsiteY1187" fmla="*/ 601173 h 2563305"/>
                  <a:gd name="connsiteX1188" fmla="*/ 1302188 w 2081801"/>
                  <a:gd name="connsiteY1188" fmla="*/ 598341 h 2563305"/>
                  <a:gd name="connsiteX1189" fmla="*/ 1303604 w 2081801"/>
                  <a:gd name="connsiteY1189" fmla="*/ 531780 h 2563305"/>
                  <a:gd name="connsiteX1190" fmla="*/ 1347507 w 2081801"/>
                  <a:gd name="connsiteY1190" fmla="*/ 511953 h 2563305"/>
                  <a:gd name="connsiteX1191" fmla="*/ 1347507 w 2081801"/>
                  <a:gd name="connsiteY1191" fmla="*/ 511953 h 2563305"/>
                  <a:gd name="connsiteX1192" fmla="*/ 1340426 w 2081801"/>
                  <a:gd name="connsiteY1192" fmla="*/ 452473 h 2563305"/>
                  <a:gd name="connsiteX1193" fmla="*/ 1392824 w 2081801"/>
                  <a:gd name="connsiteY1193" fmla="*/ 463803 h 2563305"/>
                  <a:gd name="connsiteX1194" fmla="*/ 1348922 w 2081801"/>
                  <a:gd name="connsiteY1194" fmla="*/ 601173 h 2563305"/>
                  <a:gd name="connsiteX1195" fmla="*/ 1300772 w 2081801"/>
                  <a:gd name="connsiteY1195" fmla="*/ 530363 h 2563305"/>
                  <a:gd name="connsiteX1196" fmla="*/ 1204471 w 2081801"/>
                  <a:gd name="connsiteY1196" fmla="*/ 574265 h 2563305"/>
                  <a:gd name="connsiteX1197" fmla="*/ 1159153 w 2081801"/>
                  <a:gd name="connsiteY1197" fmla="*/ 536028 h 2563305"/>
                  <a:gd name="connsiteX1198" fmla="*/ 1186060 w 2081801"/>
                  <a:gd name="connsiteY1198" fmla="*/ 418484 h 2563305"/>
                  <a:gd name="connsiteX1199" fmla="*/ 1303604 w 2081801"/>
                  <a:gd name="connsiteY1199" fmla="*/ 443976 h 2563305"/>
                  <a:gd name="connsiteX1200" fmla="*/ 1300772 w 2081801"/>
                  <a:gd name="connsiteY1200" fmla="*/ 530363 h 2563305"/>
                  <a:gd name="connsiteX1201" fmla="*/ 881579 w 2081801"/>
                  <a:gd name="connsiteY1201" fmla="*/ 350507 h 2563305"/>
                  <a:gd name="connsiteX1202" fmla="*/ 744209 w 2081801"/>
                  <a:gd name="connsiteY1202" fmla="*/ 320767 h 2563305"/>
                  <a:gd name="connsiteX1203" fmla="*/ 645075 w 2081801"/>
                  <a:gd name="connsiteY1203" fmla="*/ 225882 h 2563305"/>
                  <a:gd name="connsiteX1204" fmla="*/ 959470 w 2081801"/>
                  <a:gd name="connsiteY1204" fmla="*/ 262703 h 2563305"/>
                  <a:gd name="connsiteX1205" fmla="*/ 1017534 w 2081801"/>
                  <a:gd name="connsiteY1205" fmla="*/ 281114 h 2563305"/>
                  <a:gd name="connsiteX1206" fmla="*/ 881579 w 2081801"/>
                  <a:gd name="connsiteY1206" fmla="*/ 350507 h 2563305"/>
                  <a:gd name="connsiteX1207" fmla="*/ 773949 w 2081801"/>
                  <a:gd name="connsiteY1207" fmla="*/ 201807 h 2563305"/>
                  <a:gd name="connsiteX1208" fmla="*/ 623833 w 2081801"/>
                  <a:gd name="connsiteY1208" fmla="*/ 203223 h 2563305"/>
                  <a:gd name="connsiteX1209" fmla="*/ 604006 w 2081801"/>
                  <a:gd name="connsiteY1209" fmla="*/ 183397 h 2563305"/>
                  <a:gd name="connsiteX1210" fmla="*/ 639411 w 2081801"/>
                  <a:gd name="connsiteY1210" fmla="*/ 157905 h 2563305"/>
                  <a:gd name="connsiteX1211" fmla="*/ 773949 w 2081801"/>
                  <a:gd name="connsiteY1211" fmla="*/ 201807 h 2563305"/>
                  <a:gd name="connsiteX1212" fmla="*/ 622416 w 2081801"/>
                  <a:gd name="connsiteY1212" fmla="*/ 206056 h 2563305"/>
                  <a:gd name="connsiteX1213" fmla="*/ 639411 w 2081801"/>
                  <a:gd name="connsiteY1213" fmla="*/ 223050 h 2563305"/>
                  <a:gd name="connsiteX1214" fmla="*/ 564352 w 2081801"/>
                  <a:gd name="connsiteY1214" fmla="*/ 214553 h 2563305"/>
                  <a:gd name="connsiteX1215" fmla="*/ 574266 w 2081801"/>
                  <a:gd name="connsiteY1215" fmla="*/ 207472 h 2563305"/>
                  <a:gd name="connsiteX1216" fmla="*/ 622416 w 2081801"/>
                  <a:gd name="connsiteY1216" fmla="*/ 206056 h 2563305"/>
                  <a:gd name="connsiteX1217" fmla="*/ 449641 w 2081801"/>
                  <a:gd name="connsiteY1217" fmla="*/ 533196 h 2563305"/>
                  <a:gd name="connsiteX1218" fmla="*/ 507705 w 2081801"/>
                  <a:gd name="connsiteY1218" fmla="*/ 659237 h 2563305"/>
                  <a:gd name="connsiteX1219" fmla="*/ 490711 w 2081801"/>
                  <a:gd name="connsiteY1219" fmla="*/ 664902 h 2563305"/>
                  <a:gd name="connsiteX1220" fmla="*/ 490711 w 2081801"/>
                  <a:gd name="connsiteY1220" fmla="*/ 664902 h 2563305"/>
                  <a:gd name="connsiteX1221" fmla="*/ 514786 w 2081801"/>
                  <a:gd name="connsiteY1221" fmla="*/ 697474 h 2563305"/>
                  <a:gd name="connsiteX1222" fmla="*/ 313687 w 2081801"/>
                  <a:gd name="connsiteY1222" fmla="*/ 652156 h 2563305"/>
                  <a:gd name="connsiteX1223" fmla="*/ 383080 w 2081801"/>
                  <a:gd name="connsiteY1223" fmla="*/ 507704 h 2563305"/>
                  <a:gd name="connsiteX1224" fmla="*/ 449641 w 2081801"/>
                  <a:gd name="connsiteY1224" fmla="*/ 533196 h 2563305"/>
                  <a:gd name="connsiteX1225" fmla="*/ 448225 w 2081801"/>
                  <a:gd name="connsiteY1225" fmla="*/ 885827 h 2563305"/>
                  <a:gd name="connsiteX1226" fmla="*/ 308022 w 2081801"/>
                  <a:gd name="connsiteY1226" fmla="*/ 663485 h 2563305"/>
                  <a:gd name="connsiteX1227" fmla="*/ 312270 w 2081801"/>
                  <a:gd name="connsiteY1227" fmla="*/ 653572 h 2563305"/>
                  <a:gd name="connsiteX1228" fmla="*/ 516202 w 2081801"/>
                  <a:gd name="connsiteY1228" fmla="*/ 698890 h 2563305"/>
                  <a:gd name="connsiteX1229" fmla="*/ 540277 w 2081801"/>
                  <a:gd name="connsiteY1229" fmla="*/ 731462 h 2563305"/>
                  <a:gd name="connsiteX1230" fmla="*/ 599757 w 2081801"/>
                  <a:gd name="connsiteY1230" fmla="*/ 860336 h 2563305"/>
                  <a:gd name="connsiteX1231" fmla="*/ 448225 w 2081801"/>
                  <a:gd name="connsiteY1231" fmla="*/ 885827 h 2563305"/>
                  <a:gd name="connsiteX1232" fmla="*/ 221634 w 2081801"/>
                  <a:gd name="connsiteY1232" fmla="*/ 841925 h 2563305"/>
                  <a:gd name="connsiteX1233" fmla="*/ 248542 w 2081801"/>
                  <a:gd name="connsiteY1233" fmla="*/ 785278 h 2563305"/>
                  <a:gd name="connsiteX1234" fmla="*/ 428398 w 2081801"/>
                  <a:gd name="connsiteY1234" fmla="*/ 911319 h 2563305"/>
                  <a:gd name="connsiteX1235" fmla="*/ 221634 w 2081801"/>
                  <a:gd name="connsiteY1235" fmla="*/ 841925 h 2563305"/>
                  <a:gd name="connsiteX1236" fmla="*/ 248542 w 2081801"/>
                  <a:gd name="connsiteY1236" fmla="*/ 782445 h 2563305"/>
                  <a:gd name="connsiteX1237" fmla="*/ 213137 w 2081801"/>
                  <a:gd name="connsiteY1237" fmla="*/ 756954 h 2563305"/>
                  <a:gd name="connsiteX1238" fmla="*/ 176316 w 2081801"/>
                  <a:gd name="connsiteY1238" fmla="*/ 693225 h 2563305"/>
                  <a:gd name="connsiteX1239" fmla="*/ 227299 w 2081801"/>
                  <a:gd name="connsiteY1239" fmla="*/ 633745 h 2563305"/>
                  <a:gd name="connsiteX1240" fmla="*/ 298109 w 2081801"/>
                  <a:gd name="connsiteY1240" fmla="*/ 649323 h 2563305"/>
                  <a:gd name="connsiteX1241" fmla="*/ 306606 w 2081801"/>
                  <a:gd name="connsiteY1241" fmla="*/ 662069 h 2563305"/>
                  <a:gd name="connsiteX1242" fmla="*/ 248542 w 2081801"/>
                  <a:gd name="connsiteY1242" fmla="*/ 782445 h 2563305"/>
                  <a:gd name="connsiteX1243" fmla="*/ 190478 w 2081801"/>
                  <a:gd name="connsiteY1243" fmla="*/ 479380 h 2563305"/>
                  <a:gd name="connsiteX1244" fmla="*/ 166402 w 2081801"/>
                  <a:gd name="connsiteY1244" fmla="*/ 618167 h 2563305"/>
                  <a:gd name="connsiteX1245" fmla="*/ 129582 w 2081801"/>
                  <a:gd name="connsiteY1245" fmla="*/ 609670 h 2563305"/>
                  <a:gd name="connsiteX1246" fmla="*/ 159322 w 2081801"/>
                  <a:gd name="connsiteY1246" fmla="*/ 514785 h 2563305"/>
                  <a:gd name="connsiteX1247" fmla="*/ 184813 w 2081801"/>
                  <a:gd name="connsiteY1247" fmla="*/ 469467 h 2563305"/>
                  <a:gd name="connsiteX1248" fmla="*/ 190478 w 2081801"/>
                  <a:gd name="connsiteY1248" fmla="*/ 479380 h 2563305"/>
                  <a:gd name="connsiteX1249" fmla="*/ 132414 w 2081801"/>
                  <a:gd name="connsiteY1249" fmla="*/ 815018 h 2563305"/>
                  <a:gd name="connsiteX1250" fmla="*/ 218802 w 2081801"/>
                  <a:gd name="connsiteY1250" fmla="*/ 843341 h 2563305"/>
                  <a:gd name="connsiteX1251" fmla="*/ 163570 w 2081801"/>
                  <a:gd name="connsiteY1251" fmla="*/ 958053 h 2563305"/>
                  <a:gd name="connsiteX1252" fmla="*/ 163570 w 2081801"/>
                  <a:gd name="connsiteY1252" fmla="*/ 958053 h 2563305"/>
                  <a:gd name="connsiteX1253" fmla="*/ 459554 w 2081801"/>
                  <a:gd name="connsiteY1253" fmla="*/ 931145 h 2563305"/>
                  <a:gd name="connsiteX1254" fmla="*/ 690393 w 2081801"/>
                  <a:gd name="connsiteY1254" fmla="*/ 1092591 h 2563305"/>
                  <a:gd name="connsiteX1255" fmla="*/ 705972 w 2081801"/>
                  <a:gd name="connsiteY1255" fmla="*/ 1094007 h 2563305"/>
                  <a:gd name="connsiteX1256" fmla="*/ 742793 w 2081801"/>
                  <a:gd name="connsiteY1256" fmla="*/ 1176146 h 2563305"/>
                  <a:gd name="connsiteX1257" fmla="*/ 564352 w 2081801"/>
                  <a:gd name="connsiteY1257" fmla="*/ 1133661 h 2563305"/>
                  <a:gd name="connsiteX1258" fmla="*/ 452473 w 2081801"/>
                  <a:gd name="connsiteY1258" fmla="*/ 1010452 h 2563305"/>
                  <a:gd name="connsiteX1259" fmla="*/ 452473 w 2081801"/>
                  <a:gd name="connsiteY1259" fmla="*/ 1010452 h 2563305"/>
                  <a:gd name="connsiteX1260" fmla="*/ 418485 w 2081801"/>
                  <a:gd name="connsiteY1260" fmla="*/ 1098256 h 2563305"/>
                  <a:gd name="connsiteX1261" fmla="*/ 320768 w 2081801"/>
                  <a:gd name="connsiteY1261" fmla="*/ 1075597 h 2563305"/>
                  <a:gd name="connsiteX1262" fmla="*/ 320768 w 2081801"/>
                  <a:gd name="connsiteY1262" fmla="*/ 1075597 h 2563305"/>
                  <a:gd name="connsiteX1263" fmla="*/ 300941 w 2081801"/>
                  <a:gd name="connsiteY1263" fmla="*/ 1149239 h 2563305"/>
                  <a:gd name="connsiteX1264" fmla="*/ 95593 w 2081801"/>
                  <a:gd name="connsiteY1264" fmla="*/ 1086927 h 2563305"/>
                  <a:gd name="connsiteX1265" fmla="*/ 84264 w 2081801"/>
                  <a:gd name="connsiteY1265" fmla="*/ 1074181 h 2563305"/>
                  <a:gd name="connsiteX1266" fmla="*/ 132414 w 2081801"/>
                  <a:gd name="connsiteY1266" fmla="*/ 815018 h 2563305"/>
                  <a:gd name="connsiteX1267" fmla="*/ 747041 w 2081801"/>
                  <a:gd name="connsiteY1267" fmla="*/ 1178979 h 2563305"/>
                  <a:gd name="connsiteX1268" fmla="*/ 747041 w 2081801"/>
                  <a:gd name="connsiteY1268" fmla="*/ 1178979 h 2563305"/>
                  <a:gd name="connsiteX1269" fmla="*/ 708804 w 2081801"/>
                  <a:gd name="connsiteY1269" fmla="*/ 1094007 h 2563305"/>
                  <a:gd name="connsiteX1270" fmla="*/ 943892 w 2081801"/>
                  <a:gd name="connsiteY1270" fmla="*/ 1109585 h 2563305"/>
                  <a:gd name="connsiteX1271" fmla="*/ 943892 w 2081801"/>
                  <a:gd name="connsiteY1271" fmla="*/ 1188892 h 2563305"/>
                  <a:gd name="connsiteX1272" fmla="*/ 833429 w 2081801"/>
                  <a:gd name="connsiteY1272" fmla="*/ 1186060 h 2563305"/>
                  <a:gd name="connsiteX1273" fmla="*/ 833429 w 2081801"/>
                  <a:gd name="connsiteY1273" fmla="*/ 1186060 h 2563305"/>
                  <a:gd name="connsiteX1274" fmla="*/ 943892 w 2081801"/>
                  <a:gd name="connsiteY1274" fmla="*/ 1320598 h 2563305"/>
                  <a:gd name="connsiteX1275" fmla="*/ 943892 w 2081801"/>
                  <a:gd name="connsiteY1275" fmla="*/ 1327679 h 2563305"/>
                  <a:gd name="connsiteX1276" fmla="*/ 673399 w 2081801"/>
                  <a:gd name="connsiteY1276" fmla="*/ 1248372 h 2563305"/>
                  <a:gd name="connsiteX1277" fmla="*/ 570017 w 2081801"/>
                  <a:gd name="connsiteY1277" fmla="*/ 1135077 h 2563305"/>
                  <a:gd name="connsiteX1278" fmla="*/ 747041 w 2081801"/>
                  <a:gd name="connsiteY1278" fmla="*/ 1178979 h 2563305"/>
                  <a:gd name="connsiteX1279" fmla="*/ 837678 w 2081801"/>
                  <a:gd name="connsiteY1279" fmla="*/ 1190308 h 2563305"/>
                  <a:gd name="connsiteX1280" fmla="*/ 943892 w 2081801"/>
                  <a:gd name="connsiteY1280" fmla="*/ 1193141 h 2563305"/>
                  <a:gd name="connsiteX1281" fmla="*/ 943892 w 2081801"/>
                  <a:gd name="connsiteY1281" fmla="*/ 1319182 h 2563305"/>
                  <a:gd name="connsiteX1282" fmla="*/ 837678 w 2081801"/>
                  <a:gd name="connsiteY1282" fmla="*/ 1190308 h 2563305"/>
                  <a:gd name="connsiteX1283" fmla="*/ 953805 w 2081801"/>
                  <a:gd name="connsiteY1283" fmla="*/ 1334760 h 2563305"/>
                  <a:gd name="connsiteX1284" fmla="*/ 956638 w 2081801"/>
                  <a:gd name="connsiteY1284" fmla="*/ 1339008 h 2563305"/>
                  <a:gd name="connsiteX1285" fmla="*/ 945308 w 2081801"/>
                  <a:gd name="connsiteY1285" fmla="*/ 1356003 h 2563305"/>
                  <a:gd name="connsiteX1286" fmla="*/ 945308 w 2081801"/>
                  <a:gd name="connsiteY1286" fmla="*/ 1331927 h 2563305"/>
                  <a:gd name="connsiteX1287" fmla="*/ 953805 w 2081801"/>
                  <a:gd name="connsiteY1287" fmla="*/ 1334760 h 2563305"/>
                  <a:gd name="connsiteX1288" fmla="*/ 1009036 w 2081801"/>
                  <a:gd name="connsiteY1288" fmla="*/ 1395656 h 2563305"/>
                  <a:gd name="connsiteX1289" fmla="*/ 1161985 w 2081801"/>
                  <a:gd name="connsiteY1289" fmla="*/ 1415483 h 2563305"/>
                  <a:gd name="connsiteX1290" fmla="*/ 1181812 w 2081801"/>
                  <a:gd name="connsiteY1290" fmla="*/ 1470714 h 2563305"/>
                  <a:gd name="connsiteX1291" fmla="*/ 1111002 w 2081801"/>
                  <a:gd name="connsiteY1291" fmla="*/ 1548605 h 2563305"/>
                  <a:gd name="connsiteX1292" fmla="*/ 926897 w 2081801"/>
                  <a:gd name="connsiteY1292" fmla="*/ 1523113 h 2563305"/>
                  <a:gd name="connsiteX1293" fmla="*/ 958054 w 2081801"/>
                  <a:gd name="connsiteY1293" fmla="*/ 1435310 h 2563305"/>
                  <a:gd name="connsiteX1294" fmla="*/ 1009036 w 2081801"/>
                  <a:gd name="connsiteY1294" fmla="*/ 1395656 h 2563305"/>
                  <a:gd name="connsiteX1295" fmla="*/ 926897 w 2081801"/>
                  <a:gd name="connsiteY1295" fmla="*/ 1525946 h 2563305"/>
                  <a:gd name="connsiteX1296" fmla="*/ 1109586 w 2081801"/>
                  <a:gd name="connsiteY1296" fmla="*/ 1551437 h 2563305"/>
                  <a:gd name="connsiteX1297" fmla="*/ 994874 w 2081801"/>
                  <a:gd name="connsiteY1297" fmla="*/ 1678894 h 2563305"/>
                  <a:gd name="connsiteX1298" fmla="*/ 994874 w 2081801"/>
                  <a:gd name="connsiteY1298" fmla="*/ 1678894 h 2563305"/>
                  <a:gd name="connsiteX1299" fmla="*/ 1038776 w 2081801"/>
                  <a:gd name="connsiteY1299" fmla="*/ 1676062 h 2563305"/>
                  <a:gd name="connsiteX1300" fmla="*/ 973632 w 2081801"/>
                  <a:gd name="connsiteY1300" fmla="*/ 1701553 h 2563305"/>
                  <a:gd name="connsiteX1301" fmla="*/ 973632 w 2081801"/>
                  <a:gd name="connsiteY1301" fmla="*/ 1701553 h 2563305"/>
                  <a:gd name="connsiteX1302" fmla="*/ 979297 w 2081801"/>
                  <a:gd name="connsiteY1302" fmla="*/ 1751120 h 2563305"/>
                  <a:gd name="connsiteX1303" fmla="*/ 857504 w 2081801"/>
                  <a:gd name="connsiteY1303" fmla="*/ 1731293 h 2563305"/>
                  <a:gd name="connsiteX1304" fmla="*/ 926897 w 2081801"/>
                  <a:gd name="connsiteY1304" fmla="*/ 1525946 h 2563305"/>
                  <a:gd name="connsiteX1305" fmla="*/ 1483461 w 2081801"/>
                  <a:gd name="connsiteY1305" fmla="*/ 1898404 h 2563305"/>
                  <a:gd name="connsiteX1306" fmla="*/ 1283778 w 2081801"/>
                  <a:gd name="connsiteY1306" fmla="*/ 1912566 h 2563305"/>
                  <a:gd name="connsiteX1307" fmla="*/ 1320599 w 2081801"/>
                  <a:gd name="connsiteY1307" fmla="*/ 1853086 h 2563305"/>
                  <a:gd name="connsiteX1308" fmla="*/ 1333345 w 2081801"/>
                  <a:gd name="connsiteY1308" fmla="*/ 1887074 h 2563305"/>
                  <a:gd name="connsiteX1309" fmla="*/ 1333345 w 2081801"/>
                  <a:gd name="connsiteY1309" fmla="*/ 1887074 h 2563305"/>
                  <a:gd name="connsiteX1310" fmla="*/ 1472131 w 2081801"/>
                  <a:gd name="connsiteY1310" fmla="*/ 1804935 h 2563305"/>
                  <a:gd name="connsiteX1311" fmla="*/ 1496207 w 2081801"/>
                  <a:gd name="connsiteY1311" fmla="*/ 1888491 h 2563305"/>
                  <a:gd name="connsiteX1312" fmla="*/ 1483461 w 2081801"/>
                  <a:gd name="connsiteY1312" fmla="*/ 1898404 h 2563305"/>
                  <a:gd name="connsiteX1313" fmla="*/ 1443807 w 2081801"/>
                  <a:gd name="connsiteY1313" fmla="*/ 1697305 h 2563305"/>
                  <a:gd name="connsiteX1314" fmla="*/ 1435310 w 2081801"/>
                  <a:gd name="connsiteY1314" fmla="*/ 1666148 h 2563305"/>
                  <a:gd name="connsiteX1315" fmla="*/ 1435310 w 2081801"/>
                  <a:gd name="connsiteY1315" fmla="*/ 1666148 h 2563305"/>
                  <a:gd name="connsiteX1316" fmla="*/ 1399905 w 2081801"/>
                  <a:gd name="connsiteY1316" fmla="*/ 1724212 h 2563305"/>
                  <a:gd name="connsiteX1317" fmla="*/ 1392824 w 2081801"/>
                  <a:gd name="connsiteY1317" fmla="*/ 1728461 h 2563305"/>
                  <a:gd name="connsiteX1318" fmla="*/ 1283778 w 2081801"/>
                  <a:gd name="connsiteY1318" fmla="*/ 1742623 h 2563305"/>
                  <a:gd name="connsiteX1319" fmla="*/ 1254038 w 2081801"/>
                  <a:gd name="connsiteY1319" fmla="*/ 1661900 h 2563305"/>
                  <a:gd name="connsiteX1320" fmla="*/ 1278113 w 2081801"/>
                  <a:gd name="connsiteY1320" fmla="*/ 1660484 h 2563305"/>
                  <a:gd name="connsiteX1321" fmla="*/ 1278113 w 2081801"/>
                  <a:gd name="connsiteY1321" fmla="*/ 1660484 h 2563305"/>
                  <a:gd name="connsiteX1322" fmla="*/ 1351755 w 2081801"/>
                  <a:gd name="connsiteY1322" fmla="*/ 1584010 h 2563305"/>
                  <a:gd name="connsiteX1323" fmla="*/ 1387160 w 2081801"/>
                  <a:gd name="connsiteY1323" fmla="*/ 1588258 h 2563305"/>
                  <a:gd name="connsiteX1324" fmla="*/ 1387160 w 2081801"/>
                  <a:gd name="connsiteY1324" fmla="*/ 1588258 h 2563305"/>
                  <a:gd name="connsiteX1325" fmla="*/ 1482045 w 2081801"/>
                  <a:gd name="connsiteY1325" fmla="*/ 1508951 h 2563305"/>
                  <a:gd name="connsiteX1326" fmla="*/ 1514617 w 2081801"/>
                  <a:gd name="connsiteY1326" fmla="*/ 1496206 h 2563305"/>
                  <a:gd name="connsiteX1327" fmla="*/ 1643490 w 2081801"/>
                  <a:gd name="connsiteY1327" fmla="*/ 1533027 h 2563305"/>
                  <a:gd name="connsiteX1328" fmla="*/ 1637826 w 2081801"/>
                  <a:gd name="connsiteY1328" fmla="*/ 1586842 h 2563305"/>
                  <a:gd name="connsiteX1329" fmla="*/ 1443807 w 2081801"/>
                  <a:gd name="connsiteY1329" fmla="*/ 1697305 h 2563305"/>
                  <a:gd name="connsiteX1330" fmla="*/ 1755369 w 2081801"/>
                  <a:gd name="connsiteY1330" fmla="*/ 1276696 h 2563305"/>
                  <a:gd name="connsiteX1331" fmla="*/ 1661901 w 2081801"/>
                  <a:gd name="connsiteY1331" fmla="*/ 1354586 h 2563305"/>
                  <a:gd name="connsiteX1332" fmla="*/ 1663317 w 2081801"/>
                  <a:gd name="connsiteY1332" fmla="*/ 1341841 h 2563305"/>
                  <a:gd name="connsiteX1333" fmla="*/ 1755369 w 2081801"/>
                  <a:gd name="connsiteY1333" fmla="*/ 1276696 h 2563305"/>
                  <a:gd name="connsiteX1334" fmla="*/ 970799 w 2081801"/>
                  <a:gd name="connsiteY1334" fmla="*/ 264120 h 2563305"/>
                  <a:gd name="connsiteX1335" fmla="*/ 1038776 w 2081801"/>
                  <a:gd name="connsiteY1335" fmla="*/ 272617 h 2563305"/>
                  <a:gd name="connsiteX1336" fmla="*/ 1021782 w 2081801"/>
                  <a:gd name="connsiteY1336" fmla="*/ 281114 h 2563305"/>
                  <a:gd name="connsiteX1337" fmla="*/ 970799 w 2081801"/>
                  <a:gd name="connsiteY1337" fmla="*/ 264120 h 2563305"/>
                  <a:gd name="connsiteX1338" fmla="*/ 833429 w 2081801"/>
                  <a:gd name="connsiteY1338" fmla="*/ 10621 h 2563305"/>
                  <a:gd name="connsiteX1339" fmla="*/ 657821 w 2081801"/>
                  <a:gd name="connsiteY1339" fmla="*/ 142327 h 2563305"/>
                  <a:gd name="connsiteX1340" fmla="*/ 417069 w 2081801"/>
                  <a:gd name="connsiteY1340" fmla="*/ 88512 h 2563305"/>
                  <a:gd name="connsiteX1341" fmla="*/ 833429 w 2081801"/>
                  <a:gd name="connsiteY1341" fmla="*/ 10621 h 2563305"/>
                  <a:gd name="connsiteX1342" fmla="*/ 577098 w 2081801"/>
                  <a:gd name="connsiteY1342" fmla="*/ 204640 h 2563305"/>
                  <a:gd name="connsiteX1343" fmla="*/ 602590 w 2081801"/>
                  <a:gd name="connsiteY1343" fmla="*/ 186229 h 2563305"/>
                  <a:gd name="connsiteX1344" fmla="*/ 621000 w 2081801"/>
                  <a:gd name="connsiteY1344" fmla="*/ 204640 h 2563305"/>
                  <a:gd name="connsiteX1345" fmla="*/ 577098 w 2081801"/>
                  <a:gd name="connsiteY1345" fmla="*/ 204640 h 2563305"/>
                  <a:gd name="connsiteX1346" fmla="*/ 636578 w 2081801"/>
                  <a:gd name="connsiteY1346" fmla="*/ 157905 h 2563305"/>
                  <a:gd name="connsiteX1347" fmla="*/ 602590 w 2081801"/>
                  <a:gd name="connsiteY1347" fmla="*/ 183397 h 2563305"/>
                  <a:gd name="connsiteX1348" fmla="*/ 545942 w 2081801"/>
                  <a:gd name="connsiteY1348" fmla="*/ 129581 h 2563305"/>
                  <a:gd name="connsiteX1349" fmla="*/ 636578 w 2081801"/>
                  <a:gd name="connsiteY1349" fmla="*/ 157905 h 2563305"/>
                  <a:gd name="connsiteX1350" fmla="*/ 511954 w 2081801"/>
                  <a:gd name="connsiteY1350" fmla="*/ 207472 h 2563305"/>
                  <a:gd name="connsiteX1351" fmla="*/ 571433 w 2081801"/>
                  <a:gd name="connsiteY1351" fmla="*/ 206056 h 2563305"/>
                  <a:gd name="connsiteX1352" fmla="*/ 562936 w 2081801"/>
                  <a:gd name="connsiteY1352" fmla="*/ 213137 h 2563305"/>
                  <a:gd name="connsiteX1353" fmla="*/ 511954 w 2081801"/>
                  <a:gd name="connsiteY1353" fmla="*/ 207472 h 2563305"/>
                  <a:gd name="connsiteX1354" fmla="*/ 494959 w 2081801"/>
                  <a:gd name="connsiteY1354" fmla="*/ 207472 h 2563305"/>
                  <a:gd name="connsiteX1355" fmla="*/ 558688 w 2081801"/>
                  <a:gd name="connsiteY1355" fmla="*/ 214553 h 2563305"/>
                  <a:gd name="connsiteX1356" fmla="*/ 490711 w 2081801"/>
                  <a:gd name="connsiteY1356" fmla="*/ 265536 h 2563305"/>
                  <a:gd name="connsiteX1357" fmla="*/ 359005 w 2081801"/>
                  <a:gd name="connsiteY1357" fmla="*/ 237212 h 2563305"/>
                  <a:gd name="connsiteX1358" fmla="*/ 323600 w 2081801"/>
                  <a:gd name="connsiteY1358" fmla="*/ 210304 h 2563305"/>
                  <a:gd name="connsiteX1359" fmla="*/ 494959 w 2081801"/>
                  <a:gd name="connsiteY1359" fmla="*/ 207472 h 2563305"/>
                  <a:gd name="connsiteX1360" fmla="*/ 479381 w 2081801"/>
                  <a:gd name="connsiteY1360" fmla="*/ 206056 h 2563305"/>
                  <a:gd name="connsiteX1361" fmla="*/ 320768 w 2081801"/>
                  <a:gd name="connsiteY1361" fmla="*/ 207472 h 2563305"/>
                  <a:gd name="connsiteX1362" fmla="*/ 288195 w 2081801"/>
                  <a:gd name="connsiteY1362" fmla="*/ 183397 h 2563305"/>
                  <a:gd name="connsiteX1363" fmla="*/ 479381 w 2081801"/>
                  <a:gd name="connsiteY1363" fmla="*/ 206056 h 2563305"/>
                  <a:gd name="connsiteX1364" fmla="*/ 320768 w 2081801"/>
                  <a:gd name="connsiteY1364" fmla="*/ 210304 h 2563305"/>
                  <a:gd name="connsiteX1365" fmla="*/ 354756 w 2081801"/>
                  <a:gd name="connsiteY1365" fmla="*/ 237212 h 2563305"/>
                  <a:gd name="connsiteX1366" fmla="*/ 238628 w 2081801"/>
                  <a:gd name="connsiteY1366" fmla="*/ 211720 h 2563305"/>
                  <a:gd name="connsiteX1367" fmla="*/ 320768 w 2081801"/>
                  <a:gd name="connsiteY1367" fmla="*/ 210304 h 2563305"/>
                  <a:gd name="connsiteX1368" fmla="*/ 300941 w 2081801"/>
                  <a:gd name="connsiteY1368" fmla="*/ 650740 h 2563305"/>
                  <a:gd name="connsiteX1369" fmla="*/ 310854 w 2081801"/>
                  <a:gd name="connsiteY1369" fmla="*/ 653572 h 2563305"/>
                  <a:gd name="connsiteX1370" fmla="*/ 306606 w 2081801"/>
                  <a:gd name="connsiteY1370" fmla="*/ 662069 h 2563305"/>
                  <a:gd name="connsiteX1371" fmla="*/ 300941 w 2081801"/>
                  <a:gd name="connsiteY1371" fmla="*/ 650740 h 2563305"/>
                  <a:gd name="connsiteX1372" fmla="*/ 228715 w 2081801"/>
                  <a:gd name="connsiteY1372" fmla="*/ 632329 h 2563305"/>
                  <a:gd name="connsiteX1373" fmla="*/ 262704 w 2081801"/>
                  <a:gd name="connsiteY1373" fmla="*/ 592676 h 2563305"/>
                  <a:gd name="connsiteX1374" fmla="*/ 296692 w 2081801"/>
                  <a:gd name="connsiteY1374" fmla="*/ 646491 h 2563305"/>
                  <a:gd name="connsiteX1375" fmla="*/ 228715 w 2081801"/>
                  <a:gd name="connsiteY1375" fmla="*/ 632329 h 2563305"/>
                  <a:gd name="connsiteX1376" fmla="*/ 262704 w 2081801"/>
                  <a:gd name="connsiteY1376" fmla="*/ 589843 h 2563305"/>
                  <a:gd name="connsiteX1377" fmla="*/ 255623 w 2081801"/>
                  <a:gd name="connsiteY1377" fmla="*/ 578514 h 2563305"/>
                  <a:gd name="connsiteX1378" fmla="*/ 289611 w 2081801"/>
                  <a:gd name="connsiteY1378" fmla="*/ 558687 h 2563305"/>
                  <a:gd name="connsiteX1379" fmla="*/ 262704 w 2081801"/>
                  <a:gd name="connsiteY1379" fmla="*/ 589843 h 2563305"/>
                  <a:gd name="connsiteX1380" fmla="*/ 162154 w 2081801"/>
                  <a:gd name="connsiteY1380" fmla="*/ 506288 h 2563305"/>
                  <a:gd name="connsiteX1381" fmla="*/ 218802 w 2081801"/>
                  <a:gd name="connsiteY1381" fmla="*/ 320767 h 2563305"/>
                  <a:gd name="connsiteX1382" fmla="*/ 190478 w 2081801"/>
                  <a:gd name="connsiteY1382" fmla="*/ 477964 h 2563305"/>
                  <a:gd name="connsiteX1383" fmla="*/ 183397 w 2081801"/>
                  <a:gd name="connsiteY1383" fmla="*/ 466635 h 2563305"/>
                  <a:gd name="connsiteX1384" fmla="*/ 183397 w 2081801"/>
                  <a:gd name="connsiteY1384" fmla="*/ 466635 h 2563305"/>
                  <a:gd name="connsiteX1385" fmla="*/ 162154 w 2081801"/>
                  <a:gd name="connsiteY1385" fmla="*/ 506288 h 2563305"/>
                  <a:gd name="connsiteX1386" fmla="*/ 116836 w 2081801"/>
                  <a:gd name="connsiteY1386" fmla="*/ 589843 h 2563305"/>
                  <a:gd name="connsiteX1387" fmla="*/ 153657 w 2081801"/>
                  <a:gd name="connsiteY1387" fmla="*/ 523282 h 2563305"/>
                  <a:gd name="connsiteX1388" fmla="*/ 128166 w 2081801"/>
                  <a:gd name="connsiteY1388" fmla="*/ 608254 h 2563305"/>
                  <a:gd name="connsiteX1389" fmla="*/ 116836 w 2081801"/>
                  <a:gd name="connsiteY1389" fmla="*/ 589843 h 2563305"/>
                  <a:gd name="connsiteX1390" fmla="*/ 914152 w 2081801"/>
                  <a:gd name="connsiteY1390" fmla="*/ 1521697 h 2563305"/>
                  <a:gd name="connsiteX1391" fmla="*/ 853255 w 2081801"/>
                  <a:gd name="connsiteY1391" fmla="*/ 1518865 h 2563305"/>
                  <a:gd name="connsiteX1392" fmla="*/ 956638 w 2081801"/>
                  <a:gd name="connsiteY1392" fmla="*/ 1438142 h 2563305"/>
                  <a:gd name="connsiteX1393" fmla="*/ 926897 w 2081801"/>
                  <a:gd name="connsiteY1393" fmla="*/ 1523113 h 2563305"/>
                  <a:gd name="connsiteX1394" fmla="*/ 914152 w 2081801"/>
                  <a:gd name="connsiteY1394" fmla="*/ 1521697 h 2563305"/>
                  <a:gd name="connsiteX1395" fmla="*/ 1003372 w 2081801"/>
                  <a:gd name="connsiteY1395" fmla="*/ 1755368 h 2563305"/>
                  <a:gd name="connsiteX1396" fmla="*/ 1000540 w 2081801"/>
                  <a:gd name="connsiteY1396" fmla="*/ 1761033 h 2563305"/>
                  <a:gd name="connsiteX1397" fmla="*/ 984961 w 2081801"/>
                  <a:gd name="connsiteY1397" fmla="*/ 1789357 h 2563305"/>
                  <a:gd name="connsiteX1398" fmla="*/ 980713 w 2081801"/>
                  <a:gd name="connsiteY1398" fmla="*/ 1751120 h 2563305"/>
                  <a:gd name="connsiteX1399" fmla="*/ 1003372 w 2081801"/>
                  <a:gd name="connsiteY1399" fmla="*/ 1755368 h 2563305"/>
                  <a:gd name="connsiteX1400" fmla="*/ 983545 w 2081801"/>
                  <a:gd name="connsiteY1400" fmla="*/ 1796438 h 2563305"/>
                  <a:gd name="connsiteX1401" fmla="*/ 1010453 w 2081801"/>
                  <a:gd name="connsiteY1401" fmla="*/ 2031526 h 2563305"/>
                  <a:gd name="connsiteX1402" fmla="*/ 932562 w 2081801"/>
                  <a:gd name="connsiteY1402" fmla="*/ 1887074 h 2563305"/>
                  <a:gd name="connsiteX1403" fmla="*/ 983545 w 2081801"/>
                  <a:gd name="connsiteY1403" fmla="*/ 1796438 h 2563305"/>
                  <a:gd name="connsiteX1404" fmla="*/ 1299356 w 2081801"/>
                  <a:gd name="connsiteY1404" fmla="*/ 2289272 h 2563305"/>
                  <a:gd name="connsiteX1405" fmla="*/ 1489126 w 2081801"/>
                  <a:gd name="connsiteY1405" fmla="*/ 2153318 h 2563305"/>
                  <a:gd name="connsiteX1406" fmla="*/ 1432478 w 2081801"/>
                  <a:gd name="connsiteY1406" fmla="*/ 2265197 h 2563305"/>
                  <a:gd name="connsiteX1407" fmla="*/ 1299356 w 2081801"/>
                  <a:gd name="connsiteY1407" fmla="*/ 2289272 h 2563305"/>
                  <a:gd name="connsiteX1408" fmla="*/ 1520282 w 2081801"/>
                  <a:gd name="connsiteY1408" fmla="*/ 2252451 h 2563305"/>
                  <a:gd name="connsiteX1409" fmla="*/ 1418316 w 2081801"/>
                  <a:gd name="connsiteY1409" fmla="*/ 2297770 h 2563305"/>
                  <a:gd name="connsiteX1410" fmla="*/ 1433894 w 2081801"/>
                  <a:gd name="connsiteY1410" fmla="*/ 2266613 h 2563305"/>
                  <a:gd name="connsiteX1411" fmla="*/ 1520282 w 2081801"/>
                  <a:gd name="connsiteY1411" fmla="*/ 2252451 h 2563305"/>
                  <a:gd name="connsiteX1412" fmla="*/ 1593924 w 2081801"/>
                  <a:gd name="connsiteY1412" fmla="*/ 2075428 h 2563305"/>
                  <a:gd name="connsiteX1413" fmla="*/ 1494790 w 2081801"/>
                  <a:gd name="connsiteY1413" fmla="*/ 2146237 h 2563305"/>
                  <a:gd name="connsiteX1414" fmla="*/ 1541524 w 2081801"/>
                  <a:gd name="connsiteY1414" fmla="*/ 2052768 h 2563305"/>
                  <a:gd name="connsiteX1415" fmla="*/ 1593924 w 2081801"/>
                  <a:gd name="connsiteY1415" fmla="*/ 2075428 h 2563305"/>
                  <a:gd name="connsiteX1416" fmla="*/ 1650571 w 2081801"/>
                  <a:gd name="connsiteY1416" fmla="*/ 1443806 h 2563305"/>
                  <a:gd name="connsiteX1417" fmla="*/ 1642074 w 2081801"/>
                  <a:gd name="connsiteY1417" fmla="*/ 1531610 h 2563305"/>
                  <a:gd name="connsiteX1418" fmla="*/ 1516033 w 2081801"/>
                  <a:gd name="connsiteY1418" fmla="*/ 1494789 h 2563305"/>
                  <a:gd name="connsiteX1419" fmla="*/ 1650571 w 2081801"/>
                  <a:gd name="connsiteY1419" fmla="*/ 1443806 h 2563305"/>
                  <a:gd name="connsiteX1420" fmla="*/ 1904070 w 2081801"/>
                  <a:gd name="connsiteY1420" fmla="*/ 1347506 h 2563305"/>
                  <a:gd name="connsiteX1421" fmla="*/ 1724213 w 2081801"/>
                  <a:gd name="connsiteY1421" fmla="*/ 1555686 h 2563305"/>
                  <a:gd name="connsiteX1422" fmla="*/ 1643490 w 2081801"/>
                  <a:gd name="connsiteY1422" fmla="*/ 1533027 h 2563305"/>
                  <a:gd name="connsiteX1423" fmla="*/ 1651988 w 2081801"/>
                  <a:gd name="connsiteY1423" fmla="*/ 1443806 h 2563305"/>
                  <a:gd name="connsiteX1424" fmla="*/ 1904070 w 2081801"/>
                  <a:gd name="connsiteY1424" fmla="*/ 1347506 h 2563305"/>
                  <a:gd name="connsiteX1425" fmla="*/ 1305021 w 2081801"/>
                  <a:gd name="connsiteY1425" fmla="*/ 442560 h 2563305"/>
                  <a:gd name="connsiteX1426" fmla="*/ 1310685 w 2081801"/>
                  <a:gd name="connsiteY1426" fmla="*/ 220218 h 2563305"/>
                  <a:gd name="connsiteX1427" fmla="*/ 1336177 w 2081801"/>
                  <a:gd name="connsiteY1427" fmla="*/ 449641 h 2563305"/>
                  <a:gd name="connsiteX1428" fmla="*/ 1305021 w 2081801"/>
                  <a:gd name="connsiteY1428" fmla="*/ 442560 h 2563305"/>
                  <a:gd name="connsiteX1429" fmla="*/ 562936 w 2081801"/>
                  <a:gd name="connsiteY1429" fmla="*/ 1133661 h 2563305"/>
                  <a:gd name="connsiteX1430" fmla="*/ 422733 w 2081801"/>
                  <a:gd name="connsiteY1430" fmla="*/ 1099672 h 2563305"/>
                  <a:gd name="connsiteX1431" fmla="*/ 455306 w 2081801"/>
                  <a:gd name="connsiteY1431" fmla="*/ 1014701 h 2563305"/>
                  <a:gd name="connsiteX1432" fmla="*/ 562936 w 2081801"/>
                  <a:gd name="connsiteY1432" fmla="*/ 1133661 h 2563305"/>
                  <a:gd name="connsiteX1433" fmla="*/ 956638 w 2081801"/>
                  <a:gd name="connsiteY1433" fmla="*/ 1334760 h 2563305"/>
                  <a:gd name="connsiteX1434" fmla="*/ 959470 w 2081801"/>
                  <a:gd name="connsiteY1434" fmla="*/ 1334760 h 2563305"/>
                  <a:gd name="connsiteX1435" fmla="*/ 958054 w 2081801"/>
                  <a:gd name="connsiteY1435" fmla="*/ 1336176 h 2563305"/>
                  <a:gd name="connsiteX1436" fmla="*/ 956638 w 2081801"/>
                  <a:gd name="connsiteY1436" fmla="*/ 1334760 h 2563305"/>
                  <a:gd name="connsiteX1437" fmla="*/ 1136494 w 2081801"/>
                  <a:gd name="connsiteY1437" fmla="*/ 2314764 h 2563305"/>
                  <a:gd name="connsiteX1438" fmla="*/ 1130829 w 2081801"/>
                  <a:gd name="connsiteY1438" fmla="*/ 2337423 h 2563305"/>
                  <a:gd name="connsiteX1439" fmla="*/ 1061436 w 2081801"/>
                  <a:gd name="connsiteY1439" fmla="*/ 2302018 h 2563305"/>
                  <a:gd name="connsiteX1440" fmla="*/ 1136494 w 2081801"/>
                  <a:gd name="connsiteY1440" fmla="*/ 2314764 h 2563305"/>
                  <a:gd name="connsiteX1441" fmla="*/ 1221465 w 2081801"/>
                  <a:gd name="connsiteY1441" fmla="*/ 2386990 h 2563305"/>
                  <a:gd name="connsiteX1442" fmla="*/ 1105338 w 2081801"/>
                  <a:gd name="connsiteY1442" fmla="*/ 2439389 h 2563305"/>
                  <a:gd name="connsiteX1443" fmla="*/ 1130829 w 2081801"/>
                  <a:gd name="connsiteY1443" fmla="*/ 2341672 h 2563305"/>
                  <a:gd name="connsiteX1444" fmla="*/ 1221465 w 2081801"/>
                  <a:gd name="connsiteY1444" fmla="*/ 2386990 h 2563305"/>
                  <a:gd name="connsiteX1445" fmla="*/ 1690225 w 2081801"/>
                  <a:gd name="connsiteY1445" fmla="*/ 1112418 h 2563305"/>
                  <a:gd name="connsiteX1446" fmla="*/ 1731294 w 2081801"/>
                  <a:gd name="connsiteY1446" fmla="*/ 871665 h 2563305"/>
                  <a:gd name="connsiteX1447" fmla="*/ 1729878 w 2081801"/>
                  <a:gd name="connsiteY1447" fmla="*/ 1109585 h 2563305"/>
                  <a:gd name="connsiteX1448" fmla="*/ 1690225 w 2081801"/>
                  <a:gd name="connsiteY1448" fmla="*/ 1112418 h 2563305"/>
                  <a:gd name="connsiteX1449" fmla="*/ 2017365 w 2081801"/>
                  <a:gd name="connsiteY1449" fmla="*/ 1875745 h 2563305"/>
                  <a:gd name="connsiteX1450" fmla="*/ 1918231 w 2081801"/>
                  <a:gd name="connsiteY1450" fmla="*/ 2129243 h 2563305"/>
                  <a:gd name="connsiteX1451" fmla="*/ 1911150 w 2081801"/>
                  <a:gd name="connsiteY1451" fmla="*/ 1991872 h 2563305"/>
                  <a:gd name="connsiteX1452" fmla="*/ 1911150 w 2081801"/>
                  <a:gd name="connsiteY1452" fmla="*/ 1990456 h 2563305"/>
                  <a:gd name="connsiteX1453" fmla="*/ 1855919 w 2081801"/>
                  <a:gd name="connsiteY1453" fmla="*/ 2184474 h 2563305"/>
                  <a:gd name="connsiteX1454" fmla="*/ 1677479 w 2081801"/>
                  <a:gd name="connsiteY1454" fmla="*/ 1821929 h 2563305"/>
                  <a:gd name="connsiteX1455" fmla="*/ 1909734 w 2081801"/>
                  <a:gd name="connsiteY1455" fmla="*/ 1990456 h 2563305"/>
                  <a:gd name="connsiteX1456" fmla="*/ 1909734 w 2081801"/>
                  <a:gd name="connsiteY1456" fmla="*/ 1990456 h 2563305"/>
                  <a:gd name="connsiteX1457" fmla="*/ 2017365 w 2081801"/>
                  <a:gd name="connsiteY1457" fmla="*/ 1875745 h 2563305"/>
                  <a:gd name="connsiteX1458" fmla="*/ 1916815 w 2081801"/>
                  <a:gd name="connsiteY1458" fmla="*/ 2139156 h 2563305"/>
                  <a:gd name="connsiteX1459" fmla="*/ 1918231 w 2081801"/>
                  <a:gd name="connsiteY1459" fmla="*/ 2158983 h 2563305"/>
                  <a:gd name="connsiteX1460" fmla="*/ 1901237 w 2081801"/>
                  <a:gd name="connsiteY1460" fmla="*/ 2180226 h 2563305"/>
                  <a:gd name="connsiteX1461" fmla="*/ 1916815 w 2081801"/>
                  <a:gd name="connsiteY1461" fmla="*/ 2139156 h 2563305"/>
                  <a:gd name="connsiteX1462" fmla="*/ 1925312 w 2081801"/>
                  <a:gd name="connsiteY1462" fmla="*/ 2246787 h 2563305"/>
                  <a:gd name="connsiteX1463" fmla="*/ 1919648 w 2081801"/>
                  <a:gd name="connsiteY1463" fmla="*/ 2160399 h 2563305"/>
                  <a:gd name="connsiteX1464" fmla="*/ 1981960 w 2081801"/>
                  <a:gd name="connsiteY1464" fmla="*/ 2085341 h 2563305"/>
                  <a:gd name="connsiteX1465" fmla="*/ 1925312 w 2081801"/>
                  <a:gd name="connsiteY1465" fmla="*/ 2246787 h 2563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Lst>
                <a:rect l="l" t="t" r="r" b="b"/>
                <a:pathLst>
                  <a:path w="2081801" h="2563305">
                    <a:moveTo>
                      <a:pt x="1861584" y="1065684"/>
                    </a:moveTo>
                    <a:lnTo>
                      <a:pt x="1996122" y="1212967"/>
                    </a:lnTo>
                    <a:lnTo>
                      <a:pt x="1976295" y="1265367"/>
                    </a:lnTo>
                    <a:lnTo>
                      <a:pt x="1908318" y="1344673"/>
                    </a:lnTo>
                    <a:lnTo>
                      <a:pt x="1654820" y="1440974"/>
                    </a:lnTo>
                    <a:lnTo>
                      <a:pt x="1663317" y="1357419"/>
                    </a:lnTo>
                    <a:lnTo>
                      <a:pt x="1779445" y="1259702"/>
                    </a:lnTo>
                    <a:lnTo>
                      <a:pt x="1779445" y="1259702"/>
                    </a:lnTo>
                    <a:lnTo>
                      <a:pt x="1778029" y="1258286"/>
                    </a:lnTo>
                    <a:lnTo>
                      <a:pt x="1664733" y="1339008"/>
                    </a:lnTo>
                    <a:lnTo>
                      <a:pt x="1681727" y="1174730"/>
                    </a:lnTo>
                    <a:lnTo>
                      <a:pt x="1691641" y="1113834"/>
                    </a:lnTo>
                    <a:lnTo>
                      <a:pt x="1734127" y="1109585"/>
                    </a:lnTo>
                    <a:lnTo>
                      <a:pt x="1734127" y="1109585"/>
                    </a:lnTo>
                    <a:lnTo>
                      <a:pt x="1735543" y="857503"/>
                    </a:lnTo>
                    <a:lnTo>
                      <a:pt x="1735543" y="857503"/>
                    </a:lnTo>
                    <a:lnTo>
                      <a:pt x="1734127" y="857503"/>
                    </a:lnTo>
                    <a:lnTo>
                      <a:pt x="1690225" y="1112418"/>
                    </a:lnTo>
                    <a:lnTo>
                      <a:pt x="1616583" y="1119499"/>
                    </a:lnTo>
                    <a:lnTo>
                      <a:pt x="1667565" y="1101088"/>
                    </a:lnTo>
                    <a:lnTo>
                      <a:pt x="1667565" y="1101088"/>
                    </a:lnTo>
                    <a:lnTo>
                      <a:pt x="1567016" y="1052938"/>
                    </a:lnTo>
                    <a:lnTo>
                      <a:pt x="1610918" y="1003371"/>
                    </a:lnTo>
                    <a:lnTo>
                      <a:pt x="1610918" y="1003371"/>
                    </a:lnTo>
                    <a:lnTo>
                      <a:pt x="1564184" y="837677"/>
                    </a:lnTo>
                    <a:lnTo>
                      <a:pt x="1690225" y="707387"/>
                    </a:lnTo>
                    <a:lnTo>
                      <a:pt x="1690225" y="707387"/>
                    </a:lnTo>
                    <a:lnTo>
                      <a:pt x="1582594" y="720133"/>
                    </a:lnTo>
                    <a:lnTo>
                      <a:pt x="1650571" y="643659"/>
                    </a:lnTo>
                    <a:lnTo>
                      <a:pt x="1650571" y="643659"/>
                    </a:lnTo>
                    <a:lnTo>
                      <a:pt x="1406986" y="670566"/>
                    </a:lnTo>
                    <a:lnTo>
                      <a:pt x="1436726" y="625248"/>
                    </a:lnTo>
                    <a:lnTo>
                      <a:pt x="1450888" y="477964"/>
                    </a:lnTo>
                    <a:lnTo>
                      <a:pt x="1593924" y="509121"/>
                    </a:lnTo>
                    <a:lnTo>
                      <a:pt x="1620831" y="585595"/>
                    </a:lnTo>
                    <a:lnTo>
                      <a:pt x="1620831" y="585595"/>
                    </a:lnTo>
                    <a:lnTo>
                      <a:pt x="1622248" y="585595"/>
                    </a:lnTo>
                    <a:lnTo>
                      <a:pt x="1593924" y="507704"/>
                    </a:lnTo>
                    <a:lnTo>
                      <a:pt x="1593924" y="507704"/>
                    </a:lnTo>
                    <a:lnTo>
                      <a:pt x="1449472" y="476548"/>
                    </a:lnTo>
                    <a:lnTo>
                      <a:pt x="1473547" y="215969"/>
                    </a:lnTo>
                    <a:lnTo>
                      <a:pt x="1473547" y="215969"/>
                    </a:lnTo>
                    <a:lnTo>
                      <a:pt x="1472131" y="215969"/>
                    </a:lnTo>
                    <a:lnTo>
                      <a:pt x="1472131" y="215969"/>
                    </a:lnTo>
                    <a:lnTo>
                      <a:pt x="1392824" y="465219"/>
                    </a:lnTo>
                    <a:lnTo>
                      <a:pt x="1339009" y="453889"/>
                    </a:lnTo>
                    <a:lnTo>
                      <a:pt x="1310685" y="208888"/>
                    </a:lnTo>
                    <a:lnTo>
                      <a:pt x="1310685" y="208888"/>
                    </a:lnTo>
                    <a:lnTo>
                      <a:pt x="1309269" y="208888"/>
                    </a:lnTo>
                    <a:lnTo>
                      <a:pt x="1302188" y="446808"/>
                    </a:lnTo>
                    <a:lnTo>
                      <a:pt x="1184644" y="421317"/>
                    </a:lnTo>
                    <a:lnTo>
                      <a:pt x="1203055" y="343426"/>
                    </a:lnTo>
                    <a:lnTo>
                      <a:pt x="1203055" y="343426"/>
                    </a:lnTo>
                    <a:lnTo>
                      <a:pt x="1021782" y="285362"/>
                    </a:lnTo>
                    <a:lnTo>
                      <a:pt x="1043025" y="274033"/>
                    </a:lnTo>
                    <a:lnTo>
                      <a:pt x="958054" y="264120"/>
                    </a:lnTo>
                    <a:lnTo>
                      <a:pt x="783862" y="207472"/>
                    </a:lnTo>
                    <a:lnTo>
                      <a:pt x="921233" y="206056"/>
                    </a:lnTo>
                    <a:lnTo>
                      <a:pt x="921233" y="206056"/>
                    </a:lnTo>
                    <a:lnTo>
                      <a:pt x="921233" y="204640"/>
                    </a:lnTo>
                    <a:lnTo>
                      <a:pt x="657821" y="146576"/>
                    </a:lnTo>
                    <a:lnTo>
                      <a:pt x="837678" y="12037"/>
                    </a:lnTo>
                    <a:lnTo>
                      <a:pt x="839093" y="12037"/>
                    </a:lnTo>
                    <a:lnTo>
                      <a:pt x="405739" y="92760"/>
                    </a:lnTo>
                    <a:lnTo>
                      <a:pt x="404323" y="92760"/>
                    </a:lnTo>
                    <a:lnTo>
                      <a:pt x="653573" y="147992"/>
                    </a:lnTo>
                    <a:lnTo>
                      <a:pt x="636578" y="160738"/>
                    </a:lnTo>
                    <a:lnTo>
                      <a:pt x="537445" y="128165"/>
                    </a:lnTo>
                    <a:lnTo>
                      <a:pt x="536029" y="128165"/>
                    </a:lnTo>
                    <a:lnTo>
                      <a:pt x="598341" y="189061"/>
                    </a:lnTo>
                    <a:lnTo>
                      <a:pt x="571433" y="208888"/>
                    </a:lnTo>
                    <a:lnTo>
                      <a:pt x="493543" y="210304"/>
                    </a:lnTo>
                    <a:lnTo>
                      <a:pt x="281114" y="184813"/>
                    </a:lnTo>
                    <a:lnTo>
                      <a:pt x="279698" y="184813"/>
                    </a:lnTo>
                    <a:lnTo>
                      <a:pt x="315103" y="211720"/>
                    </a:lnTo>
                    <a:lnTo>
                      <a:pt x="227299" y="213137"/>
                    </a:lnTo>
                    <a:lnTo>
                      <a:pt x="227299" y="213137"/>
                    </a:lnTo>
                    <a:lnTo>
                      <a:pt x="227299" y="214553"/>
                    </a:lnTo>
                    <a:lnTo>
                      <a:pt x="227299" y="214553"/>
                    </a:lnTo>
                    <a:lnTo>
                      <a:pt x="357588" y="242877"/>
                    </a:lnTo>
                    <a:lnTo>
                      <a:pt x="441144" y="306605"/>
                    </a:lnTo>
                    <a:lnTo>
                      <a:pt x="367502" y="361837"/>
                    </a:lnTo>
                    <a:lnTo>
                      <a:pt x="367502" y="361837"/>
                    </a:lnTo>
                    <a:lnTo>
                      <a:pt x="446809" y="534612"/>
                    </a:lnTo>
                    <a:lnTo>
                      <a:pt x="381664" y="509121"/>
                    </a:lnTo>
                    <a:lnTo>
                      <a:pt x="381664" y="509121"/>
                    </a:lnTo>
                    <a:lnTo>
                      <a:pt x="310854" y="656404"/>
                    </a:lnTo>
                    <a:lnTo>
                      <a:pt x="298109" y="653572"/>
                    </a:lnTo>
                    <a:lnTo>
                      <a:pt x="262704" y="596924"/>
                    </a:lnTo>
                    <a:lnTo>
                      <a:pt x="296692" y="557271"/>
                    </a:lnTo>
                    <a:lnTo>
                      <a:pt x="298109" y="555855"/>
                    </a:lnTo>
                    <a:lnTo>
                      <a:pt x="254207" y="582762"/>
                    </a:lnTo>
                    <a:lnTo>
                      <a:pt x="191894" y="485045"/>
                    </a:lnTo>
                    <a:lnTo>
                      <a:pt x="223050" y="308022"/>
                    </a:lnTo>
                    <a:lnTo>
                      <a:pt x="223050" y="308022"/>
                    </a:lnTo>
                    <a:lnTo>
                      <a:pt x="221634" y="308022"/>
                    </a:lnTo>
                    <a:lnTo>
                      <a:pt x="156489" y="520450"/>
                    </a:lnTo>
                    <a:lnTo>
                      <a:pt x="115420" y="594092"/>
                    </a:lnTo>
                    <a:lnTo>
                      <a:pt x="54523" y="487878"/>
                    </a:lnTo>
                    <a:lnTo>
                      <a:pt x="53107" y="486461"/>
                    </a:lnTo>
                    <a:lnTo>
                      <a:pt x="99842" y="676231"/>
                    </a:lnTo>
                    <a:lnTo>
                      <a:pt x="99842" y="676231"/>
                    </a:lnTo>
                    <a:lnTo>
                      <a:pt x="109755" y="670566"/>
                    </a:lnTo>
                    <a:lnTo>
                      <a:pt x="10621" y="993458"/>
                    </a:lnTo>
                    <a:lnTo>
                      <a:pt x="10621" y="993458"/>
                    </a:lnTo>
                    <a:lnTo>
                      <a:pt x="84264" y="1081262"/>
                    </a:lnTo>
                    <a:lnTo>
                      <a:pt x="82847" y="1091175"/>
                    </a:lnTo>
                    <a:lnTo>
                      <a:pt x="82847" y="1091175"/>
                    </a:lnTo>
                    <a:lnTo>
                      <a:pt x="97009" y="1095424"/>
                    </a:lnTo>
                    <a:lnTo>
                      <a:pt x="268368" y="1299355"/>
                    </a:lnTo>
                    <a:lnTo>
                      <a:pt x="268368" y="1299355"/>
                    </a:lnTo>
                    <a:lnTo>
                      <a:pt x="305190" y="1157736"/>
                    </a:lnTo>
                    <a:lnTo>
                      <a:pt x="390161" y="1183227"/>
                    </a:lnTo>
                    <a:lnTo>
                      <a:pt x="354756" y="1278112"/>
                    </a:lnTo>
                    <a:lnTo>
                      <a:pt x="354756" y="1278112"/>
                    </a:lnTo>
                    <a:lnTo>
                      <a:pt x="536029" y="1225713"/>
                    </a:lnTo>
                    <a:lnTo>
                      <a:pt x="536029" y="1225713"/>
                    </a:lnTo>
                    <a:lnTo>
                      <a:pt x="392993" y="1181811"/>
                    </a:lnTo>
                    <a:lnTo>
                      <a:pt x="421317" y="1106753"/>
                    </a:lnTo>
                    <a:lnTo>
                      <a:pt x="565769" y="1140742"/>
                    </a:lnTo>
                    <a:lnTo>
                      <a:pt x="671983" y="1256869"/>
                    </a:lnTo>
                    <a:lnTo>
                      <a:pt x="943892" y="1336176"/>
                    </a:lnTo>
                    <a:lnTo>
                      <a:pt x="943892" y="1367332"/>
                    </a:lnTo>
                    <a:lnTo>
                      <a:pt x="943892" y="1367332"/>
                    </a:lnTo>
                    <a:lnTo>
                      <a:pt x="959470" y="1344673"/>
                    </a:lnTo>
                    <a:lnTo>
                      <a:pt x="982129" y="1371581"/>
                    </a:lnTo>
                    <a:lnTo>
                      <a:pt x="958054" y="1439558"/>
                    </a:lnTo>
                    <a:lnTo>
                      <a:pt x="847591" y="1525946"/>
                    </a:lnTo>
                    <a:lnTo>
                      <a:pt x="847591" y="1525946"/>
                    </a:lnTo>
                    <a:lnTo>
                      <a:pt x="914152" y="1528778"/>
                    </a:lnTo>
                    <a:lnTo>
                      <a:pt x="925481" y="1530194"/>
                    </a:lnTo>
                    <a:lnTo>
                      <a:pt x="853255" y="1735542"/>
                    </a:lnTo>
                    <a:lnTo>
                      <a:pt x="853255" y="1735542"/>
                    </a:lnTo>
                    <a:lnTo>
                      <a:pt x="977880" y="1756785"/>
                    </a:lnTo>
                    <a:lnTo>
                      <a:pt x="982129" y="1797854"/>
                    </a:lnTo>
                    <a:cubicBezTo>
                      <a:pt x="950973" y="1855918"/>
                      <a:pt x="932562" y="1889906"/>
                      <a:pt x="929730" y="1891323"/>
                    </a:cubicBezTo>
                    <a:cubicBezTo>
                      <a:pt x="929730" y="1891323"/>
                      <a:pt x="929730" y="1891323"/>
                      <a:pt x="929730" y="1891323"/>
                    </a:cubicBezTo>
                    <a:cubicBezTo>
                      <a:pt x="928314" y="1892739"/>
                      <a:pt x="932562" y="1899820"/>
                      <a:pt x="935395" y="1904068"/>
                    </a:cubicBezTo>
                    <a:cubicBezTo>
                      <a:pt x="935395" y="1904068"/>
                      <a:pt x="935395" y="1905485"/>
                      <a:pt x="935395" y="1905485"/>
                    </a:cubicBezTo>
                    <a:cubicBezTo>
                      <a:pt x="941059" y="1916814"/>
                      <a:pt x="946724" y="1928144"/>
                      <a:pt x="953805" y="1939473"/>
                    </a:cubicBezTo>
                    <a:cubicBezTo>
                      <a:pt x="972216" y="1973462"/>
                      <a:pt x="992042" y="2008867"/>
                      <a:pt x="1010453" y="2041439"/>
                    </a:cubicBezTo>
                    <a:lnTo>
                      <a:pt x="1040193" y="2303434"/>
                    </a:lnTo>
                    <a:lnTo>
                      <a:pt x="1040193" y="2303434"/>
                    </a:lnTo>
                    <a:lnTo>
                      <a:pt x="1113835" y="2185891"/>
                    </a:lnTo>
                    <a:lnTo>
                      <a:pt x="1174731" y="2174561"/>
                    </a:lnTo>
                    <a:lnTo>
                      <a:pt x="1136494" y="2316180"/>
                    </a:lnTo>
                    <a:lnTo>
                      <a:pt x="1048690" y="2302018"/>
                    </a:lnTo>
                    <a:lnTo>
                      <a:pt x="1047274" y="2302018"/>
                    </a:lnTo>
                    <a:lnTo>
                      <a:pt x="1129413" y="2344504"/>
                    </a:lnTo>
                    <a:lnTo>
                      <a:pt x="1102505" y="2446470"/>
                    </a:lnTo>
                    <a:lnTo>
                      <a:pt x="1102505" y="2446470"/>
                    </a:lnTo>
                    <a:lnTo>
                      <a:pt x="1224298" y="2391238"/>
                    </a:lnTo>
                    <a:lnTo>
                      <a:pt x="1307853" y="2433724"/>
                    </a:lnTo>
                    <a:lnTo>
                      <a:pt x="1163402" y="2564013"/>
                    </a:lnTo>
                    <a:lnTo>
                      <a:pt x="1163402" y="2564013"/>
                    </a:lnTo>
                    <a:lnTo>
                      <a:pt x="1164817" y="2565430"/>
                    </a:lnTo>
                    <a:lnTo>
                      <a:pt x="1310685" y="2433724"/>
                    </a:lnTo>
                    <a:lnTo>
                      <a:pt x="1310685" y="2433724"/>
                    </a:lnTo>
                    <a:lnTo>
                      <a:pt x="1225714" y="2389822"/>
                    </a:lnTo>
                    <a:lnTo>
                      <a:pt x="1319183" y="2347336"/>
                    </a:lnTo>
                    <a:lnTo>
                      <a:pt x="1387160" y="2358666"/>
                    </a:lnTo>
                    <a:lnTo>
                      <a:pt x="1387160" y="2358666"/>
                    </a:lnTo>
                    <a:lnTo>
                      <a:pt x="1414067" y="2304851"/>
                    </a:lnTo>
                    <a:lnTo>
                      <a:pt x="1525946" y="2253868"/>
                    </a:lnTo>
                    <a:lnTo>
                      <a:pt x="1525946" y="2253868"/>
                    </a:lnTo>
                    <a:lnTo>
                      <a:pt x="1525946" y="2252451"/>
                    </a:lnTo>
                    <a:lnTo>
                      <a:pt x="1525946" y="2252451"/>
                    </a:lnTo>
                    <a:lnTo>
                      <a:pt x="1432478" y="2269446"/>
                    </a:lnTo>
                    <a:lnTo>
                      <a:pt x="1490541" y="2154734"/>
                    </a:lnTo>
                    <a:lnTo>
                      <a:pt x="1595340" y="2079676"/>
                    </a:lnTo>
                    <a:lnTo>
                      <a:pt x="1595340" y="2079676"/>
                    </a:lnTo>
                    <a:lnTo>
                      <a:pt x="1540108" y="2055601"/>
                    </a:lnTo>
                    <a:lnTo>
                      <a:pt x="1660484" y="1816265"/>
                    </a:lnTo>
                    <a:lnTo>
                      <a:pt x="1670398" y="1823346"/>
                    </a:lnTo>
                    <a:lnTo>
                      <a:pt x="1853087" y="2194388"/>
                    </a:lnTo>
                    <a:lnTo>
                      <a:pt x="1853087" y="2194388"/>
                    </a:lnTo>
                    <a:lnTo>
                      <a:pt x="1906902" y="2007451"/>
                    </a:lnTo>
                    <a:lnTo>
                      <a:pt x="1915399" y="2137740"/>
                    </a:lnTo>
                    <a:lnTo>
                      <a:pt x="1894156" y="2194388"/>
                    </a:lnTo>
                    <a:lnTo>
                      <a:pt x="1894156" y="2195804"/>
                    </a:lnTo>
                    <a:lnTo>
                      <a:pt x="1918231" y="2167480"/>
                    </a:lnTo>
                    <a:lnTo>
                      <a:pt x="1923896" y="2260949"/>
                    </a:lnTo>
                    <a:lnTo>
                      <a:pt x="1923896" y="2262365"/>
                    </a:lnTo>
                    <a:lnTo>
                      <a:pt x="1987625" y="2081092"/>
                    </a:lnTo>
                    <a:lnTo>
                      <a:pt x="1987625" y="2079676"/>
                    </a:lnTo>
                    <a:lnTo>
                      <a:pt x="1919648" y="2161815"/>
                    </a:lnTo>
                    <a:lnTo>
                      <a:pt x="1918231" y="2139156"/>
                    </a:lnTo>
                    <a:lnTo>
                      <a:pt x="2021613" y="1872912"/>
                    </a:lnTo>
                    <a:lnTo>
                      <a:pt x="2021613" y="1871496"/>
                    </a:lnTo>
                    <a:lnTo>
                      <a:pt x="1908318" y="1991872"/>
                    </a:lnTo>
                    <a:lnTo>
                      <a:pt x="1673231" y="1821929"/>
                    </a:lnTo>
                    <a:lnTo>
                      <a:pt x="1664733" y="1803519"/>
                    </a:lnTo>
                    <a:lnTo>
                      <a:pt x="1684560" y="1678894"/>
                    </a:lnTo>
                    <a:lnTo>
                      <a:pt x="1684560" y="1678894"/>
                    </a:lnTo>
                    <a:lnTo>
                      <a:pt x="1472131" y="1804935"/>
                    </a:lnTo>
                    <a:lnTo>
                      <a:pt x="1443807" y="1702970"/>
                    </a:lnTo>
                    <a:lnTo>
                      <a:pt x="1637826" y="1592506"/>
                    </a:lnTo>
                    <a:lnTo>
                      <a:pt x="1637826" y="1592506"/>
                    </a:lnTo>
                    <a:lnTo>
                      <a:pt x="1643490" y="1537275"/>
                    </a:lnTo>
                    <a:lnTo>
                      <a:pt x="1724213" y="1561350"/>
                    </a:lnTo>
                    <a:lnTo>
                      <a:pt x="1724213" y="1561350"/>
                    </a:lnTo>
                    <a:lnTo>
                      <a:pt x="1908318" y="1348922"/>
                    </a:lnTo>
                    <a:lnTo>
                      <a:pt x="1953636" y="1331927"/>
                    </a:lnTo>
                    <a:lnTo>
                      <a:pt x="1953636" y="1331927"/>
                    </a:lnTo>
                    <a:lnTo>
                      <a:pt x="1977712" y="1269615"/>
                    </a:lnTo>
                    <a:lnTo>
                      <a:pt x="2011700" y="1231378"/>
                    </a:lnTo>
                    <a:lnTo>
                      <a:pt x="2011700" y="1231378"/>
                    </a:lnTo>
                    <a:lnTo>
                      <a:pt x="1998955" y="1217216"/>
                    </a:lnTo>
                    <a:lnTo>
                      <a:pt x="2072596" y="1026030"/>
                    </a:lnTo>
                    <a:lnTo>
                      <a:pt x="2072596" y="1026030"/>
                    </a:lnTo>
                    <a:lnTo>
                      <a:pt x="1861584" y="1065684"/>
                    </a:lnTo>
                    <a:lnTo>
                      <a:pt x="1861584" y="1065684"/>
                    </a:lnTo>
                    <a:close/>
                    <a:moveTo>
                      <a:pt x="2008868" y="1227129"/>
                    </a:moveTo>
                    <a:lnTo>
                      <a:pt x="1980544" y="1261118"/>
                    </a:lnTo>
                    <a:lnTo>
                      <a:pt x="1997538" y="1215800"/>
                    </a:lnTo>
                    <a:lnTo>
                      <a:pt x="2008868" y="1227129"/>
                    </a:lnTo>
                    <a:close/>
                    <a:moveTo>
                      <a:pt x="2068348" y="1024614"/>
                    </a:moveTo>
                    <a:lnTo>
                      <a:pt x="1996122" y="1211551"/>
                    </a:lnTo>
                    <a:lnTo>
                      <a:pt x="1864416" y="1067100"/>
                    </a:lnTo>
                    <a:lnTo>
                      <a:pt x="2068348" y="1024614"/>
                    </a:lnTo>
                    <a:close/>
                    <a:moveTo>
                      <a:pt x="1973463" y="1271031"/>
                    </a:moveTo>
                    <a:lnTo>
                      <a:pt x="1952220" y="1327679"/>
                    </a:lnTo>
                    <a:lnTo>
                      <a:pt x="1911150" y="1343257"/>
                    </a:lnTo>
                    <a:lnTo>
                      <a:pt x="1973463" y="1271031"/>
                    </a:lnTo>
                    <a:close/>
                    <a:moveTo>
                      <a:pt x="1324847" y="2343088"/>
                    </a:moveTo>
                    <a:lnTo>
                      <a:pt x="1414067" y="2303434"/>
                    </a:lnTo>
                    <a:lnTo>
                      <a:pt x="1388576" y="2354417"/>
                    </a:lnTo>
                    <a:lnTo>
                      <a:pt x="1324847" y="2343088"/>
                    </a:lnTo>
                    <a:close/>
                    <a:moveTo>
                      <a:pt x="99842" y="1091175"/>
                    </a:moveTo>
                    <a:lnTo>
                      <a:pt x="302357" y="1152071"/>
                    </a:lnTo>
                    <a:lnTo>
                      <a:pt x="266952" y="1289442"/>
                    </a:lnTo>
                    <a:lnTo>
                      <a:pt x="99842" y="1091175"/>
                    </a:lnTo>
                    <a:close/>
                    <a:moveTo>
                      <a:pt x="1395657" y="462386"/>
                    </a:moveTo>
                    <a:lnTo>
                      <a:pt x="1472131" y="224466"/>
                    </a:lnTo>
                    <a:lnTo>
                      <a:pt x="1448056" y="475132"/>
                    </a:lnTo>
                    <a:lnTo>
                      <a:pt x="1395657" y="462386"/>
                    </a:lnTo>
                    <a:close/>
                    <a:moveTo>
                      <a:pt x="1317766" y="2343088"/>
                    </a:moveTo>
                    <a:lnTo>
                      <a:pt x="1225714" y="2384157"/>
                    </a:lnTo>
                    <a:lnTo>
                      <a:pt x="1133662" y="2337423"/>
                    </a:lnTo>
                    <a:lnTo>
                      <a:pt x="1139326" y="2313348"/>
                    </a:lnTo>
                    <a:lnTo>
                      <a:pt x="1317766" y="2343088"/>
                    </a:lnTo>
                    <a:close/>
                    <a:moveTo>
                      <a:pt x="1095424" y="2184474"/>
                    </a:moveTo>
                    <a:lnTo>
                      <a:pt x="1095424" y="2184474"/>
                    </a:lnTo>
                    <a:lnTo>
                      <a:pt x="1112419" y="2181642"/>
                    </a:lnTo>
                    <a:lnTo>
                      <a:pt x="1043025" y="2292105"/>
                    </a:lnTo>
                    <a:lnTo>
                      <a:pt x="1014701" y="2040023"/>
                    </a:lnTo>
                    <a:cubicBezTo>
                      <a:pt x="1038776" y="2083925"/>
                      <a:pt x="1064268" y="2132075"/>
                      <a:pt x="1095424" y="2184474"/>
                    </a:cubicBezTo>
                    <a:close/>
                    <a:moveTo>
                      <a:pt x="418485" y="1102504"/>
                    </a:moveTo>
                    <a:lnTo>
                      <a:pt x="390161" y="1177563"/>
                    </a:lnTo>
                    <a:lnTo>
                      <a:pt x="305190" y="1152071"/>
                    </a:lnTo>
                    <a:lnTo>
                      <a:pt x="323600" y="1079846"/>
                    </a:lnTo>
                    <a:lnTo>
                      <a:pt x="418485" y="1102504"/>
                    </a:lnTo>
                    <a:close/>
                    <a:moveTo>
                      <a:pt x="357588" y="1269615"/>
                    </a:moveTo>
                    <a:lnTo>
                      <a:pt x="391577" y="1178979"/>
                    </a:lnTo>
                    <a:lnTo>
                      <a:pt x="528948" y="1220048"/>
                    </a:lnTo>
                    <a:lnTo>
                      <a:pt x="357588" y="1269615"/>
                    </a:lnTo>
                    <a:close/>
                    <a:moveTo>
                      <a:pt x="94177" y="1086927"/>
                    </a:moveTo>
                    <a:lnTo>
                      <a:pt x="85680" y="1084094"/>
                    </a:lnTo>
                    <a:lnTo>
                      <a:pt x="87096" y="1077013"/>
                    </a:lnTo>
                    <a:lnTo>
                      <a:pt x="94177" y="1086927"/>
                    </a:lnTo>
                    <a:close/>
                    <a:moveTo>
                      <a:pt x="108339" y="605422"/>
                    </a:moveTo>
                    <a:lnTo>
                      <a:pt x="115420" y="592676"/>
                    </a:lnTo>
                    <a:lnTo>
                      <a:pt x="125333" y="609670"/>
                    </a:lnTo>
                    <a:lnTo>
                      <a:pt x="108339" y="605422"/>
                    </a:lnTo>
                    <a:close/>
                    <a:moveTo>
                      <a:pt x="1303604" y="530363"/>
                    </a:moveTo>
                    <a:lnTo>
                      <a:pt x="1306437" y="445392"/>
                    </a:lnTo>
                    <a:lnTo>
                      <a:pt x="1339009" y="452473"/>
                    </a:lnTo>
                    <a:lnTo>
                      <a:pt x="1346090" y="511953"/>
                    </a:lnTo>
                    <a:lnTo>
                      <a:pt x="1303604" y="530363"/>
                    </a:lnTo>
                    <a:close/>
                    <a:moveTo>
                      <a:pt x="1664733" y="1800687"/>
                    </a:moveTo>
                    <a:lnTo>
                      <a:pt x="1664733" y="1800687"/>
                    </a:lnTo>
                    <a:lnTo>
                      <a:pt x="1671814" y="1816265"/>
                    </a:lnTo>
                    <a:lnTo>
                      <a:pt x="1663317" y="1809184"/>
                    </a:lnTo>
                    <a:lnTo>
                      <a:pt x="1663317" y="1809184"/>
                    </a:lnTo>
                    <a:lnTo>
                      <a:pt x="1541524" y="2051353"/>
                    </a:lnTo>
                    <a:lnTo>
                      <a:pt x="1446640" y="2010283"/>
                    </a:lnTo>
                    <a:lnTo>
                      <a:pt x="1496207" y="1898404"/>
                    </a:lnTo>
                    <a:lnTo>
                      <a:pt x="1496207" y="1898404"/>
                    </a:lnTo>
                    <a:lnTo>
                      <a:pt x="1487709" y="1898404"/>
                    </a:lnTo>
                    <a:lnTo>
                      <a:pt x="1499039" y="1889906"/>
                    </a:lnTo>
                    <a:lnTo>
                      <a:pt x="1499039" y="1889906"/>
                    </a:lnTo>
                    <a:lnTo>
                      <a:pt x="1474964" y="1804935"/>
                    </a:lnTo>
                    <a:lnTo>
                      <a:pt x="1684560" y="1680310"/>
                    </a:lnTo>
                    <a:lnTo>
                      <a:pt x="1664733" y="1800687"/>
                    </a:lnTo>
                    <a:close/>
                    <a:moveTo>
                      <a:pt x="1292275" y="2292105"/>
                    </a:moveTo>
                    <a:lnTo>
                      <a:pt x="1292275" y="2292105"/>
                    </a:lnTo>
                    <a:lnTo>
                      <a:pt x="1431062" y="2268030"/>
                    </a:lnTo>
                    <a:lnTo>
                      <a:pt x="1415484" y="2299186"/>
                    </a:lnTo>
                    <a:lnTo>
                      <a:pt x="1320599" y="2341672"/>
                    </a:lnTo>
                    <a:lnTo>
                      <a:pt x="1139326" y="2311932"/>
                    </a:lnTo>
                    <a:lnTo>
                      <a:pt x="1177564" y="2167480"/>
                    </a:lnTo>
                    <a:lnTo>
                      <a:pt x="1177564" y="2167480"/>
                    </a:lnTo>
                    <a:lnTo>
                      <a:pt x="1115251" y="2178810"/>
                    </a:lnTo>
                    <a:lnTo>
                      <a:pt x="1163402" y="2102335"/>
                    </a:lnTo>
                    <a:lnTo>
                      <a:pt x="1170483" y="2124994"/>
                    </a:lnTo>
                    <a:lnTo>
                      <a:pt x="1166234" y="2160399"/>
                    </a:lnTo>
                    <a:lnTo>
                      <a:pt x="1166234" y="2160399"/>
                    </a:lnTo>
                    <a:lnTo>
                      <a:pt x="1178979" y="2150486"/>
                    </a:lnTo>
                    <a:lnTo>
                      <a:pt x="1181812" y="2158983"/>
                    </a:lnTo>
                    <a:lnTo>
                      <a:pt x="1181812" y="2158983"/>
                    </a:lnTo>
                    <a:lnTo>
                      <a:pt x="1323431" y="2130659"/>
                    </a:lnTo>
                    <a:lnTo>
                      <a:pt x="1323431" y="2130659"/>
                    </a:lnTo>
                    <a:lnTo>
                      <a:pt x="1255454" y="2086757"/>
                    </a:lnTo>
                    <a:lnTo>
                      <a:pt x="1483461" y="1898404"/>
                    </a:lnTo>
                    <a:lnTo>
                      <a:pt x="1490541" y="1898404"/>
                    </a:lnTo>
                    <a:lnTo>
                      <a:pt x="1442391" y="2010283"/>
                    </a:lnTo>
                    <a:lnTo>
                      <a:pt x="1442391" y="2010283"/>
                    </a:lnTo>
                    <a:lnTo>
                      <a:pt x="1540108" y="2051353"/>
                    </a:lnTo>
                    <a:lnTo>
                      <a:pt x="1490541" y="2149070"/>
                    </a:lnTo>
                    <a:lnTo>
                      <a:pt x="1292275" y="2292105"/>
                    </a:lnTo>
                    <a:close/>
                    <a:moveTo>
                      <a:pt x="1096840" y="2183058"/>
                    </a:moveTo>
                    <a:cubicBezTo>
                      <a:pt x="1069933" y="2134908"/>
                      <a:pt x="1041609" y="2085341"/>
                      <a:pt x="1013285" y="2035774"/>
                    </a:cubicBezTo>
                    <a:lnTo>
                      <a:pt x="1013285" y="2035774"/>
                    </a:lnTo>
                    <a:lnTo>
                      <a:pt x="984961" y="1793606"/>
                    </a:lnTo>
                    <a:cubicBezTo>
                      <a:pt x="994874" y="1775195"/>
                      <a:pt x="1003372" y="1759617"/>
                      <a:pt x="1004788" y="1755368"/>
                    </a:cubicBezTo>
                    <a:lnTo>
                      <a:pt x="1004788" y="1753952"/>
                    </a:lnTo>
                    <a:lnTo>
                      <a:pt x="979297" y="1749704"/>
                    </a:lnTo>
                    <a:lnTo>
                      <a:pt x="973632" y="1701553"/>
                    </a:lnTo>
                    <a:lnTo>
                      <a:pt x="1044441" y="1674646"/>
                    </a:lnTo>
                    <a:lnTo>
                      <a:pt x="1218633" y="1663316"/>
                    </a:lnTo>
                    <a:lnTo>
                      <a:pt x="1210136" y="1751120"/>
                    </a:lnTo>
                    <a:lnTo>
                      <a:pt x="1055771" y="1770946"/>
                    </a:lnTo>
                    <a:lnTo>
                      <a:pt x="1055771" y="1770946"/>
                    </a:lnTo>
                    <a:lnTo>
                      <a:pt x="1106754" y="1925311"/>
                    </a:lnTo>
                    <a:lnTo>
                      <a:pt x="1010453" y="1932392"/>
                    </a:lnTo>
                    <a:lnTo>
                      <a:pt x="1010453" y="1932392"/>
                    </a:lnTo>
                    <a:lnTo>
                      <a:pt x="1136494" y="2013115"/>
                    </a:lnTo>
                    <a:lnTo>
                      <a:pt x="1164817" y="2100919"/>
                    </a:lnTo>
                    <a:lnTo>
                      <a:pt x="1115251" y="2180226"/>
                    </a:lnTo>
                    <a:lnTo>
                      <a:pt x="1096840" y="2183058"/>
                    </a:lnTo>
                    <a:close/>
                    <a:moveTo>
                      <a:pt x="114004" y="589843"/>
                    </a:moveTo>
                    <a:lnTo>
                      <a:pt x="104090" y="606838"/>
                    </a:lnTo>
                    <a:lnTo>
                      <a:pt x="125333" y="611086"/>
                    </a:lnTo>
                    <a:lnTo>
                      <a:pt x="109755" y="662069"/>
                    </a:lnTo>
                    <a:lnTo>
                      <a:pt x="101258" y="667734"/>
                    </a:lnTo>
                    <a:lnTo>
                      <a:pt x="58772" y="493542"/>
                    </a:lnTo>
                    <a:lnTo>
                      <a:pt x="114004" y="589843"/>
                    </a:lnTo>
                    <a:close/>
                    <a:moveTo>
                      <a:pt x="225883" y="632329"/>
                    </a:moveTo>
                    <a:lnTo>
                      <a:pt x="181981" y="622416"/>
                    </a:lnTo>
                    <a:lnTo>
                      <a:pt x="252790" y="579930"/>
                    </a:lnTo>
                    <a:lnTo>
                      <a:pt x="259871" y="591260"/>
                    </a:lnTo>
                    <a:lnTo>
                      <a:pt x="225883" y="632329"/>
                    </a:lnTo>
                    <a:close/>
                    <a:moveTo>
                      <a:pt x="640827" y="156489"/>
                    </a:moveTo>
                    <a:lnTo>
                      <a:pt x="657821" y="143743"/>
                    </a:lnTo>
                    <a:lnTo>
                      <a:pt x="914152" y="200391"/>
                    </a:lnTo>
                    <a:lnTo>
                      <a:pt x="781030" y="201807"/>
                    </a:lnTo>
                    <a:lnTo>
                      <a:pt x="640827" y="156489"/>
                    </a:lnTo>
                    <a:close/>
                    <a:moveTo>
                      <a:pt x="884412" y="351923"/>
                    </a:moveTo>
                    <a:lnTo>
                      <a:pt x="1020366" y="282530"/>
                    </a:lnTo>
                    <a:lnTo>
                      <a:pt x="1201639" y="340594"/>
                    </a:lnTo>
                    <a:lnTo>
                      <a:pt x="1184644" y="417068"/>
                    </a:lnTo>
                    <a:lnTo>
                      <a:pt x="884412" y="351923"/>
                    </a:lnTo>
                    <a:close/>
                    <a:moveTo>
                      <a:pt x="1493374" y="1130828"/>
                    </a:moveTo>
                    <a:lnTo>
                      <a:pt x="1562767" y="1054354"/>
                    </a:lnTo>
                    <a:lnTo>
                      <a:pt x="1659069" y="1101088"/>
                    </a:lnTo>
                    <a:lnTo>
                      <a:pt x="1605253" y="1120915"/>
                    </a:lnTo>
                    <a:lnTo>
                      <a:pt x="1493374" y="1130828"/>
                    </a:lnTo>
                    <a:close/>
                    <a:moveTo>
                      <a:pt x="1513201" y="1494789"/>
                    </a:moveTo>
                    <a:lnTo>
                      <a:pt x="1501871" y="1491957"/>
                    </a:lnTo>
                    <a:lnTo>
                      <a:pt x="1659069" y="1360251"/>
                    </a:lnTo>
                    <a:lnTo>
                      <a:pt x="1650571" y="1442390"/>
                    </a:lnTo>
                    <a:lnTo>
                      <a:pt x="1513201" y="1494789"/>
                    </a:lnTo>
                    <a:close/>
                    <a:moveTo>
                      <a:pt x="960886" y="1336176"/>
                    </a:moveTo>
                    <a:lnTo>
                      <a:pt x="989210" y="1344673"/>
                    </a:lnTo>
                    <a:lnTo>
                      <a:pt x="982129" y="1364500"/>
                    </a:lnTo>
                    <a:lnTo>
                      <a:pt x="959470" y="1337592"/>
                    </a:lnTo>
                    <a:lnTo>
                      <a:pt x="960886" y="1336176"/>
                    </a:lnTo>
                    <a:close/>
                    <a:moveTo>
                      <a:pt x="945308" y="1329095"/>
                    </a:moveTo>
                    <a:lnTo>
                      <a:pt x="945308" y="1323430"/>
                    </a:lnTo>
                    <a:lnTo>
                      <a:pt x="950973" y="1330511"/>
                    </a:lnTo>
                    <a:lnTo>
                      <a:pt x="945308" y="1329095"/>
                    </a:lnTo>
                    <a:close/>
                    <a:moveTo>
                      <a:pt x="114004" y="660653"/>
                    </a:moveTo>
                    <a:lnTo>
                      <a:pt x="128166" y="613919"/>
                    </a:lnTo>
                    <a:lnTo>
                      <a:pt x="145160" y="642242"/>
                    </a:lnTo>
                    <a:lnTo>
                      <a:pt x="114004" y="660653"/>
                    </a:lnTo>
                    <a:close/>
                    <a:moveTo>
                      <a:pt x="180564" y="621000"/>
                    </a:moveTo>
                    <a:lnTo>
                      <a:pt x="167819" y="618167"/>
                    </a:lnTo>
                    <a:lnTo>
                      <a:pt x="191894" y="482213"/>
                    </a:lnTo>
                    <a:lnTo>
                      <a:pt x="252790" y="578514"/>
                    </a:lnTo>
                    <a:lnTo>
                      <a:pt x="180564" y="621000"/>
                    </a:lnTo>
                    <a:close/>
                    <a:moveTo>
                      <a:pt x="507705" y="660653"/>
                    </a:moveTo>
                    <a:lnTo>
                      <a:pt x="524699" y="698890"/>
                    </a:lnTo>
                    <a:lnTo>
                      <a:pt x="516202" y="697474"/>
                    </a:lnTo>
                    <a:lnTo>
                      <a:pt x="492127" y="664902"/>
                    </a:lnTo>
                    <a:lnTo>
                      <a:pt x="507705" y="660653"/>
                    </a:lnTo>
                    <a:close/>
                    <a:moveTo>
                      <a:pt x="489294" y="266952"/>
                    </a:moveTo>
                    <a:lnTo>
                      <a:pt x="443976" y="300941"/>
                    </a:lnTo>
                    <a:lnTo>
                      <a:pt x="363253" y="240044"/>
                    </a:lnTo>
                    <a:lnTo>
                      <a:pt x="489294" y="266952"/>
                    </a:lnTo>
                    <a:close/>
                    <a:moveTo>
                      <a:pt x="643659" y="223050"/>
                    </a:moveTo>
                    <a:lnTo>
                      <a:pt x="626665" y="206056"/>
                    </a:lnTo>
                    <a:lnTo>
                      <a:pt x="781030" y="204640"/>
                    </a:lnTo>
                    <a:lnTo>
                      <a:pt x="950973" y="259871"/>
                    </a:lnTo>
                    <a:lnTo>
                      <a:pt x="643659" y="223050"/>
                    </a:lnTo>
                    <a:close/>
                    <a:moveTo>
                      <a:pt x="642243" y="224466"/>
                    </a:moveTo>
                    <a:lnTo>
                      <a:pt x="739960" y="319351"/>
                    </a:lnTo>
                    <a:lnTo>
                      <a:pt x="493543" y="265536"/>
                    </a:lnTo>
                    <a:lnTo>
                      <a:pt x="561520" y="214553"/>
                    </a:lnTo>
                    <a:lnTo>
                      <a:pt x="642243" y="224466"/>
                    </a:lnTo>
                    <a:close/>
                    <a:moveTo>
                      <a:pt x="1453721" y="1174730"/>
                    </a:moveTo>
                    <a:lnTo>
                      <a:pt x="1491958" y="1132245"/>
                    </a:lnTo>
                    <a:lnTo>
                      <a:pt x="1598172" y="1122331"/>
                    </a:lnTo>
                    <a:lnTo>
                      <a:pt x="1453721" y="1174730"/>
                    </a:lnTo>
                    <a:close/>
                    <a:moveTo>
                      <a:pt x="1484877" y="1504703"/>
                    </a:moveTo>
                    <a:lnTo>
                      <a:pt x="1499039" y="1491957"/>
                    </a:lnTo>
                    <a:lnTo>
                      <a:pt x="1508952" y="1494789"/>
                    </a:lnTo>
                    <a:lnTo>
                      <a:pt x="1484877" y="1504703"/>
                    </a:lnTo>
                    <a:close/>
                    <a:moveTo>
                      <a:pt x="1397073" y="1727044"/>
                    </a:moveTo>
                    <a:lnTo>
                      <a:pt x="1320599" y="1848837"/>
                    </a:lnTo>
                    <a:lnTo>
                      <a:pt x="1282362" y="1744039"/>
                    </a:lnTo>
                    <a:lnTo>
                      <a:pt x="1391408" y="1729877"/>
                    </a:lnTo>
                    <a:lnTo>
                      <a:pt x="1397073" y="1727044"/>
                    </a:lnTo>
                    <a:close/>
                    <a:moveTo>
                      <a:pt x="1191725" y="1921063"/>
                    </a:moveTo>
                    <a:lnTo>
                      <a:pt x="1178979" y="2038606"/>
                    </a:lnTo>
                    <a:lnTo>
                      <a:pt x="1135078" y="2010283"/>
                    </a:lnTo>
                    <a:lnTo>
                      <a:pt x="1108170" y="1926727"/>
                    </a:lnTo>
                    <a:lnTo>
                      <a:pt x="1191725" y="1921063"/>
                    </a:lnTo>
                    <a:close/>
                    <a:moveTo>
                      <a:pt x="1224298" y="1606668"/>
                    </a:moveTo>
                    <a:lnTo>
                      <a:pt x="1218633" y="1661900"/>
                    </a:lnTo>
                    <a:lnTo>
                      <a:pt x="1051522" y="1673229"/>
                    </a:lnTo>
                    <a:lnTo>
                      <a:pt x="1224298" y="1606668"/>
                    </a:lnTo>
                    <a:close/>
                    <a:moveTo>
                      <a:pt x="1215800" y="1565599"/>
                    </a:moveTo>
                    <a:lnTo>
                      <a:pt x="1225714" y="1593923"/>
                    </a:lnTo>
                    <a:lnTo>
                      <a:pt x="1224298" y="1603836"/>
                    </a:lnTo>
                    <a:lnTo>
                      <a:pt x="1044441" y="1671813"/>
                    </a:lnTo>
                    <a:lnTo>
                      <a:pt x="999123" y="1674646"/>
                    </a:lnTo>
                    <a:lnTo>
                      <a:pt x="1112419" y="1550021"/>
                    </a:lnTo>
                    <a:lnTo>
                      <a:pt x="1215800" y="1565599"/>
                    </a:lnTo>
                    <a:close/>
                    <a:moveTo>
                      <a:pt x="166402" y="956637"/>
                    </a:moveTo>
                    <a:lnTo>
                      <a:pt x="220218" y="844758"/>
                    </a:lnTo>
                    <a:lnTo>
                      <a:pt x="434063" y="915567"/>
                    </a:lnTo>
                    <a:lnTo>
                      <a:pt x="456722" y="931145"/>
                    </a:lnTo>
                    <a:lnTo>
                      <a:pt x="166402" y="956637"/>
                    </a:lnTo>
                    <a:close/>
                    <a:moveTo>
                      <a:pt x="659237" y="463803"/>
                    </a:moveTo>
                    <a:lnTo>
                      <a:pt x="445392" y="302357"/>
                    </a:lnTo>
                    <a:lnTo>
                      <a:pt x="490711" y="268368"/>
                    </a:lnTo>
                    <a:lnTo>
                      <a:pt x="741376" y="323599"/>
                    </a:lnTo>
                    <a:lnTo>
                      <a:pt x="807937" y="388744"/>
                    </a:lnTo>
                    <a:lnTo>
                      <a:pt x="659237" y="463803"/>
                    </a:lnTo>
                    <a:close/>
                    <a:moveTo>
                      <a:pt x="878747" y="351923"/>
                    </a:moveTo>
                    <a:lnTo>
                      <a:pt x="812186" y="385912"/>
                    </a:lnTo>
                    <a:lnTo>
                      <a:pt x="747041" y="322183"/>
                    </a:lnTo>
                    <a:lnTo>
                      <a:pt x="878747" y="351923"/>
                    </a:lnTo>
                    <a:close/>
                    <a:moveTo>
                      <a:pt x="1197390" y="2049936"/>
                    </a:moveTo>
                    <a:lnTo>
                      <a:pt x="1282362" y="1913982"/>
                    </a:lnTo>
                    <a:lnTo>
                      <a:pt x="1480628" y="1899820"/>
                    </a:lnTo>
                    <a:lnTo>
                      <a:pt x="1254038" y="2086757"/>
                    </a:lnTo>
                    <a:lnTo>
                      <a:pt x="1197390" y="2049936"/>
                    </a:lnTo>
                    <a:close/>
                    <a:moveTo>
                      <a:pt x="1183228" y="2156151"/>
                    </a:moveTo>
                    <a:lnTo>
                      <a:pt x="1180396" y="2149070"/>
                    </a:lnTo>
                    <a:lnTo>
                      <a:pt x="1254038" y="2088173"/>
                    </a:lnTo>
                    <a:lnTo>
                      <a:pt x="1317766" y="2129243"/>
                    </a:lnTo>
                    <a:lnTo>
                      <a:pt x="1183228" y="2156151"/>
                    </a:lnTo>
                    <a:close/>
                    <a:moveTo>
                      <a:pt x="1178979" y="2149070"/>
                    </a:moveTo>
                    <a:lnTo>
                      <a:pt x="1170483" y="2156151"/>
                    </a:lnTo>
                    <a:lnTo>
                      <a:pt x="1173315" y="2130659"/>
                    </a:lnTo>
                    <a:lnTo>
                      <a:pt x="1178979" y="2149070"/>
                    </a:lnTo>
                    <a:close/>
                    <a:moveTo>
                      <a:pt x="1194558" y="1918230"/>
                    </a:moveTo>
                    <a:lnTo>
                      <a:pt x="1211552" y="1751120"/>
                    </a:lnTo>
                    <a:lnTo>
                      <a:pt x="1279529" y="1742623"/>
                    </a:lnTo>
                    <a:lnTo>
                      <a:pt x="1317766" y="1848837"/>
                    </a:lnTo>
                    <a:lnTo>
                      <a:pt x="1279529" y="1911149"/>
                    </a:lnTo>
                    <a:lnTo>
                      <a:pt x="1194558" y="1918230"/>
                    </a:lnTo>
                    <a:close/>
                    <a:moveTo>
                      <a:pt x="1252622" y="2088173"/>
                    </a:moveTo>
                    <a:lnTo>
                      <a:pt x="1180396" y="2147653"/>
                    </a:lnTo>
                    <a:lnTo>
                      <a:pt x="1173315" y="2124994"/>
                    </a:lnTo>
                    <a:lnTo>
                      <a:pt x="1177564" y="2081092"/>
                    </a:lnTo>
                    <a:lnTo>
                      <a:pt x="1195974" y="2052768"/>
                    </a:lnTo>
                    <a:lnTo>
                      <a:pt x="1252622" y="2088173"/>
                    </a:lnTo>
                    <a:close/>
                    <a:moveTo>
                      <a:pt x="1279529" y="1915398"/>
                    </a:moveTo>
                    <a:lnTo>
                      <a:pt x="1195974" y="2049936"/>
                    </a:lnTo>
                    <a:lnTo>
                      <a:pt x="1183228" y="2041439"/>
                    </a:lnTo>
                    <a:lnTo>
                      <a:pt x="1195974" y="1922479"/>
                    </a:lnTo>
                    <a:lnTo>
                      <a:pt x="1279529" y="1915398"/>
                    </a:lnTo>
                    <a:close/>
                    <a:moveTo>
                      <a:pt x="1194558" y="2049936"/>
                    </a:moveTo>
                    <a:lnTo>
                      <a:pt x="1178979" y="2075428"/>
                    </a:lnTo>
                    <a:lnTo>
                      <a:pt x="1181812" y="2042855"/>
                    </a:lnTo>
                    <a:lnTo>
                      <a:pt x="1194558" y="2049936"/>
                    </a:lnTo>
                    <a:close/>
                    <a:moveTo>
                      <a:pt x="1174731" y="2083925"/>
                    </a:moveTo>
                    <a:lnTo>
                      <a:pt x="1170483" y="2119330"/>
                    </a:lnTo>
                    <a:lnTo>
                      <a:pt x="1163402" y="2099503"/>
                    </a:lnTo>
                    <a:lnTo>
                      <a:pt x="1174731" y="2083925"/>
                    </a:lnTo>
                    <a:close/>
                    <a:moveTo>
                      <a:pt x="1229962" y="1603836"/>
                    </a:moveTo>
                    <a:lnTo>
                      <a:pt x="1249789" y="1659068"/>
                    </a:lnTo>
                    <a:lnTo>
                      <a:pt x="1221465" y="1660484"/>
                    </a:lnTo>
                    <a:lnTo>
                      <a:pt x="1227130" y="1605252"/>
                    </a:lnTo>
                    <a:lnTo>
                      <a:pt x="1229962" y="1603836"/>
                    </a:lnTo>
                    <a:close/>
                    <a:moveTo>
                      <a:pt x="945308" y="888660"/>
                    </a:moveTo>
                    <a:lnTo>
                      <a:pt x="945308" y="925481"/>
                    </a:lnTo>
                    <a:lnTo>
                      <a:pt x="789527" y="902822"/>
                    </a:lnTo>
                    <a:lnTo>
                      <a:pt x="945308" y="888660"/>
                    </a:lnTo>
                    <a:close/>
                    <a:moveTo>
                      <a:pt x="633746" y="936810"/>
                    </a:moveTo>
                    <a:lnTo>
                      <a:pt x="704555" y="1092591"/>
                    </a:lnTo>
                    <a:lnTo>
                      <a:pt x="690393" y="1091175"/>
                    </a:lnTo>
                    <a:lnTo>
                      <a:pt x="460971" y="931145"/>
                    </a:lnTo>
                    <a:lnTo>
                      <a:pt x="479381" y="929729"/>
                    </a:lnTo>
                    <a:lnTo>
                      <a:pt x="528948" y="946723"/>
                    </a:lnTo>
                    <a:lnTo>
                      <a:pt x="528948" y="946723"/>
                    </a:lnTo>
                    <a:lnTo>
                      <a:pt x="633746" y="936810"/>
                    </a:lnTo>
                    <a:close/>
                    <a:moveTo>
                      <a:pt x="633746" y="856087"/>
                    </a:moveTo>
                    <a:lnTo>
                      <a:pt x="602590" y="861752"/>
                    </a:lnTo>
                    <a:lnTo>
                      <a:pt x="547358" y="739960"/>
                    </a:lnTo>
                    <a:lnTo>
                      <a:pt x="633746" y="856087"/>
                    </a:lnTo>
                    <a:close/>
                    <a:moveTo>
                      <a:pt x="637995" y="622416"/>
                    </a:moveTo>
                    <a:lnTo>
                      <a:pt x="656405" y="728630"/>
                    </a:lnTo>
                    <a:lnTo>
                      <a:pt x="527531" y="698890"/>
                    </a:lnTo>
                    <a:lnTo>
                      <a:pt x="509121" y="659237"/>
                    </a:lnTo>
                    <a:lnTo>
                      <a:pt x="637995" y="622416"/>
                    </a:lnTo>
                    <a:close/>
                    <a:moveTo>
                      <a:pt x="1173315" y="591260"/>
                    </a:moveTo>
                    <a:lnTo>
                      <a:pt x="1204471" y="577098"/>
                    </a:lnTo>
                    <a:lnTo>
                      <a:pt x="1224298" y="594092"/>
                    </a:lnTo>
                    <a:lnTo>
                      <a:pt x="1173315" y="591260"/>
                    </a:lnTo>
                    <a:close/>
                    <a:moveTo>
                      <a:pt x="1227130" y="594092"/>
                    </a:moveTo>
                    <a:lnTo>
                      <a:pt x="1205887" y="575682"/>
                    </a:lnTo>
                    <a:lnTo>
                      <a:pt x="1300772" y="533196"/>
                    </a:lnTo>
                    <a:lnTo>
                      <a:pt x="1299356" y="598341"/>
                    </a:lnTo>
                    <a:lnTo>
                      <a:pt x="1227130" y="594092"/>
                    </a:lnTo>
                    <a:close/>
                    <a:moveTo>
                      <a:pt x="1229962" y="596924"/>
                    </a:moveTo>
                    <a:lnTo>
                      <a:pt x="1299356" y="601173"/>
                    </a:lnTo>
                    <a:lnTo>
                      <a:pt x="1297940" y="653572"/>
                    </a:lnTo>
                    <a:lnTo>
                      <a:pt x="1229962" y="596924"/>
                    </a:lnTo>
                    <a:close/>
                    <a:moveTo>
                      <a:pt x="1299356" y="680480"/>
                    </a:moveTo>
                    <a:lnTo>
                      <a:pt x="1299356" y="657821"/>
                    </a:lnTo>
                    <a:lnTo>
                      <a:pt x="1323431" y="677647"/>
                    </a:lnTo>
                    <a:lnTo>
                      <a:pt x="1299356" y="680480"/>
                    </a:lnTo>
                    <a:close/>
                    <a:moveTo>
                      <a:pt x="1350339" y="748457"/>
                    </a:moveTo>
                    <a:lnTo>
                      <a:pt x="1348922" y="749873"/>
                    </a:lnTo>
                    <a:lnTo>
                      <a:pt x="1350339" y="748457"/>
                    </a:lnTo>
                    <a:lnTo>
                      <a:pt x="1350339" y="748457"/>
                    </a:lnTo>
                    <a:close/>
                    <a:moveTo>
                      <a:pt x="1350339" y="745624"/>
                    </a:moveTo>
                    <a:lnTo>
                      <a:pt x="1357420" y="703139"/>
                    </a:lnTo>
                    <a:lnTo>
                      <a:pt x="1357420" y="703139"/>
                    </a:lnTo>
                    <a:lnTo>
                      <a:pt x="1327679" y="679063"/>
                    </a:lnTo>
                    <a:lnTo>
                      <a:pt x="1401322" y="670566"/>
                    </a:lnTo>
                    <a:lnTo>
                      <a:pt x="1350339" y="745624"/>
                    </a:lnTo>
                    <a:lnTo>
                      <a:pt x="1350339" y="745624"/>
                    </a:lnTo>
                    <a:close/>
                    <a:moveTo>
                      <a:pt x="1561351" y="837677"/>
                    </a:moveTo>
                    <a:lnTo>
                      <a:pt x="1496207" y="905654"/>
                    </a:lnTo>
                    <a:lnTo>
                      <a:pt x="1339009" y="941059"/>
                    </a:lnTo>
                    <a:lnTo>
                      <a:pt x="1319183" y="931145"/>
                    </a:lnTo>
                    <a:lnTo>
                      <a:pt x="1350339" y="752705"/>
                    </a:lnTo>
                    <a:lnTo>
                      <a:pt x="1354587" y="747041"/>
                    </a:lnTo>
                    <a:lnTo>
                      <a:pt x="1578346" y="721549"/>
                    </a:lnTo>
                    <a:lnTo>
                      <a:pt x="1541524" y="762619"/>
                    </a:lnTo>
                    <a:lnTo>
                      <a:pt x="1541524" y="762619"/>
                    </a:lnTo>
                    <a:lnTo>
                      <a:pt x="1561351" y="837677"/>
                    </a:lnTo>
                    <a:close/>
                    <a:moveTo>
                      <a:pt x="1392824" y="1306436"/>
                    </a:moveTo>
                    <a:lnTo>
                      <a:pt x="1421148" y="1341841"/>
                    </a:lnTo>
                    <a:lnTo>
                      <a:pt x="1322015" y="1423980"/>
                    </a:lnTo>
                    <a:lnTo>
                      <a:pt x="1367333" y="1293690"/>
                    </a:lnTo>
                    <a:lnTo>
                      <a:pt x="1392824" y="1306436"/>
                    </a:lnTo>
                    <a:close/>
                    <a:moveTo>
                      <a:pt x="1378662" y="1256869"/>
                    </a:moveTo>
                    <a:lnTo>
                      <a:pt x="1367333" y="1290858"/>
                    </a:lnTo>
                    <a:lnTo>
                      <a:pt x="1354587" y="1283777"/>
                    </a:lnTo>
                    <a:lnTo>
                      <a:pt x="1378662" y="1256869"/>
                    </a:lnTo>
                    <a:close/>
                    <a:moveTo>
                      <a:pt x="1391408" y="1541524"/>
                    </a:moveTo>
                    <a:lnTo>
                      <a:pt x="1450888" y="1479211"/>
                    </a:lnTo>
                    <a:lnTo>
                      <a:pt x="1497622" y="1493373"/>
                    </a:lnTo>
                    <a:lnTo>
                      <a:pt x="1479212" y="1508951"/>
                    </a:lnTo>
                    <a:lnTo>
                      <a:pt x="1391408" y="1541524"/>
                    </a:lnTo>
                    <a:close/>
                    <a:moveTo>
                      <a:pt x="1382911" y="1545772"/>
                    </a:moveTo>
                    <a:lnTo>
                      <a:pt x="1348922" y="1581177"/>
                    </a:lnTo>
                    <a:lnTo>
                      <a:pt x="1306437" y="1575512"/>
                    </a:lnTo>
                    <a:lnTo>
                      <a:pt x="1382911" y="1545772"/>
                    </a:lnTo>
                    <a:close/>
                    <a:moveTo>
                      <a:pt x="1224298" y="1423980"/>
                    </a:moveTo>
                    <a:lnTo>
                      <a:pt x="1183228" y="1469298"/>
                    </a:lnTo>
                    <a:lnTo>
                      <a:pt x="1163402" y="1416899"/>
                    </a:lnTo>
                    <a:lnTo>
                      <a:pt x="1224298" y="1423980"/>
                    </a:lnTo>
                    <a:close/>
                    <a:moveTo>
                      <a:pt x="1237043" y="1414067"/>
                    </a:moveTo>
                    <a:lnTo>
                      <a:pt x="1246957" y="1404153"/>
                    </a:lnTo>
                    <a:lnTo>
                      <a:pt x="1245541" y="1416899"/>
                    </a:lnTo>
                    <a:lnTo>
                      <a:pt x="1237043" y="1414067"/>
                    </a:lnTo>
                    <a:close/>
                    <a:moveTo>
                      <a:pt x="1245541" y="1425396"/>
                    </a:moveTo>
                    <a:lnTo>
                      <a:pt x="1245541" y="1419731"/>
                    </a:lnTo>
                    <a:lnTo>
                      <a:pt x="1285194" y="1431061"/>
                    </a:lnTo>
                    <a:lnTo>
                      <a:pt x="1245541" y="1425396"/>
                    </a:lnTo>
                    <a:close/>
                    <a:moveTo>
                      <a:pt x="1347507" y="1582593"/>
                    </a:moveTo>
                    <a:lnTo>
                      <a:pt x="1275281" y="1657651"/>
                    </a:lnTo>
                    <a:lnTo>
                      <a:pt x="1251205" y="1659068"/>
                    </a:lnTo>
                    <a:lnTo>
                      <a:pt x="1231379" y="1603836"/>
                    </a:lnTo>
                    <a:lnTo>
                      <a:pt x="1302188" y="1576929"/>
                    </a:lnTo>
                    <a:lnTo>
                      <a:pt x="1347507" y="1582593"/>
                    </a:lnTo>
                    <a:close/>
                    <a:moveTo>
                      <a:pt x="1231379" y="1567015"/>
                    </a:moveTo>
                    <a:lnTo>
                      <a:pt x="1299356" y="1575512"/>
                    </a:lnTo>
                    <a:lnTo>
                      <a:pt x="1232795" y="1601004"/>
                    </a:lnTo>
                    <a:lnTo>
                      <a:pt x="1229962" y="1592506"/>
                    </a:lnTo>
                    <a:lnTo>
                      <a:pt x="1231379" y="1567015"/>
                    </a:lnTo>
                    <a:close/>
                    <a:moveTo>
                      <a:pt x="1231379" y="1565599"/>
                    </a:moveTo>
                    <a:lnTo>
                      <a:pt x="1245541" y="1428229"/>
                    </a:lnTo>
                    <a:lnTo>
                      <a:pt x="1299356" y="1435310"/>
                    </a:lnTo>
                    <a:lnTo>
                      <a:pt x="1449472" y="1479211"/>
                    </a:lnTo>
                    <a:lnTo>
                      <a:pt x="1387160" y="1544356"/>
                    </a:lnTo>
                    <a:lnTo>
                      <a:pt x="1303604" y="1576929"/>
                    </a:lnTo>
                    <a:lnTo>
                      <a:pt x="1231379" y="1565599"/>
                    </a:lnTo>
                    <a:close/>
                    <a:moveTo>
                      <a:pt x="1228546" y="1422563"/>
                    </a:moveTo>
                    <a:lnTo>
                      <a:pt x="1235627" y="1415483"/>
                    </a:lnTo>
                    <a:lnTo>
                      <a:pt x="1245541" y="1418315"/>
                    </a:lnTo>
                    <a:lnTo>
                      <a:pt x="1245541" y="1425396"/>
                    </a:lnTo>
                    <a:lnTo>
                      <a:pt x="1228546" y="1422563"/>
                    </a:lnTo>
                    <a:close/>
                    <a:moveTo>
                      <a:pt x="1227130" y="1425396"/>
                    </a:moveTo>
                    <a:lnTo>
                      <a:pt x="1244124" y="1428229"/>
                    </a:lnTo>
                    <a:lnTo>
                      <a:pt x="1229962" y="1565599"/>
                    </a:lnTo>
                    <a:lnTo>
                      <a:pt x="1218633" y="1564183"/>
                    </a:lnTo>
                    <a:lnTo>
                      <a:pt x="1186060" y="1473546"/>
                    </a:lnTo>
                    <a:lnTo>
                      <a:pt x="1227130" y="1425396"/>
                    </a:lnTo>
                    <a:close/>
                    <a:moveTo>
                      <a:pt x="1232795" y="1415483"/>
                    </a:moveTo>
                    <a:lnTo>
                      <a:pt x="1225714" y="1422563"/>
                    </a:lnTo>
                    <a:lnTo>
                      <a:pt x="1163402" y="1414067"/>
                    </a:lnTo>
                    <a:lnTo>
                      <a:pt x="1154904" y="1392824"/>
                    </a:lnTo>
                    <a:lnTo>
                      <a:pt x="1232795" y="1415483"/>
                    </a:lnTo>
                    <a:close/>
                    <a:moveTo>
                      <a:pt x="1474964" y="1511784"/>
                    </a:moveTo>
                    <a:lnTo>
                      <a:pt x="1385743" y="1586842"/>
                    </a:lnTo>
                    <a:lnTo>
                      <a:pt x="1353171" y="1582593"/>
                    </a:lnTo>
                    <a:lnTo>
                      <a:pt x="1388576" y="1545772"/>
                    </a:lnTo>
                    <a:lnTo>
                      <a:pt x="1474964" y="1511784"/>
                    </a:lnTo>
                    <a:close/>
                    <a:moveTo>
                      <a:pt x="1312102" y="1436725"/>
                    </a:moveTo>
                    <a:lnTo>
                      <a:pt x="1469299" y="1457968"/>
                    </a:lnTo>
                    <a:lnTo>
                      <a:pt x="1450888" y="1477795"/>
                    </a:lnTo>
                    <a:lnTo>
                      <a:pt x="1312102" y="1436725"/>
                    </a:lnTo>
                    <a:close/>
                    <a:moveTo>
                      <a:pt x="676231" y="912735"/>
                    </a:moveTo>
                    <a:lnTo>
                      <a:pt x="688977" y="929729"/>
                    </a:lnTo>
                    <a:lnTo>
                      <a:pt x="636578" y="935394"/>
                    </a:lnTo>
                    <a:lnTo>
                      <a:pt x="628081" y="918400"/>
                    </a:lnTo>
                    <a:lnTo>
                      <a:pt x="676231" y="912735"/>
                    </a:lnTo>
                    <a:close/>
                    <a:moveTo>
                      <a:pt x="531780" y="945307"/>
                    </a:moveTo>
                    <a:lnTo>
                      <a:pt x="486462" y="929729"/>
                    </a:lnTo>
                    <a:lnTo>
                      <a:pt x="625249" y="916984"/>
                    </a:lnTo>
                    <a:lnTo>
                      <a:pt x="633746" y="933978"/>
                    </a:lnTo>
                    <a:lnTo>
                      <a:pt x="531780" y="945307"/>
                    </a:lnTo>
                    <a:close/>
                    <a:moveTo>
                      <a:pt x="626665" y="915567"/>
                    </a:moveTo>
                    <a:lnTo>
                      <a:pt x="602590" y="863168"/>
                    </a:lnTo>
                    <a:lnTo>
                      <a:pt x="633746" y="857503"/>
                    </a:lnTo>
                    <a:lnTo>
                      <a:pt x="673399" y="911319"/>
                    </a:lnTo>
                    <a:lnTo>
                      <a:pt x="626665" y="915567"/>
                    </a:lnTo>
                    <a:close/>
                    <a:moveTo>
                      <a:pt x="504873" y="553022"/>
                    </a:moveTo>
                    <a:lnTo>
                      <a:pt x="496375" y="550190"/>
                    </a:lnTo>
                    <a:lnTo>
                      <a:pt x="659237" y="466635"/>
                    </a:lnTo>
                    <a:lnTo>
                      <a:pt x="795192" y="570017"/>
                    </a:lnTo>
                    <a:lnTo>
                      <a:pt x="504873" y="553022"/>
                    </a:lnTo>
                    <a:close/>
                    <a:moveTo>
                      <a:pt x="1094008" y="485045"/>
                    </a:moveTo>
                    <a:lnTo>
                      <a:pt x="1157737" y="538860"/>
                    </a:lnTo>
                    <a:lnTo>
                      <a:pt x="1146407" y="591260"/>
                    </a:lnTo>
                    <a:lnTo>
                      <a:pt x="1035944" y="585595"/>
                    </a:lnTo>
                    <a:lnTo>
                      <a:pt x="996291" y="414236"/>
                    </a:lnTo>
                    <a:lnTo>
                      <a:pt x="1094008" y="485045"/>
                    </a:lnTo>
                    <a:close/>
                    <a:moveTo>
                      <a:pt x="1033112" y="585595"/>
                    </a:moveTo>
                    <a:lnTo>
                      <a:pt x="1037360" y="605422"/>
                    </a:lnTo>
                    <a:lnTo>
                      <a:pt x="1016117" y="584179"/>
                    </a:lnTo>
                    <a:lnTo>
                      <a:pt x="1033112" y="585595"/>
                    </a:lnTo>
                    <a:close/>
                    <a:moveTo>
                      <a:pt x="1297940" y="752705"/>
                    </a:moveTo>
                    <a:lnTo>
                      <a:pt x="1299356" y="681896"/>
                    </a:lnTo>
                    <a:lnTo>
                      <a:pt x="1326264" y="679063"/>
                    </a:lnTo>
                    <a:lnTo>
                      <a:pt x="1356003" y="704555"/>
                    </a:lnTo>
                    <a:lnTo>
                      <a:pt x="1348922" y="747041"/>
                    </a:lnTo>
                    <a:lnTo>
                      <a:pt x="1297940" y="752705"/>
                    </a:lnTo>
                    <a:close/>
                    <a:moveTo>
                      <a:pt x="1314934" y="946723"/>
                    </a:moveTo>
                    <a:lnTo>
                      <a:pt x="1317766" y="933978"/>
                    </a:lnTo>
                    <a:lnTo>
                      <a:pt x="1334760" y="942475"/>
                    </a:lnTo>
                    <a:lnTo>
                      <a:pt x="1314934" y="946723"/>
                    </a:lnTo>
                    <a:close/>
                    <a:moveTo>
                      <a:pt x="1327679" y="1146406"/>
                    </a:moveTo>
                    <a:lnTo>
                      <a:pt x="1450888" y="1048689"/>
                    </a:lnTo>
                    <a:lnTo>
                      <a:pt x="1419732" y="1136493"/>
                    </a:lnTo>
                    <a:lnTo>
                      <a:pt x="1327679" y="1146406"/>
                    </a:lnTo>
                    <a:close/>
                    <a:moveTo>
                      <a:pt x="1271032" y="1190308"/>
                    </a:moveTo>
                    <a:lnTo>
                      <a:pt x="1262535" y="1235627"/>
                    </a:lnTo>
                    <a:lnTo>
                      <a:pt x="1245541" y="1401321"/>
                    </a:lnTo>
                    <a:lnTo>
                      <a:pt x="1234211" y="1414067"/>
                    </a:lnTo>
                    <a:lnTo>
                      <a:pt x="1154904" y="1391408"/>
                    </a:lnTo>
                    <a:lnTo>
                      <a:pt x="1123748" y="1306436"/>
                    </a:lnTo>
                    <a:lnTo>
                      <a:pt x="1271032" y="1190308"/>
                    </a:lnTo>
                    <a:close/>
                    <a:moveTo>
                      <a:pt x="781030" y="901405"/>
                    </a:moveTo>
                    <a:lnTo>
                      <a:pt x="687561" y="887243"/>
                    </a:lnTo>
                    <a:lnTo>
                      <a:pt x="680480" y="850422"/>
                    </a:lnTo>
                    <a:lnTo>
                      <a:pt x="1102505" y="781029"/>
                    </a:lnTo>
                    <a:lnTo>
                      <a:pt x="1102505" y="781029"/>
                    </a:lnTo>
                    <a:lnTo>
                      <a:pt x="1120916" y="701722"/>
                    </a:lnTo>
                    <a:lnTo>
                      <a:pt x="1130829" y="700306"/>
                    </a:lnTo>
                    <a:lnTo>
                      <a:pt x="1198806" y="765451"/>
                    </a:lnTo>
                    <a:lnTo>
                      <a:pt x="1198806" y="765451"/>
                    </a:lnTo>
                    <a:lnTo>
                      <a:pt x="1293691" y="754122"/>
                    </a:lnTo>
                    <a:lnTo>
                      <a:pt x="1290859" y="833428"/>
                    </a:lnTo>
                    <a:lnTo>
                      <a:pt x="1242708" y="907070"/>
                    </a:lnTo>
                    <a:lnTo>
                      <a:pt x="1132245" y="911319"/>
                    </a:lnTo>
                    <a:lnTo>
                      <a:pt x="1132245" y="911319"/>
                    </a:lnTo>
                    <a:lnTo>
                      <a:pt x="1112419" y="950972"/>
                    </a:lnTo>
                    <a:lnTo>
                      <a:pt x="946724" y="925481"/>
                    </a:lnTo>
                    <a:lnTo>
                      <a:pt x="946724" y="885827"/>
                    </a:lnTo>
                    <a:lnTo>
                      <a:pt x="946724" y="885827"/>
                    </a:lnTo>
                    <a:lnTo>
                      <a:pt x="781030" y="901405"/>
                    </a:lnTo>
                    <a:close/>
                    <a:moveTo>
                      <a:pt x="1292275" y="919816"/>
                    </a:moveTo>
                    <a:lnTo>
                      <a:pt x="1295107" y="834844"/>
                    </a:lnTo>
                    <a:lnTo>
                      <a:pt x="1346090" y="758370"/>
                    </a:lnTo>
                    <a:lnTo>
                      <a:pt x="1316350" y="931145"/>
                    </a:lnTo>
                    <a:lnTo>
                      <a:pt x="1292275" y="919816"/>
                    </a:lnTo>
                    <a:close/>
                    <a:moveTo>
                      <a:pt x="1320599" y="1150655"/>
                    </a:moveTo>
                    <a:lnTo>
                      <a:pt x="1324847" y="1147823"/>
                    </a:lnTo>
                    <a:lnTo>
                      <a:pt x="1419732" y="1139326"/>
                    </a:lnTo>
                    <a:lnTo>
                      <a:pt x="1409819" y="1169065"/>
                    </a:lnTo>
                    <a:lnTo>
                      <a:pt x="1320599" y="1150655"/>
                    </a:lnTo>
                    <a:close/>
                    <a:moveTo>
                      <a:pt x="1278113" y="1152071"/>
                    </a:moveTo>
                    <a:lnTo>
                      <a:pt x="1272448" y="1187476"/>
                    </a:lnTo>
                    <a:lnTo>
                      <a:pt x="1123748" y="1303604"/>
                    </a:lnTo>
                    <a:lnTo>
                      <a:pt x="1075598" y="1170482"/>
                    </a:lnTo>
                    <a:lnTo>
                      <a:pt x="1278113" y="1152071"/>
                    </a:lnTo>
                    <a:close/>
                    <a:moveTo>
                      <a:pt x="1273864" y="1186060"/>
                    </a:moveTo>
                    <a:lnTo>
                      <a:pt x="1279529" y="1153487"/>
                    </a:lnTo>
                    <a:lnTo>
                      <a:pt x="1305021" y="1150655"/>
                    </a:lnTo>
                    <a:lnTo>
                      <a:pt x="1316350" y="1153487"/>
                    </a:lnTo>
                    <a:lnTo>
                      <a:pt x="1273864" y="1186060"/>
                    </a:lnTo>
                    <a:close/>
                    <a:moveTo>
                      <a:pt x="1273864" y="1188892"/>
                    </a:moveTo>
                    <a:lnTo>
                      <a:pt x="1319183" y="1153487"/>
                    </a:lnTo>
                    <a:lnTo>
                      <a:pt x="1409819" y="1171898"/>
                    </a:lnTo>
                    <a:lnTo>
                      <a:pt x="1401322" y="1194557"/>
                    </a:lnTo>
                    <a:lnTo>
                      <a:pt x="1265367" y="1242707"/>
                    </a:lnTo>
                    <a:lnTo>
                      <a:pt x="1266783" y="1235627"/>
                    </a:lnTo>
                    <a:lnTo>
                      <a:pt x="1273864" y="1188892"/>
                    </a:lnTo>
                    <a:close/>
                    <a:moveTo>
                      <a:pt x="1263951" y="1242707"/>
                    </a:moveTo>
                    <a:lnTo>
                      <a:pt x="1348922" y="1285193"/>
                    </a:lnTo>
                    <a:lnTo>
                      <a:pt x="1246957" y="1397072"/>
                    </a:lnTo>
                    <a:lnTo>
                      <a:pt x="1263951" y="1242707"/>
                    </a:lnTo>
                    <a:close/>
                    <a:moveTo>
                      <a:pt x="1067100" y="636578"/>
                    </a:moveTo>
                    <a:lnTo>
                      <a:pt x="1048690" y="645075"/>
                    </a:lnTo>
                    <a:lnTo>
                      <a:pt x="1040193" y="611086"/>
                    </a:lnTo>
                    <a:lnTo>
                      <a:pt x="1067100" y="636578"/>
                    </a:lnTo>
                    <a:close/>
                    <a:moveTo>
                      <a:pt x="1200222" y="764035"/>
                    </a:moveTo>
                    <a:lnTo>
                      <a:pt x="1135078" y="700306"/>
                    </a:lnTo>
                    <a:lnTo>
                      <a:pt x="1297940" y="683312"/>
                    </a:lnTo>
                    <a:lnTo>
                      <a:pt x="1296524" y="754122"/>
                    </a:lnTo>
                    <a:lnTo>
                      <a:pt x="1200222" y="764035"/>
                    </a:lnTo>
                    <a:close/>
                    <a:moveTo>
                      <a:pt x="1129413" y="698890"/>
                    </a:moveTo>
                    <a:lnTo>
                      <a:pt x="1120916" y="700306"/>
                    </a:lnTo>
                    <a:lnTo>
                      <a:pt x="1122332" y="693225"/>
                    </a:lnTo>
                    <a:lnTo>
                      <a:pt x="1129413" y="698890"/>
                    </a:lnTo>
                    <a:close/>
                    <a:moveTo>
                      <a:pt x="1140742" y="605422"/>
                    </a:moveTo>
                    <a:lnTo>
                      <a:pt x="1122332" y="687560"/>
                    </a:lnTo>
                    <a:lnTo>
                      <a:pt x="1069933" y="637994"/>
                    </a:lnTo>
                    <a:lnTo>
                      <a:pt x="1140742" y="605422"/>
                    </a:lnTo>
                    <a:close/>
                    <a:moveTo>
                      <a:pt x="1119500" y="698890"/>
                    </a:moveTo>
                    <a:lnTo>
                      <a:pt x="1062852" y="704555"/>
                    </a:lnTo>
                    <a:lnTo>
                      <a:pt x="1048690" y="646491"/>
                    </a:lnTo>
                    <a:lnTo>
                      <a:pt x="1068517" y="637994"/>
                    </a:lnTo>
                    <a:lnTo>
                      <a:pt x="1122332" y="688977"/>
                    </a:lnTo>
                    <a:lnTo>
                      <a:pt x="1119500" y="698890"/>
                    </a:lnTo>
                    <a:close/>
                    <a:moveTo>
                      <a:pt x="1101089" y="778197"/>
                    </a:moveTo>
                    <a:lnTo>
                      <a:pt x="679064" y="847590"/>
                    </a:lnTo>
                    <a:lnTo>
                      <a:pt x="659237" y="731462"/>
                    </a:lnTo>
                    <a:lnTo>
                      <a:pt x="681897" y="737127"/>
                    </a:lnTo>
                    <a:lnTo>
                      <a:pt x="681897" y="737127"/>
                    </a:lnTo>
                    <a:lnTo>
                      <a:pt x="764035" y="659237"/>
                    </a:lnTo>
                    <a:lnTo>
                      <a:pt x="901406" y="714468"/>
                    </a:lnTo>
                    <a:lnTo>
                      <a:pt x="901406" y="714468"/>
                    </a:lnTo>
                    <a:lnTo>
                      <a:pt x="1045857" y="649323"/>
                    </a:lnTo>
                    <a:lnTo>
                      <a:pt x="1060019" y="708803"/>
                    </a:lnTo>
                    <a:lnTo>
                      <a:pt x="1060019" y="708803"/>
                    </a:lnTo>
                    <a:lnTo>
                      <a:pt x="1118083" y="703139"/>
                    </a:lnTo>
                    <a:lnTo>
                      <a:pt x="1101089" y="778197"/>
                    </a:lnTo>
                    <a:close/>
                    <a:moveTo>
                      <a:pt x="1292275" y="952388"/>
                    </a:moveTo>
                    <a:lnTo>
                      <a:pt x="1293691" y="922648"/>
                    </a:lnTo>
                    <a:lnTo>
                      <a:pt x="1316350" y="933978"/>
                    </a:lnTo>
                    <a:lnTo>
                      <a:pt x="1313518" y="948140"/>
                    </a:lnTo>
                    <a:lnTo>
                      <a:pt x="1292275" y="952388"/>
                    </a:lnTo>
                    <a:close/>
                    <a:moveTo>
                      <a:pt x="1279529" y="1150655"/>
                    </a:moveTo>
                    <a:lnTo>
                      <a:pt x="1280945" y="1146406"/>
                    </a:lnTo>
                    <a:lnTo>
                      <a:pt x="1297940" y="1149239"/>
                    </a:lnTo>
                    <a:lnTo>
                      <a:pt x="1279529" y="1150655"/>
                    </a:lnTo>
                    <a:close/>
                    <a:moveTo>
                      <a:pt x="1204471" y="966550"/>
                    </a:moveTo>
                    <a:lnTo>
                      <a:pt x="1200222" y="973631"/>
                    </a:lnTo>
                    <a:lnTo>
                      <a:pt x="1091176" y="999122"/>
                    </a:lnTo>
                    <a:lnTo>
                      <a:pt x="1113835" y="953804"/>
                    </a:lnTo>
                    <a:lnTo>
                      <a:pt x="1204471" y="966550"/>
                    </a:lnTo>
                    <a:close/>
                    <a:moveTo>
                      <a:pt x="1265367" y="905654"/>
                    </a:moveTo>
                    <a:lnTo>
                      <a:pt x="1265367" y="905654"/>
                    </a:lnTo>
                    <a:lnTo>
                      <a:pt x="1246957" y="905654"/>
                    </a:lnTo>
                    <a:lnTo>
                      <a:pt x="1293691" y="836261"/>
                    </a:lnTo>
                    <a:lnTo>
                      <a:pt x="1290859" y="916984"/>
                    </a:lnTo>
                    <a:lnTo>
                      <a:pt x="1265367" y="905654"/>
                    </a:lnTo>
                    <a:close/>
                    <a:moveTo>
                      <a:pt x="1220049" y="969383"/>
                    </a:moveTo>
                    <a:lnTo>
                      <a:pt x="1203055" y="972215"/>
                    </a:lnTo>
                    <a:lnTo>
                      <a:pt x="1207303" y="966550"/>
                    </a:lnTo>
                    <a:lnTo>
                      <a:pt x="1220049" y="969383"/>
                    </a:lnTo>
                    <a:close/>
                    <a:moveTo>
                      <a:pt x="1289443" y="955221"/>
                    </a:moveTo>
                    <a:lnTo>
                      <a:pt x="1289443" y="977880"/>
                    </a:lnTo>
                    <a:lnTo>
                      <a:pt x="1231379" y="969383"/>
                    </a:lnTo>
                    <a:lnTo>
                      <a:pt x="1289443" y="955221"/>
                    </a:lnTo>
                    <a:close/>
                    <a:moveTo>
                      <a:pt x="1289443" y="952388"/>
                    </a:moveTo>
                    <a:lnTo>
                      <a:pt x="1224298" y="966550"/>
                    </a:lnTo>
                    <a:lnTo>
                      <a:pt x="1207303" y="963718"/>
                    </a:lnTo>
                    <a:lnTo>
                      <a:pt x="1244124" y="907070"/>
                    </a:lnTo>
                    <a:lnTo>
                      <a:pt x="1262535" y="907070"/>
                    </a:lnTo>
                    <a:lnTo>
                      <a:pt x="1289443" y="919816"/>
                    </a:lnTo>
                    <a:lnTo>
                      <a:pt x="1289443" y="952388"/>
                    </a:lnTo>
                    <a:close/>
                    <a:moveTo>
                      <a:pt x="1242708" y="908486"/>
                    </a:moveTo>
                    <a:lnTo>
                      <a:pt x="1205887" y="963718"/>
                    </a:lnTo>
                    <a:lnTo>
                      <a:pt x="1115251" y="949556"/>
                    </a:lnTo>
                    <a:lnTo>
                      <a:pt x="1135078" y="911319"/>
                    </a:lnTo>
                    <a:lnTo>
                      <a:pt x="1242708" y="908486"/>
                    </a:lnTo>
                    <a:close/>
                    <a:moveTo>
                      <a:pt x="1195974" y="1126580"/>
                    </a:moveTo>
                    <a:lnTo>
                      <a:pt x="1103921" y="1120915"/>
                    </a:lnTo>
                    <a:lnTo>
                      <a:pt x="1200222" y="976464"/>
                    </a:lnTo>
                    <a:lnTo>
                      <a:pt x="1224298" y="970799"/>
                    </a:lnTo>
                    <a:lnTo>
                      <a:pt x="1289443" y="980712"/>
                    </a:lnTo>
                    <a:lnTo>
                      <a:pt x="1289443" y="980712"/>
                    </a:lnTo>
                    <a:lnTo>
                      <a:pt x="1289443" y="955221"/>
                    </a:lnTo>
                    <a:lnTo>
                      <a:pt x="1310685" y="950972"/>
                    </a:lnTo>
                    <a:lnTo>
                      <a:pt x="1276697" y="1144990"/>
                    </a:lnTo>
                    <a:lnTo>
                      <a:pt x="1195974" y="1126580"/>
                    </a:lnTo>
                    <a:close/>
                    <a:moveTo>
                      <a:pt x="1054355" y="1119499"/>
                    </a:moveTo>
                    <a:lnTo>
                      <a:pt x="1071349" y="1166233"/>
                    </a:lnTo>
                    <a:lnTo>
                      <a:pt x="1068517" y="1170482"/>
                    </a:lnTo>
                    <a:lnTo>
                      <a:pt x="1000540" y="1176146"/>
                    </a:lnTo>
                    <a:lnTo>
                      <a:pt x="1030279" y="1116666"/>
                    </a:lnTo>
                    <a:lnTo>
                      <a:pt x="1054355" y="1119499"/>
                    </a:lnTo>
                    <a:close/>
                    <a:moveTo>
                      <a:pt x="1198806" y="976464"/>
                    </a:moveTo>
                    <a:lnTo>
                      <a:pt x="1102505" y="1120915"/>
                    </a:lnTo>
                    <a:lnTo>
                      <a:pt x="1055771" y="1118083"/>
                    </a:lnTo>
                    <a:lnTo>
                      <a:pt x="1045857" y="1089759"/>
                    </a:lnTo>
                    <a:lnTo>
                      <a:pt x="1091176" y="1001955"/>
                    </a:lnTo>
                    <a:lnTo>
                      <a:pt x="1198806" y="976464"/>
                    </a:lnTo>
                    <a:close/>
                    <a:moveTo>
                      <a:pt x="1031696" y="1115250"/>
                    </a:moveTo>
                    <a:lnTo>
                      <a:pt x="1044441" y="1091175"/>
                    </a:lnTo>
                    <a:lnTo>
                      <a:pt x="1052938" y="1116666"/>
                    </a:lnTo>
                    <a:lnTo>
                      <a:pt x="1031696" y="1115250"/>
                    </a:lnTo>
                    <a:close/>
                    <a:moveTo>
                      <a:pt x="1088343" y="1000539"/>
                    </a:moveTo>
                    <a:lnTo>
                      <a:pt x="1045857" y="1085510"/>
                    </a:lnTo>
                    <a:lnTo>
                      <a:pt x="1020366" y="1016117"/>
                    </a:lnTo>
                    <a:lnTo>
                      <a:pt x="1088343" y="1000539"/>
                    </a:lnTo>
                    <a:close/>
                    <a:moveTo>
                      <a:pt x="1088343" y="999122"/>
                    </a:moveTo>
                    <a:lnTo>
                      <a:pt x="1016117" y="1016117"/>
                    </a:lnTo>
                    <a:lnTo>
                      <a:pt x="1016117" y="1016117"/>
                    </a:lnTo>
                    <a:lnTo>
                      <a:pt x="1043025" y="1089759"/>
                    </a:lnTo>
                    <a:lnTo>
                      <a:pt x="1030279" y="1116666"/>
                    </a:lnTo>
                    <a:lnTo>
                      <a:pt x="946724" y="1111002"/>
                    </a:lnTo>
                    <a:lnTo>
                      <a:pt x="948140" y="929729"/>
                    </a:lnTo>
                    <a:lnTo>
                      <a:pt x="1113835" y="953804"/>
                    </a:lnTo>
                    <a:lnTo>
                      <a:pt x="1088343" y="999122"/>
                    </a:lnTo>
                    <a:close/>
                    <a:moveTo>
                      <a:pt x="1101089" y="1122331"/>
                    </a:moveTo>
                    <a:lnTo>
                      <a:pt x="1072765" y="1164817"/>
                    </a:lnTo>
                    <a:lnTo>
                      <a:pt x="1055771" y="1119499"/>
                    </a:lnTo>
                    <a:lnTo>
                      <a:pt x="1101089" y="1122331"/>
                    </a:lnTo>
                    <a:close/>
                    <a:moveTo>
                      <a:pt x="1102505" y="1122331"/>
                    </a:moveTo>
                    <a:lnTo>
                      <a:pt x="1195974" y="1129412"/>
                    </a:lnTo>
                    <a:lnTo>
                      <a:pt x="1279529" y="1146406"/>
                    </a:lnTo>
                    <a:lnTo>
                      <a:pt x="1278113" y="1152071"/>
                    </a:lnTo>
                    <a:lnTo>
                      <a:pt x="1074181" y="1170482"/>
                    </a:lnTo>
                    <a:lnTo>
                      <a:pt x="1072765" y="1167649"/>
                    </a:lnTo>
                    <a:lnTo>
                      <a:pt x="1102505" y="1122331"/>
                    </a:lnTo>
                    <a:close/>
                    <a:moveTo>
                      <a:pt x="1296524" y="680480"/>
                    </a:moveTo>
                    <a:lnTo>
                      <a:pt x="1132245" y="697474"/>
                    </a:lnTo>
                    <a:lnTo>
                      <a:pt x="1123748" y="688977"/>
                    </a:lnTo>
                    <a:lnTo>
                      <a:pt x="1143575" y="604005"/>
                    </a:lnTo>
                    <a:lnTo>
                      <a:pt x="1169066" y="592676"/>
                    </a:lnTo>
                    <a:lnTo>
                      <a:pt x="1227130" y="595508"/>
                    </a:lnTo>
                    <a:lnTo>
                      <a:pt x="1297940" y="654988"/>
                    </a:lnTo>
                    <a:lnTo>
                      <a:pt x="1296524" y="680480"/>
                    </a:lnTo>
                    <a:close/>
                    <a:moveTo>
                      <a:pt x="1144991" y="591260"/>
                    </a:moveTo>
                    <a:lnTo>
                      <a:pt x="1142159" y="602589"/>
                    </a:lnTo>
                    <a:lnTo>
                      <a:pt x="1069933" y="635161"/>
                    </a:lnTo>
                    <a:lnTo>
                      <a:pt x="1040193" y="606838"/>
                    </a:lnTo>
                    <a:lnTo>
                      <a:pt x="1034528" y="584179"/>
                    </a:lnTo>
                    <a:lnTo>
                      <a:pt x="1144991" y="591260"/>
                    </a:lnTo>
                    <a:close/>
                    <a:moveTo>
                      <a:pt x="510537" y="555855"/>
                    </a:moveTo>
                    <a:lnTo>
                      <a:pt x="798024" y="572849"/>
                    </a:lnTo>
                    <a:lnTo>
                      <a:pt x="827764" y="595508"/>
                    </a:lnTo>
                    <a:lnTo>
                      <a:pt x="762619" y="657821"/>
                    </a:lnTo>
                    <a:lnTo>
                      <a:pt x="510537" y="555855"/>
                    </a:lnTo>
                    <a:close/>
                    <a:moveTo>
                      <a:pt x="679064" y="850422"/>
                    </a:moveTo>
                    <a:lnTo>
                      <a:pt x="686145" y="888660"/>
                    </a:lnTo>
                    <a:lnTo>
                      <a:pt x="686145" y="888660"/>
                    </a:lnTo>
                    <a:lnTo>
                      <a:pt x="772533" y="901405"/>
                    </a:lnTo>
                    <a:lnTo>
                      <a:pt x="677648" y="909903"/>
                    </a:lnTo>
                    <a:lnTo>
                      <a:pt x="637995" y="856087"/>
                    </a:lnTo>
                    <a:lnTo>
                      <a:pt x="679064" y="850422"/>
                    </a:lnTo>
                    <a:close/>
                    <a:moveTo>
                      <a:pt x="1071349" y="1170482"/>
                    </a:moveTo>
                    <a:lnTo>
                      <a:pt x="1072765" y="1169065"/>
                    </a:lnTo>
                    <a:lnTo>
                      <a:pt x="1072765" y="1170482"/>
                    </a:lnTo>
                    <a:lnTo>
                      <a:pt x="1071349" y="1170482"/>
                    </a:lnTo>
                    <a:close/>
                    <a:moveTo>
                      <a:pt x="1402738" y="1193141"/>
                    </a:moveTo>
                    <a:lnTo>
                      <a:pt x="1409819" y="1171898"/>
                    </a:lnTo>
                    <a:lnTo>
                      <a:pt x="1443807" y="1178979"/>
                    </a:lnTo>
                    <a:lnTo>
                      <a:pt x="1402738" y="1193141"/>
                    </a:lnTo>
                    <a:close/>
                    <a:moveTo>
                      <a:pt x="1347507" y="748457"/>
                    </a:moveTo>
                    <a:lnTo>
                      <a:pt x="1346090" y="752705"/>
                    </a:lnTo>
                    <a:lnTo>
                      <a:pt x="1293691" y="830596"/>
                    </a:lnTo>
                    <a:lnTo>
                      <a:pt x="1295107" y="754122"/>
                    </a:lnTo>
                    <a:lnTo>
                      <a:pt x="1347507" y="748457"/>
                    </a:lnTo>
                    <a:close/>
                    <a:moveTo>
                      <a:pt x="1144991" y="602589"/>
                    </a:moveTo>
                    <a:lnTo>
                      <a:pt x="1147823" y="592676"/>
                    </a:lnTo>
                    <a:lnTo>
                      <a:pt x="1166234" y="594092"/>
                    </a:lnTo>
                    <a:lnTo>
                      <a:pt x="1144991" y="602589"/>
                    </a:lnTo>
                    <a:close/>
                    <a:moveTo>
                      <a:pt x="901406" y="711636"/>
                    </a:moveTo>
                    <a:lnTo>
                      <a:pt x="765452" y="657821"/>
                    </a:lnTo>
                    <a:lnTo>
                      <a:pt x="832012" y="595508"/>
                    </a:lnTo>
                    <a:lnTo>
                      <a:pt x="832012" y="595508"/>
                    </a:lnTo>
                    <a:lnTo>
                      <a:pt x="802273" y="572849"/>
                    </a:lnTo>
                    <a:lnTo>
                      <a:pt x="1011869" y="584179"/>
                    </a:lnTo>
                    <a:lnTo>
                      <a:pt x="1037360" y="608254"/>
                    </a:lnTo>
                    <a:lnTo>
                      <a:pt x="1045857" y="645075"/>
                    </a:lnTo>
                    <a:lnTo>
                      <a:pt x="901406" y="711636"/>
                    </a:lnTo>
                    <a:close/>
                    <a:moveTo>
                      <a:pt x="1000540" y="1317765"/>
                    </a:moveTo>
                    <a:lnTo>
                      <a:pt x="1000540" y="1317765"/>
                    </a:lnTo>
                    <a:lnTo>
                      <a:pt x="992042" y="1289442"/>
                    </a:lnTo>
                    <a:lnTo>
                      <a:pt x="1069933" y="1171898"/>
                    </a:lnTo>
                    <a:lnTo>
                      <a:pt x="1072765" y="1171898"/>
                    </a:lnTo>
                    <a:lnTo>
                      <a:pt x="1120916" y="1305020"/>
                    </a:lnTo>
                    <a:lnTo>
                      <a:pt x="1050106" y="1360251"/>
                    </a:lnTo>
                    <a:lnTo>
                      <a:pt x="990626" y="1343257"/>
                    </a:lnTo>
                    <a:lnTo>
                      <a:pt x="1000540" y="1317765"/>
                    </a:lnTo>
                    <a:close/>
                    <a:moveTo>
                      <a:pt x="1054355" y="1361667"/>
                    </a:moveTo>
                    <a:lnTo>
                      <a:pt x="1122332" y="1307852"/>
                    </a:lnTo>
                    <a:lnTo>
                      <a:pt x="1152072" y="1389991"/>
                    </a:lnTo>
                    <a:lnTo>
                      <a:pt x="1054355" y="1361667"/>
                    </a:lnTo>
                    <a:close/>
                    <a:moveTo>
                      <a:pt x="1351755" y="1283777"/>
                    </a:moveTo>
                    <a:lnTo>
                      <a:pt x="1269616" y="1242707"/>
                    </a:lnTo>
                    <a:lnTo>
                      <a:pt x="1399905" y="1195973"/>
                    </a:lnTo>
                    <a:lnTo>
                      <a:pt x="1380079" y="1252621"/>
                    </a:lnTo>
                    <a:lnTo>
                      <a:pt x="1351755" y="1283777"/>
                    </a:lnTo>
                    <a:close/>
                    <a:moveTo>
                      <a:pt x="1446640" y="1178979"/>
                    </a:moveTo>
                    <a:lnTo>
                      <a:pt x="1384327" y="1248372"/>
                    </a:lnTo>
                    <a:lnTo>
                      <a:pt x="1402738" y="1194557"/>
                    </a:lnTo>
                    <a:lnTo>
                      <a:pt x="1446640" y="1178979"/>
                    </a:lnTo>
                    <a:close/>
                    <a:moveTo>
                      <a:pt x="1146407" y="589843"/>
                    </a:moveTo>
                    <a:lnTo>
                      <a:pt x="1157737" y="538860"/>
                    </a:lnTo>
                    <a:lnTo>
                      <a:pt x="1201639" y="575682"/>
                    </a:lnTo>
                    <a:lnTo>
                      <a:pt x="1167650" y="591260"/>
                    </a:lnTo>
                    <a:lnTo>
                      <a:pt x="1146407" y="589843"/>
                    </a:lnTo>
                    <a:close/>
                    <a:moveTo>
                      <a:pt x="799440" y="570017"/>
                    </a:moveTo>
                    <a:lnTo>
                      <a:pt x="662069" y="465219"/>
                    </a:lnTo>
                    <a:lnTo>
                      <a:pt x="812186" y="388744"/>
                    </a:lnTo>
                    <a:lnTo>
                      <a:pt x="1010453" y="581346"/>
                    </a:lnTo>
                    <a:lnTo>
                      <a:pt x="799440" y="570017"/>
                    </a:lnTo>
                    <a:close/>
                    <a:moveTo>
                      <a:pt x="492127" y="550190"/>
                    </a:moveTo>
                    <a:lnTo>
                      <a:pt x="483630" y="554439"/>
                    </a:lnTo>
                    <a:lnTo>
                      <a:pt x="504873" y="555855"/>
                    </a:lnTo>
                    <a:lnTo>
                      <a:pt x="762619" y="659237"/>
                    </a:lnTo>
                    <a:lnTo>
                      <a:pt x="681897" y="735711"/>
                    </a:lnTo>
                    <a:lnTo>
                      <a:pt x="659237" y="730046"/>
                    </a:lnTo>
                    <a:lnTo>
                      <a:pt x="639411" y="621000"/>
                    </a:lnTo>
                    <a:lnTo>
                      <a:pt x="639411" y="621000"/>
                    </a:lnTo>
                    <a:lnTo>
                      <a:pt x="509121" y="659237"/>
                    </a:lnTo>
                    <a:lnTo>
                      <a:pt x="452473" y="534612"/>
                    </a:lnTo>
                    <a:lnTo>
                      <a:pt x="492127" y="550190"/>
                    </a:lnTo>
                    <a:close/>
                    <a:moveTo>
                      <a:pt x="657821" y="731462"/>
                    </a:moveTo>
                    <a:lnTo>
                      <a:pt x="679064" y="847590"/>
                    </a:lnTo>
                    <a:lnTo>
                      <a:pt x="636578" y="854671"/>
                    </a:lnTo>
                    <a:lnTo>
                      <a:pt x="543110" y="730046"/>
                    </a:lnTo>
                    <a:lnTo>
                      <a:pt x="530364" y="701722"/>
                    </a:lnTo>
                    <a:lnTo>
                      <a:pt x="657821" y="731462"/>
                    </a:lnTo>
                    <a:close/>
                    <a:moveTo>
                      <a:pt x="691810" y="931145"/>
                    </a:moveTo>
                    <a:lnTo>
                      <a:pt x="691810" y="931145"/>
                    </a:lnTo>
                    <a:lnTo>
                      <a:pt x="677648" y="912735"/>
                    </a:lnTo>
                    <a:lnTo>
                      <a:pt x="779614" y="902822"/>
                    </a:lnTo>
                    <a:lnTo>
                      <a:pt x="943892" y="926897"/>
                    </a:lnTo>
                    <a:lnTo>
                      <a:pt x="942476" y="1108169"/>
                    </a:lnTo>
                    <a:lnTo>
                      <a:pt x="705972" y="1091175"/>
                    </a:lnTo>
                    <a:lnTo>
                      <a:pt x="633746" y="935394"/>
                    </a:lnTo>
                    <a:lnTo>
                      <a:pt x="691810" y="931145"/>
                    </a:lnTo>
                    <a:close/>
                    <a:moveTo>
                      <a:pt x="946724" y="1111002"/>
                    </a:moveTo>
                    <a:lnTo>
                      <a:pt x="1028863" y="1116666"/>
                    </a:lnTo>
                    <a:lnTo>
                      <a:pt x="997707" y="1177563"/>
                    </a:lnTo>
                    <a:lnTo>
                      <a:pt x="997707" y="1177563"/>
                    </a:lnTo>
                    <a:lnTo>
                      <a:pt x="1067100" y="1170482"/>
                    </a:lnTo>
                    <a:lnTo>
                      <a:pt x="990626" y="1285193"/>
                    </a:lnTo>
                    <a:lnTo>
                      <a:pt x="962302" y="1188892"/>
                    </a:lnTo>
                    <a:lnTo>
                      <a:pt x="962302" y="1188892"/>
                    </a:lnTo>
                    <a:lnTo>
                      <a:pt x="945308" y="1188892"/>
                    </a:lnTo>
                    <a:lnTo>
                      <a:pt x="946724" y="1111002"/>
                    </a:lnTo>
                    <a:close/>
                    <a:moveTo>
                      <a:pt x="1153488" y="1392824"/>
                    </a:moveTo>
                    <a:lnTo>
                      <a:pt x="1161985" y="1414067"/>
                    </a:lnTo>
                    <a:lnTo>
                      <a:pt x="1011869" y="1394240"/>
                    </a:lnTo>
                    <a:lnTo>
                      <a:pt x="1051522" y="1363084"/>
                    </a:lnTo>
                    <a:lnTo>
                      <a:pt x="1153488" y="1392824"/>
                    </a:lnTo>
                    <a:close/>
                    <a:moveTo>
                      <a:pt x="1113835" y="1548605"/>
                    </a:moveTo>
                    <a:lnTo>
                      <a:pt x="1181812" y="1473546"/>
                    </a:lnTo>
                    <a:lnTo>
                      <a:pt x="1214384" y="1562767"/>
                    </a:lnTo>
                    <a:lnTo>
                      <a:pt x="1113835" y="1548605"/>
                    </a:lnTo>
                    <a:close/>
                    <a:moveTo>
                      <a:pt x="1228546" y="1567015"/>
                    </a:moveTo>
                    <a:lnTo>
                      <a:pt x="1225714" y="1589674"/>
                    </a:lnTo>
                    <a:lnTo>
                      <a:pt x="1217217" y="1565599"/>
                    </a:lnTo>
                    <a:lnTo>
                      <a:pt x="1228546" y="1567015"/>
                    </a:lnTo>
                    <a:close/>
                    <a:moveTo>
                      <a:pt x="1251205" y="1661900"/>
                    </a:moveTo>
                    <a:lnTo>
                      <a:pt x="1280945" y="1742623"/>
                    </a:lnTo>
                    <a:lnTo>
                      <a:pt x="1212968" y="1751120"/>
                    </a:lnTo>
                    <a:lnTo>
                      <a:pt x="1221465" y="1664732"/>
                    </a:lnTo>
                    <a:lnTo>
                      <a:pt x="1251205" y="1661900"/>
                    </a:lnTo>
                    <a:close/>
                    <a:moveTo>
                      <a:pt x="1368749" y="1292274"/>
                    </a:moveTo>
                    <a:lnTo>
                      <a:pt x="1382911" y="1252621"/>
                    </a:lnTo>
                    <a:lnTo>
                      <a:pt x="1450888" y="1177563"/>
                    </a:lnTo>
                    <a:lnTo>
                      <a:pt x="1586843" y="1204470"/>
                    </a:lnTo>
                    <a:lnTo>
                      <a:pt x="1423981" y="1340425"/>
                    </a:lnTo>
                    <a:lnTo>
                      <a:pt x="1394241" y="1303604"/>
                    </a:lnTo>
                    <a:lnTo>
                      <a:pt x="1368749" y="1292274"/>
                    </a:lnTo>
                    <a:close/>
                    <a:moveTo>
                      <a:pt x="1449472" y="1176146"/>
                    </a:moveTo>
                    <a:lnTo>
                      <a:pt x="1411235" y="1169065"/>
                    </a:lnTo>
                    <a:lnTo>
                      <a:pt x="1421148" y="1139326"/>
                    </a:lnTo>
                    <a:lnTo>
                      <a:pt x="1487709" y="1133661"/>
                    </a:lnTo>
                    <a:lnTo>
                      <a:pt x="1449472" y="1176146"/>
                    </a:lnTo>
                    <a:lnTo>
                      <a:pt x="1449472" y="1176146"/>
                    </a:lnTo>
                    <a:close/>
                    <a:moveTo>
                      <a:pt x="1422564" y="1136493"/>
                    </a:moveTo>
                    <a:lnTo>
                      <a:pt x="1455137" y="1043024"/>
                    </a:lnTo>
                    <a:lnTo>
                      <a:pt x="1455137" y="1043024"/>
                    </a:lnTo>
                    <a:lnTo>
                      <a:pt x="1323431" y="1146406"/>
                    </a:lnTo>
                    <a:lnTo>
                      <a:pt x="1305021" y="1147823"/>
                    </a:lnTo>
                    <a:lnTo>
                      <a:pt x="1280945" y="1143574"/>
                    </a:lnTo>
                    <a:lnTo>
                      <a:pt x="1314934" y="949556"/>
                    </a:lnTo>
                    <a:lnTo>
                      <a:pt x="1337593" y="943891"/>
                    </a:lnTo>
                    <a:lnTo>
                      <a:pt x="1561351" y="1052938"/>
                    </a:lnTo>
                    <a:lnTo>
                      <a:pt x="1490541" y="1130828"/>
                    </a:lnTo>
                    <a:lnTo>
                      <a:pt x="1422564" y="1136493"/>
                    </a:lnTo>
                    <a:close/>
                    <a:moveTo>
                      <a:pt x="1157737" y="536028"/>
                    </a:moveTo>
                    <a:lnTo>
                      <a:pt x="1095424" y="483629"/>
                    </a:lnTo>
                    <a:lnTo>
                      <a:pt x="992042" y="408571"/>
                    </a:lnTo>
                    <a:lnTo>
                      <a:pt x="992042" y="408571"/>
                    </a:lnTo>
                    <a:lnTo>
                      <a:pt x="1033112" y="584179"/>
                    </a:lnTo>
                    <a:lnTo>
                      <a:pt x="1014701" y="582762"/>
                    </a:lnTo>
                    <a:lnTo>
                      <a:pt x="815018" y="388744"/>
                    </a:lnTo>
                    <a:lnTo>
                      <a:pt x="884412" y="353340"/>
                    </a:lnTo>
                    <a:lnTo>
                      <a:pt x="1186060" y="419901"/>
                    </a:lnTo>
                    <a:lnTo>
                      <a:pt x="1157737" y="536028"/>
                    </a:lnTo>
                    <a:close/>
                    <a:moveTo>
                      <a:pt x="527531" y="701722"/>
                    </a:moveTo>
                    <a:lnTo>
                      <a:pt x="537445" y="722965"/>
                    </a:lnTo>
                    <a:lnTo>
                      <a:pt x="520450" y="700306"/>
                    </a:lnTo>
                    <a:lnTo>
                      <a:pt x="527531" y="701722"/>
                    </a:lnTo>
                    <a:close/>
                    <a:moveTo>
                      <a:pt x="476549" y="928313"/>
                    </a:moveTo>
                    <a:lnTo>
                      <a:pt x="460971" y="929729"/>
                    </a:lnTo>
                    <a:lnTo>
                      <a:pt x="442560" y="916984"/>
                    </a:lnTo>
                    <a:lnTo>
                      <a:pt x="476549" y="928313"/>
                    </a:lnTo>
                    <a:close/>
                    <a:moveTo>
                      <a:pt x="962302" y="1334760"/>
                    </a:moveTo>
                    <a:lnTo>
                      <a:pt x="990626" y="1292274"/>
                    </a:lnTo>
                    <a:lnTo>
                      <a:pt x="997707" y="1317765"/>
                    </a:lnTo>
                    <a:lnTo>
                      <a:pt x="989210" y="1343257"/>
                    </a:lnTo>
                    <a:lnTo>
                      <a:pt x="962302" y="1334760"/>
                    </a:lnTo>
                    <a:close/>
                    <a:moveTo>
                      <a:pt x="1014701" y="1933808"/>
                    </a:moveTo>
                    <a:lnTo>
                      <a:pt x="1106754" y="1926727"/>
                    </a:lnTo>
                    <a:lnTo>
                      <a:pt x="1133662" y="2008867"/>
                    </a:lnTo>
                    <a:lnTo>
                      <a:pt x="1014701" y="1933808"/>
                    </a:lnTo>
                    <a:close/>
                    <a:moveTo>
                      <a:pt x="1210136" y="1752536"/>
                    </a:moveTo>
                    <a:lnTo>
                      <a:pt x="1193141" y="1918230"/>
                    </a:lnTo>
                    <a:lnTo>
                      <a:pt x="1108170" y="1923895"/>
                    </a:lnTo>
                    <a:lnTo>
                      <a:pt x="1058603" y="1770946"/>
                    </a:lnTo>
                    <a:lnTo>
                      <a:pt x="1210136" y="1752536"/>
                    </a:lnTo>
                    <a:close/>
                    <a:moveTo>
                      <a:pt x="1180396" y="2041439"/>
                    </a:moveTo>
                    <a:lnTo>
                      <a:pt x="1176147" y="2079676"/>
                    </a:lnTo>
                    <a:lnTo>
                      <a:pt x="1164817" y="2098087"/>
                    </a:lnTo>
                    <a:lnTo>
                      <a:pt x="1137910" y="2014531"/>
                    </a:lnTo>
                    <a:lnTo>
                      <a:pt x="1180396" y="2041439"/>
                    </a:lnTo>
                    <a:close/>
                    <a:moveTo>
                      <a:pt x="1340426" y="943891"/>
                    </a:moveTo>
                    <a:lnTo>
                      <a:pt x="1496207" y="908486"/>
                    </a:lnTo>
                    <a:lnTo>
                      <a:pt x="1496207" y="908486"/>
                    </a:lnTo>
                    <a:lnTo>
                      <a:pt x="1561351" y="840509"/>
                    </a:lnTo>
                    <a:lnTo>
                      <a:pt x="1606669" y="1003371"/>
                    </a:lnTo>
                    <a:lnTo>
                      <a:pt x="1562767" y="1051522"/>
                    </a:lnTo>
                    <a:lnTo>
                      <a:pt x="1340426" y="943891"/>
                    </a:lnTo>
                    <a:close/>
                    <a:moveTo>
                      <a:pt x="451057" y="531780"/>
                    </a:moveTo>
                    <a:lnTo>
                      <a:pt x="371750" y="357588"/>
                    </a:lnTo>
                    <a:lnTo>
                      <a:pt x="443976" y="303773"/>
                    </a:lnTo>
                    <a:lnTo>
                      <a:pt x="657821" y="465219"/>
                    </a:lnTo>
                    <a:lnTo>
                      <a:pt x="493543" y="548774"/>
                    </a:lnTo>
                    <a:lnTo>
                      <a:pt x="451057" y="531780"/>
                    </a:lnTo>
                    <a:close/>
                    <a:moveTo>
                      <a:pt x="448225" y="888660"/>
                    </a:moveTo>
                    <a:lnTo>
                      <a:pt x="448225" y="888660"/>
                    </a:lnTo>
                    <a:lnTo>
                      <a:pt x="601173" y="863168"/>
                    </a:lnTo>
                    <a:lnTo>
                      <a:pt x="625249" y="915567"/>
                    </a:lnTo>
                    <a:lnTo>
                      <a:pt x="482213" y="928313"/>
                    </a:lnTo>
                    <a:lnTo>
                      <a:pt x="436895" y="912735"/>
                    </a:lnTo>
                    <a:lnTo>
                      <a:pt x="251374" y="783862"/>
                    </a:lnTo>
                    <a:lnTo>
                      <a:pt x="308022" y="666318"/>
                    </a:lnTo>
                    <a:lnTo>
                      <a:pt x="448225" y="888660"/>
                    </a:lnTo>
                    <a:close/>
                    <a:moveTo>
                      <a:pt x="174900" y="696058"/>
                    </a:moveTo>
                    <a:lnTo>
                      <a:pt x="211721" y="759786"/>
                    </a:lnTo>
                    <a:lnTo>
                      <a:pt x="248542" y="785278"/>
                    </a:lnTo>
                    <a:lnTo>
                      <a:pt x="220218" y="843341"/>
                    </a:lnTo>
                    <a:lnTo>
                      <a:pt x="133830" y="815018"/>
                    </a:lnTo>
                    <a:lnTo>
                      <a:pt x="149408" y="728630"/>
                    </a:lnTo>
                    <a:lnTo>
                      <a:pt x="174900" y="696058"/>
                    </a:lnTo>
                    <a:close/>
                    <a:moveTo>
                      <a:pt x="173483" y="693225"/>
                    </a:moveTo>
                    <a:lnTo>
                      <a:pt x="147992" y="722965"/>
                    </a:lnTo>
                    <a:lnTo>
                      <a:pt x="157906" y="667734"/>
                    </a:lnTo>
                    <a:lnTo>
                      <a:pt x="173483" y="693225"/>
                    </a:lnTo>
                    <a:close/>
                    <a:moveTo>
                      <a:pt x="162154" y="633745"/>
                    </a:moveTo>
                    <a:lnTo>
                      <a:pt x="157906" y="660653"/>
                    </a:lnTo>
                    <a:lnTo>
                      <a:pt x="147992" y="642242"/>
                    </a:lnTo>
                    <a:lnTo>
                      <a:pt x="162154" y="633745"/>
                    </a:lnTo>
                    <a:close/>
                    <a:moveTo>
                      <a:pt x="159322" y="664902"/>
                    </a:moveTo>
                    <a:lnTo>
                      <a:pt x="164987" y="633745"/>
                    </a:lnTo>
                    <a:lnTo>
                      <a:pt x="180564" y="625248"/>
                    </a:lnTo>
                    <a:lnTo>
                      <a:pt x="225883" y="635161"/>
                    </a:lnTo>
                    <a:lnTo>
                      <a:pt x="176316" y="693225"/>
                    </a:lnTo>
                    <a:lnTo>
                      <a:pt x="159322" y="664902"/>
                    </a:lnTo>
                    <a:close/>
                    <a:moveTo>
                      <a:pt x="163570" y="630913"/>
                    </a:moveTo>
                    <a:lnTo>
                      <a:pt x="146576" y="640826"/>
                    </a:lnTo>
                    <a:lnTo>
                      <a:pt x="129582" y="611086"/>
                    </a:lnTo>
                    <a:lnTo>
                      <a:pt x="164987" y="619584"/>
                    </a:lnTo>
                    <a:lnTo>
                      <a:pt x="163570" y="630913"/>
                    </a:lnTo>
                    <a:close/>
                    <a:moveTo>
                      <a:pt x="177732" y="622416"/>
                    </a:moveTo>
                    <a:lnTo>
                      <a:pt x="166402" y="629497"/>
                    </a:lnTo>
                    <a:lnTo>
                      <a:pt x="167819" y="619584"/>
                    </a:lnTo>
                    <a:lnTo>
                      <a:pt x="177732" y="622416"/>
                    </a:lnTo>
                    <a:close/>
                    <a:moveTo>
                      <a:pt x="145160" y="643659"/>
                    </a:moveTo>
                    <a:lnTo>
                      <a:pt x="156489" y="663485"/>
                    </a:lnTo>
                    <a:lnTo>
                      <a:pt x="145160" y="724382"/>
                    </a:lnTo>
                    <a:lnTo>
                      <a:pt x="82847" y="798023"/>
                    </a:lnTo>
                    <a:lnTo>
                      <a:pt x="82847" y="798023"/>
                    </a:lnTo>
                    <a:lnTo>
                      <a:pt x="129582" y="813602"/>
                    </a:lnTo>
                    <a:lnTo>
                      <a:pt x="82847" y="1071348"/>
                    </a:lnTo>
                    <a:lnTo>
                      <a:pt x="12038" y="986377"/>
                    </a:lnTo>
                    <a:lnTo>
                      <a:pt x="111171" y="662069"/>
                    </a:lnTo>
                    <a:lnTo>
                      <a:pt x="145160" y="643659"/>
                    </a:lnTo>
                    <a:close/>
                    <a:moveTo>
                      <a:pt x="145160" y="730046"/>
                    </a:moveTo>
                    <a:lnTo>
                      <a:pt x="130998" y="812185"/>
                    </a:lnTo>
                    <a:lnTo>
                      <a:pt x="87096" y="798023"/>
                    </a:lnTo>
                    <a:lnTo>
                      <a:pt x="145160" y="730046"/>
                    </a:lnTo>
                    <a:close/>
                    <a:moveTo>
                      <a:pt x="945308" y="1191725"/>
                    </a:moveTo>
                    <a:lnTo>
                      <a:pt x="960886" y="1191725"/>
                    </a:lnTo>
                    <a:lnTo>
                      <a:pt x="989210" y="1288025"/>
                    </a:lnTo>
                    <a:lnTo>
                      <a:pt x="959470" y="1333344"/>
                    </a:lnTo>
                    <a:lnTo>
                      <a:pt x="955221" y="1331927"/>
                    </a:lnTo>
                    <a:lnTo>
                      <a:pt x="945308" y="1320598"/>
                    </a:lnTo>
                    <a:lnTo>
                      <a:pt x="945308" y="1191725"/>
                    </a:lnTo>
                    <a:close/>
                    <a:moveTo>
                      <a:pt x="1048690" y="1361667"/>
                    </a:moveTo>
                    <a:lnTo>
                      <a:pt x="1007621" y="1392824"/>
                    </a:lnTo>
                    <a:lnTo>
                      <a:pt x="1003372" y="1392824"/>
                    </a:lnTo>
                    <a:lnTo>
                      <a:pt x="980713" y="1365916"/>
                    </a:lnTo>
                    <a:lnTo>
                      <a:pt x="987794" y="1344673"/>
                    </a:lnTo>
                    <a:lnTo>
                      <a:pt x="1048690" y="1361667"/>
                    </a:lnTo>
                    <a:close/>
                    <a:moveTo>
                      <a:pt x="1003372" y="1395656"/>
                    </a:moveTo>
                    <a:lnTo>
                      <a:pt x="1003372" y="1395656"/>
                    </a:lnTo>
                    <a:lnTo>
                      <a:pt x="1006204" y="1395656"/>
                    </a:lnTo>
                    <a:lnTo>
                      <a:pt x="959470" y="1432477"/>
                    </a:lnTo>
                    <a:lnTo>
                      <a:pt x="982129" y="1368748"/>
                    </a:lnTo>
                    <a:lnTo>
                      <a:pt x="1003372" y="1395656"/>
                    </a:lnTo>
                    <a:close/>
                    <a:moveTo>
                      <a:pt x="1333345" y="1884242"/>
                    </a:moveTo>
                    <a:lnTo>
                      <a:pt x="1322015" y="1851670"/>
                    </a:lnTo>
                    <a:lnTo>
                      <a:pt x="1401322" y="1725629"/>
                    </a:lnTo>
                    <a:lnTo>
                      <a:pt x="1443807" y="1701553"/>
                    </a:lnTo>
                    <a:lnTo>
                      <a:pt x="1472131" y="1803519"/>
                    </a:lnTo>
                    <a:lnTo>
                      <a:pt x="1333345" y="1884242"/>
                    </a:lnTo>
                    <a:close/>
                    <a:moveTo>
                      <a:pt x="1402738" y="1721380"/>
                    </a:moveTo>
                    <a:lnTo>
                      <a:pt x="1433894" y="1670397"/>
                    </a:lnTo>
                    <a:lnTo>
                      <a:pt x="1442391" y="1698721"/>
                    </a:lnTo>
                    <a:lnTo>
                      <a:pt x="1402738" y="1721380"/>
                    </a:lnTo>
                    <a:close/>
                    <a:moveTo>
                      <a:pt x="1499039" y="1490541"/>
                    </a:moveTo>
                    <a:lnTo>
                      <a:pt x="1452305" y="1476379"/>
                    </a:lnTo>
                    <a:lnTo>
                      <a:pt x="1472131" y="1455136"/>
                    </a:lnTo>
                    <a:lnTo>
                      <a:pt x="1472131" y="1455136"/>
                    </a:lnTo>
                    <a:lnTo>
                      <a:pt x="1297940" y="1432477"/>
                    </a:lnTo>
                    <a:lnTo>
                      <a:pt x="1245541" y="1416899"/>
                    </a:lnTo>
                    <a:lnTo>
                      <a:pt x="1246957" y="1401321"/>
                    </a:lnTo>
                    <a:lnTo>
                      <a:pt x="1350339" y="1286609"/>
                    </a:lnTo>
                    <a:lnTo>
                      <a:pt x="1364501" y="1293690"/>
                    </a:lnTo>
                    <a:lnTo>
                      <a:pt x="1316350" y="1431061"/>
                    </a:lnTo>
                    <a:lnTo>
                      <a:pt x="1316350" y="1432477"/>
                    </a:lnTo>
                    <a:lnTo>
                      <a:pt x="1421148" y="1346089"/>
                    </a:lnTo>
                    <a:lnTo>
                      <a:pt x="1507536" y="1453720"/>
                    </a:lnTo>
                    <a:lnTo>
                      <a:pt x="1507536" y="1453720"/>
                    </a:lnTo>
                    <a:lnTo>
                      <a:pt x="1659069" y="1346089"/>
                    </a:lnTo>
                    <a:lnTo>
                      <a:pt x="1657652" y="1358835"/>
                    </a:lnTo>
                    <a:lnTo>
                      <a:pt x="1499039" y="1490541"/>
                    </a:lnTo>
                    <a:close/>
                    <a:moveTo>
                      <a:pt x="1660484" y="1341841"/>
                    </a:moveTo>
                    <a:lnTo>
                      <a:pt x="1508952" y="1449471"/>
                    </a:lnTo>
                    <a:lnTo>
                      <a:pt x="1423981" y="1343257"/>
                    </a:lnTo>
                    <a:lnTo>
                      <a:pt x="1591091" y="1204470"/>
                    </a:lnTo>
                    <a:lnTo>
                      <a:pt x="1591091" y="1204470"/>
                    </a:lnTo>
                    <a:lnTo>
                      <a:pt x="1453721" y="1177563"/>
                    </a:lnTo>
                    <a:lnTo>
                      <a:pt x="1606669" y="1122331"/>
                    </a:lnTo>
                    <a:lnTo>
                      <a:pt x="1688808" y="1115250"/>
                    </a:lnTo>
                    <a:lnTo>
                      <a:pt x="1678895" y="1176146"/>
                    </a:lnTo>
                    <a:lnTo>
                      <a:pt x="1660484" y="1341841"/>
                    </a:lnTo>
                    <a:close/>
                    <a:moveTo>
                      <a:pt x="1542941" y="764035"/>
                    </a:moveTo>
                    <a:lnTo>
                      <a:pt x="1579762" y="721549"/>
                    </a:lnTo>
                    <a:lnTo>
                      <a:pt x="1684560" y="708803"/>
                    </a:lnTo>
                    <a:lnTo>
                      <a:pt x="1562767" y="834844"/>
                    </a:lnTo>
                    <a:lnTo>
                      <a:pt x="1542941" y="764035"/>
                    </a:lnTo>
                    <a:close/>
                    <a:moveTo>
                      <a:pt x="1354587" y="745624"/>
                    </a:moveTo>
                    <a:lnTo>
                      <a:pt x="1404154" y="670566"/>
                    </a:lnTo>
                    <a:lnTo>
                      <a:pt x="1644907" y="645075"/>
                    </a:lnTo>
                    <a:lnTo>
                      <a:pt x="1578346" y="720133"/>
                    </a:lnTo>
                    <a:lnTo>
                      <a:pt x="1354587" y="745624"/>
                    </a:lnTo>
                    <a:close/>
                    <a:moveTo>
                      <a:pt x="1402738" y="669150"/>
                    </a:moveTo>
                    <a:lnTo>
                      <a:pt x="1326264" y="677647"/>
                    </a:lnTo>
                    <a:lnTo>
                      <a:pt x="1299356" y="654988"/>
                    </a:lnTo>
                    <a:lnTo>
                      <a:pt x="1300772" y="601173"/>
                    </a:lnTo>
                    <a:lnTo>
                      <a:pt x="1348922" y="604005"/>
                    </a:lnTo>
                    <a:lnTo>
                      <a:pt x="1348922" y="604005"/>
                    </a:lnTo>
                    <a:lnTo>
                      <a:pt x="1392824" y="465219"/>
                    </a:lnTo>
                    <a:lnTo>
                      <a:pt x="1446640" y="476548"/>
                    </a:lnTo>
                    <a:lnTo>
                      <a:pt x="1432478" y="623832"/>
                    </a:lnTo>
                    <a:lnTo>
                      <a:pt x="1402738" y="669150"/>
                    </a:lnTo>
                    <a:close/>
                    <a:moveTo>
                      <a:pt x="1348922" y="601173"/>
                    </a:moveTo>
                    <a:lnTo>
                      <a:pt x="1302188" y="598341"/>
                    </a:lnTo>
                    <a:lnTo>
                      <a:pt x="1303604" y="531780"/>
                    </a:lnTo>
                    <a:lnTo>
                      <a:pt x="1347507" y="511953"/>
                    </a:lnTo>
                    <a:lnTo>
                      <a:pt x="1347507" y="511953"/>
                    </a:lnTo>
                    <a:lnTo>
                      <a:pt x="1340426" y="452473"/>
                    </a:lnTo>
                    <a:lnTo>
                      <a:pt x="1392824" y="463803"/>
                    </a:lnTo>
                    <a:lnTo>
                      <a:pt x="1348922" y="601173"/>
                    </a:lnTo>
                    <a:close/>
                    <a:moveTo>
                      <a:pt x="1300772" y="530363"/>
                    </a:moveTo>
                    <a:lnTo>
                      <a:pt x="1204471" y="574265"/>
                    </a:lnTo>
                    <a:lnTo>
                      <a:pt x="1159153" y="536028"/>
                    </a:lnTo>
                    <a:lnTo>
                      <a:pt x="1186060" y="418484"/>
                    </a:lnTo>
                    <a:lnTo>
                      <a:pt x="1303604" y="443976"/>
                    </a:lnTo>
                    <a:lnTo>
                      <a:pt x="1300772" y="530363"/>
                    </a:lnTo>
                    <a:close/>
                    <a:moveTo>
                      <a:pt x="881579" y="350507"/>
                    </a:moveTo>
                    <a:lnTo>
                      <a:pt x="744209" y="320767"/>
                    </a:lnTo>
                    <a:lnTo>
                      <a:pt x="645075" y="225882"/>
                    </a:lnTo>
                    <a:lnTo>
                      <a:pt x="959470" y="262703"/>
                    </a:lnTo>
                    <a:lnTo>
                      <a:pt x="1017534" y="281114"/>
                    </a:lnTo>
                    <a:lnTo>
                      <a:pt x="881579" y="350507"/>
                    </a:lnTo>
                    <a:close/>
                    <a:moveTo>
                      <a:pt x="773949" y="201807"/>
                    </a:moveTo>
                    <a:lnTo>
                      <a:pt x="623833" y="203223"/>
                    </a:lnTo>
                    <a:lnTo>
                      <a:pt x="604006" y="183397"/>
                    </a:lnTo>
                    <a:lnTo>
                      <a:pt x="639411" y="157905"/>
                    </a:lnTo>
                    <a:lnTo>
                      <a:pt x="773949" y="201807"/>
                    </a:lnTo>
                    <a:close/>
                    <a:moveTo>
                      <a:pt x="622416" y="206056"/>
                    </a:moveTo>
                    <a:lnTo>
                      <a:pt x="639411" y="223050"/>
                    </a:lnTo>
                    <a:lnTo>
                      <a:pt x="564352" y="214553"/>
                    </a:lnTo>
                    <a:lnTo>
                      <a:pt x="574266" y="207472"/>
                    </a:lnTo>
                    <a:lnTo>
                      <a:pt x="622416" y="206056"/>
                    </a:lnTo>
                    <a:close/>
                    <a:moveTo>
                      <a:pt x="449641" y="533196"/>
                    </a:moveTo>
                    <a:lnTo>
                      <a:pt x="507705" y="659237"/>
                    </a:lnTo>
                    <a:lnTo>
                      <a:pt x="490711" y="664902"/>
                    </a:lnTo>
                    <a:lnTo>
                      <a:pt x="490711" y="664902"/>
                    </a:lnTo>
                    <a:lnTo>
                      <a:pt x="514786" y="697474"/>
                    </a:lnTo>
                    <a:lnTo>
                      <a:pt x="313687" y="652156"/>
                    </a:lnTo>
                    <a:lnTo>
                      <a:pt x="383080" y="507704"/>
                    </a:lnTo>
                    <a:lnTo>
                      <a:pt x="449641" y="533196"/>
                    </a:lnTo>
                    <a:close/>
                    <a:moveTo>
                      <a:pt x="448225" y="885827"/>
                    </a:moveTo>
                    <a:lnTo>
                      <a:pt x="308022" y="663485"/>
                    </a:lnTo>
                    <a:lnTo>
                      <a:pt x="312270" y="653572"/>
                    </a:lnTo>
                    <a:lnTo>
                      <a:pt x="516202" y="698890"/>
                    </a:lnTo>
                    <a:lnTo>
                      <a:pt x="540277" y="731462"/>
                    </a:lnTo>
                    <a:lnTo>
                      <a:pt x="599757" y="860336"/>
                    </a:lnTo>
                    <a:lnTo>
                      <a:pt x="448225" y="885827"/>
                    </a:lnTo>
                    <a:close/>
                    <a:moveTo>
                      <a:pt x="221634" y="841925"/>
                    </a:moveTo>
                    <a:lnTo>
                      <a:pt x="248542" y="785278"/>
                    </a:lnTo>
                    <a:lnTo>
                      <a:pt x="428398" y="911319"/>
                    </a:lnTo>
                    <a:lnTo>
                      <a:pt x="221634" y="841925"/>
                    </a:lnTo>
                    <a:close/>
                    <a:moveTo>
                      <a:pt x="248542" y="782445"/>
                    </a:moveTo>
                    <a:lnTo>
                      <a:pt x="213137" y="756954"/>
                    </a:lnTo>
                    <a:lnTo>
                      <a:pt x="176316" y="693225"/>
                    </a:lnTo>
                    <a:lnTo>
                      <a:pt x="227299" y="633745"/>
                    </a:lnTo>
                    <a:lnTo>
                      <a:pt x="298109" y="649323"/>
                    </a:lnTo>
                    <a:lnTo>
                      <a:pt x="306606" y="662069"/>
                    </a:lnTo>
                    <a:lnTo>
                      <a:pt x="248542" y="782445"/>
                    </a:lnTo>
                    <a:close/>
                    <a:moveTo>
                      <a:pt x="190478" y="479380"/>
                    </a:moveTo>
                    <a:lnTo>
                      <a:pt x="166402" y="618167"/>
                    </a:lnTo>
                    <a:lnTo>
                      <a:pt x="129582" y="609670"/>
                    </a:lnTo>
                    <a:lnTo>
                      <a:pt x="159322" y="514785"/>
                    </a:lnTo>
                    <a:lnTo>
                      <a:pt x="184813" y="469467"/>
                    </a:lnTo>
                    <a:lnTo>
                      <a:pt x="190478" y="479380"/>
                    </a:lnTo>
                    <a:close/>
                    <a:moveTo>
                      <a:pt x="132414" y="815018"/>
                    </a:moveTo>
                    <a:lnTo>
                      <a:pt x="218802" y="843341"/>
                    </a:lnTo>
                    <a:lnTo>
                      <a:pt x="163570" y="958053"/>
                    </a:lnTo>
                    <a:lnTo>
                      <a:pt x="163570" y="958053"/>
                    </a:lnTo>
                    <a:lnTo>
                      <a:pt x="459554" y="931145"/>
                    </a:lnTo>
                    <a:lnTo>
                      <a:pt x="690393" y="1092591"/>
                    </a:lnTo>
                    <a:lnTo>
                      <a:pt x="705972" y="1094007"/>
                    </a:lnTo>
                    <a:lnTo>
                      <a:pt x="742793" y="1176146"/>
                    </a:lnTo>
                    <a:lnTo>
                      <a:pt x="564352" y="1133661"/>
                    </a:lnTo>
                    <a:lnTo>
                      <a:pt x="452473" y="1010452"/>
                    </a:lnTo>
                    <a:lnTo>
                      <a:pt x="452473" y="1010452"/>
                    </a:lnTo>
                    <a:lnTo>
                      <a:pt x="418485" y="1098256"/>
                    </a:lnTo>
                    <a:lnTo>
                      <a:pt x="320768" y="1075597"/>
                    </a:lnTo>
                    <a:lnTo>
                      <a:pt x="320768" y="1075597"/>
                    </a:lnTo>
                    <a:lnTo>
                      <a:pt x="300941" y="1149239"/>
                    </a:lnTo>
                    <a:lnTo>
                      <a:pt x="95593" y="1086927"/>
                    </a:lnTo>
                    <a:lnTo>
                      <a:pt x="84264" y="1074181"/>
                    </a:lnTo>
                    <a:lnTo>
                      <a:pt x="132414" y="815018"/>
                    </a:lnTo>
                    <a:close/>
                    <a:moveTo>
                      <a:pt x="747041" y="1178979"/>
                    </a:moveTo>
                    <a:lnTo>
                      <a:pt x="747041" y="1178979"/>
                    </a:lnTo>
                    <a:lnTo>
                      <a:pt x="708804" y="1094007"/>
                    </a:lnTo>
                    <a:lnTo>
                      <a:pt x="943892" y="1109585"/>
                    </a:lnTo>
                    <a:lnTo>
                      <a:pt x="943892" y="1188892"/>
                    </a:lnTo>
                    <a:lnTo>
                      <a:pt x="833429" y="1186060"/>
                    </a:lnTo>
                    <a:lnTo>
                      <a:pt x="833429" y="1186060"/>
                    </a:lnTo>
                    <a:lnTo>
                      <a:pt x="943892" y="1320598"/>
                    </a:lnTo>
                    <a:lnTo>
                      <a:pt x="943892" y="1327679"/>
                    </a:lnTo>
                    <a:lnTo>
                      <a:pt x="673399" y="1248372"/>
                    </a:lnTo>
                    <a:lnTo>
                      <a:pt x="570017" y="1135077"/>
                    </a:lnTo>
                    <a:lnTo>
                      <a:pt x="747041" y="1178979"/>
                    </a:lnTo>
                    <a:close/>
                    <a:moveTo>
                      <a:pt x="837678" y="1190308"/>
                    </a:moveTo>
                    <a:lnTo>
                      <a:pt x="943892" y="1193141"/>
                    </a:lnTo>
                    <a:lnTo>
                      <a:pt x="943892" y="1319182"/>
                    </a:lnTo>
                    <a:lnTo>
                      <a:pt x="837678" y="1190308"/>
                    </a:lnTo>
                    <a:close/>
                    <a:moveTo>
                      <a:pt x="953805" y="1334760"/>
                    </a:moveTo>
                    <a:lnTo>
                      <a:pt x="956638" y="1339008"/>
                    </a:lnTo>
                    <a:lnTo>
                      <a:pt x="945308" y="1356003"/>
                    </a:lnTo>
                    <a:lnTo>
                      <a:pt x="945308" y="1331927"/>
                    </a:lnTo>
                    <a:lnTo>
                      <a:pt x="953805" y="1334760"/>
                    </a:lnTo>
                    <a:close/>
                    <a:moveTo>
                      <a:pt x="1009036" y="1395656"/>
                    </a:moveTo>
                    <a:lnTo>
                      <a:pt x="1161985" y="1415483"/>
                    </a:lnTo>
                    <a:lnTo>
                      <a:pt x="1181812" y="1470714"/>
                    </a:lnTo>
                    <a:lnTo>
                      <a:pt x="1111002" y="1548605"/>
                    </a:lnTo>
                    <a:lnTo>
                      <a:pt x="926897" y="1523113"/>
                    </a:lnTo>
                    <a:lnTo>
                      <a:pt x="958054" y="1435310"/>
                    </a:lnTo>
                    <a:lnTo>
                      <a:pt x="1009036" y="1395656"/>
                    </a:lnTo>
                    <a:close/>
                    <a:moveTo>
                      <a:pt x="926897" y="1525946"/>
                    </a:moveTo>
                    <a:lnTo>
                      <a:pt x="1109586" y="1551437"/>
                    </a:lnTo>
                    <a:lnTo>
                      <a:pt x="994874" y="1678894"/>
                    </a:lnTo>
                    <a:lnTo>
                      <a:pt x="994874" y="1678894"/>
                    </a:lnTo>
                    <a:lnTo>
                      <a:pt x="1038776" y="1676062"/>
                    </a:lnTo>
                    <a:lnTo>
                      <a:pt x="973632" y="1701553"/>
                    </a:lnTo>
                    <a:lnTo>
                      <a:pt x="973632" y="1701553"/>
                    </a:lnTo>
                    <a:lnTo>
                      <a:pt x="979297" y="1751120"/>
                    </a:lnTo>
                    <a:lnTo>
                      <a:pt x="857504" y="1731293"/>
                    </a:lnTo>
                    <a:lnTo>
                      <a:pt x="926897" y="1525946"/>
                    </a:lnTo>
                    <a:close/>
                    <a:moveTo>
                      <a:pt x="1483461" y="1898404"/>
                    </a:moveTo>
                    <a:lnTo>
                      <a:pt x="1283778" y="1912566"/>
                    </a:lnTo>
                    <a:lnTo>
                      <a:pt x="1320599" y="1853086"/>
                    </a:lnTo>
                    <a:lnTo>
                      <a:pt x="1333345" y="1887074"/>
                    </a:lnTo>
                    <a:lnTo>
                      <a:pt x="1333345" y="1887074"/>
                    </a:lnTo>
                    <a:lnTo>
                      <a:pt x="1472131" y="1804935"/>
                    </a:lnTo>
                    <a:lnTo>
                      <a:pt x="1496207" y="1888491"/>
                    </a:lnTo>
                    <a:lnTo>
                      <a:pt x="1483461" y="1898404"/>
                    </a:lnTo>
                    <a:close/>
                    <a:moveTo>
                      <a:pt x="1443807" y="1697305"/>
                    </a:moveTo>
                    <a:lnTo>
                      <a:pt x="1435310" y="1666148"/>
                    </a:lnTo>
                    <a:lnTo>
                      <a:pt x="1435310" y="1666148"/>
                    </a:lnTo>
                    <a:lnTo>
                      <a:pt x="1399905" y="1724212"/>
                    </a:lnTo>
                    <a:lnTo>
                      <a:pt x="1392824" y="1728461"/>
                    </a:lnTo>
                    <a:lnTo>
                      <a:pt x="1283778" y="1742623"/>
                    </a:lnTo>
                    <a:lnTo>
                      <a:pt x="1254038" y="1661900"/>
                    </a:lnTo>
                    <a:lnTo>
                      <a:pt x="1278113" y="1660484"/>
                    </a:lnTo>
                    <a:lnTo>
                      <a:pt x="1278113" y="1660484"/>
                    </a:lnTo>
                    <a:lnTo>
                      <a:pt x="1351755" y="1584010"/>
                    </a:lnTo>
                    <a:lnTo>
                      <a:pt x="1387160" y="1588258"/>
                    </a:lnTo>
                    <a:lnTo>
                      <a:pt x="1387160" y="1588258"/>
                    </a:lnTo>
                    <a:lnTo>
                      <a:pt x="1482045" y="1508951"/>
                    </a:lnTo>
                    <a:lnTo>
                      <a:pt x="1514617" y="1496206"/>
                    </a:lnTo>
                    <a:lnTo>
                      <a:pt x="1643490" y="1533027"/>
                    </a:lnTo>
                    <a:lnTo>
                      <a:pt x="1637826" y="1586842"/>
                    </a:lnTo>
                    <a:lnTo>
                      <a:pt x="1443807" y="1697305"/>
                    </a:lnTo>
                    <a:close/>
                    <a:moveTo>
                      <a:pt x="1755369" y="1276696"/>
                    </a:moveTo>
                    <a:lnTo>
                      <a:pt x="1661901" y="1354586"/>
                    </a:lnTo>
                    <a:lnTo>
                      <a:pt x="1663317" y="1341841"/>
                    </a:lnTo>
                    <a:lnTo>
                      <a:pt x="1755369" y="1276696"/>
                    </a:lnTo>
                    <a:close/>
                    <a:moveTo>
                      <a:pt x="970799" y="264120"/>
                    </a:moveTo>
                    <a:lnTo>
                      <a:pt x="1038776" y="272617"/>
                    </a:lnTo>
                    <a:lnTo>
                      <a:pt x="1021782" y="281114"/>
                    </a:lnTo>
                    <a:lnTo>
                      <a:pt x="970799" y="264120"/>
                    </a:lnTo>
                    <a:close/>
                    <a:moveTo>
                      <a:pt x="833429" y="10621"/>
                    </a:moveTo>
                    <a:lnTo>
                      <a:pt x="657821" y="142327"/>
                    </a:lnTo>
                    <a:lnTo>
                      <a:pt x="417069" y="88512"/>
                    </a:lnTo>
                    <a:lnTo>
                      <a:pt x="833429" y="10621"/>
                    </a:lnTo>
                    <a:close/>
                    <a:moveTo>
                      <a:pt x="577098" y="204640"/>
                    </a:moveTo>
                    <a:lnTo>
                      <a:pt x="602590" y="186229"/>
                    </a:lnTo>
                    <a:lnTo>
                      <a:pt x="621000" y="204640"/>
                    </a:lnTo>
                    <a:lnTo>
                      <a:pt x="577098" y="204640"/>
                    </a:lnTo>
                    <a:close/>
                    <a:moveTo>
                      <a:pt x="636578" y="157905"/>
                    </a:moveTo>
                    <a:lnTo>
                      <a:pt x="602590" y="183397"/>
                    </a:lnTo>
                    <a:lnTo>
                      <a:pt x="545942" y="129581"/>
                    </a:lnTo>
                    <a:lnTo>
                      <a:pt x="636578" y="157905"/>
                    </a:lnTo>
                    <a:close/>
                    <a:moveTo>
                      <a:pt x="511954" y="207472"/>
                    </a:moveTo>
                    <a:lnTo>
                      <a:pt x="571433" y="206056"/>
                    </a:lnTo>
                    <a:lnTo>
                      <a:pt x="562936" y="213137"/>
                    </a:lnTo>
                    <a:lnTo>
                      <a:pt x="511954" y="207472"/>
                    </a:lnTo>
                    <a:close/>
                    <a:moveTo>
                      <a:pt x="494959" y="207472"/>
                    </a:moveTo>
                    <a:lnTo>
                      <a:pt x="558688" y="214553"/>
                    </a:lnTo>
                    <a:lnTo>
                      <a:pt x="490711" y="265536"/>
                    </a:lnTo>
                    <a:lnTo>
                      <a:pt x="359005" y="237212"/>
                    </a:lnTo>
                    <a:lnTo>
                      <a:pt x="323600" y="210304"/>
                    </a:lnTo>
                    <a:lnTo>
                      <a:pt x="494959" y="207472"/>
                    </a:lnTo>
                    <a:close/>
                    <a:moveTo>
                      <a:pt x="479381" y="206056"/>
                    </a:moveTo>
                    <a:lnTo>
                      <a:pt x="320768" y="207472"/>
                    </a:lnTo>
                    <a:lnTo>
                      <a:pt x="288195" y="183397"/>
                    </a:lnTo>
                    <a:lnTo>
                      <a:pt x="479381" y="206056"/>
                    </a:lnTo>
                    <a:close/>
                    <a:moveTo>
                      <a:pt x="320768" y="210304"/>
                    </a:moveTo>
                    <a:lnTo>
                      <a:pt x="354756" y="237212"/>
                    </a:lnTo>
                    <a:lnTo>
                      <a:pt x="238628" y="211720"/>
                    </a:lnTo>
                    <a:lnTo>
                      <a:pt x="320768" y="210304"/>
                    </a:lnTo>
                    <a:close/>
                    <a:moveTo>
                      <a:pt x="300941" y="650740"/>
                    </a:moveTo>
                    <a:lnTo>
                      <a:pt x="310854" y="653572"/>
                    </a:lnTo>
                    <a:lnTo>
                      <a:pt x="306606" y="662069"/>
                    </a:lnTo>
                    <a:lnTo>
                      <a:pt x="300941" y="650740"/>
                    </a:lnTo>
                    <a:close/>
                    <a:moveTo>
                      <a:pt x="228715" y="632329"/>
                    </a:moveTo>
                    <a:lnTo>
                      <a:pt x="262704" y="592676"/>
                    </a:lnTo>
                    <a:lnTo>
                      <a:pt x="296692" y="646491"/>
                    </a:lnTo>
                    <a:lnTo>
                      <a:pt x="228715" y="632329"/>
                    </a:lnTo>
                    <a:close/>
                    <a:moveTo>
                      <a:pt x="262704" y="589843"/>
                    </a:moveTo>
                    <a:lnTo>
                      <a:pt x="255623" y="578514"/>
                    </a:lnTo>
                    <a:lnTo>
                      <a:pt x="289611" y="558687"/>
                    </a:lnTo>
                    <a:lnTo>
                      <a:pt x="262704" y="589843"/>
                    </a:lnTo>
                    <a:close/>
                    <a:moveTo>
                      <a:pt x="162154" y="506288"/>
                    </a:moveTo>
                    <a:lnTo>
                      <a:pt x="218802" y="320767"/>
                    </a:lnTo>
                    <a:lnTo>
                      <a:pt x="190478" y="477964"/>
                    </a:lnTo>
                    <a:lnTo>
                      <a:pt x="183397" y="466635"/>
                    </a:lnTo>
                    <a:lnTo>
                      <a:pt x="183397" y="466635"/>
                    </a:lnTo>
                    <a:lnTo>
                      <a:pt x="162154" y="506288"/>
                    </a:lnTo>
                    <a:close/>
                    <a:moveTo>
                      <a:pt x="116836" y="589843"/>
                    </a:moveTo>
                    <a:lnTo>
                      <a:pt x="153657" y="523282"/>
                    </a:lnTo>
                    <a:lnTo>
                      <a:pt x="128166" y="608254"/>
                    </a:lnTo>
                    <a:lnTo>
                      <a:pt x="116836" y="589843"/>
                    </a:lnTo>
                    <a:close/>
                    <a:moveTo>
                      <a:pt x="914152" y="1521697"/>
                    </a:moveTo>
                    <a:lnTo>
                      <a:pt x="853255" y="1518865"/>
                    </a:lnTo>
                    <a:lnTo>
                      <a:pt x="956638" y="1438142"/>
                    </a:lnTo>
                    <a:lnTo>
                      <a:pt x="926897" y="1523113"/>
                    </a:lnTo>
                    <a:lnTo>
                      <a:pt x="914152" y="1521697"/>
                    </a:lnTo>
                    <a:close/>
                    <a:moveTo>
                      <a:pt x="1003372" y="1755368"/>
                    </a:moveTo>
                    <a:lnTo>
                      <a:pt x="1000540" y="1761033"/>
                    </a:lnTo>
                    <a:cubicBezTo>
                      <a:pt x="996291" y="1768114"/>
                      <a:pt x="992042" y="1778027"/>
                      <a:pt x="984961" y="1789357"/>
                    </a:cubicBezTo>
                    <a:lnTo>
                      <a:pt x="980713" y="1751120"/>
                    </a:lnTo>
                    <a:lnTo>
                      <a:pt x="1003372" y="1755368"/>
                    </a:lnTo>
                    <a:close/>
                    <a:moveTo>
                      <a:pt x="983545" y="1796438"/>
                    </a:moveTo>
                    <a:lnTo>
                      <a:pt x="1010453" y="2031526"/>
                    </a:lnTo>
                    <a:cubicBezTo>
                      <a:pt x="992042" y="1997537"/>
                      <a:pt x="932562" y="1894155"/>
                      <a:pt x="932562" y="1887074"/>
                    </a:cubicBezTo>
                    <a:cubicBezTo>
                      <a:pt x="935395" y="1884242"/>
                      <a:pt x="965135" y="1829010"/>
                      <a:pt x="983545" y="1796438"/>
                    </a:cubicBezTo>
                    <a:close/>
                    <a:moveTo>
                      <a:pt x="1299356" y="2289272"/>
                    </a:moveTo>
                    <a:lnTo>
                      <a:pt x="1489126" y="2153318"/>
                    </a:lnTo>
                    <a:lnTo>
                      <a:pt x="1432478" y="2265197"/>
                    </a:lnTo>
                    <a:lnTo>
                      <a:pt x="1299356" y="2289272"/>
                    </a:lnTo>
                    <a:close/>
                    <a:moveTo>
                      <a:pt x="1520282" y="2252451"/>
                    </a:moveTo>
                    <a:lnTo>
                      <a:pt x="1418316" y="2297770"/>
                    </a:lnTo>
                    <a:lnTo>
                      <a:pt x="1433894" y="2266613"/>
                    </a:lnTo>
                    <a:lnTo>
                      <a:pt x="1520282" y="2252451"/>
                    </a:lnTo>
                    <a:close/>
                    <a:moveTo>
                      <a:pt x="1593924" y="2075428"/>
                    </a:moveTo>
                    <a:lnTo>
                      <a:pt x="1494790" y="2146237"/>
                    </a:lnTo>
                    <a:lnTo>
                      <a:pt x="1541524" y="2052768"/>
                    </a:lnTo>
                    <a:lnTo>
                      <a:pt x="1593924" y="2075428"/>
                    </a:lnTo>
                    <a:close/>
                    <a:moveTo>
                      <a:pt x="1650571" y="1443806"/>
                    </a:moveTo>
                    <a:lnTo>
                      <a:pt x="1642074" y="1531610"/>
                    </a:lnTo>
                    <a:lnTo>
                      <a:pt x="1516033" y="1494789"/>
                    </a:lnTo>
                    <a:lnTo>
                      <a:pt x="1650571" y="1443806"/>
                    </a:lnTo>
                    <a:close/>
                    <a:moveTo>
                      <a:pt x="1904070" y="1347506"/>
                    </a:moveTo>
                    <a:lnTo>
                      <a:pt x="1724213" y="1555686"/>
                    </a:lnTo>
                    <a:lnTo>
                      <a:pt x="1643490" y="1533027"/>
                    </a:lnTo>
                    <a:lnTo>
                      <a:pt x="1651988" y="1443806"/>
                    </a:lnTo>
                    <a:lnTo>
                      <a:pt x="1904070" y="1347506"/>
                    </a:lnTo>
                    <a:close/>
                    <a:moveTo>
                      <a:pt x="1305021" y="442560"/>
                    </a:moveTo>
                    <a:lnTo>
                      <a:pt x="1310685" y="220218"/>
                    </a:lnTo>
                    <a:lnTo>
                      <a:pt x="1336177" y="449641"/>
                    </a:lnTo>
                    <a:lnTo>
                      <a:pt x="1305021" y="442560"/>
                    </a:lnTo>
                    <a:close/>
                    <a:moveTo>
                      <a:pt x="562936" y="1133661"/>
                    </a:moveTo>
                    <a:lnTo>
                      <a:pt x="422733" y="1099672"/>
                    </a:lnTo>
                    <a:lnTo>
                      <a:pt x="455306" y="1014701"/>
                    </a:lnTo>
                    <a:lnTo>
                      <a:pt x="562936" y="1133661"/>
                    </a:lnTo>
                    <a:close/>
                    <a:moveTo>
                      <a:pt x="956638" y="1334760"/>
                    </a:moveTo>
                    <a:lnTo>
                      <a:pt x="959470" y="1334760"/>
                    </a:lnTo>
                    <a:lnTo>
                      <a:pt x="958054" y="1336176"/>
                    </a:lnTo>
                    <a:lnTo>
                      <a:pt x="956638" y="1334760"/>
                    </a:lnTo>
                    <a:close/>
                    <a:moveTo>
                      <a:pt x="1136494" y="2314764"/>
                    </a:moveTo>
                    <a:lnTo>
                      <a:pt x="1130829" y="2337423"/>
                    </a:lnTo>
                    <a:lnTo>
                      <a:pt x="1061436" y="2302018"/>
                    </a:lnTo>
                    <a:lnTo>
                      <a:pt x="1136494" y="2314764"/>
                    </a:lnTo>
                    <a:close/>
                    <a:moveTo>
                      <a:pt x="1221465" y="2386990"/>
                    </a:moveTo>
                    <a:lnTo>
                      <a:pt x="1105338" y="2439389"/>
                    </a:lnTo>
                    <a:lnTo>
                      <a:pt x="1130829" y="2341672"/>
                    </a:lnTo>
                    <a:lnTo>
                      <a:pt x="1221465" y="2386990"/>
                    </a:lnTo>
                    <a:close/>
                    <a:moveTo>
                      <a:pt x="1690225" y="1112418"/>
                    </a:moveTo>
                    <a:lnTo>
                      <a:pt x="1731294" y="871665"/>
                    </a:lnTo>
                    <a:lnTo>
                      <a:pt x="1729878" y="1109585"/>
                    </a:lnTo>
                    <a:lnTo>
                      <a:pt x="1690225" y="1112418"/>
                    </a:lnTo>
                    <a:close/>
                    <a:moveTo>
                      <a:pt x="2017365" y="1875745"/>
                    </a:moveTo>
                    <a:lnTo>
                      <a:pt x="1918231" y="2129243"/>
                    </a:lnTo>
                    <a:lnTo>
                      <a:pt x="1911150" y="1991872"/>
                    </a:lnTo>
                    <a:lnTo>
                      <a:pt x="1911150" y="1990456"/>
                    </a:lnTo>
                    <a:lnTo>
                      <a:pt x="1855919" y="2184474"/>
                    </a:lnTo>
                    <a:lnTo>
                      <a:pt x="1677479" y="1821929"/>
                    </a:lnTo>
                    <a:lnTo>
                      <a:pt x="1909734" y="1990456"/>
                    </a:lnTo>
                    <a:lnTo>
                      <a:pt x="1909734" y="1990456"/>
                    </a:lnTo>
                    <a:lnTo>
                      <a:pt x="2017365" y="1875745"/>
                    </a:lnTo>
                    <a:close/>
                    <a:moveTo>
                      <a:pt x="1916815" y="2139156"/>
                    </a:moveTo>
                    <a:lnTo>
                      <a:pt x="1918231" y="2158983"/>
                    </a:lnTo>
                    <a:lnTo>
                      <a:pt x="1901237" y="2180226"/>
                    </a:lnTo>
                    <a:lnTo>
                      <a:pt x="1916815" y="2139156"/>
                    </a:lnTo>
                    <a:close/>
                    <a:moveTo>
                      <a:pt x="1925312" y="2246787"/>
                    </a:moveTo>
                    <a:lnTo>
                      <a:pt x="1919648" y="2160399"/>
                    </a:lnTo>
                    <a:lnTo>
                      <a:pt x="1981960" y="2085341"/>
                    </a:lnTo>
                    <a:lnTo>
                      <a:pt x="1925312" y="2246787"/>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50" name="Freeform: Shape 949">
                <a:extLst>
                  <a:ext uri="{FF2B5EF4-FFF2-40B4-BE49-F238E27FC236}">
                    <a16:creationId xmlns:a16="http://schemas.microsoft.com/office/drawing/2014/main" id="{5AE1C5AE-5749-4E14-91E7-AF097A978D37}"/>
                  </a:ext>
                </a:extLst>
              </p:cNvPr>
              <p:cNvSpPr/>
              <p:nvPr/>
            </p:nvSpPr>
            <p:spPr>
              <a:xfrm>
                <a:off x="3308227" y="3786588"/>
                <a:ext cx="1416191" cy="2719086"/>
              </a:xfrm>
              <a:custGeom>
                <a:avLst/>
                <a:gdLst>
                  <a:gd name="connsiteX0" fmla="*/ 1330512 w 1416191"/>
                  <a:gd name="connsiteY0" fmla="*/ 660653 h 2719086"/>
                  <a:gd name="connsiteX1" fmla="*/ 1330512 w 1416191"/>
                  <a:gd name="connsiteY1" fmla="*/ 660653 h 2719086"/>
                  <a:gd name="connsiteX2" fmla="*/ 1125164 w 1416191"/>
                  <a:gd name="connsiteY2" fmla="*/ 676231 h 2719086"/>
                  <a:gd name="connsiteX3" fmla="*/ 1123748 w 1416191"/>
                  <a:gd name="connsiteY3" fmla="*/ 653572 h 2719086"/>
                  <a:gd name="connsiteX4" fmla="*/ 1157737 w 1416191"/>
                  <a:gd name="connsiteY4" fmla="*/ 643659 h 2719086"/>
                  <a:gd name="connsiteX5" fmla="*/ 1115251 w 1416191"/>
                  <a:gd name="connsiteY5" fmla="*/ 543109 h 2719086"/>
                  <a:gd name="connsiteX6" fmla="*/ 1115251 w 1416191"/>
                  <a:gd name="connsiteY6" fmla="*/ 541693 h 2719086"/>
                  <a:gd name="connsiteX7" fmla="*/ 1122332 w 1416191"/>
                  <a:gd name="connsiteY7" fmla="*/ 650740 h 2719086"/>
                  <a:gd name="connsiteX8" fmla="*/ 1081262 w 1416191"/>
                  <a:gd name="connsiteY8" fmla="*/ 663486 h 2719086"/>
                  <a:gd name="connsiteX9" fmla="*/ 1081262 w 1416191"/>
                  <a:gd name="connsiteY9" fmla="*/ 618167 h 2719086"/>
                  <a:gd name="connsiteX10" fmla="*/ 1081262 w 1416191"/>
                  <a:gd name="connsiteY10" fmla="*/ 616751 h 2719086"/>
                  <a:gd name="connsiteX11" fmla="*/ 1067100 w 1416191"/>
                  <a:gd name="connsiteY11" fmla="*/ 667734 h 2719086"/>
                  <a:gd name="connsiteX12" fmla="*/ 1014701 w 1416191"/>
                  <a:gd name="connsiteY12" fmla="*/ 683312 h 2719086"/>
                  <a:gd name="connsiteX13" fmla="*/ 963718 w 1416191"/>
                  <a:gd name="connsiteY13" fmla="*/ 687560 h 2719086"/>
                  <a:gd name="connsiteX14" fmla="*/ 766868 w 1416191"/>
                  <a:gd name="connsiteY14" fmla="*/ 632329 h 2719086"/>
                  <a:gd name="connsiteX15" fmla="*/ 888660 w 1416191"/>
                  <a:gd name="connsiteY15" fmla="*/ 453889 h 2719086"/>
                  <a:gd name="connsiteX16" fmla="*/ 953805 w 1416191"/>
                  <a:gd name="connsiteY16" fmla="*/ 486462 h 2719086"/>
                  <a:gd name="connsiteX17" fmla="*/ 953805 w 1416191"/>
                  <a:gd name="connsiteY17" fmla="*/ 486462 h 2719086"/>
                  <a:gd name="connsiteX18" fmla="*/ 942475 w 1416191"/>
                  <a:gd name="connsiteY18" fmla="*/ 371750 h 2719086"/>
                  <a:gd name="connsiteX19" fmla="*/ 942475 w 1416191"/>
                  <a:gd name="connsiteY19" fmla="*/ 371750 h 2719086"/>
                  <a:gd name="connsiteX20" fmla="*/ 887244 w 1416191"/>
                  <a:gd name="connsiteY20" fmla="*/ 451057 h 2719086"/>
                  <a:gd name="connsiteX21" fmla="*/ 795192 w 1416191"/>
                  <a:gd name="connsiteY21" fmla="*/ 404322 h 2719086"/>
                  <a:gd name="connsiteX22" fmla="*/ 793775 w 1416191"/>
                  <a:gd name="connsiteY22" fmla="*/ 356172 h 2719086"/>
                  <a:gd name="connsiteX23" fmla="*/ 907071 w 1416191"/>
                  <a:gd name="connsiteY23" fmla="*/ 289611 h 2719086"/>
                  <a:gd name="connsiteX24" fmla="*/ 907071 w 1416191"/>
                  <a:gd name="connsiteY24" fmla="*/ 289611 h 2719086"/>
                  <a:gd name="connsiteX25" fmla="*/ 660653 w 1416191"/>
                  <a:gd name="connsiteY25" fmla="*/ 149408 h 2719086"/>
                  <a:gd name="connsiteX26" fmla="*/ 659237 w 1416191"/>
                  <a:gd name="connsiteY26" fmla="*/ 149408 h 2719086"/>
                  <a:gd name="connsiteX27" fmla="*/ 735712 w 1416191"/>
                  <a:gd name="connsiteY27" fmla="*/ 241460 h 2719086"/>
                  <a:gd name="connsiteX28" fmla="*/ 514786 w 1416191"/>
                  <a:gd name="connsiteY28" fmla="*/ 167819 h 2719086"/>
                  <a:gd name="connsiteX29" fmla="*/ 570017 w 1416191"/>
                  <a:gd name="connsiteY29" fmla="*/ 63020 h 2719086"/>
                  <a:gd name="connsiteX30" fmla="*/ 570017 w 1416191"/>
                  <a:gd name="connsiteY30" fmla="*/ 61604 h 2719086"/>
                  <a:gd name="connsiteX31" fmla="*/ 475132 w 1416191"/>
                  <a:gd name="connsiteY31" fmla="*/ 155073 h 2719086"/>
                  <a:gd name="connsiteX32" fmla="*/ 343426 w 1416191"/>
                  <a:gd name="connsiteY32" fmla="*/ 111171 h 2719086"/>
                  <a:gd name="connsiteX33" fmla="*/ 303773 w 1416191"/>
                  <a:gd name="connsiteY33" fmla="*/ 98425 h 2719086"/>
                  <a:gd name="connsiteX34" fmla="*/ 350507 w 1416191"/>
                  <a:gd name="connsiteY34" fmla="*/ 10621 h 2719086"/>
                  <a:gd name="connsiteX35" fmla="*/ 350507 w 1416191"/>
                  <a:gd name="connsiteY35" fmla="*/ 10621 h 2719086"/>
                  <a:gd name="connsiteX36" fmla="*/ 262704 w 1416191"/>
                  <a:gd name="connsiteY36" fmla="*/ 57356 h 2719086"/>
                  <a:gd name="connsiteX37" fmla="*/ 262704 w 1416191"/>
                  <a:gd name="connsiteY37" fmla="*/ 57356 h 2719086"/>
                  <a:gd name="connsiteX38" fmla="*/ 264120 w 1416191"/>
                  <a:gd name="connsiteY38" fmla="*/ 87096 h 2719086"/>
                  <a:gd name="connsiteX39" fmla="*/ 204640 w 1416191"/>
                  <a:gd name="connsiteY39" fmla="*/ 67269 h 2719086"/>
                  <a:gd name="connsiteX40" fmla="*/ 204640 w 1416191"/>
                  <a:gd name="connsiteY40" fmla="*/ 67269 h 2719086"/>
                  <a:gd name="connsiteX41" fmla="*/ 40362 w 1416191"/>
                  <a:gd name="connsiteY41" fmla="*/ 147992 h 2719086"/>
                  <a:gd name="connsiteX42" fmla="*/ 40362 w 1416191"/>
                  <a:gd name="connsiteY42" fmla="*/ 147992 h 2719086"/>
                  <a:gd name="connsiteX43" fmla="*/ 41778 w 1416191"/>
                  <a:gd name="connsiteY43" fmla="*/ 149408 h 2719086"/>
                  <a:gd name="connsiteX44" fmla="*/ 206056 w 1416191"/>
                  <a:gd name="connsiteY44" fmla="*/ 68685 h 2719086"/>
                  <a:gd name="connsiteX45" fmla="*/ 265536 w 1416191"/>
                  <a:gd name="connsiteY45" fmla="*/ 88512 h 2719086"/>
                  <a:gd name="connsiteX46" fmla="*/ 266952 w 1416191"/>
                  <a:gd name="connsiteY46" fmla="*/ 167819 h 2719086"/>
                  <a:gd name="connsiteX47" fmla="*/ 201807 w 1416191"/>
                  <a:gd name="connsiteY47" fmla="*/ 292443 h 2719086"/>
                  <a:gd name="connsiteX48" fmla="*/ 121084 w 1416191"/>
                  <a:gd name="connsiteY48" fmla="*/ 266952 h 2719086"/>
                  <a:gd name="connsiteX49" fmla="*/ 186229 w 1416191"/>
                  <a:gd name="connsiteY49" fmla="*/ 320767 h 2719086"/>
                  <a:gd name="connsiteX50" fmla="*/ 130998 w 1416191"/>
                  <a:gd name="connsiteY50" fmla="*/ 425565 h 2719086"/>
                  <a:gd name="connsiteX51" fmla="*/ 101258 w 1416191"/>
                  <a:gd name="connsiteY51" fmla="*/ 383079 h 2719086"/>
                  <a:gd name="connsiteX52" fmla="*/ 101258 w 1416191"/>
                  <a:gd name="connsiteY52" fmla="*/ 383079 h 2719086"/>
                  <a:gd name="connsiteX53" fmla="*/ 10621 w 1416191"/>
                  <a:gd name="connsiteY53" fmla="*/ 630913 h 2719086"/>
                  <a:gd name="connsiteX54" fmla="*/ 10621 w 1416191"/>
                  <a:gd name="connsiteY54" fmla="*/ 630913 h 2719086"/>
                  <a:gd name="connsiteX55" fmla="*/ 189062 w 1416191"/>
                  <a:gd name="connsiteY55" fmla="*/ 510537 h 2719086"/>
                  <a:gd name="connsiteX56" fmla="*/ 288195 w 1416191"/>
                  <a:gd name="connsiteY56" fmla="*/ 653572 h 2719086"/>
                  <a:gd name="connsiteX57" fmla="*/ 225883 w 1416191"/>
                  <a:gd name="connsiteY57" fmla="*/ 690393 h 2719086"/>
                  <a:gd name="connsiteX58" fmla="*/ 143744 w 1416191"/>
                  <a:gd name="connsiteY58" fmla="*/ 647907 h 2719086"/>
                  <a:gd name="connsiteX59" fmla="*/ 143744 w 1416191"/>
                  <a:gd name="connsiteY59" fmla="*/ 647907 h 2719086"/>
                  <a:gd name="connsiteX60" fmla="*/ 160738 w 1416191"/>
                  <a:gd name="connsiteY60" fmla="*/ 728630 h 2719086"/>
                  <a:gd name="connsiteX61" fmla="*/ 89928 w 1416191"/>
                  <a:gd name="connsiteY61" fmla="*/ 771116 h 2719086"/>
                  <a:gd name="connsiteX62" fmla="*/ 172067 w 1416191"/>
                  <a:gd name="connsiteY62" fmla="*/ 782445 h 2719086"/>
                  <a:gd name="connsiteX63" fmla="*/ 198975 w 1416191"/>
                  <a:gd name="connsiteY63" fmla="*/ 909903 h 2719086"/>
                  <a:gd name="connsiteX64" fmla="*/ 198975 w 1416191"/>
                  <a:gd name="connsiteY64" fmla="*/ 909903 h 2719086"/>
                  <a:gd name="connsiteX65" fmla="*/ 289611 w 1416191"/>
                  <a:gd name="connsiteY65" fmla="*/ 798024 h 2719086"/>
                  <a:gd name="connsiteX66" fmla="*/ 349091 w 1416191"/>
                  <a:gd name="connsiteY66" fmla="*/ 806521 h 2719086"/>
                  <a:gd name="connsiteX67" fmla="*/ 344843 w 1416191"/>
                  <a:gd name="connsiteY67" fmla="*/ 986377 h 2719086"/>
                  <a:gd name="connsiteX68" fmla="*/ 344843 w 1416191"/>
                  <a:gd name="connsiteY68" fmla="*/ 986377 h 2719086"/>
                  <a:gd name="connsiteX69" fmla="*/ 584179 w 1416191"/>
                  <a:gd name="connsiteY69" fmla="*/ 880163 h 2719086"/>
                  <a:gd name="connsiteX70" fmla="*/ 598341 w 1416191"/>
                  <a:gd name="connsiteY70" fmla="*/ 986377 h 2719086"/>
                  <a:gd name="connsiteX71" fmla="*/ 561520 w 1416191"/>
                  <a:gd name="connsiteY71" fmla="*/ 1020365 h 2719086"/>
                  <a:gd name="connsiteX72" fmla="*/ 241461 w 1416191"/>
                  <a:gd name="connsiteY72" fmla="*/ 1033111 h 2719086"/>
                  <a:gd name="connsiteX73" fmla="*/ 241461 w 1416191"/>
                  <a:gd name="connsiteY73" fmla="*/ 1033111 h 2719086"/>
                  <a:gd name="connsiteX74" fmla="*/ 353340 w 1416191"/>
                  <a:gd name="connsiteY74" fmla="*/ 1126580 h 2719086"/>
                  <a:gd name="connsiteX75" fmla="*/ 422733 w 1416191"/>
                  <a:gd name="connsiteY75" fmla="*/ 1147823 h 2719086"/>
                  <a:gd name="connsiteX76" fmla="*/ 361837 w 1416191"/>
                  <a:gd name="connsiteY76" fmla="*/ 1204470 h 2719086"/>
                  <a:gd name="connsiteX77" fmla="*/ 361837 w 1416191"/>
                  <a:gd name="connsiteY77" fmla="*/ 1204470 h 2719086"/>
                  <a:gd name="connsiteX78" fmla="*/ 363253 w 1416191"/>
                  <a:gd name="connsiteY78" fmla="*/ 1205886 h 2719086"/>
                  <a:gd name="connsiteX79" fmla="*/ 449641 w 1416191"/>
                  <a:gd name="connsiteY79" fmla="*/ 1156320 h 2719086"/>
                  <a:gd name="connsiteX80" fmla="*/ 572850 w 1416191"/>
                  <a:gd name="connsiteY80" fmla="*/ 1193141 h 2719086"/>
                  <a:gd name="connsiteX81" fmla="*/ 553023 w 1416191"/>
                  <a:gd name="connsiteY81" fmla="*/ 1238459 h 2719086"/>
                  <a:gd name="connsiteX82" fmla="*/ 449641 w 1416191"/>
                  <a:gd name="connsiteY82" fmla="*/ 1288026 h 2719086"/>
                  <a:gd name="connsiteX83" fmla="*/ 368918 w 1416191"/>
                  <a:gd name="connsiteY83" fmla="*/ 1330511 h 2719086"/>
                  <a:gd name="connsiteX84" fmla="*/ 368918 w 1416191"/>
                  <a:gd name="connsiteY84" fmla="*/ 1330511 h 2719086"/>
                  <a:gd name="connsiteX85" fmla="*/ 336345 w 1416191"/>
                  <a:gd name="connsiteY85" fmla="*/ 1463633 h 2719086"/>
                  <a:gd name="connsiteX86" fmla="*/ 336345 w 1416191"/>
                  <a:gd name="connsiteY86" fmla="*/ 1463633 h 2719086"/>
                  <a:gd name="connsiteX87" fmla="*/ 435479 w 1416191"/>
                  <a:gd name="connsiteY87" fmla="*/ 1497622 h 2719086"/>
                  <a:gd name="connsiteX88" fmla="*/ 385912 w 1416191"/>
                  <a:gd name="connsiteY88" fmla="*/ 1605252 h 2719086"/>
                  <a:gd name="connsiteX89" fmla="*/ 333513 w 1416191"/>
                  <a:gd name="connsiteY89" fmla="*/ 1584010 h 2719086"/>
                  <a:gd name="connsiteX90" fmla="*/ 333513 w 1416191"/>
                  <a:gd name="connsiteY90" fmla="*/ 1584010 h 2719086"/>
                  <a:gd name="connsiteX91" fmla="*/ 332097 w 1416191"/>
                  <a:gd name="connsiteY91" fmla="*/ 1585426 h 2719086"/>
                  <a:gd name="connsiteX92" fmla="*/ 381664 w 1416191"/>
                  <a:gd name="connsiteY92" fmla="*/ 1612333 h 2719086"/>
                  <a:gd name="connsiteX93" fmla="*/ 342010 w 1416191"/>
                  <a:gd name="connsiteY93" fmla="*/ 1698721 h 2719086"/>
                  <a:gd name="connsiteX94" fmla="*/ 342010 w 1416191"/>
                  <a:gd name="connsiteY94" fmla="*/ 1698721 h 2719086"/>
                  <a:gd name="connsiteX95" fmla="*/ 448225 w 1416191"/>
                  <a:gd name="connsiteY95" fmla="*/ 1646322 h 2719086"/>
                  <a:gd name="connsiteX96" fmla="*/ 509121 w 1416191"/>
                  <a:gd name="connsiteY96" fmla="*/ 1678894 h 2719086"/>
                  <a:gd name="connsiteX97" fmla="*/ 509121 w 1416191"/>
                  <a:gd name="connsiteY97" fmla="*/ 1678894 h 2719086"/>
                  <a:gd name="connsiteX98" fmla="*/ 544526 w 1416191"/>
                  <a:gd name="connsiteY98" fmla="*/ 1663316 h 2719086"/>
                  <a:gd name="connsiteX99" fmla="*/ 534612 w 1416191"/>
                  <a:gd name="connsiteY99" fmla="*/ 1719964 h 2719086"/>
                  <a:gd name="connsiteX100" fmla="*/ 350507 w 1416191"/>
                  <a:gd name="connsiteY100" fmla="*/ 1751120 h 2719086"/>
                  <a:gd name="connsiteX101" fmla="*/ 350507 w 1416191"/>
                  <a:gd name="connsiteY101" fmla="*/ 1751120 h 2719086"/>
                  <a:gd name="connsiteX102" fmla="*/ 351924 w 1416191"/>
                  <a:gd name="connsiteY102" fmla="*/ 1916814 h 2719086"/>
                  <a:gd name="connsiteX103" fmla="*/ 268368 w 1416191"/>
                  <a:gd name="connsiteY103" fmla="*/ 1912566 h 2719086"/>
                  <a:gd name="connsiteX104" fmla="*/ 268368 w 1416191"/>
                  <a:gd name="connsiteY104" fmla="*/ 1912566 h 2719086"/>
                  <a:gd name="connsiteX105" fmla="*/ 295276 w 1416191"/>
                  <a:gd name="connsiteY105" fmla="*/ 1991872 h 2719086"/>
                  <a:gd name="connsiteX106" fmla="*/ 240045 w 1416191"/>
                  <a:gd name="connsiteY106" fmla="*/ 1984791 h 2719086"/>
                  <a:gd name="connsiteX107" fmla="*/ 240045 w 1416191"/>
                  <a:gd name="connsiteY107" fmla="*/ 1984791 h 2719086"/>
                  <a:gd name="connsiteX108" fmla="*/ 308022 w 1416191"/>
                  <a:gd name="connsiteY108" fmla="*/ 2054185 h 2719086"/>
                  <a:gd name="connsiteX109" fmla="*/ 264120 w 1416191"/>
                  <a:gd name="connsiteY109" fmla="*/ 2228376 h 2719086"/>
                  <a:gd name="connsiteX110" fmla="*/ 264120 w 1416191"/>
                  <a:gd name="connsiteY110" fmla="*/ 2228376 h 2719086"/>
                  <a:gd name="connsiteX111" fmla="*/ 317935 w 1416191"/>
                  <a:gd name="connsiteY111" fmla="*/ 2252451 h 2719086"/>
                  <a:gd name="connsiteX112" fmla="*/ 249958 w 1416191"/>
                  <a:gd name="connsiteY112" fmla="*/ 2319013 h 2719086"/>
                  <a:gd name="connsiteX113" fmla="*/ 249958 w 1416191"/>
                  <a:gd name="connsiteY113" fmla="*/ 2319013 h 2719086"/>
                  <a:gd name="connsiteX114" fmla="*/ 285363 w 1416191"/>
                  <a:gd name="connsiteY114" fmla="*/ 2429475 h 2719086"/>
                  <a:gd name="connsiteX115" fmla="*/ 164986 w 1416191"/>
                  <a:gd name="connsiteY115" fmla="*/ 2432308 h 2719086"/>
                  <a:gd name="connsiteX116" fmla="*/ 164986 w 1416191"/>
                  <a:gd name="connsiteY116" fmla="*/ 2432308 h 2719086"/>
                  <a:gd name="connsiteX117" fmla="*/ 218802 w 1416191"/>
                  <a:gd name="connsiteY117" fmla="*/ 2498869 h 2719086"/>
                  <a:gd name="connsiteX118" fmla="*/ 218802 w 1416191"/>
                  <a:gd name="connsiteY118" fmla="*/ 2498869 h 2719086"/>
                  <a:gd name="connsiteX119" fmla="*/ 288195 w 1416191"/>
                  <a:gd name="connsiteY119" fmla="*/ 2433724 h 2719086"/>
                  <a:gd name="connsiteX120" fmla="*/ 306606 w 1416191"/>
                  <a:gd name="connsiteY120" fmla="*/ 2490372 h 2719086"/>
                  <a:gd name="connsiteX121" fmla="*/ 228715 w 1416191"/>
                  <a:gd name="connsiteY121" fmla="*/ 2633407 h 2719086"/>
                  <a:gd name="connsiteX122" fmla="*/ 228715 w 1416191"/>
                  <a:gd name="connsiteY122" fmla="*/ 2633407 h 2719086"/>
                  <a:gd name="connsiteX123" fmla="*/ 344843 w 1416191"/>
                  <a:gd name="connsiteY123" fmla="*/ 2610748 h 2719086"/>
                  <a:gd name="connsiteX124" fmla="*/ 356172 w 1416191"/>
                  <a:gd name="connsiteY124" fmla="*/ 2648985 h 2719086"/>
                  <a:gd name="connsiteX125" fmla="*/ 325016 w 1416191"/>
                  <a:gd name="connsiteY125" fmla="*/ 2639072 h 2719086"/>
                  <a:gd name="connsiteX126" fmla="*/ 223050 w 1416191"/>
                  <a:gd name="connsiteY126" fmla="*/ 2637655 h 2719086"/>
                  <a:gd name="connsiteX127" fmla="*/ 221634 w 1416191"/>
                  <a:gd name="connsiteY127" fmla="*/ 2637655 h 2719086"/>
                  <a:gd name="connsiteX128" fmla="*/ 366086 w 1416191"/>
                  <a:gd name="connsiteY128" fmla="*/ 2708465 h 2719086"/>
                  <a:gd name="connsiteX129" fmla="*/ 366086 w 1416191"/>
                  <a:gd name="connsiteY129" fmla="*/ 2708465 h 2719086"/>
                  <a:gd name="connsiteX130" fmla="*/ 350507 w 1416191"/>
                  <a:gd name="connsiteY130" fmla="*/ 2657482 h 2719086"/>
                  <a:gd name="connsiteX131" fmla="*/ 452473 w 1416191"/>
                  <a:gd name="connsiteY131" fmla="*/ 2690055 h 2719086"/>
                  <a:gd name="connsiteX132" fmla="*/ 452473 w 1416191"/>
                  <a:gd name="connsiteY132" fmla="*/ 2690055 h 2719086"/>
                  <a:gd name="connsiteX133" fmla="*/ 390161 w 1416191"/>
                  <a:gd name="connsiteY133" fmla="*/ 2603667 h 2719086"/>
                  <a:gd name="connsiteX134" fmla="*/ 390161 w 1416191"/>
                  <a:gd name="connsiteY134" fmla="*/ 2603667 h 2719086"/>
                  <a:gd name="connsiteX135" fmla="*/ 336345 w 1416191"/>
                  <a:gd name="connsiteY135" fmla="*/ 2613580 h 2719086"/>
                  <a:gd name="connsiteX136" fmla="*/ 299525 w 1416191"/>
                  <a:gd name="connsiteY136" fmla="*/ 2494620 h 2719086"/>
                  <a:gd name="connsiteX137" fmla="*/ 303773 w 1416191"/>
                  <a:gd name="connsiteY137" fmla="*/ 2486123 h 2719086"/>
                  <a:gd name="connsiteX138" fmla="*/ 330681 w 1416191"/>
                  <a:gd name="connsiteY138" fmla="*/ 2573927 h 2719086"/>
                  <a:gd name="connsiteX139" fmla="*/ 330681 w 1416191"/>
                  <a:gd name="connsiteY139" fmla="*/ 2575343 h 2719086"/>
                  <a:gd name="connsiteX140" fmla="*/ 337762 w 1416191"/>
                  <a:gd name="connsiteY140" fmla="*/ 2449302 h 2719086"/>
                  <a:gd name="connsiteX141" fmla="*/ 373167 w 1416191"/>
                  <a:gd name="connsiteY141" fmla="*/ 2432308 h 2719086"/>
                  <a:gd name="connsiteX142" fmla="*/ 401490 w 1416191"/>
                  <a:gd name="connsiteY142" fmla="*/ 2430892 h 2719086"/>
                  <a:gd name="connsiteX143" fmla="*/ 490710 w 1416191"/>
                  <a:gd name="connsiteY143" fmla="*/ 2374244 h 2719086"/>
                  <a:gd name="connsiteX144" fmla="*/ 490710 w 1416191"/>
                  <a:gd name="connsiteY144" fmla="*/ 2374244 h 2719086"/>
                  <a:gd name="connsiteX145" fmla="*/ 489294 w 1416191"/>
                  <a:gd name="connsiteY145" fmla="*/ 2372828 h 2719086"/>
                  <a:gd name="connsiteX146" fmla="*/ 371750 w 1416191"/>
                  <a:gd name="connsiteY146" fmla="*/ 2430892 h 2719086"/>
                  <a:gd name="connsiteX147" fmla="*/ 337762 w 1416191"/>
                  <a:gd name="connsiteY147" fmla="*/ 2432308 h 2719086"/>
                  <a:gd name="connsiteX148" fmla="*/ 340594 w 1416191"/>
                  <a:gd name="connsiteY148" fmla="*/ 2381325 h 2719086"/>
                  <a:gd name="connsiteX149" fmla="*/ 421317 w 1416191"/>
                  <a:gd name="connsiteY149" fmla="*/ 2304851 h 2719086"/>
                  <a:gd name="connsiteX150" fmla="*/ 421317 w 1416191"/>
                  <a:gd name="connsiteY150" fmla="*/ 2304851 h 2719086"/>
                  <a:gd name="connsiteX151" fmla="*/ 343426 w 1416191"/>
                  <a:gd name="connsiteY151" fmla="*/ 2313348 h 2719086"/>
                  <a:gd name="connsiteX152" fmla="*/ 346259 w 1416191"/>
                  <a:gd name="connsiteY152" fmla="*/ 2272278 h 2719086"/>
                  <a:gd name="connsiteX153" fmla="*/ 414236 w 1416191"/>
                  <a:gd name="connsiteY153" fmla="*/ 2302018 h 2719086"/>
                  <a:gd name="connsiteX154" fmla="*/ 414236 w 1416191"/>
                  <a:gd name="connsiteY154" fmla="*/ 2302018 h 2719086"/>
                  <a:gd name="connsiteX155" fmla="*/ 409988 w 1416191"/>
                  <a:gd name="connsiteY155" fmla="*/ 2184474 h 2719086"/>
                  <a:gd name="connsiteX156" fmla="*/ 421317 w 1416191"/>
                  <a:gd name="connsiteY156" fmla="*/ 2178810 h 2719086"/>
                  <a:gd name="connsiteX157" fmla="*/ 462387 w 1416191"/>
                  <a:gd name="connsiteY157" fmla="*/ 2219879 h 2719086"/>
                  <a:gd name="connsiteX158" fmla="*/ 462387 w 1416191"/>
                  <a:gd name="connsiteY158" fmla="*/ 2219879 h 2719086"/>
                  <a:gd name="connsiteX159" fmla="*/ 494959 w 1416191"/>
                  <a:gd name="connsiteY159" fmla="*/ 2140572 h 2719086"/>
                  <a:gd name="connsiteX160" fmla="*/ 494959 w 1416191"/>
                  <a:gd name="connsiteY160" fmla="*/ 2140572 h 2719086"/>
                  <a:gd name="connsiteX161" fmla="*/ 421317 w 1416191"/>
                  <a:gd name="connsiteY161" fmla="*/ 2175977 h 2719086"/>
                  <a:gd name="connsiteX162" fmla="*/ 408571 w 1416191"/>
                  <a:gd name="connsiteY162" fmla="*/ 2163232 h 2719086"/>
                  <a:gd name="connsiteX163" fmla="*/ 408571 w 1416191"/>
                  <a:gd name="connsiteY163" fmla="*/ 2158983 h 2719086"/>
                  <a:gd name="connsiteX164" fmla="*/ 533196 w 1416191"/>
                  <a:gd name="connsiteY164" fmla="*/ 2035774 h 2719086"/>
                  <a:gd name="connsiteX165" fmla="*/ 533196 w 1416191"/>
                  <a:gd name="connsiteY165" fmla="*/ 2035774 h 2719086"/>
                  <a:gd name="connsiteX166" fmla="*/ 534612 w 1416191"/>
                  <a:gd name="connsiteY166" fmla="*/ 2027277 h 2719086"/>
                  <a:gd name="connsiteX167" fmla="*/ 543110 w 1416191"/>
                  <a:gd name="connsiteY167" fmla="*/ 2028693 h 2719086"/>
                  <a:gd name="connsiteX168" fmla="*/ 544526 w 1416191"/>
                  <a:gd name="connsiteY168" fmla="*/ 2028693 h 2719086"/>
                  <a:gd name="connsiteX169" fmla="*/ 536029 w 1416191"/>
                  <a:gd name="connsiteY169" fmla="*/ 2023029 h 2719086"/>
                  <a:gd name="connsiteX170" fmla="*/ 550190 w 1416191"/>
                  <a:gd name="connsiteY170" fmla="*/ 1930976 h 2719086"/>
                  <a:gd name="connsiteX171" fmla="*/ 626665 w 1416191"/>
                  <a:gd name="connsiteY171" fmla="*/ 1935225 h 2719086"/>
                  <a:gd name="connsiteX172" fmla="*/ 626665 w 1416191"/>
                  <a:gd name="connsiteY172" fmla="*/ 1935225 h 2719086"/>
                  <a:gd name="connsiteX173" fmla="*/ 628081 w 1416191"/>
                  <a:gd name="connsiteY173" fmla="*/ 1844589 h 2719086"/>
                  <a:gd name="connsiteX174" fmla="*/ 660653 w 1416191"/>
                  <a:gd name="connsiteY174" fmla="*/ 1844589 h 2719086"/>
                  <a:gd name="connsiteX175" fmla="*/ 691810 w 1416191"/>
                  <a:gd name="connsiteY175" fmla="*/ 1952219 h 2719086"/>
                  <a:gd name="connsiteX176" fmla="*/ 691810 w 1416191"/>
                  <a:gd name="connsiteY176" fmla="*/ 1953635 h 2719086"/>
                  <a:gd name="connsiteX177" fmla="*/ 704555 w 1416191"/>
                  <a:gd name="connsiteY177" fmla="*/ 1860167 h 2719086"/>
                  <a:gd name="connsiteX178" fmla="*/ 660653 w 1416191"/>
                  <a:gd name="connsiteY178" fmla="*/ 2555517 h 2719086"/>
                  <a:gd name="connsiteX179" fmla="*/ 660653 w 1416191"/>
                  <a:gd name="connsiteY179" fmla="*/ 2555517 h 2719086"/>
                  <a:gd name="connsiteX180" fmla="*/ 662069 w 1416191"/>
                  <a:gd name="connsiteY180" fmla="*/ 2555517 h 2719086"/>
                  <a:gd name="connsiteX181" fmla="*/ 662069 w 1416191"/>
                  <a:gd name="connsiteY181" fmla="*/ 2555517 h 2719086"/>
                  <a:gd name="connsiteX182" fmla="*/ 720133 w 1416191"/>
                  <a:gd name="connsiteY182" fmla="*/ 1626495 h 2719086"/>
                  <a:gd name="connsiteX183" fmla="*/ 754122 w 1416191"/>
                  <a:gd name="connsiteY183" fmla="*/ 1744039 h 2719086"/>
                  <a:gd name="connsiteX184" fmla="*/ 713052 w 1416191"/>
                  <a:gd name="connsiteY184" fmla="*/ 1789357 h 2719086"/>
                  <a:gd name="connsiteX185" fmla="*/ 713052 w 1416191"/>
                  <a:gd name="connsiteY185" fmla="*/ 1789357 h 2719086"/>
                  <a:gd name="connsiteX186" fmla="*/ 772532 w 1416191"/>
                  <a:gd name="connsiteY186" fmla="*/ 1800687 h 2719086"/>
                  <a:gd name="connsiteX187" fmla="*/ 772532 w 1416191"/>
                  <a:gd name="connsiteY187" fmla="*/ 1800687 h 2719086"/>
                  <a:gd name="connsiteX188" fmla="*/ 756954 w 1416191"/>
                  <a:gd name="connsiteY188" fmla="*/ 1744039 h 2719086"/>
                  <a:gd name="connsiteX189" fmla="*/ 850423 w 1416191"/>
                  <a:gd name="connsiteY189" fmla="*/ 1642073 h 2719086"/>
                  <a:gd name="connsiteX190" fmla="*/ 880163 w 1416191"/>
                  <a:gd name="connsiteY190" fmla="*/ 1651987 h 2719086"/>
                  <a:gd name="connsiteX191" fmla="*/ 880163 w 1416191"/>
                  <a:gd name="connsiteY191" fmla="*/ 1651987 h 2719086"/>
                  <a:gd name="connsiteX192" fmla="*/ 966551 w 1416191"/>
                  <a:gd name="connsiteY192" fmla="*/ 1513200 h 2719086"/>
                  <a:gd name="connsiteX193" fmla="*/ 1119499 w 1416191"/>
                  <a:gd name="connsiteY193" fmla="*/ 1346089 h 2719086"/>
                  <a:gd name="connsiteX194" fmla="*/ 1119499 w 1416191"/>
                  <a:gd name="connsiteY194" fmla="*/ 1346089 h 2719086"/>
                  <a:gd name="connsiteX195" fmla="*/ 1118083 w 1416191"/>
                  <a:gd name="connsiteY195" fmla="*/ 1344673 h 2719086"/>
                  <a:gd name="connsiteX196" fmla="*/ 1027447 w 1416191"/>
                  <a:gd name="connsiteY196" fmla="*/ 1412650 h 2719086"/>
                  <a:gd name="connsiteX197" fmla="*/ 965135 w 1416191"/>
                  <a:gd name="connsiteY197" fmla="*/ 1511784 h 2719086"/>
                  <a:gd name="connsiteX198" fmla="*/ 849007 w 1416191"/>
                  <a:gd name="connsiteY198" fmla="*/ 1639241 h 2719086"/>
                  <a:gd name="connsiteX199" fmla="*/ 713052 w 1416191"/>
                  <a:gd name="connsiteY199" fmla="*/ 1592507 h 2719086"/>
                  <a:gd name="connsiteX200" fmla="*/ 713052 w 1416191"/>
                  <a:gd name="connsiteY200" fmla="*/ 1592507 h 2719086"/>
                  <a:gd name="connsiteX201" fmla="*/ 705972 w 1416191"/>
                  <a:gd name="connsiteY201" fmla="*/ 1589674 h 2719086"/>
                  <a:gd name="connsiteX202" fmla="*/ 756954 w 1416191"/>
                  <a:gd name="connsiteY202" fmla="*/ 1567015 h 2719086"/>
                  <a:gd name="connsiteX203" fmla="*/ 812186 w 1416191"/>
                  <a:gd name="connsiteY203" fmla="*/ 1591091 h 2719086"/>
                  <a:gd name="connsiteX204" fmla="*/ 812186 w 1416191"/>
                  <a:gd name="connsiteY204" fmla="*/ 1591091 h 2719086"/>
                  <a:gd name="connsiteX205" fmla="*/ 796608 w 1416191"/>
                  <a:gd name="connsiteY205" fmla="*/ 1548605 h 2719086"/>
                  <a:gd name="connsiteX206" fmla="*/ 853255 w 1416191"/>
                  <a:gd name="connsiteY206" fmla="*/ 1588258 h 2719086"/>
                  <a:gd name="connsiteX207" fmla="*/ 853255 w 1416191"/>
                  <a:gd name="connsiteY207" fmla="*/ 1588258 h 2719086"/>
                  <a:gd name="connsiteX208" fmla="*/ 943892 w 1416191"/>
                  <a:gd name="connsiteY208" fmla="*/ 1479212 h 2719086"/>
                  <a:gd name="connsiteX209" fmla="*/ 943892 w 1416191"/>
                  <a:gd name="connsiteY209" fmla="*/ 1477795 h 2719086"/>
                  <a:gd name="connsiteX210" fmla="*/ 796608 w 1416191"/>
                  <a:gd name="connsiteY210" fmla="*/ 1545772 h 2719086"/>
                  <a:gd name="connsiteX211" fmla="*/ 795192 w 1416191"/>
                  <a:gd name="connsiteY211" fmla="*/ 1544356 h 2719086"/>
                  <a:gd name="connsiteX212" fmla="*/ 773949 w 1416191"/>
                  <a:gd name="connsiteY212" fmla="*/ 1486292 h 2719086"/>
                  <a:gd name="connsiteX213" fmla="*/ 1201639 w 1416191"/>
                  <a:gd name="connsiteY213" fmla="*/ 1275280 h 2719086"/>
                  <a:gd name="connsiteX214" fmla="*/ 1201639 w 1416191"/>
                  <a:gd name="connsiteY214" fmla="*/ 1275280 h 2719086"/>
                  <a:gd name="connsiteX215" fmla="*/ 1061436 w 1416191"/>
                  <a:gd name="connsiteY215" fmla="*/ 1142158 h 2719086"/>
                  <a:gd name="connsiteX216" fmla="*/ 1256870 w 1416191"/>
                  <a:gd name="connsiteY216" fmla="*/ 1154903 h 2719086"/>
                  <a:gd name="connsiteX217" fmla="*/ 1256870 w 1416191"/>
                  <a:gd name="connsiteY217" fmla="*/ 1154903 h 2719086"/>
                  <a:gd name="connsiteX218" fmla="*/ 1288026 w 1416191"/>
                  <a:gd name="connsiteY218" fmla="*/ 994874 h 2719086"/>
                  <a:gd name="connsiteX219" fmla="*/ 1324847 w 1416191"/>
                  <a:gd name="connsiteY219" fmla="*/ 993458 h 2719086"/>
                  <a:gd name="connsiteX220" fmla="*/ 1324847 w 1416191"/>
                  <a:gd name="connsiteY220" fmla="*/ 993458 h 2719086"/>
                  <a:gd name="connsiteX221" fmla="*/ 1324847 w 1416191"/>
                  <a:gd name="connsiteY221" fmla="*/ 992042 h 2719086"/>
                  <a:gd name="connsiteX222" fmla="*/ 1288026 w 1416191"/>
                  <a:gd name="connsiteY222" fmla="*/ 987793 h 2719086"/>
                  <a:gd name="connsiteX223" fmla="*/ 1314934 w 1416191"/>
                  <a:gd name="connsiteY223" fmla="*/ 843341 h 2719086"/>
                  <a:gd name="connsiteX224" fmla="*/ 1416900 w 1416191"/>
                  <a:gd name="connsiteY224" fmla="*/ 761203 h 2719086"/>
                  <a:gd name="connsiteX225" fmla="*/ 1416900 w 1416191"/>
                  <a:gd name="connsiteY225" fmla="*/ 761203 h 2719086"/>
                  <a:gd name="connsiteX226" fmla="*/ 1238460 w 1416191"/>
                  <a:gd name="connsiteY226" fmla="*/ 790943 h 2719086"/>
                  <a:gd name="connsiteX227" fmla="*/ 1330512 w 1416191"/>
                  <a:gd name="connsiteY227" fmla="*/ 660653 h 2719086"/>
                  <a:gd name="connsiteX228" fmla="*/ 799440 w 1416191"/>
                  <a:gd name="connsiteY228" fmla="*/ 1547189 h 2719086"/>
                  <a:gd name="connsiteX229" fmla="*/ 938227 w 1416191"/>
                  <a:gd name="connsiteY229" fmla="*/ 1483460 h 2719086"/>
                  <a:gd name="connsiteX230" fmla="*/ 854672 w 1416191"/>
                  <a:gd name="connsiteY230" fmla="*/ 1585426 h 2719086"/>
                  <a:gd name="connsiteX231" fmla="*/ 799440 w 1416191"/>
                  <a:gd name="connsiteY231" fmla="*/ 1547189 h 2719086"/>
                  <a:gd name="connsiteX232" fmla="*/ 425566 w 1416191"/>
                  <a:gd name="connsiteY232" fmla="*/ 2178810 h 2719086"/>
                  <a:gd name="connsiteX233" fmla="*/ 493543 w 1416191"/>
                  <a:gd name="connsiteY233" fmla="*/ 2146237 h 2719086"/>
                  <a:gd name="connsiteX234" fmla="*/ 463803 w 1416191"/>
                  <a:gd name="connsiteY234" fmla="*/ 2218463 h 2719086"/>
                  <a:gd name="connsiteX235" fmla="*/ 425566 w 1416191"/>
                  <a:gd name="connsiteY235" fmla="*/ 2178810 h 2719086"/>
                  <a:gd name="connsiteX236" fmla="*/ 337762 w 1416191"/>
                  <a:gd name="connsiteY236" fmla="*/ 2449302 h 2719086"/>
                  <a:gd name="connsiteX237" fmla="*/ 339178 w 1416191"/>
                  <a:gd name="connsiteY237" fmla="*/ 2435140 h 2719086"/>
                  <a:gd name="connsiteX238" fmla="*/ 368918 w 1416191"/>
                  <a:gd name="connsiteY238" fmla="*/ 2433724 h 2719086"/>
                  <a:gd name="connsiteX239" fmla="*/ 337762 w 1416191"/>
                  <a:gd name="connsiteY239" fmla="*/ 2449302 h 2719086"/>
                  <a:gd name="connsiteX240" fmla="*/ 223050 w 1416191"/>
                  <a:gd name="connsiteY240" fmla="*/ 2646153 h 2719086"/>
                  <a:gd name="connsiteX241" fmla="*/ 315103 w 1416191"/>
                  <a:gd name="connsiteY241" fmla="*/ 2647569 h 2719086"/>
                  <a:gd name="connsiteX242" fmla="*/ 347675 w 1416191"/>
                  <a:gd name="connsiteY242" fmla="*/ 2657482 h 2719086"/>
                  <a:gd name="connsiteX243" fmla="*/ 363253 w 1416191"/>
                  <a:gd name="connsiteY243" fmla="*/ 2705632 h 2719086"/>
                  <a:gd name="connsiteX244" fmla="*/ 223050 w 1416191"/>
                  <a:gd name="connsiteY244" fmla="*/ 2646153 h 2719086"/>
                  <a:gd name="connsiteX245" fmla="*/ 350507 w 1416191"/>
                  <a:gd name="connsiteY245" fmla="*/ 2656066 h 2719086"/>
                  <a:gd name="connsiteX246" fmla="*/ 337762 w 1416191"/>
                  <a:gd name="connsiteY246" fmla="*/ 2616413 h 2719086"/>
                  <a:gd name="connsiteX247" fmla="*/ 390161 w 1416191"/>
                  <a:gd name="connsiteY247" fmla="*/ 2606499 h 2719086"/>
                  <a:gd name="connsiteX248" fmla="*/ 448225 w 1416191"/>
                  <a:gd name="connsiteY248" fmla="*/ 2685806 h 2719086"/>
                  <a:gd name="connsiteX249" fmla="*/ 350507 w 1416191"/>
                  <a:gd name="connsiteY249" fmla="*/ 2656066 h 2719086"/>
                  <a:gd name="connsiteX250" fmla="*/ 278282 w 1416191"/>
                  <a:gd name="connsiteY250" fmla="*/ 2437973 h 2719086"/>
                  <a:gd name="connsiteX251" fmla="*/ 210305 w 1416191"/>
                  <a:gd name="connsiteY251" fmla="*/ 2501701 h 2719086"/>
                  <a:gd name="connsiteX252" fmla="*/ 160738 w 1416191"/>
                  <a:gd name="connsiteY252" fmla="*/ 2439389 h 2719086"/>
                  <a:gd name="connsiteX253" fmla="*/ 278282 w 1416191"/>
                  <a:gd name="connsiteY253" fmla="*/ 2437973 h 2719086"/>
                  <a:gd name="connsiteX254" fmla="*/ 278282 w 1416191"/>
                  <a:gd name="connsiteY254" fmla="*/ 2437973 h 2719086"/>
                  <a:gd name="connsiteX255" fmla="*/ 759787 w 1416191"/>
                  <a:gd name="connsiteY255" fmla="*/ 1564183 h 2719086"/>
                  <a:gd name="connsiteX256" fmla="*/ 795192 w 1416191"/>
                  <a:gd name="connsiteY256" fmla="*/ 1547189 h 2719086"/>
                  <a:gd name="connsiteX257" fmla="*/ 809354 w 1416191"/>
                  <a:gd name="connsiteY257" fmla="*/ 1585426 h 2719086"/>
                  <a:gd name="connsiteX258" fmla="*/ 759787 w 1416191"/>
                  <a:gd name="connsiteY258" fmla="*/ 1564183 h 2719086"/>
                  <a:gd name="connsiteX259" fmla="*/ 717301 w 1416191"/>
                  <a:gd name="connsiteY259" fmla="*/ 1789357 h 2719086"/>
                  <a:gd name="connsiteX260" fmla="*/ 755538 w 1416191"/>
                  <a:gd name="connsiteY260" fmla="*/ 1748288 h 2719086"/>
                  <a:gd name="connsiteX261" fmla="*/ 771116 w 1416191"/>
                  <a:gd name="connsiteY261" fmla="*/ 1799270 h 2719086"/>
                  <a:gd name="connsiteX262" fmla="*/ 717301 w 1416191"/>
                  <a:gd name="connsiteY262" fmla="*/ 1789357 h 2719086"/>
                  <a:gd name="connsiteX263" fmla="*/ 626665 w 1416191"/>
                  <a:gd name="connsiteY263" fmla="*/ 1708634 h 2719086"/>
                  <a:gd name="connsiteX264" fmla="*/ 626665 w 1416191"/>
                  <a:gd name="connsiteY264" fmla="*/ 1728461 h 2719086"/>
                  <a:gd name="connsiteX265" fmla="*/ 621000 w 1416191"/>
                  <a:gd name="connsiteY265" fmla="*/ 1710050 h 2719086"/>
                  <a:gd name="connsiteX266" fmla="*/ 626665 w 1416191"/>
                  <a:gd name="connsiteY266" fmla="*/ 1708634 h 2719086"/>
                  <a:gd name="connsiteX267" fmla="*/ 659237 w 1416191"/>
                  <a:gd name="connsiteY267" fmla="*/ 1844589 h 2719086"/>
                  <a:gd name="connsiteX268" fmla="*/ 628081 w 1416191"/>
                  <a:gd name="connsiteY268" fmla="*/ 1844589 h 2719086"/>
                  <a:gd name="connsiteX269" fmla="*/ 629497 w 1416191"/>
                  <a:gd name="connsiteY269" fmla="*/ 1742623 h 2719086"/>
                  <a:gd name="connsiteX270" fmla="*/ 659237 w 1416191"/>
                  <a:gd name="connsiteY270" fmla="*/ 1844589 h 2719086"/>
                  <a:gd name="connsiteX271" fmla="*/ 562936 w 1416191"/>
                  <a:gd name="connsiteY271" fmla="*/ 1846005 h 2719086"/>
                  <a:gd name="connsiteX272" fmla="*/ 626665 w 1416191"/>
                  <a:gd name="connsiteY272" fmla="*/ 1846005 h 2719086"/>
                  <a:gd name="connsiteX273" fmla="*/ 625249 w 1416191"/>
                  <a:gd name="connsiteY273" fmla="*/ 1935225 h 2719086"/>
                  <a:gd name="connsiteX274" fmla="*/ 550190 w 1416191"/>
                  <a:gd name="connsiteY274" fmla="*/ 1930976 h 2719086"/>
                  <a:gd name="connsiteX275" fmla="*/ 562936 w 1416191"/>
                  <a:gd name="connsiteY275" fmla="*/ 1846005 h 2719086"/>
                  <a:gd name="connsiteX276" fmla="*/ 421317 w 1416191"/>
                  <a:gd name="connsiteY276" fmla="*/ 2178810 h 2719086"/>
                  <a:gd name="connsiteX277" fmla="*/ 411404 w 1416191"/>
                  <a:gd name="connsiteY277" fmla="*/ 2184474 h 2719086"/>
                  <a:gd name="connsiteX278" fmla="*/ 411404 w 1416191"/>
                  <a:gd name="connsiteY278" fmla="*/ 2167480 h 2719086"/>
                  <a:gd name="connsiteX279" fmla="*/ 421317 w 1416191"/>
                  <a:gd name="connsiteY279" fmla="*/ 2178810 h 2719086"/>
                  <a:gd name="connsiteX280" fmla="*/ 317935 w 1416191"/>
                  <a:gd name="connsiteY280" fmla="*/ 2459215 h 2719086"/>
                  <a:gd name="connsiteX281" fmla="*/ 305189 w 1416191"/>
                  <a:gd name="connsiteY281" fmla="*/ 2483291 h 2719086"/>
                  <a:gd name="connsiteX282" fmla="*/ 291027 w 1416191"/>
                  <a:gd name="connsiteY282" fmla="*/ 2436556 h 2719086"/>
                  <a:gd name="connsiteX283" fmla="*/ 336345 w 1416191"/>
                  <a:gd name="connsiteY283" fmla="*/ 2435140 h 2719086"/>
                  <a:gd name="connsiteX284" fmla="*/ 334929 w 1416191"/>
                  <a:gd name="connsiteY284" fmla="*/ 2450718 h 2719086"/>
                  <a:gd name="connsiteX285" fmla="*/ 317935 w 1416191"/>
                  <a:gd name="connsiteY285" fmla="*/ 2459215 h 2719086"/>
                  <a:gd name="connsiteX286" fmla="*/ 305189 w 1416191"/>
                  <a:gd name="connsiteY286" fmla="*/ 2486123 h 2719086"/>
                  <a:gd name="connsiteX287" fmla="*/ 319351 w 1416191"/>
                  <a:gd name="connsiteY287" fmla="*/ 2460632 h 2719086"/>
                  <a:gd name="connsiteX288" fmla="*/ 336345 w 1416191"/>
                  <a:gd name="connsiteY288" fmla="*/ 2452134 h 2719086"/>
                  <a:gd name="connsiteX289" fmla="*/ 330681 w 1416191"/>
                  <a:gd name="connsiteY289" fmla="*/ 2565430 h 2719086"/>
                  <a:gd name="connsiteX290" fmla="*/ 305189 w 1416191"/>
                  <a:gd name="connsiteY290" fmla="*/ 2486123 h 2719086"/>
                  <a:gd name="connsiteX291" fmla="*/ 453889 w 1416191"/>
                  <a:gd name="connsiteY291" fmla="*/ 1640657 h 2719086"/>
                  <a:gd name="connsiteX292" fmla="*/ 439727 w 1416191"/>
                  <a:gd name="connsiteY292" fmla="*/ 1647738 h 2719086"/>
                  <a:gd name="connsiteX293" fmla="*/ 375999 w 1416191"/>
                  <a:gd name="connsiteY293" fmla="*/ 1613750 h 2719086"/>
                  <a:gd name="connsiteX294" fmla="*/ 377415 w 1416191"/>
                  <a:gd name="connsiteY294" fmla="*/ 1609501 h 2719086"/>
                  <a:gd name="connsiteX295" fmla="*/ 453889 w 1416191"/>
                  <a:gd name="connsiteY295" fmla="*/ 1640657 h 2719086"/>
                  <a:gd name="connsiteX296" fmla="*/ 438311 w 1416191"/>
                  <a:gd name="connsiteY296" fmla="*/ 1157736 h 2719086"/>
                  <a:gd name="connsiteX297" fmla="*/ 363253 w 1416191"/>
                  <a:gd name="connsiteY297" fmla="*/ 1201638 h 2719086"/>
                  <a:gd name="connsiteX298" fmla="*/ 418485 w 1416191"/>
                  <a:gd name="connsiteY298" fmla="*/ 1152071 h 2719086"/>
                  <a:gd name="connsiteX299" fmla="*/ 438311 w 1416191"/>
                  <a:gd name="connsiteY299" fmla="*/ 1157736 h 2719086"/>
                  <a:gd name="connsiteX300" fmla="*/ 347675 w 1416191"/>
                  <a:gd name="connsiteY300" fmla="*/ 1127996 h 2719086"/>
                  <a:gd name="connsiteX301" fmla="*/ 240045 w 1416191"/>
                  <a:gd name="connsiteY301" fmla="*/ 1037360 h 2719086"/>
                  <a:gd name="connsiteX302" fmla="*/ 553023 w 1416191"/>
                  <a:gd name="connsiteY302" fmla="*/ 1024614 h 2719086"/>
                  <a:gd name="connsiteX303" fmla="*/ 418485 w 1416191"/>
                  <a:gd name="connsiteY303" fmla="*/ 1149239 h 2719086"/>
                  <a:gd name="connsiteX304" fmla="*/ 347675 w 1416191"/>
                  <a:gd name="connsiteY304" fmla="*/ 1127996 h 2719086"/>
                  <a:gd name="connsiteX305" fmla="*/ 419901 w 1416191"/>
                  <a:gd name="connsiteY305" fmla="*/ 1149239 h 2719086"/>
                  <a:gd name="connsiteX306" fmla="*/ 555855 w 1416191"/>
                  <a:gd name="connsiteY306" fmla="*/ 1024614 h 2719086"/>
                  <a:gd name="connsiteX307" fmla="*/ 674815 w 1416191"/>
                  <a:gd name="connsiteY307" fmla="*/ 1018949 h 2719086"/>
                  <a:gd name="connsiteX308" fmla="*/ 441144 w 1416191"/>
                  <a:gd name="connsiteY308" fmla="*/ 1154903 h 2719086"/>
                  <a:gd name="connsiteX309" fmla="*/ 419901 w 1416191"/>
                  <a:gd name="connsiteY309" fmla="*/ 1149239 h 2719086"/>
                  <a:gd name="connsiteX310" fmla="*/ 326432 w 1416191"/>
                  <a:gd name="connsiteY310" fmla="*/ 747041 h 2719086"/>
                  <a:gd name="connsiteX311" fmla="*/ 283946 w 1416191"/>
                  <a:gd name="connsiteY311" fmla="*/ 799440 h 2719086"/>
                  <a:gd name="connsiteX312" fmla="*/ 169235 w 1416191"/>
                  <a:gd name="connsiteY312" fmla="*/ 782445 h 2719086"/>
                  <a:gd name="connsiteX313" fmla="*/ 159322 w 1416191"/>
                  <a:gd name="connsiteY313" fmla="*/ 731462 h 2719086"/>
                  <a:gd name="connsiteX314" fmla="*/ 223050 w 1416191"/>
                  <a:gd name="connsiteY314" fmla="*/ 694641 h 2719086"/>
                  <a:gd name="connsiteX315" fmla="*/ 326432 w 1416191"/>
                  <a:gd name="connsiteY315" fmla="*/ 747041 h 2719086"/>
                  <a:gd name="connsiteX316" fmla="*/ 1069933 w 1416191"/>
                  <a:gd name="connsiteY316" fmla="*/ 667734 h 2719086"/>
                  <a:gd name="connsiteX317" fmla="*/ 1079846 w 1416191"/>
                  <a:gd name="connsiteY317" fmla="*/ 632329 h 2719086"/>
                  <a:gd name="connsiteX318" fmla="*/ 1079846 w 1416191"/>
                  <a:gd name="connsiteY318" fmla="*/ 664902 h 2719086"/>
                  <a:gd name="connsiteX319" fmla="*/ 1069933 w 1416191"/>
                  <a:gd name="connsiteY319" fmla="*/ 667734 h 2719086"/>
                  <a:gd name="connsiteX320" fmla="*/ 1135078 w 1416191"/>
                  <a:gd name="connsiteY320" fmla="*/ 809353 h 2719086"/>
                  <a:gd name="connsiteX321" fmla="*/ 1126580 w 1416191"/>
                  <a:gd name="connsiteY321" fmla="*/ 679064 h 2719086"/>
                  <a:gd name="connsiteX322" fmla="*/ 1327679 w 1416191"/>
                  <a:gd name="connsiteY322" fmla="*/ 663486 h 2719086"/>
                  <a:gd name="connsiteX323" fmla="*/ 1239876 w 1416191"/>
                  <a:gd name="connsiteY323" fmla="*/ 790943 h 2719086"/>
                  <a:gd name="connsiteX324" fmla="*/ 1135078 w 1416191"/>
                  <a:gd name="connsiteY324" fmla="*/ 809353 h 2719086"/>
                  <a:gd name="connsiteX325" fmla="*/ 1082679 w 1416191"/>
                  <a:gd name="connsiteY325" fmla="*/ 965134 h 2719086"/>
                  <a:gd name="connsiteX326" fmla="*/ 1082679 w 1416191"/>
                  <a:gd name="connsiteY326" fmla="*/ 680480 h 2719086"/>
                  <a:gd name="connsiteX327" fmla="*/ 1125164 w 1416191"/>
                  <a:gd name="connsiteY327" fmla="*/ 677647 h 2719086"/>
                  <a:gd name="connsiteX328" fmla="*/ 1133661 w 1416191"/>
                  <a:gd name="connsiteY328" fmla="*/ 810769 h 2719086"/>
                  <a:gd name="connsiteX329" fmla="*/ 1133661 w 1416191"/>
                  <a:gd name="connsiteY329" fmla="*/ 810769 h 2719086"/>
                  <a:gd name="connsiteX330" fmla="*/ 1238460 w 1416191"/>
                  <a:gd name="connsiteY330" fmla="*/ 793775 h 2719086"/>
                  <a:gd name="connsiteX331" fmla="*/ 1118083 w 1416191"/>
                  <a:gd name="connsiteY331" fmla="*/ 969383 h 2719086"/>
                  <a:gd name="connsiteX332" fmla="*/ 1082679 w 1416191"/>
                  <a:gd name="connsiteY332" fmla="*/ 965134 h 2719086"/>
                  <a:gd name="connsiteX333" fmla="*/ 1082679 w 1416191"/>
                  <a:gd name="connsiteY333" fmla="*/ 1000539 h 2719086"/>
                  <a:gd name="connsiteX334" fmla="*/ 1082679 w 1416191"/>
                  <a:gd name="connsiteY334" fmla="*/ 967967 h 2719086"/>
                  <a:gd name="connsiteX335" fmla="*/ 1115251 w 1416191"/>
                  <a:gd name="connsiteY335" fmla="*/ 970799 h 2719086"/>
                  <a:gd name="connsiteX336" fmla="*/ 1095424 w 1416191"/>
                  <a:gd name="connsiteY336" fmla="*/ 1000539 h 2719086"/>
                  <a:gd name="connsiteX337" fmla="*/ 1082679 w 1416191"/>
                  <a:gd name="connsiteY337" fmla="*/ 1000539 h 2719086"/>
                  <a:gd name="connsiteX338" fmla="*/ 1094008 w 1416191"/>
                  <a:gd name="connsiteY338" fmla="*/ 1001955 h 2719086"/>
                  <a:gd name="connsiteX339" fmla="*/ 1082679 w 1416191"/>
                  <a:gd name="connsiteY339" fmla="*/ 1018949 h 2719086"/>
                  <a:gd name="connsiteX340" fmla="*/ 1082679 w 1416191"/>
                  <a:gd name="connsiteY340" fmla="*/ 1003371 h 2719086"/>
                  <a:gd name="connsiteX341" fmla="*/ 1094008 w 1416191"/>
                  <a:gd name="connsiteY341" fmla="*/ 1001955 h 2719086"/>
                  <a:gd name="connsiteX342" fmla="*/ 1156320 w 1416191"/>
                  <a:gd name="connsiteY342" fmla="*/ 642243 h 2719086"/>
                  <a:gd name="connsiteX343" fmla="*/ 1125164 w 1416191"/>
                  <a:gd name="connsiteY343" fmla="*/ 652156 h 2719086"/>
                  <a:gd name="connsiteX344" fmla="*/ 1119499 w 1416191"/>
                  <a:gd name="connsiteY344" fmla="*/ 554439 h 2719086"/>
                  <a:gd name="connsiteX345" fmla="*/ 1156320 w 1416191"/>
                  <a:gd name="connsiteY345" fmla="*/ 642243 h 2719086"/>
                  <a:gd name="connsiteX346" fmla="*/ 1081262 w 1416191"/>
                  <a:gd name="connsiteY346" fmla="*/ 666318 h 2719086"/>
                  <a:gd name="connsiteX347" fmla="*/ 1122332 w 1416191"/>
                  <a:gd name="connsiteY347" fmla="*/ 653572 h 2719086"/>
                  <a:gd name="connsiteX348" fmla="*/ 1123748 w 1416191"/>
                  <a:gd name="connsiteY348" fmla="*/ 676231 h 2719086"/>
                  <a:gd name="connsiteX349" fmla="*/ 1081262 w 1416191"/>
                  <a:gd name="connsiteY349" fmla="*/ 679064 h 2719086"/>
                  <a:gd name="connsiteX350" fmla="*/ 1081262 w 1416191"/>
                  <a:gd name="connsiteY350" fmla="*/ 666318 h 2719086"/>
                  <a:gd name="connsiteX351" fmla="*/ 735712 w 1416191"/>
                  <a:gd name="connsiteY351" fmla="*/ 1504703 h 2719086"/>
                  <a:gd name="connsiteX352" fmla="*/ 793775 w 1416191"/>
                  <a:gd name="connsiteY352" fmla="*/ 1545772 h 2719086"/>
                  <a:gd name="connsiteX353" fmla="*/ 793775 w 1416191"/>
                  <a:gd name="connsiteY353" fmla="*/ 1547189 h 2719086"/>
                  <a:gd name="connsiteX354" fmla="*/ 755538 w 1416191"/>
                  <a:gd name="connsiteY354" fmla="*/ 1564183 h 2719086"/>
                  <a:gd name="connsiteX355" fmla="*/ 680480 w 1416191"/>
                  <a:gd name="connsiteY355" fmla="*/ 1531610 h 2719086"/>
                  <a:gd name="connsiteX356" fmla="*/ 735712 w 1416191"/>
                  <a:gd name="connsiteY356" fmla="*/ 1504703 h 2719086"/>
                  <a:gd name="connsiteX357" fmla="*/ 231547 w 1416191"/>
                  <a:gd name="connsiteY357" fmla="*/ 361837 h 2719086"/>
                  <a:gd name="connsiteX358" fmla="*/ 309438 w 1416191"/>
                  <a:gd name="connsiteY358" fmla="*/ 425565 h 2719086"/>
                  <a:gd name="connsiteX359" fmla="*/ 186229 w 1416191"/>
                  <a:gd name="connsiteY359" fmla="*/ 509121 h 2719086"/>
                  <a:gd name="connsiteX360" fmla="*/ 142327 w 1416191"/>
                  <a:gd name="connsiteY360" fmla="*/ 445392 h 2719086"/>
                  <a:gd name="connsiteX361" fmla="*/ 231547 w 1416191"/>
                  <a:gd name="connsiteY361" fmla="*/ 361837 h 2719086"/>
                  <a:gd name="connsiteX362" fmla="*/ 275449 w 1416191"/>
                  <a:gd name="connsiteY362" fmla="*/ 317935 h 2719086"/>
                  <a:gd name="connsiteX363" fmla="*/ 232964 w 1416191"/>
                  <a:gd name="connsiteY363" fmla="*/ 357588 h 2719086"/>
                  <a:gd name="connsiteX364" fmla="*/ 186229 w 1416191"/>
                  <a:gd name="connsiteY364" fmla="*/ 319351 h 2719086"/>
                  <a:gd name="connsiteX365" fmla="*/ 200391 w 1416191"/>
                  <a:gd name="connsiteY365" fmla="*/ 293860 h 2719086"/>
                  <a:gd name="connsiteX366" fmla="*/ 275449 w 1416191"/>
                  <a:gd name="connsiteY366" fmla="*/ 317935 h 2719086"/>
                  <a:gd name="connsiteX367" fmla="*/ 476549 w 1416191"/>
                  <a:gd name="connsiteY367" fmla="*/ 157905 h 2719086"/>
                  <a:gd name="connsiteX368" fmla="*/ 561520 w 1416191"/>
                  <a:gd name="connsiteY368" fmla="*/ 74350 h 2719086"/>
                  <a:gd name="connsiteX369" fmla="*/ 511953 w 1416191"/>
                  <a:gd name="connsiteY369" fmla="*/ 169235 h 2719086"/>
                  <a:gd name="connsiteX370" fmla="*/ 476549 w 1416191"/>
                  <a:gd name="connsiteY370" fmla="*/ 157905 h 2719086"/>
                  <a:gd name="connsiteX371" fmla="*/ 487878 w 1416191"/>
                  <a:gd name="connsiteY371" fmla="*/ 220218 h 2719086"/>
                  <a:gd name="connsiteX372" fmla="*/ 513369 w 1416191"/>
                  <a:gd name="connsiteY372" fmla="*/ 172067 h 2719086"/>
                  <a:gd name="connsiteX373" fmla="*/ 732879 w 1416191"/>
                  <a:gd name="connsiteY373" fmla="*/ 244293 h 2719086"/>
                  <a:gd name="connsiteX374" fmla="*/ 487878 w 1416191"/>
                  <a:gd name="connsiteY374" fmla="*/ 220218 h 2719086"/>
                  <a:gd name="connsiteX375" fmla="*/ 762619 w 1416191"/>
                  <a:gd name="connsiteY375" fmla="*/ 633745 h 2719086"/>
                  <a:gd name="connsiteX376" fmla="*/ 762619 w 1416191"/>
                  <a:gd name="connsiteY376" fmla="*/ 633745 h 2719086"/>
                  <a:gd name="connsiteX377" fmla="*/ 962302 w 1416191"/>
                  <a:gd name="connsiteY377" fmla="*/ 690393 h 2719086"/>
                  <a:gd name="connsiteX378" fmla="*/ 962302 w 1416191"/>
                  <a:gd name="connsiteY378" fmla="*/ 690393 h 2719086"/>
                  <a:gd name="connsiteX379" fmla="*/ 1004788 w 1416191"/>
                  <a:gd name="connsiteY379" fmla="*/ 687560 h 2719086"/>
                  <a:gd name="connsiteX380" fmla="*/ 727214 w 1416191"/>
                  <a:gd name="connsiteY380" fmla="*/ 771116 h 2719086"/>
                  <a:gd name="connsiteX381" fmla="*/ 571433 w 1416191"/>
                  <a:gd name="connsiteY381" fmla="*/ 640826 h 2719086"/>
                  <a:gd name="connsiteX382" fmla="*/ 735712 w 1416191"/>
                  <a:gd name="connsiteY382" fmla="*/ 662069 h 2719086"/>
                  <a:gd name="connsiteX383" fmla="*/ 737128 w 1416191"/>
                  <a:gd name="connsiteY383" fmla="*/ 662069 h 2719086"/>
                  <a:gd name="connsiteX384" fmla="*/ 536029 w 1416191"/>
                  <a:gd name="connsiteY384" fmla="*/ 541693 h 2719086"/>
                  <a:gd name="connsiteX385" fmla="*/ 536029 w 1416191"/>
                  <a:gd name="connsiteY385" fmla="*/ 541693 h 2719086"/>
                  <a:gd name="connsiteX386" fmla="*/ 545942 w 1416191"/>
                  <a:gd name="connsiteY386" fmla="*/ 618167 h 2719086"/>
                  <a:gd name="connsiteX387" fmla="*/ 465219 w 1416191"/>
                  <a:gd name="connsiteY387" fmla="*/ 551607 h 2719086"/>
                  <a:gd name="connsiteX388" fmla="*/ 621000 w 1416191"/>
                  <a:gd name="connsiteY388" fmla="*/ 459554 h 2719086"/>
                  <a:gd name="connsiteX389" fmla="*/ 662069 w 1416191"/>
                  <a:gd name="connsiteY389" fmla="*/ 490710 h 2719086"/>
                  <a:gd name="connsiteX390" fmla="*/ 662069 w 1416191"/>
                  <a:gd name="connsiteY390" fmla="*/ 490710 h 2719086"/>
                  <a:gd name="connsiteX391" fmla="*/ 669150 w 1416191"/>
                  <a:gd name="connsiteY391" fmla="*/ 431230 h 2719086"/>
                  <a:gd name="connsiteX392" fmla="*/ 725798 w 1416191"/>
                  <a:gd name="connsiteY392" fmla="*/ 397241 h 2719086"/>
                  <a:gd name="connsiteX393" fmla="*/ 795192 w 1416191"/>
                  <a:gd name="connsiteY393" fmla="*/ 418484 h 2719086"/>
                  <a:gd name="connsiteX394" fmla="*/ 795192 w 1416191"/>
                  <a:gd name="connsiteY394" fmla="*/ 418484 h 2719086"/>
                  <a:gd name="connsiteX395" fmla="*/ 795192 w 1416191"/>
                  <a:gd name="connsiteY395" fmla="*/ 407155 h 2719086"/>
                  <a:gd name="connsiteX396" fmla="*/ 887244 w 1416191"/>
                  <a:gd name="connsiteY396" fmla="*/ 452473 h 2719086"/>
                  <a:gd name="connsiteX397" fmla="*/ 762619 w 1416191"/>
                  <a:gd name="connsiteY397" fmla="*/ 633745 h 2719086"/>
                  <a:gd name="connsiteX398" fmla="*/ 987794 w 1416191"/>
                  <a:gd name="connsiteY398" fmla="*/ 956637 h 2719086"/>
                  <a:gd name="connsiteX399" fmla="*/ 1064268 w 1416191"/>
                  <a:gd name="connsiteY399" fmla="*/ 683312 h 2719086"/>
                  <a:gd name="connsiteX400" fmla="*/ 1078430 w 1416191"/>
                  <a:gd name="connsiteY400" fmla="*/ 681896 h 2719086"/>
                  <a:gd name="connsiteX401" fmla="*/ 1078430 w 1416191"/>
                  <a:gd name="connsiteY401" fmla="*/ 965134 h 2719086"/>
                  <a:gd name="connsiteX402" fmla="*/ 987794 w 1416191"/>
                  <a:gd name="connsiteY402" fmla="*/ 956637 h 2719086"/>
                  <a:gd name="connsiteX403" fmla="*/ 738544 w 1416191"/>
                  <a:gd name="connsiteY403" fmla="*/ 1503287 h 2719086"/>
                  <a:gd name="connsiteX404" fmla="*/ 772532 w 1416191"/>
                  <a:gd name="connsiteY404" fmla="*/ 1486292 h 2719086"/>
                  <a:gd name="connsiteX405" fmla="*/ 793775 w 1416191"/>
                  <a:gd name="connsiteY405" fmla="*/ 1541524 h 2719086"/>
                  <a:gd name="connsiteX406" fmla="*/ 738544 w 1416191"/>
                  <a:gd name="connsiteY406" fmla="*/ 1503287 h 2719086"/>
                  <a:gd name="connsiteX407" fmla="*/ 754122 w 1416191"/>
                  <a:gd name="connsiteY407" fmla="*/ 1564183 h 2719086"/>
                  <a:gd name="connsiteX408" fmla="*/ 703139 w 1416191"/>
                  <a:gd name="connsiteY408" fmla="*/ 1586842 h 2719086"/>
                  <a:gd name="connsiteX409" fmla="*/ 649324 w 1416191"/>
                  <a:gd name="connsiteY409" fmla="*/ 1547189 h 2719086"/>
                  <a:gd name="connsiteX410" fmla="*/ 679064 w 1416191"/>
                  <a:gd name="connsiteY410" fmla="*/ 1533027 h 2719086"/>
                  <a:gd name="connsiteX411" fmla="*/ 754122 w 1416191"/>
                  <a:gd name="connsiteY411" fmla="*/ 1564183 h 2719086"/>
                  <a:gd name="connsiteX412" fmla="*/ 558688 w 1416191"/>
                  <a:gd name="connsiteY412" fmla="*/ 1544356 h 2719086"/>
                  <a:gd name="connsiteX413" fmla="*/ 550190 w 1416191"/>
                  <a:gd name="connsiteY413" fmla="*/ 1593923 h 2719086"/>
                  <a:gd name="connsiteX414" fmla="*/ 458138 w 1416191"/>
                  <a:gd name="connsiteY414" fmla="*/ 1639241 h 2719086"/>
                  <a:gd name="connsiteX415" fmla="*/ 380247 w 1416191"/>
                  <a:gd name="connsiteY415" fmla="*/ 1608085 h 2719086"/>
                  <a:gd name="connsiteX416" fmla="*/ 429814 w 1416191"/>
                  <a:gd name="connsiteY416" fmla="*/ 1500454 h 2719086"/>
                  <a:gd name="connsiteX417" fmla="*/ 558688 w 1416191"/>
                  <a:gd name="connsiteY417" fmla="*/ 1544356 h 2719086"/>
                  <a:gd name="connsiteX418" fmla="*/ 299525 w 1416191"/>
                  <a:gd name="connsiteY418" fmla="*/ 101258 h 2719086"/>
                  <a:gd name="connsiteX419" fmla="*/ 265536 w 1416191"/>
                  <a:gd name="connsiteY419" fmla="*/ 164986 h 2719086"/>
                  <a:gd name="connsiteX420" fmla="*/ 264120 w 1416191"/>
                  <a:gd name="connsiteY420" fmla="*/ 89928 h 2719086"/>
                  <a:gd name="connsiteX421" fmla="*/ 299525 w 1416191"/>
                  <a:gd name="connsiteY421" fmla="*/ 101258 h 2719086"/>
                  <a:gd name="connsiteX422" fmla="*/ 346259 w 1416191"/>
                  <a:gd name="connsiteY422" fmla="*/ 724382 h 2719086"/>
                  <a:gd name="connsiteX423" fmla="*/ 346259 w 1416191"/>
                  <a:gd name="connsiteY423" fmla="*/ 738543 h 2719086"/>
                  <a:gd name="connsiteX424" fmla="*/ 340594 w 1416191"/>
                  <a:gd name="connsiteY424" fmla="*/ 731462 h 2719086"/>
                  <a:gd name="connsiteX425" fmla="*/ 346259 w 1416191"/>
                  <a:gd name="connsiteY425" fmla="*/ 724382 h 2719086"/>
                  <a:gd name="connsiteX426" fmla="*/ 329265 w 1416191"/>
                  <a:gd name="connsiteY426" fmla="*/ 745624 h 2719086"/>
                  <a:gd name="connsiteX427" fmla="*/ 339178 w 1416191"/>
                  <a:gd name="connsiteY427" fmla="*/ 732879 h 2719086"/>
                  <a:gd name="connsiteX428" fmla="*/ 346259 w 1416191"/>
                  <a:gd name="connsiteY428" fmla="*/ 742792 h 2719086"/>
                  <a:gd name="connsiteX429" fmla="*/ 346259 w 1416191"/>
                  <a:gd name="connsiteY429" fmla="*/ 754122 h 2719086"/>
                  <a:gd name="connsiteX430" fmla="*/ 329265 w 1416191"/>
                  <a:gd name="connsiteY430" fmla="*/ 745624 h 2719086"/>
                  <a:gd name="connsiteX431" fmla="*/ 568601 w 1416191"/>
                  <a:gd name="connsiteY431" fmla="*/ 640826 h 2719086"/>
                  <a:gd name="connsiteX432" fmla="*/ 725798 w 1416191"/>
                  <a:gd name="connsiteY432" fmla="*/ 772532 h 2719086"/>
                  <a:gd name="connsiteX433" fmla="*/ 571433 w 1416191"/>
                  <a:gd name="connsiteY433" fmla="*/ 819266 h 2719086"/>
                  <a:gd name="connsiteX434" fmla="*/ 548774 w 1416191"/>
                  <a:gd name="connsiteY434" fmla="*/ 639410 h 2719086"/>
                  <a:gd name="connsiteX435" fmla="*/ 568601 w 1416191"/>
                  <a:gd name="connsiteY435" fmla="*/ 640826 h 2719086"/>
                  <a:gd name="connsiteX436" fmla="*/ 528948 w 1416191"/>
                  <a:gd name="connsiteY436" fmla="*/ 833428 h 2719086"/>
                  <a:gd name="connsiteX437" fmla="*/ 570017 w 1416191"/>
                  <a:gd name="connsiteY437" fmla="*/ 820683 h 2719086"/>
                  <a:gd name="connsiteX438" fmla="*/ 572850 w 1416191"/>
                  <a:gd name="connsiteY438" fmla="*/ 839093 h 2719086"/>
                  <a:gd name="connsiteX439" fmla="*/ 528948 w 1416191"/>
                  <a:gd name="connsiteY439" fmla="*/ 833428 h 2719086"/>
                  <a:gd name="connsiteX440" fmla="*/ 360421 w 1416191"/>
                  <a:gd name="connsiteY440" fmla="*/ 764035 h 2719086"/>
                  <a:gd name="connsiteX441" fmla="*/ 394409 w 1416191"/>
                  <a:gd name="connsiteY441" fmla="*/ 813602 h 2719086"/>
                  <a:gd name="connsiteX442" fmla="*/ 344843 w 1416191"/>
                  <a:gd name="connsiteY442" fmla="*/ 806521 h 2719086"/>
                  <a:gd name="connsiteX443" fmla="*/ 346259 w 1416191"/>
                  <a:gd name="connsiteY443" fmla="*/ 756954 h 2719086"/>
                  <a:gd name="connsiteX444" fmla="*/ 360421 w 1416191"/>
                  <a:gd name="connsiteY444" fmla="*/ 764035 h 2719086"/>
                  <a:gd name="connsiteX445" fmla="*/ 357588 w 1416191"/>
                  <a:gd name="connsiteY445" fmla="*/ 761203 h 2719086"/>
                  <a:gd name="connsiteX446" fmla="*/ 346259 w 1416191"/>
                  <a:gd name="connsiteY446" fmla="*/ 755538 h 2719086"/>
                  <a:gd name="connsiteX447" fmla="*/ 346259 w 1416191"/>
                  <a:gd name="connsiteY447" fmla="*/ 745624 h 2719086"/>
                  <a:gd name="connsiteX448" fmla="*/ 357588 w 1416191"/>
                  <a:gd name="connsiteY448" fmla="*/ 761203 h 2719086"/>
                  <a:gd name="connsiteX449" fmla="*/ 356172 w 1416191"/>
                  <a:gd name="connsiteY449" fmla="*/ 462386 h 2719086"/>
                  <a:gd name="connsiteX450" fmla="*/ 500624 w 1416191"/>
                  <a:gd name="connsiteY450" fmla="*/ 370334 h 2719086"/>
                  <a:gd name="connsiteX451" fmla="*/ 540277 w 1416191"/>
                  <a:gd name="connsiteY451" fmla="*/ 400074 h 2719086"/>
                  <a:gd name="connsiteX452" fmla="*/ 421317 w 1416191"/>
                  <a:gd name="connsiteY452" fmla="*/ 516202 h 2719086"/>
                  <a:gd name="connsiteX453" fmla="*/ 356172 w 1416191"/>
                  <a:gd name="connsiteY453" fmla="*/ 462386 h 2719086"/>
                  <a:gd name="connsiteX454" fmla="*/ 623832 w 1416191"/>
                  <a:gd name="connsiteY454" fmla="*/ 320767 h 2719086"/>
                  <a:gd name="connsiteX455" fmla="*/ 684729 w 1416191"/>
                  <a:gd name="connsiteY455" fmla="*/ 261287 h 2719086"/>
                  <a:gd name="connsiteX456" fmla="*/ 676231 w 1416191"/>
                  <a:gd name="connsiteY456" fmla="*/ 346259 h 2719086"/>
                  <a:gd name="connsiteX457" fmla="*/ 623832 w 1416191"/>
                  <a:gd name="connsiteY457" fmla="*/ 320767 h 2719086"/>
                  <a:gd name="connsiteX458" fmla="*/ 666318 w 1416191"/>
                  <a:gd name="connsiteY458" fmla="*/ 432646 h 2719086"/>
                  <a:gd name="connsiteX459" fmla="*/ 660653 w 1416191"/>
                  <a:gd name="connsiteY459" fmla="*/ 487878 h 2719086"/>
                  <a:gd name="connsiteX460" fmla="*/ 622416 w 1416191"/>
                  <a:gd name="connsiteY460" fmla="*/ 458138 h 2719086"/>
                  <a:gd name="connsiteX461" fmla="*/ 666318 w 1416191"/>
                  <a:gd name="connsiteY461" fmla="*/ 432646 h 2719086"/>
                  <a:gd name="connsiteX462" fmla="*/ 727214 w 1416191"/>
                  <a:gd name="connsiteY462" fmla="*/ 659237 h 2719086"/>
                  <a:gd name="connsiteX463" fmla="*/ 568601 w 1416191"/>
                  <a:gd name="connsiteY463" fmla="*/ 637994 h 2719086"/>
                  <a:gd name="connsiteX464" fmla="*/ 545942 w 1416191"/>
                  <a:gd name="connsiteY464" fmla="*/ 619584 h 2719086"/>
                  <a:gd name="connsiteX465" fmla="*/ 536029 w 1416191"/>
                  <a:gd name="connsiteY465" fmla="*/ 544526 h 2719086"/>
                  <a:gd name="connsiteX466" fmla="*/ 727214 w 1416191"/>
                  <a:gd name="connsiteY466" fmla="*/ 659237 h 2719086"/>
                  <a:gd name="connsiteX467" fmla="*/ 353340 w 1416191"/>
                  <a:gd name="connsiteY467" fmla="*/ 538860 h 2719086"/>
                  <a:gd name="connsiteX468" fmla="*/ 354756 w 1416191"/>
                  <a:gd name="connsiteY468" fmla="*/ 463803 h 2719086"/>
                  <a:gd name="connsiteX469" fmla="*/ 421317 w 1416191"/>
                  <a:gd name="connsiteY469" fmla="*/ 519034 h 2719086"/>
                  <a:gd name="connsiteX470" fmla="*/ 388745 w 1416191"/>
                  <a:gd name="connsiteY470" fmla="*/ 551607 h 2719086"/>
                  <a:gd name="connsiteX471" fmla="*/ 353340 w 1416191"/>
                  <a:gd name="connsiteY471" fmla="*/ 538860 h 2719086"/>
                  <a:gd name="connsiteX472" fmla="*/ 548774 w 1416191"/>
                  <a:gd name="connsiteY472" fmla="*/ 340594 h 2719086"/>
                  <a:gd name="connsiteX473" fmla="*/ 596925 w 1416191"/>
                  <a:gd name="connsiteY473" fmla="*/ 309438 h 2719086"/>
                  <a:gd name="connsiteX474" fmla="*/ 621000 w 1416191"/>
                  <a:gd name="connsiteY474" fmla="*/ 322183 h 2719086"/>
                  <a:gd name="connsiteX475" fmla="*/ 589844 w 1416191"/>
                  <a:gd name="connsiteY475" fmla="*/ 353340 h 2719086"/>
                  <a:gd name="connsiteX476" fmla="*/ 548774 w 1416191"/>
                  <a:gd name="connsiteY476" fmla="*/ 340594 h 2719086"/>
                  <a:gd name="connsiteX477" fmla="*/ 618168 w 1416191"/>
                  <a:gd name="connsiteY477" fmla="*/ 458138 h 2719086"/>
                  <a:gd name="connsiteX478" fmla="*/ 462387 w 1416191"/>
                  <a:gd name="connsiteY478" fmla="*/ 550190 h 2719086"/>
                  <a:gd name="connsiteX479" fmla="*/ 424150 w 1416191"/>
                  <a:gd name="connsiteY479" fmla="*/ 517618 h 2719086"/>
                  <a:gd name="connsiteX480" fmla="*/ 543110 w 1416191"/>
                  <a:gd name="connsiteY480" fmla="*/ 401490 h 2719086"/>
                  <a:gd name="connsiteX481" fmla="*/ 618168 w 1416191"/>
                  <a:gd name="connsiteY481" fmla="*/ 458138 h 2719086"/>
                  <a:gd name="connsiteX482" fmla="*/ 462387 w 1416191"/>
                  <a:gd name="connsiteY482" fmla="*/ 553022 h 2719086"/>
                  <a:gd name="connsiteX483" fmla="*/ 544526 w 1416191"/>
                  <a:gd name="connsiteY483" fmla="*/ 622416 h 2719086"/>
                  <a:gd name="connsiteX484" fmla="*/ 545942 w 1416191"/>
                  <a:gd name="connsiteY484" fmla="*/ 636578 h 2719086"/>
                  <a:gd name="connsiteX485" fmla="*/ 428398 w 1416191"/>
                  <a:gd name="connsiteY485" fmla="*/ 621000 h 2719086"/>
                  <a:gd name="connsiteX486" fmla="*/ 428398 w 1416191"/>
                  <a:gd name="connsiteY486" fmla="*/ 621000 h 2719086"/>
                  <a:gd name="connsiteX487" fmla="*/ 347675 w 1416191"/>
                  <a:gd name="connsiteY487" fmla="*/ 720133 h 2719086"/>
                  <a:gd name="connsiteX488" fmla="*/ 350507 w 1416191"/>
                  <a:gd name="connsiteY488" fmla="*/ 619584 h 2719086"/>
                  <a:gd name="connsiteX489" fmla="*/ 462387 w 1416191"/>
                  <a:gd name="connsiteY489" fmla="*/ 553022 h 2719086"/>
                  <a:gd name="connsiteX490" fmla="*/ 460970 w 1416191"/>
                  <a:gd name="connsiteY490" fmla="*/ 551607 h 2719086"/>
                  <a:gd name="connsiteX491" fmla="*/ 351924 w 1416191"/>
                  <a:gd name="connsiteY491" fmla="*/ 615335 h 2719086"/>
                  <a:gd name="connsiteX492" fmla="*/ 353340 w 1416191"/>
                  <a:gd name="connsiteY492" fmla="*/ 540277 h 2719086"/>
                  <a:gd name="connsiteX493" fmla="*/ 388745 w 1416191"/>
                  <a:gd name="connsiteY493" fmla="*/ 553022 h 2719086"/>
                  <a:gd name="connsiteX494" fmla="*/ 388745 w 1416191"/>
                  <a:gd name="connsiteY494" fmla="*/ 553022 h 2719086"/>
                  <a:gd name="connsiteX495" fmla="*/ 422733 w 1416191"/>
                  <a:gd name="connsiteY495" fmla="*/ 519034 h 2719086"/>
                  <a:gd name="connsiteX496" fmla="*/ 460970 w 1416191"/>
                  <a:gd name="connsiteY496" fmla="*/ 551607 h 2719086"/>
                  <a:gd name="connsiteX497" fmla="*/ 278282 w 1416191"/>
                  <a:gd name="connsiteY497" fmla="*/ 511953 h 2719086"/>
                  <a:gd name="connsiteX498" fmla="*/ 351924 w 1416191"/>
                  <a:gd name="connsiteY498" fmla="*/ 465219 h 2719086"/>
                  <a:gd name="connsiteX499" fmla="*/ 350507 w 1416191"/>
                  <a:gd name="connsiteY499" fmla="*/ 538860 h 2719086"/>
                  <a:gd name="connsiteX500" fmla="*/ 278282 w 1416191"/>
                  <a:gd name="connsiteY500" fmla="*/ 511953 h 2719086"/>
                  <a:gd name="connsiteX501" fmla="*/ 565769 w 1416191"/>
                  <a:gd name="connsiteY501" fmla="*/ 637994 h 2719086"/>
                  <a:gd name="connsiteX502" fmla="*/ 550190 w 1416191"/>
                  <a:gd name="connsiteY502" fmla="*/ 635162 h 2719086"/>
                  <a:gd name="connsiteX503" fmla="*/ 548774 w 1416191"/>
                  <a:gd name="connsiteY503" fmla="*/ 622416 h 2719086"/>
                  <a:gd name="connsiteX504" fmla="*/ 565769 w 1416191"/>
                  <a:gd name="connsiteY504" fmla="*/ 637994 h 2719086"/>
                  <a:gd name="connsiteX505" fmla="*/ 621000 w 1416191"/>
                  <a:gd name="connsiteY505" fmla="*/ 458138 h 2719086"/>
                  <a:gd name="connsiteX506" fmla="*/ 544526 w 1416191"/>
                  <a:gd name="connsiteY506" fmla="*/ 400074 h 2719086"/>
                  <a:gd name="connsiteX507" fmla="*/ 589844 w 1416191"/>
                  <a:gd name="connsiteY507" fmla="*/ 356172 h 2719086"/>
                  <a:gd name="connsiteX508" fmla="*/ 671983 w 1416191"/>
                  <a:gd name="connsiteY508" fmla="*/ 381664 h 2719086"/>
                  <a:gd name="connsiteX509" fmla="*/ 666318 w 1416191"/>
                  <a:gd name="connsiteY509" fmla="*/ 431230 h 2719086"/>
                  <a:gd name="connsiteX510" fmla="*/ 621000 w 1416191"/>
                  <a:gd name="connsiteY510" fmla="*/ 458138 h 2719086"/>
                  <a:gd name="connsiteX511" fmla="*/ 591260 w 1416191"/>
                  <a:gd name="connsiteY511" fmla="*/ 353340 h 2719086"/>
                  <a:gd name="connsiteX512" fmla="*/ 622416 w 1416191"/>
                  <a:gd name="connsiteY512" fmla="*/ 322183 h 2719086"/>
                  <a:gd name="connsiteX513" fmla="*/ 674815 w 1416191"/>
                  <a:gd name="connsiteY513" fmla="*/ 347675 h 2719086"/>
                  <a:gd name="connsiteX514" fmla="*/ 671983 w 1416191"/>
                  <a:gd name="connsiteY514" fmla="*/ 377415 h 2719086"/>
                  <a:gd name="connsiteX515" fmla="*/ 591260 w 1416191"/>
                  <a:gd name="connsiteY515" fmla="*/ 353340 h 2719086"/>
                  <a:gd name="connsiteX516" fmla="*/ 587012 w 1416191"/>
                  <a:gd name="connsiteY516" fmla="*/ 354756 h 2719086"/>
                  <a:gd name="connsiteX517" fmla="*/ 541693 w 1416191"/>
                  <a:gd name="connsiteY517" fmla="*/ 398658 h 2719086"/>
                  <a:gd name="connsiteX518" fmla="*/ 502040 w 1416191"/>
                  <a:gd name="connsiteY518" fmla="*/ 368918 h 2719086"/>
                  <a:gd name="connsiteX519" fmla="*/ 544526 w 1416191"/>
                  <a:gd name="connsiteY519" fmla="*/ 342010 h 2719086"/>
                  <a:gd name="connsiteX520" fmla="*/ 587012 w 1416191"/>
                  <a:gd name="connsiteY520" fmla="*/ 354756 h 2719086"/>
                  <a:gd name="connsiteX521" fmla="*/ 349091 w 1416191"/>
                  <a:gd name="connsiteY521" fmla="*/ 722965 h 2719086"/>
                  <a:gd name="connsiteX522" fmla="*/ 429814 w 1416191"/>
                  <a:gd name="connsiteY522" fmla="*/ 622416 h 2719086"/>
                  <a:gd name="connsiteX523" fmla="*/ 547358 w 1416191"/>
                  <a:gd name="connsiteY523" fmla="*/ 637994 h 2719086"/>
                  <a:gd name="connsiteX524" fmla="*/ 570017 w 1416191"/>
                  <a:gd name="connsiteY524" fmla="*/ 819266 h 2719086"/>
                  <a:gd name="connsiteX525" fmla="*/ 524699 w 1416191"/>
                  <a:gd name="connsiteY525" fmla="*/ 833428 h 2719086"/>
                  <a:gd name="connsiteX526" fmla="*/ 489294 w 1416191"/>
                  <a:gd name="connsiteY526" fmla="*/ 827764 h 2719086"/>
                  <a:gd name="connsiteX527" fmla="*/ 361837 w 1416191"/>
                  <a:gd name="connsiteY527" fmla="*/ 762619 h 2719086"/>
                  <a:gd name="connsiteX528" fmla="*/ 347675 w 1416191"/>
                  <a:gd name="connsiteY528" fmla="*/ 742792 h 2719086"/>
                  <a:gd name="connsiteX529" fmla="*/ 349091 w 1416191"/>
                  <a:gd name="connsiteY529" fmla="*/ 722965 h 2719086"/>
                  <a:gd name="connsiteX530" fmla="*/ 722966 w 1416191"/>
                  <a:gd name="connsiteY530" fmla="*/ 397241 h 2719086"/>
                  <a:gd name="connsiteX531" fmla="*/ 669150 w 1416191"/>
                  <a:gd name="connsiteY531" fmla="*/ 429814 h 2719086"/>
                  <a:gd name="connsiteX532" fmla="*/ 674815 w 1416191"/>
                  <a:gd name="connsiteY532" fmla="*/ 383079 h 2719086"/>
                  <a:gd name="connsiteX533" fmla="*/ 722966 w 1416191"/>
                  <a:gd name="connsiteY533" fmla="*/ 397241 h 2719086"/>
                  <a:gd name="connsiteX534" fmla="*/ 543110 w 1416191"/>
                  <a:gd name="connsiteY534" fmla="*/ 340594 h 2719086"/>
                  <a:gd name="connsiteX535" fmla="*/ 500624 w 1416191"/>
                  <a:gd name="connsiteY535" fmla="*/ 367502 h 2719086"/>
                  <a:gd name="connsiteX536" fmla="*/ 411404 w 1416191"/>
                  <a:gd name="connsiteY536" fmla="*/ 299524 h 2719086"/>
                  <a:gd name="connsiteX537" fmla="*/ 543110 w 1416191"/>
                  <a:gd name="connsiteY537" fmla="*/ 340594 h 2719086"/>
                  <a:gd name="connsiteX538" fmla="*/ 327848 w 1416191"/>
                  <a:gd name="connsiteY538" fmla="*/ 271200 h 2719086"/>
                  <a:gd name="connsiteX539" fmla="*/ 357588 w 1416191"/>
                  <a:gd name="connsiteY539" fmla="*/ 242877 h 2719086"/>
                  <a:gd name="connsiteX540" fmla="*/ 356172 w 1416191"/>
                  <a:gd name="connsiteY540" fmla="*/ 279698 h 2719086"/>
                  <a:gd name="connsiteX541" fmla="*/ 327848 w 1416191"/>
                  <a:gd name="connsiteY541" fmla="*/ 271200 h 2719086"/>
                  <a:gd name="connsiteX542" fmla="*/ 407155 w 1416191"/>
                  <a:gd name="connsiteY542" fmla="*/ 360421 h 2719086"/>
                  <a:gd name="connsiteX543" fmla="*/ 356172 w 1416191"/>
                  <a:gd name="connsiteY543" fmla="*/ 394409 h 2719086"/>
                  <a:gd name="connsiteX544" fmla="*/ 357588 w 1416191"/>
                  <a:gd name="connsiteY544" fmla="*/ 344843 h 2719086"/>
                  <a:gd name="connsiteX545" fmla="*/ 407155 w 1416191"/>
                  <a:gd name="connsiteY545" fmla="*/ 360421 h 2719086"/>
                  <a:gd name="connsiteX546" fmla="*/ 357588 w 1416191"/>
                  <a:gd name="connsiteY546" fmla="*/ 282530 h 2719086"/>
                  <a:gd name="connsiteX547" fmla="*/ 356172 w 1416191"/>
                  <a:gd name="connsiteY547" fmla="*/ 342010 h 2719086"/>
                  <a:gd name="connsiteX548" fmla="*/ 279698 w 1416191"/>
                  <a:gd name="connsiteY548" fmla="*/ 317935 h 2719086"/>
                  <a:gd name="connsiteX549" fmla="*/ 326432 w 1416191"/>
                  <a:gd name="connsiteY549" fmla="*/ 274033 h 2719086"/>
                  <a:gd name="connsiteX550" fmla="*/ 357588 w 1416191"/>
                  <a:gd name="connsiteY550" fmla="*/ 282530 h 2719086"/>
                  <a:gd name="connsiteX551" fmla="*/ 354756 w 1416191"/>
                  <a:gd name="connsiteY551" fmla="*/ 397241 h 2719086"/>
                  <a:gd name="connsiteX552" fmla="*/ 353340 w 1416191"/>
                  <a:gd name="connsiteY552" fmla="*/ 458138 h 2719086"/>
                  <a:gd name="connsiteX553" fmla="*/ 313687 w 1416191"/>
                  <a:gd name="connsiteY553" fmla="*/ 425565 h 2719086"/>
                  <a:gd name="connsiteX554" fmla="*/ 354756 w 1416191"/>
                  <a:gd name="connsiteY554" fmla="*/ 397241 h 2719086"/>
                  <a:gd name="connsiteX555" fmla="*/ 354756 w 1416191"/>
                  <a:gd name="connsiteY555" fmla="*/ 460970 h 2719086"/>
                  <a:gd name="connsiteX556" fmla="*/ 356172 w 1416191"/>
                  <a:gd name="connsiteY556" fmla="*/ 397241 h 2719086"/>
                  <a:gd name="connsiteX557" fmla="*/ 411404 w 1416191"/>
                  <a:gd name="connsiteY557" fmla="*/ 360421 h 2719086"/>
                  <a:gd name="connsiteX558" fmla="*/ 411404 w 1416191"/>
                  <a:gd name="connsiteY558" fmla="*/ 360421 h 2719086"/>
                  <a:gd name="connsiteX559" fmla="*/ 357588 w 1416191"/>
                  <a:gd name="connsiteY559" fmla="*/ 343426 h 2719086"/>
                  <a:gd name="connsiteX560" fmla="*/ 359005 w 1416191"/>
                  <a:gd name="connsiteY560" fmla="*/ 283946 h 2719086"/>
                  <a:gd name="connsiteX561" fmla="*/ 405739 w 1416191"/>
                  <a:gd name="connsiteY561" fmla="*/ 298108 h 2719086"/>
                  <a:gd name="connsiteX562" fmla="*/ 499207 w 1416191"/>
                  <a:gd name="connsiteY562" fmla="*/ 368918 h 2719086"/>
                  <a:gd name="connsiteX563" fmla="*/ 354756 w 1416191"/>
                  <a:gd name="connsiteY563" fmla="*/ 460970 h 2719086"/>
                  <a:gd name="connsiteX564" fmla="*/ 356172 w 1416191"/>
                  <a:gd name="connsiteY564" fmla="*/ 343426 h 2719086"/>
                  <a:gd name="connsiteX565" fmla="*/ 354756 w 1416191"/>
                  <a:gd name="connsiteY565" fmla="*/ 394409 h 2719086"/>
                  <a:gd name="connsiteX566" fmla="*/ 310854 w 1416191"/>
                  <a:gd name="connsiteY566" fmla="*/ 424149 h 2719086"/>
                  <a:gd name="connsiteX567" fmla="*/ 232964 w 1416191"/>
                  <a:gd name="connsiteY567" fmla="*/ 359004 h 2719086"/>
                  <a:gd name="connsiteX568" fmla="*/ 276865 w 1416191"/>
                  <a:gd name="connsiteY568" fmla="*/ 317935 h 2719086"/>
                  <a:gd name="connsiteX569" fmla="*/ 356172 w 1416191"/>
                  <a:gd name="connsiteY569" fmla="*/ 343426 h 2719086"/>
                  <a:gd name="connsiteX570" fmla="*/ 349091 w 1416191"/>
                  <a:gd name="connsiteY570" fmla="*/ 619584 h 2719086"/>
                  <a:gd name="connsiteX571" fmla="*/ 346259 w 1416191"/>
                  <a:gd name="connsiteY571" fmla="*/ 721549 h 2719086"/>
                  <a:gd name="connsiteX572" fmla="*/ 339178 w 1416191"/>
                  <a:gd name="connsiteY572" fmla="*/ 730046 h 2719086"/>
                  <a:gd name="connsiteX573" fmla="*/ 286779 w 1416191"/>
                  <a:gd name="connsiteY573" fmla="*/ 654988 h 2719086"/>
                  <a:gd name="connsiteX574" fmla="*/ 349091 w 1416191"/>
                  <a:gd name="connsiteY574" fmla="*/ 619584 h 2719086"/>
                  <a:gd name="connsiteX575" fmla="*/ 398658 w 1416191"/>
                  <a:gd name="connsiteY575" fmla="*/ 815018 h 2719086"/>
                  <a:gd name="connsiteX576" fmla="*/ 364669 w 1416191"/>
                  <a:gd name="connsiteY576" fmla="*/ 766867 h 2719086"/>
                  <a:gd name="connsiteX577" fmla="*/ 482213 w 1416191"/>
                  <a:gd name="connsiteY577" fmla="*/ 827764 h 2719086"/>
                  <a:gd name="connsiteX578" fmla="*/ 398658 w 1416191"/>
                  <a:gd name="connsiteY578" fmla="*/ 815018 h 2719086"/>
                  <a:gd name="connsiteX579" fmla="*/ 426982 w 1416191"/>
                  <a:gd name="connsiteY579" fmla="*/ 856088 h 2719086"/>
                  <a:gd name="connsiteX580" fmla="*/ 400074 w 1416191"/>
                  <a:gd name="connsiteY580" fmla="*/ 817850 h 2719086"/>
                  <a:gd name="connsiteX581" fmla="*/ 489294 w 1416191"/>
                  <a:gd name="connsiteY581" fmla="*/ 830596 h 2719086"/>
                  <a:gd name="connsiteX582" fmla="*/ 506288 w 1416191"/>
                  <a:gd name="connsiteY582" fmla="*/ 839093 h 2719086"/>
                  <a:gd name="connsiteX583" fmla="*/ 465219 w 1416191"/>
                  <a:gd name="connsiteY583" fmla="*/ 851839 h 2719086"/>
                  <a:gd name="connsiteX584" fmla="*/ 426982 w 1416191"/>
                  <a:gd name="connsiteY584" fmla="*/ 856088 h 2719086"/>
                  <a:gd name="connsiteX585" fmla="*/ 674815 w 1416191"/>
                  <a:gd name="connsiteY585" fmla="*/ 380247 h 2719086"/>
                  <a:gd name="connsiteX586" fmla="*/ 677648 w 1416191"/>
                  <a:gd name="connsiteY586" fmla="*/ 350507 h 2719086"/>
                  <a:gd name="connsiteX587" fmla="*/ 745625 w 1416191"/>
                  <a:gd name="connsiteY587" fmla="*/ 384496 h 2719086"/>
                  <a:gd name="connsiteX588" fmla="*/ 725798 w 1416191"/>
                  <a:gd name="connsiteY588" fmla="*/ 395826 h 2719086"/>
                  <a:gd name="connsiteX589" fmla="*/ 674815 w 1416191"/>
                  <a:gd name="connsiteY589" fmla="*/ 380247 h 2719086"/>
                  <a:gd name="connsiteX590" fmla="*/ 200391 w 1416191"/>
                  <a:gd name="connsiteY590" fmla="*/ 292443 h 2719086"/>
                  <a:gd name="connsiteX591" fmla="*/ 264120 w 1416191"/>
                  <a:gd name="connsiteY591" fmla="*/ 172067 h 2719086"/>
                  <a:gd name="connsiteX592" fmla="*/ 266952 w 1416191"/>
                  <a:gd name="connsiteY592" fmla="*/ 254206 h 2719086"/>
                  <a:gd name="connsiteX593" fmla="*/ 266952 w 1416191"/>
                  <a:gd name="connsiteY593" fmla="*/ 254206 h 2719086"/>
                  <a:gd name="connsiteX594" fmla="*/ 325016 w 1416191"/>
                  <a:gd name="connsiteY594" fmla="*/ 272617 h 2719086"/>
                  <a:gd name="connsiteX595" fmla="*/ 278282 w 1416191"/>
                  <a:gd name="connsiteY595" fmla="*/ 316519 h 2719086"/>
                  <a:gd name="connsiteX596" fmla="*/ 200391 w 1416191"/>
                  <a:gd name="connsiteY596" fmla="*/ 292443 h 2719086"/>
                  <a:gd name="connsiteX597" fmla="*/ 310854 w 1416191"/>
                  <a:gd name="connsiteY597" fmla="*/ 426981 h 2719086"/>
                  <a:gd name="connsiteX598" fmla="*/ 353340 w 1416191"/>
                  <a:gd name="connsiteY598" fmla="*/ 462386 h 2719086"/>
                  <a:gd name="connsiteX599" fmla="*/ 275449 w 1416191"/>
                  <a:gd name="connsiteY599" fmla="*/ 511953 h 2719086"/>
                  <a:gd name="connsiteX600" fmla="*/ 275449 w 1416191"/>
                  <a:gd name="connsiteY600" fmla="*/ 511953 h 2719086"/>
                  <a:gd name="connsiteX601" fmla="*/ 351924 w 1416191"/>
                  <a:gd name="connsiteY601" fmla="*/ 540277 h 2719086"/>
                  <a:gd name="connsiteX602" fmla="*/ 350507 w 1416191"/>
                  <a:gd name="connsiteY602" fmla="*/ 618167 h 2719086"/>
                  <a:gd name="connsiteX603" fmla="*/ 288195 w 1416191"/>
                  <a:gd name="connsiteY603" fmla="*/ 654988 h 2719086"/>
                  <a:gd name="connsiteX604" fmla="*/ 189062 w 1416191"/>
                  <a:gd name="connsiteY604" fmla="*/ 511953 h 2719086"/>
                  <a:gd name="connsiteX605" fmla="*/ 310854 w 1416191"/>
                  <a:gd name="connsiteY605" fmla="*/ 426981 h 2719086"/>
                  <a:gd name="connsiteX606" fmla="*/ 519034 w 1416191"/>
                  <a:gd name="connsiteY606" fmla="*/ 834845 h 2719086"/>
                  <a:gd name="connsiteX607" fmla="*/ 507705 w 1416191"/>
                  <a:gd name="connsiteY607" fmla="*/ 837677 h 2719086"/>
                  <a:gd name="connsiteX608" fmla="*/ 493543 w 1416191"/>
                  <a:gd name="connsiteY608" fmla="*/ 830596 h 2719086"/>
                  <a:gd name="connsiteX609" fmla="*/ 519034 w 1416191"/>
                  <a:gd name="connsiteY609" fmla="*/ 834845 h 2719086"/>
                  <a:gd name="connsiteX610" fmla="*/ 510537 w 1416191"/>
                  <a:gd name="connsiteY610" fmla="*/ 839093 h 2719086"/>
                  <a:gd name="connsiteX611" fmla="*/ 524699 w 1416191"/>
                  <a:gd name="connsiteY611" fmla="*/ 834845 h 2719086"/>
                  <a:gd name="connsiteX612" fmla="*/ 572850 w 1416191"/>
                  <a:gd name="connsiteY612" fmla="*/ 841926 h 2719086"/>
                  <a:gd name="connsiteX613" fmla="*/ 577098 w 1416191"/>
                  <a:gd name="connsiteY613" fmla="*/ 873082 h 2719086"/>
                  <a:gd name="connsiteX614" fmla="*/ 510537 w 1416191"/>
                  <a:gd name="connsiteY614" fmla="*/ 839093 h 2719086"/>
                  <a:gd name="connsiteX615" fmla="*/ 1016117 w 1416191"/>
                  <a:gd name="connsiteY615" fmla="*/ 1001955 h 2719086"/>
                  <a:gd name="connsiteX616" fmla="*/ 1016117 w 1416191"/>
                  <a:gd name="connsiteY616" fmla="*/ 1001955 h 2719086"/>
                  <a:gd name="connsiteX617" fmla="*/ 975048 w 1416191"/>
                  <a:gd name="connsiteY617" fmla="*/ 1004788 h 2719086"/>
                  <a:gd name="connsiteX618" fmla="*/ 980713 w 1416191"/>
                  <a:gd name="connsiteY618" fmla="*/ 982128 h 2719086"/>
                  <a:gd name="connsiteX619" fmla="*/ 1016117 w 1416191"/>
                  <a:gd name="connsiteY619" fmla="*/ 1001955 h 2719086"/>
                  <a:gd name="connsiteX620" fmla="*/ 962302 w 1416191"/>
                  <a:gd name="connsiteY620" fmla="*/ 1048689 h 2719086"/>
                  <a:gd name="connsiteX621" fmla="*/ 973632 w 1416191"/>
                  <a:gd name="connsiteY621" fmla="*/ 1007620 h 2719086"/>
                  <a:gd name="connsiteX622" fmla="*/ 1011869 w 1416191"/>
                  <a:gd name="connsiteY622" fmla="*/ 1006203 h 2719086"/>
                  <a:gd name="connsiteX623" fmla="*/ 966551 w 1416191"/>
                  <a:gd name="connsiteY623" fmla="*/ 1052938 h 2719086"/>
                  <a:gd name="connsiteX624" fmla="*/ 962302 w 1416191"/>
                  <a:gd name="connsiteY624" fmla="*/ 1048689 h 2719086"/>
                  <a:gd name="connsiteX625" fmla="*/ 938227 w 1416191"/>
                  <a:gd name="connsiteY625" fmla="*/ 1132245 h 2719086"/>
                  <a:gd name="connsiteX626" fmla="*/ 958054 w 1416191"/>
                  <a:gd name="connsiteY626" fmla="*/ 1064267 h 2719086"/>
                  <a:gd name="connsiteX627" fmla="*/ 966551 w 1416191"/>
                  <a:gd name="connsiteY627" fmla="*/ 1055770 h 2719086"/>
                  <a:gd name="connsiteX628" fmla="*/ 1055771 w 1416191"/>
                  <a:gd name="connsiteY628" fmla="*/ 1140742 h 2719086"/>
                  <a:gd name="connsiteX629" fmla="*/ 938227 w 1416191"/>
                  <a:gd name="connsiteY629" fmla="*/ 1132245 h 2719086"/>
                  <a:gd name="connsiteX630" fmla="*/ 686145 w 1416191"/>
                  <a:gd name="connsiteY630" fmla="*/ 1258286 h 2719086"/>
                  <a:gd name="connsiteX631" fmla="*/ 697474 w 1416191"/>
                  <a:gd name="connsiteY631" fmla="*/ 1288026 h 2719086"/>
                  <a:gd name="connsiteX632" fmla="*/ 630913 w 1416191"/>
                  <a:gd name="connsiteY632" fmla="*/ 1290858 h 2719086"/>
                  <a:gd name="connsiteX633" fmla="*/ 686145 w 1416191"/>
                  <a:gd name="connsiteY633" fmla="*/ 1258286 h 2719086"/>
                  <a:gd name="connsiteX634" fmla="*/ 745625 w 1416191"/>
                  <a:gd name="connsiteY634" fmla="*/ 1014701 h 2719086"/>
                  <a:gd name="connsiteX635" fmla="*/ 738544 w 1416191"/>
                  <a:gd name="connsiteY635" fmla="*/ 994874 h 2719086"/>
                  <a:gd name="connsiteX636" fmla="*/ 738544 w 1416191"/>
                  <a:gd name="connsiteY636" fmla="*/ 994874 h 2719086"/>
                  <a:gd name="connsiteX637" fmla="*/ 725798 w 1416191"/>
                  <a:gd name="connsiteY637" fmla="*/ 1016117 h 2719086"/>
                  <a:gd name="connsiteX638" fmla="*/ 680480 w 1416191"/>
                  <a:gd name="connsiteY638" fmla="*/ 1017533 h 2719086"/>
                  <a:gd name="connsiteX639" fmla="*/ 832012 w 1416191"/>
                  <a:gd name="connsiteY639" fmla="*/ 928313 h 2719086"/>
                  <a:gd name="connsiteX640" fmla="*/ 915568 w 1416191"/>
                  <a:gd name="connsiteY640" fmla="*/ 1007620 h 2719086"/>
                  <a:gd name="connsiteX641" fmla="*/ 745625 w 1416191"/>
                  <a:gd name="connsiteY641" fmla="*/ 1014701 h 2719086"/>
                  <a:gd name="connsiteX642" fmla="*/ 959470 w 1416191"/>
                  <a:gd name="connsiteY642" fmla="*/ 1060019 h 2719086"/>
                  <a:gd name="connsiteX643" fmla="*/ 962302 w 1416191"/>
                  <a:gd name="connsiteY643" fmla="*/ 1050105 h 2719086"/>
                  <a:gd name="connsiteX644" fmla="*/ 965135 w 1416191"/>
                  <a:gd name="connsiteY644" fmla="*/ 1052938 h 2719086"/>
                  <a:gd name="connsiteX645" fmla="*/ 959470 w 1416191"/>
                  <a:gd name="connsiteY645" fmla="*/ 1060019 h 2719086"/>
                  <a:gd name="connsiteX646" fmla="*/ 894325 w 1416191"/>
                  <a:gd name="connsiteY646" fmla="*/ 1129412 h 2719086"/>
                  <a:gd name="connsiteX647" fmla="*/ 955221 w 1416191"/>
                  <a:gd name="connsiteY647" fmla="*/ 1067100 h 2719086"/>
                  <a:gd name="connsiteX648" fmla="*/ 936811 w 1416191"/>
                  <a:gd name="connsiteY648" fmla="*/ 1132245 h 2719086"/>
                  <a:gd name="connsiteX649" fmla="*/ 894325 w 1416191"/>
                  <a:gd name="connsiteY649" fmla="*/ 1129412 h 2719086"/>
                  <a:gd name="connsiteX650" fmla="*/ 894325 w 1416191"/>
                  <a:gd name="connsiteY650" fmla="*/ 1282361 h 2719086"/>
                  <a:gd name="connsiteX651" fmla="*/ 864585 w 1416191"/>
                  <a:gd name="connsiteY651" fmla="*/ 1385743 h 2719086"/>
                  <a:gd name="connsiteX652" fmla="*/ 832012 w 1416191"/>
                  <a:gd name="connsiteY652" fmla="*/ 1283777 h 2719086"/>
                  <a:gd name="connsiteX653" fmla="*/ 894325 w 1416191"/>
                  <a:gd name="connsiteY653" fmla="*/ 1282361 h 2719086"/>
                  <a:gd name="connsiteX654" fmla="*/ 897157 w 1416191"/>
                  <a:gd name="connsiteY654" fmla="*/ 1279529 h 2719086"/>
                  <a:gd name="connsiteX655" fmla="*/ 904238 w 1416191"/>
                  <a:gd name="connsiteY655" fmla="*/ 1252621 h 2719086"/>
                  <a:gd name="connsiteX656" fmla="*/ 1040193 w 1416191"/>
                  <a:gd name="connsiteY656" fmla="*/ 1273864 h 2719086"/>
                  <a:gd name="connsiteX657" fmla="*/ 897157 w 1416191"/>
                  <a:gd name="connsiteY657" fmla="*/ 1279529 h 2719086"/>
                  <a:gd name="connsiteX658" fmla="*/ 902822 w 1416191"/>
                  <a:gd name="connsiteY658" fmla="*/ 1252621 h 2719086"/>
                  <a:gd name="connsiteX659" fmla="*/ 895741 w 1416191"/>
                  <a:gd name="connsiteY659" fmla="*/ 1279529 h 2719086"/>
                  <a:gd name="connsiteX660" fmla="*/ 833429 w 1416191"/>
                  <a:gd name="connsiteY660" fmla="*/ 1282361 h 2719086"/>
                  <a:gd name="connsiteX661" fmla="*/ 819267 w 1416191"/>
                  <a:gd name="connsiteY661" fmla="*/ 1238459 h 2719086"/>
                  <a:gd name="connsiteX662" fmla="*/ 902822 w 1416191"/>
                  <a:gd name="connsiteY662" fmla="*/ 1252621 h 2719086"/>
                  <a:gd name="connsiteX663" fmla="*/ 890076 w 1416191"/>
                  <a:gd name="connsiteY663" fmla="*/ 1130829 h 2719086"/>
                  <a:gd name="connsiteX664" fmla="*/ 890076 w 1416191"/>
                  <a:gd name="connsiteY664" fmla="*/ 1130829 h 2719086"/>
                  <a:gd name="connsiteX665" fmla="*/ 936811 w 1416191"/>
                  <a:gd name="connsiteY665" fmla="*/ 1133661 h 2719086"/>
                  <a:gd name="connsiteX666" fmla="*/ 904238 w 1416191"/>
                  <a:gd name="connsiteY666" fmla="*/ 1249788 h 2719086"/>
                  <a:gd name="connsiteX667" fmla="*/ 817851 w 1416191"/>
                  <a:gd name="connsiteY667" fmla="*/ 1235627 h 2719086"/>
                  <a:gd name="connsiteX668" fmla="*/ 747041 w 1416191"/>
                  <a:gd name="connsiteY668" fmla="*/ 1016117 h 2719086"/>
                  <a:gd name="connsiteX669" fmla="*/ 919817 w 1416191"/>
                  <a:gd name="connsiteY669" fmla="*/ 1009036 h 2719086"/>
                  <a:gd name="connsiteX670" fmla="*/ 960886 w 1416191"/>
                  <a:gd name="connsiteY670" fmla="*/ 1047273 h 2719086"/>
                  <a:gd name="connsiteX671" fmla="*/ 956637 w 1416191"/>
                  <a:gd name="connsiteY671" fmla="*/ 1061435 h 2719086"/>
                  <a:gd name="connsiteX672" fmla="*/ 890076 w 1416191"/>
                  <a:gd name="connsiteY672" fmla="*/ 1130829 h 2719086"/>
                  <a:gd name="connsiteX673" fmla="*/ 922649 w 1416191"/>
                  <a:gd name="connsiteY673" fmla="*/ 1009036 h 2719086"/>
                  <a:gd name="connsiteX674" fmla="*/ 972216 w 1416191"/>
                  <a:gd name="connsiteY674" fmla="*/ 1007620 h 2719086"/>
                  <a:gd name="connsiteX675" fmla="*/ 960886 w 1416191"/>
                  <a:gd name="connsiteY675" fmla="*/ 1045857 h 2719086"/>
                  <a:gd name="connsiteX676" fmla="*/ 922649 w 1416191"/>
                  <a:gd name="connsiteY676" fmla="*/ 1009036 h 2719086"/>
                  <a:gd name="connsiteX677" fmla="*/ 856088 w 1416191"/>
                  <a:gd name="connsiteY677" fmla="*/ 915567 h 2719086"/>
                  <a:gd name="connsiteX678" fmla="*/ 977880 w 1416191"/>
                  <a:gd name="connsiteY678" fmla="*/ 982128 h 2719086"/>
                  <a:gd name="connsiteX679" fmla="*/ 970799 w 1416191"/>
                  <a:gd name="connsiteY679" fmla="*/ 1004788 h 2719086"/>
                  <a:gd name="connsiteX680" fmla="*/ 918400 w 1416191"/>
                  <a:gd name="connsiteY680" fmla="*/ 1007620 h 2719086"/>
                  <a:gd name="connsiteX681" fmla="*/ 834845 w 1416191"/>
                  <a:gd name="connsiteY681" fmla="*/ 928313 h 2719086"/>
                  <a:gd name="connsiteX682" fmla="*/ 856088 w 1416191"/>
                  <a:gd name="connsiteY682" fmla="*/ 915567 h 2719086"/>
                  <a:gd name="connsiteX683" fmla="*/ 730047 w 1416191"/>
                  <a:gd name="connsiteY683" fmla="*/ 1016117 h 2719086"/>
                  <a:gd name="connsiteX684" fmla="*/ 738544 w 1416191"/>
                  <a:gd name="connsiteY684" fmla="*/ 1000539 h 2719086"/>
                  <a:gd name="connsiteX685" fmla="*/ 744209 w 1416191"/>
                  <a:gd name="connsiteY685" fmla="*/ 1016117 h 2719086"/>
                  <a:gd name="connsiteX686" fmla="*/ 730047 w 1416191"/>
                  <a:gd name="connsiteY686" fmla="*/ 1016117 h 2719086"/>
                  <a:gd name="connsiteX687" fmla="*/ 744209 w 1416191"/>
                  <a:gd name="connsiteY687" fmla="*/ 1017533 h 2719086"/>
                  <a:gd name="connsiteX688" fmla="*/ 815018 w 1416191"/>
                  <a:gd name="connsiteY688" fmla="*/ 1237043 h 2719086"/>
                  <a:gd name="connsiteX689" fmla="*/ 741376 w 1416191"/>
                  <a:gd name="connsiteY689" fmla="*/ 1225713 h 2719086"/>
                  <a:gd name="connsiteX690" fmla="*/ 741376 w 1416191"/>
                  <a:gd name="connsiteY690" fmla="*/ 1225713 h 2719086"/>
                  <a:gd name="connsiteX691" fmla="*/ 687561 w 1416191"/>
                  <a:gd name="connsiteY691" fmla="*/ 1256869 h 2719086"/>
                  <a:gd name="connsiteX692" fmla="*/ 650740 w 1416191"/>
                  <a:gd name="connsiteY692" fmla="*/ 1157736 h 2719086"/>
                  <a:gd name="connsiteX693" fmla="*/ 728631 w 1416191"/>
                  <a:gd name="connsiteY693" fmla="*/ 1018949 h 2719086"/>
                  <a:gd name="connsiteX694" fmla="*/ 744209 w 1416191"/>
                  <a:gd name="connsiteY694" fmla="*/ 1017533 h 2719086"/>
                  <a:gd name="connsiteX695" fmla="*/ 742793 w 1416191"/>
                  <a:gd name="connsiteY695" fmla="*/ 1227129 h 2719086"/>
                  <a:gd name="connsiteX696" fmla="*/ 816434 w 1416191"/>
                  <a:gd name="connsiteY696" fmla="*/ 1238459 h 2719086"/>
                  <a:gd name="connsiteX697" fmla="*/ 830596 w 1416191"/>
                  <a:gd name="connsiteY697" fmla="*/ 1282361 h 2719086"/>
                  <a:gd name="connsiteX698" fmla="*/ 700307 w 1416191"/>
                  <a:gd name="connsiteY698" fmla="*/ 1288026 h 2719086"/>
                  <a:gd name="connsiteX699" fmla="*/ 688977 w 1416191"/>
                  <a:gd name="connsiteY699" fmla="*/ 1258286 h 2719086"/>
                  <a:gd name="connsiteX700" fmla="*/ 742793 w 1416191"/>
                  <a:gd name="connsiteY700" fmla="*/ 1227129 h 2719086"/>
                  <a:gd name="connsiteX701" fmla="*/ 686145 w 1416191"/>
                  <a:gd name="connsiteY701" fmla="*/ 1256869 h 2719086"/>
                  <a:gd name="connsiteX702" fmla="*/ 626665 w 1416191"/>
                  <a:gd name="connsiteY702" fmla="*/ 1290858 h 2719086"/>
                  <a:gd name="connsiteX703" fmla="*/ 605422 w 1416191"/>
                  <a:gd name="connsiteY703" fmla="*/ 1292274 h 2719086"/>
                  <a:gd name="connsiteX704" fmla="*/ 619584 w 1416191"/>
                  <a:gd name="connsiteY704" fmla="*/ 1211551 h 2719086"/>
                  <a:gd name="connsiteX705" fmla="*/ 649324 w 1416191"/>
                  <a:gd name="connsiteY705" fmla="*/ 1159152 h 2719086"/>
                  <a:gd name="connsiteX706" fmla="*/ 686145 w 1416191"/>
                  <a:gd name="connsiteY706" fmla="*/ 1256869 h 2719086"/>
                  <a:gd name="connsiteX707" fmla="*/ 602590 w 1416191"/>
                  <a:gd name="connsiteY707" fmla="*/ 1306436 h 2719086"/>
                  <a:gd name="connsiteX708" fmla="*/ 626665 w 1416191"/>
                  <a:gd name="connsiteY708" fmla="*/ 1292274 h 2719086"/>
                  <a:gd name="connsiteX709" fmla="*/ 698891 w 1416191"/>
                  <a:gd name="connsiteY709" fmla="*/ 1289442 h 2719086"/>
                  <a:gd name="connsiteX710" fmla="*/ 771116 w 1416191"/>
                  <a:gd name="connsiteY710" fmla="*/ 1484876 h 2719086"/>
                  <a:gd name="connsiteX711" fmla="*/ 735712 w 1416191"/>
                  <a:gd name="connsiteY711" fmla="*/ 1501870 h 2719086"/>
                  <a:gd name="connsiteX712" fmla="*/ 585595 w 1416191"/>
                  <a:gd name="connsiteY712" fmla="*/ 1395656 h 2719086"/>
                  <a:gd name="connsiteX713" fmla="*/ 602590 w 1416191"/>
                  <a:gd name="connsiteY713" fmla="*/ 1306436 h 2719086"/>
                  <a:gd name="connsiteX714" fmla="*/ 1017534 w 1416191"/>
                  <a:gd name="connsiteY714" fmla="*/ 1003371 h 2719086"/>
                  <a:gd name="connsiteX715" fmla="*/ 1018950 w 1416191"/>
                  <a:gd name="connsiteY715" fmla="*/ 1001955 h 2719086"/>
                  <a:gd name="connsiteX716" fmla="*/ 980713 w 1416191"/>
                  <a:gd name="connsiteY716" fmla="*/ 982128 h 2719086"/>
                  <a:gd name="connsiteX717" fmla="*/ 987794 w 1416191"/>
                  <a:gd name="connsiteY717" fmla="*/ 958053 h 2719086"/>
                  <a:gd name="connsiteX718" fmla="*/ 1079846 w 1416191"/>
                  <a:gd name="connsiteY718" fmla="*/ 967967 h 2719086"/>
                  <a:gd name="connsiteX719" fmla="*/ 1079846 w 1416191"/>
                  <a:gd name="connsiteY719" fmla="*/ 1001955 h 2719086"/>
                  <a:gd name="connsiteX720" fmla="*/ 1017534 w 1416191"/>
                  <a:gd name="connsiteY720" fmla="*/ 1003371 h 2719086"/>
                  <a:gd name="connsiteX721" fmla="*/ 728631 w 1416191"/>
                  <a:gd name="connsiteY721" fmla="*/ 773948 h 2719086"/>
                  <a:gd name="connsiteX722" fmla="*/ 945308 w 1416191"/>
                  <a:gd name="connsiteY722" fmla="*/ 953805 h 2719086"/>
                  <a:gd name="connsiteX723" fmla="*/ 945308 w 1416191"/>
                  <a:gd name="connsiteY723" fmla="*/ 953805 h 2719086"/>
                  <a:gd name="connsiteX724" fmla="*/ 986377 w 1416191"/>
                  <a:gd name="connsiteY724" fmla="*/ 958053 h 2719086"/>
                  <a:gd name="connsiteX725" fmla="*/ 979296 w 1416191"/>
                  <a:gd name="connsiteY725" fmla="*/ 980712 h 2719086"/>
                  <a:gd name="connsiteX726" fmla="*/ 856088 w 1416191"/>
                  <a:gd name="connsiteY726" fmla="*/ 914151 h 2719086"/>
                  <a:gd name="connsiteX727" fmla="*/ 856088 w 1416191"/>
                  <a:gd name="connsiteY727" fmla="*/ 914151 h 2719086"/>
                  <a:gd name="connsiteX728" fmla="*/ 833429 w 1416191"/>
                  <a:gd name="connsiteY728" fmla="*/ 926897 h 2719086"/>
                  <a:gd name="connsiteX729" fmla="*/ 772532 w 1416191"/>
                  <a:gd name="connsiteY729" fmla="*/ 868833 h 2719086"/>
                  <a:gd name="connsiteX730" fmla="*/ 772532 w 1416191"/>
                  <a:gd name="connsiteY730" fmla="*/ 868833 h 2719086"/>
                  <a:gd name="connsiteX731" fmla="*/ 574266 w 1416191"/>
                  <a:gd name="connsiteY731" fmla="*/ 840509 h 2719086"/>
                  <a:gd name="connsiteX732" fmla="*/ 571433 w 1416191"/>
                  <a:gd name="connsiteY732" fmla="*/ 820683 h 2719086"/>
                  <a:gd name="connsiteX733" fmla="*/ 728631 w 1416191"/>
                  <a:gd name="connsiteY733" fmla="*/ 773948 h 2719086"/>
                  <a:gd name="connsiteX734" fmla="*/ 725798 w 1416191"/>
                  <a:gd name="connsiteY734" fmla="*/ 1017533 h 2719086"/>
                  <a:gd name="connsiteX735" fmla="*/ 649324 w 1416191"/>
                  <a:gd name="connsiteY735" fmla="*/ 1153488 h 2719086"/>
                  <a:gd name="connsiteX736" fmla="*/ 619584 w 1416191"/>
                  <a:gd name="connsiteY736" fmla="*/ 1075597 h 2719086"/>
                  <a:gd name="connsiteX737" fmla="*/ 619584 w 1416191"/>
                  <a:gd name="connsiteY737" fmla="*/ 1075597 h 2719086"/>
                  <a:gd name="connsiteX738" fmla="*/ 565769 w 1416191"/>
                  <a:gd name="connsiteY738" fmla="*/ 1194557 h 2719086"/>
                  <a:gd name="connsiteX739" fmla="*/ 443976 w 1416191"/>
                  <a:gd name="connsiteY739" fmla="*/ 1157736 h 2719086"/>
                  <a:gd name="connsiteX740" fmla="*/ 679064 w 1416191"/>
                  <a:gd name="connsiteY740" fmla="*/ 1020365 h 2719086"/>
                  <a:gd name="connsiteX741" fmla="*/ 725798 w 1416191"/>
                  <a:gd name="connsiteY741" fmla="*/ 1017533 h 2719086"/>
                  <a:gd name="connsiteX742" fmla="*/ 622416 w 1416191"/>
                  <a:gd name="connsiteY742" fmla="*/ 1293690 h 2719086"/>
                  <a:gd name="connsiteX743" fmla="*/ 602590 w 1416191"/>
                  <a:gd name="connsiteY743" fmla="*/ 1305020 h 2719086"/>
                  <a:gd name="connsiteX744" fmla="*/ 604006 w 1416191"/>
                  <a:gd name="connsiteY744" fmla="*/ 1295107 h 2719086"/>
                  <a:gd name="connsiteX745" fmla="*/ 622416 w 1416191"/>
                  <a:gd name="connsiteY745" fmla="*/ 1293690 h 2719086"/>
                  <a:gd name="connsiteX746" fmla="*/ 657821 w 1416191"/>
                  <a:gd name="connsiteY746" fmla="*/ 1608085 h 2719086"/>
                  <a:gd name="connsiteX747" fmla="*/ 599757 w 1416191"/>
                  <a:gd name="connsiteY747" fmla="*/ 1634993 h 2719086"/>
                  <a:gd name="connsiteX748" fmla="*/ 596925 w 1416191"/>
                  <a:gd name="connsiteY748" fmla="*/ 1623663 h 2719086"/>
                  <a:gd name="connsiteX749" fmla="*/ 657821 w 1416191"/>
                  <a:gd name="connsiteY749" fmla="*/ 1608085 h 2719086"/>
                  <a:gd name="connsiteX750" fmla="*/ 459554 w 1416191"/>
                  <a:gd name="connsiteY750" fmla="*/ 1640657 h 2719086"/>
                  <a:gd name="connsiteX751" fmla="*/ 548774 w 1416191"/>
                  <a:gd name="connsiteY751" fmla="*/ 1596755 h 2719086"/>
                  <a:gd name="connsiteX752" fmla="*/ 541693 w 1416191"/>
                  <a:gd name="connsiteY752" fmla="*/ 1634993 h 2719086"/>
                  <a:gd name="connsiteX753" fmla="*/ 482213 w 1416191"/>
                  <a:gd name="connsiteY753" fmla="*/ 1649154 h 2719086"/>
                  <a:gd name="connsiteX754" fmla="*/ 459554 w 1416191"/>
                  <a:gd name="connsiteY754" fmla="*/ 1640657 h 2719086"/>
                  <a:gd name="connsiteX755" fmla="*/ 451057 w 1416191"/>
                  <a:gd name="connsiteY755" fmla="*/ 1300771 h 2719086"/>
                  <a:gd name="connsiteX756" fmla="*/ 519034 w 1416191"/>
                  <a:gd name="connsiteY756" fmla="*/ 1297939 h 2719086"/>
                  <a:gd name="connsiteX757" fmla="*/ 502040 w 1416191"/>
                  <a:gd name="connsiteY757" fmla="*/ 1336176 h 2719086"/>
                  <a:gd name="connsiteX758" fmla="*/ 451057 w 1416191"/>
                  <a:gd name="connsiteY758" fmla="*/ 1300771 h 2719086"/>
                  <a:gd name="connsiteX759" fmla="*/ 594092 w 1416191"/>
                  <a:gd name="connsiteY759" fmla="*/ 1625079 h 2719086"/>
                  <a:gd name="connsiteX760" fmla="*/ 596925 w 1416191"/>
                  <a:gd name="connsiteY760" fmla="*/ 1636408 h 2719086"/>
                  <a:gd name="connsiteX761" fmla="*/ 538861 w 1416191"/>
                  <a:gd name="connsiteY761" fmla="*/ 1663316 h 2719086"/>
                  <a:gd name="connsiteX762" fmla="*/ 543110 w 1416191"/>
                  <a:gd name="connsiteY762" fmla="*/ 1637825 h 2719086"/>
                  <a:gd name="connsiteX763" fmla="*/ 594092 w 1416191"/>
                  <a:gd name="connsiteY763" fmla="*/ 1625079 h 2719086"/>
                  <a:gd name="connsiteX764" fmla="*/ 483629 w 1416191"/>
                  <a:gd name="connsiteY764" fmla="*/ 1374413 h 2719086"/>
                  <a:gd name="connsiteX765" fmla="*/ 456722 w 1416191"/>
                  <a:gd name="connsiteY765" fmla="*/ 1433893 h 2719086"/>
                  <a:gd name="connsiteX766" fmla="*/ 412820 w 1416191"/>
                  <a:gd name="connsiteY766" fmla="*/ 1415483 h 2719086"/>
                  <a:gd name="connsiteX767" fmla="*/ 483629 w 1416191"/>
                  <a:gd name="connsiteY767" fmla="*/ 1374413 h 2719086"/>
                  <a:gd name="connsiteX768" fmla="*/ 523283 w 1416191"/>
                  <a:gd name="connsiteY768" fmla="*/ 1351754 h 2719086"/>
                  <a:gd name="connsiteX769" fmla="*/ 599757 w 1416191"/>
                  <a:gd name="connsiteY769" fmla="*/ 1307852 h 2719086"/>
                  <a:gd name="connsiteX770" fmla="*/ 584179 w 1416191"/>
                  <a:gd name="connsiteY770" fmla="*/ 1394240 h 2719086"/>
                  <a:gd name="connsiteX771" fmla="*/ 523283 w 1416191"/>
                  <a:gd name="connsiteY771" fmla="*/ 1351754 h 2719086"/>
                  <a:gd name="connsiteX772" fmla="*/ 571433 w 1416191"/>
                  <a:gd name="connsiteY772" fmla="*/ 1547189 h 2719086"/>
                  <a:gd name="connsiteX773" fmla="*/ 561520 w 1416191"/>
                  <a:gd name="connsiteY773" fmla="*/ 1542940 h 2719086"/>
                  <a:gd name="connsiteX774" fmla="*/ 565769 w 1416191"/>
                  <a:gd name="connsiteY774" fmla="*/ 1523113 h 2719086"/>
                  <a:gd name="connsiteX775" fmla="*/ 571433 w 1416191"/>
                  <a:gd name="connsiteY775" fmla="*/ 1547189 h 2719086"/>
                  <a:gd name="connsiteX776" fmla="*/ 568601 w 1416191"/>
                  <a:gd name="connsiteY776" fmla="*/ 1487708 h 2719086"/>
                  <a:gd name="connsiteX777" fmla="*/ 564352 w 1416191"/>
                  <a:gd name="connsiteY777" fmla="*/ 1513200 h 2719086"/>
                  <a:gd name="connsiteX778" fmla="*/ 553023 w 1416191"/>
                  <a:gd name="connsiteY778" fmla="*/ 1476379 h 2719086"/>
                  <a:gd name="connsiteX779" fmla="*/ 555855 w 1416191"/>
                  <a:gd name="connsiteY779" fmla="*/ 1477795 h 2719086"/>
                  <a:gd name="connsiteX780" fmla="*/ 568601 w 1416191"/>
                  <a:gd name="connsiteY780" fmla="*/ 1487708 h 2719086"/>
                  <a:gd name="connsiteX781" fmla="*/ 557271 w 1416191"/>
                  <a:gd name="connsiteY781" fmla="*/ 1477795 h 2719086"/>
                  <a:gd name="connsiteX782" fmla="*/ 548774 w 1416191"/>
                  <a:gd name="connsiteY782" fmla="*/ 1472131 h 2719086"/>
                  <a:gd name="connsiteX783" fmla="*/ 548774 w 1416191"/>
                  <a:gd name="connsiteY783" fmla="*/ 1472131 h 2719086"/>
                  <a:gd name="connsiteX784" fmla="*/ 550190 w 1416191"/>
                  <a:gd name="connsiteY784" fmla="*/ 1474963 h 2719086"/>
                  <a:gd name="connsiteX785" fmla="*/ 458138 w 1416191"/>
                  <a:gd name="connsiteY785" fmla="*/ 1435310 h 2719086"/>
                  <a:gd name="connsiteX786" fmla="*/ 486462 w 1416191"/>
                  <a:gd name="connsiteY786" fmla="*/ 1372997 h 2719086"/>
                  <a:gd name="connsiteX787" fmla="*/ 521867 w 1416191"/>
                  <a:gd name="connsiteY787" fmla="*/ 1353170 h 2719086"/>
                  <a:gd name="connsiteX788" fmla="*/ 584179 w 1416191"/>
                  <a:gd name="connsiteY788" fmla="*/ 1397072 h 2719086"/>
                  <a:gd name="connsiteX789" fmla="*/ 568601 w 1416191"/>
                  <a:gd name="connsiteY789" fmla="*/ 1483460 h 2719086"/>
                  <a:gd name="connsiteX790" fmla="*/ 557271 w 1416191"/>
                  <a:gd name="connsiteY790" fmla="*/ 1477795 h 2719086"/>
                  <a:gd name="connsiteX791" fmla="*/ 571433 w 1416191"/>
                  <a:gd name="connsiteY791" fmla="*/ 1548605 h 2719086"/>
                  <a:gd name="connsiteX792" fmla="*/ 579931 w 1416191"/>
                  <a:gd name="connsiteY792" fmla="*/ 1578345 h 2719086"/>
                  <a:gd name="connsiteX793" fmla="*/ 551607 w 1416191"/>
                  <a:gd name="connsiteY793" fmla="*/ 1592507 h 2719086"/>
                  <a:gd name="connsiteX794" fmla="*/ 560104 w 1416191"/>
                  <a:gd name="connsiteY794" fmla="*/ 1544356 h 2719086"/>
                  <a:gd name="connsiteX795" fmla="*/ 571433 w 1416191"/>
                  <a:gd name="connsiteY795" fmla="*/ 1548605 h 2719086"/>
                  <a:gd name="connsiteX796" fmla="*/ 612503 w 1416191"/>
                  <a:gd name="connsiteY796" fmla="*/ 1562767 h 2719086"/>
                  <a:gd name="connsiteX797" fmla="*/ 582763 w 1416191"/>
                  <a:gd name="connsiteY797" fmla="*/ 1576929 h 2719086"/>
                  <a:gd name="connsiteX798" fmla="*/ 574266 w 1416191"/>
                  <a:gd name="connsiteY798" fmla="*/ 1548605 h 2719086"/>
                  <a:gd name="connsiteX799" fmla="*/ 612503 w 1416191"/>
                  <a:gd name="connsiteY799" fmla="*/ 1562767 h 2719086"/>
                  <a:gd name="connsiteX800" fmla="*/ 572850 w 1416191"/>
                  <a:gd name="connsiteY800" fmla="*/ 1547189 h 2719086"/>
                  <a:gd name="connsiteX801" fmla="*/ 564352 w 1416191"/>
                  <a:gd name="connsiteY801" fmla="*/ 1518865 h 2719086"/>
                  <a:gd name="connsiteX802" fmla="*/ 570017 w 1416191"/>
                  <a:gd name="connsiteY802" fmla="*/ 1490541 h 2719086"/>
                  <a:gd name="connsiteX803" fmla="*/ 645075 w 1416191"/>
                  <a:gd name="connsiteY803" fmla="*/ 1547189 h 2719086"/>
                  <a:gd name="connsiteX804" fmla="*/ 613919 w 1416191"/>
                  <a:gd name="connsiteY804" fmla="*/ 1562767 h 2719086"/>
                  <a:gd name="connsiteX805" fmla="*/ 572850 w 1416191"/>
                  <a:gd name="connsiteY805" fmla="*/ 1547189 h 2719086"/>
                  <a:gd name="connsiteX806" fmla="*/ 550190 w 1416191"/>
                  <a:gd name="connsiteY806" fmla="*/ 1476379 h 2719086"/>
                  <a:gd name="connsiteX807" fmla="*/ 562936 w 1416191"/>
                  <a:gd name="connsiteY807" fmla="*/ 1518865 h 2719086"/>
                  <a:gd name="connsiteX808" fmla="*/ 558688 w 1416191"/>
                  <a:gd name="connsiteY808" fmla="*/ 1542940 h 2719086"/>
                  <a:gd name="connsiteX809" fmla="*/ 429814 w 1416191"/>
                  <a:gd name="connsiteY809" fmla="*/ 1499038 h 2719086"/>
                  <a:gd name="connsiteX810" fmla="*/ 458138 w 1416191"/>
                  <a:gd name="connsiteY810" fmla="*/ 1436726 h 2719086"/>
                  <a:gd name="connsiteX811" fmla="*/ 550190 w 1416191"/>
                  <a:gd name="connsiteY811" fmla="*/ 1476379 h 2719086"/>
                  <a:gd name="connsiteX812" fmla="*/ 581347 w 1416191"/>
                  <a:gd name="connsiteY812" fmla="*/ 1581177 h 2719086"/>
                  <a:gd name="connsiteX813" fmla="*/ 594092 w 1416191"/>
                  <a:gd name="connsiteY813" fmla="*/ 1623663 h 2719086"/>
                  <a:gd name="connsiteX814" fmla="*/ 544526 w 1416191"/>
                  <a:gd name="connsiteY814" fmla="*/ 1636408 h 2719086"/>
                  <a:gd name="connsiteX815" fmla="*/ 551607 w 1416191"/>
                  <a:gd name="connsiteY815" fmla="*/ 1596755 h 2719086"/>
                  <a:gd name="connsiteX816" fmla="*/ 581347 w 1416191"/>
                  <a:gd name="connsiteY816" fmla="*/ 1581177 h 2719086"/>
                  <a:gd name="connsiteX817" fmla="*/ 676231 w 1416191"/>
                  <a:gd name="connsiteY817" fmla="*/ 1531610 h 2719086"/>
                  <a:gd name="connsiteX818" fmla="*/ 647908 w 1416191"/>
                  <a:gd name="connsiteY818" fmla="*/ 1545772 h 2719086"/>
                  <a:gd name="connsiteX819" fmla="*/ 570017 w 1416191"/>
                  <a:gd name="connsiteY819" fmla="*/ 1487708 h 2719086"/>
                  <a:gd name="connsiteX820" fmla="*/ 570017 w 1416191"/>
                  <a:gd name="connsiteY820" fmla="*/ 1486292 h 2719086"/>
                  <a:gd name="connsiteX821" fmla="*/ 676231 w 1416191"/>
                  <a:gd name="connsiteY821" fmla="*/ 1531610 h 2719086"/>
                  <a:gd name="connsiteX822" fmla="*/ 487878 w 1416191"/>
                  <a:gd name="connsiteY822" fmla="*/ 1370165 h 2719086"/>
                  <a:gd name="connsiteX823" fmla="*/ 502040 w 1416191"/>
                  <a:gd name="connsiteY823" fmla="*/ 1339008 h 2719086"/>
                  <a:gd name="connsiteX824" fmla="*/ 520450 w 1416191"/>
                  <a:gd name="connsiteY824" fmla="*/ 1351754 h 2719086"/>
                  <a:gd name="connsiteX825" fmla="*/ 487878 w 1416191"/>
                  <a:gd name="connsiteY825" fmla="*/ 1370165 h 2719086"/>
                  <a:gd name="connsiteX826" fmla="*/ 595509 w 1416191"/>
                  <a:gd name="connsiteY826" fmla="*/ 1622246 h 2719086"/>
                  <a:gd name="connsiteX827" fmla="*/ 582763 w 1416191"/>
                  <a:gd name="connsiteY827" fmla="*/ 1579761 h 2719086"/>
                  <a:gd name="connsiteX828" fmla="*/ 615335 w 1416191"/>
                  <a:gd name="connsiteY828" fmla="*/ 1564183 h 2719086"/>
                  <a:gd name="connsiteX829" fmla="*/ 696058 w 1416191"/>
                  <a:gd name="connsiteY829" fmla="*/ 1591091 h 2719086"/>
                  <a:gd name="connsiteX830" fmla="*/ 667734 w 1416191"/>
                  <a:gd name="connsiteY830" fmla="*/ 1603836 h 2719086"/>
                  <a:gd name="connsiteX831" fmla="*/ 595509 w 1416191"/>
                  <a:gd name="connsiteY831" fmla="*/ 1622246 h 2719086"/>
                  <a:gd name="connsiteX832" fmla="*/ 647908 w 1416191"/>
                  <a:gd name="connsiteY832" fmla="*/ 1548605 h 2719086"/>
                  <a:gd name="connsiteX833" fmla="*/ 701723 w 1416191"/>
                  <a:gd name="connsiteY833" fmla="*/ 1589674 h 2719086"/>
                  <a:gd name="connsiteX834" fmla="*/ 698891 w 1416191"/>
                  <a:gd name="connsiteY834" fmla="*/ 1591091 h 2719086"/>
                  <a:gd name="connsiteX835" fmla="*/ 618168 w 1416191"/>
                  <a:gd name="connsiteY835" fmla="*/ 1564183 h 2719086"/>
                  <a:gd name="connsiteX836" fmla="*/ 647908 w 1416191"/>
                  <a:gd name="connsiteY836" fmla="*/ 1548605 h 2719086"/>
                  <a:gd name="connsiteX837" fmla="*/ 571433 w 1416191"/>
                  <a:gd name="connsiteY837" fmla="*/ 1483460 h 2719086"/>
                  <a:gd name="connsiteX838" fmla="*/ 587012 w 1416191"/>
                  <a:gd name="connsiteY838" fmla="*/ 1398488 h 2719086"/>
                  <a:gd name="connsiteX839" fmla="*/ 734295 w 1416191"/>
                  <a:gd name="connsiteY839" fmla="*/ 1503287 h 2719086"/>
                  <a:gd name="connsiteX840" fmla="*/ 679064 w 1416191"/>
                  <a:gd name="connsiteY840" fmla="*/ 1530194 h 2719086"/>
                  <a:gd name="connsiteX841" fmla="*/ 571433 w 1416191"/>
                  <a:gd name="connsiteY841" fmla="*/ 1483460 h 2719086"/>
                  <a:gd name="connsiteX842" fmla="*/ 599757 w 1416191"/>
                  <a:gd name="connsiteY842" fmla="*/ 1305020 h 2719086"/>
                  <a:gd name="connsiteX843" fmla="*/ 521867 w 1416191"/>
                  <a:gd name="connsiteY843" fmla="*/ 1350338 h 2719086"/>
                  <a:gd name="connsiteX844" fmla="*/ 503456 w 1416191"/>
                  <a:gd name="connsiteY844" fmla="*/ 1336176 h 2719086"/>
                  <a:gd name="connsiteX845" fmla="*/ 521867 w 1416191"/>
                  <a:gd name="connsiteY845" fmla="*/ 1296523 h 2719086"/>
                  <a:gd name="connsiteX846" fmla="*/ 604006 w 1416191"/>
                  <a:gd name="connsiteY846" fmla="*/ 1293690 h 2719086"/>
                  <a:gd name="connsiteX847" fmla="*/ 599757 w 1416191"/>
                  <a:gd name="connsiteY847" fmla="*/ 1305020 h 2719086"/>
                  <a:gd name="connsiteX848" fmla="*/ 598341 w 1416191"/>
                  <a:gd name="connsiteY848" fmla="*/ 1637825 h 2719086"/>
                  <a:gd name="connsiteX849" fmla="*/ 619584 w 1416191"/>
                  <a:gd name="connsiteY849" fmla="*/ 1707218 h 2719086"/>
                  <a:gd name="connsiteX850" fmla="*/ 528948 w 1416191"/>
                  <a:gd name="connsiteY850" fmla="*/ 1722796 h 2719086"/>
                  <a:gd name="connsiteX851" fmla="*/ 538861 w 1416191"/>
                  <a:gd name="connsiteY851" fmla="*/ 1664732 h 2719086"/>
                  <a:gd name="connsiteX852" fmla="*/ 598341 w 1416191"/>
                  <a:gd name="connsiteY852" fmla="*/ 1637825 h 2719086"/>
                  <a:gd name="connsiteX853" fmla="*/ 705972 w 1416191"/>
                  <a:gd name="connsiteY853" fmla="*/ 1595339 h 2719086"/>
                  <a:gd name="connsiteX854" fmla="*/ 679064 w 1416191"/>
                  <a:gd name="connsiteY854" fmla="*/ 1602420 h 2719086"/>
                  <a:gd name="connsiteX855" fmla="*/ 698891 w 1416191"/>
                  <a:gd name="connsiteY855" fmla="*/ 1593923 h 2719086"/>
                  <a:gd name="connsiteX856" fmla="*/ 705972 w 1416191"/>
                  <a:gd name="connsiteY856" fmla="*/ 1595339 h 2719086"/>
                  <a:gd name="connsiteX857" fmla="*/ 830596 w 1416191"/>
                  <a:gd name="connsiteY857" fmla="*/ 1285193 h 2719086"/>
                  <a:gd name="connsiteX858" fmla="*/ 864585 w 1416191"/>
                  <a:gd name="connsiteY858" fmla="*/ 1392824 h 2719086"/>
                  <a:gd name="connsiteX859" fmla="*/ 864585 w 1416191"/>
                  <a:gd name="connsiteY859" fmla="*/ 1392824 h 2719086"/>
                  <a:gd name="connsiteX860" fmla="*/ 895741 w 1416191"/>
                  <a:gd name="connsiteY860" fmla="*/ 1282361 h 2719086"/>
                  <a:gd name="connsiteX861" fmla="*/ 1051522 w 1416191"/>
                  <a:gd name="connsiteY861" fmla="*/ 1276696 h 2719086"/>
                  <a:gd name="connsiteX862" fmla="*/ 1051522 w 1416191"/>
                  <a:gd name="connsiteY862" fmla="*/ 1276696 h 2719086"/>
                  <a:gd name="connsiteX863" fmla="*/ 1051522 w 1416191"/>
                  <a:gd name="connsiteY863" fmla="*/ 1275280 h 2719086"/>
                  <a:gd name="connsiteX864" fmla="*/ 1051522 w 1416191"/>
                  <a:gd name="connsiteY864" fmla="*/ 1275280 h 2719086"/>
                  <a:gd name="connsiteX865" fmla="*/ 904238 w 1416191"/>
                  <a:gd name="connsiteY865" fmla="*/ 1252621 h 2719086"/>
                  <a:gd name="connsiteX866" fmla="*/ 936811 w 1416191"/>
                  <a:gd name="connsiteY866" fmla="*/ 1136493 h 2719086"/>
                  <a:gd name="connsiteX867" fmla="*/ 1057187 w 1416191"/>
                  <a:gd name="connsiteY867" fmla="*/ 1143574 h 2719086"/>
                  <a:gd name="connsiteX868" fmla="*/ 1197390 w 1416191"/>
                  <a:gd name="connsiteY868" fmla="*/ 1276696 h 2719086"/>
                  <a:gd name="connsiteX869" fmla="*/ 772532 w 1416191"/>
                  <a:gd name="connsiteY869" fmla="*/ 1486292 h 2719086"/>
                  <a:gd name="connsiteX870" fmla="*/ 700307 w 1416191"/>
                  <a:gd name="connsiteY870" fmla="*/ 1292274 h 2719086"/>
                  <a:gd name="connsiteX871" fmla="*/ 830596 w 1416191"/>
                  <a:gd name="connsiteY871" fmla="*/ 1285193 h 2719086"/>
                  <a:gd name="connsiteX872" fmla="*/ 986377 w 1416191"/>
                  <a:gd name="connsiteY872" fmla="*/ 955221 h 2719086"/>
                  <a:gd name="connsiteX873" fmla="*/ 945308 w 1416191"/>
                  <a:gd name="connsiteY873" fmla="*/ 950972 h 2719086"/>
                  <a:gd name="connsiteX874" fmla="*/ 730047 w 1416191"/>
                  <a:gd name="connsiteY874" fmla="*/ 772532 h 2719086"/>
                  <a:gd name="connsiteX875" fmla="*/ 1014701 w 1416191"/>
                  <a:gd name="connsiteY875" fmla="*/ 686145 h 2719086"/>
                  <a:gd name="connsiteX876" fmla="*/ 1062852 w 1416191"/>
                  <a:gd name="connsiteY876" fmla="*/ 681896 h 2719086"/>
                  <a:gd name="connsiteX877" fmla="*/ 986377 w 1416191"/>
                  <a:gd name="connsiteY877" fmla="*/ 955221 h 2719086"/>
                  <a:gd name="connsiteX878" fmla="*/ 728631 w 1416191"/>
                  <a:gd name="connsiteY878" fmla="*/ 397241 h 2719086"/>
                  <a:gd name="connsiteX879" fmla="*/ 748457 w 1416191"/>
                  <a:gd name="connsiteY879" fmla="*/ 385912 h 2719086"/>
                  <a:gd name="connsiteX880" fmla="*/ 793775 w 1416191"/>
                  <a:gd name="connsiteY880" fmla="*/ 408571 h 2719086"/>
                  <a:gd name="connsiteX881" fmla="*/ 793775 w 1416191"/>
                  <a:gd name="connsiteY881" fmla="*/ 418484 h 2719086"/>
                  <a:gd name="connsiteX882" fmla="*/ 728631 w 1416191"/>
                  <a:gd name="connsiteY882" fmla="*/ 397241 h 2719086"/>
                  <a:gd name="connsiteX883" fmla="*/ 749874 w 1416191"/>
                  <a:gd name="connsiteY883" fmla="*/ 384496 h 2719086"/>
                  <a:gd name="connsiteX884" fmla="*/ 790943 w 1416191"/>
                  <a:gd name="connsiteY884" fmla="*/ 360421 h 2719086"/>
                  <a:gd name="connsiteX885" fmla="*/ 792359 w 1416191"/>
                  <a:gd name="connsiteY885" fmla="*/ 405739 h 2719086"/>
                  <a:gd name="connsiteX886" fmla="*/ 749874 w 1416191"/>
                  <a:gd name="connsiteY886" fmla="*/ 384496 h 2719086"/>
                  <a:gd name="connsiteX887" fmla="*/ 902822 w 1416191"/>
                  <a:gd name="connsiteY887" fmla="*/ 292443 h 2719086"/>
                  <a:gd name="connsiteX888" fmla="*/ 793775 w 1416191"/>
                  <a:gd name="connsiteY888" fmla="*/ 356172 h 2719086"/>
                  <a:gd name="connsiteX889" fmla="*/ 792359 w 1416191"/>
                  <a:gd name="connsiteY889" fmla="*/ 306605 h 2719086"/>
                  <a:gd name="connsiteX890" fmla="*/ 792359 w 1416191"/>
                  <a:gd name="connsiteY890" fmla="*/ 306605 h 2719086"/>
                  <a:gd name="connsiteX891" fmla="*/ 742793 w 1416191"/>
                  <a:gd name="connsiteY891" fmla="*/ 247125 h 2719086"/>
                  <a:gd name="connsiteX892" fmla="*/ 744209 w 1416191"/>
                  <a:gd name="connsiteY892" fmla="*/ 247125 h 2719086"/>
                  <a:gd name="connsiteX893" fmla="*/ 744209 w 1416191"/>
                  <a:gd name="connsiteY893" fmla="*/ 245709 h 2719086"/>
                  <a:gd name="connsiteX894" fmla="*/ 739960 w 1416191"/>
                  <a:gd name="connsiteY894" fmla="*/ 244293 h 2719086"/>
                  <a:gd name="connsiteX895" fmla="*/ 669150 w 1416191"/>
                  <a:gd name="connsiteY895" fmla="*/ 159321 h 2719086"/>
                  <a:gd name="connsiteX896" fmla="*/ 902822 w 1416191"/>
                  <a:gd name="connsiteY896" fmla="*/ 292443 h 2719086"/>
                  <a:gd name="connsiteX897" fmla="*/ 511953 w 1416191"/>
                  <a:gd name="connsiteY897" fmla="*/ 170651 h 2719086"/>
                  <a:gd name="connsiteX898" fmla="*/ 485046 w 1416191"/>
                  <a:gd name="connsiteY898" fmla="*/ 221634 h 2719086"/>
                  <a:gd name="connsiteX899" fmla="*/ 738544 w 1416191"/>
                  <a:gd name="connsiteY899" fmla="*/ 247125 h 2719086"/>
                  <a:gd name="connsiteX900" fmla="*/ 788111 w 1416191"/>
                  <a:gd name="connsiteY900" fmla="*/ 308022 h 2719086"/>
                  <a:gd name="connsiteX901" fmla="*/ 789527 w 1416191"/>
                  <a:gd name="connsiteY901" fmla="*/ 359004 h 2719086"/>
                  <a:gd name="connsiteX902" fmla="*/ 747041 w 1416191"/>
                  <a:gd name="connsiteY902" fmla="*/ 384496 h 2719086"/>
                  <a:gd name="connsiteX903" fmla="*/ 676231 w 1416191"/>
                  <a:gd name="connsiteY903" fmla="*/ 349091 h 2719086"/>
                  <a:gd name="connsiteX904" fmla="*/ 686145 w 1416191"/>
                  <a:gd name="connsiteY904" fmla="*/ 258455 h 2719086"/>
                  <a:gd name="connsiteX905" fmla="*/ 686145 w 1416191"/>
                  <a:gd name="connsiteY905" fmla="*/ 258455 h 2719086"/>
                  <a:gd name="connsiteX906" fmla="*/ 621000 w 1416191"/>
                  <a:gd name="connsiteY906" fmla="*/ 322183 h 2719086"/>
                  <a:gd name="connsiteX907" fmla="*/ 595509 w 1416191"/>
                  <a:gd name="connsiteY907" fmla="*/ 309438 h 2719086"/>
                  <a:gd name="connsiteX908" fmla="*/ 595509 w 1416191"/>
                  <a:gd name="connsiteY908" fmla="*/ 309438 h 2719086"/>
                  <a:gd name="connsiteX909" fmla="*/ 544526 w 1416191"/>
                  <a:gd name="connsiteY909" fmla="*/ 342010 h 2719086"/>
                  <a:gd name="connsiteX910" fmla="*/ 407155 w 1416191"/>
                  <a:gd name="connsiteY910" fmla="*/ 299524 h 2719086"/>
                  <a:gd name="connsiteX911" fmla="*/ 366086 w 1416191"/>
                  <a:gd name="connsiteY911" fmla="*/ 268368 h 2719086"/>
                  <a:gd name="connsiteX912" fmla="*/ 475132 w 1416191"/>
                  <a:gd name="connsiteY912" fmla="*/ 162154 h 2719086"/>
                  <a:gd name="connsiteX913" fmla="*/ 511953 w 1416191"/>
                  <a:gd name="connsiteY913" fmla="*/ 170651 h 2719086"/>
                  <a:gd name="connsiteX914" fmla="*/ 363253 w 1416191"/>
                  <a:gd name="connsiteY914" fmla="*/ 265536 h 2719086"/>
                  <a:gd name="connsiteX915" fmla="*/ 363253 w 1416191"/>
                  <a:gd name="connsiteY915" fmla="*/ 265536 h 2719086"/>
                  <a:gd name="connsiteX916" fmla="*/ 401490 w 1416191"/>
                  <a:gd name="connsiteY916" fmla="*/ 295276 h 2719086"/>
                  <a:gd name="connsiteX917" fmla="*/ 359005 w 1416191"/>
                  <a:gd name="connsiteY917" fmla="*/ 282530 h 2719086"/>
                  <a:gd name="connsiteX918" fmla="*/ 360421 w 1416191"/>
                  <a:gd name="connsiteY918" fmla="*/ 240045 h 2719086"/>
                  <a:gd name="connsiteX919" fmla="*/ 360421 w 1416191"/>
                  <a:gd name="connsiteY919" fmla="*/ 240045 h 2719086"/>
                  <a:gd name="connsiteX920" fmla="*/ 326432 w 1416191"/>
                  <a:gd name="connsiteY920" fmla="*/ 272617 h 2719086"/>
                  <a:gd name="connsiteX921" fmla="*/ 269785 w 1416191"/>
                  <a:gd name="connsiteY921" fmla="*/ 254206 h 2719086"/>
                  <a:gd name="connsiteX922" fmla="*/ 266952 w 1416191"/>
                  <a:gd name="connsiteY922" fmla="*/ 169235 h 2719086"/>
                  <a:gd name="connsiteX923" fmla="*/ 302357 w 1416191"/>
                  <a:gd name="connsiteY923" fmla="*/ 102674 h 2719086"/>
                  <a:gd name="connsiteX924" fmla="*/ 343426 w 1416191"/>
                  <a:gd name="connsiteY924" fmla="*/ 115419 h 2719086"/>
                  <a:gd name="connsiteX925" fmla="*/ 475132 w 1416191"/>
                  <a:gd name="connsiteY925" fmla="*/ 159321 h 2719086"/>
                  <a:gd name="connsiteX926" fmla="*/ 363253 w 1416191"/>
                  <a:gd name="connsiteY926" fmla="*/ 265536 h 2719086"/>
                  <a:gd name="connsiteX927" fmla="*/ 224466 w 1416191"/>
                  <a:gd name="connsiteY927" fmla="*/ 693226 h 2719086"/>
                  <a:gd name="connsiteX928" fmla="*/ 285363 w 1416191"/>
                  <a:gd name="connsiteY928" fmla="*/ 657821 h 2719086"/>
                  <a:gd name="connsiteX929" fmla="*/ 337762 w 1416191"/>
                  <a:gd name="connsiteY929" fmla="*/ 732879 h 2719086"/>
                  <a:gd name="connsiteX930" fmla="*/ 326432 w 1416191"/>
                  <a:gd name="connsiteY930" fmla="*/ 745624 h 2719086"/>
                  <a:gd name="connsiteX931" fmla="*/ 224466 w 1416191"/>
                  <a:gd name="connsiteY931" fmla="*/ 693226 h 2719086"/>
                  <a:gd name="connsiteX932" fmla="*/ 344843 w 1416191"/>
                  <a:gd name="connsiteY932" fmla="*/ 756954 h 2719086"/>
                  <a:gd name="connsiteX933" fmla="*/ 343426 w 1416191"/>
                  <a:gd name="connsiteY933" fmla="*/ 807937 h 2719086"/>
                  <a:gd name="connsiteX934" fmla="*/ 285363 w 1416191"/>
                  <a:gd name="connsiteY934" fmla="*/ 799440 h 2719086"/>
                  <a:gd name="connsiteX935" fmla="*/ 326432 w 1416191"/>
                  <a:gd name="connsiteY935" fmla="*/ 748457 h 2719086"/>
                  <a:gd name="connsiteX936" fmla="*/ 344843 w 1416191"/>
                  <a:gd name="connsiteY936" fmla="*/ 756954 h 2719086"/>
                  <a:gd name="connsiteX937" fmla="*/ 346259 w 1416191"/>
                  <a:gd name="connsiteY937" fmla="*/ 809353 h 2719086"/>
                  <a:gd name="connsiteX938" fmla="*/ 397242 w 1416191"/>
                  <a:gd name="connsiteY938" fmla="*/ 816434 h 2719086"/>
                  <a:gd name="connsiteX939" fmla="*/ 425566 w 1416191"/>
                  <a:gd name="connsiteY939" fmla="*/ 857503 h 2719086"/>
                  <a:gd name="connsiteX940" fmla="*/ 425566 w 1416191"/>
                  <a:gd name="connsiteY940" fmla="*/ 857503 h 2719086"/>
                  <a:gd name="connsiteX941" fmla="*/ 465219 w 1416191"/>
                  <a:gd name="connsiteY941" fmla="*/ 851839 h 2719086"/>
                  <a:gd name="connsiteX942" fmla="*/ 507705 w 1416191"/>
                  <a:gd name="connsiteY942" fmla="*/ 839093 h 2719086"/>
                  <a:gd name="connsiteX943" fmla="*/ 577098 w 1416191"/>
                  <a:gd name="connsiteY943" fmla="*/ 874498 h 2719086"/>
                  <a:gd name="connsiteX944" fmla="*/ 577098 w 1416191"/>
                  <a:gd name="connsiteY944" fmla="*/ 880163 h 2719086"/>
                  <a:gd name="connsiteX945" fmla="*/ 340594 w 1416191"/>
                  <a:gd name="connsiteY945" fmla="*/ 986377 h 2719086"/>
                  <a:gd name="connsiteX946" fmla="*/ 346259 w 1416191"/>
                  <a:gd name="connsiteY946" fmla="*/ 809353 h 2719086"/>
                  <a:gd name="connsiteX947" fmla="*/ 772532 w 1416191"/>
                  <a:gd name="connsiteY947" fmla="*/ 870249 h 2719086"/>
                  <a:gd name="connsiteX948" fmla="*/ 832012 w 1416191"/>
                  <a:gd name="connsiteY948" fmla="*/ 926897 h 2719086"/>
                  <a:gd name="connsiteX949" fmla="*/ 677648 w 1416191"/>
                  <a:gd name="connsiteY949" fmla="*/ 1017533 h 2719086"/>
                  <a:gd name="connsiteX950" fmla="*/ 557271 w 1416191"/>
                  <a:gd name="connsiteY950" fmla="*/ 1023198 h 2719086"/>
                  <a:gd name="connsiteX951" fmla="*/ 592676 w 1416191"/>
                  <a:gd name="connsiteY951" fmla="*/ 990626 h 2719086"/>
                  <a:gd name="connsiteX952" fmla="*/ 592676 w 1416191"/>
                  <a:gd name="connsiteY952" fmla="*/ 990626 h 2719086"/>
                  <a:gd name="connsiteX953" fmla="*/ 578514 w 1416191"/>
                  <a:gd name="connsiteY953" fmla="*/ 882995 h 2719086"/>
                  <a:gd name="connsiteX954" fmla="*/ 585595 w 1416191"/>
                  <a:gd name="connsiteY954" fmla="*/ 880163 h 2719086"/>
                  <a:gd name="connsiteX955" fmla="*/ 577098 w 1416191"/>
                  <a:gd name="connsiteY955" fmla="*/ 875914 h 2719086"/>
                  <a:gd name="connsiteX956" fmla="*/ 572850 w 1416191"/>
                  <a:gd name="connsiteY956" fmla="*/ 844758 h 2719086"/>
                  <a:gd name="connsiteX957" fmla="*/ 772532 w 1416191"/>
                  <a:gd name="connsiteY957" fmla="*/ 870249 h 2719086"/>
                  <a:gd name="connsiteX958" fmla="*/ 609670 w 1416191"/>
                  <a:gd name="connsiteY958" fmla="*/ 1208719 h 2719086"/>
                  <a:gd name="connsiteX959" fmla="*/ 547358 w 1416191"/>
                  <a:gd name="connsiteY959" fmla="*/ 1238459 h 2719086"/>
                  <a:gd name="connsiteX960" fmla="*/ 567185 w 1416191"/>
                  <a:gd name="connsiteY960" fmla="*/ 1195973 h 2719086"/>
                  <a:gd name="connsiteX961" fmla="*/ 609670 w 1416191"/>
                  <a:gd name="connsiteY961" fmla="*/ 1208719 h 2719086"/>
                  <a:gd name="connsiteX962" fmla="*/ 615335 w 1416191"/>
                  <a:gd name="connsiteY962" fmla="*/ 1208719 h 2719086"/>
                  <a:gd name="connsiteX963" fmla="*/ 615335 w 1416191"/>
                  <a:gd name="connsiteY963" fmla="*/ 1208719 h 2719086"/>
                  <a:gd name="connsiteX964" fmla="*/ 568601 w 1416191"/>
                  <a:gd name="connsiteY964" fmla="*/ 1194557 h 2719086"/>
                  <a:gd name="connsiteX965" fmla="*/ 621000 w 1416191"/>
                  <a:gd name="connsiteY965" fmla="*/ 1081262 h 2719086"/>
                  <a:gd name="connsiteX966" fmla="*/ 649324 w 1416191"/>
                  <a:gd name="connsiteY966" fmla="*/ 1156320 h 2719086"/>
                  <a:gd name="connsiteX967" fmla="*/ 618168 w 1416191"/>
                  <a:gd name="connsiteY967" fmla="*/ 1211551 h 2719086"/>
                  <a:gd name="connsiteX968" fmla="*/ 604006 w 1416191"/>
                  <a:gd name="connsiteY968" fmla="*/ 1292274 h 2719086"/>
                  <a:gd name="connsiteX969" fmla="*/ 523283 w 1416191"/>
                  <a:gd name="connsiteY969" fmla="*/ 1295107 h 2719086"/>
                  <a:gd name="connsiteX970" fmla="*/ 547358 w 1416191"/>
                  <a:gd name="connsiteY970" fmla="*/ 1241291 h 2719086"/>
                  <a:gd name="connsiteX971" fmla="*/ 615335 w 1416191"/>
                  <a:gd name="connsiteY971" fmla="*/ 1208719 h 2719086"/>
                  <a:gd name="connsiteX972" fmla="*/ 519034 w 1416191"/>
                  <a:gd name="connsiteY972" fmla="*/ 1295107 h 2719086"/>
                  <a:gd name="connsiteX973" fmla="*/ 445392 w 1416191"/>
                  <a:gd name="connsiteY973" fmla="*/ 1297939 h 2719086"/>
                  <a:gd name="connsiteX974" fmla="*/ 445392 w 1416191"/>
                  <a:gd name="connsiteY974" fmla="*/ 1297939 h 2719086"/>
                  <a:gd name="connsiteX975" fmla="*/ 500624 w 1416191"/>
                  <a:gd name="connsiteY975" fmla="*/ 1337592 h 2719086"/>
                  <a:gd name="connsiteX976" fmla="*/ 485046 w 1416191"/>
                  <a:gd name="connsiteY976" fmla="*/ 1371581 h 2719086"/>
                  <a:gd name="connsiteX977" fmla="*/ 408571 w 1416191"/>
                  <a:gd name="connsiteY977" fmla="*/ 1415483 h 2719086"/>
                  <a:gd name="connsiteX978" fmla="*/ 408571 w 1416191"/>
                  <a:gd name="connsiteY978" fmla="*/ 1415483 h 2719086"/>
                  <a:gd name="connsiteX979" fmla="*/ 456722 w 1416191"/>
                  <a:gd name="connsiteY979" fmla="*/ 1436726 h 2719086"/>
                  <a:gd name="connsiteX980" fmla="*/ 428398 w 1416191"/>
                  <a:gd name="connsiteY980" fmla="*/ 1499038 h 2719086"/>
                  <a:gd name="connsiteX981" fmla="*/ 330681 w 1416191"/>
                  <a:gd name="connsiteY981" fmla="*/ 1466465 h 2719086"/>
                  <a:gd name="connsiteX982" fmla="*/ 363253 w 1416191"/>
                  <a:gd name="connsiteY982" fmla="*/ 1334760 h 2719086"/>
                  <a:gd name="connsiteX983" fmla="*/ 443976 w 1416191"/>
                  <a:gd name="connsiteY983" fmla="*/ 1293690 h 2719086"/>
                  <a:gd name="connsiteX984" fmla="*/ 544526 w 1416191"/>
                  <a:gd name="connsiteY984" fmla="*/ 1244124 h 2719086"/>
                  <a:gd name="connsiteX985" fmla="*/ 519034 w 1416191"/>
                  <a:gd name="connsiteY985" fmla="*/ 1295107 h 2719086"/>
                  <a:gd name="connsiteX986" fmla="*/ 456722 w 1416191"/>
                  <a:gd name="connsiteY986" fmla="*/ 1642073 h 2719086"/>
                  <a:gd name="connsiteX987" fmla="*/ 482213 w 1416191"/>
                  <a:gd name="connsiteY987" fmla="*/ 1651987 h 2719086"/>
                  <a:gd name="connsiteX988" fmla="*/ 482213 w 1416191"/>
                  <a:gd name="connsiteY988" fmla="*/ 1651987 h 2719086"/>
                  <a:gd name="connsiteX989" fmla="*/ 541693 w 1416191"/>
                  <a:gd name="connsiteY989" fmla="*/ 1637825 h 2719086"/>
                  <a:gd name="connsiteX990" fmla="*/ 537445 w 1416191"/>
                  <a:gd name="connsiteY990" fmla="*/ 1664732 h 2719086"/>
                  <a:gd name="connsiteX991" fmla="*/ 502040 w 1416191"/>
                  <a:gd name="connsiteY991" fmla="*/ 1681727 h 2719086"/>
                  <a:gd name="connsiteX992" fmla="*/ 442560 w 1416191"/>
                  <a:gd name="connsiteY992" fmla="*/ 1650570 h 2719086"/>
                  <a:gd name="connsiteX993" fmla="*/ 456722 w 1416191"/>
                  <a:gd name="connsiteY993" fmla="*/ 1642073 h 2719086"/>
                  <a:gd name="connsiteX994" fmla="*/ 629497 w 1416191"/>
                  <a:gd name="connsiteY994" fmla="*/ 1707218 h 2719086"/>
                  <a:gd name="connsiteX995" fmla="*/ 629497 w 1416191"/>
                  <a:gd name="connsiteY995" fmla="*/ 1707218 h 2719086"/>
                  <a:gd name="connsiteX996" fmla="*/ 621000 w 1416191"/>
                  <a:gd name="connsiteY996" fmla="*/ 1708634 h 2719086"/>
                  <a:gd name="connsiteX997" fmla="*/ 599757 w 1416191"/>
                  <a:gd name="connsiteY997" fmla="*/ 1637825 h 2719086"/>
                  <a:gd name="connsiteX998" fmla="*/ 669150 w 1416191"/>
                  <a:gd name="connsiteY998" fmla="*/ 1606669 h 2719086"/>
                  <a:gd name="connsiteX999" fmla="*/ 710220 w 1416191"/>
                  <a:gd name="connsiteY999" fmla="*/ 1596755 h 2719086"/>
                  <a:gd name="connsiteX1000" fmla="*/ 849007 w 1416191"/>
                  <a:gd name="connsiteY1000" fmla="*/ 1643489 h 2719086"/>
                  <a:gd name="connsiteX1001" fmla="*/ 756954 w 1416191"/>
                  <a:gd name="connsiteY1001" fmla="*/ 1744039 h 2719086"/>
                  <a:gd name="connsiteX1002" fmla="*/ 720133 w 1416191"/>
                  <a:gd name="connsiteY1002" fmla="*/ 1617998 h 2719086"/>
                  <a:gd name="connsiteX1003" fmla="*/ 720133 w 1416191"/>
                  <a:gd name="connsiteY1003" fmla="*/ 1616582 h 2719086"/>
                  <a:gd name="connsiteX1004" fmla="*/ 705972 w 1416191"/>
                  <a:gd name="connsiteY1004" fmla="*/ 1846005 h 2719086"/>
                  <a:gd name="connsiteX1005" fmla="*/ 662069 w 1416191"/>
                  <a:gd name="connsiteY1005" fmla="*/ 1846005 h 2719086"/>
                  <a:gd name="connsiteX1006" fmla="*/ 629497 w 1416191"/>
                  <a:gd name="connsiteY1006" fmla="*/ 1736958 h 2719086"/>
                  <a:gd name="connsiteX1007" fmla="*/ 629497 w 1416191"/>
                  <a:gd name="connsiteY1007" fmla="*/ 1707218 h 2719086"/>
                  <a:gd name="connsiteX1008" fmla="*/ 1060019 w 1416191"/>
                  <a:gd name="connsiteY1008" fmla="*/ 1140742 h 2719086"/>
                  <a:gd name="connsiteX1009" fmla="*/ 969383 w 1416191"/>
                  <a:gd name="connsiteY1009" fmla="*/ 1054354 h 2719086"/>
                  <a:gd name="connsiteX1010" fmla="*/ 1016117 w 1416191"/>
                  <a:gd name="connsiteY1010" fmla="*/ 1006203 h 2719086"/>
                  <a:gd name="connsiteX1011" fmla="*/ 1081262 w 1416191"/>
                  <a:gd name="connsiteY1011" fmla="*/ 1003371 h 2719086"/>
                  <a:gd name="connsiteX1012" fmla="*/ 1081262 w 1416191"/>
                  <a:gd name="connsiteY1012" fmla="*/ 1024614 h 2719086"/>
                  <a:gd name="connsiteX1013" fmla="*/ 1081262 w 1416191"/>
                  <a:gd name="connsiteY1013" fmla="*/ 1024614 h 2719086"/>
                  <a:gd name="connsiteX1014" fmla="*/ 1096840 w 1416191"/>
                  <a:gd name="connsiteY1014" fmla="*/ 1001955 h 2719086"/>
                  <a:gd name="connsiteX1015" fmla="*/ 1286610 w 1416191"/>
                  <a:gd name="connsiteY1015" fmla="*/ 994874 h 2719086"/>
                  <a:gd name="connsiteX1016" fmla="*/ 1256870 w 1416191"/>
                  <a:gd name="connsiteY1016" fmla="*/ 1153488 h 2719086"/>
                  <a:gd name="connsiteX1017" fmla="*/ 1060019 w 1416191"/>
                  <a:gd name="connsiteY1017" fmla="*/ 1140742 h 2719086"/>
                  <a:gd name="connsiteX1018" fmla="*/ 1079846 w 1416191"/>
                  <a:gd name="connsiteY1018" fmla="*/ 667734 h 2719086"/>
                  <a:gd name="connsiteX1019" fmla="*/ 1079846 w 1416191"/>
                  <a:gd name="connsiteY1019" fmla="*/ 680480 h 2719086"/>
                  <a:gd name="connsiteX1020" fmla="*/ 1065684 w 1416191"/>
                  <a:gd name="connsiteY1020" fmla="*/ 681896 h 2719086"/>
                  <a:gd name="connsiteX1021" fmla="*/ 1068517 w 1416191"/>
                  <a:gd name="connsiteY1021" fmla="*/ 671983 h 2719086"/>
                  <a:gd name="connsiteX1022" fmla="*/ 1079846 w 1416191"/>
                  <a:gd name="connsiteY1022" fmla="*/ 667734 h 2719086"/>
                  <a:gd name="connsiteX1023" fmla="*/ 1023198 w 1416191"/>
                  <a:gd name="connsiteY1023" fmla="*/ 683312 h 2719086"/>
                  <a:gd name="connsiteX1024" fmla="*/ 1065684 w 1416191"/>
                  <a:gd name="connsiteY1024" fmla="*/ 670566 h 2719086"/>
                  <a:gd name="connsiteX1025" fmla="*/ 1062852 w 1416191"/>
                  <a:gd name="connsiteY1025" fmla="*/ 680480 h 2719086"/>
                  <a:gd name="connsiteX1026" fmla="*/ 1023198 w 1416191"/>
                  <a:gd name="connsiteY1026" fmla="*/ 683312 h 2719086"/>
                  <a:gd name="connsiteX1027" fmla="*/ 344843 w 1416191"/>
                  <a:gd name="connsiteY1027" fmla="*/ 16286 h 2719086"/>
                  <a:gd name="connsiteX1028" fmla="*/ 300941 w 1416191"/>
                  <a:gd name="connsiteY1028" fmla="*/ 99841 h 2719086"/>
                  <a:gd name="connsiteX1029" fmla="*/ 264120 w 1416191"/>
                  <a:gd name="connsiteY1029" fmla="*/ 88512 h 2719086"/>
                  <a:gd name="connsiteX1030" fmla="*/ 262704 w 1416191"/>
                  <a:gd name="connsiteY1030" fmla="*/ 60188 h 2719086"/>
                  <a:gd name="connsiteX1031" fmla="*/ 344843 w 1416191"/>
                  <a:gd name="connsiteY1031" fmla="*/ 16286 h 2719086"/>
                  <a:gd name="connsiteX1032" fmla="*/ 126749 w 1416191"/>
                  <a:gd name="connsiteY1032" fmla="*/ 426981 h 2719086"/>
                  <a:gd name="connsiteX1033" fmla="*/ 92761 w 1416191"/>
                  <a:gd name="connsiteY1033" fmla="*/ 492126 h 2719086"/>
                  <a:gd name="connsiteX1034" fmla="*/ 140911 w 1416191"/>
                  <a:gd name="connsiteY1034" fmla="*/ 446808 h 2719086"/>
                  <a:gd name="connsiteX1035" fmla="*/ 184813 w 1416191"/>
                  <a:gd name="connsiteY1035" fmla="*/ 509121 h 2719086"/>
                  <a:gd name="connsiteX1036" fmla="*/ 12038 w 1416191"/>
                  <a:gd name="connsiteY1036" fmla="*/ 625248 h 2719086"/>
                  <a:gd name="connsiteX1037" fmla="*/ 99842 w 1416191"/>
                  <a:gd name="connsiteY1037" fmla="*/ 385912 h 2719086"/>
                  <a:gd name="connsiteX1038" fmla="*/ 126749 w 1416191"/>
                  <a:gd name="connsiteY1038" fmla="*/ 426981 h 2719086"/>
                  <a:gd name="connsiteX1039" fmla="*/ 230131 w 1416191"/>
                  <a:gd name="connsiteY1039" fmla="*/ 360421 h 2719086"/>
                  <a:gd name="connsiteX1040" fmla="*/ 139495 w 1416191"/>
                  <a:gd name="connsiteY1040" fmla="*/ 443976 h 2719086"/>
                  <a:gd name="connsiteX1041" fmla="*/ 128165 w 1416191"/>
                  <a:gd name="connsiteY1041" fmla="*/ 426981 h 2719086"/>
                  <a:gd name="connsiteX1042" fmla="*/ 183397 w 1416191"/>
                  <a:gd name="connsiteY1042" fmla="*/ 322183 h 2719086"/>
                  <a:gd name="connsiteX1043" fmla="*/ 230131 w 1416191"/>
                  <a:gd name="connsiteY1043" fmla="*/ 360421 h 2719086"/>
                  <a:gd name="connsiteX1044" fmla="*/ 197559 w 1416191"/>
                  <a:gd name="connsiteY1044" fmla="*/ 293860 h 2719086"/>
                  <a:gd name="connsiteX1045" fmla="*/ 184813 w 1416191"/>
                  <a:gd name="connsiteY1045" fmla="*/ 319351 h 2719086"/>
                  <a:gd name="connsiteX1046" fmla="*/ 128165 w 1416191"/>
                  <a:gd name="connsiteY1046" fmla="*/ 272617 h 2719086"/>
                  <a:gd name="connsiteX1047" fmla="*/ 197559 w 1416191"/>
                  <a:gd name="connsiteY1047" fmla="*/ 293860 h 2719086"/>
                  <a:gd name="connsiteX1048" fmla="*/ 139495 w 1416191"/>
                  <a:gd name="connsiteY1048" fmla="*/ 445392 h 2719086"/>
                  <a:gd name="connsiteX1049" fmla="*/ 99842 w 1416191"/>
                  <a:gd name="connsiteY1049" fmla="*/ 482213 h 2719086"/>
                  <a:gd name="connsiteX1050" fmla="*/ 128165 w 1416191"/>
                  <a:gd name="connsiteY1050" fmla="*/ 429814 h 2719086"/>
                  <a:gd name="connsiteX1051" fmla="*/ 139495 w 1416191"/>
                  <a:gd name="connsiteY1051" fmla="*/ 445392 h 2719086"/>
                  <a:gd name="connsiteX1052" fmla="*/ 469468 w 1416191"/>
                  <a:gd name="connsiteY1052" fmla="*/ 1926727 h 2719086"/>
                  <a:gd name="connsiteX1053" fmla="*/ 509121 w 1416191"/>
                  <a:gd name="connsiteY1053" fmla="*/ 1829010 h 2719086"/>
                  <a:gd name="connsiteX1054" fmla="*/ 527531 w 1416191"/>
                  <a:gd name="connsiteY1054" fmla="*/ 1724212 h 2719086"/>
                  <a:gd name="connsiteX1055" fmla="*/ 618168 w 1416191"/>
                  <a:gd name="connsiteY1055" fmla="*/ 1708634 h 2719086"/>
                  <a:gd name="connsiteX1056" fmla="*/ 625249 w 1416191"/>
                  <a:gd name="connsiteY1056" fmla="*/ 1734126 h 2719086"/>
                  <a:gd name="connsiteX1057" fmla="*/ 623832 w 1416191"/>
                  <a:gd name="connsiteY1057" fmla="*/ 1843172 h 2719086"/>
                  <a:gd name="connsiteX1058" fmla="*/ 558688 w 1416191"/>
                  <a:gd name="connsiteY1058" fmla="*/ 1843172 h 2719086"/>
                  <a:gd name="connsiteX1059" fmla="*/ 558688 w 1416191"/>
                  <a:gd name="connsiteY1059" fmla="*/ 1843172 h 2719086"/>
                  <a:gd name="connsiteX1060" fmla="*/ 545942 w 1416191"/>
                  <a:gd name="connsiteY1060" fmla="*/ 1930976 h 2719086"/>
                  <a:gd name="connsiteX1061" fmla="*/ 469468 w 1416191"/>
                  <a:gd name="connsiteY1061" fmla="*/ 1926727 h 2719086"/>
                  <a:gd name="connsiteX1062" fmla="*/ 547358 w 1416191"/>
                  <a:gd name="connsiteY1062" fmla="*/ 1933808 h 2719086"/>
                  <a:gd name="connsiteX1063" fmla="*/ 533196 w 1416191"/>
                  <a:gd name="connsiteY1063" fmla="*/ 2025861 h 2719086"/>
                  <a:gd name="connsiteX1064" fmla="*/ 448225 w 1416191"/>
                  <a:gd name="connsiteY1064" fmla="*/ 1974878 h 2719086"/>
                  <a:gd name="connsiteX1065" fmla="*/ 466635 w 1416191"/>
                  <a:gd name="connsiteY1065" fmla="*/ 1929560 h 2719086"/>
                  <a:gd name="connsiteX1066" fmla="*/ 547358 w 1416191"/>
                  <a:gd name="connsiteY1066" fmla="*/ 1933808 h 2719086"/>
                  <a:gd name="connsiteX1067" fmla="*/ 533196 w 1416191"/>
                  <a:gd name="connsiteY1067" fmla="*/ 2027277 h 2719086"/>
                  <a:gd name="connsiteX1068" fmla="*/ 533196 w 1416191"/>
                  <a:gd name="connsiteY1068" fmla="*/ 2027277 h 2719086"/>
                  <a:gd name="connsiteX1069" fmla="*/ 432647 w 1416191"/>
                  <a:gd name="connsiteY1069" fmla="*/ 2014531 h 2719086"/>
                  <a:gd name="connsiteX1070" fmla="*/ 448225 w 1416191"/>
                  <a:gd name="connsiteY1070" fmla="*/ 1976294 h 2719086"/>
                  <a:gd name="connsiteX1071" fmla="*/ 533196 w 1416191"/>
                  <a:gd name="connsiteY1071" fmla="*/ 2027277 h 2719086"/>
                  <a:gd name="connsiteX1072" fmla="*/ 313687 w 1416191"/>
                  <a:gd name="connsiteY1072" fmla="*/ 2255284 h 2719086"/>
                  <a:gd name="connsiteX1073" fmla="*/ 347675 w 1416191"/>
                  <a:gd name="connsiteY1073" fmla="*/ 2221295 h 2719086"/>
                  <a:gd name="connsiteX1074" fmla="*/ 344843 w 1416191"/>
                  <a:gd name="connsiteY1074" fmla="*/ 2269446 h 2719086"/>
                  <a:gd name="connsiteX1075" fmla="*/ 313687 w 1416191"/>
                  <a:gd name="connsiteY1075" fmla="*/ 2255284 h 2719086"/>
                  <a:gd name="connsiteX1076" fmla="*/ 288195 w 1416191"/>
                  <a:gd name="connsiteY1076" fmla="*/ 2428059 h 2719086"/>
                  <a:gd name="connsiteX1077" fmla="*/ 257039 w 1416191"/>
                  <a:gd name="connsiteY1077" fmla="*/ 2323261 h 2719086"/>
                  <a:gd name="connsiteX1078" fmla="*/ 343426 w 1416191"/>
                  <a:gd name="connsiteY1078" fmla="*/ 2314764 h 2719086"/>
                  <a:gd name="connsiteX1079" fmla="*/ 339178 w 1416191"/>
                  <a:gd name="connsiteY1079" fmla="*/ 2379909 h 2719086"/>
                  <a:gd name="connsiteX1080" fmla="*/ 288195 w 1416191"/>
                  <a:gd name="connsiteY1080" fmla="*/ 2428059 h 2719086"/>
                  <a:gd name="connsiteX1081" fmla="*/ 289611 w 1416191"/>
                  <a:gd name="connsiteY1081" fmla="*/ 2433724 h 2719086"/>
                  <a:gd name="connsiteX1082" fmla="*/ 288195 w 1416191"/>
                  <a:gd name="connsiteY1082" fmla="*/ 2430892 h 2719086"/>
                  <a:gd name="connsiteX1083" fmla="*/ 339178 w 1416191"/>
                  <a:gd name="connsiteY1083" fmla="*/ 2384157 h 2719086"/>
                  <a:gd name="connsiteX1084" fmla="*/ 336345 w 1416191"/>
                  <a:gd name="connsiteY1084" fmla="*/ 2433724 h 2719086"/>
                  <a:gd name="connsiteX1085" fmla="*/ 289611 w 1416191"/>
                  <a:gd name="connsiteY1085" fmla="*/ 2433724 h 2719086"/>
                  <a:gd name="connsiteX1086" fmla="*/ 282530 w 1416191"/>
                  <a:gd name="connsiteY1086" fmla="*/ 2436556 h 2719086"/>
                  <a:gd name="connsiteX1087" fmla="*/ 288195 w 1416191"/>
                  <a:gd name="connsiteY1087" fmla="*/ 2436556 h 2719086"/>
                  <a:gd name="connsiteX1088" fmla="*/ 302357 w 1416191"/>
                  <a:gd name="connsiteY1088" fmla="*/ 2486123 h 2719086"/>
                  <a:gd name="connsiteX1089" fmla="*/ 298108 w 1416191"/>
                  <a:gd name="connsiteY1089" fmla="*/ 2494620 h 2719086"/>
                  <a:gd name="connsiteX1090" fmla="*/ 281114 w 1416191"/>
                  <a:gd name="connsiteY1090" fmla="*/ 2439389 h 2719086"/>
                  <a:gd name="connsiteX1091" fmla="*/ 282530 w 1416191"/>
                  <a:gd name="connsiteY1091" fmla="*/ 2436556 h 2719086"/>
                  <a:gd name="connsiteX1092" fmla="*/ 285363 w 1416191"/>
                  <a:gd name="connsiteY1092" fmla="*/ 2435140 h 2719086"/>
                  <a:gd name="connsiteX1093" fmla="*/ 288195 w 1416191"/>
                  <a:gd name="connsiteY1093" fmla="*/ 2432308 h 2719086"/>
                  <a:gd name="connsiteX1094" fmla="*/ 289611 w 1416191"/>
                  <a:gd name="connsiteY1094" fmla="*/ 2435140 h 2719086"/>
                  <a:gd name="connsiteX1095" fmla="*/ 285363 w 1416191"/>
                  <a:gd name="connsiteY1095" fmla="*/ 2435140 h 2719086"/>
                  <a:gd name="connsiteX1096" fmla="*/ 312270 w 1416191"/>
                  <a:gd name="connsiteY1096" fmla="*/ 2256700 h 2719086"/>
                  <a:gd name="connsiteX1097" fmla="*/ 344843 w 1416191"/>
                  <a:gd name="connsiteY1097" fmla="*/ 2270862 h 2719086"/>
                  <a:gd name="connsiteX1098" fmla="*/ 342010 w 1416191"/>
                  <a:gd name="connsiteY1098" fmla="*/ 2311932 h 2719086"/>
                  <a:gd name="connsiteX1099" fmla="*/ 252790 w 1416191"/>
                  <a:gd name="connsiteY1099" fmla="*/ 2320429 h 2719086"/>
                  <a:gd name="connsiteX1100" fmla="*/ 252790 w 1416191"/>
                  <a:gd name="connsiteY1100" fmla="*/ 2320429 h 2719086"/>
                  <a:gd name="connsiteX1101" fmla="*/ 285363 w 1416191"/>
                  <a:gd name="connsiteY1101" fmla="*/ 2428059 h 2719086"/>
                  <a:gd name="connsiteX1102" fmla="*/ 281114 w 1416191"/>
                  <a:gd name="connsiteY1102" fmla="*/ 2432308 h 2719086"/>
                  <a:gd name="connsiteX1103" fmla="*/ 278282 w 1416191"/>
                  <a:gd name="connsiteY1103" fmla="*/ 2432308 h 2719086"/>
                  <a:gd name="connsiteX1104" fmla="*/ 242877 w 1416191"/>
                  <a:gd name="connsiteY1104" fmla="*/ 2321845 h 2719086"/>
                  <a:gd name="connsiteX1105" fmla="*/ 312270 w 1416191"/>
                  <a:gd name="connsiteY1105" fmla="*/ 2256700 h 2719086"/>
                  <a:gd name="connsiteX1106" fmla="*/ 350507 w 1416191"/>
                  <a:gd name="connsiteY1106" fmla="*/ 2217047 h 2719086"/>
                  <a:gd name="connsiteX1107" fmla="*/ 350507 w 1416191"/>
                  <a:gd name="connsiteY1107" fmla="*/ 2215631 h 2719086"/>
                  <a:gd name="connsiteX1108" fmla="*/ 353340 w 1416191"/>
                  <a:gd name="connsiteY1108" fmla="*/ 2214215 h 2719086"/>
                  <a:gd name="connsiteX1109" fmla="*/ 350507 w 1416191"/>
                  <a:gd name="connsiteY1109" fmla="*/ 2217047 h 2719086"/>
                  <a:gd name="connsiteX1110" fmla="*/ 303773 w 1416191"/>
                  <a:gd name="connsiteY1110" fmla="*/ 2057017 h 2719086"/>
                  <a:gd name="connsiteX1111" fmla="*/ 308022 w 1416191"/>
                  <a:gd name="connsiteY1111" fmla="*/ 2042855 h 2719086"/>
                  <a:gd name="connsiteX1112" fmla="*/ 308022 w 1416191"/>
                  <a:gd name="connsiteY1112" fmla="*/ 2042855 h 2719086"/>
                  <a:gd name="connsiteX1113" fmla="*/ 292444 w 1416191"/>
                  <a:gd name="connsiteY1113" fmla="*/ 1998953 h 2719086"/>
                  <a:gd name="connsiteX1114" fmla="*/ 346259 w 1416191"/>
                  <a:gd name="connsiteY1114" fmla="*/ 2006034 h 2719086"/>
                  <a:gd name="connsiteX1115" fmla="*/ 347675 w 1416191"/>
                  <a:gd name="connsiteY1115" fmla="*/ 2102336 h 2719086"/>
                  <a:gd name="connsiteX1116" fmla="*/ 303773 w 1416191"/>
                  <a:gd name="connsiteY1116" fmla="*/ 2057017 h 2719086"/>
                  <a:gd name="connsiteX1117" fmla="*/ 404323 w 1416191"/>
                  <a:gd name="connsiteY1117" fmla="*/ 2010283 h 2719086"/>
                  <a:gd name="connsiteX1118" fmla="*/ 401490 w 1416191"/>
                  <a:gd name="connsiteY1118" fmla="*/ 1947970 h 2719086"/>
                  <a:gd name="connsiteX1119" fmla="*/ 446808 w 1416191"/>
                  <a:gd name="connsiteY1119" fmla="*/ 1974878 h 2719086"/>
                  <a:gd name="connsiteX1120" fmla="*/ 431230 w 1416191"/>
                  <a:gd name="connsiteY1120" fmla="*/ 2014531 h 2719086"/>
                  <a:gd name="connsiteX1121" fmla="*/ 404323 w 1416191"/>
                  <a:gd name="connsiteY1121" fmla="*/ 2010283 h 2719086"/>
                  <a:gd name="connsiteX1122" fmla="*/ 408571 w 1416191"/>
                  <a:gd name="connsiteY1122" fmla="*/ 2163232 h 2719086"/>
                  <a:gd name="connsiteX1123" fmla="*/ 408571 w 1416191"/>
                  <a:gd name="connsiteY1123" fmla="*/ 2163232 h 2719086"/>
                  <a:gd name="connsiteX1124" fmla="*/ 408571 w 1416191"/>
                  <a:gd name="connsiteY1124" fmla="*/ 2163232 h 2719086"/>
                  <a:gd name="connsiteX1125" fmla="*/ 408571 w 1416191"/>
                  <a:gd name="connsiteY1125" fmla="*/ 2163232 h 2719086"/>
                  <a:gd name="connsiteX1126" fmla="*/ 363253 w 1416191"/>
                  <a:gd name="connsiteY1126" fmla="*/ 2207134 h 2719086"/>
                  <a:gd name="connsiteX1127" fmla="*/ 407155 w 1416191"/>
                  <a:gd name="connsiteY1127" fmla="*/ 2163232 h 2719086"/>
                  <a:gd name="connsiteX1128" fmla="*/ 408571 w 1416191"/>
                  <a:gd name="connsiteY1128" fmla="*/ 2164648 h 2719086"/>
                  <a:gd name="connsiteX1129" fmla="*/ 409988 w 1416191"/>
                  <a:gd name="connsiteY1129" fmla="*/ 2184474 h 2719086"/>
                  <a:gd name="connsiteX1130" fmla="*/ 363253 w 1416191"/>
                  <a:gd name="connsiteY1130" fmla="*/ 2207134 h 2719086"/>
                  <a:gd name="connsiteX1131" fmla="*/ 405739 w 1416191"/>
                  <a:gd name="connsiteY1131" fmla="*/ 2163232 h 2719086"/>
                  <a:gd name="connsiteX1132" fmla="*/ 357588 w 1416191"/>
                  <a:gd name="connsiteY1132" fmla="*/ 2211382 h 2719086"/>
                  <a:gd name="connsiteX1133" fmla="*/ 350507 w 1416191"/>
                  <a:gd name="connsiteY1133" fmla="*/ 2214215 h 2719086"/>
                  <a:gd name="connsiteX1134" fmla="*/ 381664 w 1416191"/>
                  <a:gd name="connsiteY1134" fmla="*/ 2139156 h 2719086"/>
                  <a:gd name="connsiteX1135" fmla="*/ 405739 w 1416191"/>
                  <a:gd name="connsiteY1135" fmla="*/ 2163232 h 2719086"/>
                  <a:gd name="connsiteX1136" fmla="*/ 402907 w 1416191"/>
                  <a:gd name="connsiteY1136" fmla="*/ 2013115 h 2719086"/>
                  <a:gd name="connsiteX1137" fmla="*/ 405739 w 1416191"/>
                  <a:gd name="connsiteY1137" fmla="*/ 2078260 h 2719086"/>
                  <a:gd name="connsiteX1138" fmla="*/ 381664 w 1416191"/>
                  <a:gd name="connsiteY1138" fmla="*/ 2134908 h 2719086"/>
                  <a:gd name="connsiteX1139" fmla="*/ 350507 w 1416191"/>
                  <a:gd name="connsiteY1139" fmla="*/ 2103751 h 2719086"/>
                  <a:gd name="connsiteX1140" fmla="*/ 349091 w 1416191"/>
                  <a:gd name="connsiteY1140" fmla="*/ 2006034 h 2719086"/>
                  <a:gd name="connsiteX1141" fmla="*/ 402907 w 1416191"/>
                  <a:gd name="connsiteY1141" fmla="*/ 2013115 h 2719086"/>
                  <a:gd name="connsiteX1142" fmla="*/ 407155 w 1416191"/>
                  <a:gd name="connsiteY1142" fmla="*/ 2160399 h 2719086"/>
                  <a:gd name="connsiteX1143" fmla="*/ 383080 w 1416191"/>
                  <a:gd name="connsiteY1143" fmla="*/ 2136324 h 2719086"/>
                  <a:gd name="connsiteX1144" fmla="*/ 405739 w 1416191"/>
                  <a:gd name="connsiteY1144" fmla="*/ 2082508 h 2719086"/>
                  <a:gd name="connsiteX1145" fmla="*/ 407155 w 1416191"/>
                  <a:gd name="connsiteY1145" fmla="*/ 2160399 h 2719086"/>
                  <a:gd name="connsiteX1146" fmla="*/ 407155 w 1416191"/>
                  <a:gd name="connsiteY1146" fmla="*/ 2160399 h 2719086"/>
                  <a:gd name="connsiteX1147" fmla="*/ 429814 w 1416191"/>
                  <a:gd name="connsiteY1147" fmla="*/ 2015948 h 2719086"/>
                  <a:gd name="connsiteX1148" fmla="*/ 405739 w 1416191"/>
                  <a:gd name="connsiteY1148" fmla="*/ 2072595 h 2719086"/>
                  <a:gd name="connsiteX1149" fmla="*/ 402907 w 1416191"/>
                  <a:gd name="connsiteY1149" fmla="*/ 2011699 h 2719086"/>
                  <a:gd name="connsiteX1150" fmla="*/ 429814 w 1416191"/>
                  <a:gd name="connsiteY1150" fmla="*/ 2015948 h 2719086"/>
                  <a:gd name="connsiteX1151" fmla="*/ 400074 w 1416191"/>
                  <a:gd name="connsiteY1151" fmla="*/ 1945138 h 2719086"/>
                  <a:gd name="connsiteX1152" fmla="*/ 400074 w 1416191"/>
                  <a:gd name="connsiteY1152" fmla="*/ 1945138 h 2719086"/>
                  <a:gd name="connsiteX1153" fmla="*/ 402907 w 1416191"/>
                  <a:gd name="connsiteY1153" fmla="*/ 2011699 h 2719086"/>
                  <a:gd name="connsiteX1154" fmla="*/ 349091 w 1416191"/>
                  <a:gd name="connsiteY1154" fmla="*/ 2004618 h 2719086"/>
                  <a:gd name="connsiteX1155" fmla="*/ 347675 w 1416191"/>
                  <a:gd name="connsiteY1155" fmla="*/ 1923895 h 2719086"/>
                  <a:gd name="connsiteX1156" fmla="*/ 466635 w 1416191"/>
                  <a:gd name="connsiteY1156" fmla="*/ 1929560 h 2719086"/>
                  <a:gd name="connsiteX1157" fmla="*/ 448225 w 1416191"/>
                  <a:gd name="connsiteY1157" fmla="*/ 1973462 h 2719086"/>
                  <a:gd name="connsiteX1158" fmla="*/ 400074 w 1416191"/>
                  <a:gd name="connsiteY1158" fmla="*/ 1945138 h 2719086"/>
                  <a:gd name="connsiteX1159" fmla="*/ 347675 w 1416191"/>
                  <a:gd name="connsiteY1159" fmla="*/ 2103751 h 2719086"/>
                  <a:gd name="connsiteX1160" fmla="*/ 349091 w 1416191"/>
                  <a:gd name="connsiteY1160" fmla="*/ 2214215 h 2719086"/>
                  <a:gd name="connsiteX1161" fmla="*/ 349091 w 1416191"/>
                  <a:gd name="connsiteY1161" fmla="*/ 2214215 h 2719086"/>
                  <a:gd name="connsiteX1162" fmla="*/ 349091 w 1416191"/>
                  <a:gd name="connsiteY1162" fmla="*/ 2218463 h 2719086"/>
                  <a:gd name="connsiteX1163" fmla="*/ 312270 w 1416191"/>
                  <a:gd name="connsiteY1163" fmla="*/ 2253868 h 2719086"/>
                  <a:gd name="connsiteX1164" fmla="*/ 259871 w 1416191"/>
                  <a:gd name="connsiteY1164" fmla="*/ 2229793 h 2719086"/>
                  <a:gd name="connsiteX1165" fmla="*/ 303773 w 1416191"/>
                  <a:gd name="connsiteY1165" fmla="*/ 2058433 h 2719086"/>
                  <a:gd name="connsiteX1166" fmla="*/ 347675 w 1416191"/>
                  <a:gd name="connsiteY1166" fmla="*/ 2103751 h 2719086"/>
                  <a:gd name="connsiteX1167" fmla="*/ 380247 w 1416191"/>
                  <a:gd name="connsiteY1167" fmla="*/ 2137740 h 2719086"/>
                  <a:gd name="connsiteX1168" fmla="*/ 350507 w 1416191"/>
                  <a:gd name="connsiteY1168" fmla="*/ 2208550 h 2719086"/>
                  <a:gd name="connsiteX1169" fmla="*/ 349091 w 1416191"/>
                  <a:gd name="connsiteY1169" fmla="*/ 2106584 h 2719086"/>
                  <a:gd name="connsiteX1170" fmla="*/ 380247 w 1416191"/>
                  <a:gd name="connsiteY1170" fmla="*/ 2137740 h 2719086"/>
                  <a:gd name="connsiteX1171" fmla="*/ 507705 w 1416191"/>
                  <a:gd name="connsiteY1171" fmla="*/ 1829010 h 2719086"/>
                  <a:gd name="connsiteX1172" fmla="*/ 466635 w 1416191"/>
                  <a:gd name="connsiteY1172" fmla="*/ 1926727 h 2719086"/>
                  <a:gd name="connsiteX1173" fmla="*/ 346259 w 1416191"/>
                  <a:gd name="connsiteY1173" fmla="*/ 1921063 h 2719086"/>
                  <a:gd name="connsiteX1174" fmla="*/ 344843 w 1416191"/>
                  <a:gd name="connsiteY1174" fmla="*/ 1756785 h 2719086"/>
                  <a:gd name="connsiteX1175" fmla="*/ 526115 w 1416191"/>
                  <a:gd name="connsiteY1175" fmla="*/ 1727045 h 2719086"/>
                  <a:gd name="connsiteX1176" fmla="*/ 507705 w 1416191"/>
                  <a:gd name="connsiteY1176" fmla="*/ 1829010 h 2719086"/>
                  <a:gd name="connsiteX1177" fmla="*/ 344843 w 1416191"/>
                  <a:gd name="connsiteY1177" fmla="*/ 1922479 h 2719086"/>
                  <a:gd name="connsiteX1178" fmla="*/ 346259 w 1416191"/>
                  <a:gd name="connsiteY1178" fmla="*/ 2003202 h 2719086"/>
                  <a:gd name="connsiteX1179" fmla="*/ 291027 w 1416191"/>
                  <a:gd name="connsiteY1179" fmla="*/ 1996121 h 2719086"/>
                  <a:gd name="connsiteX1180" fmla="*/ 264120 w 1416191"/>
                  <a:gd name="connsiteY1180" fmla="*/ 1918231 h 2719086"/>
                  <a:gd name="connsiteX1181" fmla="*/ 344843 w 1416191"/>
                  <a:gd name="connsiteY1181" fmla="*/ 1922479 h 2719086"/>
                  <a:gd name="connsiteX1182" fmla="*/ 289611 w 1416191"/>
                  <a:gd name="connsiteY1182" fmla="*/ 1997537 h 2719086"/>
                  <a:gd name="connsiteX1183" fmla="*/ 305189 w 1416191"/>
                  <a:gd name="connsiteY1183" fmla="*/ 2042855 h 2719086"/>
                  <a:gd name="connsiteX1184" fmla="*/ 302357 w 1416191"/>
                  <a:gd name="connsiteY1184" fmla="*/ 2055601 h 2719086"/>
                  <a:gd name="connsiteX1185" fmla="*/ 238628 w 1416191"/>
                  <a:gd name="connsiteY1185" fmla="*/ 1991872 h 2719086"/>
                  <a:gd name="connsiteX1186" fmla="*/ 289611 w 1416191"/>
                  <a:gd name="connsiteY1186" fmla="*/ 1997537 h 2719086"/>
                  <a:gd name="connsiteX1187" fmla="*/ 350507 w 1416191"/>
                  <a:gd name="connsiteY1187" fmla="*/ 2219879 h 2719086"/>
                  <a:gd name="connsiteX1188" fmla="*/ 359005 w 1416191"/>
                  <a:gd name="connsiteY1188" fmla="*/ 2211382 h 2719086"/>
                  <a:gd name="connsiteX1189" fmla="*/ 409988 w 1416191"/>
                  <a:gd name="connsiteY1189" fmla="*/ 2185891 h 2719086"/>
                  <a:gd name="connsiteX1190" fmla="*/ 414236 w 1416191"/>
                  <a:gd name="connsiteY1190" fmla="*/ 2299186 h 2719086"/>
                  <a:gd name="connsiteX1191" fmla="*/ 349091 w 1416191"/>
                  <a:gd name="connsiteY1191" fmla="*/ 2269446 h 2719086"/>
                  <a:gd name="connsiteX1192" fmla="*/ 350507 w 1416191"/>
                  <a:gd name="connsiteY1192" fmla="*/ 2219879 h 2719086"/>
                  <a:gd name="connsiteX1193" fmla="*/ 531780 w 1416191"/>
                  <a:gd name="connsiteY1193" fmla="*/ 2037191 h 2719086"/>
                  <a:gd name="connsiteX1194" fmla="*/ 409988 w 1416191"/>
                  <a:gd name="connsiteY1194" fmla="*/ 2158983 h 2719086"/>
                  <a:gd name="connsiteX1195" fmla="*/ 407155 w 1416191"/>
                  <a:gd name="connsiteY1195" fmla="*/ 2079676 h 2719086"/>
                  <a:gd name="connsiteX1196" fmla="*/ 432647 w 1416191"/>
                  <a:gd name="connsiteY1196" fmla="*/ 2018780 h 2719086"/>
                  <a:gd name="connsiteX1197" fmla="*/ 533196 w 1416191"/>
                  <a:gd name="connsiteY1197" fmla="*/ 2031526 h 2719086"/>
                  <a:gd name="connsiteX1198" fmla="*/ 531780 w 1416191"/>
                  <a:gd name="connsiteY1198" fmla="*/ 2037191 h 2719086"/>
                  <a:gd name="connsiteX1199" fmla="*/ 298108 w 1416191"/>
                  <a:gd name="connsiteY1199" fmla="*/ 2498869 h 2719086"/>
                  <a:gd name="connsiteX1200" fmla="*/ 334929 w 1416191"/>
                  <a:gd name="connsiteY1200" fmla="*/ 2614996 h 2719086"/>
                  <a:gd name="connsiteX1201" fmla="*/ 223050 w 1416191"/>
                  <a:gd name="connsiteY1201" fmla="*/ 2636239 h 2719086"/>
                  <a:gd name="connsiteX1202" fmla="*/ 298108 w 1416191"/>
                  <a:gd name="connsiteY1202" fmla="*/ 2498869 h 2719086"/>
                  <a:gd name="connsiteX1203" fmla="*/ 417069 w 1416191"/>
                  <a:gd name="connsiteY1203" fmla="*/ 2307683 h 2719086"/>
                  <a:gd name="connsiteX1204" fmla="*/ 342010 w 1416191"/>
                  <a:gd name="connsiteY1204" fmla="*/ 2378493 h 2719086"/>
                  <a:gd name="connsiteX1205" fmla="*/ 344843 w 1416191"/>
                  <a:gd name="connsiteY1205" fmla="*/ 2314764 h 2719086"/>
                  <a:gd name="connsiteX1206" fmla="*/ 417069 w 1416191"/>
                  <a:gd name="connsiteY1206" fmla="*/ 2307683 h 2719086"/>
                  <a:gd name="connsiteX1207" fmla="*/ 1286610 w 1416191"/>
                  <a:gd name="connsiteY1207" fmla="*/ 989209 h 2719086"/>
                  <a:gd name="connsiteX1208" fmla="*/ 1286610 w 1416191"/>
                  <a:gd name="connsiteY1208" fmla="*/ 992042 h 2719086"/>
                  <a:gd name="connsiteX1209" fmla="*/ 1098257 w 1416191"/>
                  <a:gd name="connsiteY1209" fmla="*/ 1000539 h 2719086"/>
                  <a:gd name="connsiteX1210" fmla="*/ 1118083 w 1416191"/>
                  <a:gd name="connsiteY1210" fmla="*/ 972215 h 2719086"/>
                  <a:gd name="connsiteX1211" fmla="*/ 1286610 w 1416191"/>
                  <a:gd name="connsiteY1211" fmla="*/ 989209 h 2719086"/>
                  <a:gd name="connsiteX1212" fmla="*/ 1412651 w 1416191"/>
                  <a:gd name="connsiteY1212" fmla="*/ 764035 h 2719086"/>
                  <a:gd name="connsiteX1213" fmla="*/ 1314934 w 1416191"/>
                  <a:gd name="connsiteY1213" fmla="*/ 841926 h 2719086"/>
                  <a:gd name="connsiteX1214" fmla="*/ 1314934 w 1416191"/>
                  <a:gd name="connsiteY1214" fmla="*/ 841926 h 2719086"/>
                  <a:gd name="connsiteX1215" fmla="*/ 1286610 w 1416191"/>
                  <a:gd name="connsiteY1215" fmla="*/ 986377 h 2719086"/>
                  <a:gd name="connsiteX1216" fmla="*/ 1118083 w 1416191"/>
                  <a:gd name="connsiteY1216" fmla="*/ 969383 h 2719086"/>
                  <a:gd name="connsiteX1217" fmla="*/ 1239876 w 1416191"/>
                  <a:gd name="connsiteY1217" fmla="*/ 792359 h 2719086"/>
                  <a:gd name="connsiteX1218" fmla="*/ 1412651 w 1416191"/>
                  <a:gd name="connsiteY1218" fmla="*/ 764035 h 2719086"/>
                  <a:gd name="connsiteX1219" fmla="*/ 220218 w 1416191"/>
                  <a:gd name="connsiteY1219" fmla="*/ 693226 h 2719086"/>
                  <a:gd name="connsiteX1220" fmla="*/ 157905 w 1416191"/>
                  <a:gd name="connsiteY1220" fmla="*/ 730046 h 2719086"/>
                  <a:gd name="connsiteX1221" fmla="*/ 142327 w 1416191"/>
                  <a:gd name="connsiteY1221" fmla="*/ 653572 h 2719086"/>
                  <a:gd name="connsiteX1222" fmla="*/ 220218 w 1416191"/>
                  <a:gd name="connsiteY1222" fmla="*/ 693226 h 2719086"/>
                  <a:gd name="connsiteX1223" fmla="*/ 156489 w 1416191"/>
                  <a:gd name="connsiteY1223" fmla="*/ 732879 h 2719086"/>
                  <a:gd name="connsiteX1224" fmla="*/ 166402 w 1416191"/>
                  <a:gd name="connsiteY1224" fmla="*/ 782445 h 2719086"/>
                  <a:gd name="connsiteX1225" fmla="*/ 91345 w 1416191"/>
                  <a:gd name="connsiteY1225" fmla="*/ 771116 h 2719086"/>
                  <a:gd name="connsiteX1226" fmla="*/ 156489 w 1416191"/>
                  <a:gd name="connsiteY1226" fmla="*/ 732879 h 2719086"/>
                  <a:gd name="connsiteX1227" fmla="*/ 282530 w 1416191"/>
                  <a:gd name="connsiteY1227" fmla="*/ 800856 h 2719086"/>
                  <a:gd name="connsiteX1228" fmla="*/ 194726 w 1416191"/>
                  <a:gd name="connsiteY1228" fmla="*/ 908486 h 2719086"/>
                  <a:gd name="connsiteX1229" fmla="*/ 169235 w 1416191"/>
                  <a:gd name="connsiteY1229" fmla="*/ 785278 h 2719086"/>
                  <a:gd name="connsiteX1230" fmla="*/ 282530 w 1416191"/>
                  <a:gd name="connsiteY1230" fmla="*/ 800856 h 2719086"/>
                  <a:gd name="connsiteX1231" fmla="*/ 375999 w 1416191"/>
                  <a:gd name="connsiteY1231" fmla="*/ 1609501 h 2719086"/>
                  <a:gd name="connsiteX1232" fmla="*/ 374583 w 1416191"/>
                  <a:gd name="connsiteY1232" fmla="*/ 1613750 h 2719086"/>
                  <a:gd name="connsiteX1233" fmla="*/ 342010 w 1416191"/>
                  <a:gd name="connsiteY1233" fmla="*/ 1596755 h 2719086"/>
                  <a:gd name="connsiteX1234" fmla="*/ 375999 w 1416191"/>
                  <a:gd name="connsiteY1234" fmla="*/ 1609501 h 2719086"/>
                  <a:gd name="connsiteX1235" fmla="*/ 438311 w 1416191"/>
                  <a:gd name="connsiteY1235" fmla="*/ 1649154 h 2719086"/>
                  <a:gd name="connsiteX1236" fmla="*/ 339178 w 1416191"/>
                  <a:gd name="connsiteY1236" fmla="*/ 1697305 h 2719086"/>
                  <a:gd name="connsiteX1237" fmla="*/ 375999 w 1416191"/>
                  <a:gd name="connsiteY1237" fmla="*/ 1615166 h 2719086"/>
                  <a:gd name="connsiteX1238" fmla="*/ 438311 w 1416191"/>
                  <a:gd name="connsiteY1238" fmla="*/ 1649154 h 2719086"/>
                  <a:gd name="connsiteX1239" fmla="*/ 281114 w 1416191"/>
                  <a:gd name="connsiteY1239" fmla="*/ 2436556 h 2719086"/>
                  <a:gd name="connsiteX1240" fmla="*/ 281114 w 1416191"/>
                  <a:gd name="connsiteY1240" fmla="*/ 2436556 h 2719086"/>
                  <a:gd name="connsiteX1241" fmla="*/ 281114 w 1416191"/>
                  <a:gd name="connsiteY1241" fmla="*/ 2436556 h 2719086"/>
                  <a:gd name="connsiteX1242" fmla="*/ 281114 w 1416191"/>
                  <a:gd name="connsiteY1242" fmla="*/ 2436556 h 2719086"/>
                  <a:gd name="connsiteX1243" fmla="*/ 536029 w 1416191"/>
                  <a:gd name="connsiteY1243" fmla="*/ 2027277 h 2719086"/>
                  <a:gd name="connsiteX1244" fmla="*/ 536029 w 1416191"/>
                  <a:gd name="connsiteY1244" fmla="*/ 2027277 h 2719086"/>
                  <a:gd name="connsiteX1245" fmla="*/ 536029 w 1416191"/>
                  <a:gd name="connsiteY1245" fmla="*/ 2027277 h 2719086"/>
                  <a:gd name="connsiteX1246" fmla="*/ 536029 w 1416191"/>
                  <a:gd name="connsiteY1246" fmla="*/ 2027277 h 2719086"/>
                  <a:gd name="connsiteX1247" fmla="*/ 662069 w 1416191"/>
                  <a:gd name="connsiteY1247" fmla="*/ 1847421 h 2719086"/>
                  <a:gd name="connsiteX1248" fmla="*/ 704555 w 1416191"/>
                  <a:gd name="connsiteY1248" fmla="*/ 1847421 h 2719086"/>
                  <a:gd name="connsiteX1249" fmla="*/ 690393 w 1416191"/>
                  <a:gd name="connsiteY1249" fmla="*/ 1946554 h 2719086"/>
                  <a:gd name="connsiteX1250" fmla="*/ 662069 w 1416191"/>
                  <a:gd name="connsiteY1250" fmla="*/ 1847421 h 2719086"/>
                  <a:gd name="connsiteX1251" fmla="*/ 1310685 w 1416191"/>
                  <a:gd name="connsiteY1251" fmla="*/ 992042 h 2719086"/>
                  <a:gd name="connsiteX1252" fmla="*/ 1288026 w 1416191"/>
                  <a:gd name="connsiteY1252" fmla="*/ 993458 h 2719086"/>
                  <a:gd name="connsiteX1253" fmla="*/ 1288026 w 1416191"/>
                  <a:gd name="connsiteY1253" fmla="*/ 990626 h 2719086"/>
                  <a:gd name="connsiteX1254" fmla="*/ 1310685 w 1416191"/>
                  <a:gd name="connsiteY1254" fmla="*/ 992042 h 2719086"/>
                  <a:gd name="connsiteX1255" fmla="*/ 890076 w 1416191"/>
                  <a:gd name="connsiteY1255" fmla="*/ 452473 h 2719086"/>
                  <a:gd name="connsiteX1256" fmla="*/ 941059 w 1416191"/>
                  <a:gd name="connsiteY1256" fmla="*/ 377415 h 2719086"/>
                  <a:gd name="connsiteX1257" fmla="*/ 950973 w 1416191"/>
                  <a:gd name="connsiteY1257" fmla="*/ 483629 h 2719086"/>
                  <a:gd name="connsiteX1258" fmla="*/ 890076 w 1416191"/>
                  <a:gd name="connsiteY1258" fmla="*/ 452473 h 2719086"/>
                  <a:gd name="connsiteX1259" fmla="*/ 473716 w 1416191"/>
                  <a:gd name="connsiteY1259" fmla="*/ 2384157 h 2719086"/>
                  <a:gd name="connsiteX1260" fmla="*/ 401490 w 1416191"/>
                  <a:gd name="connsiteY1260" fmla="*/ 2430892 h 2719086"/>
                  <a:gd name="connsiteX1261" fmla="*/ 377415 w 1416191"/>
                  <a:gd name="connsiteY1261" fmla="*/ 2430892 h 2719086"/>
                  <a:gd name="connsiteX1262" fmla="*/ 473716 w 1416191"/>
                  <a:gd name="connsiteY1262" fmla="*/ 2384157 h 2719086"/>
                  <a:gd name="connsiteX1263" fmla="*/ 851839 w 1416191"/>
                  <a:gd name="connsiteY1263" fmla="*/ 1642073 h 2719086"/>
                  <a:gd name="connsiteX1264" fmla="*/ 959470 w 1416191"/>
                  <a:gd name="connsiteY1264" fmla="*/ 1524529 h 2719086"/>
                  <a:gd name="connsiteX1265" fmla="*/ 880163 w 1416191"/>
                  <a:gd name="connsiteY1265" fmla="*/ 1651987 h 2719086"/>
                  <a:gd name="connsiteX1266" fmla="*/ 851839 w 1416191"/>
                  <a:gd name="connsiteY1266" fmla="*/ 1642073 h 2719086"/>
                  <a:gd name="connsiteX1267" fmla="*/ 1111002 w 1416191"/>
                  <a:gd name="connsiteY1267" fmla="*/ 1356003 h 2719086"/>
                  <a:gd name="connsiteX1268" fmla="*/ 973632 w 1416191"/>
                  <a:gd name="connsiteY1268" fmla="*/ 1506119 h 2719086"/>
                  <a:gd name="connsiteX1269" fmla="*/ 1028863 w 1416191"/>
                  <a:gd name="connsiteY1269" fmla="*/ 1416899 h 2719086"/>
                  <a:gd name="connsiteX1270" fmla="*/ 1111002 w 1416191"/>
                  <a:gd name="connsiteY1270" fmla="*/ 1356003 h 271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Lst>
                <a:rect l="l" t="t" r="r" b="b"/>
                <a:pathLst>
                  <a:path w="1416191" h="2719086">
                    <a:moveTo>
                      <a:pt x="1330512" y="660653"/>
                    </a:moveTo>
                    <a:lnTo>
                      <a:pt x="1330512" y="660653"/>
                    </a:lnTo>
                    <a:lnTo>
                      <a:pt x="1125164" y="676231"/>
                    </a:lnTo>
                    <a:lnTo>
                      <a:pt x="1123748" y="653572"/>
                    </a:lnTo>
                    <a:lnTo>
                      <a:pt x="1157737" y="643659"/>
                    </a:lnTo>
                    <a:lnTo>
                      <a:pt x="1115251" y="543109"/>
                    </a:lnTo>
                    <a:lnTo>
                      <a:pt x="1115251" y="541693"/>
                    </a:lnTo>
                    <a:lnTo>
                      <a:pt x="1122332" y="650740"/>
                    </a:lnTo>
                    <a:lnTo>
                      <a:pt x="1081262" y="663486"/>
                    </a:lnTo>
                    <a:lnTo>
                      <a:pt x="1081262" y="618167"/>
                    </a:lnTo>
                    <a:lnTo>
                      <a:pt x="1081262" y="616751"/>
                    </a:lnTo>
                    <a:lnTo>
                      <a:pt x="1067100" y="667734"/>
                    </a:lnTo>
                    <a:lnTo>
                      <a:pt x="1014701" y="683312"/>
                    </a:lnTo>
                    <a:lnTo>
                      <a:pt x="963718" y="687560"/>
                    </a:lnTo>
                    <a:lnTo>
                      <a:pt x="766868" y="632329"/>
                    </a:lnTo>
                    <a:lnTo>
                      <a:pt x="888660" y="453889"/>
                    </a:lnTo>
                    <a:lnTo>
                      <a:pt x="953805" y="486462"/>
                    </a:lnTo>
                    <a:lnTo>
                      <a:pt x="953805" y="486462"/>
                    </a:lnTo>
                    <a:lnTo>
                      <a:pt x="942475" y="371750"/>
                    </a:lnTo>
                    <a:lnTo>
                      <a:pt x="942475" y="371750"/>
                    </a:lnTo>
                    <a:lnTo>
                      <a:pt x="887244" y="451057"/>
                    </a:lnTo>
                    <a:lnTo>
                      <a:pt x="795192" y="404322"/>
                    </a:lnTo>
                    <a:lnTo>
                      <a:pt x="793775" y="356172"/>
                    </a:lnTo>
                    <a:lnTo>
                      <a:pt x="907071" y="289611"/>
                    </a:lnTo>
                    <a:lnTo>
                      <a:pt x="907071" y="289611"/>
                    </a:lnTo>
                    <a:lnTo>
                      <a:pt x="660653" y="149408"/>
                    </a:lnTo>
                    <a:lnTo>
                      <a:pt x="659237" y="149408"/>
                    </a:lnTo>
                    <a:lnTo>
                      <a:pt x="735712" y="241460"/>
                    </a:lnTo>
                    <a:lnTo>
                      <a:pt x="514786" y="167819"/>
                    </a:lnTo>
                    <a:lnTo>
                      <a:pt x="570017" y="63020"/>
                    </a:lnTo>
                    <a:lnTo>
                      <a:pt x="570017" y="61604"/>
                    </a:lnTo>
                    <a:lnTo>
                      <a:pt x="475132" y="155073"/>
                    </a:lnTo>
                    <a:lnTo>
                      <a:pt x="343426" y="111171"/>
                    </a:lnTo>
                    <a:lnTo>
                      <a:pt x="303773" y="98425"/>
                    </a:lnTo>
                    <a:lnTo>
                      <a:pt x="350507" y="10621"/>
                    </a:lnTo>
                    <a:lnTo>
                      <a:pt x="350507" y="10621"/>
                    </a:lnTo>
                    <a:lnTo>
                      <a:pt x="262704" y="57356"/>
                    </a:lnTo>
                    <a:lnTo>
                      <a:pt x="262704" y="57356"/>
                    </a:lnTo>
                    <a:lnTo>
                      <a:pt x="264120" y="87096"/>
                    </a:lnTo>
                    <a:lnTo>
                      <a:pt x="204640" y="67269"/>
                    </a:lnTo>
                    <a:lnTo>
                      <a:pt x="204640" y="67269"/>
                    </a:lnTo>
                    <a:lnTo>
                      <a:pt x="40362" y="147992"/>
                    </a:lnTo>
                    <a:lnTo>
                      <a:pt x="40362" y="147992"/>
                    </a:lnTo>
                    <a:lnTo>
                      <a:pt x="41778" y="149408"/>
                    </a:lnTo>
                    <a:lnTo>
                      <a:pt x="206056" y="68685"/>
                    </a:lnTo>
                    <a:lnTo>
                      <a:pt x="265536" y="88512"/>
                    </a:lnTo>
                    <a:lnTo>
                      <a:pt x="266952" y="167819"/>
                    </a:lnTo>
                    <a:lnTo>
                      <a:pt x="201807" y="292443"/>
                    </a:lnTo>
                    <a:lnTo>
                      <a:pt x="121084" y="266952"/>
                    </a:lnTo>
                    <a:lnTo>
                      <a:pt x="186229" y="320767"/>
                    </a:lnTo>
                    <a:lnTo>
                      <a:pt x="130998" y="425565"/>
                    </a:lnTo>
                    <a:lnTo>
                      <a:pt x="101258" y="383079"/>
                    </a:lnTo>
                    <a:lnTo>
                      <a:pt x="101258" y="383079"/>
                    </a:lnTo>
                    <a:lnTo>
                      <a:pt x="10621" y="630913"/>
                    </a:lnTo>
                    <a:lnTo>
                      <a:pt x="10621" y="630913"/>
                    </a:lnTo>
                    <a:lnTo>
                      <a:pt x="189062" y="510537"/>
                    </a:lnTo>
                    <a:lnTo>
                      <a:pt x="288195" y="653572"/>
                    </a:lnTo>
                    <a:lnTo>
                      <a:pt x="225883" y="690393"/>
                    </a:lnTo>
                    <a:lnTo>
                      <a:pt x="143744" y="647907"/>
                    </a:lnTo>
                    <a:lnTo>
                      <a:pt x="143744" y="647907"/>
                    </a:lnTo>
                    <a:lnTo>
                      <a:pt x="160738" y="728630"/>
                    </a:lnTo>
                    <a:lnTo>
                      <a:pt x="89928" y="771116"/>
                    </a:lnTo>
                    <a:lnTo>
                      <a:pt x="172067" y="782445"/>
                    </a:lnTo>
                    <a:lnTo>
                      <a:pt x="198975" y="909903"/>
                    </a:lnTo>
                    <a:lnTo>
                      <a:pt x="198975" y="909903"/>
                    </a:lnTo>
                    <a:lnTo>
                      <a:pt x="289611" y="798024"/>
                    </a:lnTo>
                    <a:lnTo>
                      <a:pt x="349091" y="806521"/>
                    </a:lnTo>
                    <a:lnTo>
                      <a:pt x="344843" y="986377"/>
                    </a:lnTo>
                    <a:lnTo>
                      <a:pt x="344843" y="986377"/>
                    </a:lnTo>
                    <a:lnTo>
                      <a:pt x="584179" y="880163"/>
                    </a:lnTo>
                    <a:lnTo>
                      <a:pt x="598341" y="986377"/>
                    </a:lnTo>
                    <a:lnTo>
                      <a:pt x="561520" y="1020365"/>
                    </a:lnTo>
                    <a:lnTo>
                      <a:pt x="241461" y="1033111"/>
                    </a:lnTo>
                    <a:lnTo>
                      <a:pt x="241461" y="1033111"/>
                    </a:lnTo>
                    <a:lnTo>
                      <a:pt x="353340" y="1126580"/>
                    </a:lnTo>
                    <a:lnTo>
                      <a:pt x="422733" y="1147823"/>
                    </a:lnTo>
                    <a:lnTo>
                      <a:pt x="361837" y="1204470"/>
                    </a:lnTo>
                    <a:lnTo>
                      <a:pt x="361837" y="1204470"/>
                    </a:lnTo>
                    <a:lnTo>
                      <a:pt x="363253" y="1205886"/>
                    </a:lnTo>
                    <a:lnTo>
                      <a:pt x="449641" y="1156320"/>
                    </a:lnTo>
                    <a:lnTo>
                      <a:pt x="572850" y="1193141"/>
                    </a:lnTo>
                    <a:lnTo>
                      <a:pt x="553023" y="1238459"/>
                    </a:lnTo>
                    <a:lnTo>
                      <a:pt x="449641" y="1288026"/>
                    </a:lnTo>
                    <a:lnTo>
                      <a:pt x="368918" y="1330511"/>
                    </a:lnTo>
                    <a:lnTo>
                      <a:pt x="368918" y="1330511"/>
                    </a:lnTo>
                    <a:lnTo>
                      <a:pt x="336345" y="1463633"/>
                    </a:lnTo>
                    <a:lnTo>
                      <a:pt x="336345" y="1463633"/>
                    </a:lnTo>
                    <a:lnTo>
                      <a:pt x="435479" y="1497622"/>
                    </a:lnTo>
                    <a:lnTo>
                      <a:pt x="385912" y="1605252"/>
                    </a:lnTo>
                    <a:lnTo>
                      <a:pt x="333513" y="1584010"/>
                    </a:lnTo>
                    <a:lnTo>
                      <a:pt x="333513" y="1584010"/>
                    </a:lnTo>
                    <a:lnTo>
                      <a:pt x="332097" y="1585426"/>
                    </a:lnTo>
                    <a:lnTo>
                      <a:pt x="381664" y="1612333"/>
                    </a:lnTo>
                    <a:lnTo>
                      <a:pt x="342010" y="1698721"/>
                    </a:lnTo>
                    <a:lnTo>
                      <a:pt x="342010" y="1698721"/>
                    </a:lnTo>
                    <a:lnTo>
                      <a:pt x="448225" y="1646322"/>
                    </a:lnTo>
                    <a:lnTo>
                      <a:pt x="509121" y="1678894"/>
                    </a:lnTo>
                    <a:lnTo>
                      <a:pt x="509121" y="1678894"/>
                    </a:lnTo>
                    <a:lnTo>
                      <a:pt x="544526" y="1663316"/>
                    </a:lnTo>
                    <a:lnTo>
                      <a:pt x="534612" y="1719964"/>
                    </a:lnTo>
                    <a:lnTo>
                      <a:pt x="350507" y="1751120"/>
                    </a:lnTo>
                    <a:lnTo>
                      <a:pt x="350507" y="1751120"/>
                    </a:lnTo>
                    <a:lnTo>
                      <a:pt x="351924" y="1916814"/>
                    </a:lnTo>
                    <a:lnTo>
                      <a:pt x="268368" y="1912566"/>
                    </a:lnTo>
                    <a:lnTo>
                      <a:pt x="268368" y="1912566"/>
                    </a:lnTo>
                    <a:lnTo>
                      <a:pt x="295276" y="1991872"/>
                    </a:lnTo>
                    <a:lnTo>
                      <a:pt x="240045" y="1984791"/>
                    </a:lnTo>
                    <a:lnTo>
                      <a:pt x="240045" y="1984791"/>
                    </a:lnTo>
                    <a:lnTo>
                      <a:pt x="308022" y="2054185"/>
                    </a:lnTo>
                    <a:lnTo>
                      <a:pt x="264120" y="2228376"/>
                    </a:lnTo>
                    <a:lnTo>
                      <a:pt x="264120" y="2228376"/>
                    </a:lnTo>
                    <a:lnTo>
                      <a:pt x="317935" y="2252451"/>
                    </a:lnTo>
                    <a:lnTo>
                      <a:pt x="249958" y="2319013"/>
                    </a:lnTo>
                    <a:lnTo>
                      <a:pt x="249958" y="2319013"/>
                    </a:lnTo>
                    <a:lnTo>
                      <a:pt x="285363" y="2429475"/>
                    </a:lnTo>
                    <a:lnTo>
                      <a:pt x="164986" y="2432308"/>
                    </a:lnTo>
                    <a:lnTo>
                      <a:pt x="164986" y="2432308"/>
                    </a:lnTo>
                    <a:lnTo>
                      <a:pt x="218802" y="2498869"/>
                    </a:lnTo>
                    <a:lnTo>
                      <a:pt x="218802" y="2498869"/>
                    </a:lnTo>
                    <a:lnTo>
                      <a:pt x="288195" y="2433724"/>
                    </a:lnTo>
                    <a:lnTo>
                      <a:pt x="306606" y="2490372"/>
                    </a:lnTo>
                    <a:lnTo>
                      <a:pt x="228715" y="2633407"/>
                    </a:lnTo>
                    <a:lnTo>
                      <a:pt x="228715" y="2633407"/>
                    </a:lnTo>
                    <a:lnTo>
                      <a:pt x="344843" y="2610748"/>
                    </a:lnTo>
                    <a:lnTo>
                      <a:pt x="356172" y="2648985"/>
                    </a:lnTo>
                    <a:lnTo>
                      <a:pt x="325016" y="2639072"/>
                    </a:lnTo>
                    <a:lnTo>
                      <a:pt x="223050" y="2637655"/>
                    </a:lnTo>
                    <a:lnTo>
                      <a:pt x="221634" y="2637655"/>
                    </a:lnTo>
                    <a:lnTo>
                      <a:pt x="366086" y="2708465"/>
                    </a:lnTo>
                    <a:lnTo>
                      <a:pt x="366086" y="2708465"/>
                    </a:lnTo>
                    <a:lnTo>
                      <a:pt x="350507" y="2657482"/>
                    </a:lnTo>
                    <a:lnTo>
                      <a:pt x="452473" y="2690055"/>
                    </a:lnTo>
                    <a:lnTo>
                      <a:pt x="452473" y="2690055"/>
                    </a:lnTo>
                    <a:lnTo>
                      <a:pt x="390161" y="2603667"/>
                    </a:lnTo>
                    <a:lnTo>
                      <a:pt x="390161" y="2603667"/>
                    </a:lnTo>
                    <a:lnTo>
                      <a:pt x="336345" y="2613580"/>
                    </a:lnTo>
                    <a:lnTo>
                      <a:pt x="299525" y="2494620"/>
                    </a:lnTo>
                    <a:lnTo>
                      <a:pt x="303773" y="2486123"/>
                    </a:lnTo>
                    <a:lnTo>
                      <a:pt x="330681" y="2573927"/>
                    </a:lnTo>
                    <a:lnTo>
                      <a:pt x="330681" y="2575343"/>
                    </a:lnTo>
                    <a:lnTo>
                      <a:pt x="337762" y="2449302"/>
                    </a:lnTo>
                    <a:lnTo>
                      <a:pt x="373167" y="2432308"/>
                    </a:lnTo>
                    <a:lnTo>
                      <a:pt x="401490" y="2430892"/>
                    </a:lnTo>
                    <a:lnTo>
                      <a:pt x="490710" y="2374244"/>
                    </a:lnTo>
                    <a:lnTo>
                      <a:pt x="490710" y="2374244"/>
                    </a:lnTo>
                    <a:lnTo>
                      <a:pt x="489294" y="2372828"/>
                    </a:lnTo>
                    <a:lnTo>
                      <a:pt x="371750" y="2430892"/>
                    </a:lnTo>
                    <a:lnTo>
                      <a:pt x="337762" y="2432308"/>
                    </a:lnTo>
                    <a:lnTo>
                      <a:pt x="340594" y="2381325"/>
                    </a:lnTo>
                    <a:lnTo>
                      <a:pt x="421317" y="2304851"/>
                    </a:lnTo>
                    <a:lnTo>
                      <a:pt x="421317" y="2304851"/>
                    </a:lnTo>
                    <a:lnTo>
                      <a:pt x="343426" y="2313348"/>
                    </a:lnTo>
                    <a:lnTo>
                      <a:pt x="346259" y="2272278"/>
                    </a:lnTo>
                    <a:lnTo>
                      <a:pt x="414236" y="2302018"/>
                    </a:lnTo>
                    <a:lnTo>
                      <a:pt x="414236" y="2302018"/>
                    </a:lnTo>
                    <a:lnTo>
                      <a:pt x="409988" y="2184474"/>
                    </a:lnTo>
                    <a:lnTo>
                      <a:pt x="421317" y="2178810"/>
                    </a:lnTo>
                    <a:lnTo>
                      <a:pt x="462387" y="2219879"/>
                    </a:lnTo>
                    <a:lnTo>
                      <a:pt x="462387" y="2219879"/>
                    </a:lnTo>
                    <a:lnTo>
                      <a:pt x="494959" y="2140572"/>
                    </a:lnTo>
                    <a:lnTo>
                      <a:pt x="494959" y="2140572"/>
                    </a:lnTo>
                    <a:lnTo>
                      <a:pt x="421317" y="2175977"/>
                    </a:lnTo>
                    <a:lnTo>
                      <a:pt x="408571" y="2163232"/>
                    </a:lnTo>
                    <a:lnTo>
                      <a:pt x="408571" y="2158983"/>
                    </a:lnTo>
                    <a:lnTo>
                      <a:pt x="533196" y="2035774"/>
                    </a:lnTo>
                    <a:lnTo>
                      <a:pt x="533196" y="2035774"/>
                    </a:lnTo>
                    <a:lnTo>
                      <a:pt x="534612" y="2027277"/>
                    </a:lnTo>
                    <a:lnTo>
                      <a:pt x="543110" y="2028693"/>
                    </a:lnTo>
                    <a:lnTo>
                      <a:pt x="544526" y="2028693"/>
                    </a:lnTo>
                    <a:lnTo>
                      <a:pt x="536029" y="2023029"/>
                    </a:lnTo>
                    <a:lnTo>
                      <a:pt x="550190" y="1930976"/>
                    </a:lnTo>
                    <a:lnTo>
                      <a:pt x="626665" y="1935225"/>
                    </a:lnTo>
                    <a:lnTo>
                      <a:pt x="626665" y="1935225"/>
                    </a:lnTo>
                    <a:lnTo>
                      <a:pt x="628081" y="1844589"/>
                    </a:lnTo>
                    <a:lnTo>
                      <a:pt x="660653" y="1844589"/>
                    </a:lnTo>
                    <a:lnTo>
                      <a:pt x="691810" y="1952219"/>
                    </a:lnTo>
                    <a:lnTo>
                      <a:pt x="691810" y="1953635"/>
                    </a:lnTo>
                    <a:lnTo>
                      <a:pt x="704555" y="1860167"/>
                    </a:lnTo>
                    <a:lnTo>
                      <a:pt x="660653" y="2555517"/>
                    </a:lnTo>
                    <a:lnTo>
                      <a:pt x="660653" y="2555517"/>
                    </a:lnTo>
                    <a:lnTo>
                      <a:pt x="662069" y="2555517"/>
                    </a:lnTo>
                    <a:lnTo>
                      <a:pt x="662069" y="2555517"/>
                    </a:lnTo>
                    <a:lnTo>
                      <a:pt x="720133" y="1626495"/>
                    </a:lnTo>
                    <a:lnTo>
                      <a:pt x="754122" y="1744039"/>
                    </a:lnTo>
                    <a:lnTo>
                      <a:pt x="713052" y="1789357"/>
                    </a:lnTo>
                    <a:lnTo>
                      <a:pt x="713052" y="1789357"/>
                    </a:lnTo>
                    <a:lnTo>
                      <a:pt x="772532" y="1800687"/>
                    </a:lnTo>
                    <a:lnTo>
                      <a:pt x="772532" y="1800687"/>
                    </a:lnTo>
                    <a:lnTo>
                      <a:pt x="756954" y="1744039"/>
                    </a:lnTo>
                    <a:lnTo>
                      <a:pt x="850423" y="1642073"/>
                    </a:lnTo>
                    <a:lnTo>
                      <a:pt x="880163" y="1651987"/>
                    </a:lnTo>
                    <a:lnTo>
                      <a:pt x="880163" y="1651987"/>
                    </a:lnTo>
                    <a:lnTo>
                      <a:pt x="966551" y="1513200"/>
                    </a:lnTo>
                    <a:lnTo>
                      <a:pt x="1119499" y="1346089"/>
                    </a:lnTo>
                    <a:lnTo>
                      <a:pt x="1119499" y="1346089"/>
                    </a:lnTo>
                    <a:lnTo>
                      <a:pt x="1118083" y="1344673"/>
                    </a:lnTo>
                    <a:lnTo>
                      <a:pt x="1027447" y="1412650"/>
                    </a:lnTo>
                    <a:lnTo>
                      <a:pt x="965135" y="1511784"/>
                    </a:lnTo>
                    <a:lnTo>
                      <a:pt x="849007" y="1639241"/>
                    </a:lnTo>
                    <a:lnTo>
                      <a:pt x="713052" y="1592507"/>
                    </a:lnTo>
                    <a:lnTo>
                      <a:pt x="713052" y="1592507"/>
                    </a:lnTo>
                    <a:lnTo>
                      <a:pt x="705972" y="1589674"/>
                    </a:lnTo>
                    <a:lnTo>
                      <a:pt x="756954" y="1567015"/>
                    </a:lnTo>
                    <a:lnTo>
                      <a:pt x="812186" y="1591091"/>
                    </a:lnTo>
                    <a:lnTo>
                      <a:pt x="812186" y="1591091"/>
                    </a:lnTo>
                    <a:lnTo>
                      <a:pt x="796608" y="1548605"/>
                    </a:lnTo>
                    <a:lnTo>
                      <a:pt x="853255" y="1588258"/>
                    </a:lnTo>
                    <a:lnTo>
                      <a:pt x="853255" y="1588258"/>
                    </a:lnTo>
                    <a:lnTo>
                      <a:pt x="943892" y="1479212"/>
                    </a:lnTo>
                    <a:lnTo>
                      <a:pt x="943892" y="1477795"/>
                    </a:lnTo>
                    <a:lnTo>
                      <a:pt x="796608" y="1545772"/>
                    </a:lnTo>
                    <a:lnTo>
                      <a:pt x="795192" y="1544356"/>
                    </a:lnTo>
                    <a:lnTo>
                      <a:pt x="773949" y="1486292"/>
                    </a:lnTo>
                    <a:lnTo>
                      <a:pt x="1201639" y="1275280"/>
                    </a:lnTo>
                    <a:lnTo>
                      <a:pt x="1201639" y="1275280"/>
                    </a:lnTo>
                    <a:lnTo>
                      <a:pt x="1061436" y="1142158"/>
                    </a:lnTo>
                    <a:lnTo>
                      <a:pt x="1256870" y="1154903"/>
                    </a:lnTo>
                    <a:lnTo>
                      <a:pt x="1256870" y="1154903"/>
                    </a:lnTo>
                    <a:lnTo>
                      <a:pt x="1288026" y="994874"/>
                    </a:lnTo>
                    <a:lnTo>
                      <a:pt x="1324847" y="993458"/>
                    </a:lnTo>
                    <a:lnTo>
                      <a:pt x="1324847" y="993458"/>
                    </a:lnTo>
                    <a:lnTo>
                      <a:pt x="1324847" y="992042"/>
                    </a:lnTo>
                    <a:lnTo>
                      <a:pt x="1288026" y="987793"/>
                    </a:lnTo>
                    <a:lnTo>
                      <a:pt x="1314934" y="843341"/>
                    </a:lnTo>
                    <a:lnTo>
                      <a:pt x="1416900" y="761203"/>
                    </a:lnTo>
                    <a:lnTo>
                      <a:pt x="1416900" y="761203"/>
                    </a:lnTo>
                    <a:lnTo>
                      <a:pt x="1238460" y="790943"/>
                    </a:lnTo>
                    <a:lnTo>
                      <a:pt x="1330512" y="660653"/>
                    </a:lnTo>
                    <a:close/>
                    <a:moveTo>
                      <a:pt x="799440" y="1547189"/>
                    </a:moveTo>
                    <a:lnTo>
                      <a:pt x="938227" y="1483460"/>
                    </a:lnTo>
                    <a:lnTo>
                      <a:pt x="854672" y="1585426"/>
                    </a:lnTo>
                    <a:lnTo>
                      <a:pt x="799440" y="1547189"/>
                    </a:lnTo>
                    <a:close/>
                    <a:moveTo>
                      <a:pt x="425566" y="2178810"/>
                    </a:moveTo>
                    <a:lnTo>
                      <a:pt x="493543" y="2146237"/>
                    </a:lnTo>
                    <a:lnTo>
                      <a:pt x="463803" y="2218463"/>
                    </a:lnTo>
                    <a:lnTo>
                      <a:pt x="425566" y="2178810"/>
                    </a:lnTo>
                    <a:close/>
                    <a:moveTo>
                      <a:pt x="337762" y="2449302"/>
                    </a:moveTo>
                    <a:lnTo>
                      <a:pt x="339178" y="2435140"/>
                    </a:lnTo>
                    <a:lnTo>
                      <a:pt x="368918" y="2433724"/>
                    </a:lnTo>
                    <a:lnTo>
                      <a:pt x="337762" y="2449302"/>
                    </a:lnTo>
                    <a:close/>
                    <a:moveTo>
                      <a:pt x="223050" y="2646153"/>
                    </a:moveTo>
                    <a:lnTo>
                      <a:pt x="315103" y="2647569"/>
                    </a:lnTo>
                    <a:lnTo>
                      <a:pt x="347675" y="2657482"/>
                    </a:lnTo>
                    <a:lnTo>
                      <a:pt x="363253" y="2705632"/>
                    </a:lnTo>
                    <a:lnTo>
                      <a:pt x="223050" y="2646153"/>
                    </a:lnTo>
                    <a:close/>
                    <a:moveTo>
                      <a:pt x="350507" y="2656066"/>
                    </a:moveTo>
                    <a:lnTo>
                      <a:pt x="337762" y="2616413"/>
                    </a:lnTo>
                    <a:lnTo>
                      <a:pt x="390161" y="2606499"/>
                    </a:lnTo>
                    <a:lnTo>
                      <a:pt x="448225" y="2685806"/>
                    </a:lnTo>
                    <a:lnTo>
                      <a:pt x="350507" y="2656066"/>
                    </a:lnTo>
                    <a:close/>
                    <a:moveTo>
                      <a:pt x="278282" y="2437973"/>
                    </a:moveTo>
                    <a:lnTo>
                      <a:pt x="210305" y="2501701"/>
                    </a:lnTo>
                    <a:lnTo>
                      <a:pt x="160738" y="2439389"/>
                    </a:lnTo>
                    <a:lnTo>
                      <a:pt x="278282" y="2437973"/>
                    </a:lnTo>
                    <a:lnTo>
                      <a:pt x="278282" y="2437973"/>
                    </a:lnTo>
                    <a:close/>
                    <a:moveTo>
                      <a:pt x="759787" y="1564183"/>
                    </a:moveTo>
                    <a:lnTo>
                      <a:pt x="795192" y="1547189"/>
                    </a:lnTo>
                    <a:lnTo>
                      <a:pt x="809354" y="1585426"/>
                    </a:lnTo>
                    <a:lnTo>
                      <a:pt x="759787" y="1564183"/>
                    </a:lnTo>
                    <a:close/>
                    <a:moveTo>
                      <a:pt x="717301" y="1789357"/>
                    </a:moveTo>
                    <a:lnTo>
                      <a:pt x="755538" y="1748288"/>
                    </a:lnTo>
                    <a:lnTo>
                      <a:pt x="771116" y="1799270"/>
                    </a:lnTo>
                    <a:lnTo>
                      <a:pt x="717301" y="1789357"/>
                    </a:lnTo>
                    <a:close/>
                    <a:moveTo>
                      <a:pt x="626665" y="1708634"/>
                    </a:moveTo>
                    <a:lnTo>
                      <a:pt x="626665" y="1728461"/>
                    </a:lnTo>
                    <a:lnTo>
                      <a:pt x="621000" y="1710050"/>
                    </a:lnTo>
                    <a:lnTo>
                      <a:pt x="626665" y="1708634"/>
                    </a:lnTo>
                    <a:close/>
                    <a:moveTo>
                      <a:pt x="659237" y="1844589"/>
                    </a:moveTo>
                    <a:lnTo>
                      <a:pt x="628081" y="1844589"/>
                    </a:lnTo>
                    <a:lnTo>
                      <a:pt x="629497" y="1742623"/>
                    </a:lnTo>
                    <a:lnTo>
                      <a:pt x="659237" y="1844589"/>
                    </a:lnTo>
                    <a:close/>
                    <a:moveTo>
                      <a:pt x="562936" y="1846005"/>
                    </a:moveTo>
                    <a:lnTo>
                      <a:pt x="626665" y="1846005"/>
                    </a:lnTo>
                    <a:lnTo>
                      <a:pt x="625249" y="1935225"/>
                    </a:lnTo>
                    <a:lnTo>
                      <a:pt x="550190" y="1930976"/>
                    </a:lnTo>
                    <a:lnTo>
                      <a:pt x="562936" y="1846005"/>
                    </a:lnTo>
                    <a:close/>
                    <a:moveTo>
                      <a:pt x="421317" y="2178810"/>
                    </a:moveTo>
                    <a:lnTo>
                      <a:pt x="411404" y="2184474"/>
                    </a:lnTo>
                    <a:lnTo>
                      <a:pt x="411404" y="2167480"/>
                    </a:lnTo>
                    <a:lnTo>
                      <a:pt x="421317" y="2178810"/>
                    </a:lnTo>
                    <a:close/>
                    <a:moveTo>
                      <a:pt x="317935" y="2459215"/>
                    </a:moveTo>
                    <a:lnTo>
                      <a:pt x="305189" y="2483291"/>
                    </a:lnTo>
                    <a:lnTo>
                      <a:pt x="291027" y="2436556"/>
                    </a:lnTo>
                    <a:lnTo>
                      <a:pt x="336345" y="2435140"/>
                    </a:lnTo>
                    <a:lnTo>
                      <a:pt x="334929" y="2450718"/>
                    </a:lnTo>
                    <a:lnTo>
                      <a:pt x="317935" y="2459215"/>
                    </a:lnTo>
                    <a:close/>
                    <a:moveTo>
                      <a:pt x="305189" y="2486123"/>
                    </a:moveTo>
                    <a:lnTo>
                      <a:pt x="319351" y="2460632"/>
                    </a:lnTo>
                    <a:lnTo>
                      <a:pt x="336345" y="2452134"/>
                    </a:lnTo>
                    <a:lnTo>
                      <a:pt x="330681" y="2565430"/>
                    </a:lnTo>
                    <a:lnTo>
                      <a:pt x="305189" y="2486123"/>
                    </a:lnTo>
                    <a:close/>
                    <a:moveTo>
                      <a:pt x="453889" y="1640657"/>
                    </a:moveTo>
                    <a:lnTo>
                      <a:pt x="439727" y="1647738"/>
                    </a:lnTo>
                    <a:lnTo>
                      <a:pt x="375999" y="1613750"/>
                    </a:lnTo>
                    <a:lnTo>
                      <a:pt x="377415" y="1609501"/>
                    </a:lnTo>
                    <a:lnTo>
                      <a:pt x="453889" y="1640657"/>
                    </a:lnTo>
                    <a:close/>
                    <a:moveTo>
                      <a:pt x="438311" y="1157736"/>
                    </a:moveTo>
                    <a:lnTo>
                      <a:pt x="363253" y="1201638"/>
                    </a:lnTo>
                    <a:lnTo>
                      <a:pt x="418485" y="1152071"/>
                    </a:lnTo>
                    <a:lnTo>
                      <a:pt x="438311" y="1157736"/>
                    </a:lnTo>
                    <a:close/>
                    <a:moveTo>
                      <a:pt x="347675" y="1127996"/>
                    </a:moveTo>
                    <a:lnTo>
                      <a:pt x="240045" y="1037360"/>
                    </a:lnTo>
                    <a:lnTo>
                      <a:pt x="553023" y="1024614"/>
                    </a:lnTo>
                    <a:lnTo>
                      <a:pt x="418485" y="1149239"/>
                    </a:lnTo>
                    <a:lnTo>
                      <a:pt x="347675" y="1127996"/>
                    </a:lnTo>
                    <a:close/>
                    <a:moveTo>
                      <a:pt x="419901" y="1149239"/>
                    </a:moveTo>
                    <a:lnTo>
                      <a:pt x="555855" y="1024614"/>
                    </a:lnTo>
                    <a:lnTo>
                      <a:pt x="674815" y="1018949"/>
                    </a:lnTo>
                    <a:lnTo>
                      <a:pt x="441144" y="1154903"/>
                    </a:lnTo>
                    <a:lnTo>
                      <a:pt x="419901" y="1149239"/>
                    </a:lnTo>
                    <a:close/>
                    <a:moveTo>
                      <a:pt x="326432" y="747041"/>
                    </a:moveTo>
                    <a:lnTo>
                      <a:pt x="283946" y="799440"/>
                    </a:lnTo>
                    <a:lnTo>
                      <a:pt x="169235" y="782445"/>
                    </a:lnTo>
                    <a:lnTo>
                      <a:pt x="159322" y="731462"/>
                    </a:lnTo>
                    <a:lnTo>
                      <a:pt x="223050" y="694641"/>
                    </a:lnTo>
                    <a:lnTo>
                      <a:pt x="326432" y="747041"/>
                    </a:lnTo>
                    <a:close/>
                    <a:moveTo>
                      <a:pt x="1069933" y="667734"/>
                    </a:moveTo>
                    <a:lnTo>
                      <a:pt x="1079846" y="632329"/>
                    </a:lnTo>
                    <a:lnTo>
                      <a:pt x="1079846" y="664902"/>
                    </a:lnTo>
                    <a:lnTo>
                      <a:pt x="1069933" y="667734"/>
                    </a:lnTo>
                    <a:close/>
                    <a:moveTo>
                      <a:pt x="1135078" y="809353"/>
                    </a:moveTo>
                    <a:lnTo>
                      <a:pt x="1126580" y="679064"/>
                    </a:lnTo>
                    <a:lnTo>
                      <a:pt x="1327679" y="663486"/>
                    </a:lnTo>
                    <a:lnTo>
                      <a:pt x="1239876" y="790943"/>
                    </a:lnTo>
                    <a:lnTo>
                      <a:pt x="1135078" y="809353"/>
                    </a:lnTo>
                    <a:close/>
                    <a:moveTo>
                      <a:pt x="1082679" y="965134"/>
                    </a:moveTo>
                    <a:lnTo>
                      <a:pt x="1082679" y="680480"/>
                    </a:lnTo>
                    <a:lnTo>
                      <a:pt x="1125164" y="677647"/>
                    </a:lnTo>
                    <a:lnTo>
                      <a:pt x="1133661" y="810769"/>
                    </a:lnTo>
                    <a:lnTo>
                      <a:pt x="1133661" y="810769"/>
                    </a:lnTo>
                    <a:lnTo>
                      <a:pt x="1238460" y="793775"/>
                    </a:lnTo>
                    <a:lnTo>
                      <a:pt x="1118083" y="969383"/>
                    </a:lnTo>
                    <a:lnTo>
                      <a:pt x="1082679" y="965134"/>
                    </a:lnTo>
                    <a:close/>
                    <a:moveTo>
                      <a:pt x="1082679" y="1000539"/>
                    </a:moveTo>
                    <a:lnTo>
                      <a:pt x="1082679" y="967967"/>
                    </a:lnTo>
                    <a:lnTo>
                      <a:pt x="1115251" y="970799"/>
                    </a:lnTo>
                    <a:lnTo>
                      <a:pt x="1095424" y="1000539"/>
                    </a:lnTo>
                    <a:lnTo>
                      <a:pt x="1082679" y="1000539"/>
                    </a:lnTo>
                    <a:close/>
                    <a:moveTo>
                      <a:pt x="1094008" y="1001955"/>
                    </a:moveTo>
                    <a:lnTo>
                      <a:pt x="1082679" y="1018949"/>
                    </a:lnTo>
                    <a:lnTo>
                      <a:pt x="1082679" y="1003371"/>
                    </a:lnTo>
                    <a:lnTo>
                      <a:pt x="1094008" y="1001955"/>
                    </a:lnTo>
                    <a:close/>
                    <a:moveTo>
                      <a:pt x="1156320" y="642243"/>
                    </a:moveTo>
                    <a:lnTo>
                      <a:pt x="1125164" y="652156"/>
                    </a:lnTo>
                    <a:lnTo>
                      <a:pt x="1119499" y="554439"/>
                    </a:lnTo>
                    <a:lnTo>
                      <a:pt x="1156320" y="642243"/>
                    </a:lnTo>
                    <a:close/>
                    <a:moveTo>
                      <a:pt x="1081262" y="666318"/>
                    </a:moveTo>
                    <a:lnTo>
                      <a:pt x="1122332" y="653572"/>
                    </a:lnTo>
                    <a:lnTo>
                      <a:pt x="1123748" y="676231"/>
                    </a:lnTo>
                    <a:lnTo>
                      <a:pt x="1081262" y="679064"/>
                    </a:lnTo>
                    <a:lnTo>
                      <a:pt x="1081262" y="666318"/>
                    </a:lnTo>
                    <a:close/>
                    <a:moveTo>
                      <a:pt x="735712" y="1504703"/>
                    </a:moveTo>
                    <a:lnTo>
                      <a:pt x="793775" y="1545772"/>
                    </a:lnTo>
                    <a:lnTo>
                      <a:pt x="793775" y="1547189"/>
                    </a:lnTo>
                    <a:lnTo>
                      <a:pt x="755538" y="1564183"/>
                    </a:lnTo>
                    <a:lnTo>
                      <a:pt x="680480" y="1531610"/>
                    </a:lnTo>
                    <a:lnTo>
                      <a:pt x="735712" y="1504703"/>
                    </a:lnTo>
                    <a:close/>
                    <a:moveTo>
                      <a:pt x="231547" y="361837"/>
                    </a:moveTo>
                    <a:lnTo>
                      <a:pt x="309438" y="425565"/>
                    </a:lnTo>
                    <a:lnTo>
                      <a:pt x="186229" y="509121"/>
                    </a:lnTo>
                    <a:lnTo>
                      <a:pt x="142327" y="445392"/>
                    </a:lnTo>
                    <a:lnTo>
                      <a:pt x="231547" y="361837"/>
                    </a:lnTo>
                    <a:close/>
                    <a:moveTo>
                      <a:pt x="275449" y="317935"/>
                    </a:moveTo>
                    <a:lnTo>
                      <a:pt x="232964" y="357588"/>
                    </a:lnTo>
                    <a:lnTo>
                      <a:pt x="186229" y="319351"/>
                    </a:lnTo>
                    <a:lnTo>
                      <a:pt x="200391" y="293860"/>
                    </a:lnTo>
                    <a:lnTo>
                      <a:pt x="275449" y="317935"/>
                    </a:lnTo>
                    <a:close/>
                    <a:moveTo>
                      <a:pt x="476549" y="157905"/>
                    </a:moveTo>
                    <a:lnTo>
                      <a:pt x="561520" y="74350"/>
                    </a:lnTo>
                    <a:lnTo>
                      <a:pt x="511953" y="169235"/>
                    </a:lnTo>
                    <a:lnTo>
                      <a:pt x="476549" y="157905"/>
                    </a:lnTo>
                    <a:close/>
                    <a:moveTo>
                      <a:pt x="487878" y="220218"/>
                    </a:moveTo>
                    <a:lnTo>
                      <a:pt x="513369" y="172067"/>
                    </a:lnTo>
                    <a:lnTo>
                      <a:pt x="732879" y="244293"/>
                    </a:lnTo>
                    <a:lnTo>
                      <a:pt x="487878" y="220218"/>
                    </a:lnTo>
                    <a:close/>
                    <a:moveTo>
                      <a:pt x="762619" y="633745"/>
                    </a:moveTo>
                    <a:lnTo>
                      <a:pt x="762619" y="633745"/>
                    </a:lnTo>
                    <a:lnTo>
                      <a:pt x="962302" y="690393"/>
                    </a:lnTo>
                    <a:lnTo>
                      <a:pt x="962302" y="690393"/>
                    </a:lnTo>
                    <a:lnTo>
                      <a:pt x="1004788" y="687560"/>
                    </a:lnTo>
                    <a:lnTo>
                      <a:pt x="727214" y="771116"/>
                    </a:lnTo>
                    <a:lnTo>
                      <a:pt x="571433" y="640826"/>
                    </a:lnTo>
                    <a:lnTo>
                      <a:pt x="735712" y="662069"/>
                    </a:lnTo>
                    <a:lnTo>
                      <a:pt x="737128" y="662069"/>
                    </a:lnTo>
                    <a:lnTo>
                      <a:pt x="536029" y="541693"/>
                    </a:lnTo>
                    <a:lnTo>
                      <a:pt x="536029" y="541693"/>
                    </a:lnTo>
                    <a:lnTo>
                      <a:pt x="545942" y="618167"/>
                    </a:lnTo>
                    <a:lnTo>
                      <a:pt x="465219" y="551607"/>
                    </a:lnTo>
                    <a:lnTo>
                      <a:pt x="621000" y="459554"/>
                    </a:lnTo>
                    <a:lnTo>
                      <a:pt x="662069" y="490710"/>
                    </a:lnTo>
                    <a:lnTo>
                      <a:pt x="662069" y="490710"/>
                    </a:lnTo>
                    <a:lnTo>
                      <a:pt x="669150" y="431230"/>
                    </a:lnTo>
                    <a:lnTo>
                      <a:pt x="725798" y="397241"/>
                    </a:lnTo>
                    <a:lnTo>
                      <a:pt x="795192" y="418484"/>
                    </a:lnTo>
                    <a:lnTo>
                      <a:pt x="795192" y="418484"/>
                    </a:lnTo>
                    <a:lnTo>
                      <a:pt x="795192" y="407155"/>
                    </a:lnTo>
                    <a:lnTo>
                      <a:pt x="887244" y="452473"/>
                    </a:lnTo>
                    <a:lnTo>
                      <a:pt x="762619" y="633745"/>
                    </a:lnTo>
                    <a:close/>
                    <a:moveTo>
                      <a:pt x="987794" y="956637"/>
                    </a:moveTo>
                    <a:lnTo>
                      <a:pt x="1064268" y="683312"/>
                    </a:lnTo>
                    <a:lnTo>
                      <a:pt x="1078430" y="681896"/>
                    </a:lnTo>
                    <a:lnTo>
                      <a:pt x="1078430" y="965134"/>
                    </a:lnTo>
                    <a:lnTo>
                      <a:pt x="987794" y="956637"/>
                    </a:lnTo>
                    <a:close/>
                    <a:moveTo>
                      <a:pt x="738544" y="1503287"/>
                    </a:moveTo>
                    <a:lnTo>
                      <a:pt x="772532" y="1486292"/>
                    </a:lnTo>
                    <a:lnTo>
                      <a:pt x="793775" y="1541524"/>
                    </a:lnTo>
                    <a:lnTo>
                      <a:pt x="738544" y="1503287"/>
                    </a:lnTo>
                    <a:close/>
                    <a:moveTo>
                      <a:pt x="754122" y="1564183"/>
                    </a:moveTo>
                    <a:lnTo>
                      <a:pt x="703139" y="1586842"/>
                    </a:lnTo>
                    <a:lnTo>
                      <a:pt x="649324" y="1547189"/>
                    </a:lnTo>
                    <a:lnTo>
                      <a:pt x="679064" y="1533027"/>
                    </a:lnTo>
                    <a:lnTo>
                      <a:pt x="754122" y="1564183"/>
                    </a:lnTo>
                    <a:close/>
                    <a:moveTo>
                      <a:pt x="558688" y="1544356"/>
                    </a:moveTo>
                    <a:lnTo>
                      <a:pt x="550190" y="1593923"/>
                    </a:lnTo>
                    <a:lnTo>
                      <a:pt x="458138" y="1639241"/>
                    </a:lnTo>
                    <a:lnTo>
                      <a:pt x="380247" y="1608085"/>
                    </a:lnTo>
                    <a:lnTo>
                      <a:pt x="429814" y="1500454"/>
                    </a:lnTo>
                    <a:lnTo>
                      <a:pt x="558688" y="1544356"/>
                    </a:lnTo>
                    <a:close/>
                    <a:moveTo>
                      <a:pt x="299525" y="101258"/>
                    </a:moveTo>
                    <a:lnTo>
                      <a:pt x="265536" y="164986"/>
                    </a:lnTo>
                    <a:lnTo>
                      <a:pt x="264120" y="89928"/>
                    </a:lnTo>
                    <a:lnTo>
                      <a:pt x="299525" y="101258"/>
                    </a:lnTo>
                    <a:close/>
                    <a:moveTo>
                      <a:pt x="346259" y="724382"/>
                    </a:moveTo>
                    <a:lnTo>
                      <a:pt x="346259" y="738543"/>
                    </a:lnTo>
                    <a:lnTo>
                      <a:pt x="340594" y="731462"/>
                    </a:lnTo>
                    <a:lnTo>
                      <a:pt x="346259" y="724382"/>
                    </a:lnTo>
                    <a:close/>
                    <a:moveTo>
                      <a:pt x="329265" y="745624"/>
                    </a:moveTo>
                    <a:lnTo>
                      <a:pt x="339178" y="732879"/>
                    </a:lnTo>
                    <a:lnTo>
                      <a:pt x="346259" y="742792"/>
                    </a:lnTo>
                    <a:lnTo>
                      <a:pt x="346259" y="754122"/>
                    </a:lnTo>
                    <a:lnTo>
                      <a:pt x="329265" y="745624"/>
                    </a:lnTo>
                    <a:close/>
                    <a:moveTo>
                      <a:pt x="568601" y="640826"/>
                    </a:moveTo>
                    <a:lnTo>
                      <a:pt x="725798" y="772532"/>
                    </a:lnTo>
                    <a:lnTo>
                      <a:pt x="571433" y="819266"/>
                    </a:lnTo>
                    <a:lnTo>
                      <a:pt x="548774" y="639410"/>
                    </a:lnTo>
                    <a:lnTo>
                      <a:pt x="568601" y="640826"/>
                    </a:lnTo>
                    <a:close/>
                    <a:moveTo>
                      <a:pt x="528948" y="833428"/>
                    </a:moveTo>
                    <a:lnTo>
                      <a:pt x="570017" y="820683"/>
                    </a:lnTo>
                    <a:lnTo>
                      <a:pt x="572850" y="839093"/>
                    </a:lnTo>
                    <a:lnTo>
                      <a:pt x="528948" y="833428"/>
                    </a:lnTo>
                    <a:close/>
                    <a:moveTo>
                      <a:pt x="360421" y="764035"/>
                    </a:moveTo>
                    <a:lnTo>
                      <a:pt x="394409" y="813602"/>
                    </a:lnTo>
                    <a:lnTo>
                      <a:pt x="344843" y="806521"/>
                    </a:lnTo>
                    <a:lnTo>
                      <a:pt x="346259" y="756954"/>
                    </a:lnTo>
                    <a:lnTo>
                      <a:pt x="360421" y="764035"/>
                    </a:lnTo>
                    <a:close/>
                    <a:moveTo>
                      <a:pt x="357588" y="761203"/>
                    </a:moveTo>
                    <a:lnTo>
                      <a:pt x="346259" y="755538"/>
                    </a:lnTo>
                    <a:lnTo>
                      <a:pt x="346259" y="745624"/>
                    </a:lnTo>
                    <a:lnTo>
                      <a:pt x="357588" y="761203"/>
                    </a:lnTo>
                    <a:close/>
                    <a:moveTo>
                      <a:pt x="356172" y="462386"/>
                    </a:moveTo>
                    <a:lnTo>
                      <a:pt x="500624" y="370334"/>
                    </a:lnTo>
                    <a:lnTo>
                      <a:pt x="540277" y="400074"/>
                    </a:lnTo>
                    <a:lnTo>
                      <a:pt x="421317" y="516202"/>
                    </a:lnTo>
                    <a:lnTo>
                      <a:pt x="356172" y="462386"/>
                    </a:lnTo>
                    <a:close/>
                    <a:moveTo>
                      <a:pt x="623832" y="320767"/>
                    </a:moveTo>
                    <a:lnTo>
                      <a:pt x="684729" y="261287"/>
                    </a:lnTo>
                    <a:lnTo>
                      <a:pt x="676231" y="346259"/>
                    </a:lnTo>
                    <a:lnTo>
                      <a:pt x="623832" y="320767"/>
                    </a:lnTo>
                    <a:close/>
                    <a:moveTo>
                      <a:pt x="666318" y="432646"/>
                    </a:moveTo>
                    <a:lnTo>
                      <a:pt x="660653" y="487878"/>
                    </a:lnTo>
                    <a:lnTo>
                      <a:pt x="622416" y="458138"/>
                    </a:lnTo>
                    <a:lnTo>
                      <a:pt x="666318" y="432646"/>
                    </a:lnTo>
                    <a:close/>
                    <a:moveTo>
                      <a:pt x="727214" y="659237"/>
                    </a:moveTo>
                    <a:lnTo>
                      <a:pt x="568601" y="637994"/>
                    </a:lnTo>
                    <a:lnTo>
                      <a:pt x="545942" y="619584"/>
                    </a:lnTo>
                    <a:lnTo>
                      <a:pt x="536029" y="544526"/>
                    </a:lnTo>
                    <a:lnTo>
                      <a:pt x="727214" y="659237"/>
                    </a:lnTo>
                    <a:close/>
                    <a:moveTo>
                      <a:pt x="353340" y="538860"/>
                    </a:moveTo>
                    <a:lnTo>
                      <a:pt x="354756" y="463803"/>
                    </a:lnTo>
                    <a:lnTo>
                      <a:pt x="421317" y="519034"/>
                    </a:lnTo>
                    <a:lnTo>
                      <a:pt x="388745" y="551607"/>
                    </a:lnTo>
                    <a:lnTo>
                      <a:pt x="353340" y="538860"/>
                    </a:lnTo>
                    <a:close/>
                    <a:moveTo>
                      <a:pt x="548774" y="340594"/>
                    </a:moveTo>
                    <a:lnTo>
                      <a:pt x="596925" y="309438"/>
                    </a:lnTo>
                    <a:lnTo>
                      <a:pt x="621000" y="322183"/>
                    </a:lnTo>
                    <a:lnTo>
                      <a:pt x="589844" y="353340"/>
                    </a:lnTo>
                    <a:lnTo>
                      <a:pt x="548774" y="340594"/>
                    </a:lnTo>
                    <a:close/>
                    <a:moveTo>
                      <a:pt x="618168" y="458138"/>
                    </a:moveTo>
                    <a:lnTo>
                      <a:pt x="462387" y="550190"/>
                    </a:lnTo>
                    <a:lnTo>
                      <a:pt x="424150" y="517618"/>
                    </a:lnTo>
                    <a:lnTo>
                      <a:pt x="543110" y="401490"/>
                    </a:lnTo>
                    <a:lnTo>
                      <a:pt x="618168" y="458138"/>
                    </a:lnTo>
                    <a:close/>
                    <a:moveTo>
                      <a:pt x="462387" y="553022"/>
                    </a:moveTo>
                    <a:lnTo>
                      <a:pt x="544526" y="622416"/>
                    </a:lnTo>
                    <a:lnTo>
                      <a:pt x="545942" y="636578"/>
                    </a:lnTo>
                    <a:lnTo>
                      <a:pt x="428398" y="621000"/>
                    </a:lnTo>
                    <a:lnTo>
                      <a:pt x="428398" y="621000"/>
                    </a:lnTo>
                    <a:lnTo>
                      <a:pt x="347675" y="720133"/>
                    </a:lnTo>
                    <a:lnTo>
                      <a:pt x="350507" y="619584"/>
                    </a:lnTo>
                    <a:lnTo>
                      <a:pt x="462387" y="553022"/>
                    </a:lnTo>
                    <a:close/>
                    <a:moveTo>
                      <a:pt x="460970" y="551607"/>
                    </a:moveTo>
                    <a:lnTo>
                      <a:pt x="351924" y="615335"/>
                    </a:lnTo>
                    <a:lnTo>
                      <a:pt x="353340" y="540277"/>
                    </a:lnTo>
                    <a:lnTo>
                      <a:pt x="388745" y="553022"/>
                    </a:lnTo>
                    <a:lnTo>
                      <a:pt x="388745" y="553022"/>
                    </a:lnTo>
                    <a:lnTo>
                      <a:pt x="422733" y="519034"/>
                    </a:lnTo>
                    <a:lnTo>
                      <a:pt x="460970" y="551607"/>
                    </a:lnTo>
                    <a:close/>
                    <a:moveTo>
                      <a:pt x="278282" y="511953"/>
                    </a:moveTo>
                    <a:lnTo>
                      <a:pt x="351924" y="465219"/>
                    </a:lnTo>
                    <a:lnTo>
                      <a:pt x="350507" y="538860"/>
                    </a:lnTo>
                    <a:lnTo>
                      <a:pt x="278282" y="511953"/>
                    </a:lnTo>
                    <a:close/>
                    <a:moveTo>
                      <a:pt x="565769" y="637994"/>
                    </a:moveTo>
                    <a:lnTo>
                      <a:pt x="550190" y="635162"/>
                    </a:lnTo>
                    <a:lnTo>
                      <a:pt x="548774" y="622416"/>
                    </a:lnTo>
                    <a:lnTo>
                      <a:pt x="565769" y="637994"/>
                    </a:lnTo>
                    <a:close/>
                    <a:moveTo>
                      <a:pt x="621000" y="458138"/>
                    </a:moveTo>
                    <a:lnTo>
                      <a:pt x="544526" y="400074"/>
                    </a:lnTo>
                    <a:lnTo>
                      <a:pt x="589844" y="356172"/>
                    </a:lnTo>
                    <a:lnTo>
                      <a:pt x="671983" y="381664"/>
                    </a:lnTo>
                    <a:lnTo>
                      <a:pt x="666318" y="431230"/>
                    </a:lnTo>
                    <a:lnTo>
                      <a:pt x="621000" y="458138"/>
                    </a:lnTo>
                    <a:close/>
                    <a:moveTo>
                      <a:pt x="591260" y="353340"/>
                    </a:moveTo>
                    <a:lnTo>
                      <a:pt x="622416" y="322183"/>
                    </a:lnTo>
                    <a:lnTo>
                      <a:pt x="674815" y="347675"/>
                    </a:lnTo>
                    <a:lnTo>
                      <a:pt x="671983" y="377415"/>
                    </a:lnTo>
                    <a:lnTo>
                      <a:pt x="591260" y="353340"/>
                    </a:lnTo>
                    <a:close/>
                    <a:moveTo>
                      <a:pt x="587012" y="354756"/>
                    </a:moveTo>
                    <a:lnTo>
                      <a:pt x="541693" y="398658"/>
                    </a:lnTo>
                    <a:lnTo>
                      <a:pt x="502040" y="368918"/>
                    </a:lnTo>
                    <a:lnTo>
                      <a:pt x="544526" y="342010"/>
                    </a:lnTo>
                    <a:lnTo>
                      <a:pt x="587012" y="354756"/>
                    </a:lnTo>
                    <a:close/>
                    <a:moveTo>
                      <a:pt x="349091" y="722965"/>
                    </a:moveTo>
                    <a:lnTo>
                      <a:pt x="429814" y="622416"/>
                    </a:lnTo>
                    <a:lnTo>
                      <a:pt x="547358" y="637994"/>
                    </a:lnTo>
                    <a:lnTo>
                      <a:pt x="570017" y="819266"/>
                    </a:lnTo>
                    <a:lnTo>
                      <a:pt x="524699" y="833428"/>
                    </a:lnTo>
                    <a:lnTo>
                      <a:pt x="489294" y="827764"/>
                    </a:lnTo>
                    <a:lnTo>
                      <a:pt x="361837" y="762619"/>
                    </a:lnTo>
                    <a:lnTo>
                      <a:pt x="347675" y="742792"/>
                    </a:lnTo>
                    <a:lnTo>
                      <a:pt x="349091" y="722965"/>
                    </a:lnTo>
                    <a:close/>
                    <a:moveTo>
                      <a:pt x="722966" y="397241"/>
                    </a:moveTo>
                    <a:lnTo>
                      <a:pt x="669150" y="429814"/>
                    </a:lnTo>
                    <a:lnTo>
                      <a:pt x="674815" y="383079"/>
                    </a:lnTo>
                    <a:lnTo>
                      <a:pt x="722966" y="397241"/>
                    </a:lnTo>
                    <a:close/>
                    <a:moveTo>
                      <a:pt x="543110" y="340594"/>
                    </a:moveTo>
                    <a:lnTo>
                      <a:pt x="500624" y="367502"/>
                    </a:lnTo>
                    <a:lnTo>
                      <a:pt x="411404" y="299524"/>
                    </a:lnTo>
                    <a:lnTo>
                      <a:pt x="543110" y="340594"/>
                    </a:lnTo>
                    <a:close/>
                    <a:moveTo>
                      <a:pt x="327848" y="271200"/>
                    </a:moveTo>
                    <a:lnTo>
                      <a:pt x="357588" y="242877"/>
                    </a:lnTo>
                    <a:lnTo>
                      <a:pt x="356172" y="279698"/>
                    </a:lnTo>
                    <a:lnTo>
                      <a:pt x="327848" y="271200"/>
                    </a:lnTo>
                    <a:close/>
                    <a:moveTo>
                      <a:pt x="407155" y="360421"/>
                    </a:moveTo>
                    <a:lnTo>
                      <a:pt x="356172" y="394409"/>
                    </a:lnTo>
                    <a:lnTo>
                      <a:pt x="357588" y="344843"/>
                    </a:lnTo>
                    <a:lnTo>
                      <a:pt x="407155" y="360421"/>
                    </a:lnTo>
                    <a:close/>
                    <a:moveTo>
                      <a:pt x="357588" y="282530"/>
                    </a:moveTo>
                    <a:lnTo>
                      <a:pt x="356172" y="342010"/>
                    </a:lnTo>
                    <a:lnTo>
                      <a:pt x="279698" y="317935"/>
                    </a:lnTo>
                    <a:lnTo>
                      <a:pt x="326432" y="274033"/>
                    </a:lnTo>
                    <a:lnTo>
                      <a:pt x="357588" y="282530"/>
                    </a:lnTo>
                    <a:close/>
                    <a:moveTo>
                      <a:pt x="354756" y="397241"/>
                    </a:moveTo>
                    <a:lnTo>
                      <a:pt x="353340" y="458138"/>
                    </a:lnTo>
                    <a:lnTo>
                      <a:pt x="313687" y="425565"/>
                    </a:lnTo>
                    <a:lnTo>
                      <a:pt x="354756" y="397241"/>
                    </a:lnTo>
                    <a:close/>
                    <a:moveTo>
                      <a:pt x="354756" y="460970"/>
                    </a:moveTo>
                    <a:lnTo>
                      <a:pt x="356172" y="397241"/>
                    </a:lnTo>
                    <a:lnTo>
                      <a:pt x="411404" y="360421"/>
                    </a:lnTo>
                    <a:lnTo>
                      <a:pt x="411404" y="360421"/>
                    </a:lnTo>
                    <a:lnTo>
                      <a:pt x="357588" y="343426"/>
                    </a:lnTo>
                    <a:lnTo>
                      <a:pt x="359005" y="283946"/>
                    </a:lnTo>
                    <a:lnTo>
                      <a:pt x="405739" y="298108"/>
                    </a:lnTo>
                    <a:lnTo>
                      <a:pt x="499207" y="368918"/>
                    </a:lnTo>
                    <a:lnTo>
                      <a:pt x="354756" y="460970"/>
                    </a:lnTo>
                    <a:close/>
                    <a:moveTo>
                      <a:pt x="356172" y="343426"/>
                    </a:moveTo>
                    <a:lnTo>
                      <a:pt x="354756" y="394409"/>
                    </a:lnTo>
                    <a:lnTo>
                      <a:pt x="310854" y="424149"/>
                    </a:lnTo>
                    <a:lnTo>
                      <a:pt x="232964" y="359004"/>
                    </a:lnTo>
                    <a:lnTo>
                      <a:pt x="276865" y="317935"/>
                    </a:lnTo>
                    <a:lnTo>
                      <a:pt x="356172" y="343426"/>
                    </a:lnTo>
                    <a:close/>
                    <a:moveTo>
                      <a:pt x="349091" y="619584"/>
                    </a:moveTo>
                    <a:lnTo>
                      <a:pt x="346259" y="721549"/>
                    </a:lnTo>
                    <a:lnTo>
                      <a:pt x="339178" y="730046"/>
                    </a:lnTo>
                    <a:lnTo>
                      <a:pt x="286779" y="654988"/>
                    </a:lnTo>
                    <a:lnTo>
                      <a:pt x="349091" y="619584"/>
                    </a:lnTo>
                    <a:close/>
                    <a:moveTo>
                      <a:pt x="398658" y="815018"/>
                    </a:moveTo>
                    <a:lnTo>
                      <a:pt x="364669" y="766867"/>
                    </a:lnTo>
                    <a:lnTo>
                      <a:pt x="482213" y="827764"/>
                    </a:lnTo>
                    <a:lnTo>
                      <a:pt x="398658" y="815018"/>
                    </a:lnTo>
                    <a:close/>
                    <a:moveTo>
                      <a:pt x="426982" y="856088"/>
                    </a:moveTo>
                    <a:lnTo>
                      <a:pt x="400074" y="817850"/>
                    </a:lnTo>
                    <a:lnTo>
                      <a:pt x="489294" y="830596"/>
                    </a:lnTo>
                    <a:lnTo>
                      <a:pt x="506288" y="839093"/>
                    </a:lnTo>
                    <a:lnTo>
                      <a:pt x="465219" y="851839"/>
                    </a:lnTo>
                    <a:lnTo>
                      <a:pt x="426982" y="856088"/>
                    </a:lnTo>
                    <a:close/>
                    <a:moveTo>
                      <a:pt x="674815" y="380247"/>
                    </a:moveTo>
                    <a:lnTo>
                      <a:pt x="677648" y="350507"/>
                    </a:lnTo>
                    <a:lnTo>
                      <a:pt x="745625" y="384496"/>
                    </a:lnTo>
                    <a:lnTo>
                      <a:pt x="725798" y="395826"/>
                    </a:lnTo>
                    <a:lnTo>
                      <a:pt x="674815" y="380247"/>
                    </a:lnTo>
                    <a:close/>
                    <a:moveTo>
                      <a:pt x="200391" y="292443"/>
                    </a:moveTo>
                    <a:lnTo>
                      <a:pt x="264120" y="172067"/>
                    </a:lnTo>
                    <a:lnTo>
                      <a:pt x="266952" y="254206"/>
                    </a:lnTo>
                    <a:lnTo>
                      <a:pt x="266952" y="254206"/>
                    </a:lnTo>
                    <a:lnTo>
                      <a:pt x="325016" y="272617"/>
                    </a:lnTo>
                    <a:lnTo>
                      <a:pt x="278282" y="316519"/>
                    </a:lnTo>
                    <a:lnTo>
                      <a:pt x="200391" y="292443"/>
                    </a:lnTo>
                    <a:close/>
                    <a:moveTo>
                      <a:pt x="310854" y="426981"/>
                    </a:moveTo>
                    <a:lnTo>
                      <a:pt x="353340" y="462386"/>
                    </a:lnTo>
                    <a:lnTo>
                      <a:pt x="275449" y="511953"/>
                    </a:lnTo>
                    <a:lnTo>
                      <a:pt x="275449" y="511953"/>
                    </a:lnTo>
                    <a:lnTo>
                      <a:pt x="351924" y="540277"/>
                    </a:lnTo>
                    <a:lnTo>
                      <a:pt x="350507" y="618167"/>
                    </a:lnTo>
                    <a:lnTo>
                      <a:pt x="288195" y="654988"/>
                    </a:lnTo>
                    <a:lnTo>
                      <a:pt x="189062" y="511953"/>
                    </a:lnTo>
                    <a:lnTo>
                      <a:pt x="310854" y="426981"/>
                    </a:lnTo>
                    <a:close/>
                    <a:moveTo>
                      <a:pt x="519034" y="834845"/>
                    </a:moveTo>
                    <a:lnTo>
                      <a:pt x="507705" y="837677"/>
                    </a:lnTo>
                    <a:lnTo>
                      <a:pt x="493543" y="830596"/>
                    </a:lnTo>
                    <a:lnTo>
                      <a:pt x="519034" y="834845"/>
                    </a:lnTo>
                    <a:close/>
                    <a:moveTo>
                      <a:pt x="510537" y="839093"/>
                    </a:moveTo>
                    <a:lnTo>
                      <a:pt x="524699" y="834845"/>
                    </a:lnTo>
                    <a:lnTo>
                      <a:pt x="572850" y="841926"/>
                    </a:lnTo>
                    <a:lnTo>
                      <a:pt x="577098" y="873082"/>
                    </a:lnTo>
                    <a:lnTo>
                      <a:pt x="510537" y="839093"/>
                    </a:lnTo>
                    <a:close/>
                    <a:moveTo>
                      <a:pt x="1016117" y="1001955"/>
                    </a:moveTo>
                    <a:lnTo>
                      <a:pt x="1016117" y="1001955"/>
                    </a:lnTo>
                    <a:lnTo>
                      <a:pt x="975048" y="1004788"/>
                    </a:lnTo>
                    <a:lnTo>
                      <a:pt x="980713" y="982128"/>
                    </a:lnTo>
                    <a:lnTo>
                      <a:pt x="1016117" y="1001955"/>
                    </a:lnTo>
                    <a:close/>
                    <a:moveTo>
                      <a:pt x="962302" y="1048689"/>
                    </a:moveTo>
                    <a:lnTo>
                      <a:pt x="973632" y="1007620"/>
                    </a:lnTo>
                    <a:lnTo>
                      <a:pt x="1011869" y="1006203"/>
                    </a:lnTo>
                    <a:lnTo>
                      <a:pt x="966551" y="1052938"/>
                    </a:lnTo>
                    <a:lnTo>
                      <a:pt x="962302" y="1048689"/>
                    </a:lnTo>
                    <a:close/>
                    <a:moveTo>
                      <a:pt x="938227" y="1132245"/>
                    </a:moveTo>
                    <a:lnTo>
                      <a:pt x="958054" y="1064267"/>
                    </a:lnTo>
                    <a:lnTo>
                      <a:pt x="966551" y="1055770"/>
                    </a:lnTo>
                    <a:lnTo>
                      <a:pt x="1055771" y="1140742"/>
                    </a:lnTo>
                    <a:lnTo>
                      <a:pt x="938227" y="1132245"/>
                    </a:lnTo>
                    <a:close/>
                    <a:moveTo>
                      <a:pt x="686145" y="1258286"/>
                    </a:moveTo>
                    <a:lnTo>
                      <a:pt x="697474" y="1288026"/>
                    </a:lnTo>
                    <a:lnTo>
                      <a:pt x="630913" y="1290858"/>
                    </a:lnTo>
                    <a:lnTo>
                      <a:pt x="686145" y="1258286"/>
                    </a:lnTo>
                    <a:close/>
                    <a:moveTo>
                      <a:pt x="745625" y="1014701"/>
                    </a:moveTo>
                    <a:lnTo>
                      <a:pt x="738544" y="994874"/>
                    </a:lnTo>
                    <a:lnTo>
                      <a:pt x="738544" y="994874"/>
                    </a:lnTo>
                    <a:lnTo>
                      <a:pt x="725798" y="1016117"/>
                    </a:lnTo>
                    <a:lnTo>
                      <a:pt x="680480" y="1017533"/>
                    </a:lnTo>
                    <a:lnTo>
                      <a:pt x="832012" y="928313"/>
                    </a:lnTo>
                    <a:lnTo>
                      <a:pt x="915568" y="1007620"/>
                    </a:lnTo>
                    <a:lnTo>
                      <a:pt x="745625" y="1014701"/>
                    </a:lnTo>
                    <a:close/>
                    <a:moveTo>
                      <a:pt x="959470" y="1060019"/>
                    </a:moveTo>
                    <a:lnTo>
                      <a:pt x="962302" y="1050105"/>
                    </a:lnTo>
                    <a:lnTo>
                      <a:pt x="965135" y="1052938"/>
                    </a:lnTo>
                    <a:lnTo>
                      <a:pt x="959470" y="1060019"/>
                    </a:lnTo>
                    <a:close/>
                    <a:moveTo>
                      <a:pt x="894325" y="1129412"/>
                    </a:moveTo>
                    <a:lnTo>
                      <a:pt x="955221" y="1067100"/>
                    </a:lnTo>
                    <a:lnTo>
                      <a:pt x="936811" y="1132245"/>
                    </a:lnTo>
                    <a:lnTo>
                      <a:pt x="894325" y="1129412"/>
                    </a:lnTo>
                    <a:close/>
                    <a:moveTo>
                      <a:pt x="894325" y="1282361"/>
                    </a:moveTo>
                    <a:lnTo>
                      <a:pt x="864585" y="1385743"/>
                    </a:lnTo>
                    <a:lnTo>
                      <a:pt x="832012" y="1283777"/>
                    </a:lnTo>
                    <a:lnTo>
                      <a:pt x="894325" y="1282361"/>
                    </a:lnTo>
                    <a:close/>
                    <a:moveTo>
                      <a:pt x="897157" y="1279529"/>
                    </a:moveTo>
                    <a:lnTo>
                      <a:pt x="904238" y="1252621"/>
                    </a:lnTo>
                    <a:lnTo>
                      <a:pt x="1040193" y="1273864"/>
                    </a:lnTo>
                    <a:lnTo>
                      <a:pt x="897157" y="1279529"/>
                    </a:lnTo>
                    <a:close/>
                    <a:moveTo>
                      <a:pt x="902822" y="1252621"/>
                    </a:moveTo>
                    <a:lnTo>
                      <a:pt x="895741" y="1279529"/>
                    </a:lnTo>
                    <a:lnTo>
                      <a:pt x="833429" y="1282361"/>
                    </a:lnTo>
                    <a:lnTo>
                      <a:pt x="819267" y="1238459"/>
                    </a:lnTo>
                    <a:lnTo>
                      <a:pt x="902822" y="1252621"/>
                    </a:lnTo>
                    <a:close/>
                    <a:moveTo>
                      <a:pt x="890076" y="1130829"/>
                    </a:moveTo>
                    <a:lnTo>
                      <a:pt x="890076" y="1130829"/>
                    </a:lnTo>
                    <a:lnTo>
                      <a:pt x="936811" y="1133661"/>
                    </a:lnTo>
                    <a:lnTo>
                      <a:pt x="904238" y="1249788"/>
                    </a:lnTo>
                    <a:lnTo>
                      <a:pt x="817851" y="1235627"/>
                    </a:lnTo>
                    <a:lnTo>
                      <a:pt x="747041" y="1016117"/>
                    </a:lnTo>
                    <a:lnTo>
                      <a:pt x="919817" y="1009036"/>
                    </a:lnTo>
                    <a:lnTo>
                      <a:pt x="960886" y="1047273"/>
                    </a:lnTo>
                    <a:lnTo>
                      <a:pt x="956637" y="1061435"/>
                    </a:lnTo>
                    <a:lnTo>
                      <a:pt x="890076" y="1130829"/>
                    </a:lnTo>
                    <a:close/>
                    <a:moveTo>
                      <a:pt x="922649" y="1009036"/>
                    </a:moveTo>
                    <a:lnTo>
                      <a:pt x="972216" y="1007620"/>
                    </a:lnTo>
                    <a:lnTo>
                      <a:pt x="960886" y="1045857"/>
                    </a:lnTo>
                    <a:lnTo>
                      <a:pt x="922649" y="1009036"/>
                    </a:lnTo>
                    <a:close/>
                    <a:moveTo>
                      <a:pt x="856088" y="915567"/>
                    </a:moveTo>
                    <a:lnTo>
                      <a:pt x="977880" y="982128"/>
                    </a:lnTo>
                    <a:lnTo>
                      <a:pt x="970799" y="1004788"/>
                    </a:lnTo>
                    <a:lnTo>
                      <a:pt x="918400" y="1007620"/>
                    </a:lnTo>
                    <a:lnTo>
                      <a:pt x="834845" y="928313"/>
                    </a:lnTo>
                    <a:lnTo>
                      <a:pt x="856088" y="915567"/>
                    </a:lnTo>
                    <a:close/>
                    <a:moveTo>
                      <a:pt x="730047" y="1016117"/>
                    </a:moveTo>
                    <a:lnTo>
                      <a:pt x="738544" y="1000539"/>
                    </a:lnTo>
                    <a:lnTo>
                      <a:pt x="744209" y="1016117"/>
                    </a:lnTo>
                    <a:lnTo>
                      <a:pt x="730047" y="1016117"/>
                    </a:lnTo>
                    <a:close/>
                    <a:moveTo>
                      <a:pt x="744209" y="1017533"/>
                    </a:moveTo>
                    <a:lnTo>
                      <a:pt x="815018" y="1237043"/>
                    </a:lnTo>
                    <a:lnTo>
                      <a:pt x="741376" y="1225713"/>
                    </a:lnTo>
                    <a:lnTo>
                      <a:pt x="741376" y="1225713"/>
                    </a:lnTo>
                    <a:lnTo>
                      <a:pt x="687561" y="1256869"/>
                    </a:lnTo>
                    <a:lnTo>
                      <a:pt x="650740" y="1157736"/>
                    </a:lnTo>
                    <a:lnTo>
                      <a:pt x="728631" y="1018949"/>
                    </a:lnTo>
                    <a:lnTo>
                      <a:pt x="744209" y="1017533"/>
                    </a:lnTo>
                    <a:close/>
                    <a:moveTo>
                      <a:pt x="742793" y="1227129"/>
                    </a:moveTo>
                    <a:lnTo>
                      <a:pt x="816434" y="1238459"/>
                    </a:lnTo>
                    <a:lnTo>
                      <a:pt x="830596" y="1282361"/>
                    </a:lnTo>
                    <a:lnTo>
                      <a:pt x="700307" y="1288026"/>
                    </a:lnTo>
                    <a:lnTo>
                      <a:pt x="688977" y="1258286"/>
                    </a:lnTo>
                    <a:lnTo>
                      <a:pt x="742793" y="1227129"/>
                    </a:lnTo>
                    <a:close/>
                    <a:moveTo>
                      <a:pt x="686145" y="1256869"/>
                    </a:moveTo>
                    <a:lnTo>
                      <a:pt x="626665" y="1290858"/>
                    </a:lnTo>
                    <a:lnTo>
                      <a:pt x="605422" y="1292274"/>
                    </a:lnTo>
                    <a:lnTo>
                      <a:pt x="619584" y="1211551"/>
                    </a:lnTo>
                    <a:lnTo>
                      <a:pt x="649324" y="1159152"/>
                    </a:lnTo>
                    <a:lnTo>
                      <a:pt x="686145" y="1256869"/>
                    </a:lnTo>
                    <a:close/>
                    <a:moveTo>
                      <a:pt x="602590" y="1306436"/>
                    </a:moveTo>
                    <a:lnTo>
                      <a:pt x="626665" y="1292274"/>
                    </a:lnTo>
                    <a:lnTo>
                      <a:pt x="698891" y="1289442"/>
                    </a:lnTo>
                    <a:lnTo>
                      <a:pt x="771116" y="1484876"/>
                    </a:lnTo>
                    <a:lnTo>
                      <a:pt x="735712" y="1501870"/>
                    </a:lnTo>
                    <a:lnTo>
                      <a:pt x="585595" y="1395656"/>
                    </a:lnTo>
                    <a:lnTo>
                      <a:pt x="602590" y="1306436"/>
                    </a:lnTo>
                    <a:close/>
                    <a:moveTo>
                      <a:pt x="1017534" y="1003371"/>
                    </a:moveTo>
                    <a:lnTo>
                      <a:pt x="1018950" y="1001955"/>
                    </a:lnTo>
                    <a:lnTo>
                      <a:pt x="980713" y="982128"/>
                    </a:lnTo>
                    <a:lnTo>
                      <a:pt x="987794" y="958053"/>
                    </a:lnTo>
                    <a:lnTo>
                      <a:pt x="1079846" y="967967"/>
                    </a:lnTo>
                    <a:lnTo>
                      <a:pt x="1079846" y="1001955"/>
                    </a:lnTo>
                    <a:lnTo>
                      <a:pt x="1017534" y="1003371"/>
                    </a:lnTo>
                    <a:close/>
                    <a:moveTo>
                      <a:pt x="728631" y="773948"/>
                    </a:moveTo>
                    <a:lnTo>
                      <a:pt x="945308" y="953805"/>
                    </a:lnTo>
                    <a:lnTo>
                      <a:pt x="945308" y="953805"/>
                    </a:lnTo>
                    <a:lnTo>
                      <a:pt x="986377" y="958053"/>
                    </a:lnTo>
                    <a:lnTo>
                      <a:pt x="979296" y="980712"/>
                    </a:lnTo>
                    <a:lnTo>
                      <a:pt x="856088" y="914151"/>
                    </a:lnTo>
                    <a:lnTo>
                      <a:pt x="856088" y="914151"/>
                    </a:lnTo>
                    <a:lnTo>
                      <a:pt x="833429" y="926897"/>
                    </a:lnTo>
                    <a:lnTo>
                      <a:pt x="772532" y="868833"/>
                    </a:lnTo>
                    <a:lnTo>
                      <a:pt x="772532" y="868833"/>
                    </a:lnTo>
                    <a:lnTo>
                      <a:pt x="574266" y="840509"/>
                    </a:lnTo>
                    <a:lnTo>
                      <a:pt x="571433" y="820683"/>
                    </a:lnTo>
                    <a:lnTo>
                      <a:pt x="728631" y="773948"/>
                    </a:lnTo>
                    <a:close/>
                    <a:moveTo>
                      <a:pt x="725798" y="1017533"/>
                    </a:moveTo>
                    <a:lnTo>
                      <a:pt x="649324" y="1153488"/>
                    </a:lnTo>
                    <a:lnTo>
                      <a:pt x="619584" y="1075597"/>
                    </a:lnTo>
                    <a:lnTo>
                      <a:pt x="619584" y="1075597"/>
                    </a:lnTo>
                    <a:lnTo>
                      <a:pt x="565769" y="1194557"/>
                    </a:lnTo>
                    <a:lnTo>
                      <a:pt x="443976" y="1157736"/>
                    </a:lnTo>
                    <a:lnTo>
                      <a:pt x="679064" y="1020365"/>
                    </a:lnTo>
                    <a:lnTo>
                      <a:pt x="725798" y="1017533"/>
                    </a:lnTo>
                    <a:close/>
                    <a:moveTo>
                      <a:pt x="622416" y="1293690"/>
                    </a:moveTo>
                    <a:lnTo>
                      <a:pt x="602590" y="1305020"/>
                    </a:lnTo>
                    <a:lnTo>
                      <a:pt x="604006" y="1295107"/>
                    </a:lnTo>
                    <a:lnTo>
                      <a:pt x="622416" y="1293690"/>
                    </a:lnTo>
                    <a:close/>
                    <a:moveTo>
                      <a:pt x="657821" y="1608085"/>
                    </a:moveTo>
                    <a:lnTo>
                      <a:pt x="599757" y="1634993"/>
                    </a:lnTo>
                    <a:lnTo>
                      <a:pt x="596925" y="1623663"/>
                    </a:lnTo>
                    <a:lnTo>
                      <a:pt x="657821" y="1608085"/>
                    </a:lnTo>
                    <a:close/>
                    <a:moveTo>
                      <a:pt x="459554" y="1640657"/>
                    </a:moveTo>
                    <a:lnTo>
                      <a:pt x="548774" y="1596755"/>
                    </a:lnTo>
                    <a:lnTo>
                      <a:pt x="541693" y="1634993"/>
                    </a:lnTo>
                    <a:lnTo>
                      <a:pt x="482213" y="1649154"/>
                    </a:lnTo>
                    <a:lnTo>
                      <a:pt x="459554" y="1640657"/>
                    </a:lnTo>
                    <a:close/>
                    <a:moveTo>
                      <a:pt x="451057" y="1300771"/>
                    </a:moveTo>
                    <a:lnTo>
                      <a:pt x="519034" y="1297939"/>
                    </a:lnTo>
                    <a:lnTo>
                      <a:pt x="502040" y="1336176"/>
                    </a:lnTo>
                    <a:lnTo>
                      <a:pt x="451057" y="1300771"/>
                    </a:lnTo>
                    <a:close/>
                    <a:moveTo>
                      <a:pt x="594092" y="1625079"/>
                    </a:moveTo>
                    <a:lnTo>
                      <a:pt x="596925" y="1636408"/>
                    </a:lnTo>
                    <a:lnTo>
                      <a:pt x="538861" y="1663316"/>
                    </a:lnTo>
                    <a:lnTo>
                      <a:pt x="543110" y="1637825"/>
                    </a:lnTo>
                    <a:lnTo>
                      <a:pt x="594092" y="1625079"/>
                    </a:lnTo>
                    <a:close/>
                    <a:moveTo>
                      <a:pt x="483629" y="1374413"/>
                    </a:moveTo>
                    <a:lnTo>
                      <a:pt x="456722" y="1433893"/>
                    </a:lnTo>
                    <a:lnTo>
                      <a:pt x="412820" y="1415483"/>
                    </a:lnTo>
                    <a:lnTo>
                      <a:pt x="483629" y="1374413"/>
                    </a:lnTo>
                    <a:close/>
                    <a:moveTo>
                      <a:pt x="523283" y="1351754"/>
                    </a:moveTo>
                    <a:lnTo>
                      <a:pt x="599757" y="1307852"/>
                    </a:lnTo>
                    <a:lnTo>
                      <a:pt x="584179" y="1394240"/>
                    </a:lnTo>
                    <a:lnTo>
                      <a:pt x="523283" y="1351754"/>
                    </a:lnTo>
                    <a:close/>
                    <a:moveTo>
                      <a:pt x="571433" y="1547189"/>
                    </a:moveTo>
                    <a:lnTo>
                      <a:pt x="561520" y="1542940"/>
                    </a:lnTo>
                    <a:lnTo>
                      <a:pt x="565769" y="1523113"/>
                    </a:lnTo>
                    <a:lnTo>
                      <a:pt x="571433" y="1547189"/>
                    </a:lnTo>
                    <a:close/>
                    <a:moveTo>
                      <a:pt x="568601" y="1487708"/>
                    </a:moveTo>
                    <a:lnTo>
                      <a:pt x="564352" y="1513200"/>
                    </a:lnTo>
                    <a:lnTo>
                      <a:pt x="553023" y="1476379"/>
                    </a:lnTo>
                    <a:lnTo>
                      <a:pt x="555855" y="1477795"/>
                    </a:lnTo>
                    <a:lnTo>
                      <a:pt x="568601" y="1487708"/>
                    </a:lnTo>
                    <a:close/>
                    <a:moveTo>
                      <a:pt x="557271" y="1477795"/>
                    </a:moveTo>
                    <a:lnTo>
                      <a:pt x="548774" y="1472131"/>
                    </a:lnTo>
                    <a:lnTo>
                      <a:pt x="548774" y="1472131"/>
                    </a:lnTo>
                    <a:lnTo>
                      <a:pt x="550190" y="1474963"/>
                    </a:lnTo>
                    <a:lnTo>
                      <a:pt x="458138" y="1435310"/>
                    </a:lnTo>
                    <a:lnTo>
                      <a:pt x="486462" y="1372997"/>
                    </a:lnTo>
                    <a:lnTo>
                      <a:pt x="521867" y="1353170"/>
                    </a:lnTo>
                    <a:lnTo>
                      <a:pt x="584179" y="1397072"/>
                    </a:lnTo>
                    <a:lnTo>
                      <a:pt x="568601" y="1483460"/>
                    </a:lnTo>
                    <a:lnTo>
                      <a:pt x="557271" y="1477795"/>
                    </a:lnTo>
                    <a:close/>
                    <a:moveTo>
                      <a:pt x="571433" y="1548605"/>
                    </a:moveTo>
                    <a:lnTo>
                      <a:pt x="579931" y="1578345"/>
                    </a:lnTo>
                    <a:lnTo>
                      <a:pt x="551607" y="1592507"/>
                    </a:lnTo>
                    <a:lnTo>
                      <a:pt x="560104" y="1544356"/>
                    </a:lnTo>
                    <a:lnTo>
                      <a:pt x="571433" y="1548605"/>
                    </a:lnTo>
                    <a:close/>
                    <a:moveTo>
                      <a:pt x="612503" y="1562767"/>
                    </a:moveTo>
                    <a:lnTo>
                      <a:pt x="582763" y="1576929"/>
                    </a:lnTo>
                    <a:lnTo>
                      <a:pt x="574266" y="1548605"/>
                    </a:lnTo>
                    <a:lnTo>
                      <a:pt x="612503" y="1562767"/>
                    </a:lnTo>
                    <a:close/>
                    <a:moveTo>
                      <a:pt x="572850" y="1547189"/>
                    </a:moveTo>
                    <a:lnTo>
                      <a:pt x="564352" y="1518865"/>
                    </a:lnTo>
                    <a:lnTo>
                      <a:pt x="570017" y="1490541"/>
                    </a:lnTo>
                    <a:lnTo>
                      <a:pt x="645075" y="1547189"/>
                    </a:lnTo>
                    <a:lnTo>
                      <a:pt x="613919" y="1562767"/>
                    </a:lnTo>
                    <a:lnTo>
                      <a:pt x="572850" y="1547189"/>
                    </a:lnTo>
                    <a:close/>
                    <a:moveTo>
                      <a:pt x="550190" y="1476379"/>
                    </a:moveTo>
                    <a:lnTo>
                      <a:pt x="562936" y="1518865"/>
                    </a:lnTo>
                    <a:lnTo>
                      <a:pt x="558688" y="1542940"/>
                    </a:lnTo>
                    <a:lnTo>
                      <a:pt x="429814" y="1499038"/>
                    </a:lnTo>
                    <a:lnTo>
                      <a:pt x="458138" y="1436726"/>
                    </a:lnTo>
                    <a:lnTo>
                      <a:pt x="550190" y="1476379"/>
                    </a:lnTo>
                    <a:close/>
                    <a:moveTo>
                      <a:pt x="581347" y="1581177"/>
                    </a:moveTo>
                    <a:lnTo>
                      <a:pt x="594092" y="1623663"/>
                    </a:lnTo>
                    <a:lnTo>
                      <a:pt x="544526" y="1636408"/>
                    </a:lnTo>
                    <a:lnTo>
                      <a:pt x="551607" y="1596755"/>
                    </a:lnTo>
                    <a:lnTo>
                      <a:pt x="581347" y="1581177"/>
                    </a:lnTo>
                    <a:close/>
                    <a:moveTo>
                      <a:pt x="676231" y="1531610"/>
                    </a:moveTo>
                    <a:lnTo>
                      <a:pt x="647908" y="1545772"/>
                    </a:lnTo>
                    <a:lnTo>
                      <a:pt x="570017" y="1487708"/>
                    </a:lnTo>
                    <a:lnTo>
                      <a:pt x="570017" y="1486292"/>
                    </a:lnTo>
                    <a:lnTo>
                      <a:pt x="676231" y="1531610"/>
                    </a:lnTo>
                    <a:close/>
                    <a:moveTo>
                      <a:pt x="487878" y="1370165"/>
                    </a:moveTo>
                    <a:lnTo>
                      <a:pt x="502040" y="1339008"/>
                    </a:lnTo>
                    <a:lnTo>
                      <a:pt x="520450" y="1351754"/>
                    </a:lnTo>
                    <a:lnTo>
                      <a:pt x="487878" y="1370165"/>
                    </a:lnTo>
                    <a:close/>
                    <a:moveTo>
                      <a:pt x="595509" y="1622246"/>
                    </a:moveTo>
                    <a:lnTo>
                      <a:pt x="582763" y="1579761"/>
                    </a:lnTo>
                    <a:lnTo>
                      <a:pt x="615335" y="1564183"/>
                    </a:lnTo>
                    <a:lnTo>
                      <a:pt x="696058" y="1591091"/>
                    </a:lnTo>
                    <a:lnTo>
                      <a:pt x="667734" y="1603836"/>
                    </a:lnTo>
                    <a:lnTo>
                      <a:pt x="595509" y="1622246"/>
                    </a:lnTo>
                    <a:close/>
                    <a:moveTo>
                      <a:pt x="647908" y="1548605"/>
                    </a:moveTo>
                    <a:lnTo>
                      <a:pt x="701723" y="1589674"/>
                    </a:lnTo>
                    <a:lnTo>
                      <a:pt x="698891" y="1591091"/>
                    </a:lnTo>
                    <a:lnTo>
                      <a:pt x="618168" y="1564183"/>
                    </a:lnTo>
                    <a:lnTo>
                      <a:pt x="647908" y="1548605"/>
                    </a:lnTo>
                    <a:close/>
                    <a:moveTo>
                      <a:pt x="571433" y="1483460"/>
                    </a:moveTo>
                    <a:lnTo>
                      <a:pt x="587012" y="1398488"/>
                    </a:lnTo>
                    <a:lnTo>
                      <a:pt x="734295" y="1503287"/>
                    </a:lnTo>
                    <a:lnTo>
                      <a:pt x="679064" y="1530194"/>
                    </a:lnTo>
                    <a:lnTo>
                      <a:pt x="571433" y="1483460"/>
                    </a:lnTo>
                    <a:close/>
                    <a:moveTo>
                      <a:pt x="599757" y="1305020"/>
                    </a:moveTo>
                    <a:lnTo>
                      <a:pt x="521867" y="1350338"/>
                    </a:lnTo>
                    <a:lnTo>
                      <a:pt x="503456" y="1336176"/>
                    </a:lnTo>
                    <a:lnTo>
                      <a:pt x="521867" y="1296523"/>
                    </a:lnTo>
                    <a:lnTo>
                      <a:pt x="604006" y="1293690"/>
                    </a:lnTo>
                    <a:lnTo>
                      <a:pt x="599757" y="1305020"/>
                    </a:lnTo>
                    <a:close/>
                    <a:moveTo>
                      <a:pt x="598341" y="1637825"/>
                    </a:moveTo>
                    <a:lnTo>
                      <a:pt x="619584" y="1707218"/>
                    </a:lnTo>
                    <a:lnTo>
                      <a:pt x="528948" y="1722796"/>
                    </a:lnTo>
                    <a:lnTo>
                      <a:pt x="538861" y="1664732"/>
                    </a:lnTo>
                    <a:lnTo>
                      <a:pt x="598341" y="1637825"/>
                    </a:lnTo>
                    <a:close/>
                    <a:moveTo>
                      <a:pt x="705972" y="1595339"/>
                    </a:moveTo>
                    <a:lnTo>
                      <a:pt x="679064" y="1602420"/>
                    </a:lnTo>
                    <a:lnTo>
                      <a:pt x="698891" y="1593923"/>
                    </a:lnTo>
                    <a:lnTo>
                      <a:pt x="705972" y="1595339"/>
                    </a:lnTo>
                    <a:close/>
                    <a:moveTo>
                      <a:pt x="830596" y="1285193"/>
                    </a:moveTo>
                    <a:lnTo>
                      <a:pt x="864585" y="1392824"/>
                    </a:lnTo>
                    <a:lnTo>
                      <a:pt x="864585" y="1392824"/>
                    </a:lnTo>
                    <a:lnTo>
                      <a:pt x="895741" y="1282361"/>
                    </a:lnTo>
                    <a:lnTo>
                      <a:pt x="1051522" y="1276696"/>
                    </a:lnTo>
                    <a:lnTo>
                      <a:pt x="1051522" y="1276696"/>
                    </a:lnTo>
                    <a:lnTo>
                      <a:pt x="1051522" y="1275280"/>
                    </a:lnTo>
                    <a:lnTo>
                      <a:pt x="1051522" y="1275280"/>
                    </a:lnTo>
                    <a:lnTo>
                      <a:pt x="904238" y="1252621"/>
                    </a:lnTo>
                    <a:lnTo>
                      <a:pt x="936811" y="1136493"/>
                    </a:lnTo>
                    <a:lnTo>
                      <a:pt x="1057187" y="1143574"/>
                    </a:lnTo>
                    <a:lnTo>
                      <a:pt x="1197390" y="1276696"/>
                    </a:lnTo>
                    <a:lnTo>
                      <a:pt x="772532" y="1486292"/>
                    </a:lnTo>
                    <a:lnTo>
                      <a:pt x="700307" y="1292274"/>
                    </a:lnTo>
                    <a:lnTo>
                      <a:pt x="830596" y="1285193"/>
                    </a:lnTo>
                    <a:close/>
                    <a:moveTo>
                      <a:pt x="986377" y="955221"/>
                    </a:moveTo>
                    <a:lnTo>
                      <a:pt x="945308" y="950972"/>
                    </a:lnTo>
                    <a:lnTo>
                      <a:pt x="730047" y="772532"/>
                    </a:lnTo>
                    <a:lnTo>
                      <a:pt x="1014701" y="686145"/>
                    </a:lnTo>
                    <a:lnTo>
                      <a:pt x="1062852" y="681896"/>
                    </a:lnTo>
                    <a:lnTo>
                      <a:pt x="986377" y="955221"/>
                    </a:lnTo>
                    <a:close/>
                    <a:moveTo>
                      <a:pt x="728631" y="397241"/>
                    </a:moveTo>
                    <a:lnTo>
                      <a:pt x="748457" y="385912"/>
                    </a:lnTo>
                    <a:lnTo>
                      <a:pt x="793775" y="408571"/>
                    </a:lnTo>
                    <a:lnTo>
                      <a:pt x="793775" y="418484"/>
                    </a:lnTo>
                    <a:lnTo>
                      <a:pt x="728631" y="397241"/>
                    </a:lnTo>
                    <a:close/>
                    <a:moveTo>
                      <a:pt x="749874" y="384496"/>
                    </a:moveTo>
                    <a:lnTo>
                      <a:pt x="790943" y="360421"/>
                    </a:lnTo>
                    <a:lnTo>
                      <a:pt x="792359" y="405739"/>
                    </a:lnTo>
                    <a:lnTo>
                      <a:pt x="749874" y="384496"/>
                    </a:lnTo>
                    <a:close/>
                    <a:moveTo>
                      <a:pt x="902822" y="292443"/>
                    </a:moveTo>
                    <a:lnTo>
                      <a:pt x="793775" y="356172"/>
                    </a:lnTo>
                    <a:lnTo>
                      <a:pt x="792359" y="306605"/>
                    </a:lnTo>
                    <a:lnTo>
                      <a:pt x="792359" y="306605"/>
                    </a:lnTo>
                    <a:lnTo>
                      <a:pt x="742793" y="247125"/>
                    </a:lnTo>
                    <a:lnTo>
                      <a:pt x="744209" y="247125"/>
                    </a:lnTo>
                    <a:lnTo>
                      <a:pt x="744209" y="245709"/>
                    </a:lnTo>
                    <a:lnTo>
                      <a:pt x="739960" y="244293"/>
                    </a:lnTo>
                    <a:lnTo>
                      <a:pt x="669150" y="159321"/>
                    </a:lnTo>
                    <a:lnTo>
                      <a:pt x="902822" y="292443"/>
                    </a:lnTo>
                    <a:close/>
                    <a:moveTo>
                      <a:pt x="511953" y="170651"/>
                    </a:moveTo>
                    <a:lnTo>
                      <a:pt x="485046" y="221634"/>
                    </a:lnTo>
                    <a:lnTo>
                      <a:pt x="738544" y="247125"/>
                    </a:lnTo>
                    <a:lnTo>
                      <a:pt x="788111" y="308022"/>
                    </a:lnTo>
                    <a:lnTo>
                      <a:pt x="789527" y="359004"/>
                    </a:lnTo>
                    <a:lnTo>
                      <a:pt x="747041" y="384496"/>
                    </a:lnTo>
                    <a:lnTo>
                      <a:pt x="676231" y="349091"/>
                    </a:lnTo>
                    <a:lnTo>
                      <a:pt x="686145" y="258455"/>
                    </a:lnTo>
                    <a:lnTo>
                      <a:pt x="686145" y="258455"/>
                    </a:lnTo>
                    <a:lnTo>
                      <a:pt x="621000" y="322183"/>
                    </a:lnTo>
                    <a:lnTo>
                      <a:pt x="595509" y="309438"/>
                    </a:lnTo>
                    <a:lnTo>
                      <a:pt x="595509" y="309438"/>
                    </a:lnTo>
                    <a:lnTo>
                      <a:pt x="544526" y="342010"/>
                    </a:lnTo>
                    <a:lnTo>
                      <a:pt x="407155" y="299524"/>
                    </a:lnTo>
                    <a:lnTo>
                      <a:pt x="366086" y="268368"/>
                    </a:lnTo>
                    <a:lnTo>
                      <a:pt x="475132" y="162154"/>
                    </a:lnTo>
                    <a:lnTo>
                      <a:pt x="511953" y="170651"/>
                    </a:lnTo>
                    <a:close/>
                    <a:moveTo>
                      <a:pt x="363253" y="265536"/>
                    </a:moveTo>
                    <a:lnTo>
                      <a:pt x="363253" y="265536"/>
                    </a:lnTo>
                    <a:lnTo>
                      <a:pt x="401490" y="295276"/>
                    </a:lnTo>
                    <a:lnTo>
                      <a:pt x="359005" y="282530"/>
                    </a:lnTo>
                    <a:lnTo>
                      <a:pt x="360421" y="240045"/>
                    </a:lnTo>
                    <a:lnTo>
                      <a:pt x="360421" y="240045"/>
                    </a:lnTo>
                    <a:lnTo>
                      <a:pt x="326432" y="272617"/>
                    </a:lnTo>
                    <a:lnTo>
                      <a:pt x="269785" y="254206"/>
                    </a:lnTo>
                    <a:lnTo>
                      <a:pt x="266952" y="169235"/>
                    </a:lnTo>
                    <a:lnTo>
                      <a:pt x="302357" y="102674"/>
                    </a:lnTo>
                    <a:lnTo>
                      <a:pt x="343426" y="115419"/>
                    </a:lnTo>
                    <a:lnTo>
                      <a:pt x="475132" y="159321"/>
                    </a:lnTo>
                    <a:lnTo>
                      <a:pt x="363253" y="265536"/>
                    </a:lnTo>
                    <a:close/>
                    <a:moveTo>
                      <a:pt x="224466" y="693226"/>
                    </a:moveTo>
                    <a:lnTo>
                      <a:pt x="285363" y="657821"/>
                    </a:lnTo>
                    <a:lnTo>
                      <a:pt x="337762" y="732879"/>
                    </a:lnTo>
                    <a:lnTo>
                      <a:pt x="326432" y="745624"/>
                    </a:lnTo>
                    <a:lnTo>
                      <a:pt x="224466" y="693226"/>
                    </a:lnTo>
                    <a:close/>
                    <a:moveTo>
                      <a:pt x="344843" y="756954"/>
                    </a:moveTo>
                    <a:lnTo>
                      <a:pt x="343426" y="807937"/>
                    </a:lnTo>
                    <a:lnTo>
                      <a:pt x="285363" y="799440"/>
                    </a:lnTo>
                    <a:lnTo>
                      <a:pt x="326432" y="748457"/>
                    </a:lnTo>
                    <a:lnTo>
                      <a:pt x="344843" y="756954"/>
                    </a:lnTo>
                    <a:close/>
                    <a:moveTo>
                      <a:pt x="346259" y="809353"/>
                    </a:moveTo>
                    <a:lnTo>
                      <a:pt x="397242" y="816434"/>
                    </a:lnTo>
                    <a:lnTo>
                      <a:pt x="425566" y="857503"/>
                    </a:lnTo>
                    <a:lnTo>
                      <a:pt x="425566" y="857503"/>
                    </a:lnTo>
                    <a:lnTo>
                      <a:pt x="465219" y="851839"/>
                    </a:lnTo>
                    <a:lnTo>
                      <a:pt x="507705" y="839093"/>
                    </a:lnTo>
                    <a:lnTo>
                      <a:pt x="577098" y="874498"/>
                    </a:lnTo>
                    <a:lnTo>
                      <a:pt x="577098" y="880163"/>
                    </a:lnTo>
                    <a:lnTo>
                      <a:pt x="340594" y="986377"/>
                    </a:lnTo>
                    <a:lnTo>
                      <a:pt x="346259" y="809353"/>
                    </a:lnTo>
                    <a:close/>
                    <a:moveTo>
                      <a:pt x="772532" y="870249"/>
                    </a:moveTo>
                    <a:lnTo>
                      <a:pt x="832012" y="926897"/>
                    </a:lnTo>
                    <a:lnTo>
                      <a:pt x="677648" y="1017533"/>
                    </a:lnTo>
                    <a:lnTo>
                      <a:pt x="557271" y="1023198"/>
                    </a:lnTo>
                    <a:lnTo>
                      <a:pt x="592676" y="990626"/>
                    </a:lnTo>
                    <a:lnTo>
                      <a:pt x="592676" y="990626"/>
                    </a:lnTo>
                    <a:lnTo>
                      <a:pt x="578514" y="882995"/>
                    </a:lnTo>
                    <a:lnTo>
                      <a:pt x="585595" y="880163"/>
                    </a:lnTo>
                    <a:lnTo>
                      <a:pt x="577098" y="875914"/>
                    </a:lnTo>
                    <a:lnTo>
                      <a:pt x="572850" y="844758"/>
                    </a:lnTo>
                    <a:lnTo>
                      <a:pt x="772532" y="870249"/>
                    </a:lnTo>
                    <a:close/>
                    <a:moveTo>
                      <a:pt x="609670" y="1208719"/>
                    </a:moveTo>
                    <a:lnTo>
                      <a:pt x="547358" y="1238459"/>
                    </a:lnTo>
                    <a:lnTo>
                      <a:pt x="567185" y="1195973"/>
                    </a:lnTo>
                    <a:lnTo>
                      <a:pt x="609670" y="1208719"/>
                    </a:lnTo>
                    <a:close/>
                    <a:moveTo>
                      <a:pt x="615335" y="1208719"/>
                    </a:moveTo>
                    <a:lnTo>
                      <a:pt x="615335" y="1208719"/>
                    </a:lnTo>
                    <a:lnTo>
                      <a:pt x="568601" y="1194557"/>
                    </a:lnTo>
                    <a:lnTo>
                      <a:pt x="621000" y="1081262"/>
                    </a:lnTo>
                    <a:lnTo>
                      <a:pt x="649324" y="1156320"/>
                    </a:lnTo>
                    <a:lnTo>
                      <a:pt x="618168" y="1211551"/>
                    </a:lnTo>
                    <a:lnTo>
                      <a:pt x="604006" y="1292274"/>
                    </a:lnTo>
                    <a:lnTo>
                      <a:pt x="523283" y="1295107"/>
                    </a:lnTo>
                    <a:lnTo>
                      <a:pt x="547358" y="1241291"/>
                    </a:lnTo>
                    <a:lnTo>
                      <a:pt x="615335" y="1208719"/>
                    </a:lnTo>
                    <a:close/>
                    <a:moveTo>
                      <a:pt x="519034" y="1295107"/>
                    </a:moveTo>
                    <a:lnTo>
                      <a:pt x="445392" y="1297939"/>
                    </a:lnTo>
                    <a:lnTo>
                      <a:pt x="445392" y="1297939"/>
                    </a:lnTo>
                    <a:lnTo>
                      <a:pt x="500624" y="1337592"/>
                    </a:lnTo>
                    <a:lnTo>
                      <a:pt x="485046" y="1371581"/>
                    </a:lnTo>
                    <a:lnTo>
                      <a:pt x="408571" y="1415483"/>
                    </a:lnTo>
                    <a:lnTo>
                      <a:pt x="408571" y="1415483"/>
                    </a:lnTo>
                    <a:lnTo>
                      <a:pt x="456722" y="1436726"/>
                    </a:lnTo>
                    <a:lnTo>
                      <a:pt x="428398" y="1499038"/>
                    </a:lnTo>
                    <a:lnTo>
                      <a:pt x="330681" y="1466465"/>
                    </a:lnTo>
                    <a:lnTo>
                      <a:pt x="363253" y="1334760"/>
                    </a:lnTo>
                    <a:lnTo>
                      <a:pt x="443976" y="1293690"/>
                    </a:lnTo>
                    <a:lnTo>
                      <a:pt x="544526" y="1244124"/>
                    </a:lnTo>
                    <a:lnTo>
                      <a:pt x="519034" y="1295107"/>
                    </a:lnTo>
                    <a:close/>
                    <a:moveTo>
                      <a:pt x="456722" y="1642073"/>
                    </a:moveTo>
                    <a:lnTo>
                      <a:pt x="482213" y="1651987"/>
                    </a:lnTo>
                    <a:lnTo>
                      <a:pt x="482213" y="1651987"/>
                    </a:lnTo>
                    <a:lnTo>
                      <a:pt x="541693" y="1637825"/>
                    </a:lnTo>
                    <a:lnTo>
                      <a:pt x="537445" y="1664732"/>
                    </a:lnTo>
                    <a:lnTo>
                      <a:pt x="502040" y="1681727"/>
                    </a:lnTo>
                    <a:lnTo>
                      <a:pt x="442560" y="1650570"/>
                    </a:lnTo>
                    <a:lnTo>
                      <a:pt x="456722" y="1642073"/>
                    </a:lnTo>
                    <a:close/>
                    <a:moveTo>
                      <a:pt x="629497" y="1707218"/>
                    </a:moveTo>
                    <a:lnTo>
                      <a:pt x="629497" y="1707218"/>
                    </a:lnTo>
                    <a:lnTo>
                      <a:pt x="621000" y="1708634"/>
                    </a:lnTo>
                    <a:lnTo>
                      <a:pt x="599757" y="1637825"/>
                    </a:lnTo>
                    <a:lnTo>
                      <a:pt x="669150" y="1606669"/>
                    </a:lnTo>
                    <a:lnTo>
                      <a:pt x="710220" y="1596755"/>
                    </a:lnTo>
                    <a:lnTo>
                      <a:pt x="849007" y="1643489"/>
                    </a:lnTo>
                    <a:lnTo>
                      <a:pt x="756954" y="1744039"/>
                    </a:lnTo>
                    <a:lnTo>
                      <a:pt x="720133" y="1617998"/>
                    </a:lnTo>
                    <a:lnTo>
                      <a:pt x="720133" y="1616582"/>
                    </a:lnTo>
                    <a:lnTo>
                      <a:pt x="705972" y="1846005"/>
                    </a:lnTo>
                    <a:lnTo>
                      <a:pt x="662069" y="1846005"/>
                    </a:lnTo>
                    <a:lnTo>
                      <a:pt x="629497" y="1736958"/>
                    </a:lnTo>
                    <a:lnTo>
                      <a:pt x="629497" y="1707218"/>
                    </a:lnTo>
                    <a:close/>
                    <a:moveTo>
                      <a:pt x="1060019" y="1140742"/>
                    </a:moveTo>
                    <a:lnTo>
                      <a:pt x="969383" y="1054354"/>
                    </a:lnTo>
                    <a:lnTo>
                      <a:pt x="1016117" y="1006203"/>
                    </a:lnTo>
                    <a:lnTo>
                      <a:pt x="1081262" y="1003371"/>
                    </a:lnTo>
                    <a:lnTo>
                      <a:pt x="1081262" y="1024614"/>
                    </a:lnTo>
                    <a:lnTo>
                      <a:pt x="1081262" y="1024614"/>
                    </a:lnTo>
                    <a:lnTo>
                      <a:pt x="1096840" y="1001955"/>
                    </a:lnTo>
                    <a:lnTo>
                      <a:pt x="1286610" y="994874"/>
                    </a:lnTo>
                    <a:lnTo>
                      <a:pt x="1256870" y="1153488"/>
                    </a:lnTo>
                    <a:lnTo>
                      <a:pt x="1060019" y="1140742"/>
                    </a:lnTo>
                    <a:close/>
                    <a:moveTo>
                      <a:pt x="1079846" y="667734"/>
                    </a:moveTo>
                    <a:lnTo>
                      <a:pt x="1079846" y="680480"/>
                    </a:lnTo>
                    <a:lnTo>
                      <a:pt x="1065684" y="681896"/>
                    </a:lnTo>
                    <a:lnTo>
                      <a:pt x="1068517" y="671983"/>
                    </a:lnTo>
                    <a:lnTo>
                      <a:pt x="1079846" y="667734"/>
                    </a:lnTo>
                    <a:close/>
                    <a:moveTo>
                      <a:pt x="1023198" y="683312"/>
                    </a:moveTo>
                    <a:lnTo>
                      <a:pt x="1065684" y="670566"/>
                    </a:lnTo>
                    <a:lnTo>
                      <a:pt x="1062852" y="680480"/>
                    </a:lnTo>
                    <a:lnTo>
                      <a:pt x="1023198" y="683312"/>
                    </a:lnTo>
                    <a:close/>
                    <a:moveTo>
                      <a:pt x="344843" y="16286"/>
                    </a:moveTo>
                    <a:lnTo>
                      <a:pt x="300941" y="99841"/>
                    </a:lnTo>
                    <a:lnTo>
                      <a:pt x="264120" y="88512"/>
                    </a:lnTo>
                    <a:lnTo>
                      <a:pt x="262704" y="60188"/>
                    </a:lnTo>
                    <a:lnTo>
                      <a:pt x="344843" y="16286"/>
                    </a:lnTo>
                    <a:close/>
                    <a:moveTo>
                      <a:pt x="126749" y="426981"/>
                    </a:moveTo>
                    <a:lnTo>
                      <a:pt x="92761" y="492126"/>
                    </a:lnTo>
                    <a:lnTo>
                      <a:pt x="140911" y="446808"/>
                    </a:lnTo>
                    <a:lnTo>
                      <a:pt x="184813" y="509121"/>
                    </a:lnTo>
                    <a:lnTo>
                      <a:pt x="12038" y="625248"/>
                    </a:lnTo>
                    <a:lnTo>
                      <a:pt x="99842" y="385912"/>
                    </a:lnTo>
                    <a:lnTo>
                      <a:pt x="126749" y="426981"/>
                    </a:lnTo>
                    <a:close/>
                    <a:moveTo>
                      <a:pt x="230131" y="360421"/>
                    </a:moveTo>
                    <a:lnTo>
                      <a:pt x="139495" y="443976"/>
                    </a:lnTo>
                    <a:lnTo>
                      <a:pt x="128165" y="426981"/>
                    </a:lnTo>
                    <a:lnTo>
                      <a:pt x="183397" y="322183"/>
                    </a:lnTo>
                    <a:lnTo>
                      <a:pt x="230131" y="360421"/>
                    </a:lnTo>
                    <a:close/>
                    <a:moveTo>
                      <a:pt x="197559" y="293860"/>
                    </a:moveTo>
                    <a:lnTo>
                      <a:pt x="184813" y="319351"/>
                    </a:lnTo>
                    <a:lnTo>
                      <a:pt x="128165" y="272617"/>
                    </a:lnTo>
                    <a:lnTo>
                      <a:pt x="197559" y="293860"/>
                    </a:lnTo>
                    <a:close/>
                    <a:moveTo>
                      <a:pt x="139495" y="445392"/>
                    </a:moveTo>
                    <a:lnTo>
                      <a:pt x="99842" y="482213"/>
                    </a:lnTo>
                    <a:lnTo>
                      <a:pt x="128165" y="429814"/>
                    </a:lnTo>
                    <a:lnTo>
                      <a:pt x="139495" y="445392"/>
                    </a:lnTo>
                    <a:close/>
                    <a:moveTo>
                      <a:pt x="469468" y="1926727"/>
                    </a:moveTo>
                    <a:lnTo>
                      <a:pt x="509121" y="1829010"/>
                    </a:lnTo>
                    <a:lnTo>
                      <a:pt x="527531" y="1724212"/>
                    </a:lnTo>
                    <a:lnTo>
                      <a:pt x="618168" y="1708634"/>
                    </a:lnTo>
                    <a:lnTo>
                      <a:pt x="625249" y="1734126"/>
                    </a:lnTo>
                    <a:lnTo>
                      <a:pt x="623832" y="1843172"/>
                    </a:lnTo>
                    <a:lnTo>
                      <a:pt x="558688" y="1843172"/>
                    </a:lnTo>
                    <a:lnTo>
                      <a:pt x="558688" y="1843172"/>
                    </a:lnTo>
                    <a:lnTo>
                      <a:pt x="545942" y="1930976"/>
                    </a:lnTo>
                    <a:lnTo>
                      <a:pt x="469468" y="1926727"/>
                    </a:lnTo>
                    <a:close/>
                    <a:moveTo>
                      <a:pt x="547358" y="1933808"/>
                    </a:moveTo>
                    <a:lnTo>
                      <a:pt x="533196" y="2025861"/>
                    </a:lnTo>
                    <a:lnTo>
                      <a:pt x="448225" y="1974878"/>
                    </a:lnTo>
                    <a:lnTo>
                      <a:pt x="466635" y="1929560"/>
                    </a:lnTo>
                    <a:lnTo>
                      <a:pt x="547358" y="1933808"/>
                    </a:lnTo>
                    <a:close/>
                    <a:moveTo>
                      <a:pt x="533196" y="2027277"/>
                    </a:moveTo>
                    <a:lnTo>
                      <a:pt x="533196" y="2027277"/>
                    </a:lnTo>
                    <a:lnTo>
                      <a:pt x="432647" y="2014531"/>
                    </a:lnTo>
                    <a:lnTo>
                      <a:pt x="448225" y="1976294"/>
                    </a:lnTo>
                    <a:lnTo>
                      <a:pt x="533196" y="2027277"/>
                    </a:lnTo>
                    <a:close/>
                    <a:moveTo>
                      <a:pt x="313687" y="2255284"/>
                    </a:moveTo>
                    <a:lnTo>
                      <a:pt x="347675" y="2221295"/>
                    </a:lnTo>
                    <a:lnTo>
                      <a:pt x="344843" y="2269446"/>
                    </a:lnTo>
                    <a:lnTo>
                      <a:pt x="313687" y="2255284"/>
                    </a:lnTo>
                    <a:close/>
                    <a:moveTo>
                      <a:pt x="288195" y="2428059"/>
                    </a:moveTo>
                    <a:lnTo>
                      <a:pt x="257039" y="2323261"/>
                    </a:lnTo>
                    <a:lnTo>
                      <a:pt x="343426" y="2314764"/>
                    </a:lnTo>
                    <a:lnTo>
                      <a:pt x="339178" y="2379909"/>
                    </a:lnTo>
                    <a:lnTo>
                      <a:pt x="288195" y="2428059"/>
                    </a:lnTo>
                    <a:close/>
                    <a:moveTo>
                      <a:pt x="289611" y="2433724"/>
                    </a:moveTo>
                    <a:lnTo>
                      <a:pt x="288195" y="2430892"/>
                    </a:lnTo>
                    <a:lnTo>
                      <a:pt x="339178" y="2384157"/>
                    </a:lnTo>
                    <a:lnTo>
                      <a:pt x="336345" y="2433724"/>
                    </a:lnTo>
                    <a:lnTo>
                      <a:pt x="289611" y="2433724"/>
                    </a:lnTo>
                    <a:close/>
                    <a:moveTo>
                      <a:pt x="282530" y="2436556"/>
                    </a:moveTo>
                    <a:lnTo>
                      <a:pt x="288195" y="2436556"/>
                    </a:lnTo>
                    <a:lnTo>
                      <a:pt x="302357" y="2486123"/>
                    </a:lnTo>
                    <a:lnTo>
                      <a:pt x="298108" y="2494620"/>
                    </a:lnTo>
                    <a:lnTo>
                      <a:pt x="281114" y="2439389"/>
                    </a:lnTo>
                    <a:lnTo>
                      <a:pt x="282530" y="2436556"/>
                    </a:lnTo>
                    <a:close/>
                    <a:moveTo>
                      <a:pt x="285363" y="2435140"/>
                    </a:moveTo>
                    <a:lnTo>
                      <a:pt x="288195" y="2432308"/>
                    </a:lnTo>
                    <a:lnTo>
                      <a:pt x="289611" y="2435140"/>
                    </a:lnTo>
                    <a:lnTo>
                      <a:pt x="285363" y="2435140"/>
                    </a:lnTo>
                    <a:close/>
                    <a:moveTo>
                      <a:pt x="312270" y="2256700"/>
                    </a:moveTo>
                    <a:lnTo>
                      <a:pt x="344843" y="2270862"/>
                    </a:lnTo>
                    <a:lnTo>
                      <a:pt x="342010" y="2311932"/>
                    </a:lnTo>
                    <a:lnTo>
                      <a:pt x="252790" y="2320429"/>
                    </a:lnTo>
                    <a:lnTo>
                      <a:pt x="252790" y="2320429"/>
                    </a:lnTo>
                    <a:lnTo>
                      <a:pt x="285363" y="2428059"/>
                    </a:lnTo>
                    <a:lnTo>
                      <a:pt x="281114" y="2432308"/>
                    </a:lnTo>
                    <a:lnTo>
                      <a:pt x="278282" y="2432308"/>
                    </a:lnTo>
                    <a:lnTo>
                      <a:pt x="242877" y="2321845"/>
                    </a:lnTo>
                    <a:lnTo>
                      <a:pt x="312270" y="2256700"/>
                    </a:lnTo>
                    <a:close/>
                    <a:moveTo>
                      <a:pt x="350507" y="2217047"/>
                    </a:moveTo>
                    <a:lnTo>
                      <a:pt x="350507" y="2215631"/>
                    </a:lnTo>
                    <a:lnTo>
                      <a:pt x="353340" y="2214215"/>
                    </a:lnTo>
                    <a:lnTo>
                      <a:pt x="350507" y="2217047"/>
                    </a:lnTo>
                    <a:close/>
                    <a:moveTo>
                      <a:pt x="303773" y="2057017"/>
                    </a:moveTo>
                    <a:lnTo>
                      <a:pt x="308022" y="2042855"/>
                    </a:lnTo>
                    <a:lnTo>
                      <a:pt x="308022" y="2042855"/>
                    </a:lnTo>
                    <a:lnTo>
                      <a:pt x="292444" y="1998953"/>
                    </a:lnTo>
                    <a:lnTo>
                      <a:pt x="346259" y="2006034"/>
                    </a:lnTo>
                    <a:lnTo>
                      <a:pt x="347675" y="2102336"/>
                    </a:lnTo>
                    <a:lnTo>
                      <a:pt x="303773" y="2057017"/>
                    </a:lnTo>
                    <a:close/>
                    <a:moveTo>
                      <a:pt x="404323" y="2010283"/>
                    </a:moveTo>
                    <a:lnTo>
                      <a:pt x="401490" y="1947970"/>
                    </a:lnTo>
                    <a:lnTo>
                      <a:pt x="446808" y="1974878"/>
                    </a:lnTo>
                    <a:lnTo>
                      <a:pt x="431230" y="2014531"/>
                    </a:lnTo>
                    <a:lnTo>
                      <a:pt x="404323" y="2010283"/>
                    </a:lnTo>
                    <a:close/>
                    <a:moveTo>
                      <a:pt x="408571" y="2163232"/>
                    </a:moveTo>
                    <a:lnTo>
                      <a:pt x="408571" y="2163232"/>
                    </a:lnTo>
                    <a:lnTo>
                      <a:pt x="408571" y="2163232"/>
                    </a:lnTo>
                    <a:lnTo>
                      <a:pt x="408571" y="2163232"/>
                    </a:lnTo>
                    <a:close/>
                    <a:moveTo>
                      <a:pt x="363253" y="2207134"/>
                    </a:moveTo>
                    <a:lnTo>
                      <a:pt x="407155" y="2163232"/>
                    </a:lnTo>
                    <a:lnTo>
                      <a:pt x="408571" y="2164648"/>
                    </a:lnTo>
                    <a:lnTo>
                      <a:pt x="409988" y="2184474"/>
                    </a:lnTo>
                    <a:lnTo>
                      <a:pt x="363253" y="2207134"/>
                    </a:lnTo>
                    <a:close/>
                    <a:moveTo>
                      <a:pt x="405739" y="2163232"/>
                    </a:moveTo>
                    <a:lnTo>
                      <a:pt x="357588" y="2211382"/>
                    </a:lnTo>
                    <a:lnTo>
                      <a:pt x="350507" y="2214215"/>
                    </a:lnTo>
                    <a:lnTo>
                      <a:pt x="381664" y="2139156"/>
                    </a:lnTo>
                    <a:lnTo>
                      <a:pt x="405739" y="2163232"/>
                    </a:lnTo>
                    <a:close/>
                    <a:moveTo>
                      <a:pt x="402907" y="2013115"/>
                    </a:moveTo>
                    <a:lnTo>
                      <a:pt x="405739" y="2078260"/>
                    </a:lnTo>
                    <a:lnTo>
                      <a:pt x="381664" y="2134908"/>
                    </a:lnTo>
                    <a:lnTo>
                      <a:pt x="350507" y="2103751"/>
                    </a:lnTo>
                    <a:lnTo>
                      <a:pt x="349091" y="2006034"/>
                    </a:lnTo>
                    <a:lnTo>
                      <a:pt x="402907" y="2013115"/>
                    </a:lnTo>
                    <a:close/>
                    <a:moveTo>
                      <a:pt x="407155" y="2160399"/>
                    </a:moveTo>
                    <a:lnTo>
                      <a:pt x="383080" y="2136324"/>
                    </a:lnTo>
                    <a:lnTo>
                      <a:pt x="405739" y="2082508"/>
                    </a:lnTo>
                    <a:lnTo>
                      <a:pt x="407155" y="2160399"/>
                    </a:lnTo>
                    <a:lnTo>
                      <a:pt x="407155" y="2160399"/>
                    </a:lnTo>
                    <a:close/>
                    <a:moveTo>
                      <a:pt x="429814" y="2015948"/>
                    </a:moveTo>
                    <a:lnTo>
                      <a:pt x="405739" y="2072595"/>
                    </a:lnTo>
                    <a:lnTo>
                      <a:pt x="402907" y="2011699"/>
                    </a:lnTo>
                    <a:lnTo>
                      <a:pt x="429814" y="2015948"/>
                    </a:lnTo>
                    <a:close/>
                    <a:moveTo>
                      <a:pt x="400074" y="1945138"/>
                    </a:moveTo>
                    <a:lnTo>
                      <a:pt x="400074" y="1945138"/>
                    </a:lnTo>
                    <a:lnTo>
                      <a:pt x="402907" y="2011699"/>
                    </a:lnTo>
                    <a:lnTo>
                      <a:pt x="349091" y="2004618"/>
                    </a:lnTo>
                    <a:lnTo>
                      <a:pt x="347675" y="1923895"/>
                    </a:lnTo>
                    <a:lnTo>
                      <a:pt x="466635" y="1929560"/>
                    </a:lnTo>
                    <a:lnTo>
                      <a:pt x="448225" y="1973462"/>
                    </a:lnTo>
                    <a:lnTo>
                      <a:pt x="400074" y="1945138"/>
                    </a:lnTo>
                    <a:close/>
                    <a:moveTo>
                      <a:pt x="347675" y="2103751"/>
                    </a:moveTo>
                    <a:lnTo>
                      <a:pt x="349091" y="2214215"/>
                    </a:lnTo>
                    <a:lnTo>
                      <a:pt x="349091" y="2214215"/>
                    </a:lnTo>
                    <a:lnTo>
                      <a:pt x="349091" y="2218463"/>
                    </a:lnTo>
                    <a:lnTo>
                      <a:pt x="312270" y="2253868"/>
                    </a:lnTo>
                    <a:lnTo>
                      <a:pt x="259871" y="2229793"/>
                    </a:lnTo>
                    <a:lnTo>
                      <a:pt x="303773" y="2058433"/>
                    </a:lnTo>
                    <a:lnTo>
                      <a:pt x="347675" y="2103751"/>
                    </a:lnTo>
                    <a:close/>
                    <a:moveTo>
                      <a:pt x="380247" y="2137740"/>
                    </a:moveTo>
                    <a:lnTo>
                      <a:pt x="350507" y="2208550"/>
                    </a:lnTo>
                    <a:lnTo>
                      <a:pt x="349091" y="2106584"/>
                    </a:lnTo>
                    <a:lnTo>
                      <a:pt x="380247" y="2137740"/>
                    </a:lnTo>
                    <a:close/>
                    <a:moveTo>
                      <a:pt x="507705" y="1829010"/>
                    </a:moveTo>
                    <a:lnTo>
                      <a:pt x="466635" y="1926727"/>
                    </a:lnTo>
                    <a:lnTo>
                      <a:pt x="346259" y="1921063"/>
                    </a:lnTo>
                    <a:lnTo>
                      <a:pt x="344843" y="1756785"/>
                    </a:lnTo>
                    <a:lnTo>
                      <a:pt x="526115" y="1727045"/>
                    </a:lnTo>
                    <a:lnTo>
                      <a:pt x="507705" y="1829010"/>
                    </a:lnTo>
                    <a:close/>
                    <a:moveTo>
                      <a:pt x="344843" y="1922479"/>
                    </a:moveTo>
                    <a:lnTo>
                      <a:pt x="346259" y="2003202"/>
                    </a:lnTo>
                    <a:lnTo>
                      <a:pt x="291027" y="1996121"/>
                    </a:lnTo>
                    <a:lnTo>
                      <a:pt x="264120" y="1918231"/>
                    </a:lnTo>
                    <a:lnTo>
                      <a:pt x="344843" y="1922479"/>
                    </a:lnTo>
                    <a:close/>
                    <a:moveTo>
                      <a:pt x="289611" y="1997537"/>
                    </a:moveTo>
                    <a:lnTo>
                      <a:pt x="305189" y="2042855"/>
                    </a:lnTo>
                    <a:lnTo>
                      <a:pt x="302357" y="2055601"/>
                    </a:lnTo>
                    <a:lnTo>
                      <a:pt x="238628" y="1991872"/>
                    </a:lnTo>
                    <a:lnTo>
                      <a:pt x="289611" y="1997537"/>
                    </a:lnTo>
                    <a:close/>
                    <a:moveTo>
                      <a:pt x="350507" y="2219879"/>
                    </a:moveTo>
                    <a:lnTo>
                      <a:pt x="359005" y="2211382"/>
                    </a:lnTo>
                    <a:lnTo>
                      <a:pt x="409988" y="2185891"/>
                    </a:lnTo>
                    <a:lnTo>
                      <a:pt x="414236" y="2299186"/>
                    </a:lnTo>
                    <a:lnTo>
                      <a:pt x="349091" y="2269446"/>
                    </a:lnTo>
                    <a:lnTo>
                      <a:pt x="350507" y="2219879"/>
                    </a:lnTo>
                    <a:close/>
                    <a:moveTo>
                      <a:pt x="531780" y="2037191"/>
                    </a:moveTo>
                    <a:lnTo>
                      <a:pt x="409988" y="2158983"/>
                    </a:lnTo>
                    <a:lnTo>
                      <a:pt x="407155" y="2079676"/>
                    </a:lnTo>
                    <a:lnTo>
                      <a:pt x="432647" y="2018780"/>
                    </a:lnTo>
                    <a:lnTo>
                      <a:pt x="533196" y="2031526"/>
                    </a:lnTo>
                    <a:lnTo>
                      <a:pt x="531780" y="2037191"/>
                    </a:lnTo>
                    <a:close/>
                    <a:moveTo>
                      <a:pt x="298108" y="2498869"/>
                    </a:moveTo>
                    <a:lnTo>
                      <a:pt x="334929" y="2614996"/>
                    </a:lnTo>
                    <a:lnTo>
                      <a:pt x="223050" y="2636239"/>
                    </a:lnTo>
                    <a:lnTo>
                      <a:pt x="298108" y="2498869"/>
                    </a:lnTo>
                    <a:close/>
                    <a:moveTo>
                      <a:pt x="417069" y="2307683"/>
                    </a:moveTo>
                    <a:lnTo>
                      <a:pt x="342010" y="2378493"/>
                    </a:lnTo>
                    <a:lnTo>
                      <a:pt x="344843" y="2314764"/>
                    </a:lnTo>
                    <a:lnTo>
                      <a:pt x="417069" y="2307683"/>
                    </a:lnTo>
                    <a:close/>
                    <a:moveTo>
                      <a:pt x="1286610" y="989209"/>
                    </a:moveTo>
                    <a:lnTo>
                      <a:pt x="1286610" y="992042"/>
                    </a:lnTo>
                    <a:lnTo>
                      <a:pt x="1098257" y="1000539"/>
                    </a:lnTo>
                    <a:lnTo>
                      <a:pt x="1118083" y="972215"/>
                    </a:lnTo>
                    <a:lnTo>
                      <a:pt x="1286610" y="989209"/>
                    </a:lnTo>
                    <a:close/>
                    <a:moveTo>
                      <a:pt x="1412651" y="764035"/>
                    </a:moveTo>
                    <a:lnTo>
                      <a:pt x="1314934" y="841926"/>
                    </a:lnTo>
                    <a:lnTo>
                      <a:pt x="1314934" y="841926"/>
                    </a:lnTo>
                    <a:lnTo>
                      <a:pt x="1286610" y="986377"/>
                    </a:lnTo>
                    <a:lnTo>
                      <a:pt x="1118083" y="969383"/>
                    </a:lnTo>
                    <a:lnTo>
                      <a:pt x="1239876" y="792359"/>
                    </a:lnTo>
                    <a:lnTo>
                      <a:pt x="1412651" y="764035"/>
                    </a:lnTo>
                    <a:close/>
                    <a:moveTo>
                      <a:pt x="220218" y="693226"/>
                    </a:moveTo>
                    <a:lnTo>
                      <a:pt x="157905" y="730046"/>
                    </a:lnTo>
                    <a:lnTo>
                      <a:pt x="142327" y="653572"/>
                    </a:lnTo>
                    <a:lnTo>
                      <a:pt x="220218" y="693226"/>
                    </a:lnTo>
                    <a:close/>
                    <a:moveTo>
                      <a:pt x="156489" y="732879"/>
                    </a:moveTo>
                    <a:lnTo>
                      <a:pt x="166402" y="782445"/>
                    </a:lnTo>
                    <a:lnTo>
                      <a:pt x="91345" y="771116"/>
                    </a:lnTo>
                    <a:lnTo>
                      <a:pt x="156489" y="732879"/>
                    </a:lnTo>
                    <a:close/>
                    <a:moveTo>
                      <a:pt x="282530" y="800856"/>
                    </a:moveTo>
                    <a:lnTo>
                      <a:pt x="194726" y="908486"/>
                    </a:lnTo>
                    <a:lnTo>
                      <a:pt x="169235" y="785278"/>
                    </a:lnTo>
                    <a:lnTo>
                      <a:pt x="282530" y="800856"/>
                    </a:lnTo>
                    <a:close/>
                    <a:moveTo>
                      <a:pt x="375999" y="1609501"/>
                    </a:moveTo>
                    <a:lnTo>
                      <a:pt x="374583" y="1613750"/>
                    </a:lnTo>
                    <a:lnTo>
                      <a:pt x="342010" y="1596755"/>
                    </a:lnTo>
                    <a:lnTo>
                      <a:pt x="375999" y="1609501"/>
                    </a:lnTo>
                    <a:close/>
                    <a:moveTo>
                      <a:pt x="438311" y="1649154"/>
                    </a:moveTo>
                    <a:lnTo>
                      <a:pt x="339178" y="1697305"/>
                    </a:lnTo>
                    <a:lnTo>
                      <a:pt x="375999" y="1615166"/>
                    </a:lnTo>
                    <a:lnTo>
                      <a:pt x="438311" y="1649154"/>
                    </a:lnTo>
                    <a:close/>
                    <a:moveTo>
                      <a:pt x="281114" y="2436556"/>
                    </a:moveTo>
                    <a:lnTo>
                      <a:pt x="281114" y="2436556"/>
                    </a:lnTo>
                    <a:lnTo>
                      <a:pt x="281114" y="2436556"/>
                    </a:lnTo>
                    <a:lnTo>
                      <a:pt x="281114" y="2436556"/>
                    </a:lnTo>
                    <a:close/>
                    <a:moveTo>
                      <a:pt x="536029" y="2027277"/>
                    </a:moveTo>
                    <a:lnTo>
                      <a:pt x="536029" y="2027277"/>
                    </a:lnTo>
                    <a:lnTo>
                      <a:pt x="536029" y="2027277"/>
                    </a:lnTo>
                    <a:lnTo>
                      <a:pt x="536029" y="2027277"/>
                    </a:lnTo>
                    <a:close/>
                    <a:moveTo>
                      <a:pt x="662069" y="1847421"/>
                    </a:moveTo>
                    <a:lnTo>
                      <a:pt x="704555" y="1847421"/>
                    </a:lnTo>
                    <a:lnTo>
                      <a:pt x="690393" y="1946554"/>
                    </a:lnTo>
                    <a:lnTo>
                      <a:pt x="662069" y="1847421"/>
                    </a:lnTo>
                    <a:close/>
                    <a:moveTo>
                      <a:pt x="1310685" y="992042"/>
                    </a:moveTo>
                    <a:lnTo>
                      <a:pt x="1288026" y="993458"/>
                    </a:lnTo>
                    <a:lnTo>
                      <a:pt x="1288026" y="990626"/>
                    </a:lnTo>
                    <a:lnTo>
                      <a:pt x="1310685" y="992042"/>
                    </a:lnTo>
                    <a:close/>
                    <a:moveTo>
                      <a:pt x="890076" y="452473"/>
                    </a:moveTo>
                    <a:lnTo>
                      <a:pt x="941059" y="377415"/>
                    </a:lnTo>
                    <a:lnTo>
                      <a:pt x="950973" y="483629"/>
                    </a:lnTo>
                    <a:lnTo>
                      <a:pt x="890076" y="452473"/>
                    </a:lnTo>
                    <a:close/>
                    <a:moveTo>
                      <a:pt x="473716" y="2384157"/>
                    </a:moveTo>
                    <a:lnTo>
                      <a:pt x="401490" y="2430892"/>
                    </a:lnTo>
                    <a:lnTo>
                      <a:pt x="377415" y="2430892"/>
                    </a:lnTo>
                    <a:lnTo>
                      <a:pt x="473716" y="2384157"/>
                    </a:lnTo>
                    <a:close/>
                    <a:moveTo>
                      <a:pt x="851839" y="1642073"/>
                    </a:moveTo>
                    <a:lnTo>
                      <a:pt x="959470" y="1524529"/>
                    </a:lnTo>
                    <a:lnTo>
                      <a:pt x="880163" y="1651987"/>
                    </a:lnTo>
                    <a:lnTo>
                      <a:pt x="851839" y="1642073"/>
                    </a:lnTo>
                    <a:close/>
                    <a:moveTo>
                      <a:pt x="1111002" y="1356003"/>
                    </a:moveTo>
                    <a:lnTo>
                      <a:pt x="973632" y="1506119"/>
                    </a:lnTo>
                    <a:lnTo>
                      <a:pt x="1028863" y="1416899"/>
                    </a:lnTo>
                    <a:lnTo>
                      <a:pt x="1111002" y="1356003"/>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51" name="Freeform: Shape 950">
                <a:extLst>
                  <a:ext uri="{FF2B5EF4-FFF2-40B4-BE49-F238E27FC236}">
                    <a16:creationId xmlns:a16="http://schemas.microsoft.com/office/drawing/2014/main" id="{C19D641B-D791-4205-8C3C-1DAEBDA847A3}"/>
                  </a:ext>
                </a:extLst>
              </p:cNvPr>
              <p:cNvSpPr/>
              <p:nvPr/>
            </p:nvSpPr>
            <p:spPr>
              <a:xfrm>
                <a:off x="3238834" y="3227193"/>
                <a:ext cx="538153" cy="339886"/>
              </a:xfrm>
              <a:custGeom>
                <a:avLst/>
                <a:gdLst>
                  <a:gd name="connsiteX0" fmla="*/ 102674 w 538152"/>
                  <a:gd name="connsiteY0" fmla="*/ 153657 h 339885"/>
                  <a:gd name="connsiteX1" fmla="*/ 197559 w 538152"/>
                  <a:gd name="connsiteY1" fmla="*/ 240044 h 339885"/>
                  <a:gd name="connsiteX2" fmla="*/ 189062 w 538152"/>
                  <a:gd name="connsiteY2" fmla="*/ 306605 h 339885"/>
                  <a:gd name="connsiteX3" fmla="*/ 191894 w 538152"/>
                  <a:gd name="connsiteY3" fmla="*/ 340594 h 339885"/>
                  <a:gd name="connsiteX4" fmla="*/ 191894 w 538152"/>
                  <a:gd name="connsiteY4" fmla="*/ 340594 h 339885"/>
                  <a:gd name="connsiteX5" fmla="*/ 303773 w 538152"/>
                  <a:gd name="connsiteY5" fmla="*/ 306605 h 339885"/>
                  <a:gd name="connsiteX6" fmla="*/ 303773 w 538152"/>
                  <a:gd name="connsiteY6" fmla="*/ 306605 h 339885"/>
                  <a:gd name="connsiteX7" fmla="*/ 308022 w 538152"/>
                  <a:gd name="connsiteY7" fmla="*/ 305189 h 339885"/>
                  <a:gd name="connsiteX8" fmla="*/ 402906 w 538152"/>
                  <a:gd name="connsiteY8" fmla="*/ 276865 h 339885"/>
                  <a:gd name="connsiteX9" fmla="*/ 451057 w 538152"/>
                  <a:gd name="connsiteY9" fmla="*/ 302357 h 339885"/>
                  <a:gd name="connsiteX10" fmla="*/ 530364 w 538152"/>
                  <a:gd name="connsiteY10" fmla="*/ 317935 h 339885"/>
                  <a:gd name="connsiteX11" fmla="*/ 530364 w 538152"/>
                  <a:gd name="connsiteY11" fmla="*/ 317935 h 339885"/>
                  <a:gd name="connsiteX12" fmla="*/ 530364 w 538152"/>
                  <a:gd name="connsiteY12" fmla="*/ 316519 h 339885"/>
                  <a:gd name="connsiteX13" fmla="*/ 530364 w 538152"/>
                  <a:gd name="connsiteY13" fmla="*/ 316519 h 339885"/>
                  <a:gd name="connsiteX14" fmla="*/ 417068 w 538152"/>
                  <a:gd name="connsiteY14" fmla="*/ 269784 h 339885"/>
                  <a:gd name="connsiteX15" fmla="*/ 417068 w 538152"/>
                  <a:gd name="connsiteY15" fmla="*/ 269784 h 339885"/>
                  <a:gd name="connsiteX16" fmla="*/ 401490 w 538152"/>
                  <a:gd name="connsiteY16" fmla="*/ 274033 h 339885"/>
                  <a:gd name="connsiteX17" fmla="*/ 401490 w 538152"/>
                  <a:gd name="connsiteY17" fmla="*/ 274033 h 339885"/>
                  <a:gd name="connsiteX18" fmla="*/ 414236 w 538152"/>
                  <a:gd name="connsiteY18" fmla="*/ 269784 h 339885"/>
                  <a:gd name="connsiteX19" fmla="*/ 414236 w 538152"/>
                  <a:gd name="connsiteY19" fmla="*/ 269784 h 339885"/>
                  <a:gd name="connsiteX20" fmla="*/ 337762 w 538152"/>
                  <a:gd name="connsiteY20" fmla="*/ 241461 h 339885"/>
                  <a:gd name="connsiteX21" fmla="*/ 181981 w 538152"/>
                  <a:gd name="connsiteY21" fmla="*/ 159321 h 339885"/>
                  <a:gd name="connsiteX22" fmla="*/ 87096 w 538152"/>
                  <a:gd name="connsiteY22" fmla="*/ 10621 h 339885"/>
                  <a:gd name="connsiteX23" fmla="*/ 87096 w 538152"/>
                  <a:gd name="connsiteY23" fmla="*/ 10621 h 339885"/>
                  <a:gd name="connsiteX24" fmla="*/ 85680 w 538152"/>
                  <a:gd name="connsiteY24" fmla="*/ 12038 h 339885"/>
                  <a:gd name="connsiteX25" fmla="*/ 85680 w 538152"/>
                  <a:gd name="connsiteY25" fmla="*/ 12038 h 339885"/>
                  <a:gd name="connsiteX26" fmla="*/ 179148 w 538152"/>
                  <a:gd name="connsiteY26" fmla="*/ 157905 h 339885"/>
                  <a:gd name="connsiteX27" fmla="*/ 155073 w 538152"/>
                  <a:gd name="connsiteY27" fmla="*/ 145160 h 339885"/>
                  <a:gd name="connsiteX28" fmla="*/ 97009 w 538152"/>
                  <a:gd name="connsiteY28" fmla="*/ 142327 h 339885"/>
                  <a:gd name="connsiteX29" fmla="*/ 10621 w 538152"/>
                  <a:gd name="connsiteY29" fmla="*/ 163570 h 339885"/>
                  <a:gd name="connsiteX30" fmla="*/ 10621 w 538152"/>
                  <a:gd name="connsiteY30" fmla="*/ 163570 h 339885"/>
                  <a:gd name="connsiteX31" fmla="*/ 10621 w 538152"/>
                  <a:gd name="connsiteY31" fmla="*/ 164986 h 339885"/>
                  <a:gd name="connsiteX32" fmla="*/ 94177 w 538152"/>
                  <a:gd name="connsiteY32" fmla="*/ 150824 h 339885"/>
                  <a:gd name="connsiteX33" fmla="*/ 102674 w 538152"/>
                  <a:gd name="connsiteY33" fmla="*/ 153657 h 339885"/>
                  <a:gd name="connsiteX34" fmla="*/ 302357 w 538152"/>
                  <a:gd name="connsiteY34" fmla="*/ 303773 h 339885"/>
                  <a:gd name="connsiteX35" fmla="*/ 213137 w 538152"/>
                  <a:gd name="connsiteY35" fmla="*/ 251374 h 339885"/>
                  <a:gd name="connsiteX36" fmla="*/ 198975 w 538152"/>
                  <a:gd name="connsiteY36" fmla="*/ 238628 h 339885"/>
                  <a:gd name="connsiteX37" fmla="*/ 204640 w 538152"/>
                  <a:gd name="connsiteY37" fmla="*/ 200391 h 339885"/>
                  <a:gd name="connsiteX38" fmla="*/ 204640 w 538152"/>
                  <a:gd name="connsiteY38" fmla="*/ 200391 h 339885"/>
                  <a:gd name="connsiteX39" fmla="*/ 203224 w 538152"/>
                  <a:gd name="connsiteY39" fmla="*/ 200391 h 339885"/>
                  <a:gd name="connsiteX40" fmla="*/ 203224 w 538152"/>
                  <a:gd name="connsiteY40" fmla="*/ 200391 h 339885"/>
                  <a:gd name="connsiteX41" fmla="*/ 197559 w 538152"/>
                  <a:gd name="connsiteY41" fmla="*/ 238628 h 339885"/>
                  <a:gd name="connsiteX42" fmla="*/ 106922 w 538152"/>
                  <a:gd name="connsiteY42" fmla="*/ 156489 h 339885"/>
                  <a:gd name="connsiteX43" fmla="*/ 193310 w 538152"/>
                  <a:gd name="connsiteY43" fmla="*/ 189062 h 339885"/>
                  <a:gd name="connsiteX44" fmla="*/ 204640 w 538152"/>
                  <a:gd name="connsiteY44" fmla="*/ 198975 h 339885"/>
                  <a:gd name="connsiteX45" fmla="*/ 206056 w 538152"/>
                  <a:gd name="connsiteY45" fmla="*/ 200391 h 339885"/>
                  <a:gd name="connsiteX46" fmla="*/ 200391 w 538152"/>
                  <a:gd name="connsiteY46" fmla="*/ 191894 h 339885"/>
                  <a:gd name="connsiteX47" fmla="*/ 334929 w 538152"/>
                  <a:gd name="connsiteY47" fmla="*/ 242877 h 339885"/>
                  <a:gd name="connsiteX48" fmla="*/ 394409 w 538152"/>
                  <a:gd name="connsiteY48" fmla="*/ 274033 h 339885"/>
                  <a:gd name="connsiteX49" fmla="*/ 305189 w 538152"/>
                  <a:gd name="connsiteY49" fmla="*/ 303773 h 339885"/>
                  <a:gd name="connsiteX50" fmla="*/ 302357 w 538152"/>
                  <a:gd name="connsiteY50" fmla="*/ 303773 h 339885"/>
                  <a:gd name="connsiteX51" fmla="*/ 150824 w 538152"/>
                  <a:gd name="connsiteY51" fmla="*/ 150824 h 339885"/>
                  <a:gd name="connsiteX52" fmla="*/ 190478 w 538152"/>
                  <a:gd name="connsiteY52" fmla="*/ 184813 h 339885"/>
                  <a:gd name="connsiteX53" fmla="*/ 104090 w 538152"/>
                  <a:gd name="connsiteY53" fmla="*/ 152241 h 339885"/>
                  <a:gd name="connsiteX54" fmla="*/ 99842 w 538152"/>
                  <a:gd name="connsiteY54" fmla="*/ 147992 h 339885"/>
                  <a:gd name="connsiteX55" fmla="*/ 150824 w 538152"/>
                  <a:gd name="connsiteY55" fmla="*/ 150824 h 339885"/>
                  <a:gd name="connsiteX56" fmla="*/ 196143 w 538152"/>
                  <a:gd name="connsiteY56" fmla="*/ 186229 h 339885"/>
                  <a:gd name="connsiteX57" fmla="*/ 152241 w 538152"/>
                  <a:gd name="connsiteY57" fmla="*/ 147992 h 339885"/>
                  <a:gd name="connsiteX58" fmla="*/ 152241 w 538152"/>
                  <a:gd name="connsiteY58" fmla="*/ 147992 h 339885"/>
                  <a:gd name="connsiteX59" fmla="*/ 94177 w 538152"/>
                  <a:gd name="connsiteY59" fmla="*/ 143743 h 339885"/>
                  <a:gd name="connsiteX60" fmla="*/ 94177 w 538152"/>
                  <a:gd name="connsiteY60" fmla="*/ 143743 h 339885"/>
                  <a:gd name="connsiteX61" fmla="*/ 99842 w 538152"/>
                  <a:gd name="connsiteY61" fmla="*/ 147992 h 339885"/>
                  <a:gd name="connsiteX62" fmla="*/ 94177 w 538152"/>
                  <a:gd name="connsiteY62" fmla="*/ 146576 h 339885"/>
                  <a:gd name="connsiteX63" fmla="*/ 36113 w 538152"/>
                  <a:gd name="connsiteY63" fmla="*/ 156489 h 339885"/>
                  <a:gd name="connsiteX64" fmla="*/ 95593 w 538152"/>
                  <a:gd name="connsiteY64" fmla="*/ 140911 h 339885"/>
                  <a:gd name="connsiteX65" fmla="*/ 153657 w 538152"/>
                  <a:gd name="connsiteY65" fmla="*/ 143743 h 339885"/>
                  <a:gd name="connsiteX66" fmla="*/ 180564 w 538152"/>
                  <a:gd name="connsiteY66" fmla="*/ 157905 h 339885"/>
                  <a:gd name="connsiteX67" fmla="*/ 197559 w 538152"/>
                  <a:gd name="connsiteY67" fmla="*/ 184813 h 339885"/>
                  <a:gd name="connsiteX68" fmla="*/ 196143 w 538152"/>
                  <a:gd name="connsiteY68" fmla="*/ 186229 h 339885"/>
                  <a:gd name="connsiteX69" fmla="*/ 198975 w 538152"/>
                  <a:gd name="connsiteY69" fmla="*/ 241461 h 339885"/>
                  <a:gd name="connsiteX70" fmla="*/ 213137 w 538152"/>
                  <a:gd name="connsiteY70" fmla="*/ 254206 h 339885"/>
                  <a:gd name="connsiteX71" fmla="*/ 300941 w 538152"/>
                  <a:gd name="connsiteY71" fmla="*/ 305189 h 339885"/>
                  <a:gd name="connsiteX72" fmla="*/ 193310 w 538152"/>
                  <a:gd name="connsiteY72" fmla="*/ 337762 h 339885"/>
                  <a:gd name="connsiteX73" fmla="*/ 190478 w 538152"/>
                  <a:gd name="connsiteY73" fmla="*/ 305189 h 339885"/>
                  <a:gd name="connsiteX74" fmla="*/ 198975 w 538152"/>
                  <a:gd name="connsiteY74" fmla="*/ 241461 h 339885"/>
                  <a:gd name="connsiteX75" fmla="*/ 200391 w 538152"/>
                  <a:gd name="connsiteY75" fmla="*/ 187645 h 339885"/>
                  <a:gd name="connsiteX76" fmla="*/ 183397 w 538152"/>
                  <a:gd name="connsiteY76" fmla="*/ 160738 h 339885"/>
                  <a:gd name="connsiteX77" fmla="*/ 320767 w 538152"/>
                  <a:gd name="connsiteY77" fmla="*/ 232963 h 339885"/>
                  <a:gd name="connsiteX78" fmla="*/ 200391 w 538152"/>
                  <a:gd name="connsiteY78" fmla="*/ 187645 h 339885"/>
                  <a:gd name="connsiteX79" fmla="*/ 198975 w 538152"/>
                  <a:gd name="connsiteY79" fmla="*/ 189062 h 339885"/>
                  <a:gd name="connsiteX80" fmla="*/ 198975 w 538152"/>
                  <a:gd name="connsiteY80" fmla="*/ 189062 h 339885"/>
                  <a:gd name="connsiteX81" fmla="*/ 198975 w 538152"/>
                  <a:gd name="connsiteY81" fmla="*/ 189062 h 339885"/>
                  <a:gd name="connsiteX82" fmla="*/ 198975 w 538152"/>
                  <a:gd name="connsiteY82" fmla="*/ 189062 h 339885"/>
                  <a:gd name="connsiteX83" fmla="*/ 398658 w 538152"/>
                  <a:gd name="connsiteY83" fmla="*/ 274033 h 339885"/>
                  <a:gd name="connsiteX84" fmla="*/ 381664 w 538152"/>
                  <a:gd name="connsiteY84" fmla="*/ 279698 h 339885"/>
                  <a:gd name="connsiteX85" fmla="*/ 398658 w 538152"/>
                  <a:gd name="connsiteY85" fmla="*/ 274033 h 339885"/>
                  <a:gd name="connsiteX86" fmla="*/ 398658 w 538152"/>
                  <a:gd name="connsiteY86" fmla="*/ 274033 h 339885"/>
                  <a:gd name="connsiteX87" fmla="*/ 398658 w 538152"/>
                  <a:gd name="connsiteY87" fmla="*/ 271200 h 339885"/>
                  <a:gd name="connsiteX88" fmla="*/ 351924 w 538152"/>
                  <a:gd name="connsiteY88" fmla="*/ 247125 h 339885"/>
                  <a:gd name="connsiteX89" fmla="*/ 407155 w 538152"/>
                  <a:gd name="connsiteY89" fmla="*/ 268368 h 339885"/>
                  <a:gd name="connsiteX90" fmla="*/ 398658 w 538152"/>
                  <a:gd name="connsiteY90" fmla="*/ 271200 h 339885"/>
                  <a:gd name="connsiteX91" fmla="*/ 449641 w 538152"/>
                  <a:gd name="connsiteY91" fmla="*/ 299524 h 339885"/>
                  <a:gd name="connsiteX92" fmla="*/ 404323 w 538152"/>
                  <a:gd name="connsiteY92" fmla="*/ 275449 h 339885"/>
                  <a:gd name="connsiteX93" fmla="*/ 417068 w 538152"/>
                  <a:gd name="connsiteY93" fmla="*/ 271200 h 339885"/>
                  <a:gd name="connsiteX94" fmla="*/ 519034 w 538152"/>
                  <a:gd name="connsiteY94" fmla="*/ 312270 h 339885"/>
                  <a:gd name="connsiteX95" fmla="*/ 449641 w 538152"/>
                  <a:gd name="connsiteY95" fmla="*/ 299524 h 3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538152" h="339885">
                    <a:moveTo>
                      <a:pt x="102674" y="153657"/>
                    </a:moveTo>
                    <a:lnTo>
                      <a:pt x="197559" y="240044"/>
                    </a:lnTo>
                    <a:lnTo>
                      <a:pt x="189062" y="306605"/>
                    </a:lnTo>
                    <a:lnTo>
                      <a:pt x="191894" y="340594"/>
                    </a:lnTo>
                    <a:lnTo>
                      <a:pt x="191894" y="340594"/>
                    </a:lnTo>
                    <a:lnTo>
                      <a:pt x="303773" y="306605"/>
                    </a:lnTo>
                    <a:lnTo>
                      <a:pt x="303773" y="306605"/>
                    </a:lnTo>
                    <a:lnTo>
                      <a:pt x="308022" y="305189"/>
                    </a:lnTo>
                    <a:lnTo>
                      <a:pt x="402906" y="276865"/>
                    </a:lnTo>
                    <a:lnTo>
                      <a:pt x="451057" y="302357"/>
                    </a:lnTo>
                    <a:lnTo>
                      <a:pt x="530364" y="317935"/>
                    </a:lnTo>
                    <a:lnTo>
                      <a:pt x="530364" y="317935"/>
                    </a:lnTo>
                    <a:lnTo>
                      <a:pt x="530364" y="316519"/>
                    </a:lnTo>
                    <a:lnTo>
                      <a:pt x="530364" y="316519"/>
                    </a:lnTo>
                    <a:lnTo>
                      <a:pt x="417068" y="269784"/>
                    </a:lnTo>
                    <a:lnTo>
                      <a:pt x="417068" y="269784"/>
                    </a:lnTo>
                    <a:lnTo>
                      <a:pt x="401490" y="274033"/>
                    </a:lnTo>
                    <a:lnTo>
                      <a:pt x="401490" y="274033"/>
                    </a:lnTo>
                    <a:lnTo>
                      <a:pt x="414236" y="269784"/>
                    </a:lnTo>
                    <a:lnTo>
                      <a:pt x="414236" y="269784"/>
                    </a:lnTo>
                    <a:lnTo>
                      <a:pt x="337762" y="241461"/>
                    </a:lnTo>
                    <a:lnTo>
                      <a:pt x="181981" y="159321"/>
                    </a:lnTo>
                    <a:lnTo>
                      <a:pt x="87096" y="10621"/>
                    </a:lnTo>
                    <a:lnTo>
                      <a:pt x="87096" y="10621"/>
                    </a:lnTo>
                    <a:lnTo>
                      <a:pt x="85680" y="12038"/>
                    </a:lnTo>
                    <a:lnTo>
                      <a:pt x="85680" y="12038"/>
                    </a:lnTo>
                    <a:lnTo>
                      <a:pt x="179148" y="157905"/>
                    </a:lnTo>
                    <a:lnTo>
                      <a:pt x="155073" y="145160"/>
                    </a:lnTo>
                    <a:lnTo>
                      <a:pt x="97009" y="142327"/>
                    </a:lnTo>
                    <a:lnTo>
                      <a:pt x="10621" y="163570"/>
                    </a:lnTo>
                    <a:lnTo>
                      <a:pt x="10621" y="163570"/>
                    </a:lnTo>
                    <a:lnTo>
                      <a:pt x="10621" y="164986"/>
                    </a:lnTo>
                    <a:lnTo>
                      <a:pt x="94177" y="150824"/>
                    </a:lnTo>
                    <a:lnTo>
                      <a:pt x="102674" y="153657"/>
                    </a:lnTo>
                    <a:close/>
                    <a:moveTo>
                      <a:pt x="302357" y="303773"/>
                    </a:moveTo>
                    <a:lnTo>
                      <a:pt x="213137" y="251374"/>
                    </a:lnTo>
                    <a:lnTo>
                      <a:pt x="198975" y="238628"/>
                    </a:lnTo>
                    <a:lnTo>
                      <a:pt x="204640" y="200391"/>
                    </a:lnTo>
                    <a:lnTo>
                      <a:pt x="204640" y="200391"/>
                    </a:lnTo>
                    <a:lnTo>
                      <a:pt x="203224" y="200391"/>
                    </a:lnTo>
                    <a:lnTo>
                      <a:pt x="203224" y="200391"/>
                    </a:lnTo>
                    <a:lnTo>
                      <a:pt x="197559" y="238628"/>
                    </a:lnTo>
                    <a:lnTo>
                      <a:pt x="106922" y="156489"/>
                    </a:lnTo>
                    <a:lnTo>
                      <a:pt x="193310" y="189062"/>
                    </a:lnTo>
                    <a:lnTo>
                      <a:pt x="204640" y="198975"/>
                    </a:lnTo>
                    <a:lnTo>
                      <a:pt x="206056" y="200391"/>
                    </a:lnTo>
                    <a:lnTo>
                      <a:pt x="200391" y="191894"/>
                    </a:lnTo>
                    <a:lnTo>
                      <a:pt x="334929" y="242877"/>
                    </a:lnTo>
                    <a:lnTo>
                      <a:pt x="394409" y="274033"/>
                    </a:lnTo>
                    <a:lnTo>
                      <a:pt x="305189" y="303773"/>
                    </a:lnTo>
                    <a:lnTo>
                      <a:pt x="302357" y="303773"/>
                    </a:lnTo>
                    <a:close/>
                    <a:moveTo>
                      <a:pt x="150824" y="150824"/>
                    </a:moveTo>
                    <a:lnTo>
                      <a:pt x="190478" y="184813"/>
                    </a:lnTo>
                    <a:lnTo>
                      <a:pt x="104090" y="152241"/>
                    </a:lnTo>
                    <a:lnTo>
                      <a:pt x="99842" y="147992"/>
                    </a:lnTo>
                    <a:lnTo>
                      <a:pt x="150824" y="150824"/>
                    </a:lnTo>
                    <a:close/>
                    <a:moveTo>
                      <a:pt x="196143" y="186229"/>
                    </a:moveTo>
                    <a:lnTo>
                      <a:pt x="152241" y="147992"/>
                    </a:lnTo>
                    <a:lnTo>
                      <a:pt x="152241" y="147992"/>
                    </a:lnTo>
                    <a:lnTo>
                      <a:pt x="94177" y="143743"/>
                    </a:lnTo>
                    <a:lnTo>
                      <a:pt x="94177" y="143743"/>
                    </a:lnTo>
                    <a:lnTo>
                      <a:pt x="99842" y="147992"/>
                    </a:lnTo>
                    <a:lnTo>
                      <a:pt x="94177" y="146576"/>
                    </a:lnTo>
                    <a:lnTo>
                      <a:pt x="36113" y="156489"/>
                    </a:lnTo>
                    <a:lnTo>
                      <a:pt x="95593" y="140911"/>
                    </a:lnTo>
                    <a:lnTo>
                      <a:pt x="153657" y="143743"/>
                    </a:lnTo>
                    <a:lnTo>
                      <a:pt x="180564" y="157905"/>
                    </a:lnTo>
                    <a:lnTo>
                      <a:pt x="197559" y="184813"/>
                    </a:lnTo>
                    <a:lnTo>
                      <a:pt x="196143" y="186229"/>
                    </a:lnTo>
                    <a:close/>
                    <a:moveTo>
                      <a:pt x="198975" y="241461"/>
                    </a:moveTo>
                    <a:lnTo>
                      <a:pt x="213137" y="254206"/>
                    </a:lnTo>
                    <a:lnTo>
                      <a:pt x="300941" y="305189"/>
                    </a:lnTo>
                    <a:lnTo>
                      <a:pt x="193310" y="337762"/>
                    </a:lnTo>
                    <a:lnTo>
                      <a:pt x="190478" y="305189"/>
                    </a:lnTo>
                    <a:lnTo>
                      <a:pt x="198975" y="241461"/>
                    </a:lnTo>
                    <a:close/>
                    <a:moveTo>
                      <a:pt x="200391" y="187645"/>
                    </a:moveTo>
                    <a:lnTo>
                      <a:pt x="183397" y="160738"/>
                    </a:lnTo>
                    <a:lnTo>
                      <a:pt x="320767" y="232963"/>
                    </a:lnTo>
                    <a:lnTo>
                      <a:pt x="200391" y="187645"/>
                    </a:lnTo>
                    <a:close/>
                    <a:moveTo>
                      <a:pt x="198975" y="189062"/>
                    </a:moveTo>
                    <a:lnTo>
                      <a:pt x="198975" y="189062"/>
                    </a:lnTo>
                    <a:lnTo>
                      <a:pt x="198975" y="189062"/>
                    </a:lnTo>
                    <a:lnTo>
                      <a:pt x="198975" y="189062"/>
                    </a:lnTo>
                    <a:close/>
                    <a:moveTo>
                      <a:pt x="398658" y="274033"/>
                    </a:moveTo>
                    <a:lnTo>
                      <a:pt x="381664" y="279698"/>
                    </a:lnTo>
                    <a:lnTo>
                      <a:pt x="398658" y="274033"/>
                    </a:lnTo>
                    <a:lnTo>
                      <a:pt x="398658" y="274033"/>
                    </a:lnTo>
                    <a:close/>
                    <a:moveTo>
                      <a:pt x="398658" y="271200"/>
                    </a:moveTo>
                    <a:lnTo>
                      <a:pt x="351924" y="247125"/>
                    </a:lnTo>
                    <a:lnTo>
                      <a:pt x="407155" y="268368"/>
                    </a:lnTo>
                    <a:lnTo>
                      <a:pt x="398658" y="271200"/>
                    </a:lnTo>
                    <a:close/>
                    <a:moveTo>
                      <a:pt x="449641" y="299524"/>
                    </a:moveTo>
                    <a:lnTo>
                      <a:pt x="404323" y="275449"/>
                    </a:lnTo>
                    <a:lnTo>
                      <a:pt x="417068" y="271200"/>
                    </a:lnTo>
                    <a:lnTo>
                      <a:pt x="519034" y="312270"/>
                    </a:lnTo>
                    <a:lnTo>
                      <a:pt x="449641" y="299524"/>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52" name="Freeform: Shape 951">
                <a:extLst>
                  <a:ext uri="{FF2B5EF4-FFF2-40B4-BE49-F238E27FC236}">
                    <a16:creationId xmlns:a16="http://schemas.microsoft.com/office/drawing/2014/main" id="{211BE2F0-E403-46AB-825C-5324306A658F}"/>
                  </a:ext>
                </a:extLst>
              </p:cNvPr>
              <p:cNvSpPr/>
              <p:nvPr/>
            </p:nvSpPr>
            <p:spPr>
              <a:xfrm>
                <a:off x="9201000" y="4709945"/>
                <a:ext cx="1189601" cy="1260410"/>
              </a:xfrm>
              <a:custGeom>
                <a:avLst/>
                <a:gdLst>
                  <a:gd name="connsiteX0" fmla="*/ 1147823 w 1189600"/>
                  <a:gd name="connsiteY0" fmla="*/ 557271 h 1260409"/>
                  <a:gd name="connsiteX1" fmla="*/ 1147823 w 1189600"/>
                  <a:gd name="connsiteY1" fmla="*/ 555855 h 1260409"/>
                  <a:gd name="connsiteX2" fmla="*/ 1147823 w 1189600"/>
                  <a:gd name="connsiteY2" fmla="*/ 555855 h 1260409"/>
                  <a:gd name="connsiteX3" fmla="*/ 1135078 w 1189600"/>
                  <a:gd name="connsiteY3" fmla="*/ 554439 h 1260409"/>
                  <a:gd name="connsiteX4" fmla="*/ 1109586 w 1189600"/>
                  <a:gd name="connsiteY4" fmla="*/ 545941 h 1260409"/>
                  <a:gd name="connsiteX5" fmla="*/ 1120916 w 1189600"/>
                  <a:gd name="connsiteY5" fmla="*/ 441143 h 1260409"/>
                  <a:gd name="connsiteX6" fmla="*/ 1120916 w 1189600"/>
                  <a:gd name="connsiteY6" fmla="*/ 441143 h 1260409"/>
                  <a:gd name="connsiteX7" fmla="*/ 958054 w 1189600"/>
                  <a:gd name="connsiteY7" fmla="*/ 526115 h 1260409"/>
                  <a:gd name="connsiteX8" fmla="*/ 938227 w 1189600"/>
                  <a:gd name="connsiteY8" fmla="*/ 526115 h 1260409"/>
                  <a:gd name="connsiteX9" fmla="*/ 843342 w 1189600"/>
                  <a:gd name="connsiteY9" fmla="*/ 511953 h 1260409"/>
                  <a:gd name="connsiteX10" fmla="*/ 820683 w 1189600"/>
                  <a:gd name="connsiteY10" fmla="*/ 431230 h 1260409"/>
                  <a:gd name="connsiteX11" fmla="*/ 948140 w 1189600"/>
                  <a:gd name="connsiteY11" fmla="*/ 375999 h 1260409"/>
                  <a:gd name="connsiteX12" fmla="*/ 1084094 w 1189600"/>
                  <a:gd name="connsiteY12" fmla="*/ 364669 h 1260409"/>
                  <a:gd name="connsiteX13" fmla="*/ 1084094 w 1189600"/>
                  <a:gd name="connsiteY13" fmla="*/ 364669 h 1260409"/>
                  <a:gd name="connsiteX14" fmla="*/ 960886 w 1189600"/>
                  <a:gd name="connsiteY14" fmla="*/ 211720 h 1260409"/>
                  <a:gd name="connsiteX15" fmla="*/ 965135 w 1189600"/>
                  <a:gd name="connsiteY15" fmla="*/ 211720 h 1260409"/>
                  <a:gd name="connsiteX16" fmla="*/ 959470 w 1189600"/>
                  <a:gd name="connsiteY16" fmla="*/ 208888 h 1260409"/>
                  <a:gd name="connsiteX17" fmla="*/ 959470 w 1189600"/>
                  <a:gd name="connsiteY17" fmla="*/ 208888 h 1260409"/>
                  <a:gd name="connsiteX18" fmla="*/ 958054 w 1189600"/>
                  <a:gd name="connsiteY18" fmla="*/ 208888 h 1260409"/>
                  <a:gd name="connsiteX19" fmla="*/ 882995 w 1189600"/>
                  <a:gd name="connsiteY19" fmla="*/ 172067 h 1260409"/>
                  <a:gd name="connsiteX20" fmla="*/ 887244 w 1189600"/>
                  <a:gd name="connsiteY20" fmla="*/ 21951 h 1260409"/>
                  <a:gd name="connsiteX21" fmla="*/ 928313 w 1189600"/>
                  <a:gd name="connsiteY21" fmla="*/ 126749 h 1260409"/>
                  <a:gd name="connsiteX22" fmla="*/ 928313 w 1189600"/>
                  <a:gd name="connsiteY22" fmla="*/ 126749 h 1260409"/>
                  <a:gd name="connsiteX23" fmla="*/ 929730 w 1189600"/>
                  <a:gd name="connsiteY23" fmla="*/ 125333 h 1260409"/>
                  <a:gd name="connsiteX24" fmla="*/ 885828 w 1189600"/>
                  <a:gd name="connsiteY24" fmla="*/ 12037 h 1260409"/>
                  <a:gd name="connsiteX25" fmla="*/ 885828 w 1189600"/>
                  <a:gd name="connsiteY25" fmla="*/ 10621 h 1260409"/>
                  <a:gd name="connsiteX26" fmla="*/ 881579 w 1189600"/>
                  <a:gd name="connsiteY26" fmla="*/ 172067 h 1260409"/>
                  <a:gd name="connsiteX27" fmla="*/ 881579 w 1189600"/>
                  <a:gd name="connsiteY27" fmla="*/ 172067 h 1260409"/>
                  <a:gd name="connsiteX28" fmla="*/ 952389 w 1189600"/>
                  <a:gd name="connsiteY28" fmla="*/ 206056 h 1260409"/>
                  <a:gd name="connsiteX29" fmla="*/ 673399 w 1189600"/>
                  <a:gd name="connsiteY29" fmla="*/ 163570 h 1260409"/>
                  <a:gd name="connsiteX30" fmla="*/ 721550 w 1189600"/>
                  <a:gd name="connsiteY30" fmla="*/ 160737 h 1260409"/>
                  <a:gd name="connsiteX31" fmla="*/ 721550 w 1189600"/>
                  <a:gd name="connsiteY31" fmla="*/ 160737 h 1260409"/>
                  <a:gd name="connsiteX32" fmla="*/ 608254 w 1189600"/>
                  <a:gd name="connsiteY32" fmla="*/ 41777 h 1260409"/>
                  <a:gd name="connsiteX33" fmla="*/ 608254 w 1189600"/>
                  <a:gd name="connsiteY33" fmla="*/ 41777 h 1260409"/>
                  <a:gd name="connsiteX34" fmla="*/ 608254 w 1189600"/>
                  <a:gd name="connsiteY34" fmla="*/ 38945 h 1260409"/>
                  <a:gd name="connsiteX35" fmla="*/ 608254 w 1189600"/>
                  <a:gd name="connsiteY35" fmla="*/ 37529 h 1260409"/>
                  <a:gd name="connsiteX36" fmla="*/ 511954 w 1189600"/>
                  <a:gd name="connsiteY36" fmla="*/ 138079 h 1260409"/>
                  <a:gd name="connsiteX37" fmla="*/ 402907 w 1189600"/>
                  <a:gd name="connsiteY37" fmla="*/ 121084 h 1260409"/>
                  <a:gd name="connsiteX38" fmla="*/ 400074 w 1189600"/>
                  <a:gd name="connsiteY38" fmla="*/ 118252 h 1260409"/>
                  <a:gd name="connsiteX39" fmla="*/ 400074 w 1189600"/>
                  <a:gd name="connsiteY39" fmla="*/ 118252 h 1260409"/>
                  <a:gd name="connsiteX40" fmla="*/ 392993 w 1189600"/>
                  <a:gd name="connsiteY40" fmla="*/ 126749 h 1260409"/>
                  <a:gd name="connsiteX41" fmla="*/ 283946 w 1189600"/>
                  <a:gd name="connsiteY41" fmla="*/ 200391 h 1260409"/>
                  <a:gd name="connsiteX42" fmla="*/ 232964 w 1189600"/>
                  <a:gd name="connsiteY42" fmla="*/ 295275 h 1260409"/>
                  <a:gd name="connsiteX43" fmla="*/ 95593 w 1189600"/>
                  <a:gd name="connsiteY43" fmla="*/ 367501 h 1260409"/>
                  <a:gd name="connsiteX44" fmla="*/ 85679 w 1189600"/>
                  <a:gd name="connsiteY44" fmla="*/ 368918 h 1260409"/>
                  <a:gd name="connsiteX45" fmla="*/ 85679 w 1189600"/>
                  <a:gd name="connsiteY45" fmla="*/ 368918 h 1260409"/>
                  <a:gd name="connsiteX46" fmla="*/ 88512 w 1189600"/>
                  <a:gd name="connsiteY46" fmla="*/ 371750 h 1260409"/>
                  <a:gd name="connsiteX47" fmla="*/ 41778 w 1189600"/>
                  <a:gd name="connsiteY47" fmla="*/ 392993 h 1260409"/>
                  <a:gd name="connsiteX48" fmla="*/ 36113 w 1189600"/>
                  <a:gd name="connsiteY48" fmla="*/ 391577 h 1260409"/>
                  <a:gd name="connsiteX49" fmla="*/ 36113 w 1189600"/>
                  <a:gd name="connsiteY49" fmla="*/ 391577 h 1260409"/>
                  <a:gd name="connsiteX50" fmla="*/ 36113 w 1189600"/>
                  <a:gd name="connsiteY50" fmla="*/ 392993 h 1260409"/>
                  <a:gd name="connsiteX51" fmla="*/ 38945 w 1189600"/>
                  <a:gd name="connsiteY51" fmla="*/ 392993 h 1260409"/>
                  <a:gd name="connsiteX52" fmla="*/ 37529 w 1189600"/>
                  <a:gd name="connsiteY52" fmla="*/ 392993 h 1260409"/>
                  <a:gd name="connsiteX53" fmla="*/ 37529 w 1189600"/>
                  <a:gd name="connsiteY53" fmla="*/ 392993 h 1260409"/>
                  <a:gd name="connsiteX54" fmla="*/ 70102 w 1189600"/>
                  <a:gd name="connsiteY54" fmla="*/ 438311 h 1260409"/>
                  <a:gd name="connsiteX55" fmla="*/ 10621 w 1189600"/>
                  <a:gd name="connsiteY55" fmla="*/ 469467 h 1260409"/>
                  <a:gd name="connsiteX56" fmla="*/ 10621 w 1189600"/>
                  <a:gd name="connsiteY56" fmla="*/ 469467 h 1260409"/>
                  <a:gd name="connsiteX57" fmla="*/ 10621 w 1189600"/>
                  <a:gd name="connsiteY57" fmla="*/ 470883 h 1260409"/>
                  <a:gd name="connsiteX58" fmla="*/ 126749 w 1189600"/>
                  <a:gd name="connsiteY58" fmla="*/ 438311 h 1260409"/>
                  <a:gd name="connsiteX59" fmla="*/ 132414 w 1189600"/>
                  <a:gd name="connsiteY59" fmla="*/ 438311 h 1260409"/>
                  <a:gd name="connsiteX60" fmla="*/ 92760 w 1189600"/>
                  <a:gd name="connsiteY60" fmla="*/ 523282 h 1260409"/>
                  <a:gd name="connsiteX61" fmla="*/ 53107 w 1189600"/>
                  <a:gd name="connsiteY61" fmla="*/ 534612 h 1260409"/>
                  <a:gd name="connsiteX62" fmla="*/ 38945 w 1189600"/>
                  <a:gd name="connsiteY62" fmla="*/ 534612 h 1260409"/>
                  <a:gd name="connsiteX63" fmla="*/ 37529 w 1189600"/>
                  <a:gd name="connsiteY63" fmla="*/ 534612 h 1260409"/>
                  <a:gd name="connsiteX64" fmla="*/ 41778 w 1189600"/>
                  <a:gd name="connsiteY64" fmla="*/ 537444 h 1260409"/>
                  <a:gd name="connsiteX65" fmla="*/ 41778 w 1189600"/>
                  <a:gd name="connsiteY65" fmla="*/ 537444 h 1260409"/>
                  <a:gd name="connsiteX66" fmla="*/ 41778 w 1189600"/>
                  <a:gd name="connsiteY66" fmla="*/ 537444 h 1260409"/>
                  <a:gd name="connsiteX67" fmla="*/ 41778 w 1189600"/>
                  <a:gd name="connsiteY67" fmla="*/ 538860 h 1260409"/>
                  <a:gd name="connsiteX68" fmla="*/ 44610 w 1189600"/>
                  <a:gd name="connsiteY68" fmla="*/ 538860 h 1260409"/>
                  <a:gd name="connsiteX69" fmla="*/ 75766 w 1189600"/>
                  <a:gd name="connsiteY69" fmla="*/ 557271 h 1260409"/>
                  <a:gd name="connsiteX70" fmla="*/ 41778 w 1189600"/>
                  <a:gd name="connsiteY70" fmla="*/ 629497 h 1260409"/>
                  <a:gd name="connsiteX71" fmla="*/ 41778 w 1189600"/>
                  <a:gd name="connsiteY71" fmla="*/ 630913 h 1260409"/>
                  <a:gd name="connsiteX72" fmla="*/ 109755 w 1189600"/>
                  <a:gd name="connsiteY72" fmla="*/ 578514 h 1260409"/>
                  <a:gd name="connsiteX73" fmla="*/ 172068 w 1189600"/>
                  <a:gd name="connsiteY73" fmla="*/ 615335 h 1260409"/>
                  <a:gd name="connsiteX74" fmla="*/ 153656 w 1189600"/>
                  <a:gd name="connsiteY74" fmla="*/ 659237 h 1260409"/>
                  <a:gd name="connsiteX75" fmla="*/ 70102 w 1189600"/>
                  <a:gd name="connsiteY75" fmla="*/ 697474 h 1260409"/>
                  <a:gd name="connsiteX76" fmla="*/ 70102 w 1189600"/>
                  <a:gd name="connsiteY76" fmla="*/ 697474 h 1260409"/>
                  <a:gd name="connsiteX77" fmla="*/ 97009 w 1189600"/>
                  <a:gd name="connsiteY77" fmla="*/ 790942 h 1260409"/>
                  <a:gd name="connsiteX78" fmla="*/ 84264 w 1189600"/>
                  <a:gd name="connsiteY78" fmla="*/ 819266 h 1260409"/>
                  <a:gd name="connsiteX79" fmla="*/ 84264 w 1189600"/>
                  <a:gd name="connsiteY79" fmla="*/ 819266 h 1260409"/>
                  <a:gd name="connsiteX80" fmla="*/ 85679 w 1189600"/>
                  <a:gd name="connsiteY80" fmla="*/ 820682 h 1260409"/>
                  <a:gd name="connsiteX81" fmla="*/ 99841 w 1189600"/>
                  <a:gd name="connsiteY81" fmla="*/ 802272 h 1260409"/>
                  <a:gd name="connsiteX82" fmla="*/ 118252 w 1189600"/>
                  <a:gd name="connsiteY82" fmla="*/ 863168 h 1260409"/>
                  <a:gd name="connsiteX83" fmla="*/ 118252 w 1189600"/>
                  <a:gd name="connsiteY83" fmla="*/ 863168 h 1260409"/>
                  <a:gd name="connsiteX84" fmla="*/ 257039 w 1189600"/>
                  <a:gd name="connsiteY84" fmla="*/ 796607 h 1260409"/>
                  <a:gd name="connsiteX85" fmla="*/ 257039 w 1189600"/>
                  <a:gd name="connsiteY85" fmla="*/ 796607 h 1260409"/>
                  <a:gd name="connsiteX86" fmla="*/ 180564 w 1189600"/>
                  <a:gd name="connsiteY86" fmla="*/ 739960 h 1260409"/>
                  <a:gd name="connsiteX87" fmla="*/ 272617 w 1189600"/>
                  <a:gd name="connsiteY87" fmla="*/ 766867 h 1260409"/>
                  <a:gd name="connsiteX88" fmla="*/ 296692 w 1189600"/>
                  <a:gd name="connsiteY88" fmla="*/ 846174 h 1260409"/>
                  <a:gd name="connsiteX89" fmla="*/ 296692 w 1189600"/>
                  <a:gd name="connsiteY89" fmla="*/ 846174 h 1260409"/>
                  <a:gd name="connsiteX90" fmla="*/ 466635 w 1189600"/>
                  <a:gd name="connsiteY90" fmla="*/ 772532 h 1260409"/>
                  <a:gd name="connsiteX91" fmla="*/ 466635 w 1189600"/>
                  <a:gd name="connsiteY91" fmla="*/ 772532 h 1260409"/>
                  <a:gd name="connsiteX92" fmla="*/ 436895 w 1189600"/>
                  <a:gd name="connsiteY92" fmla="*/ 745624 h 1260409"/>
                  <a:gd name="connsiteX93" fmla="*/ 551607 w 1189600"/>
                  <a:gd name="connsiteY93" fmla="*/ 722965 h 1260409"/>
                  <a:gd name="connsiteX94" fmla="*/ 554439 w 1189600"/>
                  <a:gd name="connsiteY94" fmla="*/ 728630 h 1260409"/>
                  <a:gd name="connsiteX95" fmla="*/ 554439 w 1189600"/>
                  <a:gd name="connsiteY95" fmla="*/ 730046 h 1260409"/>
                  <a:gd name="connsiteX96" fmla="*/ 554439 w 1189600"/>
                  <a:gd name="connsiteY96" fmla="*/ 721549 h 1260409"/>
                  <a:gd name="connsiteX97" fmla="*/ 561520 w 1189600"/>
                  <a:gd name="connsiteY97" fmla="*/ 711636 h 1260409"/>
                  <a:gd name="connsiteX98" fmla="*/ 674816 w 1189600"/>
                  <a:gd name="connsiteY98" fmla="*/ 792359 h 1260409"/>
                  <a:gd name="connsiteX99" fmla="*/ 670566 w 1189600"/>
                  <a:gd name="connsiteY99" fmla="*/ 849006 h 1260409"/>
                  <a:gd name="connsiteX100" fmla="*/ 670566 w 1189600"/>
                  <a:gd name="connsiteY100" fmla="*/ 849006 h 1260409"/>
                  <a:gd name="connsiteX101" fmla="*/ 816435 w 1189600"/>
                  <a:gd name="connsiteY101" fmla="*/ 1034527 h 1260409"/>
                  <a:gd name="connsiteX102" fmla="*/ 1040193 w 1189600"/>
                  <a:gd name="connsiteY102" fmla="*/ 1173314 h 1260409"/>
                  <a:gd name="connsiteX103" fmla="*/ 994874 w 1189600"/>
                  <a:gd name="connsiteY103" fmla="*/ 1255453 h 1260409"/>
                  <a:gd name="connsiteX104" fmla="*/ 994874 w 1189600"/>
                  <a:gd name="connsiteY104" fmla="*/ 1255453 h 1260409"/>
                  <a:gd name="connsiteX105" fmla="*/ 996290 w 1189600"/>
                  <a:gd name="connsiteY105" fmla="*/ 1256869 h 1260409"/>
                  <a:gd name="connsiteX106" fmla="*/ 1043025 w 1189600"/>
                  <a:gd name="connsiteY106" fmla="*/ 1173314 h 1260409"/>
                  <a:gd name="connsiteX107" fmla="*/ 1043025 w 1189600"/>
                  <a:gd name="connsiteY107" fmla="*/ 1173314 h 1260409"/>
                  <a:gd name="connsiteX108" fmla="*/ 817851 w 1189600"/>
                  <a:gd name="connsiteY108" fmla="*/ 1033111 h 1260409"/>
                  <a:gd name="connsiteX109" fmla="*/ 671983 w 1189600"/>
                  <a:gd name="connsiteY109" fmla="*/ 849006 h 1260409"/>
                  <a:gd name="connsiteX110" fmla="*/ 676231 w 1189600"/>
                  <a:gd name="connsiteY110" fmla="*/ 793775 h 1260409"/>
                  <a:gd name="connsiteX111" fmla="*/ 816435 w 1189600"/>
                  <a:gd name="connsiteY111" fmla="*/ 892908 h 1260409"/>
                  <a:gd name="connsiteX112" fmla="*/ 816435 w 1189600"/>
                  <a:gd name="connsiteY112" fmla="*/ 892908 h 1260409"/>
                  <a:gd name="connsiteX113" fmla="*/ 817851 w 1189600"/>
                  <a:gd name="connsiteY113" fmla="*/ 891492 h 1260409"/>
                  <a:gd name="connsiteX114" fmla="*/ 677647 w 1189600"/>
                  <a:gd name="connsiteY114" fmla="*/ 766867 h 1260409"/>
                  <a:gd name="connsiteX115" fmla="*/ 684728 w 1189600"/>
                  <a:gd name="connsiteY115" fmla="*/ 669150 h 1260409"/>
                  <a:gd name="connsiteX116" fmla="*/ 793775 w 1189600"/>
                  <a:gd name="connsiteY116" fmla="*/ 664901 h 1260409"/>
                  <a:gd name="connsiteX117" fmla="*/ 817851 w 1189600"/>
                  <a:gd name="connsiteY117" fmla="*/ 877330 h 1260409"/>
                  <a:gd name="connsiteX118" fmla="*/ 817851 w 1189600"/>
                  <a:gd name="connsiteY118" fmla="*/ 877330 h 1260409"/>
                  <a:gd name="connsiteX119" fmla="*/ 824932 w 1189600"/>
                  <a:gd name="connsiteY119" fmla="*/ 878746 h 1260409"/>
                  <a:gd name="connsiteX120" fmla="*/ 815018 w 1189600"/>
                  <a:gd name="connsiteY120" fmla="*/ 894324 h 1260409"/>
                  <a:gd name="connsiteX121" fmla="*/ 815018 w 1189600"/>
                  <a:gd name="connsiteY121" fmla="*/ 894324 h 1260409"/>
                  <a:gd name="connsiteX122" fmla="*/ 867417 w 1189600"/>
                  <a:gd name="connsiteY122" fmla="*/ 890076 h 1260409"/>
                  <a:gd name="connsiteX123" fmla="*/ 949556 w 1189600"/>
                  <a:gd name="connsiteY123" fmla="*/ 912735 h 1260409"/>
                  <a:gd name="connsiteX124" fmla="*/ 976464 w 1189600"/>
                  <a:gd name="connsiteY124" fmla="*/ 1006203 h 1260409"/>
                  <a:gd name="connsiteX125" fmla="*/ 885828 w 1189600"/>
                  <a:gd name="connsiteY125" fmla="*/ 1060019 h 1260409"/>
                  <a:gd name="connsiteX126" fmla="*/ 885828 w 1189600"/>
                  <a:gd name="connsiteY126" fmla="*/ 1060019 h 1260409"/>
                  <a:gd name="connsiteX127" fmla="*/ 993459 w 1189600"/>
                  <a:gd name="connsiteY127" fmla="*/ 1057186 h 1260409"/>
                  <a:gd name="connsiteX128" fmla="*/ 993459 w 1189600"/>
                  <a:gd name="connsiteY128" fmla="*/ 1057186 h 1260409"/>
                  <a:gd name="connsiteX129" fmla="*/ 979297 w 1189600"/>
                  <a:gd name="connsiteY129" fmla="*/ 1007620 h 1260409"/>
                  <a:gd name="connsiteX130" fmla="*/ 1078430 w 1189600"/>
                  <a:gd name="connsiteY130" fmla="*/ 949556 h 1260409"/>
                  <a:gd name="connsiteX131" fmla="*/ 1137909 w 1189600"/>
                  <a:gd name="connsiteY131" fmla="*/ 841925 h 1260409"/>
                  <a:gd name="connsiteX132" fmla="*/ 1137909 w 1189600"/>
                  <a:gd name="connsiteY132" fmla="*/ 841925 h 1260409"/>
                  <a:gd name="connsiteX133" fmla="*/ 1118083 w 1189600"/>
                  <a:gd name="connsiteY133" fmla="*/ 700306 h 1260409"/>
                  <a:gd name="connsiteX134" fmla="*/ 1119499 w 1189600"/>
                  <a:gd name="connsiteY134" fmla="*/ 687560 h 1260409"/>
                  <a:gd name="connsiteX135" fmla="*/ 1181812 w 1189600"/>
                  <a:gd name="connsiteY135" fmla="*/ 752705 h 1260409"/>
                  <a:gd name="connsiteX136" fmla="*/ 1181812 w 1189600"/>
                  <a:gd name="connsiteY136" fmla="*/ 752705 h 1260409"/>
                  <a:gd name="connsiteX137" fmla="*/ 1184644 w 1189600"/>
                  <a:gd name="connsiteY137" fmla="*/ 554439 h 1260409"/>
                  <a:gd name="connsiteX138" fmla="*/ 1184644 w 1189600"/>
                  <a:gd name="connsiteY138" fmla="*/ 554439 h 1260409"/>
                  <a:gd name="connsiteX139" fmla="*/ 1147823 w 1189600"/>
                  <a:gd name="connsiteY139" fmla="*/ 557271 h 1260409"/>
                  <a:gd name="connsiteX140" fmla="*/ 1147823 w 1189600"/>
                  <a:gd name="connsiteY140" fmla="*/ 557271 h 1260409"/>
                  <a:gd name="connsiteX141" fmla="*/ 901406 w 1189600"/>
                  <a:gd name="connsiteY141" fmla="*/ 1057186 h 1260409"/>
                  <a:gd name="connsiteX142" fmla="*/ 984961 w 1189600"/>
                  <a:gd name="connsiteY142" fmla="*/ 1007620 h 1260409"/>
                  <a:gd name="connsiteX143" fmla="*/ 997707 w 1189600"/>
                  <a:gd name="connsiteY143" fmla="*/ 1054354 h 1260409"/>
                  <a:gd name="connsiteX144" fmla="*/ 901406 w 1189600"/>
                  <a:gd name="connsiteY144" fmla="*/ 1057186 h 1260409"/>
                  <a:gd name="connsiteX145" fmla="*/ 809354 w 1189600"/>
                  <a:gd name="connsiteY145" fmla="*/ 878746 h 1260409"/>
                  <a:gd name="connsiteX146" fmla="*/ 683312 w 1189600"/>
                  <a:gd name="connsiteY146" fmla="*/ 789526 h 1260409"/>
                  <a:gd name="connsiteX147" fmla="*/ 684728 w 1189600"/>
                  <a:gd name="connsiteY147" fmla="*/ 768284 h 1260409"/>
                  <a:gd name="connsiteX148" fmla="*/ 809354 w 1189600"/>
                  <a:gd name="connsiteY148" fmla="*/ 878746 h 1260409"/>
                  <a:gd name="connsiteX149" fmla="*/ 984961 w 1189600"/>
                  <a:gd name="connsiteY149" fmla="*/ 1004787 h 1260409"/>
                  <a:gd name="connsiteX150" fmla="*/ 958054 w 1189600"/>
                  <a:gd name="connsiteY150" fmla="*/ 912735 h 1260409"/>
                  <a:gd name="connsiteX151" fmla="*/ 1081262 w 1189600"/>
                  <a:gd name="connsiteY151" fmla="*/ 946723 h 1260409"/>
                  <a:gd name="connsiteX152" fmla="*/ 1081262 w 1189600"/>
                  <a:gd name="connsiteY152" fmla="*/ 946723 h 1260409"/>
                  <a:gd name="connsiteX153" fmla="*/ 1120916 w 1189600"/>
                  <a:gd name="connsiteY153" fmla="*/ 705971 h 1260409"/>
                  <a:gd name="connsiteX154" fmla="*/ 1139326 w 1189600"/>
                  <a:gd name="connsiteY154" fmla="*/ 840509 h 1260409"/>
                  <a:gd name="connsiteX155" fmla="*/ 1079846 w 1189600"/>
                  <a:gd name="connsiteY155" fmla="*/ 948140 h 1260409"/>
                  <a:gd name="connsiteX156" fmla="*/ 984961 w 1189600"/>
                  <a:gd name="connsiteY156" fmla="*/ 1004787 h 1260409"/>
                  <a:gd name="connsiteX157" fmla="*/ 123917 w 1189600"/>
                  <a:gd name="connsiteY157" fmla="*/ 861752 h 1260409"/>
                  <a:gd name="connsiteX158" fmla="*/ 105506 w 1189600"/>
                  <a:gd name="connsiteY158" fmla="*/ 800856 h 1260409"/>
                  <a:gd name="connsiteX159" fmla="*/ 220218 w 1189600"/>
                  <a:gd name="connsiteY159" fmla="*/ 645075 h 1260409"/>
                  <a:gd name="connsiteX160" fmla="*/ 244293 w 1189600"/>
                  <a:gd name="connsiteY160" fmla="*/ 660653 h 1260409"/>
                  <a:gd name="connsiteX161" fmla="*/ 275449 w 1189600"/>
                  <a:gd name="connsiteY161" fmla="*/ 766867 h 1260409"/>
                  <a:gd name="connsiteX162" fmla="*/ 174899 w 1189600"/>
                  <a:gd name="connsiteY162" fmla="*/ 737127 h 1260409"/>
                  <a:gd name="connsiteX163" fmla="*/ 173483 w 1189600"/>
                  <a:gd name="connsiteY163" fmla="*/ 737127 h 1260409"/>
                  <a:gd name="connsiteX164" fmla="*/ 255622 w 1189600"/>
                  <a:gd name="connsiteY164" fmla="*/ 799439 h 1260409"/>
                  <a:gd name="connsiteX165" fmla="*/ 123917 w 1189600"/>
                  <a:gd name="connsiteY165" fmla="*/ 861752 h 1260409"/>
                  <a:gd name="connsiteX166" fmla="*/ 210304 w 1189600"/>
                  <a:gd name="connsiteY166" fmla="*/ 536028 h 1260409"/>
                  <a:gd name="connsiteX167" fmla="*/ 176316 w 1189600"/>
                  <a:gd name="connsiteY167" fmla="*/ 615335 h 1260409"/>
                  <a:gd name="connsiteX168" fmla="*/ 115420 w 1189600"/>
                  <a:gd name="connsiteY168" fmla="*/ 578514 h 1260409"/>
                  <a:gd name="connsiteX169" fmla="*/ 169235 w 1189600"/>
                  <a:gd name="connsiteY169" fmla="*/ 536028 h 1260409"/>
                  <a:gd name="connsiteX170" fmla="*/ 210304 w 1189600"/>
                  <a:gd name="connsiteY170" fmla="*/ 536028 h 1260409"/>
                  <a:gd name="connsiteX171" fmla="*/ 82847 w 1189600"/>
                  <a:gd name="connsiteY171" fmla="*/ 558687 h 1260409"/>
                  <a:gd name="connsiteX172" fmla="*/ 92760 w 1189600"/>
                  <a:gd name="connsiteY172" fmla="*/ 537444 h 1260409"/>
                  <a:gd name="connsiteX173" fmla="*/ 166402 w 1189600"/>
                  <a:gd name="connsiteY173" fmla="*/ 536028 h 1260409"/>
                  <a:gd name="connsiteX174" fmla="*/ 114003 w 1189600"/>
                  <a:gd name="connsiteY174" fmla="*/ 577098 h 1260409"/>
                  <a:gd name="connsiteX175" fmla="*/ 82847 w 1189600"/>
                  <a:gd name="connsiteY175" fmla="*/ 558687 h 1260409"/>
                  <a:gd name="connsiteX176" fmla="*/ 57356 w 1189600"/>
                  <a:gd name="connsiteY176" fmla="*/ 538860 h 1260409"/>
                  <a:gd name="connsiteX177" fmla="*/ 91345 w 1189600"/>
                  <a:gd name="connsiteY177" fmla="*/ 538860 h 1260409"/>
                  <a:gd name="connsiteX178" fmla="*/ 81431 w 1189600"/>
                  <a:gd name="connsiteY178" fmla="*/ 558687 h 1260409"/>
                  <a:gd name="connsiteX179" fmla="*/ 51691 w 1189600"/>
                  <a:gd name="connsiteY179" fmla="*/ 540277 h 1260409"/>
                  <a:gd name="connsiteX180" fmla="*/ 57356 w 1189600"/>
                  <a:gd name="connsiteY180" fmla="*/ 538860 h 1260409"/>
                  <a:gd name="connsiteX181" fmla="*/ 91345 w 1189600"/>
                  <a:gd name="connsiteY181" fmla="*/ 536028 h 1260409"/>
                  <a:gd name="connsiteX182" fmla="*/ 64437 w 1189600"/>
                  <a:gd name="connsiteY182" fmla="*/ 536028 h 1260409"/>
                  <a:gd name="connsiteX183" fmla="*/ 94177 w 1189600"/>
                  <a:gd name="connsiteY183" fmla="*/ 527531 h 1260409"/>
                  <a:gd name="connsiteX184" fmla="*/ 91345 w 1189600"/>
                  <a:gd name="connsiteY184" fmla="*/ 536028 h 1260409"/>
                  <a:gd name="connsiteX185" fmla="*/ 94177 w 1189600"/>
                  <a:gd name="connsiteY185" fmla="*/ 371750 h 1260409"/>
                  <a:gd name="connsiteX186" fmla="*/ 94177 w 1189600"/>
                  <a:gd name="connsiteY186" fmla="*/ 371750 h 1260409"/>
                  <a:gd name="connsiteX187" fmla="*/ 94177 w 1189600"/>
                  <a:gd name="connsiteY187" fmla="*/ 371750 h 1260409"/>
                  <a:gd name="connsiteX188" fmla="*/ 94177 w 1189600"/>
                  <a:gd name="connsiteY188" fmla="*/ 371750 h 1260409"/>
                  <a:gd name="connsiteX189" fmla="*/ 601173 w 1189600"/>
                  <a:gd name="connsiteY189" fmla="*/ 166402 h 1260409"/>
                  <a:gd name="connsiteX190" fmla="*/ 602589 w 1189600"/>
                  <a:gd name="connsiteY190" fmla="*/ 155073 h 1260409"/>
                  <a:gd name="connsiteX191" fmla="*/ 656404 w 1189600"/>
                  <a:gd name="connsiteY191" fmla="*/ 163570 h 1260409"/>
                  <a:gd name="connsiteX192" fmla="*/ 601173 w 1189600"/>
                  <a:gd name="connsiteY192" fmla="*/ 166402 h 1260409"/>
                  <a:gd name="connsiteX193" fmla="*/ 602589 w 1189600"/>
                  <a:gd name="connsiteY193" fmla="*/ 153656 h 1260409"/>
                  <a:gd name="connsiteX194" fmla="*/ 612503 w 1189600"/>
                  <a:gd name="connsiteY194" fmla="*/ 47442 h 1260409"/>
                  <a:gd name="connsiteX195" fmla="*/ 720133 w 1189600"/>
                  <a:gd name="connsiteY195" fmla="*/ 160737 h 1260409"/>
                  <a:gd name="connsiteX196" fmla="*/ 666318 w 1189600"/>
                  <a:gd name="connsiteY196" fmla="*/ 163570 h 1260409"/>
                  <a:gd name="connsiteX197" fmla="*/ 602589 w 1189600"/>
                  <a:gd name="connsiteY197" fmla="*/ 153656 h 1260409"/>
                  <a:gd name="connsiteX198" fmla="*/ 781030 w 1189600"/>
                  <a:gd name="connsiteY198" fmla="*/ 385912 h 1260409"/>
                  <a:gd name="connsiteX199" fmla="*/ 857504 w 1189600"/>
                  <a:gd name="connsiteY199" fmla="*/ 272617 h 1260409"/>
                  <a:gd name="connsiteX200" fmla="*/ 955221 w 1189600"/>
                  <a:gd name="connsiteY200" fmla="*/ 370334 h 1260409"/>
                  <a:gd name="connsiteX201" fmla="*/ 949556 w 1189600"/>
                  <a:gd name="connsiteY201" fmla="*/ 373166 h 1260409"/>
                  <a:gd name="connsiteX202" fmla="*/ 781030 w 1189600"/>
                  <a:gd name="connsiteY202" fmla="*/ 385912 h 1260409"/>
                  <a:gd name="connsiteX203" fmla="*/ 841926 w 1189600"/>
                  <a:gd name="connsiteY203" fmla="*/ 509120 h 1260409"/>
                  <a:gd name="connsiteX204" fmla="*/ 783862 w 1189600"/>
                  <a:gd name="connsiteY204" fmla="*/ 500623 h 1260409"/>
                  <a:gd name="connsiteX205" fmla="*/ 772532 w 1189600"/>
                  <a:gd name="connsiteY205" fmla="*/ 397241 h 1260409"/>
                  <a:gd name="connsiteX206" fmla="*/ 772532 w 1189600"/>
                  <a:gd name="connsiteY206" fmla="*/ 397241 h 1260409"/>
                  <a:gd name="connsiteX207" fmla="*/ 779613 w 1189600"/>
                  <a:gd name="connsiteY207" fmla="*/ 387328 h 1260409"/>
                  <a:gd name="connsiteX208" fmla="*/ 942475 w 1189600"/>
                  <a:gd name="connsiteY208" fmla="*/ 374582 h 1260409"/>
                  <a:gd name="connsiteX209" fmla="*/ 819266 w 1189600"/>
                  <a:gd name="connsiteY209" fmla="*/ 428398 h 1260409"/>
                  <a:gd name="connsiteX210" fmla="*/ 819266 w 1189600"/>
                  <a:gd name="connsiteY210" fmla="*/ 428398 h 1260409"/>
                  <a:gd name="connsiteX211" fmla="*/ 841926 w 1189600"/>
                  <a:gd name="connsiteY211" fmla="*/ 509120 h 1260409"/>
                  <a:gd name="connsiteX212" fmla="*/ 1119499 w 1189600"/>
                  <a:gd name="connsiteY212" fmla="*/ 676231 h 1260409"/>
                  <a:gd name="connsiteX213" fmla="*/ 1122332 w 1189600"/>
                  <a:gd name="connsiteY213" fmla="*/ 698890 h 1260409"/>
                  <a:gd name="connsiteX214" fmla="*/ 1081262 w 1189600"/>
                  <a:gd name="connsiteY214" fmla="*/ 943891 h 1260409"/>
                  <a:gd name="connsiteX215" fmla="*/ 958054 w 1189600"/>
                  <a:gd name="connsiteY215" fmla="*/ 909903 h 1260409"/>
                  <a:gd name="connsiteX216" fmla="*/ 949556 w 1189600"/>
                  <a:gd name="connsiteY216" fmla="*/ 881579 h 1260409"/>
                  <a:gd name="connsiteX217" fmla="*/ 1017533 w 1189600"/>
                  <a:gd name="connsiteY217" fmla="*/ 809353 h 1260409"/>
                  <a:gd name="connsiteX218" fmla="*/ 1017533 w 1189600"/>
                  <a:gd name="connsiteY218" fmla="*/ 809353 h 1260409"/>
                  <a:gd name="connsiteX219" fmla="*/ 1017533 w 1189600"/>
                  <a:gd name="connsiteY219" fmla="*/ 809353 h 1260409"/>
                  <a:gd name="connsiteX220" fmla="*/ 1077013 w 1189600"/>
                  <a:gd name="connsiteY220" fmla="*/ 858920 h 1260409"/>
                  <a:gd name="connsiteX221" fmla="*/ 1077013 w 1189600"/>
                  <a:gd name="connsiteY221" fmla="*/ 858920 h 1260409"/>
                  <a:gd name="connsiteX222" fmla="*/ 1109586 w 1189600"/>
                  <a:gd name="connsiteY222" fmla="*/ 553022 h 1260409"/>
                  <a:gd name="connsiteX223" fmla="*/ 1135078 w 1189600"/>
                  <a:gd name="connsiteY223" fmla="*/ 557271 h 1260409"/>
                  <a:gd name="connsiteX224" fmla="*/ 1144990 w 1189600"/>
                  <a:gd name="connsiteY224" fmla="*/ 560103 h 1260409"/>
                  <a:gd name="connsiteX225" fmla="*/ 1123748 w 1189600"/>
                  <a:gd name="connsiteY225" fmla="*/ 684728 h 1260409"/>
                  <a:gd name="connsiteX226" fmla="*/ 1119499 w 1189600"/>
                  <a:gd name="connsiteY226" fmla="*/ 676231 h 1260409"/>
                  <a:gd name="connsiteX227" fmla="*/ 1119499 w 1189600"/>
                  <a:gd name="connsiteY227" fmla="*/ 676231 h 1260409"/>
                  <a:gd name="connsiteX228" fmla="*/ 833428 w 1189600"/>
                  <a:gd name="connsiteY228" fmla="*/ 659237 h 1260409"/>
                  <a:gd name="connsiteX229" fmla="*/ 833428 w 1189600"/>
                  <a:gd name="connsiteY229" fmla="*/ 659237 h 1260409"/>
                  <a:gd name="connsiteX230" fmla="*/ 802273 w 1189600"/>
                  <a:gd name="connsiteY230" fmla="*/ 660653 h 1260409"/>
                  <a:gd name="connsiteX231" fmla="*/ 798024 w 1189600"/>
                  <a:gd name="connsiteY231" fmla="*/ 628080 h 1260409"/>
                  <a:gd name="connsiteX232" fmla="*/ 898574 w 1189600"/>
                  <a:gd name="connsiteY232" fmla="*/ 710220 h 1260409"/>
                  <a:gd name="connsiteX233" fmla="*/ 946724 w 1189600"/>
                  <a:gd name="connsiteY233" fmla="*/ 880163 h 1260409"/>
                  <a:gd name="connsiteX234" fmla="*/ 946724 w 1189600"/>
                  <a:gd name="connsiteY234" fmla="*/ 881579 h 1260409"/>
                  <a:gd name="connsiteX235" fmla="*/ 874498 w 1189600"/>
                  <a:gd name="connsiteY235" fmla="*/ 887243 h 1260409"/>
                  <a:gd name="connsiteX236" fmla="*/ 834845 w 1189600"/>
                  <a:gd name="connsiteY236" fmla="*/ 875914 h 1260409"/>
                  <a:gd name="connsiteX237" fmla="*/ 905655 w 1189600"/>
                  <a:gd name="connsiteY237" fmla="*/ 761203 h 1260409"/>
                  <a:gd name="connsiteX238" fmla="*/ 905655 w 1189600"/>
                  <a:gd name="connsiteY238" fmla="*/ 761203 h 1260409"/>
                  <a:gd name="connsiteX239" fmla="*/ 833428 w 1189600"/>
                  <a:gd name="connsiteY239" fmla="*/ 659237 h 1260409"/>
                  <a:gd name="connsiteX240" fmla="*/ 75766 w 1189600"/>
                  <a:gd name="connsiteY240" fmla="*/ 441143 h 1260409"/>
                  <a:gd name="connsiteX241" fmla="*/ 138079 w 1189600"/>
                  <a:gd name="connsiteY241" fmla="*/ 408571 h 1260409"/>
                  <a:gd name="connsiteX242" fmla="*/ 143744 w 1189600"/>
                  <a:gd name="connsiteY242" fmla="*/ 409987 h 1260409"/>
                  <a:gd name="connsiteX243" fmla="*/ 147992 w 1189600"/>
                  <a:gd name="connsiteY243" fmla="*/ 412820 h 1260409"/>
                  <a:gd name="connsiteX244" fmla="*/ 136663 w 1189600"/>
                  <a:gd name="connsiteY244" fmla="*/ 436895 h 1260409"/>
                  <a:gd name="connsiteX245" fmla="*/ 129582 w 1189600"/>
                  <a:gd name="connsiteY245" fmla="*/ 438311 h 1260409"/>
                  <a:gd name="connsiteX246" fmla="*/ 75766 w 1189600"/>
                  <a:gd name="connsiteY246" fmla="*/ 442560 h 1260409"/>
                  <a:gd name="connsiteX247" fmla="*/ 75766 w 1189600"/>
                  <a:gd name="connsiteY247" fmla="*/ 441143 h 1260409"/>
                  <a:gd name="connsiteX248" fmla="*/ 459554 w 1189600"/>
                  <a:gd name="connsiteY248" fmla="*/ 198975 h 1260409"/>
                  <a:gd name="connsiteX249" fmla="*/ 459554 w 1189600"/>
                  <a:gd name="connsiteY249" fmla="*/ 198975 h 1260409"/>
                  <a:gd name="connsiteX250" fmla="*/ 514785 w 1189600"/>
                  <a:gd name="connsiteY250" fmla="*/ 140911 h 1260409"/>
                  <a:gd name="connsiteX251" fmla="*/ 582763 w 1189600"/>
                  <a:gd name="connsiteY251" fmla="*/ 150824 h 1260409"/>
                  <a:gd name="connsiteX252" fmla="*/ 579931 w 1189600"/>
                  <a:gd name="connsiteY252" fmla="*/ 166402 h 1260409"/>
                  <a:gd name="connsiteX253" fmla="*/ 526115 w 1189600"/>
                  <a:gd name="connsiteY253" fmla="*/ 169235 h 1260409"/>
                  <a:gd name="connsiteX254" fmla="*/ 460970 w 1189600"/>
                  <a:gd name="connsiteY254" fmla="*/ 200391 h 1260409"/>
                  <a:gd name="connsiteX255" fmla="*/ 443976 w 1189600"/>
                  <a:gd name="connsiteY255" fmla="*/ 215969 h 1260409"/>
                  <a:gd name="connsiteX256" fmla="*/ 323599 w 1189600"/>
                  <a:gd name="connsiteY256" fmla="*/ 218801 h 1260409"/>
                  <a:gd name="connsiteX257" fmla="*/ 395826 w 1189600"/>
                  <a:gd name="connsiteY257" fmla="*/ 128165 h 1260409"/>
                  <a:gd name="connsiteX258" fmla="*/ 402907 w 1189600"/>
                  <a:gd name="connsiteY258" fmla="*/ 123917 h 1260409"/>
                  <a:gd name="connsiteX259" fmla="*/ 459554 w 1189600"/>
                  <a:gd name="connsiteY259" fmla="*/ 198975 h 1260409"/>
                  <a:gd name="connsiteX260" fmla="*/ 558688 w 1189600"/>
                  <a:gd name="connsiteY260" fmla="*/ 669150 h 1260409"/>
                  <a:gd name="connsiteX261" fmla="*/ 558688 w 1189600"/>
                  <a:gd name="connsiteY261" fmla="*/ 700306 h 1260409"/>
                  <a:gd name="connsiteX262" fmla="*/ 544526 w 1189600"/>
                  <a:gd name="connsiteY262" fmla="*/ 690393 h 1260409"/>
                  <a:gd name="connsiteX263" fmla="*/ 502040 w 1189600"/>
                  <a:gd name="connsiteY263" fmla="*/ 604005 h 1260409"/>
                  <a:gd name="connsiteX264" fmla="*/ 574265 w 1189600"/>
                  <a:gd name="connsiteY264" fmla="*/ 667734 h 1260409"/>
                  <a:gd name="connsiteX265" fmla="*/ 558688 w 1189600"/>
                  <a:gd name="connsiteY265" fmla="*/ 669150 h 1260409"/>
                  <a:gd name="connsiteX266" fmla="*/ 558688 w 1189600"/>
                  <a:gd name="connsiteY266" fmla="*/ 669150 h 1260409"/>
                  <a:gd name="connsiteX267" fmla="*/ 230131 w 1189600"/>
                  <a:gd name="connsiteY267" fmla="*/ 492126 h 1260409"/>
                  <a:gd name="connsiteX268" fmla="*/ 211721 w 1189600"/>
                  <a:gd name="connsiteY268" fmla="*/ 534612 h 1260409"/>
                  <a:gd name="connsiteX269" fmla="*/ 173483 w 1189600"/>
                  <a:gd name="connsiteY269" fmla="*/ 534612 h 1260409"/>
                  <a:gd name="connsiteX270" fmla="*/ 228715 w 1189600"/>
                  <a:gd name="connsiteY270" fmla="*/ 492126 h 1260409"/>
                  <a:gd name="connsiteX271" fmla="*/ 230131 w 1189600"/>
                  <a:gd name="connsiteY271" fmla="*/ 492126 h 1260409"/>
                  <a:gd name="connsiteX272" fmla="*/ 169235 w 1189600"/>
                  <a:gd name="connsiteY272" fmla="*/ 426981 h 1260409"/>
                  <a:gd name="connsiteX273" fmla="*/ 139495 w 1189600"/>
                  <a:gd name="connsiteY273" fmla="*/ 435479 h 1260409"/>
                  <a:gd name="connsiteX274" fmla="*/ 149408 w 1189600"/>
                  <a:gd name="connsiteY274" fmla="*/ 412820 h 1260409"/>
                  <a:gd name="connsiteX275" fmla="*/ 169235 w 1189600"/>
                  <a:gd name="connsiteY275" fmla="*/ 426981 h 1260409"/>
                  <a:gd name="connsiteX276" fmla="*/ 150825 w 1189600"/>
                  <a:gd name="connsiteY276" fmla="*/ 409987 h 1260409"/>
                  <a:gd name="connsiteX277" fmla="*/ 150825 w 1189600"/>
                  <a:gd name="connsiteY277" fmla="*/ 409987 h 1260409"/>
                  <a:gd name="connsiteX278" fmla="*/ 147992 w 1189600"/>
                  <a:gd name="connsiteY278" fmla="*/ 409987 h 1260409"/>
                  <a:gd name="connsiteX279" fmla="*/ 150825 w 1189600"/>
                  <a:gd name="connsiteY279" fmla="*/ 409987 h 1260409"/>
                  <a:gd name="connsiteX280" fmla="*/ 697474 w 1189600"/>
                  <a:gd name="connsiteY280" fmla="*/ 544525 h 1260409"/>
                  <a:gd name="connsiteX281" fmla="*/ 693226 w 1189600"/>
                  <a:gd name="connsiteY281" fmla="*/ 612503 h 1260409"/>
                  <a:gd name="connsiteX282" fmla="*/ 633746 w 1189600"/>
                  <a:gd name="connsiteY282" fmla="*/ 608254 h 1260409"/>
                  <a:gd name="connsiteX283" fmla="*/ 683312 w 1189600"/>
                  <a:gd name="connsiteY283" fmla="*/ 531780 h 1260409"/>
                  <a:gd name="connsiteX284" fmla="*/ 697474 w 1189600"/>
                  <a:gd name="connsiteY284" fmla="*/ 544525 h 1260409"/>
                  <a:gd name="connsiteX285" fmla="*/ 402907 w 1189600"/>
                  <a:gd name="connsiteY285" fmla="*/ 751289 h 1260409"/>
                  <a:gd name="connsiteX286" fmla="*/ 247126 w 1189600"/>
                  <a:gd name="connsiteY286" fmla="*/ 657820 h 1260409"/>
                  <a:gd name="connsiteX287" fmla="*/ 237212 w 1189600"/>
                  <a:gd name="connsiteY287" fmla="*/ 625248 h 1260409"/>
                  <a:gd name="connsiteX288" fmla="*/ 237212 w 1189600"/>
                  <a:gd name="connsiteY288" fmla="*/ 625248 h 1260409"/>
                  <a:gd name="connsiteX289" fmla="*/ 237212 w 1189600"/>
                  <a:gd name="connsiteY289" fmla="*/ 625248 h 1260409"/>
                  <a:gd name="connsiteX290" fmla="*/ 235796 w 1189600"/>
                  <a:gd name="connsiteY290" fmla="*/ 536028 h 1260409"/>
                  <a:gd name="connsiteX291" fmla="*/ 320768 w 1189600"/>
                  <a:gd name="connsiteY291" fmla="*/ 534612 h 1260409"/>
                  <a:gd name="connsiteX292" fmla="*/ 367502 w 1189600"/>
                  <a:gd name="connsiteY292" fmla="*/ 567184 h 1260409"/>
                  <a:gd name="connsiteX293" fmla="*/ 323599 w 1189600"/>
                  <a:gd name="connsiteY293" fmla="*/ 639410 h 1260409"/>
                  <a:gd name="connsiteX294" fmla="*/ 323599 w 1189600"/>
                  <a:gd name="connsiteY294" fmla="*/ 639410 h 1260409"/>
                  <a:gd name="connsiteX295" fmla="*/ 411403 w 1189600"/>
                  <a:gd name="connsiteY295" fmla="*/ 718717 h 1260409"/>
                  <a:gd name="connsiteX296" fmla="*/ 402907 w 1189600"/>
                  <a:gd name="connsiteY296" fmla="*/ 751289 h 1260409"/>
                  <a:gd name="connsiteX297" fmla="*/ 402907 w 1189600"/>
                  <a:gd name="connsiteY297" fmla="*/ 751289 h 1260409"/>
                  <a:gd name="connsiteX298" fmla="*/ 228715 w 1189600"/>
                  <a:gd name="connsiteY298" fmla="*/ 629497 h 1260409"/>
                  <a:gd name="connsiteX299" fmla="*/ 220218 w 1189600"/>
                  <a:gd name="connsiteY299" fmla="*/ 640826 h 1260409"/>
                  <a:gd name="connsiteX300" fmla="*/ 213137 w 1189600"/>
                  <a:gd name="connsiteY300" fmla="*/ 636578 h 1260409"/>
                  <a:gd name="connsiteX301" fmla="*/ 228715 w 1189600"/>
                  <a:gd name="connsiteY301" fmla="*/ 629497 h 1260409"/>
                  <a:gd name="connsiteX302" fmla="*/ 153656 w 1189600"/>
                  <a:gd name="connsiteY302" fmla="*/ 400074 h 1260409"/>
                  <a:gd name="connsiteX303" fmla="*/ 150825 w 1189600"/>
                  <a:gd name="connsiteY303" fmla="*/ 407155 h 1260409"/>
                  <a:gd name="connsiteX304" fmla="*/ 145160 w 1189600"/>
                  <a:gd name="connsiteY304" fmla="*/ 405739 h 1260409"/>
                  <a:gd name="connsiteX305" fmla="*/ 143744 w 1189600"/>
                  <a:gd name="connsiteY305" fmla="*/ 404322 h 1260409"/>
                  <a:gd name="connsiteX306" fmla="*/ 153656 w 1189600"/>
                  <a:gd name="connsiteY306" fmla="*/ 400074 h 1260409"/>
                  <a:gd name="connsiteX307" fmla="*/ 152241 w 1189600"/>
                  <a:gd name="connsiteY307" fmla="*/ 409987 h 1260409"/>
                  <a:gd name="connsiteX308" fmla="*/ 203223 w 1189600"/>
                  <a:gd name="connsiteY308" fmla="*/ 417068 h 1260409"/>
                  <a:gd name="connsiteX309" fmla="*/ 172068 w 1189600"/>
                  <a:gd name="connsiteY309" fmla="*/ 425565 h 1260409"/>
                  <a:gd name="connsiteX310" fmla="*/ 152241 w 1189600"/>
                  <a:gd name="connsiteY310" fmla="*/ 409987 h 1260409"/>
                  <a:gd name="connsiteX311" fmla="*/ 152241 w 1189600"/>
                  <a:gd name="connsiteY311" fmla="*/ 409987 h 1260409"/>
                  <a:gd name="connsiteX312" fmla="*/ 771116 w 1189600"/>
                  <a:gd name="connsiteY312" fmla="*/ 391577 h 1260409"/>
                  <a:gd name="connsiteX313" fmla="*/ 771116 w 1189600"/>
                  <a:gd name="connsiteY313" fmla="*/ 391577 h 1260409"/>
                  <a:gd name="connsiteX314" fmla="*/ 771116 w 1189600"/>
                  <a:gd name="connsiteY314" fmla="*/ 391577 h 1260409"/>
                  <a:gd name="connsiteX315" fmla="*/ 768284 w 1189600"/>
                  <a:gd name="connsiteY315" fmla="*/ 388744 h 1260409"/>
                  <a:gd name="connsiteX316" fmla="*/ 776781 w 1189600"/>
                  <a:gd name="connsiteY316" fmla="*/ 388744 h 1260409"/>
                  <a:gd name="connsiteX317" fmla="*/ 772532 w 1189600"/>
                  <a:gd name="connsiteY317" fmla="*/ 395825 h 1260409"/>
                  <a:gd name="connsiteX318" fmla="*/ 772532 w 1189600"/>
                  <a:gd name="connsiteY318" fmla="*/ 394409 h 1260409"/>
                  <a:gd name="connsiteX319" fmla="*/ 771116 w 1189600"/>
                  <a:gd name="connsiteY319" fmla="*/ 391577 h 1260409"/>
                  <a:gd name="connsiteX320" fmla="*/ 710220 w 1189600"/>
                  <a:gd name="connsiteY320" fmla="*/ 490710 h 1260409"/>
                  <a:gd name="connsiteX321" fmla="*/ 771116 w 1189600"/>
                  <a:gd name="connsiteY321" fmla="*/ 397241 h 1260409"/>
                  <a:gd name="connsiteX322" fmla="*/ 783862 w 1189600"/>
                  <a:gd name="connsiteY322" fmla="*/ 500623 h 1260409"/>
                  <a:gd name="connsiteX323" fmla="*/ 710220 w 1189600"/>
                  <a:gd name="connsiteY323" fmla="*/ 490710 h 1260409"/>
                  <a:gd name="connsiteX324" fmla="*/ 739960 w 1189600"/>
                  <a:gd name="connsiteY324" fmla="*/ 528947 h 1260409"/>
                  <a:gd name="connsiteX325" fmla="*/ 785278 w 1189600"/>
                  <a:gd name="connsiteY325" fmla="*/ 528947 h 1260409"/>
                  <a:gd name="connsiteX326" fmla="*/ 789527 w 1189600"/>
                  <a:gd name="connsiteY326" fmla="*/ 564352 h 1260409"/>
                  <a:gd name="connsiteX327" fmla="*/ 739960 w 1189600"/>
                  <a:gd name="connsiteY327" fmla="*/ 528947 h 1260409"/>
                  <a:gd name="connsiteX328" fmla="*/ 698890 w 1189600"/>
                  <a:gd name="connsiteY328" fmla="*/ 528947 h 1260409"/>
                  <a:gd name="connsiteX329" fmla="*/ 697474 w 1189600"/>
                  <a:gd name="connsiteY329" fmla="*/ 541693 h 1260409"/>
                  <a:gd name="connsiteX330" fmla="*/ 683312 w 1189600"/>
                  <a:gd name="connsiteY330" fmla="*/ 530363 h 1260409"/>
                  <a:gd name="connsiteX331" fmla="*/ 683312 w 1189600"/>
                  <a:gd name="connsiteY331" fmla="*/ 528947 h 1260409"/>
                  <a:gd name="connsiteX332" fmla="*/ 698890 w 1189600"/>
                  <a:gd name="connsiteY332" fmla="*/ 528947 h 1260409"/>
                  <a:gd name="connsiteX333" fmla="*/ 686145 w 1189600"/>
                  <a:gd name="connsiteY333" fmla="*/ 527531 h 1260409"/>
                  <a:gd name="connsiteX334" fmla="*/ 700307 w 1189600"/>
                  <a:gd name="connsiteY334" fmla="*/ 504872 h 1260409"/>
                  <a:gd name="connsiteX335" fmla="*/ 698890 w 1189600"/>
                  <a:gd name="connsiteY335" fmla="*/ 527531 h 1260409"/>
                  <a:gd name="connsiteX336" fmla="*/ 686145 w 1189600"/>
                  <a:gd name="connsiteY336" fmla="*/ 527531 h 1260409"/>
                  <a:gd name="connsiteX337" fmla="*/ 646492 w 1189600"/>
                  <a:gd name="connsiteY337" fmla="*/ 275449 h 1260409"/>
                  <a:gd name="connsiteX338" fmla="*/ 667735 w 1189600"/>
                  <a:gd name="connsiteY338" fmla="*/ 245709 h 1260409"/>
                  <a:gd name="connsiteX339" fmla="*/ 683312 w 1189600"/>
                  <a:gd name="connsiteY339" fmla="*/ 266952 h 1260409"/>
                  <a:gd name="connsiteX340" fmla="*/ 646492 w 1189600"/>
                  <a:gd name="connsiteY340" fmla="*/ 275449 h 1260409"/>
                  <a:gd name="connsiteX341" fmla="*/ 732879 w 1189600"/>
                  <a:gd name="connsiteY341" fmla="*/ 526115 h 1260409"/>
                  <a:gd name="connsiteX342" fmla="*/ 700307 w 1189600"/>
                  <a:gd name="connsiteY342" fmla="*/ 526115 h 1260409"/>
                  <a:gd name="connsiteX343" fmla="*/ 701723 w 1189600"/>
                  <a:gd name="connsiteY343" fmla="*/ 504872 h 1260409"/>
                  <a:gd name="connsiteX344" fmla="*/ 732879 w 1189600"/>
                  <a:gd name="connsiteY344" fmla="*/ 526115 h 1260409"/>
                  <a:gd name="connsiteX345" fmla="*/ 705971 w 1189600"/>
                  <a:gd name="connsiteY345" fmla="*/ 492126 h 1260409"/>
                  <a:gd name="connsiteX346" fmla="*/ 683312 w 1189600"/>
                  <a:gd name="connsiteY346" fmla="*/ 527531 h 1260409"/>
                  <a:gd name="connsiteX347" fmla="*/ 680480 w 1189600"/>
                  <a:gd name="connsiteY347" fmla="*/ 527531 h 1260409"/>
                  <a:gd name="connsiteX348" fmla="*/ 622416 w 1189600"/>
                  <a:gd name="connsiteY348" fmla="*/ 479380 h 1260409"/>
                  <a:gd name="connsiteX349" fmla="*/ 705971 w 1189600"/>
                  <a:gd name="connsiteY349" fmla="*/ 492126 h 1260409"/>
                  <a:gd name="connsiteX350" fmla="*/ 588427 w 1189600"/>
                  <a:gd name="connsiteY350" fmla="*/ 313686 h 1260409"/>
                  <a:gd name="connsiteX351" fmla="*/ 623832 w 1189600"/>
                  <a:gd name="connsiteY351" fmla="*/ 303773 h 1260409"/>
                  <a:gd name="connsiteX352" fmla="*/ 584179 w 1189600"/>
                  <a:gd name="connsiteY352" fmla="*/ 357588 h 1260409"/>
                  <a:gd name="connsiteX353" fmla="*/ 588427 w 1189600"/>
                  <a:gd name="connsiteY353" fmla="*/ 313686 h 1260409"/>
                  <a:gd name="connsiteX354" fmla="*/ 625249 w 1189600"/>
                  <a:gd name="connsiteY354" fmla="*/ 300941 h 1260409"/>
                  <a:gd name="connsiteX355" fmla="*/ 588427 w 1189600"/>
                  <a:gd name="connsiteY355" fmla="*/ 310854 h 1260409"/>
                  <a:gd name="connsiteX356" fmla="*/ 589844 w 1189600"/>
                  <a:gd name="connsiteY356" fmla="*/ 289611 h 1260409"/>
                  <a:gd name="connsiteX357" fmla="*/ 640827 w 1189600"/>
                  <a:gd name="connsiteY357" fmla="*/ 278281 h 1260409"/>
                  <a:gd name="connsiteX358" fmla="*/ 625249 w 1189600"/>
                  <a:gd name="connsiteY358" fmla="*/ 300941 h 1260409"/>
                  <a:gd name="connsiteX359" fmla="*/ 547358 w 1189600"/>
                  <a:gd name="connsiteY359" fmla="*/ 322183 h 1260409"/>
                  <a:gd name="connsiteX360" fmla="*/ 553023 w 1189600"/>
                  <a:gd name="connsiteY360" fmla="*/ 296692 h 1260409"/>
                  <a:gd name="connsiteX361" fmla="*/ 588427 w 1189600"/>
                  <a:gd name="connsiteY361" fmla="*/ 289611 h 1260409"/>
                  <a:gd name="connsiteX362" fmla="*/ 587012 w 1189600"/>
                  <a:gd name="connsiteY362" fmla="*/ 310854 h 1260409"/>
                  <a:gd name="connsiteX363" fmla="*/ 547358 w 1189600"/>
                  <a:gd name="connsiteY363" fmla="*/ 322183 h 1260409"/>
                  <a:gd name="connsiteX364" fmla="*/ 339178 w 1189600"/>
                  <a:gd name="connsiteY364" fmla="*/ 421317 h 1260409"/>
                  <a:gd name="connsiteX365" fmla="*/ 334930 w 1189600"/>
                  <a:gd name="connsiteY365" fmla="*/ 412820 h 1260409"/>
                  <a:gd name="connsiteX366" fmla="*/ 349092 w 1189600"/>
                  <a:gd name="connsiteY366" fmla="*/ 421317 h 1260409"/>
                  <a:gd name="connsiteX367" fmla="*/ 339178 w 1189600"/>
                  <a:gd name="connsiteY367" fmla="*/ 421317 h 1260409"/>
                  <a:gd name="connsiteX368" fmla="*/ 340594 w 1189600"/>
                  <a:gd name="connsiteY368" fmla="*/ 424149 h 1260409"/>
                  <a:gd name="connsiteX369" fmla="*/ 353340 w 1189600"/>
                  <a:gd name="connsiteY369" fmla="*/ 422733 h 1260409"/>
                  <a:gd name="connsiteX370" fmla="*/ 388745 w 1189600"/>
                  <a:gd name="connsiteY370" fmla="*/ 442560 h 1260409"/>
                  <a:gd name="connsiteX371" fmla="*/ 347675 w 1189600"/>
                  <a:gd name="connsiteY371" fmla="*/ 436895 h 1260409"/>
                  <a:gd name="connsiteX372" fmla="*/ 340594 w 1189600"/>
                  <a:gd name="connsiteY372" fmla="*/ 424149 h 1260409"/>
                  <a:gd name="connsiteX373" fmla="*/ 442560 w 1189600"/>
                  <a:gd name="connsiteY373" fmla="*/ 452473 h 1260409"/>
                  <a:gd name="connsiteX374" fmla="*/ 514785 w 1189600"/>
                  <a:gd name="connsiteY374" fmla="*/ 462386 h 1260409"/>
                  <a:gd name="connsiteX375" fmla="*/ 504873 w 1189600"/>
                  <a:gd name="connsiteY375" fmla="*/ 506288 h 1260409"/>
                  <a:gd name="connsiteX376" fmla="*/ 442560 w 1189600"/>
                  <a:gd name="connsiteY376" fmla="*/ 452473 h 1260409"/>
                  <a:gd name="connsiteX377" fmla="*/ 429814 w 1189600"/>
                  <a:gd name="connsiteY377" fmla="*/ 465218 h 1260409"/>
                  <a:gd name="connsiteX378" fmla="*/ 397242 w 1189600"/>
                  <a:gd name="connsiteY378" fmla="*/ 446808 h 1260409"/>
                  <a:gd name="connsiteX379" fmla="*/ 436895 w 1189600"/>
                  <a:gd name="connsiteY379" fmla="*/ 452473 h 1260409"/>
                  <a:gd name="connsiteX380" fmla="*/ 429814 w 1189600"/>
                  <a:gd name="connsiteY380" fmla="*/ 465218 h 1260409"/>
                  <a:gd name="connsiteX381" fmla="*/ 431230 w 1189600"/>
                  <a:gd name="connsiteY381" fmla="*/ 466635 h 1260409"/>
                  <a:gd name="connsiteX382" fmla="*/ 439727 w 1189600"/>
                  <a:gd name="connsiteY382" fmla="*/ 453889 h 1260409"/>
                  <a:gd name="connsiteX383" fmla="*/ 502040 w 1189600"/>
                  <a:gd name="connsiteY383" fmla="*/ 507704 h 1260409"/>
                  <a:gd name="connsiteX384" fmla="*/ 431230 w 1189600"/>
                  <a:gd name="connsiteY384" fmla="*/ 466635 h 1260409"/>
                  <a:gd name="connsiteX385" fmla="*/ 465219 w 1189600"/>
                  <a:gd name="connsiteY385" fmla="*/ 411403 h 1260409"/>
                  <a:gd name="connsiteX386" fmla="*/ 489294 w 1189600"/>
                  <a:gd name="connsiteY386" fmla="*/ 373166 h 1260409"/>
                  <a:gd name="connsiteX387" fmla="*/ 527531 w 1189600"/>
                  <a:gd name="connsiteY387" fmla="*/ 404322 h 1260409"/>
                  <a:gd name="connsiteX388" fmla="*/ 527531 w 1189600"/>
                  <a:gd name="connsiteY388" fmla="*/ 405739 h 1260409"/>
                  <a:gd name="connsiteX389" fmla="*/ 465219 w 1189600"/>
                  <a:gd name="connsiteY389" fmla="*/ 411403 h 1260409"/>
                  <a:gd name="connsiteX390" fmla="*/ 438311 w 1189600"/>
                  <a:gd name="connsiteY390" fmla="*/ 451056 h 1260409"/>
                  <a:gd name="connsiteX391" fmla="*/ 401490 w 1189600"/>
                  <a:gd name="connsiteY391" fmla="*/ 418484 h 1260409"/>
                  <a:gd name="connsiteX392" fmla="*/ 460970 w 1189600"/>
                  <a:gd name="connsiteY392" fmla="*/ 414236 h 1260409"/>
                  <a:gd name="connsiteX393" fmla="*/ 438311 w 1189600"/>
                  <a:gd name="connsiteY393" fmla="*/ 451056 h 1260409"/>
                  <a:gd name="connsiteX394" fmla="*/ 435479 w 1189600"/>
                  <a:gd name="connsiteY394" fmla="*/ 449641 h 1260409"/>
                  <a:gd name="connsiteX395" fmla="*/ 392993 w 1189600"/>
                  <a:gd name="connsiteY395" fmla="*/ 443975 h 1260409"/>
                  <a:gd name="connsiteX396" fmla="*/ 356172 w 1189600"/>
                  <a:gd name="connsiteY396" fmla="*/ 422733 h 1260409"/>
                  <a:gd name="connsiteX397" fmla="*/ 398658 w 1189600"/>
                  <a:gd name="connsiteY397" fmla="*/ 419901 h 1260409"/>
                  <a:gd name="connsiteX398" fmla="*/ 435479 w 1189600"/>
                  <a:gd name="connsiteY398" fmla="*/ 449641 h 1260409"/>
                  <a:gd name="connsiteX399" fmla="*/ 392993 w 1189600"/>
                  <a:gd name="connsiteY399" fmla="*/ 445392 h 1260409"/>
                  <a:gd name="connsiteX400" fmla="*/ 429814 w 1189600"/>
                  <a:gd name="connsiteY400" fmla="*/ 466635 h 1260409"/>
                  <a:gd name="connsiteX401" fmla="*/ 390161 w 1189600"/>
                  <a:gd name="connsiteY401" fmla="*/ 531780 h 1260409"/>
                  <a:gd name="connsiteX402" fmla="*/ 390161 w 1189600"/>
                  <a:gd name="connsiteY402" fmla="*/ 531780 h 1260409"/>
                  <a:gd name="connsiteX403" fmla="*/ 349092 w 1189600"/>
                  <a:gd name="connsiteY403" fmla="*/ 439727 h 1260409"/>
                  <a:gd name="connsiteX404" fmla="*/ 392993 w 1189600"/>
                  <a:gd name="connsiteY404" fmla="*/ 445392 h 1260409"/>
                  <a:gd name="connsiteX405" fmla="*/ 431230 w 1189600"/>
                  <a:gd name="connsiteY405" fmla="*/ 468051 h 1260409"/>
                  <a:gd name="connsiteX406" fmla="*/ 506288 w 1189600"/>
                  <a:gd name="connsiteY406" fmla="*/ 511953 h 1260409"/>
                  <a:gd name="connsiteX407" fmla="*/ 504873 w 1189600"/>
                  <a:gd name="connsiteY407" fmla="*/ 530363 h 1260409"/>
                  <a:gd name="connsiteX408" fmla="*/ 392993 w 1189600"/>
                  <a:gd name="connsiteY408" fmla="*/ 531780 h 1260409"/>
                  <a:gd name="connsiteX409" fmla="*/ 431230 w 1189600"/>
                  <a:gd name="connsiteY409" fmla="*/ 468051 h 1260409"/>
                  <a:gd name="connsiteX410" fmla="*/ 441144 w 1189600"/>
                  <a:gd name="connsiteY410" fmla="*/ 451056 h 1260409"/>
                  <a:gd name="connsiteX411" fmla="*/ 463803 w 1189600"/>
                  <a:gd name="connsiteY411" fmla="*/ 414236 h 1260409"/>
                  <a:gd name="connsiteX412" fmla="*/ 526115 w 1189600"/>
                  <a:gd name="connsiteY412" fmla="*/ 408571 h 1260409"/>
                  <a:gd name="connsiteX413" fmla="*/ 514785 w 1189600"/>
                  <a:gd name="connsiteY413" fmla="*/ 460970 h 1260409"/>
                  <a:gd name="connsiteX414" fmla="*/ 441144 w 1189600"/>
                  <a:gd name="connsiteY414" fmla="*/ 451056 h 1260409"/>
                  <a:gd name="connsiteX415" fmla="*/ 285363 w 1189600"/>
                  <a:gd name="connsiteY415" fmla="*/ 428398 h 1260409"/>
                  <a:gd name="connsiteX416" fmla="*/ 339178 w 1189600"/>
                  <a:gd name="connsiteY416" fmla="*/ 424149 h 1260409"/>
                  <a:gd name="connsiteX417" fmla="*/ 344842 w 1189600"/>
                  <a:gd name="connsiteY417" fmla="*/ 436895 h 1260409"/>
                  <a:gd name="connsiteX418" fmla="*/ 285363 w 1189600"/>
                  <a:gd name="connsiteY418" fmla="*/ 428398 h 1260409"/>
                  <a:gd name="connsiteX419" fmla="*/ 516202 w 1189600"/>
                  <a:gd name="connsiteY419" fmla="*/ 462386 h 1260409"/>
                  <a:gd name="connsiteX420" fmla="*/ 528947 w 1189600"/>
                  <a:gd name="connsiteY420" fmla="*/ 408571 h 1260409"/>
                  <a:gd name="connsiteX421" fmla="*/ 531780 w 1189600"/>
                  <a:gd name="connsiteY421" fmla="*/ 408571 h 1260409"/>
                  <a:gd name="connsiteX422" fmla="*/ 615335 w 1189600"/>
                  <a:gd name="connsiteY422" fmla="*/ 476548 h 1260409"/>
                  <a:gd name="connsiteX423" fmla="*/ 516202 w 1189600"/>
                  <a:gd name="connsiteY423" fmla="*/ 462386 h 1260409"/>
                  <a:gd name="connsiteX424" fmla="*/ 528947 w 1189600"/>
                  <a:gd name="connsiteY424" fmla="*/ 405739 h 1260409"/>
                  <a:gd name="connsiteX425" fmla="*/ 528947 w 1189600"/>
                  <a:gd name="connsiteY425" fmla="*/ 405739 h 1260409"/>
                  <a:gd name="connsiteX426" fmla="*/ 528947 w 1189600"/>
                  <a:gd name="connsiteY426" fmla="*/ 405739 h 1260409"/>
                  <a:gd name="connsiteX427" fmla="*/ 528947 w 1189600"/>
                  <a:gd name="connsiteY427" fmla="*/ 405739 h 1260409"/>
                  <a:gd name="connsiteX428" fmla="*/ 544526 w 1189600"/>
                  <a:gd name="connsiteY428" fmla="*/ 325016 h 1260409"/>
                  <a:gd name="connsiteX429" fmla="*/ 527531 w 1189600"/>
                  <a:gd name="connsiteY429" fmla="*/ 401490 h 1260409"/>
                  <a:gd name="connsiteX430" fmla="*/ 487878 w 1189600"/>
                  <a:gd name="connsiteY430" fmla="*/ 368918 h 1260409"/>
                  <a:gd name="connsiteX431" fmla="*/ 487878 w 1189600"/>
                  <a:gd name="connsiteY431" fmla="*/ 368918 h 1260409"/>
                  <a:gd name="connsiteX432" fmla="*/ 462387 w 1189600"/>
                  <a:gd name="connsiteY432" fmla="*/ 411403 h 1260409"/>
                  <a:gd name="connsiteX433" fmla="*/ 400074 w 1189600"/>
                  <a:gd name="connsiteY433" fmla="*/ 417068 h 1260409"/>
                  <a:gd name="connsiteX434" fmla="*/ 356172 w 1189600"/>
                  <a:gd name="connsiteY434" fmla="*/ 378831 h 1260409"/>
                  <a:gd name="connsiteX435" fmla="*/ 544526 w 1189600"/>
                  <a:gd name="connsiteY435" fmla="*/ 325016 h 1260409"/>
                  <a:gd name="connsiteX436" fmla="*/ 506288 w 1189600"/>
                  <a:gd name="connsiteY436" fmla="*/ 530363 h 1260409"/>
                  <a:gd name="connsiteX437" fmla="*/ 507704 w 1189600"/>
                  <a:gd name="connsiteY437" fmla="*/ 511953 h 1260409"/>
                  <a:gd name="connsiteX438" fmla="*/ 507704 w 1189600"/>
                  <a:gd name="connsiteY438" fmla="*/ 511953 h 1260409"/>
                  <a:gd name="connsiteX439" fmla="*/ 506288 w 1189600"/>
                  <a:gd name="connsiteY439" fmla="*/ 510537 h 1260409"/>
                  <a:gd name="connsiteX440" fmla="*/ 516202 w 1189600"/>
                  <a:gd name="connsiteY440" fmla="*/ 463803 h 1260409"/>
                  <a:gd name="connsiteX441" fmla="*/ 618168 w 1189600"/>
                  <a:gd name="connsiteY441" fmla="*/ 479380 h 1260409"/>
                  <a:gd name="connsiteX442" fmla="*/ 677647 w 1189600"/>
                  <a:gd name="connsiteY442" fmla="*/ 527531 h 1260409"/>
                  <a:gd name="connsiteX443" fmla="*/ 506288 w 1189600"/>
                  <a:gd name="connsiteY443" fmla="*/ 530363 h 1260409"/>
                  <a:gd name="connsiteX444" fmla="*/ 387328 w 1189600"/>
                  <a:gd name="connsiteY444" fmla="*/ 533196 h 1260409"/>
                  <a:gd name="connsiteX445" fmla="*/ 387328 w 1189600"/>
                  <a:gd name="connsiteY445" fmla="*/ 533196 h 1260409"/>
                  <a:gd name="connsiteX446" fmla="*/ 367502 w 1189600"/>
                  <a:gd name="connsiteY446" fmla="*/ 565768 h 1260409"/>
                  <a:gd name="connsiteX447" fmla="*/ 323599 w 1189600"/>
                  <a:gd name="connsiteY447" fmla="*/ 534612 h 1260409"/>
                  <a:gd name="connsiteX448" fmla="*/ 387328 w 1189600"/>
                  <a:gd name="connsiteY448" fmla="*/ 533196 h 1260409"/>
                  <a:gd name="connsiteX449" fmla="*/ 353340 w 1189600"/>
                  <a:gd name="connsiteY449" fmla="*/ 419901 h 1260409"/>
                  <a:gd name="connsiteX450" fmla="*/ 332097 w 1189600"/>
                  <a:gd name="connsiteY450" fmla="*/ 407155 h 1260409"/>
                  <a:gd name="connsiteX451" fmla="*/ 332097 w 1189600"/>
                  <a:gd name="connsiteY451" fmla="*/ 407155 h 1260409"/>
                  <a:gd name="connsiteX452" fmla="*/ 339178 w 1189600"/>
                  <a:gd name="connsiteY452" fmla="*/ 421317 h 1260409"/>
                  <a:gd name="connsiteX453" fmla="*/ 276865 w 1189600"/>
                  <a:gd name="connsiteY453" fmla="*/ 426981 h 1260409"/>
                  <a:gd name="connsiteX454" fmla="*/ 214553 w 1189600"/>
                  <a:gd name="connsiteY454" fmla="*/ 418484 h 1260409"/>
                  <a:gd name="connsiteX455" fmla="*/ 354756 w 1189600"/>
                  <a:gd name="connsiteY455" fmla="*/ 380247 h 1260409"/>
                  <a:gd name="connsiteX456" fmla="*/ 398658 w 1189600"/>
                  <a:gd name="connsiteY456" fmla="*/ 418484 h 1260409"/>
                  <a:gd name="connsiteX457" fmla="*/ 353340 w 1189600"/>
                  <a:gd name="connsiteY457" fmla="*/ 419901 h 1260409"/>
                  <a:gd name="connsiteX458" fmla="*/ 618168 w 1189600"/>
                  <a:gd name="connsiteY458" fmla="*/ 476548 h 1260409"/>
                  <a:gd name="connsiteX459" fmla="*/ 534612 w 1189600"/>
                  <a:gd name="connsiteY459" fmla="*/ 407155 h 1260409"/>
                  <a:gd name="connsiteX460" fmla="*/ 765451 w 1189600"/>
                  <a:gd name="connsiteY460" fmla="*/ 388744 h 1260409"/>
                  <a:gd name="connsiteX461" fmla="*/ 768284 w 1189600"/>
                  <a:gd name="connsiteY461" fmla="*/ 394409 h 1260409"/>
                  <a:gd name="connsiteX462" fmla="*/ 705971 w 1189600"/>
                  <a:gd name="connsiteY462" fmla="*/ 490710 h 1260409"/>
                  <a:gd name="connsiteX463" fmla="*/ 618168 w 1189600"/>
                  <a:gd name="connsiteY463" fmla="*/ 476548 h 1260409"/>
                  <a:gd name="connsiteX464" fmla="*/ 531780 w 1189600"/>
                  <a:gd name="connsiteY464" fmla="*/ 405739 h 1260409"/>
                  <a:gd name="connsiteX465" fmla="*/ 528947 w 1189600"/>
                  <a:gd name="connsiteY465" fmla="*/ 402906 h 1260409"/>
                  <a:gd name="connsiteX466" fmla="*/ 545942 w 1189600"/>
                  <a:gd name="connsiteY466" fmla="*/ 323599 h 1260409"/>
                  <a:gd name="connsiteX467" fmla="*/ 584179 w 1189600"/>
                  <a:gd name="connsiteY467" fmla="*/ 312270 h 1260409"/>
                  <a:gd name="connsiteX468" fmla="*/ 579931 w 1189600"/>
                  <a:gd name="connsiteY468" fmla="*/ 363253 h 1260409"/>
                  <a:gd name="connsiteX469" fmla="*/ 625249 w 1189600"/>
                  <a:gd name="connsiteY469" fmla="*/ 300941 h 1260409"/>
                  <a:gd name="connsiteX470" fmla="*/ 691809 w 1189600"/>
                  <a:gd name="connsiteY470" fmla="*/ 282530 h 1260409"/>
                  <a:gd name="connsiteX471" fmla="*/ 762619 w 1189600"/>
                  <a:gd name="connsiteY471" fmla="*/ 385912 h 1260409"/>
                  <a:gd name="connsiteX472" fmla="*/ 531780 w 1189600"/>
                  <a:gd name="connsiteY472" fmla="*/ 405739 h 1260409"/>
                  <a:gd name="connsiteX473" fmla="*/ 629497 w 1189600"/>
                  <a:gd name="connsiteY473" fmla="*/ 299524 h 1260409"/>
                  <a:gd name="connsiteX474" fmla="*/ 645075 w 1189600"/>
                  <a:gd name="connsiteY474" fmla="*/ 278281 h 1260409"/>
                  <a:gd name="connsiteX475" fmla="*/ 684728 w 1189600"/>
                  <a:gd name="connsiteY475" fmla="*/ 269784 h 1260409"/>
                  <a:gd name="connsiteX476" fmla="*/ 693226 w 1189600"/>
                  <a:gd name="connsiteY476" fmla="*/ 282530 h 1260409"/>
                  <a:gd name="connsiteX477" fmla="*/ 629497 w 1189600"/>
                  <a:gd name="connsiteY477" fmla="*/ 299524 h 1260409"/>
                  <a:gd name="connsiteX478" fmla="*/ 588427 w 1189600"/>
                  <a:gd name="connsiteY478" fmla="*/ 288194 h 1260409"/>
                  <a:gd name="connsiteX479" fmla="*/ 554439 w 1189600"/>
                  <a:gd name="connsiteY479" fmla="*/ 295275 h 1260409"/>
                  <a:gd name="connsiteX480" fmla="*/ 571433 w 1189600"/>
                  <a:gd name="connsiteY480" fmla="*/ 217385 h 1260409"/>
                  <a:gd name="connsiteX481" fmla="*/ 595508 w 1189600"/>
                  <a:gd name="connsiteY481" fmla="*/ 217385 h 1260409"/>
                  <a:gd name="connsiteX482" fmla="*/ 588427 w 1189600"/>
                  <a:gd name="connsiteY482" fmla="*/ 288194 h 1260409"/>
                  <a:gd name="connsiteX483" fmla="*/ 463803 w 1189600"/>
                  <a:gd name="connsiteY483" fmla="*/ 203223 h 1260409"/>
                  <a:gd name="connsiteX484" fmla="*/ 527531 w 1189600"/>
                  <a:gd name="connsiteY484" fmla="*/ 172067 h 1260409"/>
                  <a:gd name="connsiteX485" fmla="*/ 579931 w 1189600"/>
                  <a:gd name="connsiteY485" fmla="*/ 169235 h 1260409"/>
                  <a:gd name="connsiteX486" fmla="*/ 570017 w 1189600"/>
                  <a:gd name="connsiteY486" fmla="*/ 214553 h 1260409"/>
                  <a:gd name="connsiteX487" fmla="*/ 449641 w 1189600"/>
                  <a:gd name="connsiteY487" fmla="*/ 217385 h 1260409"/>
                  <a:gd name="connsiteX488" fmla="*/ 463803 w 1189600"/>
                  <a:gd name="connsiteY488" fmla="*/ 203223 h 1260409"/>
                  <a:gd name="connsiteX489" fmla="*/ 568601 w 1189600"/>
                  <a:gd name="connsiteY489" fmla="*/ 217385 h 1260409"/>
                  <a:gd name="connsiteX490" fmla="*/ 551607 w 1189600"/>
                  <a:gd name="connsiteY490" fmla="*/ 295275 h 1260409"/>
                  <a:gd name="connsiteX491" fmla="*/ 319351 w 1189600"/>
                  <a:gd name="connsiteY491" fmla="*/ 343426 h 1260409"/>
                  <a:gd name="connsiteX492" fmla="*/ 446808 w 1189600"/>
                  <a:gd name="connsiteY492" fmla="*/ 220218 h 1260409"/>
                  <a:gd name="connsiteX493" fmla="*/ 568601 w 1189600"/>
                  <a:gd name="connsiteY493" fmla="*/ 217385 h 1260409"/>
                  <a:gd name="connsiteX494" fmla="*/ 545942 w 1189600"/>
                  <a:gd name="connsiteY494" fmla="*/ 323599 h 1260409"/>
                  <a:gd name="connsiteX495" fmla="*/ 354756 w 1189600"/>
                  <a:gd name="connsiteY495" fmla="*/ 375999 h 1260409"/>
                  <a:gd name="connsiteX496" fmla="*/ 320768 w 1189600"/>
                  <a:gd name="connsiteY496" fmla="*/ 346258 h 1260409"/>
                  <a:gd name="connsiteX497" fmla="*/ 551607 w 1189600"/>
                  <a:gd name="connsiteY497" fmla="*/ 298108 h 1260409"/>
                  <a:gd name="connsiteX498" fmla="*/ 545942 w 1189600"/>
                  <a:gd name="connsiteY498" fmla="*/ 323599 h 1260409"/>
                  <a:gd name="connsiteX499" fmla="*/ 174899 w 1189600"/>
                  <a:gd name="connsiteY499" fmla="*/ 428398 h 1260409"/>
                  <a:gd name="connsiteX500" fmla="*/ 208888 w 1189600"/>
                  <a:gd name="connsiteY500" fmla="*/ 418484 h 1260409"/>
                  <a:gd name="connsiteX501" fmla="*/ 266952 w 1189600"/>
                  <a:gd name="connsiteY501" fmla="*/ 426981 h 1260409"/>
                  <a:gd name="connsiteX502" fmla="*/ 183397 w 1189600"/>
                  <a:gd name="connsiteY502" fmla="*/ 434062 h 1260409"/>
                  <a:gd name="connsiteX503" fmla="*/ 174899 w 1189600"/>
                  <a:gd name="connsiteY503" fmla="*/ 428398 h 1260409"/>
                  <a:gd name="connsiteX504" fmla="*/ 275449 w 1189600"/>
                  <a:gd name="connsiteY504" fmla="*/ 428398 h 1260409"/>
                  <a:gd name="connsiteX505" fmla="*/ 344842 w 1189600"/>
                  <a:gd name="connsiteY505" fmla="*/ 438311 h 1260409"/>
                  <a:gd name="connsiteX506" fmla="*/ 385912 w 1189600"/>
                  <a:gd name="connsiteY506" fmla="*/ 531780 h 1260409"/>
                  <a:gd name="connsiteX507" fmla="*/ 320768 w 1189600"/>
                  <a:gd name="connsiteY507" fmla="*/ 533196 h 1260409"/>
                  <a:gd name="connsiteX508" fmla="*/ 184813 w 1189600"/>
                  <a:gd name="connsiteY508" fmla="*/ 436895 h 1260409"/>
                  <a:gd name="connsiteX509" fmla="*/ 275449 w 1189600"/>
                  <a:gd name="connsiteY509" fmla="*/ 428398 h 1260409"/>
                  <a:gd name="connsiteX510" fmla="*/ 370334 w 1189600"/>
                  <a:gd name="connsiteY510" fmla="*/ 567184 h 1260409"/>
                  <a:gd name="connsiteX511" fmla="*/ 388745 w 1189600"/>
                  <a:gd name="connsiteY511" fmla="*/ 536028 h 1260409"/>
                  <a:gd name="connsiteX512" fmla="*/ 418484 w 1189600"/>
                  <a:gd name="connsiteY512" fmla="*/ 601173 h 1260409"/>
                  <a:gd name="connsiteX513" fmla="*/ 370334 w 1189600"/>
                  <a:gd name="connsiteY513" fmla="*/ 567184 h 1260409"/>
                  <a:gd name="connsiteX514" fmla="*/ 390161 w 1189600"/>
                  <a:gd name="connsiteY514" fmla="*/ 534612 h 1260409"/>
                  <a:gd name="connsiteX515" fmla="*/ 390161 w 1189600"/>
                  <a:gd name="connsiteY515" fmla="*/ 534612 h 1260409"/>
                  <a:gd name="connsiteX516" fmla="*/ 503456 w 1189600"/>
                  <a:gd name="connsiteY516" fmla="*/ 533196 h 1260409"/>
                  <a:gd name="connsiteX517" fmla="*/ 499207 w 1189600"/>
                  <a:gd name="connsiteY517" fmla="*/ 599756 h 1260409"/>
                  <a:gd name="connsiteX518" fmla="*/ 496375 w 1189600"/>
                  <a:gd name="connsiteY518" fmla="*/ 599756 h 1260409"/>
                  <a:gd name="connsiteX519" fmla="*/ 496375 w 1189600"/>
                  <a:gd name="connsiteY519" fmla="*/ 599756 h 1260409"/>
                  <a:gd name="connsiteX520" fmla="*/ 499207 w 1189600"/>
                  <a:gd name="connsiteY520" fmla="*/ 602589 h 1260409"/>
                  <a:gd name="connsiteX521" fmla="*/ 499207 w 1189600"/>
                  <a:gd name="connsiteY521" fmla="*/ 604005 h 1260409"/>
                  <a:gd name="connsiteX522" fmla="*/ 499207 w 1189600"/>
                  <a:gd name="connsiteY522" fmla="*/ 604005 h 1260409"/>
                  <a:gd name="connsiteX523" fmla="*/ 541693 w 1189600"/>
                  <a:gd name="connsiteY523" fmla="*/ 690393 h 1260409"/>
                  <a:gd name="connsiteX524" fmla="*/ 421317 w 1189600"/>
                  <a:gd name="connsiteY524" fmla="*/ 605422 h 1260409"/>
                  <a:gd name="connsiteX525" fmla="*/ 390161 w 1189600"/>
                  <a:gd name="connsiteY525" fmla="*/ 534612 h 1260409"/>
                  <a:gd name="connsiteX526" fmla="*/ 502040 w 1189600"/>
                  <a:gd name="connsiteY526" fmla="*/ 598341 h 1260409"/>
                  <a:gd name="connsiteX527" fmla="*/ 506288 w 1189600"/>
                  <a:gd name="connsiteY527" fmla="*/ 531780 h 1260409"/>
                  <a:gd name="connsiteX528" fmla="*/ 680480 w 1189600"/>
                  <a:gd name="connsiteY528" fmla="*/ 528947 h 1260409"/>
                  <a:gd name="connsiteX529" fmla="*/ 681897 w 1189600"/>
                  <a:gd name="connsiteY529" fmla="*/ 530363 h 1260409"/>
                  <a:gd name="connsiteX530" fmla="*/ 630913 w 1189600"/>
                  <a:gd name="connsiteY530" fmla="*/ 608254 h 1260409"/>
                  <a:gd name="connsiteX531" fmla="*/ 502040 w 1189600"/>
                  <a:gd name="connsiteY531" fmla="*/ 598341 h 1260409"/>
                  <a:gd name="connsiteX532" fmla="*/ 700307 w 1189600"/>
                  <a:gd name="connsiteY532" fmla="*/ 528947 h 1260409"/>
                  <a:gd name="connsiteX533" fmla="*/ 735712 w 1189600"/>
                  <a:gd name="connsiteY533" fmla="*/ 528947 h 1260409"/>
                  <a:gd name="connsiteX534" fmla="*/ 789527 w 1189600"/>
                  <a:gd name="connsiteY534" fmla="*/ 565768 h 1260409"/>
                  <a:gd name="connsiteX535" fmla="*/ 795192 w 1189600"/>
                  <a:gd name="connsiteY535" fmla="*/ 620999 h 1260409"/>
                  <a:gd name="connsiteX536" fmla="*/ 792359 w 1189600"/>
                  <a:gd name="connsiteY536" fmla="*/ 620999 h 1260409"/>
                  <a:gd name="connsiteX537" fmla="*/ 698890 w 1189600"/>
                  <a:gd name="connsiteY537" fmla="*/ 544525 h 1260409"/>
                  <a:gd name="connsiteX538" fmla="*/ 700307 w 1189600"/>
                  <a:gd name="connsiteY538" fmla="*/ 528947 h 1260409"/>
                  <a:gd name="connsiteX539" fmla="*/ 737127 w 1189600"/>
                  <a:gd name="connsiteY539" fmla="*/ 526115 h 1260409"/>
                  <a:gd name="connsiteX540" fmla="*/ 701723 w 1189600"/>
                  <a:gd name="connsiteY540" fmla="*/ 502039 h 1260409"/>
                  <a:gd name="connsiteX541" fmla="*/ 708804 w 1189600"/>
                  <a:gd name="connsiteY541" fmla="*/ 492126 h 1260409"/>
                  <a:gd name="connsiteX542" fmla="*/ 782446 w 1189600"/>
                  <a:gd name="connsiteY542" fmla="*/ 503456 h 1260409"/>
                  <a:gd name="connsiteX543" fmla="*/ 785278 w 1189600"/>
                  <a:gd name="connsiteY543" fmla="*/ 526115 h 1260409"/>
                  <a:gd name="connsiteX544" fmla="*/ 737127 w 1189600"/>
                  <a:gd name="connsiteY544" fmla="*/ 526115 h 1260409"/>
                  <a:gd name="connsiteX545" fmla="*/ 235796 w 1189600"/>
                  <a:gd name="connsiteY545" fmla="*/ 625248 h 1260409"/>
                  <a:gd name="connsiteX546" fmla="*/ 235796 w 1189600"/>
                  <a:gd name="connsiteY546" fmla="*/ 625248 h 1260409"/>
                  <a:gd name="connsiteX547" fmla="*/ 235796 w 1189600"/>
                  <a:gd name="connsiteY547" fmla="*/ 625248 h 1260409"/>
                  <a:gd name="connsiteX548" fmla="*/ 235796 w 1189600"/>
                  <a:gd name="connsiteY548" fmla="*/ 625248 h 1260409"/>
                  <a:gd name="connsiteX549" fmla="*/ 235796 w 1189600"/>
                  <a:gd name="connsiteY549" fmla="*/ 626664 h 1260409"/>
                  <a:gd name="connsiteX550" fmla="*/ 244293 w 1189600"/>
                  <a:gd name="connsiteY550" fmla="*/ 656404 h 1260409"/>
                  <a:gd name="connsiteX551" fmla="*/ 221634 w 1189600"/>
                  <a:gd name="connsiteY551" fmla="*/ 642242 h 1260409"/>
                  <a:gd name="connsiteX552" fmla="*/ 231547 w 1189600"/>
                  <a:gd name="connsiteY552" fmla="*/ 628080 h 1260409"/>
                  <a:gd name="connsiteX553" fmla="*/ 235796 w 1189600"/>
                  <a:gd name="connsiteY553" fmla="*/ 626664 h 1260409"/>
                  <a:gd name="connsiteX554" fmla="*/ 326432 w 1189600"/>
                  <a:gd name="connsiteY554" fmla="*/ 639410 h 1260409"/>
                  <a:gd name="connsiteX555" fmla="*/ 368918 w 1189600"/>
                  <a:gd name="connsiteY555" fmla="*/ 570017 h 1260409"/>
                  <a:gd name="connsiteX556" fmla="*/ 419901 w 1189600"/>
                  <a:gd name="connsiteY556" fmla="*/ 605422 h 1260409"/>
                  <a:gd name="connsiteX557" fmla="*/ 431230 w 1189600"/>
                  <a:gd name="connsiteY557" fmla="*/ 630913 h 1260409"/>
                  <a:gd name="connsiteX558" fmla="*/ 411403 w 1189600"/>
                  <a:gd name="connsiteY558" fmla="*/ 717301 h 1260409"/>
                  <a:gd name="connsiteX559" fmla="*/ 326432 w 1189600"/>
                  <a:gd name="connsiteY559" fmla="*/ 639410 h 1260409"/>
                  <a:gd name="connsiteX560" fmla="*/ 502040 w 1189600"/>
                  <a:gd name="connsiteY560" fmla="*/ 601173 h 1260409"/>
                  <a:gd name="connsiteX561" fmla="*/ 629497 w 1189600"/>
                  <a:gd name="connsiteY561" fmla="*/ 611086 h 1260409"/>
                  <a:gd name="connsiteX562" fmla="*/ 592676 w 1189600"/>
                  <a:gd name="connsiteY562" fmla="*/ 669150 h 1260409"/>
                  <a:gd name="connsiteX563" fmla="*/ 578514 w 1189600"/>
                  <a:gd name="connsiteY563" fmla="*/ 669150 h 1260409"/>
                  <a:gd name="connsiteX564" fmla="*/ 502040 w 1189600"/>
                  <a:gd name="connsiteY564" fmla="*/ 601173 h 1260409"/>
                  <a:gd name="connsiteX565" fmla="*/ 681897 w 1189600"/>
                  <a:gd name="connsiteY565" fmla="*/ 528947 h 1260409"/>
                  <a:gd name="connsiteX566" fmla="*/ 681897 w 1189600"/>
                  <a:gd name="connsiteY566" fmla="*/ 528947 h 1260409"/>
                  <a:gd name="connsiteX567" fmla="*/ 681897 w 1189600"/>
                  <a:gd name="connsiteY567" fmla="*/ 528947 h 1260409"/>
                  <a:gd name="connsiteX568" fmla="*/ 681897 w 1189600"/>
                  <a:gd name="connsiteY568" fmla="*/ 528947 h 1260409"/>
                  <a:gd name="connsiteX569" fmla="*/ 829180 w 1189600"/>
                  <a:gd name="connsiteY569" fmla="*/ 592676 h 1260409"/>
                  <a:gd name="connsiteX570" fmla="*/ 829180 w 1189600"/>
                  <a:gd name="connsiteY570" fmla="*/ 592676 h 1260409"/>
                  <a:gd name="connsiteX571" fmla="*/ 861752 w 1189600"/>
                  <a:gd name="connsiteY571" fmla="*/ 575682 h 1260409"/>
                  <a:gd name="connsiteX572" fmla="*/ 875914 w 1189600"/>
                  <a:gd name="connsiteY572" fmla="*/ 625248 h 1260409"/>
                  <a:gd name="connsiteX573" fmla="*/ 798024 w 1189600"/>
                  <a:gd name="connsiteY573" fmla="*/ 619584 h 1260409"/>
                  <a:gd name="connsiteX574" fmla="*/ 792359 w 1189600"/>
                  <a:gd name="connsiteY574" fmla="*/ 565768 h 1260409"/>
                  <a:gd name="connsiteX575" fmla="*/ 829180 w 1189600"/>
                  <a:gd name="connsiteY575" fmla="*/ 592676 h 1260409"/>
                  <a:gd name="connsiteX576" fmla="*/ 829180 w 1189600"/>
                  <a:gd name="connsiteY576" fmla="*/ 591260 h 1260409"/>
                  <a:gd name="connsiteX577" fmla="*/ 790943 w 1189600"/>
                  <a:gd name="connsiteY577" fmla="*/ 565768 h 1260409"/>
                  <a:gd name="connsiteX578" fmla="*/ 786694 w 1189600"/>
                  <a:gd name="connsiteY578" fmla="*/ 528947 h 1260409"/>
                  <a:gd name="connsiteX579" fmla="*/ 846174 w 1189600"/>
                  <a:gd name="connsiteY579" fmla="*/ 527531 h 1260409"/>
                  <a:gd name="connsiteX580" fmla="*/ 860336 w 1189600"/>
                  <a:gd name="connsiteY580" fmla="*/ 574265 h 1260409"/>
                  <a:gd name="connsiteX581" fmla="*/ 829180 w 1189600"/>
                  <a:gd name="connsiteY581" fmla="*/ 591260 h 1260409"/>
                  <a:gd name="connsiteX582" fmla="*/ 686145 w 1189600"/>
                  <a:gd name="connsiteY582" fmla="*/ 269784 h 1260409"/>
                  <a:gd name="connsiteX583" fmla="*/ 890076 w 1189600"/>
                  <a:gd name="connsiteY583" fmla="*/ 227298 h 1260409"/>
                  <a:gd name="connsiteX584" fmla="*/ 694642 w 1189600"/>
                  <a:gd name="connsiteY584" fmla="*/ 281114 h 1260409"/>
                  <a:gd name="connsiteX585" fmla="*/ 686145 w 1189600"/>
                  <a:gd name="connsiteY585" fmla="*/ 269784 h 1260409"/>
                  <a:gd name="connsiteX586" fmla="*/ 571433 w 1189600"/>
                  <a:gd name="connsiteY586" fmla="*/ 215969 h 1260409"/>
                  <a:gd name="connsiteX587" fmla="*/ 581346 w 1189600"/>
                  <a:gd name="connsiteY587" fmla="*/ 170651 h 1260409"/>
                  <a:gd name="connsiteX588" fmla="*/ 598341 w 1189600"/>
                  <a:gd name="connsiteY588" fmla="*/ 169235 h 1260409"/>
                  <a:gd name="connsiteX589" fmla="*/ 594092 w 1189600"/>
                  <a:gd name="connsiteY589" fmla="*/ 215969 h 1260409"/>
                  <a:gd name="connsiteX590" fmla="*/ 571433 w 1189600"/>
                  <a:gd name="connsiteY590" fmla="*/ 215969 h 1260409"/>
                  <a:gd name="connsiteX591" fmla="*/ 232964 w 1189600"/>
                  <a:gd name="connsiteY591" fmla="*/ 490710 h 1260409"/>
                  <a:gd name="connsiteX592" fmla="*/ 234380 w 1189600"/>
                  <a:gd name="connsiteY592" fmla="*/ 534612 h 1260409"/>
                  <a:gd name="connsiteX593" fmla="*/ 213137 w 1189600"/>
                  <a:gd name="connsiteY593" fmla="*/ 534612 h 1260409"/>
                  <a:gd name="connsiteX594" fmla="*/ 232964 w 1189600"/>
                  <a:gd name="connsiteY594" fmla="*/ 490710 h 1260409"/>
                  <a:gd name="connsiteX595" fmla="*/ 232964 w 1189600"/>
                  <a:gd name="connsiteY595" fmla="*/ 490710 h 1260409"/>
                  <a:gd name="connsiteX596" fmla="*/ 405739 w 1189600"/>
                  <a:gd name="connsiteY596" fmla="*/ 751289 h 1260409"/>
                  <a:gd name="connsiteX597" fmla="*/ 412820 w 1189600"/>
                  <a:gd name="connsiteY597" fmla="*/ 721549 h 1260409"/>
                  <a:gd name="connsiteX598" fmla="*/ 438311 w 1189600"/>
                  <a:gd name="connsiteY598" fmla="*/ 745624 h 1260409"/>
                  <a:gd name="connsiteX599" fmla="*/ 405739 w 1189600"/>
                  <a:gd name="connsiteY599" fmla="*/ 751289 h 1260409"/>
                  <a:gd name="connsiteX600" fmla="*/ 789527 w 1189600"/>
                  <a:gd name="connsiteY600" fmla="*/ 619584 h 1260409"/>
                  <a:gd name="connsiteX601" fmla="*/ 694642 w 1189600"/>
                  <a:gd name="connsiteY601" fmla="*/ 612503 h 1260409"/>
                  <a:gd name="connsiteX602" fmla="*/ 698890 w 1189600"/>
                  <a:gd name="connsiteY602" fmla="*/ 545941 h 1260409"/>
                  <a:gd name="connsiteX603" fmla="*/ 789527 w 1189600"/>
                  <a:gd name="connsiteY603" fmla="*/ 619584 h 1260409"/>
                  <a:gd name="connsiteX604" fmla="*/ 796608 w 1189600"/>
                  <a:gd name="connsiteY604" fmla="*/ 622416 h 1260409"/>
                  <a:gd name="connsiteX605" fmla="*/ 796608 w 1189600"/>
                  <a:gd name="connsiteY605" fmla="*/ 622416 h 1260409"/>
                  <a:gd name="connsiteX606" fmla="*/ 796608 w 1189600"/>
                  <a:gd name="connsiteY606" fmla="*/ 622416 h 1260409"/>
                  <a:gd name="connsiteX607" fmla="*/ 796608 w 1189600"/>
                  <a:gd name="connsiteY607" fmla="*/ 622416 h 1260409"/>
                  <a:gd name="connsiteX608" fmla="*/ 901406 w 1189600"/>
                  <a:gd name="connsiteY608" fmla="*/ 708803 h 1260409"/>
                  <a:gd name="connsiteX609" fmla="*/ 878747 w 1189600"/>
                  <a:gd name="connsiteY609" fmla="*/ 628080 h 1260409"/>
                  <a:gd name="connsiteX610" fmla="*/ 963718 w 1189600"/>
                  <a:gd name="connsiteY610" fmla="*/ 633745 h 1260409"/>
                  <a:gd name="connsiteX611" fmla="*/ 963718 w 1189600"/>
                  <a:gd name="connsiteY611" fmla="*/ 633745 h 1260409"/>
                  <a:gd name="connsiteX612" fmla="*/ 963718 w 1189600"/>
                  <a:gd name="connsiteY612" fmla="*/ 632329 h 1260409"/>
                  <a:gd name="connsiteX613" fmla="*/ 963718 w 1189600"/>
                  <a:gd name="connsiteY613" fmla="*/ 635161 h 1260409"/>
                  <a:gd name="connsiteX614" fmla="*/ 963718 w 1189600"/>
                  <a:gd name="connsiteY614" fmla="*/ 635161 h 1260409"/>
                  <a:gd name="connsiteX615" fmla="*/ 1013285 w 1189600"/>
                  <a:gd name="connsiteY615" fmla="*/ 800856 h 1260409"/>
                  <a:gd name="connsiteX616" fmla="*/ 901406 w 1189600"/>
                  <a:gd name="connsiteY616" fmla="*/ 708803 h 1260409"/>
                  <a:gd name="connsiteX617" fmla="*/ 1016117 w 1189600"/>
                  <a:gd name="connsiteY617" fmla="*/ 803688 h 1260409"/>
                  <a:gd name="connsiteX618" fmla="*/ 965135 w 1189600"/>
                  <a:gd name="connsiteY618" fmla="*/ 635161 h 1260409"/>
                  <a:gd name="connsiteX619" fmla="*/ 966551 w 1189600"/>
                  <a:gd name="connsiteY619" fmla="*/ 629497 h 1260409"/>
                  <a:gd name="connsiteX620" fmla="*/ 1035944 w 1189600"/>
                  <a:gd name="connsiteY620" fmla="*/ 540277 h 1260409"/>
                  <a:gd name="connsiteX621" fmla="*/ 1108170 w 1189600"/>
                  <a:gd name="connsiteY621" fmla="*/ 550190 h 1260409"/>
                  <a:gd name="connsiteX622" fmla="*/ 1075598 w 1189600"/>
                  <a:gd name="connsiteY622" fmla="*/ 853255 h 1260409"/>
                  <a:gd name="connsiteX623" fmla="*/ 1016117 w 1189600"/>
                  <a:gd name="connsiteY623" fmla="*/ 803688 h 1260409"/>
                  <a:gd name="connsiteX624" fmla="*/ 1035944 w 1189600"/>
                  <a:gd name="connsiteY624" fmla="*/ 537444 h 1260409"/>
                  <a:gd name="connsiteX625" fmla="*/ 1027447 w 1189600"/>
                  <a:gd name="connsiteY625" fmla="*/ 536028 h 1260409"/>
                  <a:gd name="connsiteX626" fmla="*/ 1041609 w 1189600"/>
                  <a:gd name="connsiteY626" fmla="*/ 530363 h 1260409"/>
                  <a:gd name="connsiteX627" fmla="*/ 1035944 w 1189600"/>
                  <a:gd name="connsiteY627" fmla="*/ 537444 h 1260409"/>
                  <a:gd name="connsiteX628" fmla="*/ 1034528 w 1189600"/>
                  <a:gd name="connsiteY628" fmla="*/ 540277 h 1260409"/>
                  <a:gd name="connsiteX629" fmla="*/ 969383 w 1189600"/>
                  <a:gd name="connsiteY629" fmla="*/ 625248 h 1260409"/>
                  <a:gd name="connsiteX630" fmla="*/ 987794 w 1189600"/>
                  <a:gd name="connsiteY630" fmla="*/ 555855 h 1260409"/>
                  <a:gd name="connsiteX631" fmla="*/ 1024614 w 1189600"/>
                  <a:gd name="connsiteY631" fmla="*/ 538860 h 1260409"/>
                  <a:gd name="connsiteX632" fmla="*/ 1034528 w 1189600"/>
                  <a:gd name="connsiteY632" fmla="*/ 540277 h 1260409"/>
                  <a:gd name="connsiteX633" fmla="*/ 875914 w 1189600"/>
                  <a:gd name="connsiteY633" fmla="*/ 628080 h 1260409"/>
                  <a:gd name="connsiteX634" fmla="*/ 898574 w 1189600"/>
                  <a:gd name="connsiteY634" fmla="*/ 707387 h 1260409"/>
                  <a:gd name="connsiteX635" fmla="*/ 798024 w 1189600"/>
                  <a:gd name="connsiteY635" fmla="*/ 625248 h 1260409"/>
                  <a:gd name="connsiteX636" fmla="*/ 798024 w 1189600"/>
                  <a:gd name="connsiteY636" fmla="*/ 622416 h 1260409"/>
                  <a:gd name="connsiteX637" fmla="*/ 875914 w 1189600"/>
                  <a:gd name="connsiteY637" fmla="*/ 628080 h 1260409"/>
                  <a:gd name="connsiteX638" fmla="*/ 1014701 w 1189600"/>
                  <a:gd name="connsiteY638" fmla="*/ 805104 h 1260409"/>
                  <a:gd name="connsiteX639" fmla="*/ 1016117 w 1189600"/>
                  <a:gd name="connsiteY639" fmla="*/ 807937 h 1260409"/>
                  <a:gd name="connsiteX640" fmla="*/ 949556 w 1189600"/>
                  <a:gd name="connsiteY640" fmla="*/ 878746 h 1260409"/>
                  <a:gd name="connsiteX641" fmla="*/ 902822 w 1189600"/>
                  <a:gd name="connsiteY641" fmla="*/ 713052 h 1260409"/>
                  <a:gd name="connsiteX642" fmla="*/ 1014701 w 1189600"/>
                  <a:gd name="connsiteY642" fmla="*/ 805104 h 1260409"/>
                  <a:gd name="connsiteX643" fmla="*/ 684728 w 1189600"/>
                  <a:gd name="connsiteY643" fmla="*/ 268368 h 1260409"/>
                  <a:gd name="connsiteX644" fmla="*/ 667735 w 1189600"/>
                  <a:gd name="connsiteY644" fmla="*/ 244293 h 1260409"/>
                  <a:gd name="connsiteX645" fmla="*/ 667735 w 1189600"/>
                  <a:gd name="connsiteY645" fmla="*/ 244293 h 1260409"/>
                  <a:gd name="connsiteX646" fmla="*/ 643659 w 1189600"/>
                  <a:gd name="connsiteY646" fmla="*/ 276865 h 1260409"/>
                  <a:gd name="connsiteX647" fmla="*/ 591260 w 1189600"/>
                  <a:gd name="connsiteY647" fmla="*/ 288194 h 1260409"/>
                  <a:gd name="connsiteX648" fmla="*/ 596925 w 1189600"/>
                  <a:gd name="connsiteY648" fmla="*/ 217385 h 1260409"/>
                  <a:gd name="connsiteX649" fmla="*/ 952389 w 1189600"/>
                  <a:gd name="connsiteY649" fmla="*/ 210304 h 1260409"/>
                  <a:gd name="connsiteX650" fmla="*/ 919817 w 1189600"/>
                  <a:gd name="connsiteY650" fmla="*/ 218801 h 1260409"/>
                  <a:gd name="connsiteX651" fmla="*/ 684728 w 1189600"/>
                  <a:gd name="connsiteY651" fmla="*/ 268368 h 1260409"/>
                  <a:gd name="connsiteX652" fmla="*/ 140911 w 1189600"/>
                  <a:gd name="connsiteY652" fmla="*/ 407155 h 1260409"/>
                  <a:gd name="connsiteX653" fmla="*/ 140911 w 1189600"/>
                  <a:gd name="connsiteY653" fmla="*/ 407155 h 1260409"/>
                  <a:gd name="connsiteX654" fmla="*/ 140911 w 1189600"/>
                  <a:gd name="connsiteY654" fmla="*/ 407155 h 1260409"/>
                  <a:gd name="connsiteX655" fmla="*/ 140911 w 1189600"/>
                  <a:gd name="connsiteY655" fmla="*/ 407155 h 1260409"/>
                  <a:gd name="connsiteX656" fmla="*/ 234380 w 1189600"/>
                  <a:gd name="connsiteY656" fmla="*/ 536028 h 1260409"/>
                  <a:gd name="connsiteX657" fmla="*/ 235796 w 1189600"/>
                  <a:gd name="connsiteY657" fmla="*/ 620999 h 1260409"/>
                  <a:gd name="connsiteX658" fmla="*/ 235796 w 1189600"/>
                  <a:gd name="connsiteY658" fmla="*/ 620999 h 1260409"/>
                  <a:gd name="connsiteX659" fmla="*/ 231547 w 1189600"/>
                  <a:gd name="connsiteY659" fmla="*/ 626664 h 1260409"/>
                  <a:gd name="connsiteX660" fmla="*/ 211721 w 1189600"/>
                  <a:gd name="connsiteY660" fmla="*/ 636578 h 1260409"/>
                  <a:gd name="connsiteX661" fmla="*/ 179149 w 1189600"/>
                  <a:gd name="connsiteY661" fmla="*/ 616751 h 1260409"/>
                  <a:gd name="connsiteX662" fmla="*/ 213137 w 1189600"/>
                  <a:gd name="connsiteY662" fmla="*/ 536028 h 1260409"/>
                  <a:gd name="connsiteX663" fmla="*/ 234380 w 1189600"/>
                  <a:gd name="connsiteY663" fmla="*/ 536028 h 1260409"/>
                  <a:gd name="connsiteX664" fmla="*/ 591260 w 1189600"/>
                  <a:gd name="connsiteY664" fmla="*/ 670566 h 1260409"/>
                  <a:gd name="connsiteX665" fmla="*/ 587012 w 1189600"/>
                  <a:gd name="connsiteY665" fmla="*/ 677647 h 1260409"/>
                  <a:gd name="connsiteX666" fmla="*/ 579931 w 1189600"/>
                  <a:gd name="connsiteY666" fmla="*/ 671982 h 1260409"/>
                  <a:gd name="connsiteX667" fmla="*/ 591260 w 1189600"/>
                  <a:gd name="connsiteY667" fmla="*/ 670566 h 1260409"/>
                  <a:gd name="connsiteX668" fmla="*/ 1109586 w 1189600"/>
                  <a:gd name="connsiteY668" fmla="*/ 548774 h 1260409"/>
                  <a:gd name="connsiteX669" fmla="*/ 1038776 w 1189600"/>
                  <a:gd name="connsiteY669" fmla="*/ 538860 h 1260409"/>
                  <a:gd name="connsiteX670" fmla="*/ 1045857 w 1189600"/>
                  <a:gd name="connsiteY670" fmla="*/ 528947 h 1260409"/>
                  <a:gd name="connsiteX671" fmla="*/ 1050106 w 1189600"/>
                  <a:gd name="connsiteY671" fmla="*/ 527531 h 1260409"/>
                  <a:gd name="connsiteX672" fmla="*/ 1109586 w 1189600"/>
                  <a:gd name="connsiteY672" fmla="*/ 547358 h 1260409"/>
                  <a:gd name="connsiteX673" fmla="*/ 1109586 w 1189600"/>
                  <a:gd name="connsiteY673" fmla="*/ 548774 h 1260409"/>
                  <a:gd name="connsiteX674" fmla="*/ 984961 w 1189600"/>
                  <a:gd name="connsiteY674" fmla="*/ 553022 h 1260409"/>
                  <a:gd name="connsiteX675" fmla="*/ 984961 w 1189600"/>
                  <a:gd name="connsiteY675" fmla="*/ 553022 h 1260409"/>
                  <a:gd name="connsiteX676" fmla="*/ 965135 w 1189600"/>
                  <a:gd name="connsiteY676" fmla="*/ 628080 h 1260409"/>
                  <a:gd name="connsiteX677" fmla="*/ 962302 w 1189600"/>
                  <a:gd name="connsiteY677" fmla="*/ 632329 h 1260409"/>
                  <a:gd name="connsiteX678" fmla="*/ 877331 w 1189600"/>
                  <a:gd name="connsiteY678" fmla="*/ 626664 h 1260409"/>
                  <a:gd name="connsiteX679" fmla="*/ 863169 w 1189600"/>
                  <a:gd name="connsiteY679" fmla="*/ 575682 h 1260409"/>
                  <a:gd name="connsiteX680" fmla="*/ 955221 w 1189600"/>
                  <a:gd name="connsiteY680" fmla="*/ 528947 h 1260409"/>
                  <a:gd name="connsiteX681" fmla="*/ 1020366 w 1189600"/>
                  <a:gd name="connsiteY681" fmla="*/ 538860 h 1260409"/>
                  <a:gd name="connsiteX682" fmla="*/ 984961 w 1189600"/>
                  <a:gd name="connsiteY682" fmla="*/ 553022 h 1260409"/>
                  <a:gd name="connsiteX683" fmla="*/ 786694 w 1189600"/>
                  <a:gd name="connsiteY683" fmla="*/ 526115 h 1260409"/>
                  <a:gd name="connsiteX684" fmla="*/ 783862 w 1189600"/>
                  <a:gd name="connsiteY684" fmla="*/ 503456 h 1260409"/>
                  <a:gd name="connsiteX685" fmla="*/ 841926 w 1189600"/>
                  <a:gd name="connsiteY685" fmla="*/ 511953 h 1260409"/>
                  <a:gd name="connsiteX686" fmla="*/ 846174 w 1189600"/>
                  <a:gd name="connsiteY686" fmla="*/ 524699 h 1260409"/>
                  <a:gd name="connsiteX687" fmla="*/ 786694 w 1189600"/>
                  <a:gd name="connsiteY687" fmla="*/ 526115 h 1260409"/>
                  <a:gd name="connsiteX688" fmla="*/ 599757 w 1189600"/>
                  <a:gd name="connsiteY688" fmla="*/ 166402 h 1260409"/>
                  <a:gd name="connsiteX689" fmla="*/ 582763 w 1189600"/>
                  <a:gd name="connsiteY689" fmla="*/ 167818 h 1260409"/>
                  <a:gd name="connsiteX690" fmla="*/ 585595 w 1189600"/>
                  <a:gd name="connsiteY690" fmla="*/ 152241 h 1260409"/>
                  <a:gd name="connsiteX691" fmla="*/ 599757 w 1189600"/>
                  <a:gd name="connsiteY691" fmla="*/ 155073 h 1260409"/>
                  <a:gd name="connsiteX692" fmla="*/ 599757 w 1189600"/>
                  <a:gd name="connsiteY692" fmla="*/ 166402 h 1260409"/>
                  <a:gd name="connsiteX693" fmla="*/ 315103 w 1189600"/>
                  <a:gd name="connsiteY693" fmla="*/ 344842 h 1260409"/>
                  <a:gd name="connsiteX694" fmla="*/ 313687 w 1189600"/>
                  <a:gd name="connsiteY694" fmla="*/ 346258 h 1260409"/>
                  <a:gd name="connsiteX695" fmla="*/ 313687 w 1189600"/>
                  <a:gd name="connsiteY695" fmla="*/ 346258 h 1260409"/>
                  <a:gd name="connsiteX696" fmla="*/ 317935 w 1189600"/>
                  <a:gd name="connsiteY696" fmla="*/ 344842 h 1260409"/>
                  <a:gd name="connsiteX697" fmla="*/ 351923 w 1189600"/>
                  <a:gd name="connsiteY697" fmla="*/ 374582 h 1260409"/>
                  <a:gd name="connsiteX698" fmla="*/ 208888 w 1189600"/>
                  <a:gd name="connsiteY698" fmla="*/ 414236 h 1260409"/>
                  <a:gd name="connsiteX699" fmla="*/ 153656 w 1189600"/>
                  <a:gd name="connsiteY699" fmla="*/ 405739 h 1260409"/>
                  <a:gd name="connsiteX700" fmla="*/ 159322 w 1189600"/>
                  <a:gd name="connsiteY700" fmla="*/ 392993 h 1260409"/>
                  <a:gd name="connsiteX701" fmla="*/ 142327 w 1189600"/>
                  <a:gd name="connsiteY701" fmla="*/ 401490 h 1260409"/>
                  <a:gd name="connsiteX702" fmla="*/ 97009 w 1189600"/>
                  <a:gd name="connsiteY702" fmla="*/ 368918 h 1260409"/>
                  <a:gd name="connsiteX703" fmla="*/ 101258 w 1189600"/>
                  <a:gd name="connsiteY703" fmla="*/ 367501 h 1260409"/>
                  <a:gd name="connsiteX704" fmla="*/ 315103 w 1189600"/>
                  <a:gd name="connsiteY704" fmla="*/ 344842 h 1260409"/>
                  <a:gd name="connsiteX705" fmla="*/ 315103 w 1189600"/>
                  <a:gd name="connsiteY705" fmla="*/ 344842 h 1260409"/>
                  <a:gd name="connsiteX706" fmla="*/ 172068 w 1189600"/>
                  <a:gd name="connsiteY706" fmla="*/ 428398 h 1260409"/>
                  <a:gd name="connsiteX707" fmla="*/ 179149 w 1189600"/>
                  <a:gd name="connsiteY707" fmla="*/ 434062 h 1260409"/>
                  <a:gd name="connsiteX708" fmla="*/ 140911 w 1189600"/>
                  <a:gd name="connsiteY708" fmla="*/ 436895 h 1260409"/>
                  <a:gd name="connsiteX709" fmla="*/ 172068 w 1189600"/>
                  <a:gd name="connsiteY709" fmla="*/ 428398 h 1260409"/>
                  <a:gd name="connsiteX710" fmla="*/ 94177 w 1189600"/>
                  <a:gd name="connsiteY710" fmla="*/ 536028 h 1260409"/>
                  <a:gd name="connsiteX711" fmla="*/ 98425 w 1189600"/>
                  <a:gd name="connsiteY711" fmla="*/ 527531 h 1260409"/>
                  <a:gd name="connsiteX712" fmla="*/ 223050 w 1189600"/>
                  <a:gd name="connsiteY712" fmla="*/ 493542 h 1260409"/>
                  <a:gd name="connsiteX713" fmla="*/ 170651 w 1189600"/>
                  <a:gd name="connsiteY713" fmla="*/ 534612 h 1260409"/>
                  <a:gd name="connsiteX714" fmla="*/ 94177 w 1189600"/>
                  <a:gd name="connsiteY714" fmla="*/ 536028 h 1260409"/>
                  <a:gd name="connsiteX715" fmla="*/ 218802 w 1189600"/>
                  <a:gd name="connsiteY715" fmla="*/ 643658 h 1260409"/>
                  <a:gd name="connsiteX716" fmla="*/ 105506 w 1189600"/>
                  <a:gd name="connsiteY716" fmla="*/ 798023 h 1260409"/>
                  <a:gd name="connsiteX717" fmla="*/ 104090 w 1189600"/>
                  <a:gd name="connsiteY717" fmla="*/ 792359 h 1260409"/>
                  <a:gd name="connsiteX718" fmla="*/ 159322 w 1189600"/>
                  <a:gd name="connsiteY718" fmla="*/ 662069 h 1260409"/>
                  <a:gd name="connsiteX719" fmla="*/ 210304 w 1189600"/>
                  <a:gd name="connsiteY719" fmla="*/ 637994 h 1260409"/>
                  <a:gd name="connsiteX720" fmla="*/ 218802 w 1189600"/>
                  <a:gd name="connsiteY720" fmla="*/ 643658 h 1260409"/>
                  <a:gd name="connsiteX721" fmla="*/ 402907 w 1189600"/>
                  <a:gd name="connsiteY721" fmla="*/ 754122 h 1260409"/>
                  <a:gd name="connsiteX722" fmla="*/ 402907 w 1189600"/>
                  <a:gd name="connsiteY722" fmla="*/ 754122 h 1260409"/>
                  <a:gd name="connsiteX723" fmla="*/ 402907 w 1189600"/>
                  <a:gd name="connsiteY723" fmla="*/ 754122 h 1260409"/>
                  <a:gd name="connsiteX724" fmla="*/ 402907 w 1189600"/>
                  <a:gd name="connsiteY724" fmla="*/ 754122 h 1260409"/>
                  <a:gd name="connsiteX725" fmla="*/ 357588 w 1189600"/>
                  <a:gd name="connsiteY725" fmla="*/ 788110 h 1260409"/>
                  <a:gd name="connsiteX726" fmla="*/ 279698 w 1189600"/>
                  <a:gd name="connsiteY726" fmla="*/ 765451 h 1260409"/>
                  <a:gd name="connsiteX727" fmla="*/ 248541 w 1189600"/>
                  <a:gd name="connsiteY727" fmla="*/ 660653 h 1260409"/>
                  <a:gd name="connsiteX728" fmla="*/ 402907 w 1189600"/>
                  <a:gd name="connsiteY728" fmla="*/ 754122 h 1260409"/>
                  <a:gd name="connsiteX729" fmla="*/ 547358 w 1189600"/>
                  <a:gd name="connsiteY729" fmla="*/ 694641 h 1260409"/>
                  <a:gd name="connsiteX730" fmla="*/ 560104 w 1189600"/>
                  <a:gd name="connsiteY730" fmla="*/ 703139 h 1260409"/>
                  <a:gd name="connsiteX731" fmla="*/ 560104 w 1189600"/>
                  <a:gd name="connsiteY731" fmla="*/ 718717 h 1260409"/>
                  <a:gd name="connsiteX732" fmla="*/ 560104 w 1189600"/>
                  <a:gd name="connsiteY732" fmla="*/ 718717 h 1260409"/>
                  <a:gd name="connsiteX733" fmla="*/ 547358 w 1189600"/>
                  <a:gd name="connsiteY733" fmla="*/ 694641 h 1260409"/>
                  <a:gd name="connsiteX734" fmla="*/ 632330 w 1189600"/>
                  <a:gd name="connsiteY734" fmla="*/ 611086 h 1260409"/>
                  <a:gd name="connsiteX735" fmla="*/ 693226 w 1189600"/>
                  <a:gd name="connsiteY735" fmla="*/ 615335 h 1260409"/>
                  <a:gd name="connsiteX736" fmla="*/ 690393 w 1189600"/>
                  <a:gd name="connsiteY736" fmla="*/ 664901 h 1260409"/>
                  <a:gd name="connsiteX737" fmla="*/ 595508 w 1189600"/>
                  <a:gd name="connsiteY737" fmla="*/ 667734 h 1260409"/>
                  <a:gd name="connsiteX738" fmla="*/ 632330 w 1189600"/>
                  <a:gd name="connsiteY738" fmla="*/ 611086 h 1260409"/>
                  <a:gd name="connsiteX739" fmla="*/ 1111002 w 1189600"/>
                  <a:gd name="connsiteY739" fmla="*/ 548774 h 1260409"/>
                  <a:gd name="connsiteX740" fmla="*/ 1111002 w 1189600"/>
                  <a:gd name="connsiteY740" fmla="*/ 545941 h 1260409"/>
                  <a:gd name="connsiteX741" fmla="*/ 1123748 w 1189600"/>
                  <a:gd name="connsiteY741" fmla="*/ 550190 h 1260409"/>
                  <a:gd name="connsiteX742" fmla="*/ 1111002 w 1189600"/>
                  <a:gd name="connsiteY742" fmla="*/ 548774 h 1260409"/>
                  <a:gd name="connsiteX743" fmla="*/ 1050106 w 1189600"/>
                  <a:gd name="connsiteY743" fmla="*/ 524699 h 1260409"/>
                  <a:gd name="connsiteX744" fmla="*/ 1050106 w 1189600"/>
                  <a:gd name="connsiteY744" fmla="*/ 524699 h 1260409"/>
                  <a:gd name="connsiteX745" fmla="*/ 1048690 w 1189600"/>
                  <a:gd name="connsiteY745" fmla="*/ 526115 h 1260409"/>
                  <a:gd name="connsiteX746" fmla="*/ 1051522 w 1189600"/>
                  <a:gd name="connsiteY746" fmla="*/ 523282 h 1260409"/>
                  <a:gd name="connsiteX747" fmla="*/ 1051522 w 1189600"/>
                  <a:gd name="connsiteY747" fmla="*/ 523282 h 1260409"/>
                  <a:gd name="connsiteX748" fmla="*/ 965135 w 1189600"/>
                  <a:gd name="connsiteY748" fmla="*/ 524699 h 1260409"/>
                  <a:gd name="connsiteX749" fmla="*/ 1120916 w 1189600"/>
                  <a:gd name="connsiteY749" fmla="*/ 443975 h 1260409"/>
                  <a:gd name="connsiteX750" fmla="*/ 1109586 w 1189600"/>
                  <a:gd name="connsiteY750" fmla="*/ 545941 h 1260409"/>
                  <a:gd name="connsiteX751" fmla="*/ 1050106 w 1189600"/>
                  <a:gd name="connsiteY751" fmla="*/ 524699 h 1260409"/>
                  <a:gd name="connsiteX752" fmla="*/ 1044441 w 1189600"/>
                  <a:gd name="connsiteY752" fmla="*/ 527531 h 1260409"/>
                  <a:gd name="connsiteX753" fmla="*/ 1024614 w 1189600"/>
                  <a:gd name="connsiteY753" fmla="*/ 536028 h 1260409"/>
                  <a:gd name="connsiteX754" fmla="*/ 958054 w 1189600"/>
                  <a:gd name="connsiteY754" fmla="*/ 526115 h 1260409"/>
                  <a:gd name="connsiteX755" fmla="*/ 959470 w 1189600"/>
                  <a:gd name="connsiteY755" fmla="*/ 524699 h 1260409"/>
                  <a:gd name="connsiteX756" fmla="*/ 1045857 w 1189600"/>
                  <a:gd name="connsiteY756" fmla="*/ 523282 h 1260409"/>
                  <a:gd name="connsiteX757" fmla="*/ 1044441 w 1189600"/>
                  <a:gd name="connsiteY757" fmla="*/ 527531 h 1260409"/>
                  <a:gd name="connsiteX758" fmla="*/ 863169 w 1189600"/>
                  <a:gd name="connsiteY758" fmla="*/ 572849 h 1260409"/>
                  <a:gd name="connsiteX759" fmla="*/ 850423 w 1189600"/>
                  <a:gd name="connsiteY759" fmla="*/ 526115 h 1260409"/>
                  <a:gd name="connsiteX760" fmla="*/ 939643 w 1189600"/>
                  <a:gd name="connsiteY760" fmla="*/ 524699 h 1260409"/>
                  <a:gd name="connsiteX761" fmla="*/ 952389 w 1189600"/>
                  <a:gd name="connsiteY761" fmla="*/ 526115 h 1260409"/>
                  <a:gd name="connsiteX762" fmla="*/ 863169 w 1189600"/>
                  <a:gd name="connsiteY762" fmla="*/ 572849 h 1260409"/>
                  <a:gd name="connsiteX763" fmla="*/ 849007 w 1189600"/>
                  <a:gd name="connsiteY763" fmla="*/ 524699 h 1260409"/>
                  <a:gd name="connsiteX764" fmla="*/ 844759 w 1189600"/>
                  <a:gd name="connsiteY764" fmla="*/ 511953 h 1260409"/>
                  <a:gd name="connsiteX765" fmla="*/ 925481 w 1189600"/>
                  <a:gd name="connsiteY765" fmla="*/ 523282 h 1260409"/>
                  <a:gd name="connsiteX766" fmla="*/ 849007 w 1189600"/>
                  <a:gd name="connsiteY766" fmla="*/ 524699 h 1260409"/>
                  <a:gd name="connsiteX767" fmla="*/ 958054 w 1189600"/>
                  <a:gd name="connsiteY767" fmla="*/ 370334 h 1260409"/>
                  <a:gd name="connsiteX768" fmla="*/ 958054 w 1189600"/>
                  <a:gd name="connsiteY768" fmla="*/ 370334 h 1260409"/>
                  <a:gd name="connsiteX769" fmla="*/ 857504 w 1189600"/>
                  <a:gd name="connsiteY769" fmla="*/ 269784 h 1260409"/>
                  <a:gd name="connsiteX770" fmla="*/ 778197 w 1189600"/>
                  <a:gd name="connsiteY770" fmla="*/ 385912 h 1260409"/>
                  <a:gd name="connsiteX771" fmla="*/ 766868 w 1189600"/>
                  <a:gd name="connsiteY771" fmla="*/ 387328 h 1260409"/>
                  <a:gd name="connsiteX772" fmla="*/ 694642 w 1189600"/>
                  <a:gd name="connsiteY772" fmla="*/ 283946 h 1260409"/>
                  <a:gd name="connsiteX773" fmla="*/ 919817 w 1189600"/>
                  <a:gd name="connsiteY773" fmla="*/ 221634 h 1260409"/>
                  <a:gd name="connsiteX774" fmla="*/ 960886 w 1189600"/>
                  <a:gd name="connsiteY774" fmla="*/ 213137 h 1260409"/>
                  <a:gd name="connsiteX775" fmla="*/ 1081262 w 1189600"/>
                  <a:gd name="connsiteY775" fmla="*/ 361837 h 1260409"/>
                  <a:gd name="connsiteX776" fmla="*/ 955221 w 1189600"/>
                  <a:gd name="connsiteY776" fmla="*/ 371750 h 1260409"/>
                  <a:gd name="connsiteX777" fmla="*/ 958054 w 1189600"/>
                  <a:gd name="connsiteY777" fmla="*/ 370334 h 1260409"/>
                  <a:gd name="connsiteX778" fmla="*/ 596925 w 1189600"/>
                  <a:gd name="connsiteY778" fmla="*/ 214553 h 1260409"/>
                  <a:gd name="connsiteX779" fmla="*/ 601173 w 1189600"/>
                  <a:gd name="connsiteY779" fmla="*/ 167818 h 1260409"/>
                  <a:gd name="connsiteX780" fmla="*/ 664902 w 1189600"/>
                  <a:gd name="connsiteY780" fmla="*/ 163570 h 1260409"/>
                  <a:gd name="connsiteX781" fmla="*/ 946724 w 1189600"/>
                  <a:gd name="connsiteY781" fmla="*/ 207472 h 1260409"/>
                  <a:gd name="connsiteX782" fmla="*/ 596925 w 1189600"/>
                  <a:gd name="connsiteY782" fmla="*/ 214553 h 1260409"/>
                  <a:gd name="connsiteX783" fmla="*/ 517618 w 1189600"/>
                  <a:gd name="connsiteY783" fmla="*/ 139494 h 1260409"/>
                  <a:gd name="connsiteX784" fmla="*/ 608254 w 1189600"/>
                  <a:gd name="connsiteY784" fmla="*/ 44610 h 1260409"/>
                  <a:gd name="connsiteX785" fmla="*/ 584179 w 1189600"/>
                  <a:gd name="connsiteY785" fmla="*/ 149408 h 1260409"/>
                  <a:gd name="connsiteX786" fmla="*/ 517618 w 1189600"/>
                  <a:gd name="connsiteY786" fmla="*/ 139494 h 1260409"/>
                  <a:gd name="connsiteX787" fmla="*/ 460970 w 1189600"/>
                  <a:gd name="connsiteY787" fmla="*/ 196142 h 1260409"/>
                  <a:gd name="connsiteX788" fmla="*/ 407155 w 1189600"/>
                  <a:gd name="connsiteY788" fmla="*/ 125333 h 1260409"/>
                  <a:gd name="connsiteX789" fmla="*/ 513369 w 1189600"/>
                  <a:gd name="connsiteY789" fmla="*/ 142327 h 1260409"/>
                  <a:gd name="connsiteX790" fmla="*/ 460970 w 1189600"/>
                  <a:gd name="connsiteY790" fmla="*/ 196142 h 1260409"/>
                  <a:gd name="connsiteX791" fmla="*/ 401490 w 1189600"/>
                  <a:gd name="connsiteY791" fmla="*/ 123917 h 1260409"/>
                  <a:gd name="connsiteX792" fmla="*/ 402907 w 1189600"/>
                  <a:gd name="connsiteY792" fmla="*/ 122500 h 1260409"/>
                  <a:gd name="connsiteX793" fmla="*/ 402907 w 1189600"/>
                  <a:gd name="connsiteY793" fmla="*/ 122500 h 1260409"/>
                  <a:gd name="connsiteX794" fmla="*/ 401490 w 1189600"/>
                  <a:gd name="connsiteY794" fmla="*/ 123917 h 1260409"/>
                  <a:gd name="connsiteX795" fmla="*/ 320768 w 1189600"/>
                  <a:gd name="connsiteY795" fmla="*/ 223050 h 1260409"/>
                  <a:gd name="connsiteX796" fmla="*/ 320768 w 1189600"/>
                  <a:gd name="connsiteY796" fmla="*/ 223050 h 1260409"/>
                  <a:gd name="connsiteX797" fmla="*/ 443976 w 1189600"/>
                  <a:gd name="connsiteY797" fmla="*/ 221634 h 1260409"/>
                  <a:gd name="connsiteX798" fmla="*/ 316518 w 1189600"/>
                  <a:gd name="connsiteY798" fmla="*/ 344842 h 1260409"/>
                  <a:gd name="connsiteX799" fmla="*/ 315103 w 1189600"/>
                  <a:gd name="connsiteY799" fmla="*/ 343426 h 1260409"/>
                  <a:gd name="connsiteX800" fmla="*/ 315103 w 1189600"/>
                  <a:gd name="connsiteY800" fmla="*/ 343426 h 1260409"/>
                  <a:gd name="connsiteX801" fmla="*/ 105506 w 1189600"/>
                  <a:gd name="connsiteY801" fmla="*/ 368918 h 1260409"/>
                  <a:gd name="connsiteX802" fmla="*/ 238628 w 1189600"/>
                  <a:gd name="connsiteY802" fmla="*/ 299524 h 1260409"/>
                  <a:gd name="connsiteX803" fmla="*/ 238628 w 1189600"/>
                  <a:gd name="connsiteY803" fmla="*/ 299524 h 1260409"/>
                  <a:gd name="connsiteX804" fmla="*/ 289611 w 1189600"/>
                  <a:gd name="connsiteY804" fmla="*/ 204639 h 1260409"/>
                  <a:gd name="connsiteX805" fmla="*/ 391577 w 1189600"/>
                  <a:gd name="connsiteY805" fmla="*/ 135246 h 1260409"/>
                  <a:gd name="connsiteX806" fmla="*/ 320768 w 1189600"/>
                  <a:gd name="connsiteY806" fmla="*/ 223050 h 1260409"/>
                  <a:gd name="connsiteX807" fmla="*/ 139495 w 1189600"/>
                  <a:gd name="connsiteY807" fmla="*/ 405739 h 1260409"/>
                  <a:gd name="connsiteX808" fmla="*/ 139495 w 1189600"/>
                  <a:gd name="connsiteY808" fmla="*/ 405739 h 1260409"/>
                  <a:gd name="connsiteX809" fmla="*/ 48859 w 1189600"/>
                  <a:gd name="connsiteY809" fmla="*/ 392993 h 1260409"/>
                  <a:gd name="connsiteX810" fmla="*/ 92760 w 1189600"/>
                  <a:gd name="connsiteY810" fmla="*/ 373166 h 1260409"/>
                  <a:gd name="connsiteX811" fmla="*/ 92760 w 1189600"/>
                  <a:gd name="connsiteY811" fmla="*/ 373166 h 1260409"/>
                  <a:gd name="connsiteX812" fmla="*/ 139495 w 1189600"/>
                  <a:gd name="connsiteY812" fmla="*/ 405739 h 1260409"/>
                  <a:gd name="connsiteX813" fmla="*/ 135246 w 1189600"/>
                  <a:gd name="connsiteY813" fmla="*/ 408571 h 1260409"/>
                  <a:gd name="connsiteX814" fmla="*/ 74350 w 1189600"/>
                  <a:gd name="connsiteY814" fmla="*/ 439727 h 1260409"/>
                  <a:gd name="connsiteX815" fmla="*/ 43194 w 1189600"/>
                  <a:gd name="connsiteY815" fmla="*/ 395825 h 1260409"/>
                  <a:gd name="connsiteX816" fmla="*/ 46026 w 1189600"/>
                  <a:gd name="connsiteY816" fmla="*/ 394409 h 1260409"/>
                  <a:gd name="connsiteX817" fmla="*/ 135246 w 1189600"/>
                  <a:gd name="connsiteY817" fmla="*/ 408571 h 1260409"/>
                  <a:gd name="connsiteX818" fmla="*/ 75766 w 1189600"/>
                  <a:gd name="connsiteY818" fmla="*/ 445392 h 1260409"/>
                  <a:gd name="connsiteX819" fmla="*/ 75766 w 1189600"/>
                  <a:gd name="connsiteY819" fmla="*/ 445392 h 1260409"/>
                  <a:gd name="connsiteX820" fmla="*/ 119668 w 1189600"/>
                  <a:gd name="connsiteY820" fmla="*/ 442560 h 1260409"/>
                  <a:gd name="connsiteX821" fmla="*/ 24783 w 1189600"/>
                  <a:gd name="connsiteY821" fmla="*/ 468051 h 1260409"/>
                  <a:gd name="connsiteX822" fmla="*/ 74350 w 1189600"/>
                  <a:gd name="connsiteY822" fmla="*/ 442560 h 1260409"/>
                  <a:gd name="connsiteX823" fmla="*/ 75766 w 1189600"/>
                  <a:gd name="connsiteY823" fmla="*/ 445392 h 1260409"/>
                  <a:gd name="connsiteX824" fmla="*/ 181980 w 1189600"/>
                  <a:gd name="connsiteY824" fmla="*/ 436895 h 1260409"/>
                  <a:gd name="connsiteX825" fmla="*/ 317935 w 1189600"/>
                  <a:gd name="connsiteY825" fmla="*/ 533196 h 1260409"/>
                  <a:gd name="connsiteX826" fmla="*/ 235796 w 1189600"/>
                  <a:gd name="connsiteY826" fmla="*/ 534612 h 1260409"/>
                  <a:gd name="connsiteX827" fmla="*/ 234380 w 1189600"/>
                  <a:gd name="connsiteY827" fmla="*/ 489294 h 1260409"/>
                  <a:gd name="connsiteX828" fmla="*/ 234380 w 1189600"/>
                  <a:gd name="connsiteY828" fmla="*/ 489294 h 1260409"/>
                  <a:gd name="connsiteX829" fmla="*/ 231547 w 1189600"/>
                  <a:gd name="connsiteY829" fmla="*/ 489294 h 1260409"/>
                  <a:gd name="connsiteX830" fmla="*/ 232964 w 1189600"/>
                  <a:gd name="connsiteY830" fmla="*/ 485045 h 1260409"/>
                  <a:gd name="connsiteX831" fmla="*/ 232964 w 1189600"/>
                  <a:gd name="connsiteY831" fmla="*/ 483629 h 1260409"/>
                  <a:gd name="connsiteX832" fmla="*/ 224466 w 1189600"/>
                  <a:gd name="connsiteY832" fmla="*/ 490710 h 1260409"/>
                  <a:gd name="connsiteX833" fmla="*/ 97009 w 1189600"/>
                  <a:gd name="connsiteY833" fmla="*/ 526115 h 1260409"/>
                  <a:gd name="connsiteX834" fmla="*/ 136663 w 1189600"/>
                  <a:gd name="connsiteY834" fmla="*/ 441143 h 1260409"/>
                  <a:gd name="connsiteX835" fmla="*/ 181980 w 1189600"/>
                  <a:gd name="connsiteY835" fmla="*/ 436895 h 1260409"/>
                  <a:gd name="connsiteX836" fmla="*/ 208888 w 1189600"/>
                  <a:gd name="connsiteY836" fmla="*/ 636578 h 1260409"/>
                  <a:gd name="connsiteX837" fmla="*/ 160737 w 1189600"/>
                  <a:gd name="connsiteY837" fmla="*/ 659237 h 1260409"/>
                  <a:gd name="connsiteX838" fmla="*/ 177732 w 1189600"/>
                  <a:gd name="connsiteY838" fmla="*/ 618167 h 1260409"/>
                  <a:gd name="connsiteX839" fmla="*/ 208888 w 1189600"/>
                  <a:gd name="connsiteY839" fmla="*/ 636578 h 1260409"/>
                  <a:gd name="connsiteX840" fmla="*/ 102674 w 1189600"/>
                  <a:gd name="connsiteY840" fmla="*/ 788110 h 1260409"/>
                  <a:gd name="connsiteX841" fmla="*/ 77183 w 1189600"/>
                  <a:gd name="connsiteY841" fmla="*/ 698890 h 1260409"/>
                  <a:gd name="connsiteX842" fmla="*/ 156489 w 1189600"/>
                  <a:gd name="connsiteY842" fmla="*/ 662069 h 1260409"/>
                  <a:gd name="connsiteX843" fmla="*/ 102674 w 1189600"/>
                  <a:gd name="connsiteY843" fmla="*/ 788110 h 1260409"/>
                  <a:gd name="connsiteX844" fmla="*/ 104090 w 1189600"/>
                  <a:gd name="connsiteY844" fmla="*/ 799439 h 1260409"/>
                  <a:gd name="connsiteX845" fmla="*/ 95593 w 1189600"/>
                  <a:gd name="connsiteY845" fmla="*/ 812185 h 1260409"/>
                  <a:gd name="connsiteX846" fmla="*/ 102674 w 1189600"/>
                  <a:gd name="connsiteY846" fmla="*/ 795191 h 1260409"/>
                  <a:gd name="connsiteX847" fmla="*/ 104090 w 1189600"/>
                  <a:gd name="connsiteY847" fmla="*/ 799439 h 1260409"/>
                  <a:gd name="connsiteX848" fmla="*/ 357588 w 1189600"/>
                  <a:gd name="connsiteY848" fmla="*/ 790942 h 1260409"/>
                  <a:gd name="connsiteX849" fmla="*/ 357588 w 1189600"/>
                  <a:gd name="connsiteY849" fmla="*/ 790942 h 1260409"/>
                  <a:gd name="connsiteX850" fmla="*/ 405739 w 1189600"/>
                  <a:gd name="connsiteY850" fmla="*/ 756954 h 1260409"/>
                  <a:gd name="connsiteX851" fmla="*/ 405739 w 1189600"/>
                  <a:gd name="connsiteY851" fmla="*/ 756954 h 1260409"/>
                  <a:gd name="connsiteX852" fmla="*/ 405739 w 1189600"/>
                  <a:gd name="connsiteY852" fmla="*/ 754122 h 1260409"/>
                  <a:gd name="connsiteX853" fmla="*/ 441144 w 1189600"/>
                  <a:gd name="connsiteY853" fmla="*/ 747041 h 1260409"/>
                  <a:gd name="connsiteX854" fmla="*/ 469468 w 1189600"/>
                  <a:gd name="connsiteY854" fmla="*/ 772532 h 1260409"/>
                  <a:gd name="connsiteX855" fmla="*/ 303773 w 1189600"/>
                  <a:gd name="connsiteY855" fmla="*/ 844758 h 1260409"/>
                  <a:gd name="connsiteX856" fmla="*/ 281114 w 1189600"/>
                  <a:gd name="connsiteY856" fmla="*/ 769699 h 1260409"/>
                  <a:gd name="connsiteX857" fmla="*/ 357588 w 1189600"/>
                  <a:gd name="connsiteY857" fmla="*/ 790942 h 1260409"/>
                  <a:gd name="connsiteX858" fmla="*/ 434063 w 1189600"/>
                  <a:gd name="connsiteY858" fmla="*/ 630913 h 1260409"/>
                  <a:gd name="connsiteX859" fmla="*/ 434063 w 1189600"/>
                  <a:gd name="connsiteY859" fmla="*/ 630913 h 1260409"/>
                  <a:gd name="connsiteX860" fmla="*/ 424150 w 1189600"/>
                  <a:gd name="connsiteY860" fmla="*/ 608254 h 1260409"/>
                  <a:gd name="connsiteX861" fmla="*/ 544526 w 1189600"/>
                  <a:gd name="connsiteY861" fmla="*/ 693225 h 1260409"/>
                  <a:gd name="connsiteX862" fmla="*/ 558688 w 1189600"/>
                  <a:gd name="connsiteY862" fmla="*/ 721549 h 1260409"/>
                  <a:gd name="connsiteX863" fmla="*/ 442560 w 1189600"/>
                  <a:gd name="connsiteY863" fmla="*/ 744208 h 1260409"/>
                  <a:gd name="connsiteX864" fmla="*/ 414236 w 1189600"/>
                  <a:gd name="connsiteY864" fmla="*/ 718717 h 1260409"/>
                  <a:gd name="connsiteX865" fmla="*/ 434063 w 1189600"/>
                  <a:gd name="connsiteY865" fmla="*/ 630913 h 1260409"/>
                  <a:gd name="connsiteX866" fmla="*/ 561520 w 1189600"/>
                  <a:gd name="connsiteY866" fmla="*/ 704555 h 1260409"/>
                  <a:gd name="connsiteX867" fmla="*/ 565769 w 1189600"/>
                  <a:gd name="connsiteY867" fmla="*/ 707387 h 1260409"/>
                  <a:gd name="connsiteX868" fmla="*/ 561520 w 1189600"/>
                  <a:gd name="connsiteY868" fmla="*/ 714468 h 1260409"/>
                  <a:gd name="connsiteX869" fmla="*/ 561520 w 1189600"/>
                  <a:gd name="connsiteY869" fmla="*/ 704555 h 1260409"/>
                  <a:gd name="connsiteX870" fmla="*/ 561520 w 1189600"/>
                  <a:gd name="connsiteY870" fmla="*/ 670566 h 1260409"/>
                  <a:gd name="connsiteX871" fmla="*/ 577098 w 1189600"/>
                  <a:gd name="connsiteY871" fmla="*/ 670566 h 1260409"/>
                  <a:gd name="connsiteX872" fmla="*/ 585595 w 1189600"/>
                  <a:gd name="connsiteY872" fmla="*/ 677647 h 1260409"/>
                  <a:gd name="connsiteX873" fmla="*/ 567185 w 1189600"/>
                  <a:gd name="connsiteY873" fmla="*/ 705971 h 1260409"/>
                  <a:gd name="connsiteX874" fmla="*/ 561520 w 1189600"/>
                  <a:gd name="connsiteY874" fmla="*/ 701722 h 1260409"/>
                  <a:gd name="connsiteX875" fmla="*/ 561520 w 1189600"/>
                  <a:gd name="connsiteY875" fmla="*/ 670566 h 1260409"/>
                  <a:gd name="connsiteX876" fmla="*/ 588427 w 1189600"/>
                  <a:gd name="connsiteY876" fmla="*/ 677647 h 1260409"/>
                  <a:gd name="connsiteX877" fmla="*/ 594092 w 1189600"/>
                  <a:gd name="connsiteY877" fmla="*/ 669150 h 1260409"/>
                  <a:gd name="connsiteX878" fmla="*/ 690393 w 1189600"/>
                  <a:gd name="connsiteY878" fmla="*/ 666318 h 1260409"/>
                  <a:gd name="connsiteX879" fmla="*/ 683312 w 1189600"/>
                  <a:gd name="connsiteY879" fmla="*/ 762618 h 1260409"/>
                  <a:gd name="connsiteX880" fmla="*/ 588427 w 1189600"/>
                  <a:gd name="connsiteY880" fmla="*/ 677647 h 1260409"/>
                  <a:gd name="connsiteX881" fmla="*/ 694642 w 1189600"/>
                  <a:gd name="connsiteY881" fmla="*/ 615335 h 1260409"/>
                  <a:gd name="connsiteX882" fmla="*/ 792359 w 1189600"/>
                  <a:gd name="connsiteY882" fmla="*/ 622416 h 1260409"/>
                  <a:gd name="connsiteX883" fmla="*/ 796608 w 1189600"/>
                  <a:gd name="connsiteY883" fmla="*/ 626664 h 1260409"/>
                  <a:gd name="connsiteX884" fmla="*/ 800856 w 1189600"/>
                  <a:gd name="connsiteY884" fmla="*/ 662069 h 1260409"/>
                  <a:gd name="connsiteX885" fmla="*/ 691809 w 1189600"/>
                  <a:gd name="connsiteY885" fmla="*/ 666318 h 1260409"/>
                  <a:gd name="connsiteX886" fmla="*/ 694642 w 1189600"/>
                  <a:gd name="connsiteY886" fmla="*/ 615335 h 1260409"/>
                  <a:gd name="connsiteX887" fmla="*/ 832012 w 1189600"/>
                  <a:gd name="connsiteY887" fmla="*/ 662069 h 1260409"/>
                  <a:gd name="connsiteX888" fmla="*/ 904238 w 1189600"/>
                  <a:gd name="connsiteY888" fmla="*/ 761203 h 1260409"/>
                  <a:gd name="connsiteX889" fmla="*/ 833428 w 1189600"/>
                  <a:gd name="connsiteY889" fmla="*/ 875914 h 1260409"/>
                  <a:gd name="connsiteX890" fmla="*/ 827764 w 1189600"/>
                  <a:gd name="connsiteY890" fmla="*/ 874498 h 1260409"/>
                  <a:gd name="connsiteX891" fmla="*/ 803689 w 1189600"/>
                  <a:gd name="connsiteY891" fmla="*/ 663485 h 1260409"/>
                  <a:gd name="connsiteX892" fmla="*/ 832012 w 1189600"/>
                  <a:gd name="connsiteY892" fmla="*/ 662069 h 1260409"/>
                  <a:gd name="connsiteX893" fmla="*/ 870250 w 1189600"/>
                  <a:gd name="connsiteY893" fmla="*/ 887243 h 1260409"/>
                  <a:gd name="connsiteX894" fmla="*/ 827764 w 1189600"/>
                  <a:gd name="connsiteY894" fmla="*/ 890076 h 1260409"/>
                  <a:gd name="connsiteX895" fmla="*/ 836261 w 1189600"/>
                  <a:gd name="connsiteY895" fmla="*/ 877330 h 1260409"/>
                  <a:gd name="connsiteX896" fmla="*/ 870250 w 1189600"/>
                  <a:gd name="connsiteY896" fmla="*/ 887243 h 1260409"/>
                  <a:gd name="connsiteX897" fmla="*/ 948140 w 1189600"/>
                  <a:gd name="connsiteY897" fmla="*/ 882995 h 1260409"/>
                  <a:gd name="connsiteX898" fmla="*/ 948140 w 1189600"/>
                  <a:gd name="connsiteY898" fmla="*/ 882995 h 1260409"/>
                  <a:gd name="connsiteX899" fmla="*/ 948140 w 1189600"/>
                  <a:gd name="connsiteY899" fmla="*/ 882995 h 1260409"/>
                  <a:gd name="connsiteX900" fmla="*/ 956637 w 1189600"/>
                  <a:gd name="connsiteY900" fmla="*/ 908486 h 1260409"/>
                  <a:gd name="connsiteX901" fmla="*/ 881579 w 1189600"/>
                  <a:gd name="connsiteY901" fmla="*/ 887243 h 1260409"/>
                  <a:gd name="connsiteX902" fmla="*/ 948140 w 1189600"/>
                  <a:gd name="connsiteY902" fmla="*/ 882995 h 1260409"/>
                  <a:gd name="connsiteX903" fmla="*/ 1122332 w 1189600"/>
                  <a:gd name="connsiteY903" fmla="*/ 681896 h 1260409"/>
                  <a:gd name="connsiteX904" fmla="*/ 1125164 w 1189600"/>
                  <a:gd name="connsiteY904" fmla="*/ 684728 h 1260409"/>
                  <a:gd name="connsiteX905" fmla="*/ 1123748 w 1189600"/>
                  <a:gd name="connsiteY905" fmla="*/ 691809 h 1260409"/>
                  <a:gd name="connsiteX906" fmla="*/ 1122332 w 1189600"/>
                  <a:gd name="connsiteY906" fmla="*/ 681896 h 1260409"/>
                  <a:gd name="connsiteX907" fmla="*/ 1147823 w 1189600"/>
                  <a:gd name="connsiteY907" fmla="*/ 558687 h 1260409"/>
                  <a:gd name="connsiteX908" fmla="*/ 1147823 w 1189600"/>
                  <a:gd name="connsiteY908" fmla="*/ 558687 h 1260409"/>
                  <a:gd name="connsiteX909" fmla="*/ 1147823 w 1189600"/>
                  <a:gd name="connsiteY909" fmla="*/ 558687 h 1260409"/>
                  <a:gd name="connsiteX910" fmla="*/ 1190309 w 1189600"/>
                  <a:gd name="connsiteY910" fmla="*/ 555855 h 1260409"/>
                  <a:gd name="connsiteX911" fmla="*/ 1187476 w 1189600"/>
                  <a:gd name="connsiteY911" fmla="*/ 747041 h 1260409"/>
                  <a:gd name="connsiteX912" fmla="*/ 1126580 w 1189600"/>
                  <a:gd name="connsiteY912" fmla="*/ 683312 h 1260409"/>
                  <a:gd name="connsiteX913" fmla="*/ 1147823 w 1189600"/>
                  <a:gd name="connsiteY913" fmla="*/ 558687 h 1260409"/>
                  <a:gd name="connsiteX914" fmla="*/ 112587 w 1189600"/>
                  <a:gd name="connsiteY914" fmla="*/ 578514 h 1260409"/>
                  <a:gd name="connsiteX915" fmla="*/ 51691 w 1189600"/>
                  <a:gd name="connsiteY915" fmla="*/ 625248 h 1260409"/>
                  <a:gd name="connsiteX916" fmla="*/ 81431 w 1189600"/>
                  <a:gd name="connsiteY916" fmla="*/ 560103 h 1260409"/>
                  <a:gd name="connsiteX917" fmla="*/ 112587 w 1189600"/>
                  <a:gd name="connsiteY917" fmla="*/ 578514 h 1260409"/>
                  <a:gd name="connsiteX918" fmla="*/ 568601 w 1189600"/>
                  <a:gd name="connsiteY918" fmla="*/ 707387 h 1260409"/>
                  <a:gd name="connsiteX919" fmla="*/ 587012 w 1189600"/>
                  <a:gd name="connsiteY919" fmla="*/ 679063 h 1260409"/>
                  <a:gd name="connsiteX920" fmla="*/ 683312 w 1189600"/>
                  <a:gd name="connsiteY920" fmla="*/ 764035 h 1260409"/>
                  <a:gd name="connsiteX921" fmla="*/ 681897 w 1189600"/>
                  <a:gd name="connsiteY921" fmla="*/ 786694 h 1260409"/>
                  <a:gd name="connsiteX922" fmla="*/ 568601 w 1189600"/>
                  <a:gd name="connsiteY922" fmla="*/ 707387 h 1260409"/>
                  <a:gd name="connsiteX923" fmla="*/ 950973 w 1189600"/>
                  <a:gd name="connsiteY923" fmla="*/ 213137 h 1260409"/>
                  <a:gd name="connsiteX924" fmla="*/ 960886 w 1189600"/>
                  <a:gd name="connsiteY924" fmla="*/ 210304 h 1260409"/>
                  <a:gd name="connsiteX925" fmla="*/ 962302 w 1189600"/>
                  <a:gd name="connsiteY925" fmla="*/ 210304 h 1260409"/>
                  <a:gd name="connsiteX926" fmla="*/ 950973 w 1189600"/>
                  <a:gd name="connsiteY926" fmla="*/ 213137 h 1260409"/>
                  <a:gd name="connsiteX927" fmla="*/ 599757 w 1189600"/>
                  <a:gd name="connsiteY927" fmla="*/ 152241 h 1260409"/>
                  <a:gd name="connsiteX928" fmla="*/ 585595 w 1189600"/>
                  <a:gd name="connsiteY928" fmla="*/ 149408 h 1260409"/>
                  <a:gd name="connsiteX929" fmla="*/ 609670 w 1189600"/>
                  <a:gd name="connsiteY929" fmla="*/ 43194 h 1260409"/>
                  <a:gd name="connsiteX930" fmla="*/ 599757 w 1189600"/>
                  <a:gd name="connsiteY930" fmla="*/ 152241 h 1260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Lst>
                <a:rect l="l" t="t" r="r" b="b"/>
                <a:pathLst>
                  <a:path w="1189600" h="1260409">
                    <a:moveTo>
                      <a:pt x="1147823" y="557271"/>
                    </a:moveTo>
                    <a:lnTo>
                      <a:pt x="1147823" y="555855"/>
                    </a:lnTo>
                    <a:lnTo>
                      <a:pt x="1147823" y="555855"/>
                    </a:lnTo>
                    <a:lnTo>
                      <a:pt x="1135078" y="554439"/>
                    </a:lnTo>
                    <a:lnTo>
                      <a:pt x="1109586" y="545941"/>
                    </a:lnTo>
                    <a:lnTo>
                      <a:pt x="1120916" y="441143"/>
                    </a:lnTo>
                    <a:lnTo>
                      <a:pt x="1120916" y="441143"/>
                    </a:lnTo>
                    <a:lnTo>
                      <a:pt x="958054" y="526115"/>
                    </a:lnTo>
                    <a:lnTo>
                      <a:pt x="938227" y="526115"/>
                    </a:lnTo>
                    <a:lnTo>
                      <a:pt x="843342" y="511953"/>
                    </a:lnTo>
                    <a:lnTo>
                      <a:pt x="820683" y="431230"/>
                    </a:lnTo>
                    <a:lnTo>
                      <a:pt x="948140" y="375999"/>
                    </a:lnTo>
                    <a:lnTo>
                      <a:pt x="1084094" y="364669"/>
                    </a:lnTo>
                    <a:lnTo>
                      <a:pt x="1084094" y="364669"/>
                    </a:lnTo>
                    <a:lnTo>
                      <a:pt x="960886" y="211720"/>
                    </a:lnTo>
                    <a:lnTo>
                      <a:pt x="965135" y="211720"/>
                    </a:lnTo>
                    <a:lnTo>
                      <a:pt x="959470" y="208888"/>
                    </a:lnTo>
                    <a:lnTo>
                      <a:pt x="959470" y="208888"/>
                    </a:lnTo>
                    <a:lnTo>
                      <a:pt x="958054" y="208888"/>
                    </a:lnTo>
                    <a:lnTo>
                      <a:pt x="882995" y="172067"/>
                    </a:lnTo>
                    <a:lnTo>
                      <a:pt x="887244" y="21951"/>
                    </a:lnTo>
                    <a:lnTo>
                      <a:pt x="928313" y="126749"/>
                    </a:lnTo>
                    <a:lnTo>
                      <a:pt x="928313" y="126749"/>
                    </a:lnTo>
                    <a:lnTo>
                      <a:pt x="929730" y="125333"/>
                    </a:lnTo>
                    <a:lnTo>
                      <a:pt x="885828" y="12037"/>
                    </a:lnTo>
                    <a:lnTo>
                      <a:pt x="885828" y="10621"/>
                    </a:lnTo>
                    <a:lnTo>
                      <a:pt x="881579" y="172067"/>
                    </a:lnTo>
                    <a:lnTo>
                      <a:pt x="881579" y="172067"/>
                    </a:lnTo>
                    <a:lnTo>
                      <a:pt x="952389" y="206056"/>
                    </a:lnTo>
                    <a:lnTo>
                      <a:pt x="673399" y="163570"/>
                    </a:lnTo>
                    <a:lnTo>
                      <a:pt x="721550" y="160737"/>
                    </a:lnTo>
                    <a:lnTo>
                      <a:pt x="721550" y="160737"/>
                    </a:lnTo>
                    <a:lnTo>
                      <a:pt x="608254" y="41777"/>
                    </a:lnTo>
                    <a:lnTo>
                      <a:pt x="608254" y="41777"/>
                    </a:lnTo>
                    <a:lnTo>
                      <a:pt x="608254" y="38945"/>
                    </a:lnTo>
                    <a:lnTo>
                      <a:pt x="608254" y="37529"/>
                    </a:lnTo>
                    <a:lnTo>
                      <a:pt x="511954" y="138079"/>
                    </a:lnTo>
                    <a:lnTo>
                      <a:pt x="402907" y="121084"/>
                    </a:lnTo>
                    <a:lnTo>
                      <a:pt x="400074" y="118252"/>
                    </a:lnTo>
                    <a:lnTo>
                      <a:pt x="400074" y="118252"/>
                    </a:lnTo>
                    <a:lnTo>
                      <a:pt x="392993" y="126749"/>
                    </a:lnTo>
                    <a:lnTo>
                      <a:pt x="283946" y="200391"/>
                    </a:lnTo>
                    <a:lnTo>
                      <a:pt x="232964" y="295275"/>
                    </a:lnTo>
                    <a:lnTo>
                      <a:pt x="95593" y="367501"/>
                    </a:lnTo>
                    <a:lnTo>
                      <a:pt x="85679" y="368918"/>
                    </a:lnTo>
                    <a:lnTo>
                      <a:pt x="85679" y="368918"/>
                    </a:lnTo>
                    <a:lnTo>
                      <a:pt x="88512" y="371750"/>
                    </a:lnTo>
                    <a:lnTo>
                      <a:pt x="41778" y="392993"/>
                    </a:lnTo>
                    <a:lnTo>
                      <a:pt x="36113" y="391577"/>
                    </a:lnTo>
                    <a:lnTo>
                      <a:pt x="36113" y="391577"/>
                    </a:lnTo>
                    <a:lnTo>
                      <a:pt x="36113" y="392993"/>
                    </a:lnTo>
                    <a:lnTo>
                      <a:pt x="38945" y="392993"/>
                    </a:lnTo>
                    <a:lnTo>
                      <a:pt x="37529" y="392993"/>
                    </a:lnTo>
                    <a:lnTo>
                      <a:pt x="37529" y="392993"/>
                    </a:lnTo>
                    <a:lnTo>
                      <a:pt x="70102" y="438311"/>
                    </a:lnTo>
                    <a:lnTo>
                      <a:pt x="10621" y="469467"/>
                    </a:lnTo>
                    <a:lnTo>
                      <a:pt x="10621" y="469467"/>
                    </a:lnTo>
                    <a:lnTo>
                      <a:pt x="10621" y="470883"/>
                    </a:lnTo>
                    <a:lnTo>
                      <a:pt x="126749" y="438311"/>
                    </a:lnTo>
                    <a:lnTo>
                      <a:pt x="132414" y="438311"/>
                    </a:lnTo>
                    <a:lnTo>
                      <a:pt x="92760" y="523282"/>
                    </a:lnTo>
                    <a:lnTo>
                      <a:pt x="53107" y="534612"/>
                    </a:lnTo>
                    <a:lnTo>
                      <a:pt x="38945" y="534612"/>
                    </a:lnTo>
                    <a:lnTo>
                      <a:pt x="37529" y="534612"/>
                    </a:lnTo>
                    <a:lnTo>
                      <a:pt x="41778" y="537444"/>
                    </a:lnTo>
                    <a:lnTo>
                      <a:pt x="41778" y="537444"/>
                    </a:lnTo>
                    <a:lnTo>
                      <a:pt x="41778" y="537444"/>
                    </a:lnTo>
                    <a:lnTo>
                      <a:pt x="41778" y="538860"/>
                    </a:lnTo>
                    <a:lnTo>
                      <a:pt x="44610" y="538860"/>
                    </a:lnTo>
                    <a:lnTo>
                      <a:pt x="75766" y="557271"/>
                    </a:lnTo>
                    <a:lnTo>
                      <a:pt x="41778" y="629497"/>
                    </a:lnTo>
                    <a:lnTo>
                      <a:pt x="41778" y="630913"/>
                    </a:lnTo>
                    <a:lnTo>
                      <a:pt x="109755" y="578514"/>
                    </a:lnTo>
                    <a:lnTo>
                      <a:pt x="172068" y="615335"/>
                    </a:lnTo>
                    <a:lnTo>
                      <a:pt x="153656" y="659237"/>
                    </a:lnTo>
                    <a:lnTo>
                      <a:pt x="70102" y="697474"/>
                    </a:lnTo>
                    <a:lnTo>
                      <a:pt x="70102" y="697474"/>
                    </a:lnTo>
                    <a:lnTo>
                      <a:pt x="97009" y="790942"/>
                    </a:lnTo>
                    <a:lnTo>
                      <a:pt x="84264" y="819266"/>
                    </a:lnTo>
                    <a:lnTo>
                      <a:pt x="84264" y="819266"/>
                    </a:lnTo>
                    <a:lnTo>
                      <a:pt x="85679" y="820682"/>
                    </a:lnTo>
                    <a:lnTo>
                      <a:pt x="99841" y="802272"/>
                    </a:lnTo>
                    <a:lnTo>
                      <a:pt x="118252" y="863168"/>
                    </a:lnTo>
                    <a:lnTo>
                      <a:pt x="118252" y="863168"/>
                    </a:lnTo>
                    <a:lnTo>
                      <a:pt x="257039" y="796607"/>
                    </a:lnTo>
                    <a:lnTo>
                      <a:pt x="257039" y="796607"/>
                    </a:lnTo>
                    <a:lnTo>
                      <a:pt x="180564" y="739960"/>
                    </a:lnTo>
                    <a:lnTo>
                      <a:pt x="272617" y="766867"/>
                    </a:lnTo>
                    <a:lnTo>
                      <a:pt x="296692" y="846174"/>
                    </a:lnTo>
                    <a:lnTo>
                      <a:pt x="296692" y="846174"/>
                    </a:lnTo>
                    <a:lnTo>
                      <a:pt x="466635" y="772532"/>
                    </a:lnTo>
                    <a:lnTo>
                      <a:pt x="466635" y="772532"/>
                    </a:lnTo>
                    <a:lnTo>
                      <a:pt x="436895" y="745624"/>
                    </a:lnTo>
                    <a:lnTo>
                      <a:pt x="551607" y="722965"/>
                    </a:lnTo>
                    <a:lnTo>
                      <a:pt x="554439" y="728630"/>
                    </a:lnTo>
                    <a:lnTo>
                      <a:pt x="554439" y="730046"/>
                    </a:lnTo>
                    <a:lnTo>
                      <a:pt x="554439" y="721549"/>
                    </a:lnTo>
                    <a:lnTo>
                      <a:pt x="561520" y="711636"/>
                    </a:lnTo>
                    <a:lnTo>
                      <a:pt x="674816" y="792359"/>
                    </a:lnTo>
                    <a:lnTo>
                      <a:pt x="670566" y="849006"/>
                    </a:lnTo>
                    <a:lnTo>
                      <a:pt x="670566" y="849006"/>
                    </a:lnTo>
                    <a:lnTo>
                      <a:pt x="816435" y="1034527"/>
                    </a:lnTo>
                    <a:lnTo>
                      <a:pt x="1040193" y="1173314"/>
                    </a:lnTo>
                    <a:lnTo>
                      <a:pt x="994874" y="1255453"/>
                    </a:lnTo>
                    <a:lnTo>
                      <a:pt x="994874" y="1255453"/>
                    </a:lnTo>
                    <a:lnTo>
                      <a:pt x="996290" y="1256869"/>
                    </a:lnTo>
                    <a:lnTo>
                      <a:pt x="1043025" y="1173314"/>
                    </a:lnTo>
                    <a:lnTo>
                      <a:pt x="1043025" y="1173314"/>
                    </a:lnTo>
                    <a:lnTo>
                      <a:pt x="817851" y="1033111"/>
                    </a:lnTo>
                    <a:lnTo>
                      <a:pt x="671983" y="849006"/>
                    </a:lnTo>
                    <a:lnTo>
                      <a:pt x="676231" y="793775"/>
                    </a:lnTo>
                    <a:lnTo>
                      <a:pt x="816435" y="892908"/>
                    </a:lnTo>
                    <a:lnTo>
                      <a:pt x="816435" y="892908"/>
                    </a:lnTo>
                    <a:lnTo>
                      <a:pt x="817851" y="891492"/>
                    </a:lnTo>
                    <a:lnTo>
                      <a:pt x="677647" y="766867"/>
                    </a:lnTo>
                    <a:lnTo>
                      <a:pt x="684728" y="669150"/>
                    </a:lnTo>
                    <a:lnTo>
                      <a:pt x="793775" y="664901"/>
                    </a:lnTo>
                    <a:lnTo>
                      <a:pt x="817851" y="877330"/>
                    </a:lnTo>
                    <a:lnTo>
                      <a:pt x="817851" y="877330"/>
                    </a:lnTo>
                    <a:lnTo>
                      <a:pt x="824932" y="878746"/>
                    </a:lnTo>
                    <a:lnTo>
                      <a:pt x="815018" y="894324"/>
                    </a:lnTo>
                    <a:lnTo>
                      <a:pt x="815018" y="894324"/>
                    </a:lnTo>
                    <a:lnTo>
                      <a:pt x="867417" y="890076"/>
                    </a:lnTo>
                    <a:lnTo>
                      <a:pt x="949556" y="912735"/>
                    </a:lnTo>
                    <a:lnTo>
                      <a:pt x="976464" y="1006203"/>
                    </a:lnTo>
                    <a:lnTo>
                      <a:pt x="885828" y="1060019"/>
                    </a:lnTo>
                    <a:lnTo>
                      <a:pt x="885828" y="1060019"/>
                    </a:lnTo>
                    <a:lnTo>
                      <a:pt x="993459" y="1057186"/>
                    </a:lnTo>
                    <a:lnTo>
                      <a:pt x="993459" y="1057186"/>
                    </a:lnTo>
                    <a:lnTo>
                      <a:pt x="979297" y="1007620"/>
                    </a:lnTo>
                    <a:lnTo>
                      <a:pt x="1078430" y="949556"/>
                    </a:lnTo>
                    <a:lnTo>
                      <a:pt x="1137909" y="841925"/>
                    </a:lnTo>
                    <a:lnTo>
                      <a:pt x="1137909" y="841925"/>
                    </a:lnTo>
                    <a:lnTo>
                      <a:pt x="1118083" y="700306"/>
                    </a:lnTo>
                    <a:lnTo>
                      <a:pt x="1119499" y="687560"/>
                    </a:lnTo>
                    <a:lnTo>
                      <a:pt x="1181812" y="752705"/>
                    </a:lnTo>
                    <a:lnTo>
                      <a:pt x="1181812" y="752705"/>
                    </a:lnTo>
                    <a:lnTo>
                      <a:pt x="1184644" y="554439"/>
                    </a:lnTo>
                    <a:lnTo>
                      <a:pt x="1184644" y="554439"/>
                    </a:lnTo>
                    <a:lnTo>
                      <a:pt x="1147823" y="557271"/>
                    </a:lnTo>
                    <a:lnTo>
                      <a:pt x="1147823" y="557271"/>
                    </a:lnTo>
                    <a:close/>
                    <a:moveTo>
                      <a:pt x="901406" y="1057186"/>
                    </a:moveTo>
                    <a:lnTo>
                      <a:pt x="984961" y="1007620"/>
                    </a:lnTo>
                    <a:lnTo>
                      <a:pt x="997707" y="1054354"/>
                    </a:lnTo>
                    <a:lnTo>
                      <a:pt x="901406" y="1057186"/>
                    </a:lnTo>
                    <a:close/>
                    <a:moveTo>
                      <a:pt x="809354" y="878746"/>
                    </a:moveTo>
                    <a:lnTo>
                      <a:pt x="683312" y="789526"/>
                    </a:lnTo>
                    <a:lnTo>
                      <a:pt x="684728" y="768284"/>
                    </a:lnTo>
                    <a:lnTo>
                      <a:pt x="809354" y="878746"/>
                    </a:lnTo>
                    <a:close/>
                    <a:moveTo>
                      <a:pt x="984961" y="1004787"/>
                    </a:moveTo>
                    <a:lnTo>
                      <a:pt x="958054" y="912735"/>
                    </a:lnTo>
                    <a:lnTo>
                      <a:pt x="1081262" y="946723"/>
                    </a:lnTo>
                    <a:lnTo>
                      <a:pt x="1081262" y="946723"/>
                    </a:lnTo>
                    <a:lnTo>
                      <a:pt x="1120916" y="705971"/>
                    </a:lnTo>
                    <a:lnTo>
                      <a:pt x="1139326" y="840509"/>
                    </a:lnTo>
                    <a:lnTo>
                      <a:pt x="1079846" y="948140"/>
                    </a:lnTo>
                    <a:lnTo>
                      <a:pt x="984961" y="1004787"/>
                    </a:lnTo>
                    <a:close/>
                    <a:moveTo>
                      <a:pt x="123917" y="861752"/>
                    </a:moveTo>
                    <a:lnTo>
                      <a:pt x="105506" y="800856"/>
                    </a:lnTo>
                    <a:lnTo>
                      <a:pt x="220218" y="645075"/>
                    </a:lnTo>
                    <a:lnTo>
                      <a:pt x="244293" y="660653"/>
                    </a:lnTo>
                    <a:lnTo>
                      <a:pt x="275449" y="766867"/>
                    </a:lnTo>
                    <a:lnTo>
                      <a:pt x="174899" y="737127"/>
                    </a:lnTo>
                    <a:lnTo>
                      <a:pt x="173483" y="737127"/>
                    </a:lnTo>
                    <a:lnTo>
                      <a:pt x="255622" y="799439"/>
                    </a:lnTo>
                    <a:lnTo>
                      <a:pt x="123917" y="861752"/>
                    </a:lnTo>
                    <a:close/>
                    <a:moveTo>
                      <a:pt x="210304" y="536028"/>
                    </a:moveTo>
                    <a:lnTo>
                      <a:pt x="176316" y="615335"/>
                    </a:lnTo>
                    <a:lnTo>
                      <a:pt x="115420" y="578514"/>
                    </a:lnTo>
                    <a:lnTo>
                      <a:pt x="169235" y="536028"/>
                    </a:lnTo>
                    <a:lnTo>
                      <a:pt x="210304" y="536028"/>
                    </a:lnTo>
                    <a:close/>
                    <a:moveTo>
                      <a:pt x="82847" y="558687"/>
                    </a:moveTo>
                    <a:lnTo>
                      <a:pt x="92760" y="537444"/>
                    </a:lnTo>
                    <a:lnTo>
                      <a:pt x="166402" y="536028"/>
                    </a:lnTo>
                    <a:lnTo>
                      <a:pt x="114003" y="577098"/>
                    </a:lnTo>
                    <a:lnTo>
                      <a:pt x="82847" y="558687"/>
                    </a:lnTo>
                    <a:close/>
                    <a:moveTo>
                      <a:pt x="57356" y="538860"/>
                    </a:moveTo>
                    <a:lnTo>
                      <a:pt x="91345" y="538860"/>
                    </a:lnTo>
                    <a:lnTo>
                      <a:pt x="81431" y="558687"/>
                    </a:lnTo>
                    <a:lnTo>
                      <a:pt x="51691" y="540277"/>
                    </a:lnTo>
                    <a:lnTo>
                      <a:pt x="57356" y="538860"/>
                    </a:lnTo>
                    <a:close/>
                    <a:moveTo>
                      <a:pt x="91345" y="536028"/>
                    </a:moveTo>
                    <a:lnTo>
                      <a:pt x="64437" y="536028"/>
                    </a:lnTo>
                    <a:lnTo>
                      <a:pt x="94177" y="527531"/>
                    </a:lnTo>
                    <a:lnTo>
                      <a:pt x="91345" y="536028"/>
                    </a:lnTo>
                    <a:close/>
                    <a:moveTo>
                      <a:pt x="94177" y="371750"/>
                    </a:moveTo>
                    <a:lnTo>
                      <a:pt x="94177" y="371750"/>
                    </a:lnTo>
                    <a:lnTo>
                      <a:pt x="94177" y="371750"/>
                    </a:lnTo>
                    <a:lnTo>
                      <a:pt x="94177" y="371750"/>
                    </a:lnTo>
                    <a:close/>
                    <a:moveTo>
                      <a:pt x="601173" y="166402"/>
                    </a:moveTo>
                    <a:lnTo>
                      <a:pt x="602589" y="155073"/>
                    </a:lnTo>
                    <a:lnTo>
                      <a:pt x="656404" y="163570"/>
                    </a:lnTo>
                    <a:lnTo>
                      <a:pt x="601173" y="166402"/>
                    </a:lnTo>
                    <a:close/>
                    <a:moveTo>
                      <a:pt x="602589" y="153656"/>
                    </a:moveTo>
                    <a:lnTo>
                      <a:pt x="612503" y="47442"/>
                    </a:lnTo>
                    <a:lnTo>
                      <a:pt x="720133" y="160737"/>
                    </a:lnTo>
                    <a:lnTo>
                      <a:pt x="666318" y="163570"/>
                    </a:lnTo>
                    <a:lnTo>
                      <a:pt x="602589" y="153656"/>
                    </a:lnTo>
                    <a:close/>
                    <a:moveTo>
                      <a:pt x="781030" y="385912"/>
                    </a:moveTo>
                    <a:lnTo>
                      <a:pt x="857504" y="272617"/>
                    </a:lnTo>
                    <a:lnTo>
                      <a:pt x="955221" y="370334"/>
                    </a:lnTo>
                    <a:lnTo>
                      <a:pt x="949556" y="373166"/>
                    </a:lnTo>
                    <a:lnTo>
                      <a:pt x="781030" y="385912"/>
                    </a:lnTo>
                    <a:close/>
                    <a:moveTo>
                      <a:pt x="841926" y="509120"/>
                    </a:moveTo>
                    <a:lnTo>
                      <a:pt x="783862" y="500623"/>
                    </a:lnTo>
                    <a:lnTo>
                      <a:pt x="772532" y="397241"/>
                    </a:lnTo>
                    <a:lnTo>
                      <a:pt x="772532" y="397241"/>
                    </a:lnTo>
                    <a:lnTo>
                      <a:pt x="779613" y="387328"/>
                    </a:lnTo>
                    <a:lnTo>
                      <a:pt x="942475" y="374582"/>
                    </a:lnTo>
                    <a:lnTo>
                      <a:pt x="819266" y="428398"/>
                    </a:lnTo>
                    <a:lnTo>
                      <a:pt x="819266" y="428398"/>
                    </a:lnTo>
                    <a:lnTo>
                      <a:pt x="841926" y="509120"/>
                    </a:lnTo>
                    <a:close/>
                    <a:moveTo>
                      <a:pt x="1119499" y="676231"/>
                    </a:moveTo>
                    <a:lnTo>
                      <a:pt x="1122332" y="698890"/>
                    </a:lnTo>
                    <a:lnTo>
                      <a:pt x="1081262" y="943891"/>
                    </a:lnTo>
                    <a:lnTo>
                      <a:pt x="958054" y="909903"/>
                    </a:lnTo>
                    <a:lnTo>
                      <a:pt x="949556" y="881579"/>
                    </a:lnTo>
                    <a:lnTo>
                      <a:pt x="1017533" y="809353"/>
                    </a:lnTo>
                    <a:lnTo>
                      <a:pt x="1017533" y="809353"/>
                    </a:lnTo>
                    <a:lnTo>
                      <a:pt x="1017533" y="809353"/>
                    </a:lnTo>
                    <a:lnTo>
                      <a:pt x="1077013" y="858920"/>
                    </a:lnTo>
                    <a:lnTo>
                      <a:pt x="1077013" y="858920"/>
                    </a:lnTo>
                    <a:lnTo>
                      <a:pt x="1109586" y="553022"/>
                    </a:lnTo>
                    <a:lnTo>
                      <a:pt x="1135078" y="557271"/>
                    </a:lnTo>
                    <a:lnTo>
                      <a:pt x="1144990" y="560103"/>
                    </a:lnTo>
                    <a:lnTo>
                      <a:pt x="1123748" y="684728"/>
                    </a:lnTo>
                    <a:lnTo>
                      <a:pt x="1119499" y="676231"/>
                    </a:lnTo>
                    <a:lnTo>
                      <a:pt x="1119499" y="676231"/>
                    </a:lnTo>
                    <a:close/>
                    <a:moveTo>
                      <a:pt x="833428" y="659237"/>
                    </a:moveTo>
                    <a:lnTo>
                      <a:pt x="833428" y="659237"/>
                    </a:lnTo>
                    <a:lnTo>
                      <a:pt x="802273" y="660653"/>
                    </a:lnTo>
                    <a:lnTo>
                      <a:pt x="798024" y="628080"/>
                    </a:lnTo>
                    <a:lnTo>
                      <a:pt x="898574" y="710220"/>
                    </a:lnTo>
                    <a:lnTo>
                      <a:pt x="946724" y="880163"/>
                    </a:lnTo>
                    <a:lnTo>
                      <a:pt x="946724" y="881579"/>
                    </a:lnTo>
                    <a:lnTo>
                      <a:pt x="874498" y="887243"/>
                    </a:lnTo>
                    <a:lnTo>
                      <a:pt x="834845" y="875914"/>
                    </a:lnTo>
                    <a:lnTo>
                      <a:pt x="905655" y="761203"/>
                    </a:lnTo>
                    <a:lnTo>
                      <a:pt x="905655" y="761203"/>
                    </a:lnTo>
                    <a:lnTo>
                      <a:pt x="833428" y="659237"/>
                    </a:lnTo>
                    <a:close/>
                    <a:moveTo>
                      <a:pt x="75766" y="441143"/>
                    </a:moveTo>
                    <a:lnTo>
                      <a:pt x="138079" y="408571"/>
                    </a:lnTo>
                    <a:lnTo>
                      <a:pt x="143744" y="409987"/>
                    </a:lnTo>
                    <a:lnTo>
                      <a:pt x="147992" y="412820"/>
                    </a:lnTo>
                    <a:lnTo>
                      <a:pt x="136663" y="436895"/>
                    </a:lnTo>
                    <a:lnTo>
                      <a:pt x="129582" y="438311"/>
                    </a:lnTo>
                    <a:lnTo>
                      <a:pt x="75766" y="442560"/>
                    </a:lnTo>
                    <a:lnTo>
                      <a:pt x="75766" y="441143"/>
                    </a:lnTo>
                    <a:close/>
                    <a:moveTo>
                      <a:pt x="459554" y="198975"/>
                    </a:moveTo>
                    <a:lnTo>
                      <a:pt x="459554" y="198975"/>
                    </a:lnTo>
                    <a:lnTo>
                      <a:pt x="514785" y="140911"/>
                    </a:lnTo>
                    <a:lnTo>
                      <a:pt x="582763" y="150824"/>
                    </a:lnTo>
                    <a:lnTo>
                      <a:pt x="579931" y="166402"/>
                    </a:lnTo>
                    <a:lnTo>
                      <a:pt x="526115" y="169235"/>
                    </a:lnTo>
                    <a:lnTo>
                      <a:pt x="460970" y="200391"/>
                    </a:lnTo>
                    <a:lnTo>
                      <a:pt x="443976" y="215969"/>
                    </a:lnTo>
                    <a:lnTo>
                      <a:pt x="323599" y="218801"/>
                    </a:lnTo>
                    <a:lnTo>
                      <a:pt x="395826" y="128165"/>
                    </a:lnTo>
                    <a:lnTo>
                      <a:pt x="402907" y="123917"/>
                    </a:lnTo>
                    <a:lnTo>
                      <a:pt x="459554" y="198975"/>
                    </a:lnTo>
                    <a:close/>
                    <a:moveTo>
                      <a:pt x="558688" y="669150"/>
                    </a:moveTo>
                    <a:lnTo>
                      <a:pt x="558688" y="700306"/>
                    </a:lnTo>
                    <a:lnTo>
                      <a:pt x="544526" y="690393"/>
                    </a:lnTo>
                    <a:lnTo>
                      <a:pt x="502040" y="604005"/>
                    </a:lnTo>
                    <a:lnTo>
                      <a:pt x="574265" y="667734"/>
                    </a:lnTo>
                    <a:lnTo>
                      <a:pt x="558688" y="669150"/>
                    </a:lnTo>
                    <a:lnTo>
                      <a:pt x="558688" y="669150"/>
                    </a:lnTo>
                    <a:close/>
                    <a:moveTo>
                      <a:pt x="230131" y="492126"/>
                    </a:moveTo>
                    <a:lnTo>
                      <a:pt x="211721" y="534612"/>
                    </a:lnTo>
                    <a:lnTo>
                      <a:pt x="173483" y="534612"/>
                    </a:lnTo>
                    <a:lnTo>
                      <a:pt x="228715" y="492126"/>
                    </a:lnTo>
                    <a:lnTo>
                      <a:pt x="230131" y="492126"/>
                    </a:lnTo>
                    <a:close/>
                    <a:moveTo>
                      <a:pt x="169235" y="426981"/>
                    </a:moveTo>
                    <a:lnTo>
                      <a:pt x="139495" y="435479"/>
                    </a:lnTo>
                    <a:lnTo>
                      <a:pt x="149408" y="412820"/>
                    </a:lnTo>
                    <a:lnTo>
                      <a:pt x="169235" y="426981"/>
                    </a:lnTo>
                    <a:close/>
                    <a:moveTo>
                      <a:pt x="150825" y="409987"/>
                    </a:moveTo>
                    <a:lnTo>
                      <a:pt x="150825" y="409987"/>
                    </a:lnTo>
                    <a:lnTo>
                      <a:pt x="147992" y="409987"/>
                    </a:lnTo>
                    <a:lnTo>
                      <a:pt x="150825" y="409987"/>
                    </a:lnTo>
                    <a:close/>
                    <a:moveTo>
                      <a:pt x="697474" y="544525"/>
                    </a:moveTo>
                    <a:lnTo>
                      <a:pt x="693226" y="612503"/>
                    </a:lnTo>
                    <a:lnTo>
                      <a:pt x="633746" y="608254"/>
                    </a:lnTo>
                    <a:lnTo>
                      <a:pt x="683312" y="531780"/>
                    </a:lnTo>
                    <a:lnTo>
                      <a:pt x="697474" y="544525"/>
                    </a:lnTo>
                    <a:close/>
                    <a:moveTo>
                      <a:pt x="402907" y="751289"/>
                    </a:moveTo>
                    <a:lnTo>
                      <a:pt x="247126" y="657820"/>
                    </a:lnTo>
                    <a:lnTo>
                      <a:pt x="237212" y="625248"/>
                    </a:lnTo>
                    <a:lnTo>
                      <a:pt x="237212" y="625248"/>
                    </a:lnTo>
                    <a:lnTo>
                      <a:pt x="237212" y="625248"/>
                    </a:lnTo>
                    <a:lnTo>
                      <a:pt x="235796" y="536028"/>
                    </a:lnTo>
                    <a:lnTo>
                      <a:pt x="320768" y="534612"/>
                    </a:lnTo>
                    <a:lnTo>
                      <a:pt x="367502" y="567184"/>
                    </a:lnTo>
                    <a:lnTo>
                      <a:pt x="323599" y="639410"/>
                    </a:lnTo>
                    <a:lnTo>
                      <a:pt x="323599" y="639410"/>
                    </a:lnTo>
                    <a:lnTo>
                      <a:pt x="411403" y="718717"/>
                    </a:lnTo>
                    <a:lnTo>
                      <a:pt x="402907" y="751289"/>
                    </a:lnTo>
                    <a:lnTo>
                      <a:pt x="402907" y="751289"/>
                    </a:lnTo>
                    <a:close/>
                    <a:moveTo>
                      <a:pt x="228715" y="629497"/>
                    </a:moveTo>
                    <a:lnTo>
                      <a:pt x="220218" y="640826"/>
                    </a:lnTo>
                    <a:lnTo>
                      <a:pt x="213137" y="636578"/>
                    </a:lnTo>
                    <a:lnTo>
                      <a:pt x="228715" y="629497"/>
                    </a:lnTo>
                    <a:close/>
                    <a:moveTo>
                      <a:pt x="153656" y="400074"/>
                    </a:moveTo>
                    <a:lnTo>
                      <a:pt x="150825" y="407155"/>
                    </a:lnTo>
                    <a:lnTo>
                      <a:pt x="145160" y="405739"/>
                    </a:lnTo>
                    <a:lnTo>
                      <a:pt x="143744" y="404322"/>
                    </a:lnTo>
                    <a:lnTo>
                      <a:pt x="153656" y="400074"/>
                    </a:lnTo>
                    <a:close/>
                    <a:moveTo>
                      <a:pt x="152241" y="409987"/>
                    </a:moveTo>
                    <a:lnTo>
                      <a:pt x="203223" y="417068"/>
                    </a:lnTo>
                    <a:lnTo>
                      <a:pt x="172068" y="425565"/>
                    </a:lnTo>
                    <a:lnTo>
                      <a:pt x="152241" y="409987"/>
                    </a:lnTo>
                    <a:lnTo>
                      <a:pt x="152241" y="409987"/>
                    </a:lnTo>
                    <a:close/>
                    <a:moveTo>
                      <a:pt x="771116" y="391577"/>
                    </a:moveTo>
                    <a:lnTo>
                      <a:pt x="771116" y="391577"/>
                    </a:lnTo>
                    <a:lnTo>
                      <a:pt x="771116" y="391577"/>
                    </a:lnTo>
                    <a:lnTo>
                      <a:pt x="768284" y="388744"/>
                    </a:lnTo>
                    <a:lnTo>
                      <a:pt x="776781" y="388744"/>
                    </a:lnTo>
                    <a:lnTo>
                      <a:pt x="772532" y="395825"/>
                    </a:lnTo>
                    <a:lnTo>
                      <a:pt x="772532" y="394409"/>
                    </a:lnTo>
                    <a:lnTo>
                      <a:pt x="771116" y="391577"/>
                    </a:lnTo>
                    <a:close/>
                    <a:moveTo>
                      <a:pt x="710220" y="490710"/>
                    </a:moveTo>
                    <a:lnTo>
                      <a:pt x="771116" y="397241"/>
                    </a:lnTo>
                    <a:lnTo>
                      <a:pt x="783862" y="500623"/>
                    </a:lnTo>
                    <a:lnTo>
                      <a:pt x="710220" y="490710"/>
                    </a:lnTo>
                    <a:close/>
                    <a:moveTo>
                      <a:pt x="739960" y="528947"/>
                    </a:moveTo>
                    <a:lnTo>
                      <a:pt x="785278" y="528947"/>
                    </a:lnTo>
                    <a:lnTo>
                      <a:pt x="789527" y="564352"/>
                    </a:lnTo>
                    <a:lnTo>
                      <a:pt x="739960" y="528947"/>
                    </a:lnTo>
                    <a:close/>
                    <a:moveTo>
                      <a:pt x="698890" y="528947"/>
                    </a:moveTo>
                    <a:lnTo>
                      <a:pt x="697474" y="541693"/>
                    </a:lnTo>
                    <a:lnTo>
                      <a:pt x="683312" y="530363"/>
                    </a:lnTo>
                    <a:lnTo>
                      <a:pt x="683312" y="528947"/>
                    </a:lnTo>
                    <a:lnTo>
                      <a:pt x="698890" y="528947"/>
                    </a:lnTo>
                    <a:close/>
                    <a:moveTo>
                      <a:pt x="686145" y="527531"/>
                    </a:moveTo>
                    <a:lnTo>
                      <a:pt x="700307" y="504872"/>
                    </a:lnTo>
                    <a:lnTo>
                      <a:pt x="698890" y="527531"/>
                    </a:lnTo>
                    <a:lnTo>
                      <a:pt x="686145" y="527531"/>
                    </a:lnTo>
                    <a:close/>
                    <a:moveTo>
                      <a:pt x="646492" y="275449"/>
                    </a:moveTo>
                    <a:lnTo>
                      <a:pt x="667735" y="245709"/>
                    </a:lnTo>
                    <a:lnTo>
                      <a:pt x="683312" y="266952"/>
                    </a:lnTo>
                    <a:lnTo>
                      <a:pt x="646492" y="275449"/>
                    </a:lnTo>
                    <a:close/>
                    <a:moveTo>
                      <a:pt x="732879" y="526115"/>
                    </a:moveTo>
                    <a:lnTo>
                      <a:pt x="700307" y="526115"/>
                    </a:lnTo>
                    <a:lnTo>
                      <a:pt x="701723" y="504872"/>
                    </a:lnTo>
                    <a:lnTo>
                      <a:pt x="732879" y="526115"/>
                    </a:lnTo>
                    <a:close/>
                    <a:moveTo>
                      <a:pt x="705971" y="492126"/>
                    </a:moveTo>
                    <a:lnTo>
                      <a:pt x="683312" y="527531"/>
                    </a:lnTo>
                    <a:lnTo>
                      <a:pt x="680480" y="527531"/>
                    </a:lnTo>
                    <a:lnTo>
                      <a:pt x="622416" y="479380"/>
                    </a:lnTo>
                    <a:lnTo>
                      <a:pt x="705971" y="492126"/>
                    </a:lnTo>
                    <a:close/>
                    <a:moveTo>
                      <a:pt x="588427" y="313686"/>
                    </a:moveTo>
                    <a:lnTo>
                      <a:pt x="623832" y="303773"/>
                    </a:lnTo>
                    <a:lnTo>
                      <a:pt x="584179" y="357588"/>
                    </a:lnTo>
                    <a:lnTo>
                      <a:pt x="588427" y="313686"/>
                    </a:lnTo>
                    <a:close/>
                    <a:moveTo>
                      <a:pt x="625249" y="300941"/>
                    </a:moveTo>
                    <a:lnTo>
                      <a:pt x="588427" y="310854"/>
                    </a:lnTo>
                    <a:lnTo>
                      <a:pt x="589844" y="289611"/>
                    </a:lnTo>
                    <a:lnTo>
                      <a:pt x="640827" y="278281"/>
                    </a:lnTo>
                    <a:lnTo>
                      <a:pt x="625249" y="300941"/>
                    </a:lnTo>
                    <a:close/>
                    <a:moveTo>
                      <a:pt x="547358" y="322183"/>
                    </a:moveTo>
                    <a:lnTo>
                      <a:pt x="553023" y="296692"/>
                    </a:lnTo>
                    <a:lnTo>
                      <a:pt x="588427" y="289611"/>
                    </a:lnTo>
                    <a:lnTo>
                      <a:pt x="587012" y="310854"/>
                    </a:lnTo>
                    <a:lnTo>
                      <a:pt x="547358" y="322183"/>
                    </a:lnTo>
                    <a:close/>
                    <a:moveTo>
                      <a:pt x="339178" y="421317"/>
                    </a:moveTo>
                    <a:lnTo>
                      <a:pt x="334930" y="412820"/>
                    </a:lnTo>
                    <a:lnTo>
                      <a:pt x="349092" y="421317"/>
                    </a:lnTo>
                    <a:lnTo>
                      <a:pt x="339178" y="421317"/>
                    </a:lnTo>
                    <a:close/>
                    <a:moveTo>
                      <a:pt x="340594" y="424149"/>
                    </a:moveTo>
                    <a:lnTo>
                      <a:pt x="353340" y="422733"/>
                    </a:lnTo>
                    <a:lnTo>
                      <a:pt x="388745" y="442560"/>
                    </a:lnTo>
                    <a:lnTo>
                      <a:pt x="347675" y="436895"/>
                    </a:lnTo>
                    <a:lnTo>
                      <a:pt x="340594" y="424149"/>
                    </a:lnTo>
                    <a:close/>
                    <a:moveTo>
                      <a:pt x="442560" y="452473"/>
                    </a:moveTo>
                    <a:lnTo>
                      <a:pt x="514785" y="462386"/>
                    </a:lnTo>
                    <a:lnTo>
                      <a:pt x="504873" y="506288"/>
                    </a:lnTo>
                    <a:lnTo>
                      <a:pt x="442560" y="452473"/>
                    </a:lnTo>
                    <a:close/>
                    <a:moveTo>
                      <a:pt x="429814" y="465218"/>
                    </a:moveTo>
                    <a:lnTo>
                      <a:pt x="397242" y="446808"/>
                    </a:lnTo>
                    <a:lnTo>
                      <a:pt x="436895" y="452473"/>
                    </a:lnTo>
                    <a:lnTo>
                      <a:pt x="429814" y="465218"/>
                    </a:lnTo>
                    <a:close/>
                    <a:moveTo>
                      <a:pt x="431230" y="466635"/>
                    </a:moveTo>
                    <a:lnTo>
                      <a:pt x="439727" y="453889"/>
                    </a:lnTo>
                    <a:lnTo>
                      <a:pt x="502040" y="507704"/>
                    </a:lnTo>
                    <a:lnTo>
                      <a:pt x="431230" y="466635"/>
                    </a:lnTo>
                    <a:close/>
                    <a:moveTo>
                      <a:pt x="465219" y="411403"/>
                    </a:moveTo>
                    <a:lnTo>
                      <a:pt x="489294" y="373166"/>
                    </a:lnTo>
                    <a:lnTo>
                      <a:pt x="527531" y="404322"/>
                    </a:lnTo>
                    <a:lnTo>
                      <a:pt x="527531" y="405739"/>
                    </a:lnTo>
                    <a:lnTo>
                      <a:pt x="465219" y="411403"/>
                    </a:lnTo>
                    <a:close/>
                    <a:moveTo>
                      <a:pt x="438311" y="451056"/>
                    </a:moveTo>
                    <a:lnTo>
                      <a:pt x="401490" y="418484"/>
                    </a:lnTo>
                    <a:lnTo>
                      <a:pt x="460970" y="414236"/>
                    </a:lnTo>
                    <a:lnTo>
                      <a:pt x="438311" y="451056"/>
                    </a:lnTo>
                    <a:close/>
                    <a:moveTo>
                      <a:pt x="435479" y="449641"/>
                    </a:moveTo>
                    <a:lnTo>
                      <a:pt x="392993" y="443975"/>
                    </a:lnTo>
                    <a:lnTo>
                      <a:pt x="356172" y="422733"/>
                    </a:lnTo>
                    <a:lnTo>
                      <a:pt x="398658" y="419901"/>
                    </a:lnTo>
                    <a:lnTo>
                      <a:pt x="435479" y="449641"/>
                    </a:lnTo>
                    <a:close/>
                    <a:moveTo>
                      <a:pt x="392993" y="445392"/>
                    </a:moveTo>
                    <a:lnTo>
                      <a:pt x="429814" y="466635"/>
                    </a:lnTo>
                    <a:lnTo>
                      <a:pt x="390161" y="531780"/>
                    </a:lnTo>
                    <a:lnTo>
                      <a:pt x="390161" y="531780"/>
                    </a:lnTo>
                    <a:lnTo>
                      <a:pt x="349092" y="439727"/>
                    </a:lnTo>
                    <a:lnTo>
                      <a:pt x="392993" y="445392"/>
                    </a:lnTo>
                    <a:close/>
                    <a:moveTo>
                      <a:pt x="431230" y="468051"/>
                    </a:moveTo>
                    <a:lnTo>
                      <a:pt x="506288" y="511953"/>
                    </a:lnTo>
                    <a:lnTo>
                      <a:pt x="504873" y="530363"/>
                    </a:lnTo>
                    <a:lnTo>
                      <a:pt x="392993" y="531780"/>
                    </a:lnTo>
                    <a:lnTo>
                      <a:pt x="431230" y="468051"/>
                    </a:lnTo>
                    <a:close/>
                    <a:moveTo>
                      <a:pt x="441144" y="451056"/>
                    </a:moveTo>
                    <a:lnTo>
                      <a:pt x="463803" y="414236"/>
                    </a:lnTo>
                    <a:lnTo>
                      <a:pt x="526115" y="408571"/>
                    </a:lnTo>
                    <a:lnTo>
                      <a:pt x="514785" y="460970"/>
                    </a:lnTo>
                    <a:lnTo>
                      <a:pt x="441144" y="451056"/>
                    </a:lnTo>
                    <a:close/>
                    <a:moveTo>
                      <a:pt x="285363" y="428398"/>
                    </a:moveTo>
                    <a:lnTo>
                      <a:pt x="339178" y="424149"/>
                    </a:lnTo>
                    <a:lnTo>
                      <a:pt x="344842" y="436895"/>
                    </a:lnTo>
                    <a:lnTo>
                      <a:pt x="285363" y="428398"/>
                    </a:lnTo>
                    <a:close/>
                    <a:moveTo>
                      <a:pt x="516202" y="462386"/>
                    </a:moveTo>
                    <a:lnTo>
                      <a:pt x="528947" y="408571"/>
                    </a:lnTo>
                    <a:lnTo>
                      <a:pt x="531780" y="408571"/>
                    </a:lnTo>
                    <a:lnTo>
                      <a:pt x="615335" y="476548"/>
                    </a:lnTo>
                    <a:lnTo>
                      <a:pt x="516202" y="462386"/>
                    </a:lnTo>
                    <a:close/>
                    <a:moveTo>
                      <a:pt x="528947" y="405739"/>
                    </a:moveTo>
                    <a:lnTo>
                      <a:pt x="528947" y="405739"/>
                    </a:lnTo>
                    <a:lnTo>
                      <a:pt x="528947" y="405739"/>
                    </a:lnTo>
                    <a:lnTo>
                      <a:pt x="528947" y="405739"/>
                    </a:lnTo>
                    <a:close/>
                    <a:moveTo>
                      <a:pt x="544526" y="325016"/>
                    </a:moveTo>
                    <a:lnTo>
                      <a:pt x="527531" y="401490"/>
                    </a:lnTo>
                    <a:lnTo>
                      <a:pt x="487878" y="368918"/>
                    </a:lnTo>
                    <a:lnTo>
                      <a:pt x="487878" y="368918"/>
                    </a:lnTo>
                    <a:lnTo>
                      <a:pt x="462387" y="411403"/>
                    </a:lnTo>
                    <a:lnTo>
                      <a:pt x="400074" y="417068"/>
                    </a:lnTo>
                    <a:lnTo>
                      <a:pt x="356172" y="378831"/>
                    </a:lnTo>
                    <a:lnTo>
                      <a:pt x="544526" y="325016"/>
                    </a:lnTo>
                    <a:close/>
                    <a:moveTo>
                      <a:pt x="506288" y="530363"/>
                    </a:moveTo>
                    <a:lnTo>
                      <a:pt x="507704" y="511953"/>
                    </a:lnTo>
                    <a:lnTo>
                      <a:pt x="507704" y="511953"/>
                    </a:lnTo>
                    <a:lnTo>
                      <a:pt x="506288" y="510537"/>
                    </a:lnTo>
                    <a:lnTo>
                      <a:pt x="516202" y="463803"/>
                    </a:lnTo>
                    <a:lnTo>
                      <a:pt x="618168" y="479380"/>
                    </a:lnTo>
                    <a:lnTo>
                      <a:pt x="677647" y="527531"/>
                    </a:lnTo>
                    <a:lnTo>
                      <a:pt x="506288" y="530363"/>
                    </a:lnTo>
                    <a:close/>
                    <a:moveTo>
                      <a:pt x="387328" y="533196"/>
                    </a:moveTo>
                    <a:lnTo>
                      <a:pt x="387328" y="533196"/>
                    </a:lnTo>
                    <a:lnTo>
                      <a:pt x="367502" y="565768"/>
                    </a:lnTo>
                    <a:lnTo>
                      <a:pt x="323599" y="534612"/>
                    </a:lnTo>
                    <a:lnTo>
                      <a:pt x="387328" y="533196"/>
                    </a:lnTo>
                    <a:close/>
                    <a:moveTo>
                      <a:pt x="353340" y="419901"/>
                    </a:moveTo>
                    <a:lnTo>
                      <a:pt x="332097" y="407155"/>
                    </a:lnTo>
                    <a:lnTo>
                      <a:pt x="332097" y="407155"/>
                    </a:lnTo>
                    <a:lnTo>
                      <a:pt x="339178" y="421317"/>
                    </a:lnTo>
                    <a:lnTo>
                      <a:pt x="276865" y="426981"/>
                    </a:lnTo>
                    <a:lnTo>
                      <a:pt x="214553" y="418484"/>
                    </a:lnTo>
                    <a:lnTo>
                      <a:pt x="354756" y="380247"/>
                    </a:lnTo>
                    <a:lnTo>
                      <a:pt x="398658" y="418484"/>
                    </a:lnTo>
                    <a:lnTo>
                      <a:pt x="353340" y="419901"/>
                    </a:lnTo>
                    <a:close/>
                    <a:moveTo>
                      <a:pt x="618168" y="476548"/>
                    </a:moveTo>
                    <a:lnTo>
                      <a:pt x="534612" y="407155"/>
                    </a:lnTo>
                    <a:lnTo>
                      <a:pt x="765451" y="388744"/>
                    </a:lnTo>
                    <a:lnTo>
                      <a:pt x="768284" y="394409"/>
                    </a:lnTo>
                    <a:lnTo>
                      <a:pt x="705971" y="490710"/>
                    </a:lnTo>
                    <a:lnTo>
                      <a:pt x="618168" y="476548"/>
                    </a:lnTo>
                    <a:close/>
                    <a:moveTo>
                      <a:pt x="531780" y="405739"/>
                    </a:moveTo>
                    <a:lnTo>
                      <a:pt x="528947" y="402906"/>
                    </a:lnTo>
                    <a:lnTo>
                      <a:pt x="545942" y="323599"/>
                    </a:lnTo>
                    <a:lnTo>
                      <a:pt x="584179" y="312270"/>
                    </a:lnTo>
                    <a:lnTo>
                      <a:pt x="579931" y="363253"/>
                    </a:lnTo>
                    <a:lnTo>
                      <a:pt x="625249" y="300941"/>
                    </a:lnTo>
                    <a:lnTo>
                      <a:pt x="691809" y="282530"/>
                    </a:lnTo>
                    <a:lnTo>
                      <a:pt x="762619" y="385912"/>
                    </a:lnTo>
                    <a:lnTo>
                      <a:pt x="531780" y="405739"/>
                    </a:lnTo>
                    <a:close/>
                    <a:moveTo>
                      <a:pt x="629497" y="299524"/>
                    </a:moveTo>
                    <a:lnTo>
                      <a:pt x="645075" y="278281"/>
                    </a:lnTo>
                    <a:lnTo>
                      <a:pt x="684728" y="269784"/>
                    </a:lnTo>
                    <a:lnTo>
                      <a:pt x="693226" y="282530"/>
                    </a:lnTo>
                    <a:lnTo>
                      <a:pt x="629497" y="299524"/>
                    </a:lnTo>
                    <a:close/>
                    <a:moveTo>
                      <a:pt x="588427" y="288194"/>
                    </a:moveTo>
                    <a:lnTo>
                      <a:pt x="554439" y="295275"/>
                    </a:lnTo>
                    <a:lnTo>
                      <a:pt x="571433" y="217385"/>
                    </a:lnTo>
                    <a:lnTo>
                      <a:pt x="595508" y="217385"/>
                    </a:lnTo>
                    <a:lnTo>
                      <a:pt x="588427" y="288194"/>
                    </a:lnTo>
                    <a:close/>
                    <a:moveTo>
                      <a:pt x="463803" y="203223"/>
                    </a:moveTo>
                    <a:lnTo>
                      <a:pt x="527531" y="172067"/>
                    </a:lnTo>
                    <a:lnTo>
                      <a:pt x="579931" y="169235"/>
                    </a:lnTo>
                    <a:lnTo>
                      <a:pt x="570017" y="214553"/>
                    </a:lnTo>
                    <a:lnTo>
                      <a:pt x="449641" y="217385"/>
                    </a:lnTo>
                    <a:lnTo>
                      <a:pt x="463803" y="203223"/>
                    </a:lnTo>
                    <a:close/>
                    <a:moveTo>
                      <a:pt x="568601" y="217385"/>
                    </a:moveTo>
                    <a:lnTo>
                      <a:pt x="551607" y="295275"/>
                    </a:lnTo>
                    <a:lnTo>
                      <a:pt x="319351" y="343426"/>
                    </a:lnTo>
                    <a:lnTo>
                      <a:pt x="446808" y="220218"/>
                    </a:lnTo>
                    <a:lnTo>
                      <a:pt x="568601" y="217385"/>
                    </a:lnTo>
                    <a:close/>
                    <a:moveTo>
                      <a:pt x="545942" y="323599"/>
                    </a:moveTo>
                    <a:lnTo>
                      <a:pt x="354756" y="375999"/>
                    </a:lnTo>
                    <a:lnTo>
                      <a:pt x="320768" y="346258"/>
                    </a:lnTo>
                    <a:lnTo>
                      <a:pt x="551607" y="298108"/>
                    </a:lnTo>
                    <a:lnTo>
                      <a:pt x="545942" y="323599"/>
                    </a:lnTo>
                    <a:close/>
                    <a:moveTo>
                      <a:pt x="174899" y="428398"/>
                    </a:moveTo>
                    <a:lnTo>
                      <a:pt x="208888" y="418484"/>
                    </a:lnTo>
                    <a:lnTo>
                      <a:pt x="266952" y="426981"/>
                    </a:lnTo>
                    <a:lnTo>
                      <a:pt x="183397" y="434062"/>
                    </a:lnTo>
                    <a:lnTo>
                      <a:pt x="174899" y="428398"/>
                    </a:lnTo>
                    <a:close/>
                    <a:moveTo>
                      <a:pt x="275449" y="428398"/>
                    </a:moveTo>
                    <a:lnTo>
                      <a:pt x="344842" y="438311"/>
                    </a:lnTo>
                    <a:lnTo>
                      <a:pt x="385912" y="531780"/>
                    </a:lnTo>
                    <a:lnTo>
                      <a:pt x="320768" y="533196"/>
                    </a:lnTo>
                    <a:lnTo>
                      <a:pt x="184813" y="436895"/>
                    </a:lnTo>
                    <a:lnTo>
                      <a:pt x="275449" y="428398"/>
                    </a:lnTo>
                    <a:close/>
                    <a:moveTo>
                      <a:pt x="370334" y="567184"/>
                    </a:moveTo>
                    <a:lnTo>
                      <a:pt x="388745" y="536028"/>
                    </a:lnTo>
                    <a:lnTo>
                      <a:pt x="418484" y="601173"/>
                    </a:lnTo>
                    <a:lnTo>
                      <a:pt x="370334" y="567184"/>
                    </a:lnTo>
                    <a:close/>
                    <a:moveTo>
                      <a:pt x="390161" y="534612"/>
                    </a:moveTo>
                    <a:lnTo>
                      <a:pt x="390161" y="534612"/>
                    </a:lnTo>
                    <a:lnTo>
                      <a:pt x="503456" y="533196"/>
                    </a:lnTo>
                    <a:lnTo>
                      <a:pt x="499207" y="599756"/>
                    </a:lnTo>
                    <a:lnTo>
                      <a:pt x="496375" y="599756"/>
                    </a:lnTo>
                    <a:lnTo>
                      <a:pt x="496375" y="599756"/>
                    </a:lnTo>
                    <a:lnTo>
                      <a:pt x="499207" y="602589"/>
                    </a:lnTo>
                    <a:lnTo>
                      <a:pt x="499207" y="604005"/>
                    </a:lnTo>
                    <a:lnTo>
                      <a:pt x="499207" y="604005"/>
                    </a:lnTo>
                    <a:lnTo>
                      <a:pt x="541693" y="690393"/>
                    </a:lnTo>
                    <a:lnTo>
                      <a:pt x="421317" y="605422"/>
                    </a:lnTo>
                    <a:lnTo>
                      <a:pt x="390161" y="534612"/>
                    </a:lnTo>
                    <a:close/>
                    <a:moveTo>
                      <a:pt x="502040" y="598341"/>
                    </a:moveTo>
                    <a:lnTo>
                      <a:pt x="506288" y="531780"/>
                    </a:lnTo>
                    <a:lnTo>
                      <a:pt x="680480" y="528947"/>
                    </a:lnTo>
                    <a:lnTo>
                      <a:pt x="681897" y="530363"/>
                    </a:lnTo>
                    <a:lnTo>
                      <a:pt x="630913" y="608254"/>
                    </a:lnTo>
                    <a:lnTo>
                      <a:pt x="502040" y="598341"/>
                    </a:lnTo>
                    <a:close/>
                    <a:moveTo>
                      <a:pt x="700307" y="528947"/>
                    </a:moveTo>
                    <a:lnTo>
                      <a:pt x="735712" y="528947"/>
                    </a:lnTo>
                    <a:lnTo>
                      <a:pt x="789527" y="565768"/>
                    </a:lnTo>
                    <a:lnTo>
                      <a:pt x="795192" y="620999"/>
                    </a:lnTo>
                    <a:lnTo>
                      <a:pt x="792359" y="620999"/>
                    </a:lnTo>
                    <a:lnTo>
                      <a:pt x="698890" y="544525"/>
                    </a:lnTo>
                    <a:lnTo>
                      <a:pt x="700307" y="528947"/>
                    </a:lnTo>
                    <a:close/>
                    <a:moveTo>
                      <a:pt x="737127" y="526115"/>
                    </a:moveTo>
                    <a:lnTo>
                      <a:pt x="701723" y="502039"/>
                    </a:lnTo>
                    <a:lnTo>
                      <a:pt x="708804" y="492126"/>
                    </a:lnTo>
                    <a:lnTo>
                      <a:pt x="782446" y="503456"/>
                    </a:lnTo>
                    <a:lnTo>
                      <a:pt x="785278" y="526115"/>
                    </a:lnTo>
                    <a:lnTo>
                      <a:pt x="737127" y="526115"/>
                    </a:lnTo>
                    <a:close/>
                    <a:moveTo>
                      <a:pt x="235796" y="625248"/>
                    </a:moveTo>
                    <a:lnTo>
                      <a:pt x="235796" y="625248"/>
                    </a:lnTo>
                    <a:lnTo>
                      <a:pt x="235796" y="625248"/>
                    </a:lnTo>
                    <a:lnTo>
                      <a:pt x="235796" y="625248"/>
                    </a:lnTo>
                    <a:close/>
                    <a:moveTo>
                      <a:pt x="235796" y="626664"/>
                    </a:moveTo>
                    <a:lnTo>
                      <a:pt x="244293" y="656404"/>
                    </a:lnTo>
                    <a:lnTo>
                      <a:pt x="221634" y="642242"/>
                    </a:lnTo>
                    <a:lnTo>
                      <a:pt x="231547" y="628080"/>
                    </a:lnTo>
                    <a:lnTo>
                      <a:pt x="235796" y="626664"/>
                    </a:lnTo>
                    <a:close/>
                    <a:moveTo>
                      <a:pt x="326432" y="639410"/>
                    </a:moveTo>
                    <a:lnTo>
                      <a:pt x="368918" y="570017"/>
                    </a:lnTo>
                    <a:lnTo>
                      <a:pt x="419901" y="605422"/>
                    </a:lnTo>
                    <a:lnTo>
                      <a:pt x="431230" y="630913"/>
                    </a:lnTo>
                    <a:lnTo>
                      <a:pt x="411403" y="717301"/>
                    </a:lnTo>
                    <a:lnTo>
                      <a:pt x="326432" y="639410"/>
                    </a:lnTo>
                    <a:close/>
                    <a:moveTo>
                      <a:pt x="502040" y="601173"/>
                    </a:moveTo>
                    <a:lnTo>
                      <a:pt x="629497" y="611086"/>
                    </a:lnTo>
                    <a:lnTo>
                      <a:pt x="592676" y="669150"/>
                    </a:lnTo>
                    <a:lnTo>
                      <a:pt x="578514" y="669150"/>
                    </a:lnTo>
                    <a:lnTo>
                      <a:pt x="502040" y="601173"/>
                    </a:lnTo>
                    <a:close/>
                    <a:moveTo>
                      <a:pt x="681897" y="528947"/>
                    </a:moveTo>
                    <a:lnTo>
                      <a:pt x="681897" y="528947"/>
                    </a:lnTo>
                    <a:lnTo>
                      <a:pt x="681897" y="528947"/>
                    </a:lnTo>
                    <a:lnTo>
                      <a:pt x="681897" y="528947"/>
                    </a:lnTo>
                    <a:close/>
                    <a:moveTo>
                      <a:pt x="829180" y="592676"/>
                    </a:moveTo>
                    <a:lnTo>
                      <a:pt x="829180" y="592676"/>
                    </a:lnTo>
                    <a:lnTo>
                      <a:pt x="861752" y="575682"/>
                    </a:lnTo>
                    <a:lnTo>
                      <a:pt x="875914" y="625248"/>
                    </a:lnTo>
                    <a:lnTo>
                      <a:pt x="798024" y="619584"/>
                    </a:lnTo>
                    <a:lnTo>
                      <a:pt x="792359" y="565768"/>
                    </a:lnTo>
                    <a:lnTo>
                      <a:pt x="829180" y="592676"/>
                    </a:lnTo>
                    <a:close/>
                    <a:moveTo>
                      <a:pt x="829180" y="591260"/>
                    </a:moveTo>
                    <a:lnTo>
                      <a:pt x="790943" y="565768"/>
                    </a:lnTo>
                    <a:lnTo>
                      <a:pt x="786694" y="528947"/>
                    </a:lnTo>
                    <a:lnTo>
                      <a:pt x="846174" y="527531"/>
                    </a:lnTo>
                    <a:lnTo>
                      <a:pt x="860336" y="574265"/>
                    </a:lnTo>
                    <a:lnTo>
                      <a:pt x="829180" y="591260"/>
                    </a:lnTo>
                    <a:close/>
                    <a:moveTo>
                      <a:pt x="686145" y="269784"/>
                    </a:moveTo>
                    <a:lnTo>
                      <a:pt x="890076" y="227298"/>
                    </a:lnTo>
                    <a:lnTo>
                      <a:pt x="694642" y="281114"/>
                    </a:lnTo>
                    <a:lnTo>
                      <a:pt x="686145" y="269784"/>
                    </a:lnTo>
                    <a:close/>
                    <a:moveTo>
                      <a:pt x="571433" y="215969"/>
                    </a:moveTo>
                    <a:lnTo>
                      <a:pt x="581346" y="170651"/>
                    </a:lnTo>
                    <a:lnTo>
                      <a:pt x="598341" y="169235"/>
                    </a:lnTo>
                    <a:lnTo>
                      <a:pt x="594092" y="215969"/>
                    </a:lnTo>
                    <a:lnTo>
                      <a:pt x="571433" y="215969"/>
                    </a:lnTo>
                    <a:close/>
                    <a:moveTo>
                      <a:pt x="232964" y="490710"/>
                    </a:moveTo>
                    <a:lnTo>
                      <a:pt x="234380" y="534612"/>
                    </a:lnTo>
                    <a:lnTo>
                      <a:pt x="213137" y="534612"/>
                    </a:lnTo>
                    <a:lnTo>
                      <a:pt x="232964" y="490710"/>
                    </a:lnTo>
                    <a:lnTo>
                      <a:pt x="232964" y="490710"/>
                    </a:lnTo>
                    <a:close/>
                    <a:moveTo>
                      <a:pt x="405739" y="751289"/>
                    </a:moveTo>
                    <a:lnTo>
                      <a:pt x="412820" y="721549"/>
                    </a:lnTo>
                    <a:lnTo>
                      <a:pt x="438311" y="745624"/>
                    </a:lnTo>
                    <a:lnTo>
                      <a:pt x="405739" y="751289"/>
                    </a:lnTo>
                    <a:close/>
                    <a:moveTo>
                      <a:pt x="789527" y="619584"/>
                    </a:moveTo>
                    <a:lnTo>
                      <a:pt x="694642" y="612503"/>
                    </a:lnTo>
                    <a:lnTo>
                      <a:pt x="698890" y="545941"/>
                    </a:lnTo>
                    <a:lnTo>
                      <a:pt x="789527" y="619584"/>
                    </a:lnTo>
                    <a:close/>
                    <a:moveTo>
                      <a:pt x="796608" y="622416"/>
                    </a:moveTo>
                    <a:lnTo>
                      <a:pt x="796608" y="622416"/>
                    </a:lnTo>
                    <a:lnTo>
                      <a:pt x="796608" y="622416"/>
                    </a:lnTo>
                    <a:lnTo>
                      <a:pt x="796608" y="622416"/>
                    </a:lnTo>
                    <a:close/>
                    <a:moveTo>
                      <a:pt x="901406" y="708803"/>
                    </a:moveTo>
                    <a:lnTo>
                      <a:pt x="878747" y="628080"/>
                    </a:lnTo>
                    <a:lnTo>
                      <a:pt x="963718" y="633745"/>
                    </a:lnTo>
                    <a:lnTo>
                      <a:pt x="963718" y="633745"/>
                    </a:lnTo>
                    <a:lnTo>
                      <a:pt x="963718" y="632329"/>
                    </a:lnTo>
                    <a:lnTo>
                      <a:pt x="963718" y="635161"/>
                    </a:lnTo>
                    <a:lnTo>
                      <a:pt x="963718" y="635161"/>
                    </a:lnTo>
                    <a:lnTo>
                      <a:pt x="1013285" y="800856"/>
                    </a:lnTo>
                    <a:lnTo>
                      <a:pt x="901406" y="708803"/>
                    </a:lnTo>
                    <a:close/>
                    <a:moveTo>
                      <a:pt x="1016117" y="803688"/>
                    </a:moveTo>
                    <a:lnTo>
                      <a:pt x="965135" y="635161"/>
                    </a:lnTo>
                    <a:lnTo>
                      <a:pt x="966551" y="629497"/>
                    </a:lnTo>
                    <a:lnTo>
                      <a:pt x="1035944" y="540277"/>
                    </a:lnTo>
                    <a:lnTo>
                      <a:pt x="1108170" y="550190"/>
                    </a:lnTo>
                    <a:lnTo>
                      <a:pt x="1075598" y="853255"/>
                    </a:lnTo>
                    <a:lnTo>
                      <a:pt x="1016117" y="803688"/>
                    </a:lnTo>
                    <a:close/>
                    <a:moveTo>
                      <a:pt x="1035944" y="537444"/>
                    </a:moveTo>
                    <a:lnTo>
                      <a:pt x="1027447" y="536028"/>
                    </a:lnTo>
                    <a:lnTo>
                      <a:pt x="1041609" y="530363"/>
                    </a:lnTo>
                    <a:lnTo>
                      <a:pt x="1035944" y="537444"/>
                    </a:lnTo>
                    <a:close/>
                    <a:moveTo>
                      <a:pt x="1034528" y="540277"/>
                    </a:moveTo>
                    <a:lnTo>
                      <a:pt x="969383" y="625248"/>
                    </a:lnTo>
                    <a:lnTo>
                      <a:pt x="987794" y="555855"/>
                    </a:lnTo>
                    <a:lnTo>
                      <a:pt x="1024614" y="538860"/>
                    </a:lnTo>
                    <a:lnTo>
                      <a:pt x="1034528" y="540277"/>
                    </a:lnTo>
                    <a:close/>
                    <a:moveTo>
                      <a:pt x="875914" y="628080"/>
                    </a:moveTo>
                    <a:lnTo>
                      <a:pt x="898574" y="707387"/>
                    </a:lnTo>
                    <a:lnTo>
                      <a:pt x="798024" y="625248"/>
                    </a:lnTo>
                    <a:lnTo>
                      <a:pt x="798024" y="622416"/>
                    </a:lnTo>
                    <a:lnTo>
                      <a:pt x="875914" y="628080"/>
                    </a:lnTo>
                    <a:close/>
                    <a:moveTo>
                      <a:pt x="1014701" y="805104"/>
                    </a:moveTo>
                    <a:lnTo>
                      <a:pt x="1016117" y="807937"/>
                    </a:lnTo>
                    <a:lnTo>
                      <a:pt x="949556" y="878746"/>
                    </a:lnTo>
                    <a:lnTo>
                      <a:pt x="902822" y="713052"/>
                    </a:lnTo>
                    <a:lnTo>
                      <a:pt x="1014701" y="805104"/>
                    </a:lnTo>
                    <a:close/>
                    <a:moveTo>
                      <a:pt x="684728" y="268368"/>
                    </a:moveTo>
                    <a:lnTo>
                      <a:pt x="667735" y="244293"/>
                    </a:lnTo>
                    <a:lnTo>
                      <a:pt x="667735" y="244293"/>
                    </a:lnTo>
                    <a:lnTo>
                      <a:pt x="643659" y="276865"/>
                    </a:lnTo>
                    <a:lnTo>
                      <a:pt x="591260" y="288194"/>
                    </a:lnTo>
                    <a:lnTo>
                      <a:pt x="596925" y="217385"/>
                    </a:lnTo>
                    <a:lnTo>
                      <a:pt x="952389" y="210304"/>
                    </a:lnTo>
                    <a:lnTo>
                      <a:pt x="919817" y="218801"/>
                    </a:lnTo>
                    <a:lnTo>
                      <a:pt x="684728" y="268368"/>
                    </a:lnTo>
                    <a:close/>
                    <a:moveTo>
                      <a:pt x="140911" y="407155"/>
                    </a:moveTo>
                    <a:lnTo>
                      <a:pt x="140911" y="407155"/>
                    </a:lnTo>
                    <a:lnTo>
                      <a:pt x="140911" y="407155"/>
                    </a:lnTo>
                    <a:lnTo>
                      <a:pt x="140911" y="407155"/>
                    </a:lnTo>
                    <a:close/>
                    <a:moveTo>
                      <a:pt x="234380" y="536028"/>
                    </a:moveTo>
                    <a:lnTo>
                      <a:pt x="235796" y="620999"/>
                    </a:lnTo>
                    <a:lnTo>
                      <a:pt x="235796" y="620999"/>
                    </a:lnTo>
                    <a:lnTo>
                      <a:pt x="231547" y="626664"/>
                    </a:lnTo>
                    <a:lnTo>
                      <a:pt x="211721" y="636578"/>
                    </a:lnTo>
                    <a:lnTo>
                      <a:pt x="179149" y="616751"/>
                    </a:lnTo>
                    <a:lnTo>
                      <a:pt x="213137" y="536028"/>
                    </a:lnTo>
                    <a:lnTo>
                      <a:pt x="234380" y="536028"/>
                    </a:lnTo>
                    <a:close/>
                    <a:moveTo>
                      <a:pt x="591260" y="670566"/>
                    </a:moveTo>
                    <a:lnTo>
                      <a:pt x="587012" y="677647"/>
                    </a:lnTo>
                    <a:lnTo>
                      <a:pt x="579931" y="671982"/>
                    </a:lnTo>
                    <a:lnTo>
                      <a:pt x="591260" y="670566"/>
                    </a:lnTo>
                    <a:close/>
                    <a:moveTo>
                      <a:pt x="1109586" y="548774"/>
                    </a:moveTo>
                    <a:lnTo>
                      <a:pt x="1038776" y="538860"/>
                    </a:lnTo>
                    <a:lnTo>
                      <a:pt x="1045857" y="528947"/>
                    </a:lnTo>
                    <a:lnTo>
                      <a:pt x="1050106" y="527531"/>
                    </a:lnTo>
                    <a:lnTo>
                      <a:pt x="1109586" y="547358"/>
                    </a:lnTo>
                    <a:lnTo>
                      <a:pt x="1109586" y="548774"/>
                    </a:lnTo>
                    <a:close/>
                    <a:moveTo>
                      <a:pt x="984961" y="553022"/>
                    </a:moveTo>
                    <a:lnTo>
                      <a:pt x="984961" y="553022"/>
                    </a:lnTo>
                    <a:lnTo>
                      <a:pt x="965135" y="628080"/>
                    </a:lnTo>
                    <a:lnTo>
                      <a:pt x="962302" y="632329"/>
                    </a:lnTo>
                    <a:lnTo>
                      <a:pt x="877331" y="626664"/>
                    </a:lnTo>
                    <a:lnTo>
                      <a:pt x="863169" y="575682"/>
                    </a:lnTo>
                    <a:lnTo>
                      <a:pt x="955221" y="528947"/>
                    </a:lnTo>
                    <a:lnTo>
                      <a:pt x="1020366" y="538860"/>
                    </a:lnTo>
                    <a:lnTo>
                      <a:pt x="984961" y="553022"/>
                    </a:lnTo>
                    <a:close/>
                    <a:moveTo>
                      <a:pt x="786694" y="526115"/>
                    </a:moveTo>
                    <a:lnTo>
                      <a:pt x="783862" y="503456"/>
                    </a:lnTo>
                    <a:lnTo>
                      <a:pt x="841926" y="511953"/>
                    </a:lnTo>
                    <a:lnTo>
                      <a:pt x="846174" y="524699"/>
                    </a:lnTo>
                    <a:lnTo>
                      <a:pt x="786694" y="526115"/>
                    </a:lnTo>
                    <a:close/>
                    <a:moveTo>
                      <a:pt x="599757" y="166402"/>
                    </a:moveTo>
                    <a:lnTo>
                      <a:pt x="582763" y="167818"/>
                    </a:lnTo>
                    <a:lnTo>
                      <a:pt x="585595" y="152241"/>
                    </a:lnTo>
                    <a:lnTo>
                      <a:pt x="599757" y="155073"/>
                    </a:lnTo>
                    <a:lnTo>
                      <a:pt x="599757" y="166402"/>
                    </a:lnTo>
                    <a:close/>
                    <a:moveTo>
                      <a:pt x="315103" y="344842"/>
                    </a:moveTo>
                    <a:lnTo>
                      <a:pt x="313687" y="346258"/>
                    </a:lnTo>
                    <a:lnTo>
                      <a:pt x="313687" y="346258"/>
                    </a:lnTo>
                    <a:lnTo>
                      <a:pt x="317935" y="344842"/>
                    </a:lnTo>
                    <a:lnTo>
                      <a:pt x="351923" y="374582"/>
                    </a:lnTo>
                    <a:lnTo>
                      <a:pt x="208888" y="414236"/>
                    </a:lnTo>
                    <a:lnTo>
                      <a:pt x="153656" y="405739"/>
                    </a:lnTo>
                    <a:lnTo>
                      <a:pt x="159322" y="392993"/>
                    </a:lnTo>
                    <a:lnTo>
                      <a:pt x="142327" y="401490"/>
                    </a:lnTo>
                    <a:lnTo>
                      <a:pt x="97009" y="368918"/>
                    </a:lnTo>
                    <a:lnTo>
                      <a:pt x="101258" y="367501"/>
                    </a:lnTo>
                    <a:lnTo>
                      <a:pt x="315103" y="344842"/>
                    </a:lnTo>
                    <a:lnTo>
                      <a:pt x="315103" y="344842"/>
                    </a:lnTo>
                    <a:close/>
                    <a:moveTo>
                      <a:pt x="172068" y="428398"/>
                    </a:moveTo>
                    <a:lnTo>
                      <a:pt x="179149" y="434062"/>
                    </a:lnTo>
                    <a:lnTo>
                      <a:pt x="140911" y="436895"/>
                    </a:lnTo>
                    <a:lnTo>
                      <a:pt x="172068" y="428398"/>
                    </a:lnTo>
                    <a:close/>
                    <a:moveTo>
                      <a:pt x="94177" y="536028"/>
                    </a:moveTo>
                    <a:lnTo>
                      <a:pt x="98425" y="527531"/>
                    </a:lnTo>
                    <a:lnTo>
                      <a:pt x="223050" y="493542"/>
                    </a:lnTo>
                    <a:lnTo>
                      <a:pt x="170651" y="534612"/>
                    </a:lnTo>
                    <a:lnTo>
                      <a:pt x="94177" y="536028"/>
                    </a:lnTo>
                    <a:close/>
                    <a:moveTo>
                      <a:pt x="218802" y="643658"/>
                    </a:moveTo>
                    <a:lnTo>
                      <a:pt x="105506" y="798023"/>
                    </a:lnTo>
                    <a:lnTo>
                      <a:pt x="104090" y="792359"/>
                    </a:lnTo>
                    <a:lnTo>
                      <a:pt x="159322" y="662069"/>
                    </a:lnTo>
                    <a:lnTo>
                      <a:pt x="210304" y="637994"/>
                    </a:lnTo>
                    <a:lnTo>
                      <a:pt x="218802" y="643658"/>
                    </a:lnTo>
                    <a:close/>
                    <a:moveTo>
                      <a:pt x="402907" y="754122"/>
                    </a:moveTo>
                    <a:lnTo>
                      <a:pt x="402907" y="754122"/>
                    </a:lnTo>
                    <a:lnTo>
                      <a:pt x="402907" y="754122"/>
                    </a:lnTo>
                    <a:lnTo>
                      <a:pt x="402907" y="754122"/>
                    </a:lnTo>
                    <a:lnTo>
                      <a:pt x="357588" y="788110"/>
                    </a:lnTo>
                    <a:lnTo>
                      <a:pt x="279698" y="765451"/>
                    </a:lnTo>
                    <a:lnTo>
                      <a:pt x="248541" y="660653"/>
                    </a:lnTo>
                    <a:lnTo>
                      <a:pt x="402907" y="754122"/>
                    </a:lnTo>
                    <a:close/>
                    <a:moveTo>
                      <a:pt x="547358" y="694641"/>
                    </a:moveTo>
                    <a:lnTo>
                      <a:pt x="560104" y="703139"/>
                    </a:lnTo>
                    <a:lnTo>
                      <a:pt x="560104" y="718717"/>
                    </a:lnTo>
                    <a:lnTo>
                      <a:pt x="560104" y="718717"/>
                    </a:lnTo>
                    <a:lnTo>
                      <a:pt x="547358" y="694641"/>
                    </a:lnTo>
                    <a:close/>
                    <a:moveTo>
                      <a:pt x="632330" y="611086"/>
                    </a:moveTo>
                    <a:lnTo>
                      <a:pt x="693226" y="615335"/>
                    </a:lnTo>
                    <a:lnTo>
                      <a:pt x="690393" y="664901"/>
                    </a:lnTo>
                    <a:lnTo>
                      <a:pt x="595508" y="667734"/>
                    </a:lnTo>
                    <a:lnTo>
                      <a:pt x="632330" y="611086"/>
                    </a:lnTo>
                    <a:close/>
                    <a:moveTo>
                      <a:pt x="1111002" y="548774"/>
                    </a:moveTo>
                    <a:lnTo>
                      <a:pt x="1111002" y="545941"/>
                    </a:lnTo>
                    <a:lnTo>
                      <a:pt x="1123748" y="550190"/>
                    </a:lnTo>
                    <a:lnTo>
                      <a:pt x="1111002" y="548774"/>
                    </a:lnTo>
                    <a:close/>
                    <a:moveTo>
                      <a:pt x="1050106" y="524699"/>
                    </a:moveTo>
                    <a:lnTo>
                      <a:pt x="1050106" y="524699"/>
                    </a:lnTo>
                    <a:lnTo>
                      <a:pt x="1048690" y="526115"/>
                    </a:lnTo>
                    <a:lnTo>
                      <a:pt x="1051522" y="523282"/>
                    </a:lnTo>
                    <a:lnTo>
                      <a:pt x="1051522" y="523282"/>
                    </a:lnTo>
                    <a:lnTo>
                      <a:pt x="965135" y="524699"/>
                    </a:lnTo>
                    <a:lnTo>
                      <a:pt x="1120916" y="443975"/>
                    </a:lnTo>
                    <a:lnTo>
                      <a:pt x="1109586" y="545941"/>
                    </a:lnTo>
                    <a:lnTo>
                      <a:pt x="1050106" y="524699"/>
                    </a:lnTo>
                    <a:close/>
                    <a:moveTo>
                      <a:pt x="1044441" y="527531"/>
                    </a:moveTo>
                    <a:lnTo>
                      <a:pt x="1024614" y="536028"/>
                    </a:lnTo>
                    <a:lnTo>
                      <a:pt x="958054" y="526115"/>
                    </a:lnTo>
                    <a:lnTo>
                      <a:pt x="959470" y="524699"/>
                    </a:lnTo>
                    <a:lnTo>
                      <a:pt x="1045857" y="523282"/>
                    </a:lnTo>
                    <a:lnTo>
                      <a:pt x="1044441" y="527531"/>
                    </a:lnTo>
                    <a:close/>
                    <a:moveTo>
                      <a:pt x="863169" y="572849"/>
                    </a:moveTo>
                    <a:lnTo>
                      <a:pt x="850423" y="526115"/>
                    </a:lnTo>
                    <a:lnTo>
                      <a:pt x="939643" y="524699"/>
                    </a:lnTo>
                    <a:lnTo>
                      <a:pt x="952389" y="526115"/>
                    </a:lnTo>
                    <a:lnTo>
                      <a:pt x="863169" y="572849"/>
                    </a:lnTo>
                    <a:close/>
                    <a:moveTo>
                      <a:pt x="849007" y="524699"/>
                    </a:moveTo>
                    <a:lnTo>
                      <a:pt x="844759" y="511953"/>
                    </a:lnTo>
                    <a:lnTo>
                      <a:pt x="925481" y="523282"/>
                    </a:lnTo>
                    <a:lnTo>
                      <a:pt x="849007" y="524699"/>
                    </a:lnTo>
                    <a:close/>
                    <a:moveTo>
                      <a:pt x="958054" y="370334"/>
                    </a:moveTo>
                    <a:lnTo>
                      <a:pt x="958054" y="370334"/>
                    </a:lnTo>
                    <a:lnTo>
                      <a:pt x="857504" y="269784"/>
                    </a:lnTo>
                    <a:lnTo>
                      <a:pt x="778197" y="385912"/>
                    </a:lnTo>
                    <a:lnTo>
                      <a:pt x="766868" y="387328"/>
                    </a:lnTo>
                    <a:lnTo>
                      <a:pt x="694642" y="283946"/>
                    </a:lnTo>
                    <a:lnTo>
                      <a:pt x="919817" y="221634"/>
                    </a:lnTo>
                    <a:lnTo>
                      <a:pt x="960886" y="213137"/>
                    </a:lnTo>
                    <a:lnTo>
                      <a:pt x="1081262" y="361837"/>
                    </a:lnTo>
                    <a:lnTo>
                      <a:pt x="955221" y="371750"/>
                    </a:lnTo>
                    <a:lnTo>
                      <a:pt x="958054" y="370334"/>
                    </a:lnTo>
                    <a:close/>
                    <a:moveTo>
                      <a:pt x="596925" y="214553"/>
                    </a:moveTo>
                    <a:lnTo>
                      <a:pt x="601173" y="167818"/>
                    </a:lnTo>
                    <a:lnTo>
                      <a:pt x="664902" y="163570"/>
                    </a:lnTo>
                    <a:lnTo>
                      <a:pt x="946724" y="207472"/>
                    </a:lnTo>
                    <a:lnTo>
                      <a:pt x="596925" y="214553"/>
                    </a:lnTo>
                    <a:close/>
                    <a:moveTo>
                      <a:pt x="517618" y="139494"/>
                    </a:moveTo>
                    <a:lnTo>
                      <a:pt x="608254" y="44610"/>
                    </a:lnTo>
                    <a:lnTo>
                      <a:pt x="584179" y="149408"/>
                    </a:lnTo>
                    <a:lnTo>
                      <a:pt x="517618" y="139494"/>
                    </a:lnTo>
                    <a:close/>
                    <a:moveTo>
                      <a:pt x="460970" y="196142"/>
                    </a:moveTo>
                    <a:lnTo>
                      <a:pt x="407155" y="125333"/>
                    </a:lnTo>
                    <a:lnTo>
                      <a:pt x="513369" y="142327"/>
                    </a:lnTo>
                    <a:lnTo>
                      <a:pt x="460970" y="196142"/>
                    </a:lnTo>
                    <a:close/>
                    <a:moveTo>
                      <a:pt x="401490" y="123917"/>
                    </a:moveTo>
                    <a:lnTo>
                      <a:pt x="402907" y="122500"/>
                    </a:lnTo>
                    <a:lnTo>
                      <a:pt x="402907" y="122500"/>
                    </a:lnTo>
                    <a:lnTo>
                      <a:pt x="401490" y="123917"/>
                    </a:lnTo>
                    <a:close/>
                    <a:moveTo>
                      <a:pt x="320768" y="223050"/>
                    </a:moveTo>
                    <a:lnTo>
                      <a:pt x="320768" y="223050"/>
                    </a:lnTo>
                    <a:lnTo>
                      <a:pt x="443976" y="221634"/>
                    </a:lnTo>
                    <a:lnTo>
                      <a:pt x="316518" y="344842"/>
                    </a:lnTo>
                    <a:lnTo>
                      <a:pt x="315103" y="343426"/>
                    </a:lnTo>
                    <a:lnTo>
                      <a:pt x="315103" y="343426"/>
                    </a:lnTo>
                    <a:lnTo>
                      <a:pt x="105506" y="368918"/>
                    </a:lnTo>
                    <a:lnTo>
                      <a:pt x="238628" y="299524"/>
                    </a:lnTo>
                    <a:lnTo>
                      <a:pt x="238628" y="299524"/>
                    </a:lnTo>
                    <a:lnTo>
                      <a:pt x="289611" y="204639"/>
                    </a:lnTo>
                    <a:lnTo>
                      <a:pt x="391577" y="135246"/>
                    </a:lnTo>
                    <a:lnTo>
                      <a:pt x="320768" y="223050"/>
                    </a:lnTo>
                    <a:close/>
                    <a:moveTo>
                      <a:pt x="139495" y="405739"/>
                    </a:moveTo>
                    <a:lnTo>
                      <a:pt x="139495" y="405739"/>
                    </a:lnTo>
                    <a:lnTo>
                      <a:pt x="48859" y="392993"/>
                    </a:lnTo>
                    <a:lnTo>
                      <a:pt x="92760" y="373166"/>
                    </a:lnTo>
                    <a:lnTo>
                      <a:pt x="92760" y="373166"/>
                    </a:lnTo>
                    <a:lnTo>
                      <a:pt x="139495" y="405739"/>
                    </a:lnTo>
                    <a:close/>
                    <a:moveTo>
                      <a:pt x="135246" y="408571"/>
                    </a:moveTo>
                    <a:lnTo>
                      <a:pt x="74350" y="439727"/>
                    </a:lnTo>
                    <a:lnTo>
                      <a:pt x="43194" y="395825"/>
                    </a:lnTo>
                    <a:lnTo>
                      <a:pt x="46026" y="394409"/>
                    </a:lnTo>
                    <a:lnTo>
                      <a:pt x="135246" y="408571"/>
                    </a:lnTo>
                    <a:close/>
                    <a:moveTo>
                      <a:pt x="75766" y="445392"/>
                    </a:moveTo>
                    <a:lnTo>
                      <a:pt x="75766" y="445392"/>
                    </a:lnTo>
                    <a:lnTo>
                      <a:pt x="119668" y="442560"/>
                    </a:lnTo>
                    <a:lnTo>
                      <a:pt x="24783" y="468051"/>
                    </a:lnTo>
                    <a:lnTo>
                      <a:pt x="74350" y="442560"/>
                    </a:lnTo>
                    <a:lnTo>
                      <a:pt x="75766" y="445392"/>
                    </a:lnTo>
                    <a:close/>
                    <a:moveTo>
                      <a:pt x="181980" y="436895"/>
                    </a:moveTo>
                    <a:lnTo>
                      <a:pt x="317935" y="533196"/>
                    </a:lnTo>
                    <a:lnTo>
                      <a:pt x="235796" y="534612"/>
                    </a:lnTo>
                    <a:lnTo>
                      <a:pt x="234380" y="489294"/>
                    </a:lnTo>
                    <a:lnTo>
                      <a:pt x="234380" y="489294"/>
                    </a:lnTo>
                    <a:lnTo>
                      <a:pt x="231547" y="489294"/>
                    </a:lnTo>
                    <a:lnTo>
                      <a:pt x="232964" y="485045"/>
                    </a:lnTo>
                    <a:lnTo>
                      <a:pt x="232964" y="483629"/>
                    </a:lnTo>
                    <a:lnTo>
                      <a:pt x="224466" y="490710"/>
                    </a:lnTo>
                    <a:lnTo>
                      <a:pt x="97009" y="526115"/>
                    </a:lnTo>
                    <a:lnTo>
                      <a:pt x="136663" y="441143"/>
                    </a:lnTo>
                    <a:lnTo>
                      <a:pt x="181980" y="436895"/>
                    </a:lnTo>
                    <a:close/>
                    <a:moveTo>
                      <a:pt x="208888" y="636578"/>
                    </a:moveTo>
                    <a:lnTo>
                      <a:pt x="160737" y="659237"/>
                    </a:lnTo>
                    <a:lnTo>
                      <a:pt x="177732" y="618167"/>
                    </a:lnTo>
                    <a:lnTo>
                      <a:pt x="208888" y="636578"/>
                    </a:lnTo>
                    <a:close/>
                    <a:moveTo>
                      <a:pt x="102674" y="788110"/>
                    </a:moveTo>
                    <a:lnTo>
                      <a:pt x="77183" y="698890"/>
                    </a:lnTo>
                    <a:lnTo>
                      <a:pt x="156489" y="662069"/>
                    </a:lnTo>
                    <a:lnTo>
                      <a:pt x="102674" y="788110"/>
                    </a:lnTo>
                    <a:close/>
                    <a:moveTo>
                      <a:pt x="104090" y="799439"/>
                    </a:moveTo>
                    <a:lnTo>
                      <a:pt x="95593" y="812185"/>
                    </a:lnTo>
                    <a:lnTo>
                      <a:pt x="102674" y="795191"/>
                    </a:lnTo>
                    <a:lnTo>
                      <a:pt x="104090" y="799439"/>
                    </a:lnTo>
                    <a:close/>
                    <a:moveTo>
                      <a:pt x="357588" y="790942"/>
                    </a:moveTo>
                    <a:lnTo>
                      <a:pt x="357588" y="790942"/>
                    </a:lnTo>
                    <a:lnTo>
                      <a:pt x="405739" y="756954"/>
                    </a:lnTo>
                    <a:lnTo>
                      <a:pt x="405739" y="756954"/>
                    </a:lnTo>
                    <a:lnTo>
                      <a:pt x="405739" y="754122"/>
                    </a:lnTo>
                    <a:lnTo>
                      <a:pt x="441144" y="747041"/>
                    </a:lnTo>
                    <a:lnTo>
                      <a:pt x="469468" y="772532"/>
                    </a:lnTo>
                    <a:lnTo>
                      <a:pt x="303773" y="844758"/>
                    </a:lnTo>
                    <a:lnTo>
                      <a:pt x="281114" y="769699"/>
                    </a:lnTo>
                    <a:lnTo>
                      <a:pt x="357588" y="790942"/>
                    </a:lnTo>
                    <a:close/>
                    <a:moveTo>
                      <a:pt x="434063" y="630913"/>
                    </a:moveTo>
                    <a:lnTo>
                      <a:pt x="434063" y="630913"/>
                    </a:lnTo>
                    <a:lnTo>
                      <a:pt x="424150" y="608254"/>
                    </a:lnTo>
                    <a:lnTo>
                      <a:pt x="544526" y="693225"/>
                    </a:lnTo>
                    <a:lnTo>
                      <a:pt x="558688" y="721549"/>
                    </a:lnTo>
                    <a:lnTo>
                      <a:pt x="442560" y="744208"/>
                    </a:lnTo>
                    <a:lnTo>
                      <a:pt x="414236" y="718717"/>
                    </a:lnTo>
                    <a:lnTo>
                      <a:pt x="434063" y="630913"/>
                    </a:lnTo>
                    <a:close/>
                    <a:moveTo>
                      <a:pt x="561520" y="704555"/>
                    </a:moveTo>
                    <a:lnTo>
                      <a:pt x="565769" y="707387"/>
                    </a:lnTo>
                    <a:lnTo>
                      <a:pt x="561520" y="714468"/>
                    </a:lnTo>
                    <a:lnTo>
                      <a:pt x="561520" y="704555"/>
                    </a:lnTo>
                    <a:close/>
                    <a:moveTo>
                      <a:pt x="561520" y="670566"/>
                    </a:moveTo>
                    <a:lnTo>
                      <a:pt x="577098" y="670566"/>
                    </a:lnTo>
                    <a:lnTo>
                      <a:pt x="585595" y="677647"/>
                    </a:lnTo>
                    <a:lnTo>
                      <a:pt x="567185" y="705971"/>
                    </a:lnTo>
                    <a:lnTo>
                      <a:pt x="561520" y="701722"/>
                    </a:lnTo>
                    <a:lnTo>
                      <a:pt x="561520" y="670566"/>
                    </a:lnTo>
                    <a:close/>
                    <a:moveTo>
                      <a:pt x="588427" y="677647"/>
                    </a:moveTo>
                    <a:lnTo>
                      <a:pt x="594092" y="669150"/>
                    </a:lnTo>
                    <a:lnTo>
                      <a:pt x="690393" y="666318"/>
                    </a:lnTo>
                    <a:lnTo>
                      <a:pt x="683312" y="762618"/>
                    </a:lnTo>
                    <a:lnTo>
                      <a:pt x="588427" y="677647"/>
                    </a:lnTo>
                    <a:close/>
                    <a:moveTo>
                      <a:pt x="694642" y="615335"/>
                    </a:moveTo>
                    <a:lnTo>
                      <a:pt x="792359" y="622416"/>
                    </a:lnTo>
                    <a:lnTo>
                      <a:pt x="796608" y="626664"/>
                    </a:lnTo>
                    <a:lnTo>
                      <a:pt x="800856" y="662069"/>
                    </a:lnTo>
                    <a:lnTo>
                      <a:pt x="691809" y="666318"/>
                    </a:lnTo>
                    <a:lnTo>
                      <a:pt x="694642" y="615335"/>
                    </a:lnTo>
                    <a:close/>
                    <a:moveTo>
                      <a:pt x="832012" y="662069"/>
                    </a:moveTo>
                    <a:lnTo>
                      <a:pt x="904238" y="761203"/>
                    </a:lnTo>
                    <a:lnTo>
                      <a:pt x="833428" y="875914"/>
                    </a:lnTo>
                    <a:lnTo>
                      <a:pt x="827764" y="874498"/>
                    </a:lnTo>
                    <a:lnTo>
                      <a:pt x="803689" y="663485"/>
                    </a:lnTo>
                    <a:lnTo>
                      <a:pt x="832012" y="662069"/>
                    </a:lnTo>
                    <a:close/>
                    <a:moveTo>
                      <a:pt x="870250" y="887243"/>
                    </a:moveTo>
                    <a:lnTo>
                      <a:pt x="827764" y="890076"/>
                    </a:lnTo>
                    <a:lnTo>
                      <a:pt x="836261" y="877330"/>
                    </a:lnTo>
                    <a:lnTo>
                      <a:pt x="870250" y="887243"/>
                    </a:lnTo>
                    <a:close/>
                    <a:moveTo>
                      <a:pt x="948140" y="882995"/>
                    </a:moveTo>
                    <a:lnTo>
                      <a:pt x="948140" y="882995"/>
                    </a:lnTo>
                    <a:lnTo>
                      <a:pt x="948140" y="882995"/>
                    </a:lnTo>
                    <a:lnTo>
                      <a:pt x="956637" y="908486"/>
                    </a:lnTo>
                    <a:lnTo>
                      <a:pt x="881579" y="887243"/>
                    </a:lnTo>
                    <a:lnTo>
                      <a:pt x="948140" y="882995"/>
                    </a:lnTo>
                    <a:close/>
                    <a:moveTo>
                      <a:pt x="1122332" y="681896"/>
                    </a:moveTo>
                    <a:lnTo>
                      <a:pt x="1125164" y="684728"/>
                    </a:lnTo>
                    <a:lnTo>
                      <a:pt x="1123748" y="691809"/>
                    </a:lnTo>
                    <a:lnTo>
                      <a:pt x="1122332" y="681896"/>
                    </a:lnTo>
                    <a:close/>
                    <a:moveTo>
                      <a:pt x="1147823" y="558687"/>
                    </a:moveTo>
                    <a:lnTo>
                      <a:pt x="1147823" y="558687"/>
                    </a:lnTo>
                    <a:lnTo>
                      <a:pt x="1147823" y="558687"/>
                    </a:lnTo>
                    <a:lnTo>
                      <a:pt x="1190309" y="555855"/>
                    </a:lnTo>
                    <a:lnTo>
                      <a:pt x="1187476" y="747041"/>
                    </a:lnTo>
                    <a:lnTo>
                      <a:pt x="1126580" y="683312"/>
                    </a:lnTo>
                    <a:lnTo>
                      <a:pt x="1147823" y="558687"/>
                    </a:lnTo>
                    <a:close/>
                    <a:moveTo>
                      <a:pt x="112587" y="578514"/>
                    </a:moveTo>
                    <a:lnTo>
                      <a:pt x="51691" y="625248"/>
                    </a:lnTo>
                    <a:lnTo>
                      <a:pt x="81431" y="560103"/>
                    </a:lnTo>
                    <a:lnTo>
                      <a:pt x="112587" y="578514"/>
                    </a:lnTo>
                    <a:close/>
                    <a:moveTo>
                      <a:pt x="568601" y="707387"/>
                    </a:moveTo>
                    <a:lnTo>
                      <a:pt x="587012" y="679063"/>
                    </a:lnTo>
                    <a:lnTo>
                      <a:pt x="683312" y="764035"/>
                    </a:lnTo>
                    <a:lnTo>
                      <a:pt x="681897" y="786694"/>
                    </a:lnTo>
                    <a:lnTo>
                      <a:pt x="568601" y="707387"/>
                    </a:lnTo>
                    <a:close/>
                    <a:moveTo>
                      <a:pt x="950973" y="213137"/>
                    </a:moveTo>
                    <a:lnTo>
                      <a:pt x="960886" y="210304"/>
                    </a:lnTo>
                    <a:lnTo>
                      <a:pt x="962302" y="210304"/>
                    </a:lnTo>
                    <a:lnTo>
                      <a:pt x="950973" y="213137"/>
                    </a:lnTo>
                    <a:close/>
                    <a:moveTo>
                      <a:pt x="599757" y="152241"/>
                    </a:moveTo>
                    <a:lnTo>
                      <a:pt x="585595" y="149408"/>
                    </a:lnTo>
                    <a:lnTo>
                      <a:pt x="609670" y="43194"/>
                    </a:lnTo>
                    <a:lnTo>
                      <a:pt x="599757" y="152241"/>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53" name="Freeform: Shape 952">
                <a:extLst>
                  <a:ext uri="{FF2B5EF4-FFF2-40B4-BE49-F238E27FC236}">
                    <a16:creationId xmlns:a16="http://schemas.microsoft.com/office/drawing/2014/main" id="{0CB5FFD0-B61B-4790-99F1-42A15595475C}"/>
                  </a:ext>
                </a:extLst>
              </p:cNvPr>
              <p:cNvSpPr/>
              <p:nvPr/>
            </p:nvSpPr>
            <p:spPr>
              <a:xfrm>
                <a:off x="5476416" y="1812418"/>
                <a:ext cx="608962" cy="396533"/>
              </a:xfrm>
              <a:custGeom>
                <a:avLst/>
                <a:gdLst>
                  <a:gd name="connsiteX0" fmla="*/ 13454 w 608962"/>
                  <a:gd name="connsiteY0" fmla="*/ 340594 h 396533"/>
                  <a:gd name="connsiteX1" fmla="*/ 13454 w 608962"/>
                  <a:gd name="connsiteY1" fmla="*/ 340594 h 396533"/>
                  <a:gd name="connsiteX2" fmla="*/ 68685 w 608962"/>
                  <a:gd name="connsiteY2" fmla="*/ 340594 h 396533"/>
                  <a:gd name="connsiteX3" fmla="*/ 68685 w 608962"/>
                  <a:gd name="connsiteY3" fmla="*/ 340594 h 396533"/>
                  <a:gd name="connsiteX4" fmla="*/ 40362 w 608962"/>
                  <a:gd name="connsiteY4" fmla="*/ 296692 h 396533"/>
                  <a:gd name="connsiteX5" fmla="*/ 54523 w 608962"/>
                  <a:gd name="connsiteY5" fmla="*/ 271201 h 396533"/>
                  <a:gd name="connsiteX6" fmla="*/ 84264 w 608962"/>
                  <a:gd name="connsiteY6" fmla="*/ 282530 h 396533"/>
                  <a:gd name="connsiteX7" fmla="*/ 84264 w 608962"/>
                  <a:gd name="connsiteY7" fmla="*/ 282530 h 396533"/>
                  <a:gd name="connsiteX8" fmla="*/ 98425 w 608962"/>
                  <a:gd name="connsiteY8" fmla="*/ 198975 h 396533"/>
                  <a:gd name="connsiteX9" fmla="*/ 135246 w 608962"/>
                  <a:gd name="connsiteY9" fmla="*/ 194726 h 396533"/>
                  <a:gd name="connsiteX10" fmla="*/ 245709 w 608962"/>
                  <a:gd name="connsiteY10" fmla="*/ 187645 h 396533"/>
                  <a:gd name="connsiteX11" fmla="*/ 317935 w 608962"/>
                  <a:gd name="connsiteY11" fmla="*/ 312270 h 396533"/>
                  <a:gd name="connsiteX12" fmla="*/ 174900 w 608962"/>
                  <a:gd name="connsiteY12" fmla="*/ 313686 h 396533"/>
                  <a:gd name="connsiteX13" fmla="*/ 174900 w 608962"/>
                  <a:gd name="connsiteY13" fmla="*/ 313686 h 396533"/>
                  <a:gd name="connsiteX14" fmla="*/ 241460 w 608962"/>
                  <a:gd name="connsiteY14" fmla="*/ 388744 h 396533"/>
                  <a:gd name="connsiteX15" fmla="*/ 241460 w 608962"/>
                  <a:gd name="connsiteY15" fmla="*/ 388744 h 396533"/>
                  <a:gd name="connsiteX16" fmla="*/ 329265 w 608962"/>
                  <a:gd name="connsiteY16" fmla="*/ 322183 h 396533"/>
                  <a:gd name="connsiteX17" fmla="*/ 513369 w 608962"/>
                  <a:gd name="connsiteY17" fmla="*/ 298108 h 396533"/>
                  <a:gd name="connsiteX18" fmla="*/ 601173 w 608962"/>
                  <a:gd name="connsiteY18" fmla="*/ 241461 h 396533"/>
                  <a:gd name="connsiteX19" fmla="*/ 601173 w 608962"/>
                  <a:gd name="connsiteY19" fmla="*/ 241461 h 396533"/>
                  <a:gd name="connsiteX20" fmla="*/ 587012 w 608962"/>
                  <a:gd name="connsiteY20" fmla="*/ 106922 h 396533"/>
                  <a:gd name="connsiteX21" fmla="*/ 587012 w 608962"/>
                  <a:gd name="connsiteY21" fmla="*/ 106922 h 396533"/>
                  <a:gd name="connsiteX22" fmla="*/ 585595 w 608962"/>
                  <a:gd name="connsiteY22" fmla="*/ 106922 h 396533"/>
                  <a:gd name="connsiteX23" fmla="*/ 599757 w 608962"/>
                  <a:gd name="connsiteY23" fmla="*/ 240044 h 396533"/>
                  <a:gd name="connsiteX24" fmla="*/ 513369 w 608962"/>
                  <a:gd name="connsiteY24" fmla="*/ 295276 h 396533"/>
                  <a:gd name="connsiteX25" fmla="*/ 329265 w 608962"/>
                  <a:gd name="connsiteY25" fmla="*/ 319351 h 396533"/>
                  <a:gd name="connsiteX26" fmla="*/ 242877 w 608962"/>
                  <a:gd name="connsiteY26" fmla="*/ 385912 h 396533"/>
                  <a:gd name="connsiteX27" fmla="*/ 180564 w 608962"/>
                  <a:gd name="connsiteY27" fmla="*/ 316519 h 396533"/>
                  <a:gd name="connsiteX28" fmla="*/ 322184 w 608962"/>
                  <a:gd name="connsiteY28" fmla="*/ 315102 h 396533"/>
                  <a:gd name="connsiteX29" fmla="*/ 322184 w 608962"/>
                  <a:gd name="connsiteY29" fmla="*/ 315102 h 396533"/>
                  <a:gd name="connsiteX30" fmla="*/ 247126 w 608962"/>
                  <a:gd name="connsiteY30" fmla="*/ 186229 h 396533"/>
                  <a:gd name="connsiteX31" fmla="*/ 247126 w 608962"/>
                  <a:gd name="connsiteY31" fmla="*/ 186229 h 396533"/>
                  <a:gd name="connsiteX32" fmla="*/ 173483 w 608962"/>
                  <a:gd name="connsiteY32" fmla="*/ 190478 h 396533"/>
                  <a:gd name="connsiteX33" fmla="*/ 247126 w 608962"/>
                  <a:gd name="connsiteY33" fmla="*/ 181981 h 396533"/>
                  <a:gd name="connsiteX34" fmla="*/ 247126 w 608962"/>
                  <a:gd name="connsiteY34" fmla="*/ 181981 h 396533"/>
                  <a:gd name="connsiteX35" fmla="*/ 143743 w 608962"/>
                  <a:gd name="connsiteY35" fmla="*/ 97009 h 396533"/>
                  <a:gd name="connsiteX36" fmla="*/ 160738 w 608962"/>
                  <a:gd name="connsiteY36" fmla="*/ 54523 h 396533"/>
                  <a:gd name="connsiteX37" fmla="*/ 177732 w 608962"/>
                  <a:gd name="connsiteY37" fmla="*/ 13454 h 396533"/>
                  <a:gd name="connsiteX38" fmla="*/ 177732 w 608962"/>
                  <a:gd name="connsiteY38" fmla="*/ 12038 h 396533"/>
                  <a:gd name="connsiteX39" fmla="*/ 176316 w 608962"/>
                  <a:gd name="connsiteY39" fmla="*/ 10621 h 396533"/>
                  <a:gd name="connsiteX40" fmla="*/ 176316 w 608962"/>
                  <a:gd name="connsiteY40" fmla="*/ 12038 h 396533"/>
                  <a:gd name="connsiteX41" fmla="*/ 159322 w 608962"/>
                  <a:gd name="connsiteY41" fmla="*/ 53107 h 396533"/>
                  <a:gd name="connsiteX42" fmla="*/ 142327 w 608962"/>
                  <a:gd name="connsiteY42" fmla="*/ 95593 h 396533"/>
                  <a:gd name="connsiteX43" fmla="*/ 142327 w 608962"/>
                  <a:gd name="connsiteY43" fmla="*/ 97009 h 396533"/>
                  <a:gd name="connsiteX44" fmla="*/ 242877 w 608962"/>
                  <a:gd name="connsiteY44" fmla="*/ 179148 h 396533"/>
                  <a:gd name="connsiteX45" fmla="*/ 135246 w 608962"/>
                  <a:gd name="connsiteY45" fmla="*/ 191894 h 396533"/>
                  <a:gd name="connsiteX46" fmla="*/ 95593 w 608962"/>
                  <a:gd name="connsiteY46" fmla="*/ 194726 h 396533"/>
                  <a:gd name="connsiteX47" fmla="*/ 95593 w 608962"/>
                  <a:gd name="connsiteY47" fmla="*/ 194726 h 396533"/>
                  <a:gd name="connsiteX48" fmla="*/ 54523 w 608962"/>
                  <a:gd name="connsiteY48" fmla="*/ 268368 h 396533"/>
                  <a:gd name="connsiteX49" fmla="*/ 10621 w 608962"/>
                  <a:gd name="connsiteY49" fmla="*/ 252790 h 396533"/>
                  <a:gd name="connsiteX50" fmla="*/ 10621 w 608962"/>
                  <a:gd name="connsiteY50" fmla="*/ 252790 h 396533"/>
                  <a:gd name="connsiteX51" fmla="*/ 38945 w 608962"/>
                  <a:gd name="connsiteY51" fmla="*/ 298108 h 396533"/>
                  <a:gd name="connsiteX52" fmla="*/ 13454 w 608962"/>
                  <a:gd name="connsiteY52" fmla="*/ 340594 h 396533"/>
                  <a:gd name="connsiteX53" fmla="*/ 16286 w 608962"/>
                  <a:gd name="connsiteY53" fmla="*/ 339178 h 396533"/>
                  <a:gd name="connsiteX54" fmla="*/ 38945 w 608962"/>
                  <a:gd name="connsiteY54" fmla="*/ 298108 h 396533"/>
                  <a:gd name="connsiteX55" fmla="*/ 64437 w 608962"/>
                  <a:gd name="connsiteY55" fmla="*/ 337762 h 396533"/>
                  <a:gd name="connsiteX56" fmla="*/ 16286 w 608962"/>
                  <a:gd name="connsiteY56" fmla="*/ 339178 h 396533"/>
                  <a:gd name="connsiteX57" fmla="*/ 53107 w 608962"/>
                  <a:gd name="connsiteY57" fmla="*/ 269784 h 396533"/>
                  <a:gd name="connsiteX58" fmla="*/ 38945 w 608962"/>
                  <a:gd name="connsiteY58" fmla="*/ 293860 h 396533"/>
                  <a:gd name="connsiteX59" fmla="*/ 14870 w 608962"/>
                  <a:gd name="connsiteY59" fmla="*/ 255622 h 396533"/>
                  <a:gd name="connsiteX60" fmla="*/ 53107 w 608962"/>
                  <a:gd name="connsiteY60" fmla="*/ 269784 h 396533"/>
                  <a:gd name="connsiteX61" fmla="*/ 55940 w 608962"/>
                  <a:gd name="connsiteY61" fmla="*/ 268368 h 396533"/>
                  <a:gd name="connsiteX62" fmla="*/ 95593 w 608962"/>
                  <a:gd name="connsiteY62" fmla="*/ 196142 h 396533"/>
                  <a:gd name="connsiteX63" fmla="*/ 97009 w 608962"/>
                  <a:gd name="connsiteY63" fmla="*/ 196142 h 396533"/>
                  <a:gd name="connsiteX64" fmla="*/ 97009 w 608962"/>
                  <a:gd name="connsiteY64" fmla="*/ 196142 h 396533"/>
                  <a:gd name="connsiteX65" fmla="*/ 82847 w 608962"/>
                  <a:gd name="connsiteY65" fmla="*/ 278282 h 396533"/>
                  <a:gd name="connsiteX66" fmla="*/ 55940 w 608962"/>
                  <a:gd name="connsiteY66" fmla="*/ 268368 h 39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08962" h="396533">
                    <a:moveTo>
                      <a:pt x="13454" y="340594"/>
                    </a:moveTo>
                    <a:lnTo>
                      <a:pt x="13454" y="340594"/>
                    </a:lnTo>
                    <a:lnTo>
                      <a:pt x="68685" y="340594"/>
                    </a:lnTo>
                    <a:lnTo>
                      <a:pt x="68685" y="340594"/>
                    </a:lnTo>
                    <a:lnTo>
                      <a:pt x="40362" y="296692"/>
                    </a:lnTo>
                    <a:lnTo>
                      <a:pt x="54523" y="271201"/>
                    </a:lnTo>
                    <a:lnTo>
                      <a:pt x="84264" y="282530"/>
                    </a:lnTo>
                    <a:lnTo>
                      <a:pt x="84264" y="282530"/>
                    </a:lnTo>
                    <a:lnTo>
                      <a:pt x="98425" y="198975"/>
                    </a:lnTo>
                    <a:lnTo>
                      <a:pt x="135246" y="194726"/>
                    </a:lnTo>
                    <a:lnTo>
                      <a:pt x="245709" y="187645"/>
                    </a:lnTo>
                    <a:lnTo>
                      <a:pt x="317935" y="312270"/>
                    </a:lnTo>
                    <a:lnTo>
                      <a:pt x="174900" y="313686"/>
                    </a:lnTo>
                    <a:lnTo>
                      <a:pt x="174900" y="313686"/>
                    </a:lnTo>
                    <a:lnTo>
                      <a:pt x="241460" y="388744"/>
                    </a:lnTo>
                    <a:lnTo>
                      <a:pt x="241460" y="388744"/>
                    </a:lnTo>
                    <a:lnTo>
                      <a:pt x="329265" y="322183"/>
                    </a:lnTo>
                    <a:lnTo>
                      <a:pt x="513369" y="298108"/>
                    </a:lnTo>
                    <a:lnTo>
                      <a:pt x="601173" y="241461"/>
                    </a:lnTo>
                    <a:lnTo>
                      <a:pt x="601173" y="241461"/>
                    </a:lnTo>
                    <a:lnTo>
                      <a:pt x="587012" y="106922"/>
                    </a:lnTo>
                    <a:lnTo>
                      <a:pt x="587012" y="106922"/>
                    </a:lnTo>
                    <a:lnTo>
                      <a:pt x="585595" y="106922"/>
                    </a:lnTo>
                    <a:lnTo>
                      <a:pt x="599757" y="240044"/>
                    </a:lnTo>
                    <a:lnTo>
                      <a:pt x="513369" y="295276"/>
                    </a:lnTo>
                    <a:lnTo>
                      <a:pt x="329265" y="319351"/>
                    </a:lnTo>
                    <a:lnTo>
                      <a:pt x="242877" y="385912"/>
                    </a:lnTo>
                    <a:lnTo>
                      <a:pt x="180564" y="316519"/>
                    </a:lnTo>
                    <a:lnTo>
                      <a:pt x="322184" y="315102"/>
                    </a:lnTo>
                    <a:lnTo>
                      <a:pt x="322184" y="315102"/>
                    </a:lnTo>
                    <a:lnTo>
                      <a:pt x="247126" y="186229"/>
                    </a:lnTo>
                    <a:lnTo>
                      <a:pt x="247126" y="186229"/>
                    </a:lnTo>
                    <a:lnTo>
                      <a:pt x="173483" y="190478"/>
                    </a:lnTo>
                    <a:lnTo>
                      <a:pt x="247126" y="181981"/>
                    </a:lnTo>
                    <a:lnTo>
                      <a:pt x="247126" y="181981"/>
                    </a:lnTo>
                    <a:lnTo>
                      <a:pt x="143743" y="97009"/>
                    </a:lnTo>
                    <a:cubicBezTo>
                      <a:pt x="149408" y="82847"/>
                      <a:pt x="155073" y="68685"/>
                      <a:pt x="160738" y="54523"/>
                    </a:cubicBezTo>
                    <a:cubicBezTo>
                      <a:pt x="166402" y="41778"/>
                      <a:pt x="172067" y="27616"/>
                      <a:pt x="177732" y="13454"/>
                    </a:cubicBezTo>
                    <a:lnTo>
                      <a:pt x="177732" y="12038"/>
                    </a:lnTo>
                    <a:lnTo>
                      <a:pt x="176316" y="10621"/>
                    </a:lnTo>
                    <a:lnTo>
                      <a:pt x="176316" y="12038"/>
                    </a:lnTo>
                    <a:cubicBezTo>
                      <a:pt x="170651" y="26200"/>
                      <a:pt x="164986" y="40361"/>
                      <a:pt x="159322" y="53107"/>
                    </a:cubicBezTo>
                    <a:cubicBezTo>
                      <a:pt x="153657" y="67269"/>
                      <a:pt x="147992" y="81431"/>
                      <a:pt x="142327" y="95593"/>
                    </a:cubicBezTo>
                    <a:lnTo>
                      <a:pt x="142327" y="97009"/>
                    </a:lnTo>
                    <a:lnTo>
                      <a:pt x="242877" y="179148"/>
                    </a:lnTo>
                    <a:lnTo>
                      <a:pt x="135246" y="191894"/>
                    </a:lnTo>
                    <a:lnTo>
                      <a:pt x="95593" y="194726"/>
                    </a:lnTo>
                    <a:lnTo>
                      <a:pt x="95593" y="194726"/>
                    </a:lnTo>
                    <a:lnTo>
                      <a:pt x="54523" y="268368"/>
                    </a:lnTo>
                    <a:lnTo>
                      <a:pt x="10621" y="252790"/>
                    </a:lnTo>
                    <a:lnTo>
                      <a:pt x="10621" y="252790"/>
                    </a:lnTo>
                    <a:lnTo>
                      <a:pt x="38945" y="298108"/>
                    </a:lnTo>
                    <a:lnTo>
                      <a:pt x="13454" y="340594"/>
                    </a:lnTo>
                    <a:close/>
                    <a:moveTo>
                      <a:pt x="16286" y="339178"/>
                    </a:moveTo>
                    <a:lnTo>
                      <a:pt x="38945" y="298108"/>
                    </a:lnTo>
                    <a:lnTo>
                      <a:pt x="64437" y="337762"/>
                    </a:lnTo>
                    <a:lnTo>
                      <a:pt x="16286" y="339178"/>
                    </a:lnTo>
                    <a:close/>
                    <a:moveTo>
                      <a:pt x="53107" y="269784"/>
                    </a:moveTo>
                    <a:lnTo>
                      <a:pt x="38945" y="293860"/>
                    </a:lnTo>
                    <a:lnTo>
                      <a:pt x="14870" y="255622"/>
                    </a:lnTo>
                    <a:lnTo>
                      <a:pt x="53107" y="269784"/>
                    </a:lnTo>
                    <a:close/>
                    <a:moveTo>
                      <a:pt x="55940" y="268368"/>
                    </a:moveTo>
                    <a:lnTo>
                      <a:pt x="95593" y="196142"/>
                    </a:lnTo>
                    <a:lnTo>
                      <a:pt x="97009" y="196142"/>
                    </a:lnTo>
                    <a:lnTo>
                      <a:pt x="97009" y="196142"/>
                    </a:lnTo>
                    <a:lnTo>
                      <a:pt x="82847" y="278282"/>
                    </a:lnTo>
                    <a:lnTo>
                      <a:pt x="55940" y="268368"/>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54" name="Freeform: Shape 953">
                <a:extLst>
                  <a:ext uri="{FF2B5EF4-FFF2-40B4-BE49-F238E27FC236}">
                    <a16:creationId xmlns:a16="http://schemas.microsoft.com/office/drawing/2014/main" id="{8E9D87CE-5ED0-4504-B9DA-85C5391247E3}"/>
                  </a:ext>
                </a:extLst>
              </p:cNvPr>
              <p:cNvSpPr/>
              <p:nvPr/>
            </p:nvSpPr>
            <p:spPr>
              <a:xfrm>
                <a:off x="6147691" y="621402"/>
                <a:ext cx="453181" cy="169943"/>
              </a:xfrm>
              <a:custGeom>
                <a:avLst/>
                <a:gdLst>
                  <a:gd name="connsiteX0" fmla="*/ 138079 w 453181"/>
                  <a:gd name="connsiteY0" fmla="*/ 27616 h 169942"/>
                  <a:gd name="connsiteX1" fmla="*/ 159322 w 453181"/>
                  <a:gd name="connsiteY1" fmla="*/ 160738 h 169942"/>
                  <a:gd name="connsiteX2" fmla="*/ 159322 w 453181"/>
                  <a:gd name="connsiteY2" fmla="*/ 160738 h 169942"/>
                  <a:gd name="connsiteX3" fmla="*/ 336345 w 453181"/>
                  <a:gd name="connsiteY3" fmla="*/ 61604 h 169942"/>
                  <a:gd name="connsiteX4" fmla="*/ 336345 w 453181"/>
                  <a:gd name="connsiteY4" fmla="*/ 61604 h 169942"/>
                  <a:gd name="connsiteX5" fmla="*/ 150824 w 453181"/>
                  <a:gd name="connsiteY5" fmla="*/ 17702 h 169942"/>
                  <a:gd name="connsiteX6" fmla="*/ 443976 w 453181"/>
                  <a:gd name="connsiteY6" fmla="*/ 13454 h 169942"/>
                  <a:gd name="connsiteX7" fmla="*/ 443976 w 453181"/>
                  <a:gd name="connsiteY7" fmla="*/ 13454 h 169942"/>
                  <a:gd name="connsiteX8" fmla="*/ 443976 w 453181"/>
                  <a:gd name="connsiteY8" fmla="*/ 10621 h 169942"/>
                  <a:gd name="connsiteX9" fmla="*/ 142328 w 453181"/>
                  <a:gd name="connsiteY9" fmla="*/ 16286 h 169942"/>
                  <a:gd name="connsiteX10" fmla="*/ 140911 w 453181"/>
                  <a:gd name="connsiteY10" fmla="*/ 16286 h 169942"/>
                  <a:gd name="connsiteX11" fmla="*/ 140911 w 453181"/>
                  <a:gd name="connsiteY11" fmla="*/ 17702 h 169942"/>
                  <a:gd name="connsiteX12" fmla="*/ 330681 w 453181"/>
                  <a:gd name="connsiteY12" fmla="*/ 61604 h 169942"/>
                  <a:gd name="connsiteX13" fmla="*/ 162154 w 453181"/>
                  <a:gd name="connsiteY13" fmla="*/ 157905 h 169942"/>
                  <a:gd name="connsiteX14" fmla="*/ 139495 w 453181"/>
                  <a:gd name="connsiteY14" fmla="*/ 24783 h 169942"/>
                  <a:gd name="connsiteX15" fmla="*/ 139495 w 453181"/>
                  <a:gd name="connsiteY15" fmla="*/ 24783 h 169942"/>
                  <a:gd name="connsiteX16" fmla="*/ 10621 w 453181"/>
                  <a:gd name="connsiteY16" fmla="*/ 81431 h 169942"/>
                  <a:gd name="connsiteX17" fmla="*/ 10621 w 453181"/>
                  <a:gd name="connsiteY17" fmla="*/ 81431 h 169942"/>
                  <a:gd name="connsiteX18" fmla="*/ 12038 w 453181"/>
                  <a:gd name="connsiteY18" fmla="*/ 82847 h 16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53181" h="169942">
                    <a:moveTo>
                      <a:pt x="138079" y="27616"/>
                    </a:moveTo>
                    <a:lnTo>
                      <a:pt x="159322" y="160738"/>
                    </a:lnTo>
                    <a:lnTo>
                      <a:pt x="159322" y="160738"/>
                    </a:lnTo>
                    <a:lnTo>
                      <a:pt x="336345" y="61604"/>
                    </a:lnTo>
                    <a:lnTo>
                      <a:pt x="336345" y="61604"/>
                    </a:lnTo>
                    <a:lnTo>
                      <a:pt x="150824" y="17702"/>
                    </a:lnTo>
                    <a:lnTo>
                      <a:pt x="443976" y="13454"/>
                    </a:lnTo>
                    <a:lnTo>
                      <a:pt x="443976" y="13454"/>
                    </a:lnTo>
                    <a:lnTo>
                      <a:pt x="443976" y="10621"/>
                    </a:lnTo>
                    <a:lnTo>
                      <a:pt x="142328" y="16286"/>
                    </a:lnTo>
                    <a:lnTo>
                      <a:pt x="140911" y="16286"/>
                    </a:lnTo>
                    <a:lnTo>
                      <a:pt x="140911" y="17702"/>
                    </a:lnTo>
                    <a:lnTo>
                      <a:pt x="330681" y="61604"/>
                    </a:lnTo>
                    <a:lnTo>
                      <a:pt x="162154" y="157905"/>
                    </a:lnTo>
                    <a:lnTo>
                      <a:pt x="139495" y="24783"/>
                    </a:lnTo>
                    <a:lnTo>
                      <a:pt x="139495" y="24783"/>
                    </a:lnTo>
                    <a:lnTo>
                      <a:pt x="10621" y="81431"/>
                    </a:lnTo>
                    <a:lnTo>
                      <a:pt x="10621" y="81431"/>
                    </a:lnTo>
                    <a:lnTo>
                      <a:pt x="12038" y="82847"/>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55" name="Freeform: Shape 954">
                <a:extLst>
                  <a:ext uri="{FF2B5EF4-FFF2-40B4-BE49-F238E27FC236}">
                    <a16:creationId xmlns:a16="http://schemas.microsoft.com/office/drawing/2014/main" id="{9708B38E-8466-4605-8F8A-29272C7532FA}"/>
                  </a:ext>
                </a:extLst>
              </p:cNvPr>
              <p:cNvSpPr/>
              <p:nvPr/>
            </p:nvSpPr>
            <p:spPr>
              <a:xfrm>
                <a:off x="7331627" y="847992"/>
                <a:ext cx="368210" cy="325724"/>
              </a:xfrm>
              <a:custGeom>
                <a:avLst/>
                <a:gdLst>
                  <a:gd name="connsiteX0" fmla="*/ 10621 w 368209"/>
                  <a:gd name="connsiteY0" fmla="*/ 211721 h 325723"/>
                  <a:gd name="connsiteX1" fmla="*/ 12038 w 368209"/>
                  <a:gd name="connsiteY1" fmla="*/ 213137 h 325723"/>
                  <a:gd name="connsiteX2" fmla="*/ 12038 w 368209"/>
                  <a:gd name="connsiteY2" fmla="*/ 213137 h 325723"/>
                  <a:gd name="connsiteX3" fmla="*/ 361837 w 368209"/>
                  <a:gd name="connsiteY3" fmla="*/ 17702 h 325723"/>
                  <a:gd name="connsiteX4" fmla="*/ 186229 w 368209"/>
                  <a:gd name="connsiteY4" fmla="*/ 183397 h 325723"/>
                  <a:gd name="connsiteX5" fmla="*/ 10621 w 368209"/>
                  <a:gd name="connsiteY5" fmla="*/ 220218 h 325723"/>
                  <a:gd name="connsiteX6" fmla="*/ 10621 w 368209"/>
                  <a:gd name="connsiteY6" fmla="*/ 220218 h 325723"/>
                  <a:gd name="connsiteX7" fmla="*/ 128165 w 368209"/>
                  <a:gd name="connsiteY7" fmla="*/ 320767 h 325723"/>
                  <a:gd name="connsiteX8" fmla="*/ 129581 w 368209"/>
                  <a:gd name="connsiteY8" fmla="*/ 320767 h 325723"/>
                  <a:gd name="connsiteX9" fmla="*/ 129581 w 368209"/>
                  <a:gd name="connsiteY9" fmla="*/ 319351 h 325723"/>
                  <a:gd name="connsiteX10" fmla="*/ 129581 w 368209"/>
                  <a:gd name="connsiteY10" fmla="*/ 319351 h 325723"/>
                  <a:gd name="connsiteX11" fmla="*/ 14870 w 368209"/>
                  <a:gd name="connsiteY11" fmla="*/ 221634 h 325723"/>
                  <a:gd name="connsiteX12" fmla="*/ 187645 w 368209"/>
                  <a:gd name="connsiteY12" fmla="*/ 184813 h 325723"/>
                  <a:gd name="connsiteX13" fmla="*/ 368918 w 368209"/>
                  <a:gd name="connsiteY13" fmla="*/ 12038 h 325723"/>
                  <a:gd name="connsiteX14" fmla="*/ 370334 w 368209"/>
                  <a:gd name="connsiteY14" fmla="*/ 12038 h 325723"/>
                  <a:gd name="connsiteX15" fmla="*/ 368918 w 368209"/>
                  <a:gd name="connsiteY15" fmla="*/ 10621 h 325723"/>
                  <a:gd name="connsiteX16" fmla="*/ 10621 w 368209"/>
                  <a:gd name="connsiteY16" fmla="*/ 211721 h 325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8209" h="325723">
                    <a:moveTo>
                      <a:pt x="10621" y="211721"/>
                    </a:moveTo>
                    <a:lnTo>
                      <a:pt x="12038" y="213137"/>
                    </a:lnTo>
                    <a:lnTo>
                      <a:pt x="12038" y="213137"/>
                    </a:lnTo>
                    <a:lnTo>
                      <a:pt x="361837" y="17702"/>
                    </a:lnTo>
                    <a:lnTo>
                      <a:pt x="186229" y="183397"/>
                    </a:lnTo>
                    <a:lnTo>
                      <a:pt x="10621" y="220218"/>
                    </a:lnTo>
                    <a:lnTo>
                      <a:pt x="10621" y="220218"/>
                    </a:lnTo>
                    <a:lnTo>
                      <a:pt x="128165" y="320767"/>
                    </a:lnTo>
                    <a:lnTo>
                      <a:pt x="129581" y="320767"/>
                    </a:lnTo>
                    <a:lnTo>
                      <a:pt x="129581" y="319351"/>
                    </a:lnTo>
                    <a:lnTo>
                      <a:pt x="129581" y="319351"/>
                    </a:lnTo>
                    <a:lnTo>
                      <a:pt x="14870" y="221634"/>
                    </a:lnTo>
                    <a:lnTo>
                      <a:pt x="187645" y="184813"/>
                    </a:lnTo>
                    <a:lnTo>
                      <a:pt x="368918" y="12038"/>
                    </a:lnTo>
                    <a:lnTo>
                      <a:pt x="370334" y="12038"/>
                    </a:lnTo>
                    <a:lnTo>
                      <a:pt x="368918" y="10621"/>
                    </a:lnTo>
                    <a:lnTo>
                      <a:pt x="10621" y="211721"/>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56" name="Freeform: Shape 955">
                <a:extLst>
                  <a:ext uri="{FF2B5EF4-FFF2-40B4-BE49-F238E27FC236}">
                    <a16:creationId xmlns:a16="http://schemas.microsoft.com/office/drawing/2014/main" id="{31C9DB33-B299-4C83-944C-6A821707AA7F}"/>
                  </a:ext>
                </a:extLst>
              </p:cNvPr>
              <p:cNvSpPr/>
              <p:nvPr/>
            </p:nvSpPr>
            <p:spPr>
              <a:xfrm>
                <a:off x="7238158" y="482615"/>
                <a:ext cx="410695" cy="127457"/>
              </a:xfrm>
              <a:custGeom>
                <a:avLst/>
                <a:gdLst>
                  <a:gd name="connsiteX0" fmla="*/ 279698 w 410695"/>
                  <a:gd name="connsiteY0" fmla="*/ 13454 h 127457"/>
                  <a:gd name="connsiteX1" fmla="*/ 292443 w 410695"/>
                  <a:gd name="connsiteY1" fmla="*/ 82847 h 127457"/>
                  <a:gd name="connsiteX2" fmla="*/ 20535 w 410695"/>
                  <a:gd name="connsiteY2" fmla="*/ 104090 h 127457"/>
                  <a:gd name="connsiteX3" fmla="*/ 20535 w 410695"/>
                  <a:gd name="connsiteY3" fmla="*/ 104090 h 127457"/>
                  <a:gd name="connsiteX4" fmla="*/ 20535 w 410695"/>
                  <a:gd name="connsiteY4" fmla="*/ 105506 h 127457"/>
                  <a:gd name="connsiteX5" fmla="*/ 292443 w 410695"/>
                  <a:gd name="connsiteY5" fmla="*/ 84263 h 127457"/>
                  <a:gd name="connsiteX6" fmla="*/ 300941 w 410695"/>
                  <a:gd name="connsiteY6" fmla="*/ 129581 h 127457"/>
                  <a:gd name="connsiteX7" fmla="*/ 300941 w 410695"/>
                  <a:gd name="connsiteY7" fmla="*/ 129581 h 127457"/>
                  <a:gd name="connsiteX8" fmla="*/ 401490 w 410695"/>
                  <a:gd name="connsiteY8" fmla="*/ 74350 h 127457"/>
                  <a:gd name="connsiteX9" fmla="*/ 402907 w 410695"/>
                  <a:gd name="connsiteY9" fmla="*/ 74350 h 127457"/>
                  <a:gd name="connsiteX10" fmla="*/ 293860 w 410695"/>
                  <a:gd name="connsiteY10" fmla="*/ 82847 h 127457"/>
                  <a:gd name="connsiteX11" fmla="*/ 281114 w 410695"/>
                  <a:gd name="connsiteY11" fmla="*/ 10621 h 127457"/>
                  <a:gd name="connsiteX12" fmla="*/ 281114 w 410695"/>
                  <a:gd name="connsiteY12" fmla="*/ 10621 h 127457"/>
                  <a:gd name="connsiteX13" fmla="*/ 10621 w 410695"/>
                  <a:gd name="connsiteY13" fmla="*/ 97009 h 127457"/>
                  <a:gd name="connsiteX14" fmla="*/ 10621 w 410695"/>
                  <a:gd name="connsiteY14" fmla="*/ 97009 h 127457"/>
                  <a:gd name="connsiteX15" fmla="*/ 10621 w 410695"/>
                  <a:gd name="connsiteY15" fmla="*/ 98425 h 127457"/>
                  <a:gd name="connsiteX16" fmla="*/ 279698 w 410695"/>
                  <a:gd name="connsiteY16" fmla="*/ 13454 h 127457"/>
                  <a:gd name="connsiteX17" fmla="*/ 302357 w 410695"/>
                  <a:gd name="connsiteY17" fmla="*/ 126749 h 127457"/>
                  <a:gd name="connsiteX18" fmla="*/ 295276 w 410695"/>
                  <a:gd name="connsiteY18" fmla="*/ 84263 h 127457"/>
                  <a:gd name="connsiteX19" fmla="*/ 394409 w 410695"/>
                  <a:gd name="connsiteY19" fmla="*/ 75766 h 127457"/>
                  <a:gd name="connsiteX20" fmla="*/ 302357 w 410695"/>
                  <a:gd name="connsiteY20" fmla="*/ 126749 h 12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0695" h="127457">
                    <a:moveTo>
                      <a:pt x="279698" y="13454"/>
                    </a:moveTo>
                    <a:lnTo>
                      <a:pt x="292443" y="82847"/>
                    </a:lnTo>
                    <a:lnTo>
                      <a:pt x="20535" y="104090"/>
                    </a:lnTo>
                    <a:lnTo>
                      <a:pt x="20535" y="104090"/>
                    </a:lnTo>
                    <a:lnTo>
                      <a:pt x="20535" y="105506"/>
                    </a:lnTo>
                    <a:lnTo>
                      <a:pt x="292443" y="84263"/>
                    </a:lnTo>
                    <a:lnTo>
                      <a:pt x="300941" y="129581"/>
                    </a:lnTo>
                    <a:lnTo>
                      <a:pt x="300941" y="129581"/>
                    </a:lnTo>
                    <a:lnTo>
                      <a:pt x="401490" y="74350"/>
                    </a:lnTo>
                    <a:lnTo>
                      <a:pt x="402907" y="74350"/>
                    </a:lnTo>
                    <a:lnTo>
                      <a:pt x="293860" y="82847"/>
                    </a:lnTo>
                    <a:lnTo>
                      <a:pt x="281114" y="10621"/>
                    </a:lnTo>
                    <a:lnTo>
                      <a:pt x="281114" y="10621"/>
                    </a:lnTo>
                    <a:lnTo>
                      <a:pt x="10621" y="97009"/>
                    </a:lnTo>
                    <a:lnTo>
                      <a:pt x="10621" y="97009"/>
                    </a:lnTo>
                    <a:lnTo>
                      <a:pt x="10621" y="98425"/>
                    </a:lnTo>
                    <a:lnTo>
                      <a:pt x="279698" y="13454"/>
                    </a:lnTo>
                    <a:close/>
                    <a:moveTo>
                      <a:pt x="302357" y="126749"/>
                    </a:moveTo>
                    <a:lnTo>
                      <a:pt x="295276" y="84263"/>
                    </a:lnTo>
                    <a:lnTo>
                      <a:pt x="394409" y="75766"/>
                    </a:lnTo>
                    <a:lnTo>
                      <a:pt x="302357" y="126749"/>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grpSp>
      </p:grpSp>
      <p:grpSp>
        <p:nvGrpSpPr>
          <p:cNvPr id="964" name="Dots">
            <a:extLst>
              <a:ext uri="{FF2B5EF4-FFF2-40B4-BE49-F238E27FC236}">
                <a16:creationId xmlns:a16="http://schemas.microsoft.com/office/drawing/2014/main" id="{97A908EF-FAB2-486E-99A1-9499518562B7}"/>
              </a:ext>
            </a:extLst>
          </p:cNvPr>
          <p:cNvGrpSpPr/>
          <p:nvPr/>
        </p:nvGrpSpPr>
        <p:grpSpPr>
          <a:xfrm>
            <a:off x="840224" y="347874"/>
            <a:ext cx="10752358" cy="6303401"/>
            <a:chOff x="826141" y="332996"/>
            <a:chExt cx="10535048" cy="6176008"/>
          </a:xfrm>
          <a:solidFill>
            <a:srgbClr val="0078D4"/>
          </a:solidFill>
        </p:grpSpPr>
        <p:sp>
          <p:nvSpPr>
            <p:cNvPr id="965" name="Freeform: Shape 964">
              <a:extLst>
                <a:ext uri="{FF2B5EF4-FFF2-40B4-BE49-F238E27FC236}">
                  <a16:creationId xmlns:a16="http://schemas.microsoft.com/office/drawing/2014/main" id="{0BCD449E-67FB-4604-B2A1-7A25AC8EF15D}"/>
                </a:ext>
              </a:extLst>
            </p:cNvPr>
            <p:cNvSpPr/>
            <p:nvPr/>
          </p:nvSpPr>
          <p:spPr>
            <a:xfrm>
              <a:off x="11181332" y="1308751"/>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8101"/>
                    <a:pt x="95095" y="55442"/>
                  </a:cubicBezTo>
                  <a:cubicBezTo>
                    <a:pt x="95095" y="34199"/>
                    <a:pt x="78101" y="15789"/>
                    <a:pt x="55442" y="15789"/>
                  </a:cubicBezTo>
                  <a:cubicBezTo>
                    <a:pt x="34199" y="15789"/>
                    <a:pt x="15789" y="32783"/>
                    <a:pt x="15789" y="55442"/>
                  </a:cubicBezTo>
                  <a:cubicBezTo>
                    <a:pt x="15789" y="76685"/>
                    <a:pt x="34199" y="95096"/>
                    <a:pt x="55442" y="950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66" name="Freeform: Shape 965">
              <a:extLst>
                <a:ext uri="{FF2B5EF4-FFF2-40B4-BE49-F238E27FC236}">
                  <a16:creationId xmlns:a16="http://schemas.microsoft.com/office/drawing/2014/main" id="{45DAA57E-F6A2-44D9-A10D-3F581A17AE6E}"/>
                </a:ext>
              </a:extLst>
            </p:cNvPr>
            <p:cNvSpPr/>
            <p:nvPr/>
          </p:nvSpPr>
          <p:spPr>
            <a:xfrm>
              <a:off x="9156179" y="2165547"/>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8102"/>
                    <a:pt x="95095" y="55442"/>
                  </a:cubicBezTo>
                  <a:cubicBezTo>
                    <a:pt x="95095" y="34200"/>
                    <a:pt x="78101" y="15789"/>
                    <a:pt x="55442" y="15789"/>
                  </a:cubicBezTo>
                  <a:cubicBezTo>
                    <a:pt x="32783" y="15789"/>
                    <a:pt x="15789" y="32783"/>
                    <a:pt x="15789" y="55442"/>
                  </a:cubicBezTo>
                  <a:cubicBezTo>
                    <a:pt x="15789" y="76685"/>
                    <a:pt x="34199" y="95096"/>
                    <a:pt x="55442" y="950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67" name="Freeform: Shape 966">
              <a:extLst>
                <a:ext uri="{FF2B5EF4-FFF2-40B4-BE49-F238E27FC236}">
                  <a16:creationId xmlns:a16="http://schemas.microsoft.com/office/drawing/2014/main" id="{C629BDF1-D2CA-4D4A-8F9D-4360FB10E950}"/>
                </a:ext>
              </a:extLst>
            </p:cNvPr>
            <p:cNvSpPr/>
            <p:nvPr/>
          </p:nvSpPr>
          <p:spPr>
            <a:xfrm>
              <a:off x="9304879" y="1524012"/>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8101"/>
                    <a:pt x="95095" y="55442"/>
                  </a:cubicBezTo>
                  <a:cubicBezTo>
                    <a:pt x="95095" y="34200"/>
                    <a:pt x="78101" y="15789"/>
                    <a:pt x="55442" y="15789"/>
                  </a:cubicBezTo>
                  <a:cubicBezTo>
                    <a:pt x="34199" y="15789"/>
                    <a:pt x="15789" y="32783"/>
                    <a:pt x="15789" y="55442"/>
                  </a:cubicBezTo>
                  <a:cubicBezTo>
                    <a:pt x="15789" y="78101"/>
                    <a:pt x="32783" y="95096"/>
                    <a:pt x="55442" y="950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68" name="Freeform: Shape 967">
              <a:extLst>
                <a:ext uri="{FF2B5EF4-FFF2-40B4-BE49-F238E27FC236}">
                  <a16:creationId xmlns:a16="http://schemas.microsoft.com/office/drawing/2014/main" id="{4603E273-76E5-466E-9014-58493F404BAB}"/>
                </a:ext>
              </a:extLst>
            </p:cNvPr>
            <p:cNvSpPr/>
            <p:nvPr/>
          </p:nvSpPr>
          <p:spPr>
            <a:xfrm>
              <a:off x="10181501" y="1157219"/>
              <a:ext cx="155781" cy="155781"/>
            </a:xfrm>
            <a:custGeom>
              <a:avLst/>
              <a:gdLst>
                <a:gd name="connsiteX0" fmla="*/ 80934 w 155781"/>
                <a:gd name="connsiteY0" fmla="*/ 146079 h 155780"/>
                <a:gd name="connsiteX1" fmla="*/ 146079 w 155781"/>
                <a:gd name="connsiteY1" fmla="*/ 80934 h 155780"/>
                <a:gd name="connsiteX2" fmla="*/ 80934 w 155781"/>
                <a:gd name="connsiteY2" fmla="*/ 15789 h 155780"/>
                <a:gd name="connsiteX3" fmla="*/ 15789 w 155781"/>
                <a:gd name="connsiteY3" fmla="*/ 80934 h 155780"/>
                <a:gd name="connsiteX4" fmla="*/ 80934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4" y="146079"/>
                  </a:moveTo>
                  <a:cubicBezTo>
                    <a:pt x="116339" y="146079"/>
                    <a:pt x="146079" y="116339"/>
                    <a:pt x="146079" y="80934"/>
                  </a:cubicBezTo>
                  <a:cubicBezTo>
                    <a:pt x="146079" y="45529"/>
                    <a:pt x="116339" y="15789"/>
                    <a:pt x="80934" y="15789"/>
                  </a:cubicBezTo>
                  <a:cubicBezTo>
                    <a:pt x="45530" y="15789"/>
                    <a:pt x="15789" y="45529"/>
                    <a:pt x="15789" y="80934"/>
                  </a:cubicBezTo>
                  <a:cubicBezTo>
                    <a:pt x="15789" y="116339"/>
                    <a:pt x="44113" y="146079"/>
                    <a:pt x="80934"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69" name="Freeform: Shape 968">
              <a:extLst>
                <a:ext uri="{FF2B5EF4-FFF2-40B4-BE49-F238E27FC236}">
                  <a16:creationId xmlns:a16="http://schemas.microsoft.com/office/drawing/2014/main" id="{4679D3FC-2BE4-4256-8379-B1A639FD3D1B}"/>
                </a:ext>
              </a:extLst>
            </p:cNvPr>
            <p:cNvSpPr/>
            <p:nvPr/>
          </p:nvSpPr>
          <p:spPr>
            <a:xfrm>
              <a:off x="9862858" y="2115980"/>
              <a:ext cx="141619" cy="141619"/>
            </a:xfrm>
            <a:custGeom>
              <a:avLst/>
              <a:gdLst>
                <a:gd name="connsiteX0" fmla="*/ 71021 w 141619"/>
                <a:gd name="connsiteY0" fmla="*/ 126252 h 141619"/>
                <a:gd name="connsiteX1" fmla="*/ 126253 w 141619"/>
                <a:gd name="connsiteY1" fmla="*/ 71020 h 141619"/>
                <a:gd name="connsiteX2" fmla="*/ 71021 w 141619"/>
                <a:gd name="connsiteY2" fmla="*/ 15789 h 141619"/>
                <a:gd name="connsiteX3" fmla="*/ 15789 w 141619"/>
                <a:gd name="connsiteY3" fmla="*/ 71020 h 141619"/>
                <a:gd name="connsiteX4" fmla="*/ 71021 w 141619"/>
                <a:gd name="connsiteY4" fmla="*/ 126252 h 141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9" h="141619">
                  <a:moveTo>
                    <a:pt x="71021" y="126252"/>
                  </a:moveTo>
                  <a:cubicBezTo>
                    <a:pt x="100760" y="126252"/>
                    <a:pt x="126253" y="100760"/>
                    <a:pt x="126253" y="71020"/>
                  </a:cubicBezTo>
                  <a:cubicBezTo>
                    <a:pt x="126253" y="41280"/>
                    <a:pt x="100760" y="15789"/>
                    <a:pt x="71021" y="15789"/>
                  </a:cubicBezTo>
                  <a:cubicBezTo>
                    <a:pt x="41281" y="15789"/>
                    <a:pt x="15789" y="41280"/>
                    <a:pt x="15789" y="71020"/>
                  </a:cubicBezTo>
                  <a:cubicBezTo>
                    <a:pt x="15789" y="100760"/>
                    <a:pt x="41281" y="126252"/>
                    <a:pt x="71021" y="12625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0" name="Freeform: Shape 969">
              <a:extLst>
                <a:ext uri="{FF2B5EF4-FFF2-40B4-BE49-F238E27FC236}">
                  <a16:creationId xmlns:a16="http://schemas.microsoft.com/office/drawing/2014/main" id="{D5E34C85-4DBD-45B9-AD39-132794CE6D32}"/>
                </a:ext>
              </a:extLst>
            </p:cNvPr>
            <p:cNvSpPr/>
            <p:nvPr/>
          </p:nvSpPr>
          <p:spPr>
            <a:xfrm>
              <a:off x="8710079" y="831495"/>
              <a:ext cx="155781" cy="155781"/>
            </a:xfrm>
            <a:custGeom>
              <a:avLst/>
              <a:gdLst>
                <a:gd name="connsiteX0" fmla="*/ 80933 w 155781"/>
                <a:gd name="connsiteY0" fmla="*/ 15789 h 155780"/>
                <a:gd name="connsiteX1" fmla="*/ 146079 w 155781"/>
                <a:gd name="connsiteY1" fmla="*/ 80934 h 155780"/>
                <a:gd name="connsiteX2" fmla="*/ 80933 w 155781"/>
                <a:gd name="connsiteY2" fmla="*/ 146079 h 155780"/>
                <a:gd name="connsiteX3" fmla="*/ 15789 w 155781"/>
                <a:gd name="connsiteY3" fmla="*/ 80934 h 155780"/>
                <a:gd name="connsiteX4" fmla="*/ 80933 w 155781"/>
                <a:gd name="connsiteY4" fmla="*/ 15789 h 155780"/>
                <a:gd name="connsiteX5" fmla="*/ 80933 w 155781"/>
                <a:gd name="connsiteY5" fmla="*/ 15789 h 155780"/>
                <a:gd name="connsiteX6" fmla="*/ 80933 w 155781"/>
                <a:gd name="connsiteY6" fmla="*/ 45529 h 155780"/>
                <a:gd name="connsiteX7" fmla="*/ 44113 w 155781"/>
                <a:gd name="connsiteY7" fmla="*/ 82350 h 155780"/>
                <a:gd name="connsiteX8" fmla="*/ 80933 w 155781"/>
                <a:gd name="connsiteY8" fmla="*/ 119171 h 155780"/>
                <a:gd name="connsiteX9" fmla="*/ 117755 w 155781"/>
                <a:gd name="connsiteY9" fmla="*/ 82350 h 155780"/>
                <a:gd name="connsiteX10" fmla="*/ 80933 w 155781"/>
                <a:gd name="connsiteY10" fmla="*/ 45529 h 155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781" h="155780">
                  <a:moveTo>
                    <a:pt x="80933" y="15789"/>
                  </a:moveTo>
                  <a:cubicBezTo>
                    <a:pt x="117755" y="15789"/>
                    <a:pt x="146079" y="45529"/>
                    <a:pt x="146079" y="80934"/>
                  </a:cubicBezTo>
                  <a:cubicBezTo>
                    <a:pt x="146079" y="117755"/>
                    <a:pt x="116338" y="146079"/>
                    <a:pt x="80933" y="146079"/>
                  </a:cubicBezTo>
                  <a:cubicBezTo>
                    <a:pt x="44113" y="146079"/>
                    <a:pt x="15789" y="116339"/>
                    <a:pt x="15789" y="80934"/>
                  </a:cubicBezTo>
                  <a:cubicBezTo>
                    <a:pt x="15789" y="45529"/>
                    <a:pt x="44113" y="15789"/>
                    <a:pt x="80933" y="15789"/>
                  </a:cubicBezTo>
                  <a:lnTo>
                    <a:pt x="80933" y="15789"/>
                  </a:lnTo>
                  <a:close/>
                  <a:moveTo>
                    <a:pt x="80933" y="45529"/>
                  </a:moveTo>
                  <a:cubicBezTo>
                    <a:pt x="61107" y="45529"/>
                    <a:pt x="44113" y="62523"/>
                    <a:pt x="44113" y="82350"/>
                  </a:cubicBezTo>
                  <a:cubicBezTo>
                    <a:pt x="44113" y="102177"/>
                    <a:pt x="61107" y="119171"/>
                    <a:pt x="80933" y="119171"/>
                  </a:cubicBezTo>
                  <a:cubicBezTo>
                    <a:pt x="100760" y="119171"/>
                    <a:pt x="117755" y="102177"/>
                    <a:pt x="117755" y="82350"/>
                  </a:cubicBezTo>
                  <a:cubicBezTo>
                    <a:pt x="117755" y="62523"/>
                    <a:pt x="100760" y="45529"/>
                    <a:pt x="80933" y="4552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1" name="Freeform: Shape 970">
              <a:extLst>
                <a:ext uri="{FF2B5EF4-FFF2-40B4-BE49-F238E27FC236}">
                  <a16:creationId xmlns:a16="http://schemas.microsoft.com/office/drawing/2014/main" id="{BEAAC655-062B-4D2C-8BF4-A342A572A1EB}"/>
                </a:ext>
              </a:extLst>
            </p:cNvPr>
            <p:cNvSpPr/>
            <p:nvPr/>
          </p:nvSpPr>
          <p:spPr>
            <a:xfrm>
              <a:off x="10896678" y="1550920"/>
              <a:ext cx="155781" cy="155781"/>
            </a:xfrm>
            <a:custGeom>
              <a:avLst/>
              <a:gdLst>
                <a:gd name="connsiteX0" fmla="*/ 80934 w 155781"/>
                <a:gd name="connsiteY0" fmla="*/ 15789 h 155780"/>
                <a:gd name="connsiteX1" fmla="*/ 146079 w 155781"/>
                <a:gd name="connsiteY1" fmla="*/ 80934 h 155780"/>
                <a:gd name="connsiteX2" fmla="*/ 80934 w 155781"/>
                <a:gd name="connsiteY2" fmla="*/ 146079 h 155780"/>
                <a:gd name="connsiteX3" fmla="*/ 15789 w 155781"/>
                <a:gd name="connsiteY3" fmla="*/ 80934 h 155780"/>
                <a:gd name="connsiteX4" fmla="*/ 80934 w 155781"/>
                <a:gd name="connsiteY4" fmla="*/ 15789 h 155780"/>
                <a:gd name="connsiteX5" fmla="*/ 80934 w 155781"/>
                <a:gd name="connsiteY5" fmla="*/ 15789 h 155780"/>
                <a:gd name="connsiteX6" fmla="*/ 80934 w 155781"/>
                <a:gd name="connsiteY6" fmla="*/ 44113 h 155780"/>
                <a:gd name="connsiteX7" fmla="*/ 44113 w 155781"/>
                <a:gd name="connsiteY7" fmla="*/ 80934 h 155780"/>
                <a:gd name="connsiteX8" fmla="*/ 80934 w 155781"/>
                <a:gd name="connsiteY8" fmla="*/ 117755 h 155780"/>
                <a:gd name="connsiteX9" fmla="*/ 117755 w 155781"/>
                <a:gd name="connsiteY9" fmla="*/ 80934 h 155780"/>
                <a:gd name="connsiteX10" fmla="*/ 80934 w 155781"/>
                <a:gd name="connsiteY10" fmla="*/ 44113 h 155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781" h="155780">
                  <a:moveTo>
                    <a:pt x="80934" y="15789"/>
                  </a:moveTo>
                  <a:cubicBezTo>
                    <a:pt x="117755" y="15789"/>
                    <a:pt x="146079" y="45529"/>
                    <a:pt x="146079" y="80934"/>
                  </a:cubicBezTo>
                  <a:cubicBezTo>
                    <a:pt x="146079" y="117755"/>
                    <a:pt x="116339" y="146079"/>
                    <a:pt x="80934" y="146079"/>
                  </a:cubicBezTo>
                  <a:cubicBezTo>
                    <a:pt x="45530" y="146079"/>
                    <a:pt x="15789" y="116339"/>
                    <a:pt x="15789" y="80934"/>
                  </a:cubicBezTo>
                  <a:cubicBezTo>
                    <a:pt x="15789" y="45529"/>
                    <a:pt x="45530" y="15789"/>
                    <a:pt x="80934" y="15789"/>
                  </a:cubicBezTo>
                  <a:lnTo>
                    <a:pt x="80934" y="15789"/>
                  </a:lnTo>
                  <a:close/>
                  <a:moveTo>
                    <a:pt x="80934" y="44113"/>
                  </a:moveTo>
                  <a:cubicBezTo>
                    <a:pt x="61107" y="44113"/>
                    <a:pt x="44113" y="61107"/>
                    <a:pt x="44113" y="80934"/>
                  </a:cubicBezTo>
                  <a:cubicBezTo>
                    <a:pt x="44113" y="100760"/>
                    <a:pt x="61107" y="117755"/>
                    <a:pt x="80934" y="117755"/>
                  </a:cubicBezTo>
                  <a:cubicBezTo>
                    <a:pt x="100760" y="117755"/>
                    <a:pt x="117755" y="100760"/>
                    <a:pt x="117755" y="80934"/>
                  </a:cubicBezTo>
                  <a:cubicBezTo>
                    <a:pt x="117755" y="61107"/>
                    <a:pt x="100760" y="44113"/>
                    <a:pt x="80934"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2" name="Freeform: Shape 971">
              <a:extLst>
                <a:ext uri="{FF2B5EF4-FFF2-40B4-BE49-F238E27FC236}">
                  <a16:creationId xmlns:a16="http://schemas.microsoft.com/office/drawing/2014/main" id="{40FEFD85-7313-4122-A3B6-91D265504267}"/>
                </a:ext>
              </a:extLst>
            </p:cNvPr>
            <p:cNvSpPr/>
            <p:nvPr/>
          </p:nvSpPr>
          <p:spPr>
            <a:xfrm>
              <a:off x="10265057" y="1637308"/>
              <a:ext cx="141619" cy="141619"/>
            </a:xfrm>
            <a:custGeom>
              <a:avLst/>
              <a:gdLst>
                <a:gd name="connsiteX0" fmla="*/ 71021 w 141619"/>
                <a:gd name="connsiteY0" fmla="*/ 15789 h 141619"/>
                <a:gd name="connsiteX1" fmla="*/ 126252 w 141619"/>
                <a:gd name="connsiteY1" fmla="*/ 71020 h 141619"/>
                <a:gd name="connsiteX2" fmla="*/ 71021 w 141619"/>
                <a:gd name="connsiteY2" fmla="*/ 126252 h 141619"/>
                <a:gd name="connsiteX3" fmla="*/ 15789 w 141619"/>
                <a:gd name="connsiteY3" fmla="*/ 71020 h 141619"/>
                <a:gd name="connsiteX4" fmla="*/ 71021 w 141619"/>
                <a:gd name="connsiteY4" fmla="*/ 15789 h 141619"/>
                <a:gd name="connsiteX5" fmla="*/ 71021 w 141619"/>
                <a:gd name="connsiteY5" fmla="*/ 15789 h 141619"/>
                <a:gd name="connsiteX6" fmla="*/ 71021 w 141619"/>
                <a:gd name="connsiteY6" fmla="*/ 25702 h 141619"/>
                <a:gd name="connsiteX7" fmla="*/ 25703 w 141619"/>
                <a:gd name="connsiteY7" fmla="*/ 71020 h 141619"/>
                <a:gd name="connsiteX8" fmla="*/ 71021 w 141619"/>
                <a:gd name="connsiteY8" fmla="*/ 116339 h 141619"/>
                <a:gd name="connsiteX9" fmla="*/ 116338 w 141619"/>
                <a:gd name="connsiteY9" fmla="*/ 71020 h 141619"/>
                <a:gd name="connsiteX10" fmla="*/ 71021 w 141619"/>
                <a:gd name="connsiteY10" fmla="*/ 25702 h 141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619" h="141619">
                  <a:moveTo>
                    <a:pt x="71021" y="15789"/>
                  </a:moveTo>
                  <a:cubicBezTo>
                    <a:pt x="102176" y="15789"/>
                    <a:pt x="126252" y="41280"/>
                    <a:pt x="126252" y="71020"/>
                  </a:cubicBezTo>
                  <a:cubicBezTo>
                    <a:pt x="126252" y="102177"/>
                    <a:pt x="100760" y="126252"/>
                    <a:pt x="71021" y="126252"/>
                  </a:cubicBezTo>
                  <a:cubicBezTo>
                    <a:pt x="39864" y="126252"/>
                    <a:pt x="15789" y="100760"/>
                    <a:pt x="15789" y="71020"/>
                  </a:cubicBezTo>
                  <a:cubicBezTo>
                    <a:pt x="15789" y="41280"/>
                    <a:pt x="39864" y="15789"/>
                    <a:pt x="71021" y="15789"/>
                  </a:cubicBezTo>
                  <a:lnTo>
                    <a:pt x="71021" y="15789"/>
                  </a:lnTo>
                  <a:close/>
                  <a:moveTo>
                    <a:pt x="71021" y="25702"/>
                  </a:moveTo>
                  <a:cubicBezTo>
                    <a:pt x="45529" y="25702"/>
                    <a:pt x="25703" y="45529"/>
                    <a:pt x="25703" y="71020"/>
                  </a:cubicBezTo>
                  <a:cubicBezTo>
                    <a:pt x="25703" y="96512"/>
                    <a:pt x="45529" y="116339"/>
                    <a:pt x="71021" y="116339"/>
                  </a:cubicBezTo>
                  <a:cubicBezTo>
                    <a:pt x="96512" y="116339"/>
                    <a:pt x="116338" y="96512"/>
                    <a:pt x="116338" y="71020"/>
                  </a:cubicBezTo>
                  <a:cubicBezTo>
                    <a:pt x="116338" y="46945"/>
                    <a:pt x="96512" y="25702"/>
                    <a:pt x="71021" y="2570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3" name="Freeform: Shape 972">
              <a:extLst>
                <a:ext uri="{FF2B5EF4-FFF2-40B4-BE49-F238E27FC236}">
                  <a16:creationId xmlns:a16="http://schemas.microsoft.com/office/drawing/2014/main" id="{C8F6C25D-DDE9-4216-8751-76F39B040F49}"/>
                </a:ext>
              </a:extLst>
            </p:cNvPr>
            <p:cNvSpPr/>
            <p:nvPr/>
          </p:nvSpPr>
          <p:spPr>
            <a:xfrm>
              <a:off x="11153009" y="1501353"/>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5789" y="37032"/>
                    <a:pt x="21453"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4" name="Freeform: Shape 973">
              <a:extLst>
                <a:ext uri="{FF2B5EF4-FFF2-40B4-BE49-F238E27FC236}">
                  <a16:creationId xmlns:a16="http://schemas.microsoft.com/office/drawing/2014/main" id="{1483EFED-176E-422D-8826-34CDC34D29E2}"/>
                </a:ext>
              </a:extLst>
            </p:cNvPr>
            <p:cNvSpPr/>
            <p:nvPr/>
          </p:nvSpPr>
          <p:spPr>
            <a:xfrm>
              <a:off x="10743729" y="1504186"/>
              <a:ext cx="99133" cy="99133"/>
            </a:xfrm>
            <a:custGeom>
              <a:avLst/>
              <a:gdLst>
                <a:gd name="connsiteX0" fmla="*/ 49778 w 99133"/>
                <a:gd name="connsiteY0" fmla="*/ 83766 h 99133"/>
                <a:gd name="connsiteX1" fmla="*/ 83766 w 99133"/>
                <a:gd name="connsiteY1" fmla="*/ 49778 h 99133"/>
                <a:gd name="connsiteX2" fmla="*/ 49778 w 99133"/>
                <a:gd name="connsiteY2" fmla="*/ 15789 h 99133"/>
                <a:gd name="connsiteX3" fmla="*/ 15789 w 99133"/>
                <a:gd name="connsiteY3" fmla="*/ 49778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8"/>
                  </a:cubicBezTo>
                  <a:cubicBezTo>
                    <a:pt x="83766" y="31367"/>
                    <a:pt x="68188" y="15789"/>
                    <a:pt x="49778" y="15789"/>
                  </a:cubicBezTo>
                  <a:cubicBezTo>
                    <a:pt x="31368" y="15789"/>
                    <a:pt x="15789" y="31367"/>
                    <a:pt x="15789" y="49778"/>
                  </a:cubicBezTo>
                  <a:cubicBezTo>
                    <a:pt x="15789" y="69604"/>
                    <a:pt x="31368" y="83766"/>
                    <a:pt x="49778" y="8376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5" name="Freeform: Shape 974">
              <a:extLst>
                <a:ext uri="{FF2B5EF4-FFF2-40B4-BE49-F238E27FC236}">
                  <a16:creationId xmlns:a16="http://schemas.microsoft.com/office/drawing/2014/main" id="{E230F1C3-B4A0-4557-9FBD-17CC43D67103}"/>
                </a:ext>
              </a:extLst>
            </p:cNvPr>
            <p:cNvSpPr/>
            <p:nvPr/>
          </p:nvSpPr>
          <p:spPr>
            <a:xfrm>
              <a:off x="9959160" y="1787424"/>
              <a:ext cx="84971" cy="84971"/>
            </a:xfrm>
            <a:custGeom>
              <a:avLst/>
              <a:gdLst>
                <a:gd name="connsiteX0" fmla="*/ 48361 w 84971"/>
                <a:gd name="connsiteY0" fmla="*/ 80934 h 84971"/>
                <a:gd name="connsiteX1" fmla="*/ 80933 w 84971"/>
                <a:gd name="connsiteY1" fmla="*/ 48361 h 84971"/>
                <a:gd name="connsiteX2" fmla="*/ 48361 w 84971"/>
                <a:gd name="connsiteY2" fmla="*/ 15789 h 84971"/>
                <a:gd name="connsiteX3" fmla="*/ 15789 w 84971"/>
                <a:gd name="connsiteY3" fmla="*/ 48361 h 84971"/>
                <a:gd name="connsiteX4" fmla="*/ 48361 w 84971"/>
                <a:gd name="connsiteY4" fmla="*/ 8093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8361" y="80934"/>
                  </a:moveTo>
                  <a:cubicBezTo>
                    <a:pt x="66772" y="80934"/>
                    <a:pt x="80933" y="66772"/>
                    <a:pt x="80933" y="48361"/>
                  </a:cubicBezTo>
                  <a:cubicBezTo>
                    <a:pt x="80933" y="29951"/>
                    <a:pt x="66772" y="15789"/>
                    <a:pt x="48361" y="15789"/>
                  </a:cubicBezTo>
                  <a:cubicBezTo>
                    <a:pt x="29951" y="15789"/>
                    <a:pt x="15789" y="29951"/>
                    <a:pt x="15789" y="48361"/>
                  </a:cubicBezTo>
                  <a:cubicBezTo>
                    <a:pt x="15789" y="65356"/>
                    <a:pt x="31367" y="80934"/>
                    <a:pt x="48361" y="8093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6" name="Freeform: Shape 975">
              <a:extLst>
                <a:ext uri="{FF2B5EF4-FFF2-40B4-BE49-F238E27FC236}">
                  <a16:creationId xmlns:a16="http://schemas.microsoft.com/office/drawing/2014/main" id="{95953F7F-7E63-46FD-B740-83ADF87A125E}"/>
                </a:ext>
              </a:extLst>
            </p:cNvPr>
            <p:cNvSpPr/>
            <p:nvPr/>
          </p:nvSpPr>
          <p:spPr>
            <a:xfrm>
              <a:off x="10954742" y="1211034"/>
              <a:ext cx="84971" cy="84971"/>
            </a:xfrm>
            <a:custGeom>
              <a:avLst/>
              <a:gdLst>
                <a:gd name="connsiteX0" fmla="*/ 72437 w 84971"/>
                <a:gd name="connsiteY0" fmla="*/ 44113 h 84971"/>
                <a:gd name="connsiteX1" fmla="*/ 44113 w 84971"/>
                <a:gd name="connsiteY1" fmla="*/ 72437 h 84971"/>
                <a:gd name="connsiteX2" fmla="*/ 15789 w 84971"/>
                <a:gd name="connsiteY2" fmla="*/ 44113 h 84971"/>
                <a:gd name="connsiteX3" fmla="*/ 44113 w 84971"/>
                <a:gd name="connsiteY3" fmla="*/ 15789 h 84971"/>
                <a:gd name="connsiteX4" fmla="*/ 72437 w 84971"/>
                <a:gd name="connsiteY4" fmla="*/ 44113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72437" y="44113"/>
                  </a:moveTo>
                  <a:cubicBezTo>
                    <a:pt x="72437" y="59756"/>
                    <a:pt x="59756" y="72437"/>
                    <a:pt x="44113" y="72437"/>
                  </a:cubicBezTo>
                  <a:cubicBezTo>
                    <a:pt x="28470" y="72437"/>
                    <a:pt x="15789" y="59756"/>
                    <a:pt x="15789" y="44113"/>
                  </a:cubicBezTo>
                  <a:cubicBezTo>
                    <a:pt x="15789" y="28470"/>
                    <a:pt x="28470" y="15789"/>
                    <a:pt x="44113" y="15789"/>
                  </a:cubicBezTo>
                  <a:cubicBezTo>
                    <a:pt x="59756" y="15789"/>
                    <a:pt x="72437" y="28470"/>
                    <a:pt x="72437"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7" name="Freeform: Shape 976">
              <a:extLst>
                <a:ext uri="{FF2B5EF4-FFF2-40B4-BE49-F238E27FC236}">
                  <a16:creationId xmlns:a16="http://schemas.microsoft.com/office/drawing/2014/main" id="{6D38B982-E796-4E62-BFDE-1502C53C8B7B}"/>
                </a:ext>
              </a:extLst>
            </p:cNvPr>
            <p:cNvSpPr/>
            <p:nvPr/>
          </p:nvSpPr>
          <p:spPr>
            <a:xfrm>
              <a:off x="11048210" y="1348405"/>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30" y="55442"/>
                    <a:pt x="55442" y="46945"/>
                    <a:pt x="55442" y="35616"/>
                  </a:cubicBezTo>
                  <a:cubicBezTo>
                    <a:pt x="55442" y="25702"/>
                    <a:pt x="46945" y="15789"/>
                    <a:pt x="35616" y="15789"/>
                  </a:cubicBezTo>
                  <a:cubicBezTo>
                    <a:pt x="25703" y="15789"/>
                    <a:pt x="15789" y="24286"/>
                    <a:pt x="15789" y="35616"/>
                  </a:cubicBezTo>
                  <a:cubicBezTo>
                    <a:pt x="17206" y="46945"/>
                    <a:pt x="25703"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8" name="Freeform: Shape 977">
              <a:extLst>
                <a:ext uri="{FF2B5EF4-FFF2-40B4-BE49-F238E27FC236}">
                  <a16:creationId xmlns:a16="http://schemas.microsoft.com/office/drawing/2014/main" id="{485346FA-3BDD-4023-8BF7-B551AC16F53A}"/>
                </a:ext>
              </a:extLst>
            </p:cNvPr>
            <p:cNvSpPr/>
            <p:nvPr/>
          </p:nvSpPr>
          <p:spPr>
            <a:xfrm>
              <a:off x="9886933" y="1678377"/>
              <a:ext cx="113295" cy="113295"/>
            </a:xfrm>
            <a:custGeom>
              <a:avLst/>
              <a:gdLst>
                <a:gd name="connsiteX0" fmla="*/ 61107 w 113295"/>
                <a:gd name="connsiteY0" fmla="*/ 15789 h 113295"/>
                <a:gd name="connsiteX1" fmla="*/ 106426 w 113295"/>
                <a:gd name="connsiteY1" fmla="*/ 61107 h 113295"/>
                <a:gd name="connsiteX2" fmla="*/ 61107 w 113295"/>
                <a:gd name="connsiteY2" fmla="*/ 106425 h 113295"/>
                <a:gd name="connsiteX3" fmla="*/ 15789 w 113295"/>
                <a:gd name="connsiteY3" fmla="*/ 61107 h 113295"/>
                <a:gd name="connsiteX4" fmla="*/ 61107 w 113295"/>
                <a:gd name="connsiteY4" fmla="*/ 15789 h 113295"/>
                <a:gd name="connsiteX5" fmla="*/ 61107 w 113295"/>
                <a:gd name="connsiteY5" fmla="*/ 15789 h 113295"/>
                <a:gd name="connsiteX6" fmla="*/ 61107 w 113295"/>
                <a:gd name="connsiteY6" fmla="*/ 35616 h 113295"/>
                <a:gd name="connsiteX7" fmla="*/ 35616 w 113295"/>
                <a:gd name="connsiteY7" fmla="*/ 61107 h 113295"/>
                <a:gd name="connsiteX8" fmla="*/ 61107 w 113295"/>
                <a:gd name="connsiteY8" fmla="*/ 86599 h 113295"/>
                <a:gd name="connsiteX9" fmla="*/ 86599 w 113295"/>
                <a:gd name="connsiteY9" fmla="*/ 61107 h 113295"/>
                <a:gd name="connsiteX10" fmla="*/ 61107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07" y="15789"/>
                  </a:moveTo>
                  <a:cubicBezTo>
                    <a:pt x="86599" y="15789"/>
                    <a:pt x="106426" y="35616"/>
                    <a:pt x="106426" y="61107"/>
                  </a:cubicBezTo>
                  <a:cubicBezTo>
                    <a:pt x="106426" y="86599"/>
                    <a:pt x="86599" y="106425"/>
                    <a:pt x="61107" y="106425"/>
                  </a:cubicBezTo>
                  <a:cubicBezTo>
                    <a:pt x="35616" y="106425"/>
                    <a:pt x="15789" y="86599"/>
                    <a:pt x="15789" y="61107"/>
                  </a:cubicBezTo>
                  <a:cubicBezTo>
                    <a:pt x="15789" y="35616"/>
                    <a:pt x="35616" y="15789"/>
                    <a:pt x="61107" y="15789"/>
                  </a:cubicBezTo>
                  <a:lnTo>
                    <a:pt x="61107" y="15789"/>
                  </a:lnTo>
                  <a:close/>
                  <a:moveTo>
                    <a:pt x="61107" y="35616"/>
                  </a:moveTo>
                  <a:cubicBezTo>
                    <a:pt x="46945" y="35616"/>
                    <a:pt x="35616" y="46945"/>
                    <a:pt x="35616" y="61107"/>
                  </a:cubicBezTo>
                  <a:cubicBezTo>
                    <a:pt x="35616" y="75269"/>
                    <a:pt x="46945" y="86599"/>
                    <a:pt x="61107" y="86599"/>
                  </a:cubicBezTo>
                  <a:cubicBezTo>
                    <a:pt x="75269" y="86599"/>
                    <a:pt x="86599" y="75269"/>
                    <a:pt x="86599" y="61107"/>
                  </a:cubicBezTo>
                  <a:cubicBezTo>
                    <a:pt x="86599" y="46945"/>
                    <a:pt x="75269" y="35616"/>
                    <a:pt x="61107"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9" name="Freeform: Shape 978">
              <a:extLst>
                <a:ext uri="{FF2B5EF4-FFF2-40B4-BE49-F238E27FC236}">
                  <a16:creationId xmlns:a16="http://schemas.microsoft.com/office/drawing/2014/main" id="{921DF92E-69E1-4B1A-98F4-D2DAD4D7732A}"/>
                </a:ext>
              </a:extLst>
            </p:cNvPr>
            <p:cNvSpPr/>
            <p:nvPr/>
          </p:nvSpPr>
          <p:spPr>
            <a:xfrm>
              <a:off x="10892429" y="1461700"/>
              <a:ext cx="84971" cy="84971"/>
            </a:xfrm>
            <a:custGeom>
              <a:avLst/>
              <a:gdLst>
                <a:gd name="connsiteX0" fmla="*/ 48361 w 84971"/>
                <a:gd name="connsiteY0" fmla="*/ 80934 h 84971"/>
                <a:gd name="connsiteX1" fmla="*/ 80934 w 84971"/>
                <a:gd name="connsiteY1" fmla="*/ 48361 h 84971"/>
                <a:gd name="connsiteX2" fmla="*/ 48361 w 84971"/>
                <a:gd name="connsiteY2" fmla="*/ 15789 h 84971"/>
                <a:gd name="connsiteX3" fmla="*/ 15789 w 84971"/>
                <a:gd name="connsiteY3" fmla="*/ 48361 h 84971"/>
                <a:gd name="connsiteX4" fmla="*/ 48361 w 84971"/>
                <a:gd name="connsiteY4" fmla="*/ 8093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8361" y="80934"/>
                  </a:moveTo>
                  <a:cubicBezTo>
                    <a:pt x="66772" y="80934"/>
                    <a:pt x="80934" y="66772"/>
                    <a:pt x="80934" y="48361"/>
                  </a:cubicBezTo>
                  <a:cubicBezTo>
                    <a:pt x="80934" y="29951"/>
                    <a:pt x="66772" y="15789"/>
                    <a:pt x="48361" y="15789"/>
                  </a:cubicBezTo>
                  <a:cubicBezTo>
                    <a:pt x="29951" y="15789"/>
                    <a:pt x="15789" y="29951"/>
                    <a:pt x="15789" y="48361"/>
                  </a:cubicBezTo>
                  <a:cubicBezTo>
                    <a:pt x="15789" y="66772"/>
                    <a:pt x="31368" y="80934"/>
                    <a:pt x="48361" y="8093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0" name="Freeform: Shape 979">
              <a:extLst>
                <a:ext uri="{FF2B5EF4-FFF2-40B4-BE49-F238E27FC236}">
                  <a16:creationId xmlns:a16="http://schemas.microsoft.com/office/drawing/2014/main" id="{33FA03EC-529F-4E87-9695-BFE4D6622390}"/>
                </a:ext>
              </a:extLst>
            </p:cNvPr>
            <p:cNvSpPr/>
            <p:nvPr/>
          </p:nvSpPr>
          <p:spPr>
            <a:xfrm>
              <a:off x="10685666" y="1354070"/>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5789" y="38448"/>
                    <a:pt x="21453"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1" name="Freeform: Shape 980">
              <a:extLst>
                <a:ext uri="{FF2B5EF4-FFF2-40B4-BE49-F238E27FC236}">
                  <a16:creationId xmlns:a16="http://schemas.microsoft.com/office/drawing/2014/main" id="{ADB4ED15-7A99-4B79-86BE-E3302BCAA240}"/>
                </a:ext>
              </a:extLst>
            </p:cNvPr>
            <p:cNvSpPr/>
            <p:nvPr/>
          </p:nvSpPr>
          <p:spPr>
            <a:xfrm>
              <a:off x="10542630" y="1841239"/>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9" y="15789"/>
                    <a:pt x="29951" y="15789"/>
                  </a:cubicBezTo>
                  <a:cubicBezTo>
                    <a:pt x="21454" y="15789"/>
                    <a:pt x="15789" y="21454"/>
                    <a:pt x="15789" y="29951"/>
                  </a:cubicBezTo>
                  <a:cubicBezTo>
                    <a:pt x="15789" y="37032"/>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2" name="Freeform: Shape 981">
              <a:extLst>
                <a:ext uri="{FF2B5EF4-FFF2-40B4-BE49-F238E27FC236}">
                  <a16:creationId xmlns:a16="http://schemas.microsoft.com/office/drawing/2014/main" id="{DA85733A-64DA-4CB6-94AC-988EA42EDA1E}"/>
                </a:ext>
              </a:extLst>
            </p:cNvPr>
            <p:cNvSpPr/>
            <p:nvPr/>
          </p:nvSpPr>
          <p:spPr>
            <a:xfrm>
              <a:off x="10502976" y="2117396"/>
              <a:ext cx="84971" cy="84971"/>
            </a:xfrm>
            <a:custGeom>
              <a:avLst/>
              <a:gdLst>
                <a:gd name="connsiteX0" fmla="*/ 44113 w 84971"/>
                <a:gd name="connsiteY0" fmla="*/ 71020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1020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1020"/>
                  </a:moveTo>
                  <a:cubicBezTo>
                    <a:pt x="59691" y="71020"/>
                    <a:pt x="72437" y="58275"/>
                    <a:pt x="72437" y="44113"/>
                  </a:cubicBezTo>
                  <a:cubicBezTo>
                    <a:pt x="72437" y="28535"/>
                    <a:pt x="59691" y="15789"/>
                    <a:pt x="44113" y="15789"/>
                  </a:cubicBezTo>
                  <a:cubicBezTo>
                    <a:pt x="28535" y="15789"/>
                    <a:pt x="15789" y="28535"/>
                    <a:pt x="15789" y="44113"/>
                  </a:cubicBezTo>
                  <a:cubicBezTo>
                    <a:pt x="17206" y="58275"/>
                    <a:pt x="29951" y="71020"/>
                    <a:pt x="44113" y="7102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3" name="Freeform: Shape 982">
              <a:extLst>
                <a:ext uri="{FF2B5EF4-FFF2-40B4-BE49-F238E27FC236}">
                  <a16:creationId xmlns:a16="http://schemas.microsoft.com/office/drawing/2014/main" id="{D55C5F11-3298-44FE-B766-9E0C35F88AAF}"/>
                </a:ext>
              </a:extLst>
            </p:cNvPr>
            <p:cNvSpPr/>
            <p:nvPr/>
          </p:nvSpPr>
          <p:spPr>
            <a:xfrm>
              <a:off x="10609191" y="1957367"/>
              <a:ext cx="70810" cy="70810"/>
            </a:xfrm>
            <a:custGeom>
              <a:avLst/>
              <a:gdLst>
                <a:gd name="connsiteX0" fmla="*/ 38449 w 70809"/>
                <a:gd name="connsiteY0" fmla="*/ 15789 h 70809"/>
                <a:gd name="connsiteX1" fmla="*/ 61107 w 70809"/>
                <a:gd name="connsiteY1" fmla="*/ 38448 h 70809"/>
                <a:gd name="connsiteX2" fmla="*/ 38449 w 70809"/>
                <a:gd name="connsiteY2" fmla="*/ 61107 h 70809"/>
                <a:gd name="connsiteX3" fmla="*/ 15789 w 70809"/>
                <a:gd name="connsiteY3" fmla="*/ 38448 h 70809"/>
                <a:gd name="connsiteX4" fmla="*/ 38449 w 70809"/>
                <a:gd name="connsiteY4" fmla="*/ 15789 h 70809"/>
                <a:gd name="connsiteX5" fmla="*/ 38449 w 70809"/>
                <a:gd name="connsiteY5" fmla="*/ 15789 h 70809"/>
                <a:gd name="connsiteX6" fmla="*/ 38449 w 70809"/>
                <a:gd name="connsiteY6" fmla="*/ 25702 h 70809"/>
                <a:gd name="connsiteX7" fmla="*/ 25703 w 70809"/>
                <a:gd name="connsiteY7" fmla="*/ 38448 h 70809"/>
                <a:gd name="connsiteX8" fmla="*/ 38449 w 70809"/>
                <a:gd name="connsiteY8" fmla="*/ 51194 h 70809"/>
                <a:gd name="connsiteX9" fmla="*/ 51194 w 70809"/>
                <a:gd name="connsiteY9" fmla="*/ 38448 h 70809"/>
                <a:gd name="connsiteX10" fmla="*/ 38449 w 70809"/>
                <a:gd name="connsiteY10" fmla="*/ 25702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38449" y="15789"/>
                  </a:moveTo>
                  <a:cubicBezTo>
                    <a:pt x="51194" y="15789"/>
                    <a:pt x="61107" y="25702"/>
                    <a:pt x="61107" y="38448"/>
                  </a:cubicBezTo>
                  <a:cubicBezTo>
                    <a:pt x="61107" y="51194"/>
                    <a:pt x="51194" y="61107"/>
                    <a:pt x="38449" y="61107"/>
                  </a:cubicBezTo>
                  <a:cubicBezTo>
                    <a:pt x="25703" y="61107"/>
                    <a:pt x="15789" y="51194"/>
                    <a:pt x="15789" y="38448"/>
                  </a:cubicBezTo>
                  <a:cubicBezTo>
                    <a:pt x="15789" y="25702"/>
                    <a:pt x="25703" y="15789"/>
                    <a:pt x="38449" y="15789"/>
                  </a:cubicBezTo>
                  <a:lnTo>
                    <a:pt x="38449" y="15789"/>
                  </a:lnTo>
                  <a:close/>
                  <a:moveTo>
                    <a:pt x="38449" y="25702"/>
                  </a:moveTo>
                  <a:cubicBezTo>
                    <a:pt x="31368" y="25702"/>
                    <a:pt x="25703" y="31367"/>
                    <a:pt x="25703" y="38448"/>
                  </a:cubicBezTo>
                  <a:cubicBezTo>
                    <a:pt x="25703" y="45529"/>
                    <a:pt x="31368" y="51194"/>
                    <a:pt x="38449" y="51194"/>
                  </a:cubicBezTo>
                  <a:cubicBezTo>
                    <a:pt x="45530" y="51194"/>
                    <a:pt x="51194" y="45529"/>
                    <a:pt x="51194" y="38448"/>
                  </a:cubicBezTo>
                  <a:cubicBezTo>
                    <a:pt x="51194" y="31367"/>
                    <a:pt x="45530" y="25702"/>
                    <a:pt x="38449" y="2570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4" name="Freeform: Shape 983">
              <a:extLst>
                <a:ext uri="{FF2B5EF4-FFF2-40B4-BE49-F238E27FC236}">
                  <a16:creationId xmlns:a16="http://schemas.microsoft.com/office/drawing/2014/main" id="{F4BF30CF-8F90-4BE1-89C6-992BC855BA16}"/>
                </a:ext>
              </a:extLst>
            </p:cNvPr>
            <p:cNvSpPr/>
            <p:nvPr/>
          </p:nvSpPr>
          <p:spPr>
            <a:xfrm>
              <a:off x="10651677" y="1766181"/>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9" y="15789"/>
                    <a:pt x="29951" y="15789"/>
                  </a:cubicBezTo>
                  <a:cubicBezTo>
                    <a:pt x="22870" y="15789"/>
                    <a:pt x="15789" y="21454"/>
                    <a:pt x="15789" y="29951"/>
                  </a:cubicBezTo>
                  <a:cubicBezTo>
                    <a:pt x="15789" y="38448"/>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5" name="Freeform: Shape 984">
              <a:extLst>
                <a:ext uri="{FF2B5EF4-FFF2-40B4-BE49-F238E27FC236}">
                  <a16:creationId xmlns:a16="http://schemas.microsoft.com/office/drawing/2014/main" id="{7B550305-0DDB-4813-8B89-03A8D893A31B}"/>
                </a:ext>
              </a:extLst>
            </p:cNvPr>
            <p:cNvSpPr/>
            <p:nvPr/>
          </p:nvSpPr>
          <p:spPr>
            <a:xfrm>
              <a:off x="10763556" y="1659967"/>
              <a:ext cx="84971" cy="84971"/>
            </a:xfrm>
            <a:custGeom>
              <a:avLst/>
              <a:gdLst>
                <a:gd name="connsiteX0" fmla="*/ 46945 w 84971"/>
                <a:gd name="connsiteY0" fmla="*/ 79518 h 84971"/>
                <a:gd name="connsiteX1" fmla="*/ 78101 w 84971"/>
                <a:gd name="connsiteY1" fmla="*/ 48361 h 84971"/>
                <a:gd name="connsiteX2" fmla="*/ 46945 w 84971"/>
                <a:gd name="connsiteY2" fmla="*/ 15789 h 84971"/>
                <a:gd name="connsiteX3" fmla="*/ 15789 w 84971"/>
                <a:gd name="connsiteY3" fmla="*/ 48361 h 84971"/>
                <a:gd name="connsiteX4" fmla="*/ 46945 w 84971"/>
                <a:gd name="connsiteY4" fmla="*/ 79518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6945" y="79518"/>
                  </a:moveTo>
                  <a:cubicBezTo>
                    <a:pt x="63939" y="79518"/>
                    <a:pt x="78101" y="65356"/>
                    <a:pt x="78101" y="48361"/>
                  </a:cubicBezTo>
                  <a:cubicBezTo>
                    <a:pt x="78101" y="31367"/>
                    <a:pt x="63939" y="15789"/>
                    <a:pt x="46945" y="15789"/>
                  </a:cubicBezTo>
                  <a:cubicBezTo>
                    <a:pt x="29951" y="15789"/>
                    <a:pt x="15789" y="29951"/>
                    <a:pt x="15789" y="48361"/>
                  </a:cubicBezTo>
                  <a:cubicBezTo>
                    <a:pt x="15789" y="66772"/>
                    <a:pt x="29951" y="79518"/>
                    <a:pt x="46945" y="7951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6" name="Freeform: Shape 985">
              <a:extLst>
                <a:ext uri="{FF2B5EF4-FFF2-40B4-BE49-F238E27FC236}">
                  <a16:creationId xmlns:a16="http://schemas.microsoft.com/office/drawing/2014/main" id="{4BA89490-6F50-45F8-8B95-1AC9A1F25116}"/>
                </a:ext>
              </a:extLst>
            </p:cNvPr>
            <p:cNvSpPr/>
            <p:nvPr/>
          </p:nvSpPr>
          <p:spPr>
            <a:xfrm>
              <a:off x="11304541" y="1446122"/>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1454"/>
                    <a:pt x="38448" y="15789"/>
                    <a:pt x="29951" y="15789"/>
                  </a:cubicBezTo>
                  <a:cubicBezTo>
                    <a:pt x="21453" y="15789"/>
                    <a:pt x="15789" y="21454"/>
                    <a:pt x="15789" y="29951"/>
                  </a:cubicBezTo>
                  <a:cubicBezTo>
                    <a:pt x="15789" y="38448"/>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7" name="Freeform: Shape 986">
              <a:extLst>
                <a:ext uri="{FF2B5EF4-FFF2-40B4-BE49-F238E27FC236}">
                  <a16:creationId xmlns:a16="http://schemas.microsoft.com/office/drawing/2014/main" id="{270F5C41-DA9B-4F18-B73C-921548275B01}"/>
                </a:ext>
              </a:extLst>
            </p:cNvPr>
            <p:cNvSpPr/>
            <p:nvPr/>
          </p:nvSpPr>
          <p:spPr>
            <a:xfrm>
              <a:off x="10481734" y="1499937"/>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4287"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8" name="Freeform: Shape 987">
              <a:extLst>
                <a:ext uri="{FF2B5EF4-FFF2-40B4-BE49-F238E27FC236}">
                  <a16:creationId xmlns:a16="http://schemas.microsoft.com/office/drawing/2014/main" id="{FEA3B9D9-B6BB-431A-95E9-B302D282B6A9}"/>
                </a:ext>
              </a:extLst>
            </p:cNvPr>
            <p:cNvSpPr/>
            <p:nvPr/>
          </p:nvSpPr>
          <p:spPr>
            <a:xfrm>
              <a:off x="10528468" y="1161468"/>
              <a:ext cx="127457" cy="127457"/>
            </a:xfrm>
            <a:custGeom>
              <a:avLst/>
              <a:gdLst>
                <a:gd name="connsiteX0" fmla="*/ 63940 w 127457"/>
                <a:gd name="connsiteY0" fmla="*/ 15789 h 127457"/>
                <a:gd name="connsiteX1" fmla="*/ 112091 w 127457"/>
                <a:gd name="connsiteY1" fmla="*/ 63940 h 127457"/>
                <a:gd name="connsiteX2" fmla="*/ 63940 w 127457"/>
                <a:gd name="connsiteY2" fmla="*/ 112090 h 127457"/>
                <a:gd name="connsiteX3" fmla="*/ 15789 w 127457"/>
                <a:gd name="connsiteY3" fmla="*/ 63940 h 127457"/>
                <a:gd name="connsiteX4" fmla="*/ 63940 w 127457"/>
                <a:gd name="connsiteY4" fmla="*/ 15789 h 127457"/>
                <a:gd name="connsiteX5" fmla="*/ 63940 w 127457"/>
                <a:gd name="connsiteY5" fmla="*/ 15789 h 127457"/>
                <a:gd name="connsiteX6" fmla="*/ 63940 w 127457"/>
                <a:gd name="connsiteY6" fmla="*/ 24286 h 127457"/>
                <a:gd name="connsiteX7" fmla="*/ 25703 w 127457"/>
                <a:gd name="connsiteY7" fmla="*/ 62523 h 127457"/>
                <a:gd name="connsiteX8" fmla="*/ 63940 w 127457"/>
                <a:gd name="connsiteY8" fmla="*/ 100760 h 127457"/>
                <a:gd name="connsiteX9" fmla="*/ 102177 w 127457"/>
                <a:gd name="connsiteY9" fmla="*/ 62523 h 127457"/>
                <a:gd name="connsiteX10" fmla="*/ 63940 w 127457"/>
                <a:gd name="connsiteY10" fmla="*/ 24286 h 12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457" h="127457">
                  <a:moveTo>
                    <a:pt x="63940" y="15789"/>
                  </a:moveTo>
                  <a:cubicBezTo>
                    <a:pt x="90848" y="15789"/>
                    <a:pt x="112091" y="37032"/>
                    <a:pt x="112091" y="63940"/>
                  </a:cubicBezTo>
                  <a:cubicBezTo>
                    <a:pt x="112091" y="90847"/>
                    <a:pt x="90848" y="112090"/>
                    <a:pt x="63940" y="112090"/>
                  </a:cubicBezTo>
                  <a:cubicBezTo>
                    <a:pt x="37032" y="112090"/>
                    <a:pt x="15789" y="90847"/>
                    <a:pt x="15789" y="63940"/>
                  </a:cubicBezTo>
                  <a:cubicBezTo>
                    <a:pt x="15789" y="37032"/>
                    <a:pt x="37032" y="15789"/>
                    <a:pt x="63940" y="15789"/>
                  </a:cubicBezTo>
                  <a:lnTo>
                    <a:pt x="63940" y="15789"/>
                  </a:lnTo>
                  <a:close/>
                  <a:moveTo>
                    <a:pt x="63940" y="24286"/>
                  </a:moveTo>
                  <a:cubicBezTo>
                    <a:pt x="42697" y="24286"/>
                    <a:pt x="25703" y="41280"/>
                    <a:pt x="25703" y="62523"/>
                  </a:cubicBezTo>
                  <a:cubicBezTo>
                    <a:pt x="25703" y="83766"/>
                    <a:pt x="42697" y="100760"/>
                    <a:pt x="63940" y="100760"/>
                  </a:cubicBezTo>
                  <a:cubicBezTo>
                    <a:pt x="85183" y="100760"/>
                    <a:pt x="102177" y="83766"/>
                    <a:pt x="102177" y="62523"/>
                  </a:cubicBezTo>
                  <a:cubicBezTo>
                    <a:pt x="102177" y="42697"/>
                    <a:pt x="85183" y="24286"/>
                    <a:pt x="63940"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9" name="Freeform: Shape 988">
              <a:extLst>
                <a:ext uri="{FF2B5EF4-FFF2-40B4-BE49-F238E27FC236}">
                  <a16:creationId xmlns:a16="http://schemas.microsoft.com/office/drawing/2014/main" id="{7A712B3B-FC57-4BD1-A89F-B19843F30657}"/>
                </a:ext>
              </a:extLst>
            </p:cNvPr>
            <p:cNvSpPr/>
            <p:nvPr/>
          </p:nvSpPr>
          <p:spPr>
            <a:xfrm>
              <a:off x="10265057" y="1407885"/>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8101"/>
                    <a:pt x="95095" y="55442"/>
                  </a:cubicBezTo>
                  <a:cubicBezTo>
                    <a:pt x="95095" y="34199"/>
                    <a:pt x="78102" y="15789"/>
                    <a:pt x="55442" y="15789"/>
                  </a:cubicBezTo>
                  <a:cubicBezTo>
                    <a:pt x="34199" y="15789"/>
                    <a:pt x="15789" y="32783"/>
                    <a:pt x="15789" y="55442"/>
                  </a:cubicBezTo>
                  <a:cubicBezTo>
                    <a:pt x="15789" y="78101"/>
                    <a:pt x="34199" y="95096"/>
                    <a:pt x="55442" y="950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0" name="Freeform: Shape 989">
              <a:extLst>
                <a:ext uri="{FF2B5EF4-FFF2-40B4-BE49-F238E27FC236}">
                  <a16:creationId xmlns:a16="http://schemas.microsoft.com/office/drawing/2014/main" id="{9E4F081F-D2F6-4E59-BE2C-4EFE4C57B3D1}"/>
                </a:ext>
              </a:extLst>
            </p:cNvPr>
            <p:cNvSpPr/>
            <p:nvPr/>
          </p:nvSpPr>
          <p:spPr>
            <a:xfrm>
              <a:off x="10398179" y="1317249"/>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2" y="15789"/>
                    <a:pt x="15789" y="25702"/>
                    <a:pt x="15789" y="37032"/>
                  </a:cubicBezTo>
                  <a:cubicBezTo>
                    <a:pt x="15789" y="48361"/>
                    <a:pt x="25702"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1" name="Freeform: Shape 990">
              <a:extLst>
                <a:ext uri="{FF2B5EF4-FFF2-40B4-BE49-F238E27FC236}">
                  <a16:creationId xmlns:a16="http://schemas.microsoft.com/office/drawing/2014/main" id="{FBD21DEF-52A3-4973-A99E-1D3FEED39450}"/>
                </a:ext>
              </a:extLst>
            </p:cNvPr>
            <p:cNvSpPr/>
            <p:nvPr/>
          </p:nvSpPr>
          <p:spPr>
            <a:xfrm>
              <a:off x="10834366" y="1237942"/>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1453" y="15789"/>
                    <a:pt x="15789" y="21454"/>
                    <a:pt x="15789" y="29951"/>
                  </a:cubicBezTo>
                  <a:cubicBezTo>
                    <a:pt x="15789" y="38448"/>
                    <a:pt x="21453"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2" name="Freeform: Shape 991">
              <a:extLst>
                <a:ext uri="{FF2B5EF4-FFF2-40B4-BE49-F238E27FC236}">
                  <a16:creationId xmlns:a16="http://schemas.microsoft.com/office/drawing/2014/main" id="{5F30CCC6-E17B-4618-8AFC-269A60C1882F}"/>
                </a:ext>
              </a:extLst>
            </p:cNvPr>
            <p:cNvSpPr/>
            <p:nvPr/>
          </p:nvSpPr>
          <p:spPr>
            <a:xfrm>
              <a:off x="8494817" y="1665632"/>
              <a:ext cx="155781" cy="15578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3" name="Freeform: Shape 992">
              <a:extLst>
                <a:ext uri="{FF2B5EF4-FFF2-40B4-BE49-F238E27FC236}">
                  <a16:creationId xmlns:a16="http://schemas.microsoft.com/office/drawing/2014/main" id="{D37A1194-0EC7-4DA9-866C-5DEC9C9BB808}"/>
                </a:ext>
              </a:extLst>
            </p:cNvPr>
            <p:cNvSpPr/>
            <p:nvPr/>
          </p:nvSpPr>
          <p:spPr>
            <a:xfrm>
              <a:off x="9633435" y="1313000"/>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8101"/>
                    <a:pt x="95095" y="55442"/>
                  </a:cubicBezTo>
                  <a:cubicBezTo>
                    <a:pt x="95095" y="34200"/>
                    <a:pt x="78101" y="15789"/>
                    <a:pt x="55442" y="15789"/>
                  </a:cubicBezTo>
                  <a:cubicBezTo>
                    <a:pt x="34199" y="15789"/>
                    <a:pt x="15789" y="32783"/>
                    <a:pt x="15789" y="55442"/>
                  </a:cubicBezTo>
                  <a:cubicBezTo>
                    <a:pt x="15789" y="78101"/>
                    <a:pt x="34199" y="95096"/>
                    <a:pt x="55442" y="950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4" name="Freeform: Shape 993">
              <a:extLst>
                <a:ext uri="{FF2B5EF4-FFF2-40B4-BE49-F238E27FC236}">
                  <a16:creationId xmlns:a16="http://schemas.microsoft.com/office/drawing/2014/main" id="{F931DCAE-BB7B-4EC8-8A90-DD588C9F174A}"/>
                </a:ext>
              </a:extLst>
            </p:cNvPr>
            <p:cNvSpPr/>
            <p:nvPr/>
          </p:nvSpPr>
          <p:spPr>
            <a:xfrm>
              <a:off x="9403964" y="2080575"/>
              <a:ext cx="155781" cy="155781"/>
            </a:xfrm>
            <a:custGeom>
              <a:avLst/>
              <a:gdLst>
                <a:gd name="connsiteX0" fmla="*/ 80982 w 155781"/>
                <a:gd name="connsiteY0" fmla="*/ 15789 h 155780"/>
                <a:gd name="connsiteX1" fmla="*/ 146127 w 155781"/>
                <a:gd name="connsiteY1" fmla="*/ 80934 h 155780"/>
                <a:gd name="connsiteX2" fmla="*/ 80982 w 155781"/>
                <a:gd name="connsiteY2" fmla="*/ 146079 h 155780"/>
                <a:gd name="connsiteX3" fmla="*/ 15838 w 155781"/>
                <a:gd name="connsiteY3" fmla="*/ 80934 h 155780"/>
                <a:gd name="connsiteX4" fmla="*/ 80982 w 155781"/>
                <a:gd name="connsiteY4" fmla="*/ 15789 h 155780"/>
                <a:gd name="connsiteX5" fmla="*/ 80982 w 155781"/>
                <a:gd name="connsiteY5" fmla="*/ 15789 h 155780"/>
                <a:gd name="connsiteX6" fmla="*/ 80982 w 155781"/>
                <a:gd name="connsiteY6" fmla="*/ 44113 h 155780"/>
                <a:gd name="connsiteX7" fmla="*/ 44161 w 155781"/>
                <a:gd name="connsiteY7" fmla="*/ 80934 h 155780"/>
                <a:gd name="connsiteX8" fmla="*/ 80982 w 155781"/>
                <a:gd name="connsiteY8" fmla="*/ 117755 h 155780"/>
                <a:gd name="connsiteX9" fmla="*/ 117804 w 155781"/>
                <a:gd name="connsiteY9" fmla="*/ 80934 h 155780"/>
                <a:gd name="connsiteX10" fmla="*/ 80982 w 155781"/>
                <a:gd name="connsiteY10" fmla="*/ 44113 h 155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781" h="155780">
                  <a:moveTo>
                    <a:pt x="80982" y="15789"/>
                  </a:moveTo>
                  <a:cubicBezTo>
                    <a:pt x="117804" y="15789"/>
                    <a:pt x="146127" y="45529"/>
                    <a:pt x="146127" y="80934"/>
                  </a:cubicBezTo>
                  <a:cubicBezTo>
                    <a:pt x="146127" y="117755"/>
                    <a:pt x="116387" y="146079"/>
                    <a:pt x="80982" y="146079"/>
                  </a:cubicBezTo>
                  <a:cubicBezTo>
                    <a:pt x="44161" y="146079"/>
                    <a:pt x="15838" y="116339"/>
                    <a:pt x="15838" y="80934"/>
                  </a:cubicBezTo>
                  <a:cubicBezTo>
                    <a:pt x="14421" y="45529"/>
                    <a:pt x="44161" y="15789"/>
                    <a:pt x="80982" y="15789"/>
                  </a:cubicBezTo>
                  <a:lnTo>
                    <a:pt x="80982" y="15789"/>
                  </a:lnTo>
                  <a:close/>
                  <a:moveTo>
                    <a:pt x="80982" y="44113"/>
                  </a:moveTo>
                  <a:cubicBezTo>
                    <a:pt x="61156" y="44113"/>
                    <a:pt x="44161" y="61107"/>
                    <a:pt x="44161" y="80934"/>
                  </a:cubicBezTo>
                  <a:cubicBezTo>
                    <a:pt x="44161" y="100760"/>
                    <a:pt x="61156" y="117755"/>
                    <a:pt x="80982" y="117755"/>
                  </a:cubicBezTo>
                  <a:cubicBezTo>
                    <a:pt x="100809" y="117755"/>
                    <a:pt x="117804" y="100760"/>
                    <a:pt x="117804" y="80934"/>
                  </a:cubicBezTo>
                  <a:cubicBezTo>
                    <a:pt x="117804" y="61107"/>
                    <a:pt x="100809" y="44113"/>
                    <a:pt x="80982"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5" name="Freeform: Shape 994">
              <a:extLst>
                <a:ext uri="{FF2B5EF4-FFF2-40B4-BE49-F238E27FC236}">
                  <a16:creationId xmlns:a16="http://schemas.microsoft.com/office/drawing/2014/main" id="{38B0942E-5993-4508-BF93-478C83931DFA}"/>
                </a:ext>
              </a:extLst>
            </p:cNvPr>
            <p:cNvSpPr/>
            <p:nvPr/>
          </p:nvSpPr>
          <p:spPr>
            <a:xfrm>
              <a:off x="9412509" y="1192624"/>
              <a:ext cx="113295" cy="113295"/>
            </a:xfrm>
            <a:custGeom>
              <a:avLst/>
              <a:gdLst>
                <a:gd name="connsiteX0" fmla="*/ 61107 w 113295"/>
                <a:gd name="connsiteY0" fmla="*/ 15789 h 113295"/>
                <a:gd name="connsiteX1" fmla="*/ 106426 w 113295"/>
                <a:gd name="connsiteY1" fmla="*/ 61107 h 113295"/>
                <a:gd name="connsiteX2" fmla="*/ 61107 w 113295"/>
                <a:gd name="connsiteY2" fmla="*/ 106425 h 113295"/>
                <a:gd name="connsiteX3" fmla="*/ 15789 w 113295"/>
                <a:gd name="connsiteY3" fmla="*/ 61107 h 113295"/>
                <a:gd name="connsiteX4" fmla="*/ 61107 w 113295"/>
                <a:gd name="connsiteY4" fmla="*/ 15789 h 113295"/>
                <a:gd name="connsiteX5" fmla="*/ 61107 w 113295"/>
                <a:gd name="connsiteY5" fmla="*/ 15789 h 113295"/>
                <a:gd name="connsiteX6" fmla="*/ 61107 w 113295"/>
                <a:gd name="connsiteY6" fmla="*/ 35616 h 113295"/>
                <a:gd name="connsiteX7" fmla="*/ 35616 w 113295"/>
                <a:gd name="connsiteY7" fmla="*/ 61107 h 113295"/>
                <a:gd name="connsiteX8" fmla="*/ 61107 w 113295"/>
                <a:gd name="connsiteY8" fmla="*/ 86598 h 113295"/>
                <a:gd name="connsiteX9" fmla="*/ 86599 w 113295"/>
                <a:gd name="connsiteY9" fmla="*/ 61107 h 113295"/>
                <a:gd name="connsiteX10" fmla="*/ 61107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07" y="15789"/>
                  </a:moveTo>
                  <a:cubicBezTo>
                    <a:pt x="86599" y="15789"/>
                    <a:pt x="106426" y="35616"/>
                    <a:pt x="106426" y="61107"/>
                  </a:cubicBezTo>
                  <a:cubicBezTo>
                    <a:pt x="106426" y="86598"/>
                    <a:pt x="86599" y="106425"/>
                    <a:pt x="61107" y="106425"/>
                  </a:cubicBezTo>
                  <a:cubicBezTo>
                    <a:pt x="35616" y="106425"/>
                    <a:pt x="15789" y="86598"/>
                    <a:pt x="15789" y="61107"/>
                  </a:cubicBezTo>
                  <a:cubicBezTo>
                    <a:pt x="15789" y="35616"/>
                    <a:pt x="35616" y="15789"/>
                    <a:pt x="61107" y="15789"/>
                  </a:cubicBezTo>
                  <a:lnTo>
                    <a:pt x="61107" y="15789"/>
                  </a:lnTo>
                  <a:close/>
                  <a:moveTo>
                    <a:pt x="61107" y="35616"/>
                  </a:moveTo>
                  <a:cubicBezTo>
                    <a:pt x="46945" y="35616"/>
                    <a:pt x="35616" y="46945"/>
                    <a:pt x="35616" y="61107"/>
                  </a:cubicBezTo>
                  <a:cubicBezTo>
                    <a:pt x="35616" y="75269"/>
                    <a:pt x="46945" y="86598"/>
                    <a:pt x="61107" y="86598"/>
                  </a:cubicBezTo>
                  <a:cubicBezTo>
                    <a:pt x="75269" y="86598"/>
                    <a:pt x="86599" y="75269"/>
                    <a:pt x="86599" y="61107"/>
                  </a:cubicBezTo>
                  <a:cubicBezTo>
                    <a:pt x="86599" y="46945"/>
                    <a:pt x="75269" y="35616"/>
                    <a:pt x="61107"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6" name="Freeform: Shape 995">
              <a:extLst>
                <a:ext uri="{FF2B5EF4-FFF2-40B4-BE49-F238E27FC236}">
                  <a16:creationId xmlns:a16="http://schemas.microsoft.com/office/drawing/2014/main" id="{45CE3690-84CF-444F-98CE-2566BA476F3B}"/>
                </a:ext>
              </a:extLst>
            </p:cNvPr>
            <p:cNvSpPr/>
            <p:nvPr/>
          </p:nvSpPr>
          <p:spPr>
            <a:xfrm>
              <a:off x="8807795" y="2421877"/>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1" y="49777"/>
                    <a:pt x="49778" y="42697"/>
                    <a:pt x="49778" y="32783"/>
                  </a:cubicBezTo>
                  <a:cubicBezTo>
                    <a:pt x="49778" y="22870"/>
                    <a:pt x="42697" y="15789"/>
                    <a:pt x="32783" y="15789"/>
                  </a:cubicBezTo>
                  <a:cubicBezTo>
                    <a:pt x="24287" y="15789"/>
                    <a:pt x="15789" y="22870"/>
                    <a:pt x="15789" y="32783"/>
                  </a:cubicBezTo>
                  <a:cubicBezTo>
                    <a:pt x="15789" y="42697"/>
                    <a:pt x="24287"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7" name="Freeform: Shape 996">
              <a:extLst>
                <a:ext uri="{FF2B5EF4-FFF2-40B4-BE49-F238E27FC236}">
                  <a16:creationId xmlns:a16="http://schemas.microsoft.com/office/drawing/2014/main" id="{D7144EED-7769-4082-BD53-C1D0102E726B}"/>
                </a:ext>
              </a:extLst>
            </p:cNvPr>
            <p:cNvSpPr/>
            <p:nvPr/>
          </p:nvSpPr>
          <p:spPr>
            <a:xfrm>
              <a:off x="8950831" y="1263433"/>
              <a:ext cx="56648" cy="56648"/>
            </a:xfrm>
            <a:custGeom>
              <a:avLst/>
              <a:gdLst>
                <a:gd name="connsiteX0" fmla="*/ 32783 w 56647"/>
                <a:gd name="connsiteY0" fmla="*/ 49778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7" y="42697"/>
                    <a:pt x="49777" y="32783"/>
                  </a:cubicBezTo>
                  <a:cubicBezTo>
                    <a:pt x="49777" y="22870"/>
                    <a:pt x="42696"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8" name="Freeform: Shape 997">
              <a:extLst>
                <a:ext uri="{FF2B5EF4-FFF2-40B4-BE49-F238E27FC236}">
                  <a16:creationId xmlns:a16="http://schemas.microsoft.com/office/drawing/2014/main" id="{79F5AF8F-8413-4DBB-BEE9-0B1ECEE1A11E}"/>
                </a:ext>
              </a:extLst>
            </p:cNvPr>
            <p:cNvSpPr/>
            <p:nvPr/>
          </p:nvSpPr>
          <p:spPr>
            <a:xfrm>
              <a:off x="8384355" y="1051005"/>
              <a:ext cx="84971" cy="84971"/>
            </a:xfrm>
            <a:custGeom>
              <a:avLst/>
              <a:gdLst>
                <a:gd name="connsiteX0" fmla="*/ 48361 w 84971"/>
                <a:gd name="connsiteY0" fmla="*/ 80934 h 84971"/>
                <a:gd name="connsiteX1" fmla="*/ 80933 w 84971"/>
                <a:gd name="connsiteY1" fmla="*/ 48361 h 84971"/>
                <a:gd name="connsiteX2" fmla="*/ 48361 w 84971"/>
                <a:gd name="connsiteY2" fmla="*/ 15789 h 84971"/>
                <a:gd name="connsiteX3" fmla="*/ 15789 w 84971"/>
                <a:gd name="connsiteY3" fmla="*/ 48361 h 84971"/>
                <a:gd name="connsiteX4" fmla="*/ 48361 w 84971"/>
                <a:gd name="connsiteY4" fmla="*/ 8093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8361" y="80934"/>
                  </a:moveTo>
                  <a:cubicBezTo>
                    <a:pt x="66772" y="80934"/>
                    <a:pt x="80933" y="66772"/>
                    <a:pt x="80933" y="48361"/>
                  </a:cubicBezTo>
                  <a:cubicBezTo>
                    <a:pt x="80933" y="29951"/>
                    <a:pt x="66772" y="15789"/>
                    <a:pt x="48361" y="15789"/>
                  </a:cubicBezTo>
                  <a:cubicBezTo>
                    <a:pt x="29951" y="15789"/>
                    <a:pt x="15789" y="29951"/>
                    <a:pt x="15789" y="48361"/>
                  </a:cubicBezTo>
                  <a:cubicBezTo>
                    <a:pt x="15789" y="66772"/>
                    <a:pt x="29951" y="80934"/>
                    <a:pt x="48361" y="8093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9" name="Freeform: Shape 998">
              <a:extLst>
                <a:ext uri="{FF2B5EF4-FFF2-40B4-BE49-F238E27FC236}">
                  <a16:creationId xmlns:a16="http://schemas.microsoft.com/office/drawing/2014/main" id="{76FFD69C-C028-4127-8376-A70B72FDC9D2}"/>
                </a:ext>
              </a:extLst>
            </p:cNvPr>
            <p:cNvSpPr/>
            <p:nvPr/>
          </p:nvSpPr>
          <p:spPr>
            <a:xfrm>
              <a:off x="9694332" y="2498352"/>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3"/>
                    <a:pt x="48361" y="15789"/>
                    <a:pt x="37032" y="15789"/>
                  </a:cubicBezTo>
                  <a:cubicBezTo>
                    <a:pt x="25703" y="15789"/>
                    <a:pt x="15789" y="25703"/>
                    <a:pt x="15789" y="37032"/>
                  </a:cubicBezTo>
                  <a:cubicBezTo>
                    <a:pt x="15789" y="49778"/>
                    <a:pt x="25703"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0" name="Freeform: Shape 999">
              <a:extLst>
                <a:ext uri="{FF2B5EF4-FFF2-40B4-BE49-F238E27FC236}">
                  <a16:creationId xmlns:a16="http://schemas.microsoft.com/office/drawing/2014/main" id="{2A6D3FBA-D032-4264-8E9A-5B633C4784BD}"/>
                </a:ext>
              </a:extLst>
            </p:cNvPr>
            <p:cNvSpPr/>
            <p:nvPr/>
          </p:nvSpPr>
          <p:spPr>
            <a:xfrm>
              <a:off x="9868523" y="2375143"/>
              <a:ext cx="99133" cy="99133"/>
            </a:xfrm>
            <a:custGeom>
              <a:avLst/>
              <a:gdLst>
                <a:gd name="connsiteX0" fmla="*/ 49778 w 99133"/>
                <a:gd name="connsiteY0" fmla="*/ 83766 h 99133"/>
                <a:gd name="connsiteX1" fmla="*/ 83766 w 99133"/>
                <a:gd name="connsiteY1" fmla="*/ 49778 h 99133"/>
                <a:gd name="connsiteX2" fmla="*/ 49778 w 99133"/>
                <a:gd name="connsiteY2" fmla="*/ 15789 h 99133"/>
                <a:gd name="connsiteX3" fmla="*/ 15789 w 99133"/>
                <a:gd name="connsiteY3" fmla="*/ 49778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8"/>
                  </a:cubicBezTo>
                  <a:cubicBezTo>
                    <a:pt x="83766" y="31367"/>
                    <a:pt x="68188" y="15789"/>
                    <a:pt x="49778" y="15789"/>
                  </a:cubicBezTo>
                  <a:cubicBezTo>
                    <a:pt x="31367" y="15789"/>
                    <a:pt x="15789" y="31367"/>
                    <a:pt x="15789" y="49778"/>
                  </a:cubicBezTo>
                  <a:cubicBezTo>
                    <a:pt x="15789" y="69604"/>
                    <a:pt x="31367" y="83766"/>
                    <a:pt x="49778" y="8376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1" name="Freeform: Shape 1000">
              <a:extLst>
                <a:ext uri="{FF2B5EF4-FFF2-40B4-BE49-F238E27FC236}">
                  <a16:creationId xmlns:a16="http://schemas.microsoft.com/office/drawing/2014/main" id="{EDCC4D87-45AE-482B-8872-485BA5DCF862}"/>
                </a:ext>
              </a:extLst>
            </p:cNvPr>
            <p:cNvSpPr/>
            <p:nvPr/>
          </p:nvSpPr>
          <p:spPr>
            <a:xfrm>
              <a:off x="9923755" y="2870810"/>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5789" y="37032"/>
                    <a:pt x="21453"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2" name="Freeform: Shape 1001">
              <a:extLst>
                <a:ext uri="{FF2B5EF4-FFF2-40B4-BE49-F238E27FC236}">
                  <a16:creationId xmlns:a16="http://schemas.microsoft.com/office/drawing/2014/main" id="{02FB2557-F738-46C8-AECA-485235BD8CB9}"/>
                </a:ext>
              </a:extLst>
            </p:cNvPr>
            <p:cNvSpPr/>
            <p:nvPr/>
          </p:nvSpPr>
          <p:spPr>
            <a:xfrm>
              <a:off x="9983234" y="2675376"/>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4286"/>
                    <a:pt x="46945" y="15789"/>
                    <a:pt x="35616" y="15789"/>
                  </a:cubicBezTo>
                  <a:cubicBezTo>
                    <a:pt x="24287" y="15789"/>
                    <a:pt x="15789" y="24286"/>
                    <a:pt x="15789" y="35616"/>
                  </a:cubicBezTo>
                  <a:cubicBezTo>
                    <a:pt x="15789" y="46945"/>
                    <a:pt x="24287"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3" name="Freeform: Shape 1002">
              <a:extLst>
                <a:ext uri="{FF2B5EF4-FFF2-40B4-BE49-F238E27FC236}">
                  <a16:creationId xmlns:a16="http://schemas.microsoft.com/office/drawing/2014/main" id="{FD41EE78-BF16-4266-B17C-91F5AC49001F}"/>
                </a:ext>
              </a:extLst>
            </p:cNvPr>
            <p:cNvSpPr/>
            <p:nvPr/>
          </p:nvSpPr>
          <p:spPr>
            <a:xfrm>
              <a:off x="9772222" y="2920377"/>
              <a:ext cx="70810" cy="70810"/>
            </a:xfrm>
            <a:custGeom>
              <a:avLst/>
              <a:gdLst>
                <a:gd name="connsiteX0" fmla="*/ 58275 w 70809"/>
                <a:gd name="connsiteY0" fmla="*/ 37032 h 70809"/>
                <a:gd name="connsiteX1" fmla="*/ 37032 w 70809"/>
                <a:gd name="connsiteY1" fmla="*/ 58275 h 70809"/>
                <a:gd name="connsiteX2" fmla="*/ 15789 w 70809"/>
                <a:gd name="connsiteY2" fmla="*/ 37032 h 70809"/>
                <a:gd name="connsiteX3" fmla="*/ 37032 w 70809"/>
                <a:gd name="connsiteY3" fmla="*/ 15789 h 70809"/>
                <a:gd name="connsiteX4" fmla="*/ 58275 w 70809"/>
                <a:gd name="connsiteY4" fmla="*/ 3703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58275" y="37032"/>
                  </a:moveTo>
                  <a:cubicBezTo>
                    <a:pt x="58275" y="48764"/>
                    <a:pt x="48764" y="58275"/>
                    <a:pt x="37032" y="58275"/>
                  </a:cubicBezTo>
                  <a:cubicBezTo>
                    <a:pt x="25300" y="58275"/>
                    <a:pt x="15789" y="48764"/>
                    <a:pt x="15789" y="37032"/>
                  </a:cubicBezTo>
                  <a:cubicBezTo>
                    <a:pt x="15789" y="25300"/>
                    <a:pt x="25300" y="15789"/>
                    <a:pt x="37032" y="15789"/>
                  </a:cubicBezTo>
                  <a:cubicBezTo>
                    <a:pt x="48764" y="15789"/>
                    <a:pt x="58275" y="25300"/>
                    <a:pt x="58275" y="3703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4" name="Freeform: Shape 1003">
              <a:extLst>
                <a:ext uri="{FF2B5EF4-FFF2-40B4-BE49-F238E27FC236}">
                  <a16:creationId xmlns:a16="http://schemas.microsoft.com/office/drawing/2014/main" id="{DDEEF5AB-7ABF-4B74-9A4A-18720CDEF3E3}"/>
                </a:ext>
              </a:extLst>
            </p:cNvPr>
            <p:cNvSpPr/>
            <p:nvPr/>
          </p:nvSpPr>
          <p:spPr>
            <a:xfrm>
              <a:off x="10034217" y="2485606"/>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3" y="15789"/>
                    <a:pt x="15789" y="25702"/>
                    <a:pt x="15789" y="37032"/>
                  </a:cubicBezTo>
                  <a:cubicBezTo>
                    <a:pt x="15789" y="49777"/>
                    <a:pt x="25703"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5" name="Freeform: Shape 1004">
              <a:extLst>
                <a:ext uri="{FF2B5EF4-FFF2-40B4-BE49-F238E27FC236}">
                  <a16:creationId xmlns:a16="http://schemas.microsoft.com/office/drawing/2014/main" id="{B60F93F7-25A6-4141-98A1-65ADA1ABB9D6}"/>
                </a:ext>
              </a:extLst>
            </p:cNvPr>
            <p:cNvSpPr/>
            <p:nvPr/>
          </p:nvSpPr>
          <p:spPr>
            <a:xfrm>
              <a:off x="9997396" y="2832573"/>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4286"/>
                    <a:pt x="46945" y="15789"/>
                    <a:pt x="35616" y="15789"/>
                  </a:cubicBezTo>
                  <a:cubicBezTo>
                    <a:pt x="24287" y="15789"/>
                    <a:pt x="15789" y="24286"/>
                    <a:pt x="15789" y="35616"/>
                  </a:cubicBezTo>
                  <a:cubicBezTo>
                    <a:pt x="15789" y="46945"/>
                    <a:pt x="24287"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6" name="Freeform: Shape 1005">
              <a:extLst>
                <a:ext uri="{FF2B5EF4-FFF2-40B4-BE49-F238E27FC236}">
                  <a16:creationId xmlns:a16="http://schemas.microsoft.com/office/drawing/2014/main" id="{5FFAAC47-E8BC-433E-92C1-7D64487C071D}"/>
                </a:ext>
              </a:extLst>
            </p:cNvPr>
            <p:cNvSpPr/>
            <p:nvPr/>
          </p:nvSpPr>
          <p:spPr>
            <a:xfrm>
              <a:off x="10117772" y="2512514"/>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4286"/>
                    <a:pt x="46945" y="15789"/>
                    <a:pt x="35616" y="15789"/>
                  </a:cubicBezTo>
                  <a:cubicBezTo>
                    <a:pt x="24287" y="15789"/>
                    <a:pt x="15789" y="24286"/>
                    <a:pt x="15789" y="35616"/>
                  </a:cubicBezTo>
                  <a:cubicBezTo>
                    <a:pt x="17206" y="46945"/>
                    <a:pt x="25703"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7" name="Freeform: Shape 1006">
              <a:extLst>
                <a:ext uri="{FF2B5EF4-FFF2-40B4-BE49-F238E27FC236}">
                  <a16:creationId xmlns:a16="http://schemas.microsoft.com/office/drawing/2014/main" id="{C16B8E0C-A036-4DBF-9EA4-50E4780F49F1}"/>
                </a:ext>
              </a:extLst>
            </p:cNvPr>
            <p:cNvSpPr/>
            <p:nvPr/>
          </p:nvSpPr>
          <p:spPr>
            <a:xfrm>
              <a:off x="10107860" y="2478525"/>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5789" y="38448"/>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8" name="Freeform: Shape 1007">
              <a:extLst>
                <a:ext uri="{FF2B5EF4-FFF2-40B4-BE49-F238E27FC236}">
                  <a16:creationId xmlns:a16="http://schemas.microsoft.com/office/drawing/2014/main" id="{2EE44B9D-4977-4CB2-9A99-8F07FA531845}"/>
                </a:ext>
              </a:extLst>
            </p:cNvPr>
            <p:cNvSpPr/>
            <p:nvPr/>
          </p:nvSpPr>
          <p:spPr>
            <a:xfrm>
              <a:off x="10293380" y="2420461"/>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8" y="29951"/>
                    <a:pt x="29951" y="27119"/>
                    <a:pt x="29951" y="22870"/>
                  </a:cubicBezTo>
                  <a:cubicBezTo>
                    <a:pt x="29951" y="18622"/>
                    <a:pt x="27118" y="15789"/>
                    <a:pt x="22870" y="15789"/>
                  </a:cubicBezTo>
                  <a:cubicBezTo>
                    <a:pt x="18622" y="15789"/>
                    <a:pt x="15789" y="18622"/>
                    <a:pt x="15789" y="22870"/>
                  </a:cubicBezTo>
                  <a:cubicBezTo>
                    <a:pt x="15789" y="27119"/>
                    <a:pt x="18622" y="29951"/>
                    <a:pt x="22870"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9" name="Freeform: Shape 1008">
              <a:extLst>
                <a:ext uri="{FF2B5EF4-FFF2-40B4-BE49-F238E27FC236}">
                  <a16:creationId xmlns:a16="http://schemas.microsoft.com/office/drawing/2014/main" id="{1F0A849F-0F1A-4419-9BBA-EAB8EAA6815D}"/>
                </a:ext>
              </a:extLst>
            </p:cNvPr>
            <p:cNvSpPr/>
            <p:nvPr/>
          </p:nvSpPr>
          <p:spPr>
            <a:xfrm>
              <a:off x="10351444" y="2362397"/>
              <a:ext cx="42486" cy="42486"/>
            </a:xfrm>
            <a:custGeom>
              <a:avLst/>
              <a:gdLst>
                <a:gd name="connsiteX0" fmla="*/ 29951 w 42485"/>
                <a:gd name="connsiteY0" fmla="*/ 22870 h 42485"/>
                <a:gd name="connsiteX1" fmla="*/ 22870 w 42485"/>
                <a:gd name="connsiteY1" fmla="*/ 29951 h 42485"/>
                <a:gd name="connsiteX2" fmla="*/ 15789 w 42485"/>
                <a:gd name="connsiteY2" fmla="*/ 22870 h 42485"/>
                <a:gd name="connsiteX3" fmla="*/ 22870 w 42485"/>
                <a:gd name="connsiteY3" fmla="*/ 15789 h 42485"/>
                <a:gd name="connsiteX4" fmla="*/ 29951 w 42485"/>
                <a:gd name="connsiteY4" fmla="*/ 2287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951" y="22870"/>
                  </a:moveTo>
                  <a:cubicBezTo>
                    <a:pt x="29951" y="26781"/>
                    <a:pt x="26780" y="29951"/>
                    <a:pt x="22870" y="29951"/>
                  </a:cubicBezTo>
                  <a:cubicBezTo>
                    <a:pt x="18959" y="29951"/>
                    <a:pt x="15789" y="26781"/>
                    <a:pt x="15789" y="22870"/>
                  </a:cubicBezTo>
                  <a:cubicBezTo>
                    <a:pt x="15789" y="18959"/>
                    <a:pt x="18959" y="15789"/>
                    <a:pt x="22870" y="15789"/>
                  </a:cubicBezTo>
                  <a:cubicBezTo>
                    <a:pt x="26780" y="15789"/>
                    <a:pt x="29951" y="18959"/>
                    <a:pt x="29951" y="2287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10" name="Freeform: Shape 1009">
              <a:extLst>
                <a:ext uri="{FF2B5EF4-FFF2-40B4-BE49-F238E27FC236}">
                  <a16:creationId xmlns:a16="http://schemas.microsoft.com/office/drawing/2014/main" id="{5E68FAFB-9ECB-4E47-89BF-728B3894F5DA}"/>
                </a:ext>
              </a:extLst>
            </p:cNvPr>
            <p:cNvSpPr/>
            <p:nvPr/>
          </p:nvSpPr>
          <p:spPr>
            <a:xfrm>
              <a:off x="10442080" y="2233524"/>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8" y="29951"/>
                    <a:pt x="29951" y="27119"/>
                    <a:pt x="29951" y="22870"/>
                  </a:cubicBezTo>
                  <a:cubicBezTo>
                    <a:pt x="29951" y="18621"/>
                    <a:pt x="27118" y="15789"/>
                    <a:pt x="22870" y="15789"/>
                  </a:cubicBezTo>
                  <a:cubicBezTo>
                    <a:pt x="18622" y="15789"/>
                    <a:pt x="15789" y="18621"/>
                    <a:pt x="15789" y="22870"/>
                  </a:cubicBezTo>
                  <a:cubicBezTo>
                    <a:pt x="15789" y="27119"/>
                    <a:pt x="20037" y="29951"/>
                    <a:pt x="22870"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11" name="Freeform: Shape 1010">
              <a:extLst>
                <a:ext uri="{FF2B5EF4-FFF2-40B4-BE49-F238E27FC236}">
                  <a16:creationId xmlns:a16="http://schemas.microsoft.com/office/drawing/2014/main" id="{D6B35D65-CB6B-47D5-B102-CA76BD07E6F7}"/>
                </a:ext>
              </a:extLst>
            </p:cNvPr>
            <p:cNvSpPr/>
            <p:nvPr/>
          </p:nvSpPr>
          <p:spPr>
            <a:xfrm>
              <a:off x="10082096" y="2114564"/>
              <a:ext cx="42486" cy="42486"/>
            </a:xfrm>
            <a:custGeom>
              <a:avLst/>
              <a:gdLst>
                <a:gd name="connsiteX0" fmla="*/ 25974 w 42485"/>
                <a:gd name="connsiteY0" fmla="*/ 35616 h 42485"/>
                <a:gd name="connsiteX1" fmla="*/ 35887 w 42485"/>
                <a:gd name="connsiteY1" fmla="*/ 25702 h 42485"/>
                <a:gd name="connsiteX2" fmla="*/ 25974 w 42485"/>
                <a:gd name="connsiteY2" fmla="*/ 15789 h 42485"/>
                <a:gd name="connsiteX3" fmla="*/ 16060 w 42485"/>
                <a:gd name="connsiteY3" fmla="*/ 25702 h 42485"/>
                <a:gd name="connsiteX4" fmla="*/ 25974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974" y="35616"/>
                  </a:moveTo>
                  <a:cubicBezTo>
                    <a:pt x="31639" y="35616"/>
                    <a:pt x="35887" y="31367"/>
                    <a:pt x="35887" y="25702"/>
                  </a:cubicBezTo>
                  <a:cubicBezTo>
                    <a:pt x="35887" y="20038"/>
                    <a:pt x="31639" y="15789"/>
                    <a:pt x="25974" y="15789"/>
                  </a:cubicBezTo>
                  <a:cubicBezTo>
                    <a:pt x="20310" y="15789"/>
                    <a:pt x="16060" y="20038"/>
                    <a:pt x="16060" y="25702"/>
                  </a:cubicBezTo>
                  <a:cubicBezTo>
                    <a:pt x="14644" y="29951"/>
                    <a:pt x="18893" y="35616"/>
                    <a:pt x="25974"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12" name="Freeform: Shape 1011">
              <a:extLst>
                <a:ext uri="{FF2B5EF4-FFF2-40B4-BE49-F238E27FC236}">
                  <a16:creationId xmlns:a16="http://schemas.microsoft.com/office/drawing/2014/main" id="{BED2F49C-F44F-41A3-AC1B-473311BBD8F9}"/>
                </a:ext>
              </a:extLst>
            </p:cNvPr>
            <p:cNvSpPr/>
            <p:nvPr/>
          </p:nvSpPr>
          <p:spPr>
            <a:xfrm>
              <a:off x="9852856" y="2794336"/>
              <a:ext cx="84971" cy="84971"/>
            </a:xfrm>
            <a:custGeom>
              <a:avLst/>
              <a:gdLst>
                <a:gd name="connsiteX0" fmla="*/ 48451 w 84971"/>
                <a:gd name="connsiteY0" fmla="*/ 15789 h 84971"/>
                <a:gd name="connsiteX1" fmla="*/ 81023 w 84971"/>
                <a:gd name="connsiteY1" fmla="*/ 48361 h 84971"/>
                <a:gd name="connsiteX2" fmla="*/ 48451 w 84971"/>
                <a:gd name="connsiteY2" fmla="*/ 80934 h 84971"/>
                <a:gd name="connsiteX3" fmla="*/ 15879 w 84971"/>
                <a:gd name="connsiteY3" fmla="*/ 48361 h 84971"/>
                <a:gd name="connsiteX4" fmla="*/ 48451 w 84971"/>
                <a:gd name="connsiteY4" fmla="*/ 15789 h 84971"/>
                <a:gd name="connsiteX5" fmla="*/ 48451 w 84971"/>
                <a:gd name="connsiteY5" fmla="*/ 15789 h 84971"/>
                <a:gd name="connsiteX6" fmla="*/ 48451 w 84971"/>
                <a:gd name="connsiteY6" fmla="*/ 29951 h 84971"/>
                <a:gd name="connsiteX7" fmla="*/ 30041 w 84971"/>
                <a:gd name="connsiteY7" fmla="*/ 48361 h 84971"/>
                <a:gd name="connsiteX8" fmla="*/ 48451 w 84971"/>
                <a:gd name="connsiteY8" fmla="*/ 66772 h 84971"/>
                <a:gd name="connsiteX9" fmla="*/ 66861 w 84971"/>
                <a:gd name="connsiteY9" fmla="*/ 48361 h 84971"/>
                <a:gd name="connsiteX10" fmla="*/ 48451 w 84971"/>
                <a:gd name="connsiteY10" fmla="*/ 29951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8451" y="15789"/>
                  </a:moveTo>
                  <a:cubicBezTo>
                    <a:pt x="66861" y="15789"/>
                    <a:pt x="81023" y="29951"/>
                    <a:pt x="81023" y="48361"/>
                  </a:cubicBezTo>
                  <a:cubicBezTo>
                    <a:pt x="81023" y="66772"/>
                    <a:pt x="66861" y="80934"/>
                    <a:pt x="48451" y="80934"/>
                  </a:cubicBezTo>
                  <a:cubicBezTo>
                    <a:pt x="30041" y="80934"/>
                    <a:pt x="15879" y="66772"/>
                    <a:pt x="15879" y="48361"/>
                  </a:cubicBezTo>
                  <a:cubicBezTo>
                    <a:pt x="14462" y="31367"/>
                    <a:pt x="30041" y="15789"/>
                    <a:pt x="48451" y="15789"/>
                  </a:cubicBezTo>
                  <a:lnTo>
                    <a:pt x="48451" y="15789"/>
                  </a:lnTo>
                  <a:close/>
                  <a:moveTo>
                    <a:pt x="48451" y="29951"/>
                  </a:moveTo>
                  <a:cubicBezTo>
                    <a:pt x="38537" y="29951"/>
                    <a:pt x="30041" y="38448"/>
                    <a:pt x="30041" y="48361"/>
                  </a:cubicBezTo>
                  <a:cubicBezTo>
                    <a:pt x="30041" y="58275"/>
                    <a:pt x="38537" y="66772"/>
                    <a:pt x="48451" y="66772"/>
                  </a:cubicBezTo>
                  <a:cubicBezTo>
                    <a:pt x="58364" y="66772"/>
                    <a:pt x="66861" y="58275"/>
                    <a:pt x="66861" y="48361"/>
                  </a:cubicBezTo>
                  <a:cubicBezTo>
                    <a:pt x="66861" y="38448"/>
                    <a:pt x="58364" y="29951"/>
                    <a:pt x="48451"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13" name="Freeform: Shape 1012">
              <a:extLst>
                <a:ext uri="{FF2B5EF4-FFF2-40B4-BE49-F238E27FC236}">
                  <a16:creationId xmlns:a16="http://schemas.microsoft.com/office/drawing/2014/main" id="{22439C5B-38F5-4A80-8C09-22454E34F861}"/>
                </a:ext>
              </a:extLst>
            </p:cNvPr>
            <p:cNvSpPr/>
            <p:nvPr/>
          </p:nvSpPr>
          <p:spPr>
            <a:xfrm>
              <a:off x="9681585" y="2943036"/>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9" y="15789"/>
                    <a:pt x="29951" y="15789"/>
                  </a:cubicBezTo>
                  <a:cubicBezTo>
                    <a:pt x="22870" y="15789"/>
                    <a:pt x="15789" y="21454"/>
                    <a:pt x="15789" y="29951"/>
                  </a:cubicBezTo>
                  <a:cubicBezTo>
                    <a:pt x="15789" y="38448"/>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08" name="Freeform: Shape 1907">
              <a:extLst>
                <a:ext uri="{FF2B5EF4-FFF2-40B4-BE49-F238E27FC236}">
                  <a16:creationId xmlns:a16="http://schemas.microsoft.com/office/drawing/2014/main" id="{1F11CABE-8857-4FEE-A1D8-C192CE99627B}"/>
                </a:ext>
              </a:extLst>
            </p:cNvPr>
            <p:cNvSpPr/>
            <p:nvPr/>
          </p:nvSpPr>
          <p:spPr>
            <a:xfrm>
              <a:off x="10078119" y="2229275"/>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8" y="29951"/>
                    <a:pt x="29951" y="27119"/>
                    <a:pt x="29951" y="22870"/>
                  </a:cubicBezTo>
                  <a:cubicBezTo>
                    <a:pt x="29951" y="18622"/>
                    <a:pt x="27118" y="15789"/>
                    <a:pt x="22870" y="15789"/>
                  </a:cubicBezTo>
                  <a:cubicBezTo>
                    <a:pt x="18622" y="15789"/>
                    <a:pt x="15789" y="18622"/>
                    <a:pt x="15789" y="22870"/>
                  </a:cubicBezTo>
                  <a:cubicBezTo>
                    <a:pt x="15789" y="25703"/>
                    <a:pt x="18622" y="29951"/>
                    <a:pt x="22870"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09" name="Freeform: Shape 1908">
              <a:extLst>
                <a:ext uri="{FF2B5EF4-FFF2-40B4-BE49-F238E27FC236}">
                  <a16:creationId xmlns:a16="http://schemas.microsoft.com/office/drawing/2014/main" id="{9B47B786-D90F-4152-AE82-02C3DF214991}"/>
                </a:ext>
              </a:extLst>
            </p:cNvPr>
            <p:cNvSpPr/>
            <p:nvPr/>
          </p:nvSpPr>
          <p:spPr>
            <a:xfrm>
              <a:off x="10112108" y="2353900"/>
              <a:ext cx="28324" cy="28324"/>
            </a:xfrm>
            <a:custGeom>
              <a:avLst/>
              <a:gdLst>
                <a:gd name="connsiteX0" fmla="*/ 18622 w 28323"/>
                <a:gd name="connsiteY0" fmla="*/ 21454 h 28323"/>
                <a:gd name="connsiteX1" fmla="*/ 21453 w 28323"/>
                <a:gd name="connsiteY1" fmla="*/ 18621 h 28323"/>
                <a:gd name="connsiteX2" fmla="*/ 18622 w 28323"/>
                <a:gd name="connsiteY2" fmla="*/ 15789 h 28323"/>
                <a:gd name="connsiteX3" fmla="*/ 15789 w 28323"/>
                <a:gd name="connsiteY3" fmla="*/ 18621 h 28323"/>
                <a:gd name="connsiteX4" fmla="*/ 18622 w 28323"/>
                <a:gd name="connsiteY4" fmla="*/ 21454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18622" y="21454"/>
                  </a:moveTo>
                  <a:cubicBezTo>
                    <a:pt x="20037" y="21454"/>
                    <a:pt x="21453" y="20038"/>
                    <a:pt x="21453" y="18621"/>
                  </a:cubicBezTo>
                  <a:cubicBezTo>
                    <a:pt x="21453" y="17205"/>
                    <a:pt x="20037" y="15789"/>
                    <a:pt x="18622" y="15789"/>
                  </a:cubicBezTo>
                  <a:cubicBezTo>
                    <a:pt x="17205" y="15789"/>
                    <a:pt x="15789" y="17205"/>
                    <a:pt x="15789" y="18621"/>
                  </a:cubicBezTo>
                  <a:cubicBezTo>
                    <a:pt x="15789" y="20038"/>
                    <a:pt x="17205" y="21454"/>
                    <a:pt x="18622" y="2145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0" name="Freeform: Shape 1909">
              <a:extLst>
                <a:ext uri="{FF2B5EF4-FFF2-40B4-BE49-F238E27FC236}">
                  <a16:creationId xmlns:a16="http://schemas.microsoft.com/office/drawing/2014/main" id="{9A642A8A-21E0-4507-8D1A-A39F6562710C}"/>
                </a:ext>
              </a:extLst>
            </p:cNvPr>
            <p:cNvSpPr/>
            <p:nvPr/>
          </p:nvSpPr>
          <p:spPr>
            <a:xfrm>
              <a:off x="9300631" y="2607399"/>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6685"/>
                    <a:pt x="95095" y="55442"/>
                  </a:cubicBezTo>
                  <a:cubicBezTo>
                    <a:pt x="95095" y="34199"/>
                    <a:pt x="76685" y="15789"/>
                    <a:pt x="55442" y="15789"/>
                  </a:cubicBezTo>
                  <a:cubicBezTo>
                    <a:pt x="34199" y="15789"/>
                    <a:pt x="15789" y="34199"/>
                    <a:pt x="15789" y="55442"/>
                  </a:cubicBezTo>
                  <a:cubicBezTo>
                    <a:pt x="15789" y="78101"/>
                    <a:pt x="34199" y="95096"/>
                    <a:pt x="55442" y="950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1" name="Freeform: Shape 1910">
              <a:extLst>
                <a:ext uri="{FF2B5EF4-FFF2-40B4-BE49-F238E27FC236}">
                  <a16:creationId xmlns:a16="http://schemas.microsoft.com/office/drawing/2014/main" id="{BCF2F986-1ABB-48ED-837B-FFFCA70AFE16}"/>
                </a:ext>
              </a:extLst>
            </p:cNvPr>
            <p:cNvSpPr/>
            <p:nvPr/>
          </p:nvSpPr>
          <p:spPr>
            <a:xfrm>
              <a:off x="9246766" y="2877891"/>
              <a:ext cx="155781" cy="155781"/>
            </a:xfrm>
            <a:custGeom>
              <a:avLst/>
              <a:gdLst>
                <a:gd name="connsiteX0" fmla="*/ 80983 w 155781"/>
                <a:gd name="connsiteY0" fmla="*/ 15789 h 155780"/>
                <a:gd name="connsiteX1" fmla="*/ 146127 w 155781"/>
                <a:gd name="connsiteY1" fmla="*/ 80934 h 155780"/>
                <a:gd name="connsiteX2" fmla="*/ 80983 w 155781"/>
                <a:gd name="connsiteY2" fmla="*/ 146079 h 155780"/>
                <a:gd name="connsiteX3" fmla="*/ 15838 w 155781"/>
                <a:gd name="connsiteY3" fmla="*/ 80934 h 155780"/>
                <a:gd name="connsiteX4" fmla="*/ 80983 w 155781"/>
                <a:gd name="connsiteY4" fmla="*/ 15789 h 155780"/>
                <a:gd name="connsiteX5" fmla="*/ 80983 w 155781"/>
                <a:gd name="connsiteY5" fmla="*/ 15789 h 155780"/>
                <a:gd name="connsiteX6" fmla="*/ 80983 w 155781"/>
                <a:gd name="connsiteY6" fmla="*/ 44113 h 155780"/>
                <a:gd name="connsiteX7" fmla="*/ 44161 w 155781"/>
                <a:gd name="connsiteY7" fmla="*/ 80934 h 155780"/>
                <a:gd name="connsiteX8" fmla="*/ 80983 w 155781"/>
                <a:gd name="connsiteY8" fmla="*/ 117755 h 155780"/>
                <a:gd name="connsiteX9" fmla="*/ 117804 w 155781"/>
                <a:gd name="connsiteY9" fmla="*/ 80934 h 155780"/>
                <a:gd name="connsiteX10" fmla="*/ 80983 w 155781"/>
                <a:gd name="connsiteY10" fmla="*/ 44113 h 155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781" h="155780">
                  <a:moveTo>
                    <a:pt x="80983" y="15789"/>
                  </a:moveTo>
                  <a:cubicBezTo>
                    <a:pt x="117804" y="15789"/>
                    <a:pt x="146127" y="45529"/>
                    <a:pt x="146127" y="80934"/>
                  </a:cubicBezTo>
                  <a:cubicBezTo>
                    <a:pt x="146127" y="117755"/>
                    <a:pt x="116388" y="146079"/>
                    <a:pt x="80983" y="146079"/>
                  </a:cubicBezTo>
                  <a:cubicBezTo>
                    <a:pt x="44161" y="146079"/>
                    <a:pt x="15838" y="116339"/>
                    <a:pt x="15838" y="80934"/>
                  </a:cubicBezTo>
                  <a:cubicBezTo>
                    <a:pt x="14422" y="44113"/>
                    <a:pt x="44161" y="15789"/>
                    <a:pt x="80983" y="15789"/>
                  </a:cubicBezTo>
                  <a:lnTo>
                    <a:pt x="80983" y="15789"/>
                  </a:lnTo>
                  <a:close/>
                  <a:moveTo>
                    <a:pt x="80983" y="44113"/>
                  </a:moveTo>
                  <a:cubicBezTo>
                    <a:pt x="61156" y="44113"/>
                    <a:pt x="44161" y="61107"/>
                    <a:pt x="44161" y="80934"/>
                  </a:cubicBezTo>
                  <a:cubicBezTo>
                    <a:pt x="44161" y="100760"/>
                    <a:pt x="61156" y="117755"/>
                    <a:pt x="80983" y="117755"/>
                  </a:cubicBezTo>
                  <a:cubicBezTo>
                    <a:pt x="100809" y="117755"/>
                    <a:pt x="117804" y="100760"/>
                    <a:pt x="117804" y="80934"/>
                  </a:cubicBezTo>
                  <a:cubicBezTo>
                    <a:pt x="117804" y="59691"/>
                    <a:pt x="100809" y="44113"/>
                    <a:pt x="80983"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2" name="Freeform: Shape 1911">
              <a:extLst>
                <a:ext uri="{FF2B5EF4-FFF2-40B4-BE49-F238E27FC236}">
                  <a16:creationId xmlns:a16="http://schemas.microsoft.com/office/drawing/2014/main" id="{A459F02F-2B19-4B1A-8F3F-E97E2866297D}"/>
                </a:ext>
              </a:extLst>
            </p:cNvPr>
            <p:cNvSpPr/>
            <p:nvPr/>
          </p:nvSpPr>
          <p:spPr>
            <a:xfrm>
              <a:off x="9198665" y="3295667"/>
              <a:ext cx="84971" cy="84971"/>
            </a:xfrm>
            <a:custGeom>
              <a:avLst/>
              <a:gdLst>
                <a:gd name="connsiteX0" fmla="*/ 48361 w 84971"/>
                <a:gd name="connsiteY0" fmla="*/ 15789 h 84971"/>
                <a:gd name="connsiteX1" fmla="*/ 80933 w 84971"/>
                <a:gd name="connsiteY1" fmla="*/ 48361 h 84971"/>
                <a:gd name="connsiteX2" fmla="*/ 48361 w 84971"/>
                <a:gd name="connsiteY2" fmla="*/ 80934 h 84971"/>
                <a:gd name="connsiteX3" fmla="*/ 15789 w 84971"/>
                <a:gd name="connsiteY3" fmla="*/ 48361 h 84971"/>
                <a:gd name="connsiteX4" fmla="*/ 48361 w 84971"/>
                <a:gd name="connsiteY4" fmla="*/ 15789 h 84971"/>
                <a:gd name="connsiteX5" fmla="*/ 48361 w 84971"/>
                <a:gd name="connsiteY5" fmla="*/ 15789 h 84971"/>
                <a:gd name="connsiteX6" fmla="*/ 48361 w 84971"/>
                <a:gd name="connsiteY6" fmla="*/ 21454 h 84971"/>
                <a:gd name="connsiteX7" fmla="*/ 21453 w 84971"/>
                <a:gd name="connsiteY7" fmla="*/ 48361 h 84971"/>
                <a:gd name="connsiteX8" fmla="*/ 48361 w 84971"/>
                <a:gd name="connsiteY8" fmla="*/ 75269 h 84971"/>
                <a:gd name="connsiteX9" fmla="*/ 75269 w 84971"/>
                <a:gd name="connsiteY9" fmla="*/ 48361 h 84971"/>
                <a:gd name="connsiteX10" fmla="*/ 48361 w 84971"/>
                <a:gd name="connsiteY10" fmla="*/ 21454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8361" y="15789"/>
                  </a:moveTo>
                  <a:cubicBezTo>
                    <a:pt x="66772" y="15789"/>
                    <a:pt x="80933" y="29951"/>
                    <a:pt x="80933" y="48361"/>
                  </a:cubicBezTo>
                  <a:cubicBezTo>
                    <a:pt x="80933" y="66772"/>
                    <a:pt x="66772" y="80934"/>
                    <a:pt x="48361" y="80934"/>
                  </a:cubicBezTo>
                  <a:cubicBezTo>
                    <a:pt x="29951" y="80934"/>
                    <a:pt x="15789" y="66772"/>
                    <a:pt x="15789" y="48361"/>
                  </a:cubicBezTo>
                  <a:cubicBezTo>
                    <a:pt x="15789" y="29951"/>
                    <a:pt x="29951" y="15789"/>
                    <a:pt x="48361" y="15789"/>
                  </a:cubicBezTo>
                  <a:lnTo>
                    <a:pt x="48361" y="15789"/>
                  </a:lnTo>
                  <a:close/>
                  <a:moveTo>
                    <a:pt x="48361" y="21454"/>
                  </a:moveTo>
                  <a:cubicBezTo>
                    <a:pt x="34199" y="21454"/>
                    <a:pt x="21453" y="32783"/>
                    <a:pt x="21453" y="48361"/>
                  </a:cubicBezTo>
                  <a:cubicBezTo>
                    <a:pt x="21453" y="62523"/>
                    <a:pt x="32783" y="75269"/>
                    <a:pt x="48361" y="75269"/>
                  </a:cubicBezTo>
                  <a:cubicBezTo>
                    <a:pt x="62523" y="75269"/>
                    <a:pt x="75269" y="63940"/>
                    <a:pt x="75269" y="48361"/>
                  </a:cubicBezTo>
                  <a:cubicBezTo>
                    <a:pt x="75269" y="34200"/>
                    <a:pt x="62523" y="21454"/>
                    <a:pt x="48361" y="2145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3" name="Freeform: Shape 1912">
              <a:extLst>
                <a:ext uri="{FF2B5EF4-FFF2-40B4-BE49-F238E27FC236}">
                  <a16:creationId xmlns:a16="http://schemas.microsoft.com/office/drawing/2014/main" id="{4EC26B0D-2043-4DE4-A7B2-5D772F31974E}"/>
                </a:ext>
              </a:extLst>
            </p:cNvPr>
            <p:cNvSpPr/>
            <p:nvPr/>
          </p:nvSpPr>
          <p:spPr>
            <a:xfrm>
              <a:off x="8208746" y="1478694"/>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3" y="15789"/>
                    <a:pt x="15789" y="25702"/>
                    <a:pt x="15789" y="37032"/>
                  </a:cubicBezTo>
                  <a:cubicBezTo>
                    <a:pt x="15789" y="48361"/>
                    <a:pt x="25703"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4" name="Freeform: Shape 1913">
              <a:extLst>
                <a:ext uri="{FF2B5EF4-FFF2-40B4-BE49-F238E27FC236}">
                  <a16:creationId xmlns:a16="http://schemas.microsoft.com/office/drawing/2014/main" id="{F003D497-1C09-41EB-9EFB-263406E121B4}"/>
                </a:ext>
              </a:extLst>
            </p:cNvPr>
            <p:cNvSpPr/>
            <p:nvPr/>
          </p:nvSpPr>
          <p:spPr>
            <a:xfrm>
              <a:off x="8586870" y="1063750"/>
              <a:ext cx="127457" cy="127457"/>
            </a:xfrm>
            <a:custGeom>
              <a:avLst/>
              <a:gdLst>
                <a:gd name="connsiteX0" fmla="*/ 63940 w 127457"/>
                <a:gd name="connsiteY0" fmla="*/ 112090 h 127457"/>
                <a:gd name="connsiteX1" fmla="*/ 112090 w 127457"/>
                <a:gd name="connsiteY1" fmla="*/ 63940 h 127457"/>
                <a:gd name="connsiteX2" fmla="*/ 63940 w 127457"/>
                <a:gd name="connsiteY2" fmla="*/ 15789 h 127457"/>
                <a:gd name="connsiteX3" fmla="*/ 15789 w 127457"/>
                <a:gd name="connsiteY3" fmla="*/ 63940 h 127457"/>
                <a:gd name="connsiteX4" fmla="*/ 63940 w 127457"/>
                <a:gd name="connsiteY4" fmla="*/ 112090 h 127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57" h="127457">
                  <a:moveTo>
                    <a:pt x="63940" y="112090"/>
                  </a:moveTo>
                  <a:cubicBezTo>
                    <a:pt x="90847" y="112090"/>
                    <a:pt x="112090" y="90847"/>
                    <a:pt x="112090" y="63940"/>
                  </a:cubicBezTo>
                  <a:cubicBezTo>
                    <a:pt x="112090" y="37032"/>
                    <a:pt x="90847" y="15789"/>
                    <a:pt x="63940" y="15789"/>
                  </a:cubicBezTo>
                  <a:cubicBezTo>
                    <a:pt x="38448" y="15789"/>
                    <a:pt x="15789" y="37032"/>
                    <a:pt x="15789" y="63940"/>
                  </a:cubicBezTo>
                  <a:cubicBezTo>
                    <a:pt x="17205" y="90847"/>
                    <a:pt x="38448" y="112090"/>
                    <a:pt x="63940" y="11209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5" name="Freeform: Shape 1914">
              <a:extLst>
                <a:ext uri="{FF2B5EF4-FFF2-40B4-BE49-F238E27FC236}">
                  <a16:creationId xmlns:a16="http://schemas.microsoft.com/office/drawing/2014/main" id="{16FE7A7A-691F-4034-B37C-F354AB1F451F}"/>
                </a:ext>
              </a:extLst>
            </p:cNvPr>
            <p:cNvSpPr/>
            <p:nvPr/>
          </p:nvSpPr>
          <p:spPr>
            <a:xfrm>
              <a:off x="8656263" y="1770430"/>
              <a:ext cx="56648" cy="56648"/>
            </a:xfrm>
            <a:custGeom>
              <a:avLst/>
              <a:gdLst>
                <a:gd name="connsiteX0" fmla="*/ 32783 w 56647"/>
                <a:gd name="connsiteY0" fmla="*/ 49778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7" y="42697"/>
                    <a:pt x="49777" y="32783"/>
                  </a:cubicBezTo>
                  <a:cubicBezTo>
                    <a:pt x="49777" y="22870"/>
                    <a:pt x="42696"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6" name="Freeform: Shape 1915">
              <a:extLst>
                <a:ext uri="{FF2B5EF4-FFF2-40B4-BE49-F238E27FC236}">
                  <a16:creationId xmlns:a16="http://schemas.microsoft.com/office/drawing/2014/main" id="{8374A856-9A27-4BBD-824F-5C2C93E11D02}"/>
                </a:ext>
              </a:extLst>
            </p:cNvPr>
            <p:cNvSpPr/>
            <p:nvPr/>
          </p:nvSpPr>
          <p:spPr>
            <a:xfrm>
              <a:off x="9337451" y="2021095"/>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8101"/>
                    <a:pt x="95095" y="55442"/>
                  </a:cubicBezTo>
                  <a:cubicBezTo>
                    <a:pt x="95095" y="34200"/>
                    <a:pt x="78102" y="15789"/>
                    <a:pt x="55442" y="15789"/>
                  </a:cubicBezTo>
                  <a:cubicBezTo>
                    <a:pt x="34199" y="15789"/>
                    <a:pt x="15789" y="32783"/>
                    <a:pt x="15789" y="55442"/>
                  </a:cubicBezTo>
                  <a:cubicBezTo>
                    <a:pt x="15789" y="78101"/>
                    <a:pt x="32783" y="95096"/>
                    <a:pt x="55442" y="950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7" name="Freeform: Shape 1916">
              <a:extLst>
                <a:ext uri="{FF2B5EF4-FFF2-40B4-BE49-F238E27FC236}">
                  <a16:creationId xmlns:a16="http://schemas.microsoft.com/office/drawing/2014/main" id="{01920F85-542F-480E-A281-1A731D734FA2}"/>
                </a:ext>
              </a:extLst>
            </p:cNvPr>
            <p:cNvSpPr/>
            <p:nvPr/>
          </p:nvSpPr>
          <p:spPr>
            <a:xfrm>
              <a:off x="7412780" y="2690954"/>
              <a:ext cx="113295" cy="113295"/>
            </a:xfrm>
            <a:custGeom>
              <a:avLst/>
              <a:gdLst>
                <a:gd name="connsiteX0" fmla="*/ 61174 w 113295"/>
                <a:gd name="connsiteY0" fmla="*/ 15789 h 113295"/>
                <a:gd name="connsiteX1" fmla="*/ 106492 w 113295"/>
                <a:gd name="connsiteY1" fmla="*/ 61107 h 113295"/>
                <a:gd name="connsiteX2" fmla="*/ 61174 w 113295"/>
                <a:gd name="connsiteY2" fmla="*/ 106425 h 113295"/>
                <a:gd name="connsiteX3" fmla="*/ 15856 w 113295"/>
                <a:gd name="connsiteY3" fmla="*/ 61107 h 113295"/>
                <a:gd name="connsiteX4" fmla="*/ 61174 w 113295"/>
                <a:gd name="connsiteY4" fmla="*/ 15789 h 113295"/>
                <a:gd name="connsiteX5" fmla="*/ 61174 w 113295"/>
                <a:gd name="connsiteY5" fmla="*/ 15789 h 113295"/>
                <a:gd name="connsiteX6" fmla="*/ 61174 w 113295"/>
                <a:gd name="connsiteY6" fmla="*/ 35616 h 113295"/>
                <a:gd name="connsiteX7" fmla="*/ 35683 w 113295"/>
                <a:gd name="connsiteY7" fmla="*/ 61107 h 113295"/>
                <a:gd name="connsiteX8" fmla="*/ 61174 w 113295"/>
                <a:gd name="connsiteY8" fmla="*/ 86599 h 113295"/>
                <a:gd name="connsiteX9" fmla="*/ 86666 w 113295"/>
                <a:gd name="connsiteY9" fmla="*/ 61107 h 113295"/>
                <a:gd name="connsiteX10" fmla="*/ 61174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74" y="15789"/>
                  </a:moveTo>
                  <a:cubicBezTo>
                    <a:pt x="86666" y="15789"/>
                    <a:pt x="106492" y="35616"/>
                    <a:pt x="106492" y="61107"/>
                  </a:cubicBezTo>
                  <a:cubicBezTo>
                    <a:pt x="106492" y="86599"/>
                    <a:pt x="86666" y="106425"/>
                    <a:pt x="61174" y="106425"/>
                  </a:cubicBezTo>
                  <a:cubicBezTo>
                    <a:pt x="35683" y="106425"/>
                    <a:pt x="15856" y="86599"/>
                    <a:pt x="15856" y="61107"/>
                  </a:cubicBezTo>
                  <a:cubicBezTo>
                    <a:pt x="14440" y="37032"/>
                    <a:pt x="35683" y="15789"/>
                    <a:pt x="61174" y="15789"/>
                  </a:cubicBezTo>
                  <a:lnTo>
                    <a:pt x="61174" y="15789"/>
                  </a:lnTo>
                  <a:close/>
                  <a:moveTo>
                    <a:pt x="61174" y="35616"/>
                  </a:moveTo>
                  <a:cubicBezTo>
                    <a:pt x="47012" y="35616"/>
                    <a:pt x="35683" y="46945"/>
                    <a:pt x="35683" y="61107"/>
                  </a:cubicBezTo>
                  <a:cubicBezTo>
                    <a:pt x="35683" y="75269"/>
                    <a:pt x="47012" y="86599"/>
                    <a:pt x="61174" y="86599"/>
                  </a:cubicBezTo>
                  <a:cubicBezTo>
                    <a:pt x="75336" y="86599"/>
                    <a:pt x="86666" y="75269"/>
                    <a:pt x="86666" y="61107"/>
                  </a:cubicBezTo>
                  <a:cubicBezTo>
                    <a:pt x="86666" y="48361"/>
                    <a:pt x="75336" y="35616"/>
                    <a:pt x="61174"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8" name="Freeform: Shape 1917">
              <a:extLst>
                <a:ext uri="{FF2B5EF4-FFF2-40B4-BE49-F238E27FC236}">
                  <a16:creationId xmlns:a16="http://schemas.microsoft.com/office/drawing/2014/main" id="{B1671571-55DA-4641-91CB-1B0B07979E4D}"/>
                </a:ext>
              </a:extLst>
            </p:cNvPr>
            <p:cNvSpPr/>
            <p:nvPr/>
          </p:nvSpPr>
          <p:spPr>
            <a:xfrm>
              <a:off x="8669009" y="2676792"/>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9" name="Freeform: Shape 1918">
              <a:extLst>
                <a:ext uri="{FF2B5EF4-FFF2-40B4-BE49-F238E27FC236}">
                  <a16:creationId xmlns:a16="http://schemas.microsoft.com/office/drawing/2014/main" id="{AF9527D5-0D4C-45ED-A6A3-9E12E9F42713}"/>
                </a:ext>
              </a:extLst>
            </p:cNvPr>
            <p:cNvSpPr/>
            <p:nvPr/>
          </p:nvSpPr>
          <p:spPr>
            <a:xfrm>
              <a:off x="6891688" y="2081992"/>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0" name="Freeform: Shape 1919">
              <a:extLst>
                <a:ext uri="{FF2B5EF4-FFF2-40B4-BE49-F238E27FC236}">
                  <a16:creationId xmlns:a16="http://schemas.microsoft.com/office/drawing/2014/main" id="{ED9CCB4E-5F9F-44AB-9908-71D5F12E7D5B}"/>
                </a:ext>
              </a:extLst>
            </p:cNvPr>
            <p:cNvSpPr/>
            <p:nvPr/>
          </p:nvSpPr>
          <p:spPr>
            <a:xfrm>
              <a:off x="7584206" y="1427712"/>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1" name="Freeform: Shape 1920">
              <a:extLst>
                <a:ext uri="{FF2B5EF4-FFF2-40B4-BE49-F238E27FC236}">
                  <a16:creationId xmlns:a16="http://schemas.microsoft.com/office/drawing/2014/main" id="{0BFCD75B-DEDD-4BC2-BDD6-9EF4BBEA355C}"/>
                </a:ext>
              </a:extLst>
            </p:cNvPr>
            <p:cNvSpPr/>
            <p:nvPr/>
          </p:nvSpPr>
          <p:spPr>
            <a:xfrm>
              <a:off x="6989406" y="1474446"/>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2" name="Freeform: Shape 1921">
              <a:extLst>
                <a:ext uri="{FF2B5EF4-FFF2-40B4-BE49-F238E27FC236}">
                  <a16:creationId xmlns:a16="http://schemas.microsoft.com/office/drawing/2014/main" id="{A4D7A8E8-E440-4E32-B95C-AB60CAF4BE09}"/>
                </a:ext>
              </a:extLst>
            </p:cNvPr>
            <p:cNvSpPr/>
            <p:nvPr/>
          </p:nvSpPr>
          <p:spPr>
            <a:xfrm>
              <a:off x="7823543" y="1094907"/>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2870"/>
                    <a:pt x="37032" y="15789"/>
                    <a:pt x="29951" y="15789"/>
                  </a:cubicBezTo>
                  <a:cubicBezTo>
                    <a:pt x="21454" y="15789"/>
                    <a:pt x="15789" y="22870"/>
                    <a:pt x="15789" y="29951"/>
                  </a:cubicBezTo>
                  <a:cubicBezTo>
                    <a:pt x="15789" y="37032"/>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3" name="Freeform: Shape 1922">
              <a:extLst>
                <a:ext uri="{FF2B5EF4-FFF2-40B4-BE49-F238E27FC236}">
                  <a16:creationId xmlns:a16="http://schemas.microsoft.com/office/drawing/2014/main" id="{96D71E79-5094-4BEA-A69E-216276AA781D}"/>
                </a:ext>
              </a:extLst>
            </p:cNvPr>
            <p:cNvSpPr/>
            <p:nvPr/>
          </p:nvSpPr>
          <p:spPr>
            <a:xfrm>
              <a:off x="7299552" y="1024097"/>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4" name="Freeform: Shape 1923">
              <a:extLst>
                <a:ext uri="{FF2B5EF4-FFF2-40B4-BE49-F238E27FC236}">
                  <a16:creationId xmlns:a16="http://schemas.microsoft.com/office/drawing/2014/main" id="{B3A43A87-65E7-471D-BA8A-3A60F944C5D3}"/>
                </a:ext>
              </a:extLst>
            </p:cNvPr>
            <p:cNvSpPr/>
            <p:nvPr/>
          </p:nvSpPr>
          <p:spPr>
            <a:xfrm>
              <a:off x="7206083" y="535511"/>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5" name="Freeform: Shape 1924">
              <a:extLst>
                <a:ext uri="{FF2B5EF4-FFF2-40B4-BE49-F238E27FC236}">
                  <a16:creationId xmlns:a16="http://schemas.microsoft.com/office/drawing/2014/main" id="{3E536063-DB05-41A6-8FF5-3889A76A760A}"/>
                </a:ext>
              </a:extLst>
            </p:cNvPr>
            <p:cNvSpPr/>
            <p:nvPr/>
          </p:nvSpPr>
          <p:spPr>
            <a:xfrm>
              <a:off x="8633604" y="531263"/>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6" name="Freeform: Shape 1925">
              <a:extLst>
                <a:ext uri="{FF2B5EF4-FFF2-40B4-BE49-F238E27FC236}">
                  <a16:creationId xmlns:a16="http://schemas.microsoft.com/office/drawing/2014/main" id="{59621436-C75E-411C-A81A-EC87F43FFF3C}"/>
                </a:ext>
              </a:extLst>
            </p:cNvPr>
            <p:cNvSpPr/>
            <p:nvPr/>
          </p:nvSpPr>
          <p:spPr>
            <a:xfrm>
              <a:off x="9025889" y="88106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7" name="Freeform: Shape 1926">
              <a:extLst>
                <a:ext uri="{FF2B5EF4-FFF2-40B4-BE49-F238E27FC236}">
                  <a16:creationId xmlns:a16="http://schemas.microsoft.com/office/drawing/2014/main" id="{3091E6A7-C165-4B18-ABB7-D02394513B83}"/>
                </a:ext>
              </a:extLst>
            </p:cNvPr>
            <p:cNvSpPr/>
            <p:nvPr/>
          </p:nvSpPr>
          <p:spPr>
            <a:xfrm>
              <a:off x="8728489" y="664385"/>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8" name="Freeform: Shape 1927">
              <a:extLst>
                <a:ext uri="{FF2B5EF4-FFF2-40B4-BE49-F238E27FC236}">
                  <a16:creationId xmlns:a16="http://schemas.microsoft.com/office/drawing/2014/main" id="{F0EC486B-437B-476D-A294-CF89C7B56BE9}"/>
                </a:ext>
              </a:extLst>
            </p:cNvPr>
            <p:cNvSpPr/>
            <p:nvPr/>
          </p:nvSpPr>
          <p:spPr>
            <a:xfrm>
              <a:off x="8898432" y="62189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9" name="Freeform: Shape 1928">
              <a:extLst>
                <a:ext uri="{FF2B5EF4-FFF2-40B4-BE49-F238E27FC236}">
                  <a16:creationId xmlns:a16="http://schemas.microsoft.com/office/drawing/2014/main" id="{EDF4136F-94D3-43C3-BF0A-B578573CFB89}"/>
                </a:ext>
              </a:extLst>
            </p:cNvPr>
            <p:cNvSpPr/>
            <p:nvPr/>
          </p:nvSpPr>
          <p:spPr>
            <a:xfrm>
              <a:off x="7504900" y="95753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2870"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0" name="Freeform: Shape 1929">
              <a:extLst>
                <a:ext uri="{FF2B5EF4-FFF2-40B4-BE49-F238E27FC236}">
                  <a16:creationId xmlns:a16="http://schemas.microsoft.com/office/drawing/2014/main" id="{D6A31817-D2D6-4C55-BC6D-7CE3D933AFCB}"/>
                </a:ext>
              </a:extLst>
            </p:cNvPr>
            <p:cNvSpPr/>
            <p:nvPr/>
          </p:nvSpPr>
          <p:spPr>
            <a:xfrm>
              <a:off x="7666345" y="825830"/>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1" name="Freeform: Shape 1930">
              <a:extLst>
                <a:ext uri="{FF2B5EF4-FFF2-40B4-BE49-F238E27FC236}">
                  <a16:creationId xmlns:a16="http://schemas.microsoft.com/office/drawing/2014/main" id="{DF91870C-984B-44EC-A9CC-6559B056F1D6}"/>
                </a:ext>
              </a:extLst>
            </p:cNvPr>
            <p:cNvSpPr/>
            <p:nvPr/>
          </p:nvSpPr>
          <p:spPr>
            <a:xfrm>
              <a:off x="7608281" y="528430"/>
              <a:ext cx="56648" cy="56648"/>
            </a:xfrm>
            <a:custGeom>
              <a:avLst/>
              <a:gdLst>
                <a:gd name="connsiteX0" fmla="*/ 28535 w 56647"/>
                <a:gd name="connsiteY0" fmla="*/ 41280 h 56647"/>
                <a:gd name="connsiteX1" fmla="*/ 41281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1" y="35616"/>
                    <a:pt x="41281" y="28535"/>
                  </a:cubicBezTo>
                  <a:cubicBezTo>
                    <a:pt x="41281"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2" name="Freeform: Shape 1931">
              <a:extLst>
                <a:ext uri="{FF2B5EF4-FFF2-40B4-BE49-F238E27FC236}">
                  <a16:creationId xmlns:a16="http://schemas.microsoft.com/office/drawing/2014/main" id="{BE75ADFF-24BE-4163-8FFC-11A808BF6207}"/>
                </a:ext>
              </a:extLst>
            </p:cNvPr>
            <p:cNvSpPr/>
            <p:nvPr/>
          </p:nvSpPr>
          <p:spPr>
            <a:xfrm>
              <a:off x="7500531" y="570916"/>
              <a:ext cx="70810" cy="70810"/>
            </a:xfrm>
            <a:custGeom>
              <a:avLst/>
              <a:gdLst>
                <a:gd name="connsiteX0" fmla="*/ 39984 w 70809"/>
                <a:gd name="connsiteY0" fmla="*/ 63940 h 70809"/>
                <a:gd name="connsiteX1" fmla="*/ 64060 w 70809"/>
                <a:gd name="connsiteY1" fmla="*/ 39864 h 70809"/>
                <a:gd name="connsiteX2" fmla="*/ 39984 w 70809"/>
                <a:gd name="connsiteY2" fmla="*/ 15789 h 70809"/>
                <a:gd name="connsiteX3" fmla="*/ 15909 w 70809"/>
                <a:gd name="connsiteY3" fmla="*/ 39864 h 70809"/>
                <a:gd name="connsiteX4" fmla="*/ 3998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984" y="63940"/>
                  </a:moveTo>
                  <a:cubicBezTo>
                    <a:pt x="54146" y="63940"/>
                    <a:pt x="64060" y="52610"/>
                    <a:pt x="64060" y="39864"/>
                  </a:cubicBezTo>
                  <a:cubicBezTo>
                    <a:pt x="64060" y="25702"/>
                    <a:pt x="52730" y="15789"/>
                    <a:pt x="39984" y="15789"/>
                  </a:cubicBezTo>
                  <a:cubicBezTo>
                    <a:pt x="25822" y="15789"/>
                    <a:pt x="15909" y="27119"/>
                    <a:pt x="15909" y="39864"/>
                  </a:cubicBezTo>
                  <a:cubicBezTo>
                    <a:pt x="14493" y="52610"/>
                    <a:pt x="25822" y="63940"/>
                    <a:pt x="3998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3" name="Freeform: Shape 1932">
              <a:extLst>
                <a:ext uri="{FF2B5EF4-FFF2-40B4-BE49-F238E27FC236}">
                  <a16:creationId xmlns:a16="http://schemas.microsoft.com/office/drawing/2014/main" id="{200D9292-CC7F-4534-8DB4-21F0AEDB99A0}"/>
                </a:ext>
              </a:extLst>
            </p:cNvPr>
            <p:cNvSpPr/>
            <p:nvPr/>
          </p:nvSpPr>
          <p:spPr>
            <a:xfrm>
              <a:off x="7755565" y="170103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1" y="49778"/>
                    <a:pt x="49778" y="42697"/>
                    <a:pt x="49778" y="32783"/>
                  </a:cubicBezTo>
                  <a:cubicBezTo>
                    <a:pt x="49778" y="22870"/>
                    <a:pt x="42697"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4" name="Freeform: Shape 1933">
              <a:extLst>
                <a:ext uri="{FF2B5EF4-FFF2-40B4-BE49-F238E27FC236}">
                  <a16:creationId xmlns:a16="http://schemas.microsoft.com/office/drawing/2014/main" id="{50A4F30A-50A1-43F8-A0A5-983B4954C55B}"/>
                </a:ext>
              </a:extLst>
            </p:cNvPr>
            <p:cNvSpPr/>
            <p:nvPr/>
          </p:nvSpPr>
          <p:spPr>
            <a:xfrm>
              <a:off x="8125192" y="2079159"/>
              <a:ext cx="56648" cy="56648"/>
            </a:xfrm>
            <a:custGeom>
              <a:avLst/>
              <a:gdLst>
                <a:gd name="connsiteX0" fmla="*/ 32783 w 56647"/>
                <a:gd name="connsiteY0" fmla="*/ 49777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0" y="49777"/>
                    <a:pt x="49777" y="42697"/>
                    <a:pt x="49777" y="32783"/>
                  </a:cubicBezTo>
                  <a:cubicBezTo>
                    <a:pt x="49777" y="24286"/>
                    <a:pt x="42696" y="15789"/>
                    <a:pt x="32783" y="15789"/>
                  </a:cubicBezTo>
                  <a:cubicBezTo>
                    <a:pt x="24286" y="15789"/>
                    <a:pt x="15789" y="22870"/>
                    <a:pt x="15789" y="32783"/>
                  </a:cubicBezTo>
                  <a:cubicBezTo>
                    <a:pt x="17205" y="42697"/>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5" name="Freeform: Shape 1934">
              <a:extLst>
                <a:ext uri="{FF2B5EF4-FFF2-40B4-BE49-F238E27FC236}">
                  <a16:creationId xmlns:a16="http://schemas.microsoft.com/office/drawing/2014/main" id="{548FC492-AD5D-46D2-A2D4-7BF2CE358652}"/>
                </a:ext>
              </a:extLst>
            </p:cNvPr>
            <p:cNvSpPr/>
            <p:nvPr/>
          </p:nvSpPr>
          <p:spPr>
            <a:xfrm>
              <a:off x="8516060" y="2006933"/>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6" name="Freeform: Shape 1935">
              <a:extLst>
                <a:ext uri="{FF2B5EF4-FFF2-40B4-BE49-F238E27FC236}">
                  <a16:creationId xmlns:a16="http://schemas.microsoft.com/office/drawing/2014/main" id="{38E91489-7D7B-4060-80A9-EA56A0C3EAFA}"/>
                </a:ext>
              </a:extLst>
            </p:cNvPr>
            <p:cNvSpPr/>
            <p:nvPr/>
          </p:nvSpPr>
          <p:spPr>
            <a:xfrm>
              <a:off x="8555713" y="1423463"/>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8"/>
                    <a:pt x="28535" y="15789"/>
                    <a:pt x="24287" y="15789"/>
                  </a:cubicBezTo>
                  <a:cubicBezTo>
                    <a:pt x="20037" y="15789"/>
                    <a:pt x="15789" y="20038"/>
                    <a:pt x="15789" y="24286"/>
                  </a:cubicBezTo>
                  <a:cubicBezTo>
                    <a:pt x="15789" y="28535"/>
                    <a:pt x="20037" y="32783"/>
                    <a:pt x="24287"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7" name="Freeform: Shape 1936">
              <a:extLst>
                <a:ext uri="{FF2B5EF4-FFF2-40B4-BE49-F238E27FC236}">
                  <a16:creationId xmlns:a16="http://schemas.microsoft.com/office/drawing/2014/main" id="{2411C13F-B233-4D39-9378-D8D5E94CA9D3}"/>
                </a:ext>
              </a:extLst>
            </p:cNvPr>
            <p:cNvSpPr/>
            <p:nvPr/>
          </p:nvSpPr>
          <p:spPr>
            <a:xfrm>
              <a:off x="9497481" y="1807251"/>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7" y="15789"/>
                    <a:pt x="15789" y="22870"/>
                    <a:pt x="15789" y="32783"/>
                  </a:cubicBezTo>
                  <a:cubicBezTo>
                    <a:pt x="15789" y="42697"/>
                    <a:pt x="24287"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8" name="Freeform: Shape 1937">
              <a:extLst>
                <a:ext uri="{FF2B5EF4-FFF2-40B4-BE49-F238E27FC236}">
                  <a16:creationId xmlns:a16="http://schemas.microsoft.com/office/drawing/2014/main" id="{283F8327-C4A1-42EC-BA3F-E09669A6D316}"/>
                </a:ext>
              </a:extLst>
            </p:cNvPr>
            <p:cNvSpPr/>
            <p:nvPr/>
          </p:nvSpPr>
          <p:spPr>
            <a:xfrm>
              <a:off x="9389850" y="2288756"/>
              <a:ext cx="70810" cy="70810"/>
            </a:xfrm>
            <a:custGeom>
              <a:avLst/>
              <a:gdLst>
                <a:gd name="connsiteX0" fmla="*/ 35615 w 70809"/>
                <a:gd name="connsiteY0" fmla="*/ 55442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2"/>
                  </a:moveTo>
                  <a:cubicBezTo>
                    <a:pt x="46945" y="55442"/>
                    <a:pt x="55442" y="46945"/>
                    <a:pt x="55442" y="35616"/>
                  </a:cubicBezTo>
                  <a:cubicBezTo>
                    <a:pt x="55442" y="24286"/>
                    <a:pt x="46945" y="15789"/>
                    <a:pt x="35615" y="15789"/>
                  </a:cubicBezTo>
                  <a:cubicBezTo>
                    <a:pt x="25703" y="15789"/>
                    <a:pt x="15789" y="24286"/>
                    <a:pt x="15789" y="35616"/>
                  </a:cubicBezTo>
                  <a:cubicBezTo>
                    <a:pt x="17205" y="46945"/>
                    <a:pt x="25703" y="55442"/>
                    <a:pt x="35615"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9" name="Freeform: Shape 1938">
              <a:extLst>
                <a:ext uri="{FF2B5EF4-FFF2-40B4-BE49-F238E27FC236}">
                  <a16:creationId xmlns:a16="http://schemas.microsoft.com/office/drawing/2014/main" id="{0B2B44A9-CDAA-48A1-B518-047876151808}"/>
                </a:ext>
              </a:extLst>
            </p:cNvPr>
            <p:cNvSpPr/>
            <p:nvPr/>
          </p:nvSpPr>
          <p:spPr>
            <a:xfrm>
              <a:off x="9538551" y="2598901"/>
              <a:ext cx="70810" cy="70810"/>
            </a:xfrm>
            <a:custGeom>
              <a:avLst/>
              <a:gdLst>
                <a:gd name="connsiteX0" fmla="*/ 35615 w 70809"/>
                <a:gd name="connsiteY0" fmla="*/ 55442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2"/>
                  </a:moveTo>
                  <a:cubicBezTo>
                    <a:pt x="45529" y="55442"/>
                    <a:pt x="55442" y="46945"/>
                    <a:pt x="55442" y="35616"/>
                  </a:cubicBezTo>
                  <a:cubicBezTo>
                    <a:pt x="55442" y="25702"/>
                    <a:pt x="46945" y="15789"/>
                    <a:pt x="35615" y="15789"/>
                  </a:cubicBezTo>
                  <a:cubicBezTo>
                    <a:pt x="25703" y="15789"/>
                    <a:pt x="15789" y="24286"/>
                    <a:pt x="15789" y="35616"/>
                  </a:cubicBezTo>
                  <a:cubicBezTo>
                    <a:pt x="17205" y="46945"/>
                    <a:pt x="25703" y="55442"/>
                    <a:pt x="35615"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0" name="Freeform: Shape 1939">
              <a:extLst>
                <a:ext uri="{FF2B5EF4-FFF2-40B4-BE49-F238E27FC236}">
                  <a16:creationId xmlns:a16="http://schemas.microsoft.com/office/drawing/2014/main" id="{D1E03F93-84FF-4135-BACB-8D60F3E51707}"/>
                </a:ext>
              </a:extLst>
            </p:cNvPr>
            <p:cNvSpPr/>
            <p:nvPr/>
          </p:nvSpPr>
          <p:spPr>
            <a:xfrm>
              <a:off x="8864443" y="2938787"/>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30" y="55442"/>
                    <a:pt x="55443" y="46945"/>
                    <a:pt x="55443" y="35616"/>
                  </a:cubicBezTo>
                  <a:cubicBezTo>
                    <a:pt x="55443" y="25702"/>
                    <a:pt x="46945" y="15789"/>
                    <a:pt x="35616" y="15789"/>
                  </a:cubicBezTo>
                  <a:cubicBezTo>
                    <a:pt x="24287" y="15789"/>
                    <a:pt x="15789" y="24286"/>
                    <a:pt x="15789" y="35616"/>
                  </a:cubicBezTo>
                  <a:cubicBezTo>
                    <a:pt x="15789" y="46945"/>
                    <a:pt x="24287"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1" name="Freeform: Shape 1940">
              <a:extLst>
                <a:ext uri="{FF2B5EF4-FFF2-40B4-BE49-F238E27FC236}">
                  <a16:creationId xmlns:a16="http://schemas.microsoft.com/office/drawing/2014/main" id="{246CDE0E-0D30-462E-BFDF-3569CD2C7EC3}"/>
                </a:ext>
              </a:extLst>
            </p:cNvPr>
            <p:cNvSpPr/>
            <p:nvPr/>
          </p:nvSpPr>
          <p:spPr>
            <a:xfrm>
              <a:off x="8159180" y="2887804"/>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5703" y="15789"/>
                    <a:pt x="15789" y="24286"/>
                    <a:pt x="15789" y="35616"/>
                  </a:cubicBezTo>
                  <a:cubicBezTo>
                    <a:pt x="15789" y="46945"/>
                    <a:pt x="24287"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2" name="Freeform: Shape 1941">
              <a:extLst>
                <a:ext uri="{FF2B5EF4-FFF2-40B4-BE49-F238E27FC236}">
                  <a16:creationId xmlns:a16="http://schemas.microsoft.com/office/drawing/2014/main" id="{E1D03C51-3012-4279-BBE8-430D54AEA515}"/>
                </a:ext>
              </a:extLst>
            </p:cNvPr>
            <p:cNvSpPr/>
            <p:nvPr/>
          </p:nvSpPr>
          <p:spPr>
            <a:xfrm>
              <a:off x="8443834" y="2379392"/>
              <a:ext cx="70810" cy="70810"/>
            </a:xfrm>
            <a:custGeom>
              <a:avLst/>
              <a:gdLst>
                <a:gd name="connsiteX0" fmla="*/ 55443 w 70809"/>
                <a:gd name="connsiteY0" fmla="*/ 35616 h 70809"/>
                <a:gd name="connsiteX1" fmla="*/ 35616 w 70809"/>
                <a:gd name="connsiteY1" fmla="*/ 55442 h 70809"/>
                <a:gd name="connsiteX2" fmla="*/ 15788 w 70809"/>
                <a:gd name="connsiteY2" fmla="*/ 35616 h 70809"/>
                <a:gd name="connsiteX3" fmla="*/ 35616 w 70809"/>
                <a:gd name="connsiteY3" fmla="*/ 15789 h 70809"/>
                <a:gd name="connsiteX4" fmla="*/ 55443 w 70809"/>
                <a:gd name="connsiteY4" fmla="*/ 35616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55443" y="35616"/>
                  </a:moveTo>
                  <a:cubicBezTo>
                    <a:pt x="55443" y="46565"/>
                    <a:pt x="46565" y="55442"/>
                    <a:pt x="35616" y="55442"/>
                  </a:cubicBezTo>
                  <a:cubicBezTo>
                    <a:pt x="24666" y="55442"/>
                    <a:pt x="15788" y="46565"/>
                    <a:pt x="15788" y="35616"/>
                  </a:cubicBezTo>
                  <a:cubicBezTo>
                    <a:pt x="15788" y="24666"/>
                    <a:pt x="24666" y="15789"/>
                    <a:pt x="35616" y="15789"/>
                  </a:cubicBezTo>
                  <a:cubicBezTo>
                    <a:pt x="46565" y="15789"/>
                    <a:pt x="55443" y="24666"/>
                    <a:pt x="5544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3" name="Freeform: Shape 1942">
              <a:extLst>
                <a:ext uri="{FF2B5EF4-FFF2-40B4-BE49-F238E27FC236}">
                  <a16:creationId xmlns:a16="http://schemas.microsoft.com/office/drawing/2014/main" id="{97815D7C-9492-4201-A101-A07E0DA68A45}"/>
                </a:ext>
              </a:extLst>
            </p:cNvPr>
            <p:cNvSpPr/>
            <p:nvPr/>
          </p:nvSpPr>
          <p:spPr>
            <a:xfrm>
              <a:off x="9215659" y="1770430"/>
              <a:ext cx="70810" cy="70810"/>
            </a:xfrm>
            <a:custGeom>
              <a:avLst/>
              <a:gdLst>
                <a:gd name="connsiteX0" fmla="*/ 35615 w 70809"/>
                <a:gd name="connsiteY0" fmla="*/ 55442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2"/>
                  </a:moveTo>
                  <a:cubicBezTo>
                    <a:pt x="45529" y="55442"/>
                    <a:pt x="55442" y="46945"/>
                    <a:pt x="55442" y="35616"/>
                  </a:cubicBezTo>
                  <a:cubicBezTo>
                    <a:pt x="55442" y="25702"/>
                    <a:pt x="46945" y="15789"/>
                    <a:pt x="35615" y="15789"/>
                  </a:cubicBezTo>
                  <a:cubicBezTo>
                    <a:pt x="25702" y="15789"/>
                    <a:pt x="15789" y="24286"/>
                    <a:pt x="15789" y="35616"/>
                  </a:cubicBezTo>
                  <a:cubicBezTo>
                    <a:pt x="17205" y="46945"/>
                    <a:pt x="25702" y="55442"/>
                    <a:pt x="35615"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4" name="Freeform: Shape 1943">
              <a:extLst>
                <a:ext uri="{FF2B5EF4-FFF2-40B4-BE49-F238E27FC236}">
                  <a16:creationId xmlns:a16="http://schemas.microsoft.com/office/drawing/2014/main" id="{55AAECE4-38A1-4321-98BF-95258D2F4832}"/>
                </a:ext>
              </a:extLst>
            </p:cNvPr>
            <p:cNvSpPr/>
            <p:nvPr/>
          </p:nvSpPr>
          <p:spPr>
            <a:xfrm>
              <a:off x="8609528" y="1380977"/>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5702"/>
                    <a:pt x="46945" y="15789"/>
                    <a:pt x="35616" y="15789"/>
                  </a:cubicBezTo>
                  <a:cubicBezTo>
                    <a:pt x="25703" y="15789"/>
                    <a:pt x="15789" y="24286"/>
                    <a:pt x="15789" y="35616"/>
                  </a:cubicBezTo>
                  <a:cubicBezTo>
                    <a:pt x="15789" y="45529"/>
                    <a:pt x="24287"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5" name="Freeform: Shape 1944">
              <a:extLst>
                <a:ext uri="{FF2B5EF4-FFF2-40B4-BE49-F238E27FC236}">
                  <a16:creationId xmlns:a16="http://schemas.microsoft.com/office/drawing/2014/main" id="{CE19C5D7-3F99-4B23-8524-CCC2BA7F3484}"/>
                </a:ext>
              </a:extLst>
            </p:cNvPr>
            <p:cNvSpPr/>
            <p:nvPr/>
          </p:nvSpPr>
          <p:spPr>
            <a:xfrm>
              <a:off x="6594288" y="1948870"/>
              <a:ext cx="212429" cy="212429"/>
            </a:xfrm>
            <a:custGeom>
              <a:avLst/>
              <a:gdLst>
                <a:gd name="connsiteX0" fmla="*/ 112090 w 212428"/>
                <a:gd name="connsiteY0" fmla="*/ 208391 h 212428"/>
                <a:gd name="connsiteX1" fmla="*/ 208391 w 212428"/>
                <a:gd name="connsiteY1" fmla="*/ 112090 h 212428"/>
                <a:gd name="connsiteX2" fmla="*/ 112090 w 212428"/>
                <a:gd name="connsiteY2" fmla="*/ 15789 h 212428"/>
                <a:gd name="connsiteX3" fmla="*/ 15789 w 212428"/>
                <a:gd name="connsiteY3" fmla="*/ 112090 h 212428"/>
                <a:gd name="connsiteX4" fmla="*/ 112090 w 212428"/>
                <a:gd name="connsiteY4" fmla="*/ 208391 h 212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428" h="212428">
                  <a:moveTo>
                    <a:pt x="112090" y="208391"/>
                  </a:moveTo>
                  <a:cubicBezTo>
                    <a:pt x="164489" y="208391"/>
                    <a:pt x="208391" y="164489"/>
                    <a:pt x="208391" y="112090"/>
                  </a:cubicBezTo>
                  <a:cubicBezTo>
                    <a:pt x="208391" y="58275"/>
                    <a:pt x="164489" y="15789"/>
                    <a:pt x="112090" y="15789"/>
                  </a:cubicBezTo>
                  <a:cubicBezTo>
                    <a:pt x="59691" y="15789"/>
                    <a:pt x="15789" y="59691"/>
                    <a:pt x="15789" y="112090"/>
                  </a:cubicBezTo>
                  <a:cubicBezTo>
                    <a:pt x="15789" y="164489"/>
                    <a:pt x="59691" y="208391"/>
                    <a:pt x="112090" y="20839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6" name="Freeform: Shape 1945">
              <a:extLst>
                <a:ext uri="{FF2B5EF4-FFF2-40B4-BE49-F238E27FC236}">
                  <a16:creationId xmlns:a16="http://schemas.microsoft.com/office/drawing/2014/main" id="{62A93F8D-52D7-45A7-9C22-A5BF68878019}"/>
                </a:ext>
              </a:extLst>
            </p:cNvPr>
            <p:cNvSpPr/>
            <p:nvPr/>
          </p:nvSpPr>
          <p:spPr>
            <a:xfrm>
              <a:off x="7361864" y="2161298"/>
              <a:ext cx="127457" cy="127457"/>
            </a:xfrm>
            <a:custGeom>
              <a:avLst/>
              <a:gdLst>
                <a:gd name="connsiteX0" fmla="*/ 63939 w 127457"/>
                <a:gd name="connsiteY0" fmla="*/ 112090 h 127457"/>
                <a:gd name="connsiteX1" fmla="*/ 112090 w 127457"/>
                <a:gd name="connsiteY1" fmla="*/ 63939 h 127457"/>
                <a:gd name="connsiteX2" fmla="*/ 63939 w 127457"/>
                <a:gd name="connsiteY2" fmla="*/ 15789 h 127457"/>
                <a:gd name="connsiteX3" fmla="*/ 15789 w 127457"/>
                <a:gd name="connsiteY3" fmla="*/ 63939 h 127457"/>
                <a:gd name="connsiteX4" fmla="*/ 63939 w 127457"/>
                <a:gd name="connsiteY4" fmla="*/ 112090 h 127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57" h="127457">
                  <a:moveTo>
                    <a:pt x="63939" y="112090"/>
                  </a:moveTo>
                  <a:cubicBezTo>
                    <a:pt x="90847" y="112090"/>
                    <a:pt x="112090" y="90847"/>
                    <a:pt x="112090" y="63939"/>
                  </a:cubicBezTo>
                  <a:cubicBezTo>
                    <a:pt x="112090" y="37032"/>
                    <a:pt x="90847" y="15789"/>
                    <a:pt x="63939" y="15789"/>
                  </a:cubicBezTo>
                  <a:cubicBezTo>
                    <a:pt x="37032" y="15789"/>
                    <a:pt x="15789" y="37032"/>
                    <a:pt x="15789" y="63939"/>
                  </a:cubicBezTo>
                  <a:cubicBezTo>
                    <a:pt x="15789" y="90847"/>
                    <a:pt x="38448" y="112090"/>
                    <a:pt x="63939" y="11209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7" name="Freeform: Shape 1946">
              <a:extLst>
                <a:ext uri="{FF2B5EF4-FFF2-40B4-BE49-F238E27FC236}">
                  <a16:creationId xmlns:a16="http://schemas.microsoft.com/office/drawing/2014/main" id="{2DFC79DA-270A-439F-BFCD-ADBF2F363192}"/>
                </a:ext>
              </a:extLst>
            </p:cNvPr>
            <p:cNvSpPr/>
            <p:nvPr/>
          </p:nvSpPr>
          <p:spPr>
            <a:xfrm>
              <a:off x="7231575" y="1492856"/>
              <a:ext cx="127457" cy="127457"/>
            </a:xfrm>
            <a:custGeom>
              <a:avLst/>
              <a:gdLst>
                <a:gd name="connsiteX0" fmla="*/ 112090 w 127457"/>
                <a:gd name="connsiteY0" fmla="*/ 63940 h 127457"/>
                <a:gd name="connsiteX1" fmla="*/ 63940 w 127457"/>
                <a:gd name="connsiteY1" fmla="*/ 112090 h 127457"/>
                <a:gd name="connsiteX2" fmla="*/ 15789 w 127457"/>
                <a:gd name="connsiteY2" fmla="*/ 63940 h 127457"/>
                <a:gd name="connsiteX3" fmla="*/ 63940 w 127457"/>
                <a:gd name="connsiteY3" fmla="*/ 15789 h 127457"/>
                <a:gd name="connsiteX4" fmla="*/ 112090 w 127457"/>
                <a:gd name="connsiteY4" fmla="*/ 63940 h 127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57" h="127457">
                  <a:moveTo>
                    <a:pt x="112090" y="63940"/>
                  </a:moveTo>
                  <a:cubicBezTo>
                    <a:pt x="112090" y="90532"/>
                    <a:pt x="90533" y="112090"/>
                    <a:pt x="63940" y="112090"/>
                  </a:cubicBezTo>
                  <a:cubicBezTo>
                    <a:pt x="37347" y="112090"/>
                    <a:pt x="15789" y="90532"/>
                    <a:pt x="15789" y="63940"/>
                  </a:cubicBezTo>
                  <a:cubicBezTo>
                    <a:pt x="15789" y="37347"/>
                    <a:pt x="37347" y="15789"/>
                    <a:pt x="63940" y="15789"/>
                  </a:cubicBezTo>
                  <a:cubicBezTo>
                    <a:pt x="90533" y="15789"/>
                    <a:pt x="112090" y="37347"/>
                    <a:pt x="112090"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8" name="Freeform: Shape 1947">
              <a:extLst>
                <a:ext uri="{FF2B5EF4-FFF2-40B4-BE49-F238E27FC236}">
                  <a16:creationId xmlns:a16="http://schemas.microsoft.com/office/drawing/2014/main" id="{6E6A14B9-4290-48D4-9C6E-BF275309AD22}"/>
                </a:ext>
              </a:extLst>
            </p:cNvPr>
            <p:cNvSpPr/>
            <p:nvPr/>
          </p:nvSpPr>
          <p:spPr>
            <a:xfrm>
              <a:off x="7026227" y="1991355"/>
              <a:ext cx="113295" cy="113295"/>
            </a:xfrm>
            <a:custGeom>
              <a:avLst/>
              <a:gdLst>
                <a:gd name="connsiteX0" fmla="*/ 61107 w 113295"/>
                <a:gd name="connsiteY0" fmla="*/ 15789 h 113295"/>
                <a:gd name="connsiteX1" fmla="*/ 106426 w 113295"/>
                <a:gd name="connsiteY1" fmla="*/ 61107 h 113295"/>
                <a:gd name="connsiteX2" fmla="*/ 61107 w 113295"/>
                <a:gd name="connsiteY2" fmla="*/ 106425 h 113295"/>
                <a:gd name="connsiteX3" fmla="*/ 15789 w 113295"/>
                <a:gd name="connsiteY3" fmla="*/ 61107 h 113295"/>
                <a:gd name="connsiteX4" fmla="*/ 61107 w 113295"/>
                <a:gd name="connsiteY4" fmla="*/ 15789 h 113295"/>
                <a:gd name="connsiteX5" fmla="*/ 61107 w 113295"/>
                <a:gd name="connsiteY5" fmla="*/ 15789 h 113295"/>
                <a:gd name="connsiteX6" fmla="*/ 61107 w 113295"/>
                <a:gd name="connsiteY6" fmla="*/ 37032 h 113295"/>
                <a:gd name="connsiteX7" fmla="*/ 35616 w 113295"/>
                <a:gd name="connsiteY7" fmla="*/ 62523 h 113295"/>
                <a:gd name="connsiteX8" fmla="*/ 61107 w 113295"/>
                <a:gd name="connsiteY8" fmla="*/ 88015 h 113295"/>
                <a:gd name="connsiteX9" fmla="*/ 86599 w 113295"/>
                <a:gd name="connsiteY9" fmla="*/ 62523 h 113295"/>
                <a:gd name="connsiteX10" fmla="*/ 61107 w 113295"/>
                <a:gd name="connsiteY10" fmla="*/ 37032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07" y="15789"/>
                  </a:moveTo>
                  <a:cubicBezTo>
                    <a:pt x="86599" y="15789"/>
                    <a:pt x="106426" y="35616"/>
                    <a:pt x="106426" y="61107"/>
                  </a:cubicBezTo>
                  <a:cubicBezTo>
                    <a:pt x="106426" y="86599"/>
                    <a:pt x="86599" y="106425"/>
                    <a:pt x="61107" y="106425"/>
                  </a:cubicBezTo>
                  <a:cubicBezTo>
                    <a:pt x="35616" y="106425"/>
                    <a:pt x="15789" y="86599"/>
                    <a:pt x="15789" y="61107"/>
                  </a:cubicBezTo>
                  <a:cubicBezTo>
                    <a:pt x="15789" y="37032"/>
                    <a:pt x="37032" y="15789"/>
                    <a:pt x="61107" y="15789"/>
                  </a:cubicBezTo>
                  <a:lnTo>
                    <a:pt x="61107" y="15789"/>
                  </a:lnTo>
                  <a:close/>
                  <a:moveTo>
                    <a:pt x="61107" y="37032"/>
                  </a:moveTo>
                  <a:cubicBezTo>
                    <a:pt x="46945" y="37032"/>
                    <a:pt x="35616" y="48361"/>
                    <a:pt x="35616" y="62523"/>
                  </a:cubicBezTo>
                  <a:cubicBezTo>
                    <a:pt x="35616" y="76685"/>
                    <a:pt x="46945" y="88015"/>
                    <a:pt x="61107" y="88015"/>
                  </a:cubicBezTo>
                  <a:cubicBezTo>
                    <a:pt x="75269" y="88015"/>
                    <a:pt x="86599" y="76685"/>
                    <a:pt x="86599" y="62523"/>
                  </a:cubicBezTo>
                  <a:cubicBezTo>
                    <a:pt x="88015" y="48361"/>
                    <a:pt x="75269" y="37032"/>
                    <a:pt x="61107" y="3703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9" name="Freeform: Shape 1948">
              <a:extLst>
                <a:ext uri="{FF2B5EF4-FFF2-40B4-BE49-F238E27FC236}">
                  <a16:creationId xmlns:a16="http://schemas.microsoft.com/office/drawing/2014/main" id="{42B52DDE-0CCE-4B98-9DED-CFF100F890C7}"/>
                </a:ext>
              </a:extLst>
            </p:cNvPr>
            <p:cNvSpPr/>
            <p:nvPr/>
          </p:nvSpPr>
          <p:spPr>
            <a:xfrm>
              <a:off x="7854699" y="2242021"/>
              <a:ext cx="113295" cy="113295"/>
            </a:xfrm>
            <a:custGeom>
              <a:avLst/>
              <a:gdLst>
                <a:gd name="connsiteX0" fmla="*/ 61107 w 113295"/>
                <a:gd name="connsiteY0" fmla="*/ 15789 h 113295"/>
                <a:gd name="connsiteX1" fmla="*/ 106426 w 113295"/>
                <a:gd name="connsiteY1" fmla="*/ 61107 h 113295"/>
                <a:gd name="connsiteX2" fmla="*/ 61107 w 113295"/>
                <a:gd name="connsiteY2" fmla="*/ 106425 h 113295"/>
                <a:gd name="connsiteX3" fmla="*/ 15789 w 113295"/>
                <a:gd name="connsiteY3" fmla="*/ 61107 h 113295"/>
                <a:gd name="connsiteX4" fmla="*/ 61107 w 113295"/>
                <a:gd name="connsiteY4" fmla="*/ 15789 h 113295"/>
                <a:gd name="connsiteX5" fmla="*/ 61107 w 113295"/>
                <a:gd name="connsiteY5" fmla="*/ 15789 h 113295"/>
                <a:gd name="connsiteX6" fmla="*/ 61107 w 113295"/>
                <a:gd name="connsiteY6" fmla="*/ 35616 h 113295"/>
                <a:gd name="connsiteX7" fmla="*/ 35616 w 113295"/>
                <a:gd name="connsiteY7" fmla="*/ 61107 h 113295"/>
                <a:gd name="connsiteX8" fmla="*/ 61107 w 113295"/>
                <a:gd name="connsiteY8" fmla="*/ 86599 h 113295"/>
                <a:gd name="connsiteX9" fmla="*/ 86599 w 113295"/>
                <a:gd name="connsiteY9" fmla="*/ 61107 h 113295"/>
                <a:gd name="connsiteX10" fmla="*/ 61107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07" y="15789"/>
                  </a:moveTo>
                  <a:cubicBezTo>
                    <a:pt x="86599" y="15789"/>
                    <a:pt x="106426" y="35616"/>
                    <a:pt x="106426" y="61107"/>
                  </a:cubicBezTo>
                  <a:cubicBezTo>
                    <a:pt x="106426" y="86599"/>
                    <a:pt x="86599" y="106425"/>
                    <a:pt x="61107" y="106425"/>
                  </a:cubicBezTo>
                  <a:cubicBezTo>
                    <a:pt x="35616" y="106425"/>
                    <a:pt x="15789" y="86599"/>
                    <a:pt x="15789" y="61107"/>
                  </a:cubicBezTo>
                  <a:cubicBezTo>
                    <a:pt x="15789" y="37032"/>
                    <a:pt x="35616" y="15789"/>
                    <a:pt x="61107" y="15789"/>
                  </a:cubicBezTo>
                  <a:lnTo>
                    <a:pt x="61107" y="15789"/>
                  </a:lnTo>
                  <a:close/>
                  <a:moveTo>
                    <a:pt x="61107" y="35616"/>
                  </a:moveTo>
                  <a:cubicBezTo>
                    <a:pt x="46945" y="35616"/>
                    <a:pt x="35616" y="46945"/>
                    <a:pt x="35616" y="61107"/>
                  </a:cubicBezTo>
                  <a:cubicBezTo>
                    <a:pt x="35616" y="75269"/>
                    <a:pt x="46945" y="86599"/>
                    <a:pt x="61107" y="86599"/>
                  </a:cubicBezTo>
                  <a:cubicBezTo>
                    <a:pt x="75269" y="86599"/>
                    <a:pt x="86599" y="75269"/>
                    <a:pt x="86599" y="61107"/>
                  </a:cubicBezTo>
                  <a:cubicBezTo>
                    <a:pt x="86599" y="48361"/>
                    <a:pt x="75269" y="35616"/>
                    <a:pt x="61107"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0" name="Freeform: Shape 1949">
              <a:extLst>
                <a:ext uri="{FF2B5EF4-FFF2-40B4-BE49-F238E27FC236}">
                  <a16:creationId xmlns:a16="http://schemas.microsoft.com/office/drawing/2014/main" id="{BF5F5FF2-361B-485E-AD56-264AEE3351E1}"/>
                </a:ext>
              </a:extLst>
            </p:cNvPr>
            <p:cNvSpPr/>
            <p:nvPr/>
          </p:nvSpPr>
          <p:spPr>
            <a:xfrm>
              <a:off x="9188751" y="2981273"/>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29" y="55442"/>
                    <a:pt x="55442" y="46945"/>
                    <a:pt x="55442" y="35616"/>
                  </a:cubicBezTo>
                  <a:cubicBezTo>
                    <a:pt x="55442" y="25702"/>
                    <a:pt x="46945" y="15789"/>
                    <a:pt x="35616" y="15789"/>
                  </a:cubicBezTo>
                  <a:cubicBezTo>
                    <a:pt x="24286" y="15789"/>
                    <a:pt x="15789" y="24286"/>
                    <a:pt x="15789" y="35616"/>
                  </a:cubicBezTo>
                  <a:cubicBezTo>
                    <a:pt x="15789" y="46945"/>
                    <a:pt x="25703"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1" name="Freeform: Shape 1950">
              <a:extLst>
                <a:ext uri="{FF2B5EF4-FFF2-40B4-BE49-F238E27FC236}">
                  <a16:creationId xmlns:a16="http://schemas.microsoft.com/office/drawing/2014/main" id="{78BABCEC-547B-453E-A4CD-6565AB8CFA8D}"/>
                </a:ext>
              </a:extLst>
            </p:cNvPr>
            <p:cNvSpPr/>
            <p:nvPr/>
          </p:nvSpPr>
          <p:spPr>
            <a:xfrm>
              <a:off x="9078288" y="3338153"/>
              <a:ext cx="70810" cy="70810"/>
            </a:xfrm>
            <a:custGeom>
              <a:avLst/>
              <a:gdLst>
                <a:gd name="connsiteX0" fmla="*/ 35615 w 70809"/>
                <a:gd name="connsiteY0" fmla="*/ 55442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2"/>
                  </a:moveTo>
                  <a:cubicBezTo>
                    <a:pt x="45529" y="55442"/>
                    <a:pt x="55442" y="46945"/>
                    <a:pt x="55442" y="35616"/>
                  </a:cubicBezTo>
                  <a:cubicBezTo>
                    <a:pt x="55442" y="24286"/>
                    <a:pt x="46945" y="15789"/>
                    <a:pt x="35615" y="15789"/>
                  </a:cubicBezTo>
                  <a:cubicBezTo>
                    <a:pt x="25703" y="15789"/>
                    <a:pt x="15789" y="24286"/>
                    <a:pt x="15789" y="35616"/>
                  </a:cubicBezTo>
                  <a:cubicBezTo>
                    <a:pt x="15789" y="46945"/>
                    <a:pt x="25703" y="55442"/>
                    <a:pt x="35615"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2" name="Freeform: Shape 1951">
              <a:extLst>
                <a:ext uri="{FF2B5EF4-FFF2-40B4-BE49-F238E27FC236}">
                  <a16:creationId xmlns:a16="http://schemas.microsoft.com/office/drawing/2014/main" id="{048092A4-EBA8-4CF9-861F-1B3455251FA2}"/>
                </a:ext>
              </a:extLst>
            </p:cNvPr>
            <p:cNvSpPr/>
            <p:nvPr/>
          </p:nvSpPr>
          <p:spPr>
            <a:xfrm>
              <a:off x="8647766" y="3532171"/>
              <a:ext cx="84971" cy="84971"/>
            </a:xfrm>
            <a:custGeom>
              <a:avLst/>
              <a:gdLst>
                <a:gd name="connsiteX0" fmla="*/ 48361 w 84971"/>
                <a:gd name="connsiteY0" fmla="*/ 15789 h 84971"/>
                <a:gd name="connsiteX1" fmla="*/ 80934 w 84971"/>
                <a:gd name="connsiteY1" fmla="*/ 48361 h 84971"/>
                <a:gd name="connsiteX2" fmla="*/ 48361 w 84971"/>
                <a:gd name="connsiteY2" fmla="*/ 80934 h 84971"/>
                <a:gd name="connsiteX3" fmla="*/ 15789 w 84971"/>
                <a:gd name="connsiteY3" fmla="*/ 48361 h 84971"/>
                <a:gd name="connsiteX4" fmla="*/ 48361 w 84971"/>
                <a:gd name="connsiteY4" fmla="*/ 15789 h 84971"/>
                <a:gd name="connsiteX5" fmla="*/ 48361 w 84971"/>
                <a:gd name="connsiteY5" fmla="*/ 15789 h 84971"/>
                <a:gd name="connsiteX6" fmla="*/ 48361 w 84971"/>
                <a:gd name="connsiteY6" fmla="*/ 21454 h 84971"/>
                <a:gd name="connsiteX7" fmla="*/ 21454 w 84971"/>
                <a:gd name="connsiteY7" fmla="*/ 48361 h 84971"/>
                <a:gd name="connsiteX8" fmla="*/ 48361 w 84971"/>
                <a:gd name="connsiteY8" fmla="*/ 75269 h 84971"/>
                <a:gd name="connsiteX9" fmla="*/ 75269 w 84971"/>
                <a:gd name="connsiteY9" fmla="*/ 48361 h 84971"/>
                <a:gd name="connsiteX10" fmla="*/ 48361 w 84971"/>
                <a:gd name="connsiteY10" fmla="*/ 21454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8361" y="15789"/>
                  </a:moveTo>
                  <a:cubicBezTo>
                    <a:pt x="66772" y="15789"/>
                    <a:pt x="80934" y="29951"/>
                    <a:pt x="80934" y="48361"/>
                  </a:cubicBezTo>
                  <a:cubicBezTo>
                    <a:pt x="80934" y="66772"/>
                    <a:pt x="66772" y="80934"/>
                    <a:pt x="48361" y="80934"/>
                  </a:cubicBezTo>
                  <a:cubicBezTo>
                    <a:pt x="29951" y="80934"/>
                    <a:pt x="15789" y="66772"/>
                    <a:pt x="15789" y="48361"/>
                  </a:cubicBezTo>
                  <a:cubicBezTo>
                    <a:pt x="15789" y="29951"/>
                    <a:pt x="29951" y="15789"/>
                    <a:pt x="48361" y="15789"/>
                  </a:cubicBezTo>
                  <a:lnTo>
                    <a:pt x="48361" y="15789"/>
                  </a:lnTo>
                  <a:close/>
                  <a:moveTo>
                    <a:pt x="48361" y="21454"/>
                  </a:moveTo>
                  <a:cubicBezTo>
                    <a:pt x="34199" y="21454"/>
                    <a:pt x="21454" y="32783"/>
                    <a:pt x="21454" y="48361"/>
                  </a:cubicBezTo>
                  <a:cubicBezTo>
                    <a:pt x="21454" y="62523"/>
                    <a:pt x="32783" y="75269"/>
                    <a:pt x="48361" y="75269"/>
                  </a:cubicBezTo>
                  <a:cubicBezTo>
                    <a:pt x="62523" y="75269"/>
                    <a:pt x="75269" y="63940"/>
                    <a:pt x="75269" y="48361"/>
                  </a:cubicBezTo>
                  <a:cubicBezTo>
                    <a:pt x="75269" y="34200"/>
                    <a:pt x="62523" y="21454"/>
                    <a:pt x="48361" y="2145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3" name="Freeform: Shape 1952">
              <a:extLst>
                <a:ext uri="{FF2B5EF4-FFF2-40B4-BE49-F238E27FC236}">
                  <a16:creationId xmlns:a16="http://schemas.microsoft.com/office/drawing/2014/main" id="{E601188C-55B3-407C-A71A-64D426E9D043}"/>
                </a:ext>
              </a:extLst>
            </p:cNvPr>
            <p:cNvSpPr/>
            <p:nvPr/>
          </p:nvSpPr>
          <p:spPr>
            <a:xfrm>
              <a:off x="7621027" y="1218115"/>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2" y="58275"/>
                    <a:pt x="58275" y="48361"/>
                    <a:pt x="58275" y="37032"/>
                  </a:cubicBezTo>
                  <a:cubicBezTo>
                    <a:pt x="58275" y="25702"/>
                    <a:pt x="48362" y="15789"/>
                    <a:pt x="37032" y="15789"/>
                  </a:cubicBezTo>
                  <a:cubicBezTo>
                    <a:pt x="25703" y="15789"/>
                    <a:pt x="15789" y="25702"/>
                    <a:pt x="15789" y="37032"/>
                  </a:cubicBezTo>
                  <a:cubicBezTo>
                    <a:pt x="15789" y="48361"/>
                    <a:pt x="25703"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4" name="Freeform: Shape 1953">
              <a:extLst>
                <a:ext uri="{FF2B5EF4-FFF2-40B4-BE49-F238E27FC236}">
                  <a16:creationId xmlns:a16="http://schemas.microsoft.com/office/drawing/2014/main" id="{AF44242B-CBE0-4454-B8E5-FE438CF62D21}"/>
                </a:ext>
              </a:extLst>
            </p:cNvPr>
            <p:cNvSpPr/>
            <p:nvPr/>
          </p:nvSpPr>
          <p:spPr>
            <a:xfrm>
              <a:off x="9391266" y="107791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7"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5" name="Freeform: Shape 1954">
              <a:extLst>
                <a:ext uri="{FF2B5EF4-FFF2-40B4-BE49-F238E27FC236}">
                  <a16:creationId xmlns:a16="http://schemas.microsoft.com/office/drawing/2014/main" id="{823B3223-BCE7-4A79-B7B0-E7BA9ACAE7E2}"/>
                </a:ext>
              </a:extLst>
            </p:cNvPr>
            <p:cNvSpPr/>
            <p:nvPr/>
          </p:nvSpPr>
          <p:spPr>
            <a:xfrm>
              <a:off x="9892598" y="1144473"/>
              <a:ext cx="56648" cy="56648"/>
            </a:xfrm>
            <a:custGeom>
              <a:avLst/>
              <a:gdLst>
                <a:gd name="connsiteX0" fmla="*/ 32783 w 56647"/>
                <a:gd name="connsiteY0" fmla="*/ 49778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7" y="42697"/>
                    <a:pt x="49777" y="32783"/>
                  </a:cubicBezTo>
                  <a:cubicBezTo>
                    <a:pt x="49777" y="22870"/>
                    <a:pt x="42696"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6" name="Freeform: Shape 1955">
              <a:extLst>
                <a:ext uri="{FF2B5EF4-FFF2-40B4-BE49-F238E27FC236}">
                  <a16:creationId xmlns:a16="http://schemas.microsoft.com/office/drawing/2014/main" id="{865246DA-B3F2-45E0-817A-1817161BAE2B}"/>
                </a:ext>
              </a:extLst>
            </p:cNvPr>
            <p:cNvSpPr/>
            <p:nvPr/>
          </p:nvSpPr>
          <p:spPr>
            <a:xfrm>
              <a:off x="9801962" y="2002685"/>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7" y="15789"/>
                    <a:pt x="15789" y="24286"/>
                    <a:pt x="15789" y="35616"/>
                  </a:cubicBezTo>
                  <a:cubicBezTo>
                    <a:pt x="15789" y="46945"/>
                    <a:pt x="24287"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7" name="Freeform: Shape 1956">
              <a:extLst>
                <a:ext uri="{FF2B5EF4-FFF2-40B4-BE49-F238E27FC236}">
                  <a16:creationId xmlns:a16="http://schemas.microsoft.com/office/drawing/2014/main" id="{7352BC74-E5EE-4DF2-84F5-B655C43DBB6B}"/>
                </a:ext>
              </a:extLst>
            </p:cNvPr>
            <p:cNvSpPr/>
            <p:nvPr/>
          </p:nvSpPr>
          <p:spPr>
            <a:xfrm>
              <a:off x="9069791" y="1431960"/>
              <a:ext cx="113295" cy="113295"/>
            </a:xfrm>
            <a:custGeom>
              <a:avLst/>
              <a:gdLst>
                <a:gd name="connsiteX0" fmla="*/ 56859 w 113295"/>
                <a:gd name="connsiteY0" fmla="*/ 97928 h 113295"/>
                <a:gd name="connsiteX1" fmla="*/ 97929 w 113295"/>
                <a:gd name="connsiteY1" fmla="*/ 56859 h 113295"/>
                <a:gd name="connsiteX2" fmla="*/ 56859 w 113295"/>
                <a:gd name="connsiteY2" fmla="*/ 15789 h 113295"/>
                <a:gd name="connsiteX3" fmla="*/ 15789 w 113295"/>
                <a:gd name="connsiteY3" fmla="*/ 56859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9" y="79518"/>
                    <a:pt x="97929" y="56859"/>
                  </a:cubicBezTo>
                  <a:cubicBezTo>
                    <a:pt x="97929" y="34200"/>
                    <a:pt x="79518" y="15789"/>
                    <a:pt x="56859" y="15789"/>
                  </a:cubicBezTo>
                  <a:cubicBezTo>
                    <a:pt x="34200" y="15789"/>
                    <a:pt x="15789" y="34200"/>
                    <a:pt x="15789" y="56859"/>
                  </a:cubicBezTo>
                  <a:cubicBezTo>
                    <a:pt x="15789" y="79518"/>
                    <a:pt x="34200" y="97928"/>
                    <a:pt x="56859"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8" name="Freeform: Shape 1957">
              <a:extLst>
                <a:ext uri="{FF2B5EF4-FFF2-40B4-BE49-F238E27FC236}">
                  <a16:creationId xmlns:a16="http://schemas.microsoft.com/office/drawing/2014/main" id="{5E785427-A569-4069-975C-70FD8B1B8A86}"/>
                </a:ext>
              </a:extLst>
            </p:cNvPr>
            <p:cNvSpPr/>
            <p:nvPr/>
          </p:nvSpPr>
          <p:spPr>
            <a:xfrm>
              <a:off x="9023056" y="2617312"/>
              <a:ext cx="113295" cy="113295"/>
            </a:xfrm>
            <a:custGeom>
              <a:avLst/>
              <a:gdLst>
                <a:gd name="connsiteX0" fmla="*/ 56859 w 113295"/>
                <a:gd name="connsiteY0" fmla="*/ 97928 h 113295"/>
                <a:gd name="connsiteX1" fmla="*/ 97928 w 113295"/>
                <a:gd name="connsiteY1" fmla="*/ 56858 h 113295"/>
                <a:gd name="connsiteX2" fmla="*/ 56859 w 113295"/>
                <a:gd name="connsiteY2" fmla="*/ 15789 h 113295"/>
                <a:gd name="connsiteX3" fmla="*/ 15789 w 113295"/>
                <a:gd name="connsiteY3" fmla="*/ 56858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8" y="79518"/>
                    <a:pt x="97928" y="56858"/>
                  </a:cubicBezTo>
                  <a:cubicBezTo>
                    <a:pt x="97928" y="34200"/>
                    <a:pt x="79518" y="15789"/>
                    <a:pt x="56859" y="15789"/>
                  </a:cubicBezTo>
                  <a:cubicBezTo>
                    <a:pt x="34199" y="15789"/>
                    <a:pt x="15789" y="34200"/>
                    <a:pt x="15789" y="56858"/>
                  </a:cubicBezTo>
                  <a:cubicBezTo>
                    <a:pt x="15789" y="79518"/>
                    <a:pt x="34199" y="97928"/>
                    <a:pt x="56859"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9" name="Freeform: Shape 1958">
              <a:extLst>
                <a:ext uri="{FF2B5EF4-FFF2-40B4-BE49-F238E27FC236}">
                  <a16:creationId xmlns:a16="http://schemas.microsoft.com/office/drawing/2014/main" id="{93311C0D-9C84-4B88-866E-01C3FEB4AE7C}"/>
                </a:ext>
              </a:extLst>
            </p:cNvPr>
            <p:cNvSpPr/>
            <p:nvPr/>
          </p:nvSpPr>
          <p:spPr>
            <a:xfrm>
              <a:off x="8317793" y="3384887"/>
              <a:ext cx="113295" cy="113295"/>
            </a:xfrm>
            <a:custGeom>
              <a:avLst/>
              <a:gdLst>
                <a:gd name="connsiteX0" fmla="*/ 56859 w 113295"/>
                <a:gd name="connsiteY0" fmla="*/ 97928 h 113295"/>
                <a:gd name="connsiteX1" fmla="*/ 97928 w 113295"/>
                <a:gd name="connsiteY1" fmla="*/ 56858 h 113295"/>
                <a:gd name="connsiteX2" fmla="*/ 56859 w 113295"/>
                <a:gd name="connsiteY2" fmla="*/ 15789 h 113295"/>
                <a:gd name="connsiteX3" fmla="*/ 15789 w 113295"/>
                <a:gd name="connsiteY3" fmla="*/ 56858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8" y="79518"/>
                    <a:pt x="97928" y="56858"/>
                  </a:cubicBezTo>
                  <a:cubicBezTo>
                    <a:pt x="97928" y="34200"/>
                    <a:pt x="79518" y="15789"/>
                    <a:pt x="56859" y="15789"/>
                  </a:cubicBezTo>
                  <a:cubicBezTo>
                    <a:pt x="34199" y="15789"/>
                    <a:pt x="15789" y="34200"/>
                    <a:pt x="15789" y="56858"/>
                  </a:cubicBezTo>
                  <a:cubicBezTo>
                    <a:pt x="15789" y="79518"/>
                    <a:pt x="34199" y="97928"/>
                    <a:pt x="56859"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0" name="Freeform: Shape 1959">
              <a:extLst>
                <a:ext uri="{FF2B5EF4-FFF2-40B4-BE49-F238E27FC236}">
                  <a16:creationId xmlns:a16="http://schemas.microsoft.com/office/drawing/2014/main" id="{B93185F4-6A22-470A-BCC3-E7A70F249AEE}"/>
                </a:ext>
              </a:extLst>
            </p:cNvPr>
            <p:cNvSpPr/>
            <p:nvPr/>
          </p:nvSpPr>
          <p:spPr>
            <a:xfrm>
              <a:off x="7485073" y="3176707"/>
              <a:ext cx="113295" cy="113295"/>
            </a:xfrm>
            <a:custGeom>
              <a:avLst/>
              <a:gdLst>
                <a:gd name="connsiteX0" fmla="*/ 56858 w 113295"/>
                <a:gd name="connsiteY0" fmla="*/ 97928 h 113295"/>
                <a:gd name="connsiteX1" fmla="*/ 97928 w 113295"/>
                <a:gd name="connsiteY1" fmla="*/ 56858 h 113295"/>
                <a:gd name="connsiteX2" fmla="*/ 56858 w 113295"/>
                <a:gd name="connsiteY2" fmla="*/ 15789 h 113295"/>
                <a:gd name="connsiteX3" fmla="*/ 15789 w 113295"/>
                <a:gd name="connsiteY3" fmla="*/ 56858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8"/>
                  </a:cubicBezTo>
                  <a:cubicBezTo>
                    <a:pt x="97928" y="34200"/>
                    <a:pt x="79518" y="15789"/>
                    <a:pt x="56858" y="15789"/>
                  </a:cubicBezTo>
                  <a:cubicBezTo>
                    <a:pt x="34199" y="15789"/>
                    <a:pt x="15789" y="34200"/>
                    <a:pt x="15789" y="56858"/>
                  </a:cubicBezTo>
                  <a:cubicBezTo>
                    <a:pt x="17205" y="79518"/>
                    <a:pt x="34199" y="97928"/>
                    <a:pt x="56858"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1" name="Freeform: Shape 1960">
              <a:extLst>
                <a:ext uri="{FF2B5EF4-FFF2-40B4-BE49-F238E27FC236}">
                  <a16:creationId xmlns:a16="http://schemas.microsoft.com/office/drawing/2014/main" id="{D9DA2CF9-B43C-45E6-8B3D-E6403F8CEEB7}"/>
                </a:ext>
              </a:extLst>
            </p:cNvPr>
            <p:cNvSpPr/>
            <p:nvPr/>
          </p:nvSpPr>
          <p:spPr>
            <a:xfrm>
              <a:off x="6966747" y="2621560"/>
              <a:ext cx="113295" cy="113295"/>
            </a:xfrm>
            <a:custGeom>
              <a:avLst/>
              <a:gdLst>
                <a:gd name="connsiteX0" fmla="*/ 56858 w 113295"/>
                <a:gd name="connsiteY0" fmla="*/ 97928 h 113295"/>
                <a:gd name="connsiteX1" fmla="*/ 97928 w 113295"/>
                <a:gd name="connsiteY1" fmla="*/ 56858 h 113295"/>
                <a:gd name="connsiteX2" fmla="*/ 56858 w 113295"/>
                <a:gd name="connsiteY2" fmla="*/ 15789 h 113295"/>
                <a:gd name="connsiteX3" fmla="*/ 15789 w 113295"/>
                <a:gd name="connsiteY3" fmla="*/ 56858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8"/>
                  </a:cubicBezTo>
                  <a:cubicBezTo>
                    <a:pt x="97928" y="34199"/>
                    <a:pt x="79518" y="15789"/>
                    <a:pt x="56858" y="15789"/>
                  </a:cubicBezTo>
                  <a:cubicBezTo>
                    <a:pt x="34199" y="15789"/>
                    <a:pt x="15789" y="34199"/>
                    <a:pt x="15789" y="56858"/>
                  </a:cubicBezTo>
                  <a:cubicBezTo>
                    <a:pt x="17205" y="79518"/>
                    <a:pt x="35616" y="97928"/>
                    <a:pt x="56858"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2" name="Freeform: Shape 1961">
              <a:extLst>
                <a:ext uri="{FF2B5EF4-FFF2-40B4-BE49-F238E27FC236}">
                  <a16:creationId xmlns:a16="http://schemas.microsoft.com/office/drawing/2014/main" id="{3745D7DA-09C4-4025-8370-46FB0C3BDA30}"/>
                </a:ext>
              </a:extLst>
            </p:cNvPr>
            <p:cNvSpPr/>
            <p:nvPr/>
          </p:nvSpPr>
          <p:spPr>
            <a:xfrm>
              <a:off x="6067465" y="2362397"/>
              <a:ext cx="113295" cy="113295"/>
            </a:xfrm>
            <a:custGeom>
              <a:avLst/>
              <a:gdLst>
                <a:gd name="connsiteX0" fmla="*/ 56858 w 113295"/>
                <a:gd name="connsiteY0" fmla="*/ 97928 h 113295"/>
                <a:gd name="connsiteX1" fmla="*/ 97928 w 113295"/>
                <a:gd name="connsiteY1" fmla="*/ 56858 h 113295"/>
                <a:gd name="connsiteX2" fmla="*/ 56858 w 113295"/>
                <a:gd name="connsiteY2" fmla="*/ 15789 h 113295"/>
                <a:gd name="connsiteX3" fmla="*/ 15789 w 113295"/>
                <a:gd name="connsiteY3" fmla="*/ 56858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8"/>
                  </a:cubicBezTo>
                  <a:cubicBezTo>
                    <a:pt x="97928" y="34200"/>
                    <a:pt x="79518" y="15789"/>
                    <a:pt x="56858" y="15789"/>
                  </a:cubicBezTo>
                  <a:cubicBezTo>
                    <a:pt x="34199" y="15789"/>
                    <a:pt x="15789" y="34200"/>
                    <a:pt x="15789" y="56858"/>
                  </a:cubicBezTo>
                  <a:cubicBezTo>
                    <a:pt x="15789" y="79518"/>
                    <a:pt x="34199" y="97928"/>
                    <a:pt x="56858"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3" name="Freeform: Shape 1962">
              <a:extLst>
                <a:ext uri="{FF2B5EF4-FFF2-40B4-BE49-F238E27FC236}">
                  <a16:creationId xmlns:a16="http://schemas.microsoft.com/office/drawing/2014/main" id="{8F809599-8D37-4CBA-AE90-3FD2D94F5800}"/>
                </a:ext>
              </a:extLst>
            </p:cNvPr>
            <p:cNvSpPr/>
            <p:nvPr/>
          </p:nvSpPr>
          <p:spPr>
            <a:xfrm>
              <a:off x="5706337" y="2239189"/>
              <a:ext cx="113295" cy="113295"/>
            </a:xfrm>
            <a:custGeom>
              <a:avLst/>
              <a:gdLst>
                <a:gd name="connsiteX0" fmla="*/ 56858 w 113295"/>
                <a:gd name="connsiteY0" fmla="*/ 97928 h 113295"/>
                <a:gd name="connsiteX1" fmla="*/ 97928 w 113295"/>
                <a:gd name="connsiteY1" fmla="*/ 56858 h 113295"/>
                <a:gd name="connsiteX2" fmla="*/ 56858 w 113295"/>
                <a:gd name="connsiteY2" fmla="*/ 15789 h 113295"/>
                <a:gd name="connsiteX3" fmla="*/ 15789 w 113295"/>
                <a:gd name="connsiteY3" fmla="*/ 56858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8"/>
                  </a:cubicBezTo>
                  <a:cubicBezTo>
                    <a:pt x="97928" y="34199"/>
                    <a:pt x="79518" y="15789"/>
                    <a:pt x="56858" y="15789"/>
                  </a:cubicBezTo>
                  <a:cubicBezTo>
                    <a:pt x="34199" y="15789"/>
                    <a:pt x="15789" y="34199"/>
                    <a:pt x="15789" y="56858"/>
                  </a:cubicBezTo>
                  <a:cubicBezTo>
                    <a:pt x="15789" y="79518"/>
                    <a:pt x="34199" y="97928"/>
                    <a:pt x="56858"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4" name="Freeform: Shape 1963">
              <a:extLst>
                <a:ext uri="{FF2B5EF4-FFF2-40B4-BE49-F238E27FC236}">
                  <a16:creationId xmlns:a16="http://schemas.microsoft.com/office/drawing/2014/main" id="{17D7EA81-1C14-49C2-BCCC-491BEAFEE95A}"/>
                </a:ext>
              </a:extLst>
            </p:cNvPr>
            <p:cNvSpPr/>
            <p:nvPr/>
          </p:nvSpPr>
          <p:spPr>
            <a:xfrm>
              <a:off x="5965499" y="1648637"/>
              <a:ext cx="113295" cy="113295"/>
            </a:xfrm>
            <a:custGeom>
              <a:avLst/>
              <a:gdLst>
                <a:gd name="connsiteX0" fmla="*/ 56858 w 113295"/>
                <a:gd name="connsiteY0" fmla="*/ 97928 h 113295"/>
                <a:gd name="connsiteX1" fmla="*/ 97928 w 113295"/>
                <a:gd name="connsiteY1" fmla="*/ 56859 h 113295"/>
                <a:gd name="connsiteX2" fmla="*/ 56858 w 113295"/>
                <a:gd name="connsiteY2" fmla="*/ 15789 h 113295"/>
                <a:gd name="connsiteX3" fmla="*/ 15789 w 113295"/>
                <a:gd name="connsiteY3" fmla="*/ 56859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9"/>
                  </a:cubicBezTo>
                  <a:cubicBezTo>
                    <a:pt x="97928" y="34199"/>
                    <a:pt x="79518" y="15789"/>
                    <a:pt x="56858" y="15789"/>
                  </a:cubicBezTo>
                  <a:cubicBezTo>
                    <a:pt x="34200" y="15789"/>
                    <a:pt x="15789" y="34199"/>
                    <a:pt x="15789" y="56859"/>
                  </a:cubicBezTo>
                  <a:cubicBezTo>
                    <a:pt x="15789" y="79518"/>
                    <a:pt x="34200" y="97928"/>
                    <a:pt x="56858"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5" name="Freeform: Shape 1964">
              <a:extLst>
                <a:ext uri="{FF2B5EF4-FFF2-40B4-BE49-F238E27FC236}">
                  <a16:creationId xmlns:a16="http://schemas.microsoft.com/office/drawing/2014/main" id="{1A8B797F-C0D0-47EB-AF60-BC5814EB0D2D}"/>
                </a:ext>
              </a:extLst>
            </p:cNvPr>
            <p:cNvSpPr/>
            <p:nvPr/>
          </p:nvSpPr>
          <p:spPr>
            <a:xfrm>
              <a:off x="6422929" y="1184127"/>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7205" y="71020"/>
                    <a:pt x="32783"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6" name="Freeform: Shape 1965">
              <a:extLst>
                <a:ext uri="{FF2B5EF4-FFF2-40B4-BE49-F238E27FC236}">
                  <a16:creationId xmlns:a16="http://schemas.microsoft.com/office/drawing/2014/main" id="{40D6C29D-1090-4923-B5B8-91755B1D0228}"/>
                </a:ext>
              </a:extLst>
            </p:cNvPr>
            <p:cNvSpPr/>
            <p:nvPr/>
          </p:nvSpPr>
          <p:spPr>
            <a:xfrm>
              <a:off x="6755734" y="1550920"/>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7205" y="71020"/>
                    <a:pt x="32783"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7" name="Freeform: Shape 1966">
              <a:extLst>
                <a:ext uri="{FF2B5EF4-FFF2-40B4-BE49-F238E27FC236}">
                  <a16:creationId xmlns:a16="http://schemas.microsoft.com/office/drawing/2014/main" id="{CA2EA39A-AB1A-4E86-985E-3EFEDAA2F5AD}"/>
                </a:ext>
              </a:extLst>
            </p:cNvPr>
            <p:cNvSpPr/>
            <p:nvPr/>
          </p:nvSpPr>
          <p:spPr>
            <a:xfrm>
              <a:off x="6251570" y="719616"/>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5789" y="71020"/>
                    <a:pt x="31367"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8" name="Freeform: Shape 1967">
              <a:extLst>
                <a:ext uri="{FF2B5EF4-FFF2-40B4-BE49-F238E27FC236}">
                  <a16:creationId xmlns:a16="http://schemas.microsoft.com/office/drawing/2014/main" id="{181B421B-C106-448D-AD1F-0187A5EBFE20}"/>
                </a:ext>
              </a:extLst>
            </p:cNvPr>
            <p:cNvSpPr/>
            <p:nvPr/>
          </p:nvSpPr>
          <p:spPr>
            <a:xfrm>
              <a:off x="5087461" y="838576"/>
              <a:ext cx="84971" cy="84971"/>
            </a:xfrm>
            <a:custGeom>
              <a:avLst/>
              <a:gdLst>
                <a:gd name="connsiteX0" fmla="*/ 42697 w 84971"/>
                <a:gd name="connsiteY0" fmla="*/ 69604 h 84971"/>
                <a:gd name="connsiteX1" fmla="*/ 69605 w 84971"/>
                <a:gd name="connsiteY1" fmla="*/ 42697 h 84971"/>
                <a:gd name="connsiteX2" fmla="*/ 42697 w 84971"/>
                <a:gd name="connsiteY2" fmla="*/ 15789 h 84971"/>
                <a:gd name="connsiteX3" fmla="*/ 15789 w 84971"/>
                <a:gd name="connsiteY3" fmla="*/ 42697 h 84971"/>
                <a:gd name="connsiteX4" fmla="*/ 42697 w 84971"/>
                <a:gd name="connsiteY4" fmla="*/ 6960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7" y="69604"/>
                  </a:moveTo>
                  <a:cubicBezTo>
                    <a:pt x="58275" y="69604"/>
                    <a:pt x="69605" y="56859"/>
                    <a:pt x="69605" y="42697"/>
                  </a:cubicBezTo>
                  <a:cubicBezTo>
                    <a:pt x="69605" y="27119"/>
                    <a:pt x="56858" y="15789"/>
                    <a:pt x="42697" y="15789"/>
                  </a:cubicBezTo>
                  <a:cubicBezTo>
                    <a:pt x="27119" y="15789"/>
                    <a:pt x="15789" y="28535"/>
                    <a:pt x="15789" y="42697"/>
                  </a:cubicBezTo>
                  <a:cubicBezTo>
                    <a:pt x="15789" y="56859"/>
                    <a:pt x="28535" y="69604"/>
                    <a:pt x="42697" y="6960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9" name="Freeform: Shape 1968">
              <a:extLst>
                <a:ext uri="{FF2B5EF4-FFF2-40B4-BE49-F238E27FC236}">
                  <a16:creationId xmlns:a16="http://schemas.microsoft.com/office/drawing/2014/main" id="{6213C77E-00C6-42CE-AFE1-1B3836533DD6}"/>
                </a:ext>
              </a:extLst>
            </p:cNvPr>
            <p:cNvSpPr/>
            <p:nvPr/>
          </p:nvSpPr>
          <p:spPr>
            <a:xfrm>
              <a:off x="4845292" y="498690"/>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1" y="86599"/>
                    <a:pt x="86599" y="71020"/>
                    <a:pt x="86599" y="51194"/>
                  </a:cubicBezTo>
                  <a:cubicBezTo>
                    <a:pt x="86599" y="31367"/>
                    <a:pt x="71021" y="15789"/>
                    <a:pt x="51194" y="15789"/>
                  </a:cubicBezTo>
                  <a:cubicBezTo>
                    <a:pt x="31367" y="15789"/>
                    <a:pt x="15789" y="31367"/>
                    <a:pt x="15789" y="51194"/>
                  </a:cubicBezTo>
                  <a:cubicBezTo>
                    <a:pt x="15789" y="71020"/>
                    <a:pt x="31367"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0" name="Freeform: Shape 1969">
              <a:extLst>
                <a:ext uri="{FF2B5EF4-FFF2-40B4-BE49-F238E27FC236}">
                  <a16:creationId xmlns:a16="http://schemas.microsoft.com/office/drawing/2014/main" id="{AE7D733A-9C2D-4D9D-B7BF-D9029C3AC27F}"/>
                </a:ext>
              </a:extLst>
            </p:cNvPr>
            <p:cNvSpPr/>
            <p:nvPr/>
          </p:nvSpPr>
          <p:spPr>
            <a:xfrm>
              <a:off x="5768649" y="2351068"/>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0" y="49777"/>
                    <a:pt x="49778" y="42697"/>
                    <a:pt x="49778" y="32783"/>
                  </a:cubicBezTo>
                  <a:cubicBezTo>
                    <a:pt x="49778" y="24286"/>
                    <a:pt x="42697" y="15789"/>
                    <a:pt x="32783" y="15789"/>
                  </a:cubicBezTo>
                  <a:cubicBezTo>
                    <a:pt x="22870" y="15789"/>
                    <a:pt x="15789" y="22870"/>
                    <a:pt x="15789" y="32783"/>
                  </a:cubicBezTo>
                  <a:cubicBezTo>
                    <a:pt x="17205" y="42697"/>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1" name="Freeform: Shape 1970">
              <a:extLst>
                <a:ext uri="{FF2B5EF4-FFF2-40B4-BE49-F238E27FC236}">
                  <a16:creationId xmlns:a16="http://schemas.microsoft.com/office/drawing/2014/main" id="{FF18EAF1-C6ED-485E-96A8-17B241C2C81D}"/>
                </a:ext>
              </a:extLst>
            </p:cNvPr>
            <p:cNvSpPr/>
            <p:nvPr/>
          </p:nvSpPr>
          <p:spPr>
            <a:xfrm>
              <a:off x="5955586" y="2155634"/>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2" name="Freeform: Shape 1971">
              <a:extLst>
                <a:ext uri="{FF2B5EF4-FFF2-40B4-BE49-F238E27FC236}">
                  <a16:creationId xmlns:a16="http://schemas.microsoft.com/office/drawing/2014/main" id="{7AAF0D0F-61AF-49EA-895E-D2A4AD978CD0}"/>
                </a:ext>
              </a:extLst>
            </p:cNvPr>
            <p:cNvSpPr/>
            <p:nvPr/>
          </p:nvSpPr>
          <p:spPr>
            <a:xfrm>
              <a:off x="5619949" y="2091905"/>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3" name="Freeform: Shape 1972">
              <a:extLst>
                <a:ext uri="{FF2B5EF4-FFF2-40B4-BE49-F238E27FC236}">
                  <a16:creationId xmlns:a16="http://schemas.microsoft.com/office/drawing/2014/main" id="{F23DDC88-E050-4FCB-8653-CEFBB1D3511A}"/>
                </a:ext>
              </a:extLst>
            </p:cNvPr>
            <p:cNvSpPr/>
            <p:nvPr/>
          </p:nvSpPr>
          <p:spPr>
            <a:xfrm>
              <a:off x="5619949" y="179025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4" name="Freeform: Shape 1973">
              <a:extLst>
                <a:ext uri="{FF2B5EF4-FFF2-40B4-BE49-F238E27FC236}">
                  <a16:creationId xmlns:a16="http://schemas.microsoft.com/office/drawing/2014/main" id="{7C68E89C-397C-463E-AB26-5FBC51E97958}"/>
                </a:ext>
              </a:extLst>
            </p:cNvPr>
            <p:cNvSpPr/>
            <p:nvPr/>
          </p:nvSpPr>
          <p:spPr>
            <a:xfrm>
              <a:off x="6354952" y="2631474"/>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1" y="49777"/>
                    <a:pt x="49778" y="42697"/>
                    <a:pt x="49778" y="32783"/>
                  </a:cubicBezTo>
                  <a:cubicBezTo>
                    <a:pt x="49778" y="22870"/>
                    <a:pt x="42697" y="15789"/>
                    <a:pt x="32783" y="15789"/>
                  </a:cubicBezTo>
                  <a:cubicBezTo>
                    <a:pt x="24286" y="15789"/>
                    <a:pt x="15789" y="22870"/>
                    <a:pt x="15789" y="32783"/>
                  </a:cubicBezTo>
                  <a:cubicBezTo>
                    <a:pt x="15789" y="42697"/>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5" name="Freeform: Shape 1974">
              <a:extLst>
                <a:ext uri="{FF2B5EF4-FFF2-40B4-BE49-F238E27FC236}">
                  <a16:creationId xmlns:a16="http://schemas.microsoft.com/office/drawing/2014/main" id="{C2EDABE3-BD69-4600-92D3-B0A86FE36002}"/>
                </a:ext>
              </a:extLst>
            </p:cNvPr>
            <p:cNvSpPr/>
            <p:nvPr/>
          </p:nvSpPr>
          <p:spPr>
            <a:xfrm>
              <a:off x="6179344" y="236806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6" name="Freeform: Shape 1975">
              <a:extLst>
                <a:ext uri="{FF2B5EF4-FFF2-40B4-BE49-F238E27FC236}">
                  <a16:creationId xmlns:a16="http://schemas.microsoft.com/office/drawing/2014/main" id="{B3EAC84F-23E3-4164-9B50-23602397A42E}"/>
                </a:ext>
              </a:extLst>
            </p:cNvPr>
            <p:cNvSpPr/>
            <p:nvPr/>
          </p:nvSpPr>
          <p:spPr>
            <a:xfrm>
              <a:off x="6401687" y="2023928"/>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7" name="Freeform: Shape 1976">
              <a:extLst>
                <a:ext uri="{FF2B5EF4-FFF2-40B4-BE49-F238E27FC236}">
                  <a16:creationId xmlns:a16="http://schemas.microsoft.com/office/drawing/2014/main" id="{581F56E9-AA68-415C-8A03-0D89905950E2}"/>
                </a:ext>
              </a:extLst>
            </p:cNvPr>
            <p:cNvSpPr/>
            <p:nvPr/>
          </p:nvSpPr>
          <p:spPr>
            <a:xfrm>
              <a:off x="7377442" y="1863898"/>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8" name="Freeform: Shape 1977">
              <a:extLst>
                <a:ext uri="{FF2B5EF4-FFF2-40B4-BE49-F238E27FC236}">
                  <a16:creationId xmlns:a16="http://schemas.microsoft.com/office/drawing/2014/main" id="{87282424-7F1C-416E-A53D-C21434FFEA3A}"/>
                </a:ext>
              </a:extLst>
            </p:cNvPr>
            <p:cNvSpPr/>
            <p:nvPr/>
          </p:nvSpPr>
          <p:spPr>
            <a:xfrm>
              <a:off x="6609800" y="1303087"/>
              <a:ext cx="113295" cy="113295"/>
            </a:xfrm>
            <a:custGeom>
              <a:avLst/>
              <a:gdLst>
                <a:gd name="connsiteX0" fmla="*/ 61174 w 113295"/>
                <a:gd name="connsiteY0" fmla="*/ 15789 h 113295"/>
                <a:gd name="connsiteX1" fmla="*/ 106492 w 113295"/>
                <a:gd name="connsiteY1" fmla="*/ 61107 h 113295"/>
                <a:gd name="connsiteX2" fmla="*/ 61174 w 113295"/>
                <a:gd name="connsiteY2" fmla="*/ 106425 h 113295"/>
                <a:gd name="connsiteX3" fmla="*/ 15856 w 113295"/>
                <a:gd name="connsiteY3" fmla="*/ 61107 h 113295"/>
                <a:gd name="connsiteX4" fmla="*/ 61174 w 113295"/>
                <a:gd name="connsiteY4" fmla="*/ 15789 h 113295"/>
                <a:gd name="connsiteX5" fmla="*/ 61174 w 113295"/>
                <a:gd name="connsiteY5" fmla="*/ 15789 h 113295"/>
                <a:gd name="connsiteX6" fmla="*/ 61174 w 113295"/>
                <a:gd name="connsiteY6" fmla="*/ 35616 h 113295"/>
                <a:gd name="connsiteX7" fmla="*/ 35683 w 113295"/>
                <a:gd name="connsiteY7" fmla="*/ 61107 h 113295"/>
                <a:gd name="connsiteX8" fmla="*/ 61174 w 113295"/>
                <a:gd name="connsiteY8" fmla="*/ 86599 h 113295"/>
                <a:gd name="connsiteX9" fmla="*/ 86666 w 113295"/>
                <a:gd name="connsiteY9" fmla="*/ 61107 h 113295"/>
                <a:gd name="connsiteX10" fmla="*/ 61174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74" y="15789"/>
                  </a:moveTo>
                  <a:cubicBezTo>
                    <a:pt x="86666" y="15789"/>
                    <a:pt x="106492" y="35616"/>
                    <a:pt x="106492" y="61107"/>
                  </a:cubicBezTo>
                  <a:cubicBezTo>
                    <a:pt x="106492" y="86599"/>
                    <a:pt x="86666" y="106425"/>
                    <a:pt x="61174" y="106425"/>
                  </a:cubicBezTo>
                  <a:cubicBezTo>
                    <a:pt x="35683" y="106425"/>
                    <a:pt x="15856" y="86599"/>
                    <a:pt x="15856" y="61107"/>
                  </a:cubicBezTo>
                  <a:cubicBezTo>
                    <a:pt x="14440" y="35616"/>
                    <a:pt x="35683" y="15789"/>
                    <a:pt x="61174" y="15789"/>
                  </a:cubicBezTo>
                  <a:lnTo>
                    <a:pt x="61174" y="15789"/>
                  </a:lnTo>
                  <a:close/>
                  <a:moveTo>
                    <a:pt x="61174" y="35616"/>
                  </a:moveTo>
                  <a:cubicBezTo>
                    <a:pt x="47012" y="35616"/>
                    <a:pt x="35683" y="46945"/>
                    <a:pt x="35683" y="61107"/>
                  </a:cubicBezTo>
                  <a:cubicBezTo>
                    <a:pt x="35683" y="75269"/>
                    <a:pt x="47012" y="86599"/>
                    <a:pt x="61174" y="86599"/>
                  </a:cubicBezTo>
                  <a:cubicBezTo>
                    <a:pt x="75336" y="86599"/>
                    <a:pt x="86666" y="75269"/>
                    <a:pt x="86666" y="61107"/>
                  </a:cubicBezTo>
                  <a:cubicBezTo>
                    <a:pt x="86666" y="46945"/>
                    <a:pt x="75336" y="35616"/>
                    <a:pt x="61174"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9" name="Freeform: Shape 1978">
              <a:extLst>
                <a:ext uri="{FF2B5EF4-FFF2-40B4-BE49-F238E27FC236}">
                  <a16:creationId xmlns:a16="http://schemas.microsoft.com/office/drawing/2014/main" id="{C98A654D-03EE-4196-95B7-795800B561B1}"/>
                </a:ext>
              </a:extLst>
            </p:cNvPr>
            <p:cNvSpPr/>
            <p:nvPr/>
          </p:nvSpPr>
          <p:spPr>
            <a:xfrm>
              <a:off x="7475093" y="997190"/>
              <a:ext cx="113295" cy="113295"/>
            </a:xfrm>
            <a:custGeom>
              <a:avLst/>
              <a:gdLst>
                <a:gd name="connsiteX0" fmla="*/ 61174 w 113295"/>
                <a:gd name="connsiteY0" fmla="*/ 15789 h 113295"/>
                <a:gd name="connsiteX1" fmla="*/ 106492 w 113295"/>
                <a:gd name="connsiteY1" fmla="*/ 61107 h 113295"/>
                <a:gd name="connsiteX2" fmla="*/ 61174 w 113295"/>
                <a:gd name="connsiteY2" fmla="*/ 106425 h 113295"/>
                <a:gd name="connsiteX3" fmla="*/ 15856 w 113295"/>
                <a:gd name="connsiteY3" fmla="*/ 61107 h 113295"/>
                <a:gd name="connsiteX4" fmla="*/ 61174 w 113295"/>
                <a:gd name="connsiteY4" fmla="*/ 15789 h 113295"/>
                <a:gd name="connsiteX5" fmla="*/ 61174 w 113295"/>
                <a:gd name="connsiteY5" fmla="*/ 15789 h 113295"/>
                <a:gd name="connsiteX6" fmla="*/ 61174 w 113295"/>
                <a:gd name="connsiteY6" fmla="*/ 35616 h 113295"/>
                <a:gd name="connsiteX7" fmla="*/ 35683 w 113295"/>
                <a:gd name="connsiteY7" fmla="*/ 61107 h 113295"/>
                <a:gd name="connsiteX8" fmla="*/ 61174 w 113295"/>
                <a:gd name="connsiteY8" fmla="*/ 86599 h 113295"/>
                <a:gd name="connsiteX9" fmla="*/ 86666 w 113295"/>
                <a:gd name="connsiteY9" fmla="*/ 61107 h 113295"/>
                <a:gd name="connsiteX10" fmla="*/ 61174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74" y="15789"/>
                  </a:moveTo>
                  <a:cubicBezTo>
                    <a:pt x="86666" y="15789"/>
                    <a:pt x="106492" y="35616"/>
                    <a:pt x="106492" y="61107"/>
                  </a:cubicBezTo>
                  <a:cubicBezTo>
                    <a:pt x="106492" y="86599"/>
                    <a:pt x="86666" y="106425"/>
                    <a:pt x="61174" y="106425"/>
                  </a:cubicBezTo>
                  <a:cubicBezTo>
                    <a:pt x="35683" y="106425"/>
                    <a:pt x="15856" y="86599"/>
                    <a:pt x="15856" y="61107"/>
                  </a:cubicBezTo>
                  <a:cubicBezTo>
                    <a:pt x="14440" y="35616"/>
                    <a:pt x="35683" y="15789"/>
                    <a:pt x="61174" y="15789"/>
                  </a:cubicBezTo>
                  <a:lnTo>
                    <a:pt x="61174" y="15789"/>
                  </a:lnTo>
                  <a:close/>
                  <a:moveTo>
                    <a:pt x="61174" y="35616"/>
                  </a:moveTo>
                  <a:cubicBezTo>
                    <a:pt x="47012" y="35616"/>
                    <a:pt x="35683" y="46945"/>
                    <a:pt x="35683" y="61107"/>
                  </a:cubicBezTo>
                  <a:cubicBezTo>
                    <a:pt x="35683" y="75269"/>
                    <a:pt x="47012" y="86599"/>
                    <a:pt x="61174" y="86599"/>
                  </a:cubicBezTo>
                  <a:cubicBezTo>
                    <a:pt x="75336" y="86599"/>
                    <a:pt x="86666" y="75269"/>
                    <a:pt x="86666" y="61107"/>
                  </a:cubicBezTo>
                  <a:cubicBezTo>
                    <a:pt x="86666" y="46945"/>
                    <a:pt x="75336" y="35616"/>
                    <a:pt x="61174"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0" name="Freeform: Shape 1979">
              <a:extLst>
                <a:ext uri="{FF2B5EF4-FFF2-40B4-BE49-F238E27FC236}">
                  <a16:creationId xmlns:a16="http://schemas.microsoft.com/office/drawing/2014/main" id="{BA1C5F16-339A-4507-BC37-ED203FD3C71C}"/>
                </a:ext>
              </a:extLst>
            </p:cNvPr>
            <p:cNvSpPr/>
            <p:nvPr/>
          </p:nvSpPr>
          <p:spPr>
            <a:xfrm>
              <a:off x="7915595" y="1933292"/>
              <a:ext cx="113295" cy="113295"/>
            </a:xfrm>
            <a:custGeom>
              <a:avLst/>
              <a:gdLst>
                <a:gd name="connsiteX0" fmla="*/ 61107 w 113295"/>
                <a:gd name="connsiteY0" fmla="*/ 15789 h 113295"/>
                <a:gd name="connsiteX1" fmla="*/ 106425 w 113295"/>
                <a:gd name="connsiteY1" fmla="*/ 61107 h 113295"/>
                <a:gd name="connsiteX2" fmla="*/ 61107 w 113295"/>
                <a:gd name="connsiteY2" fmla="*/ 106425 h 113295"/>
                <a:gd name="connsiteX3" fmla="*/ 15789 w 113295"/>
                <a:gd name="connsiteY3" fmla="*/ 61107 h 113295"/>
                <a:gd name="connsiteX4" fmla="*/ 61107 w 113295"/>
                <a:gd name="connsiteY4" fmla="*/ 15789 h 113295"/>
                <a:gd name="connsiteX5" fmla="*/ 61107 w 113295"/>
                <a:gd name="connsiteY5" fmla="*/ 15789 h 113295"/>
                <a:gd name="connsiteX6" fmla="*/ 61107 w 113295"/>
                <a:gd name="connsiteY6" fmla="*/ 35616 h 113295"/>
                <a:gd name="connsiteX7" fmla="*/ 35616 w 113295"/>
                <a:gd name="connsiteY7" fmla="*/ 61107 h 113295"/>
                <a:gd name="connsiteX8" fmla="*/ 61107 w 113295"/>
                <a:gd name="connsiteY8" fmla="*/ 86599 h 113295"/>
                <a:gd name="connsiteX9" fmla="*/ 86599 w 113295"/>
                <a:gd name="connsiteY9" fmla="*/ 61107 h 113295"/>
                <a:gd name="connsiteX10" fmla="*/ 61107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07" y="15789"/>
                  </a:moveTo>
                  <a:cubicBezTo>
                    <a:pt x="86599" y="15789"/>
                    <a:pt x="106425" y="35616"/>
                    <a:pt x="106425" y="61107"/>
                  </a:cubicBezTo>
                  <a:cubicBezTo>
                    <a:pt x="106425" y="86599"/>
                    <a:pt x="86599" y="106425"/>
                    <a:pt x="61107" y="106425"/>
                  </a:cubicBezTo>
                  <a:cubicBezTo>
                    <a:pt x="35616" y="106425"/>
                    <a:pt x="15789" y="86599"/>
                    <a:pt x="15789" y="61107"/>
                  </a:cubicBezTo>
                  <a:cubicBezTo>
                    <a:pt x="15789" y="35616"/>
                    <a:pt x="35616" y="15789"/>
                    <a:pt x="61107" y="15789"/>
                  </a:cubicBezTo>
                  <a:lnTo>
                    <a:pt x="61107" y="15789"/>
                  </a:lnTo>
                  <a:close/>
                  <a:moveTo>
                    <a:pt x="61107" y="35616"/>
                  </a:moveTo>
                  <a:cubicBezTo>
                    <a:pt x="46945" y="35616"/>
                    <a:pt x="35616" y="46945"/>
                    <a:pt x="35616" y="61107"/>
                  </a:cubicBezTo>
                  <a:cubicBezTo>
                    <a:pt x="35616" y="75269"/>
                    <a:pt x="46945" y="86599"/>
                    <a:pt x="61107" y="86599"/>
                  </a:cubicBezTo>
                  <a:cubicBezTo>
                    <a:pt x="75269" y="86599"/>
                    <a:pt x="86599" y="75269"/>
                    <a:pt x="86599" y="61107"/>
                  </a:cubicBezTo>
                  <a:cubicBezTo>
                    <a:pt x="86599" y="46945"/>
                    <a:pt x="75269" y="35616"/>
                    <a:pt x="61107"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1" name="Freeform: Shape 1980">
              <a:extLst>
                <a:ext uri="{FF2B5EF4-FFF2-40B4-BE49-F238E27FC236}">
                  <a16:creationId xmlns:a16="http://schemas.microsoft.com/office/drawing/2014/main" id="{7C7BDEE4-FCB1-4B94-8579-19A2D70EC645}"/>
                </a:ext>
              </a:extLst>
            </p:cNvPr>
            <p:cNvSpPr/>
            <p:nvPr/>
          </p:nvSpPr>
          <p:spPr>
            <a:xfrm>
              <a:off x="8072792" y="3200782"/>
              <a:ext cx="70810" cy="70810"/>
            </a:xfrm>
            <a:custGeom>
              <a:avLst/>
              <a:gdLst>
                <a:gd name="connsiteX0" fmla="*/ 35615 w 70809"/>
                <a:gd name="connsiteY0" fmla="*/ 55442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2"/>
                  </a:moveTo>
                  <a:cubicBezTo>
                    <a:pt x="46945" y="55442"/>
                    <a:pt x="55442" y="46945"/>
                    <a:pt x="55442" y="35616"/>
                  </a:cubicBezTo>
                  <a:cubicBezTo>
                    <a:pt x="55442" y="24286"/>
                    <a:pt x="46945" y="15789"/>
                    <a:pt x="35615" y="15789"/>
                  </a:cubicBezTo>
                  <a:cubicBezTo>
                    <a:pt x="24286" y="15789"/>
                    <a:pt x="15789" y="24286"/>
                    <a:pt x="15789" y="35616"/>
                  </a:cubicBezTo>
                  <a:cubicBezTo>
                    <a:pt x="15789" y="46945"/>
                    <a:pt x="24286" y="55442"/>
                    <a:pt x="35615"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2" name="Freeform: Shape 1981">
              <a:extLst>
                <a:ext uri="{FF2B5EF4-FFF2-40B4-BE49-F238E27FC236}">
                  <a16:creationId xmlns:a16="http://schemas.microsoft.com/office/drawing/2014/main" id="{39867B81-2C4B-424C-BAEA-4E5181A30A30}"/>
                </a:ext>
              </a:extLst>
            </p:cNvPr>
            <p:cNvSpPr/>
            <p:nvPr/>
          </p:nvSpPr>
          <p:spPr>
            <a:xfrm>
              <a:off x="8030307" y="3788502"/>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7205" y="46945"/>
                    <a:pt x="25702"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3" name="Freeform: Shape 1982">
              <a:extLst>
                <a:ext uri="{FF2B5EF4-FFF2-40B4-BE49-F238E27FC236}">
                  <a16:creationId xmlns:a16="http://schemas.microsoft.com/office/drawing/2014/main" id="{AE9BDA83-8E89-47B3-8059-0D9F2D340A15}"/>
                </a:ext>
              </a:extLst>
            </p:cNvPr>
            <p:cNvSpPr/>
            <p:nvPr/>
          </p:nvSpPr>
          <p:spPr>
            <a:xfrm>
              <a:off x="7679091" y="2964279"/>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4286"/>
                    <a:pt x="46945" y="15789"/>
                    <a:pt x="35616" y="15789"/>
                  </a:cubicBezTo>
                  <a:cubicBezTo>
                    <a:pt x="24286" y="15789"/>
                    <a:pt x="15789" y="24286"/>
                    <a:pt x="15789" y="35616"/>
                  </a:cubicBezTo>
                  <a:cubicBezTo>
                    <a:pt x="15789" y="46945"/>
                    <a:pt x="24286"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4" name="Freeform: Shape 1983">
              <a:extLst>
                <a:ext uri="{FF2B5EF4-FFF2-40B4-BE49-F238E27FC236}">
                  <a16:creationId xmlns:a16="http://schemas.microsoft.com/office/drawing/2014/main" id="{DDFBC9BE-9B74-4E75-92D8-F62D2D504C94}"/>
                </a:ext>
              </a:extLst>
            </p:cNvPr>
            <p:cNvSpPr/>
            <p:nvPr/>
          </p:nvSpPr>
          <p:spPr>
            <a:xfrm>
              <a:off x="8183255" y="3580322"/>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7205" y="46945"/>
                    <a:pt x="25703"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5" name="Freeform: Shape 1984">
              <a:extLst>
                <a:ext uri="{FF2B5EF4-FFF2-40B4-BE49-F238E27FC236}">
                  <a16:creationId xmlns:a16="http://schemas.microsoft.com/office/drawing/2014/main" id="{57DDF0E9-D862-4316-84A3-E266AC704987}"/>
                </a:ext>
              </a:extLst>
            </p:cNvPr>
            <p:cNvSpPr/>
            <p:nvPr/>
          </p:nvSpPr>
          <p:spPr>
            <a:xfrm>
              <a:off x="8797883" y="3401881"/>
              <a:ext cx="70810" cy="70810"/>
            </a:xfrm>
            <a:custGeom>
              <a:avLst/>
              <a:gdLst>
                <a:gd name="connsiteX0" fmla="*/ 35615 w 70809"/>
                <a:gd name="connsiteY0" fmla="*/ 55442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2"/>
                  </a:moveTo>
                  <a:cubicBezTo>
                    <a:pt x="46945" y="55442"/>
                    <a:pt x="55442" y="46945"/>
                    <a:pt x="55442" y="35616"/>
                  </a:cubicBezTo>
                  <a:cubicBezTo>
                    <a:pt x="55442" y="24286"/>
                    <a:pt x="46945" y="15789"/>
                    <a:pt x="35615" y="15789"/>
                  </a:cubicBezTo>
                  <a:cubicBezTo>
                    <a:pt x="24286" y="15789"/>
                    <a:pt x="15789" y="24286"/>
                    <a:pt x="15789" y="35616"/>
                  </a:cubicBezTo>
                  <a:cubicBezTo>
                    <a:pt x="15789" y="46945"/>
                    <a:pt x="25702" y="55442"/>
                    <a:pt x="35615"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6" name="Freeform: Shape 1985">
              <a:extLst>
                <a:ext uri="{FF2B5EF4-FFF2-40B4-BE49-F238E27FC236}">
                  <a16:creationId xmlns:a16="http://schemas.microsoft.com/office/drawing/2014/main" id="{F6C859A5-EE11-419B-95B4-810D9C8CD75F}"/>
                </a:ext>
              </a:extLst>
            </p:cNvPr>
            <p:cNvSpPr/>
            <p:nvPr/>
          </p:nvSpPr>
          <p:spPr>
            <a:xfrm>
              <a:off x="8817709" y="3343818"/>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2"/>
                  </a:cubicBezTo>
                  <a:cubicBezTo>
                    <a:pt x="35616" y="20037"/>
                    <a:pt x="31368" y="15789"/>
                    <a:pt x="25703" y="15789"/>
                  </a:cubicBezTo>
                  <a:cubicBezTo>
                    <a:pt x="20037" y="15789"/>
                    <a:pt x="15789" y="20037"/>
                    <a:pt x="15789" y="25702"/>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7" name="Freeform: Shape 1986">
              <a:extLst>
                <a:ext uri="{FF2B5EF4-FFF2-40B4-BE49-F238E27FC236}">
                  <a16:creationId xmlns:a16="http://schemas.microsoft.com/office/drawing/2014/main" id="{08310EFE-EFC4-4AC7-9BB7-667DCEE5008E}"/>
                </a:ext>
              </a:extLst>
            </p:cNvPr>
            <p:cNvSpPr/>
            <p:nvPr/>
          </p:nvSpPr>
          <p:spPr>
            <a:xfrm>
              <a:off x="9072623" y="3231939"/>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2"/>
                  </a:cubicBezTo>
                  <a:cubicBezTo>
                    <a:pt x="35616" y="20038"/>
                    <a:pt x="31368" y="15789"/>
                    <a:pt x="25703" y="15789"/>
                  </a:cubicBezTo>
                  <a:cubicBezTo>
                    <a:pt x="20037" y="15789"/>
                    <a:pt x="15789" y="20038"/>
                    <a:pt x="15789" y="25702"/>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8" name="Freeform: Shape 1987">
              <a:extLst>
                <a:ext uri="{FF2B5EF4-FFF2-40B4-BE49-F238E27FC236}">
                  <a16:creationId xmlns:a16="http://schemas.microsoft.com/office/drawing/2014/main" id="{A9ED2816-76B4-46E0-B206-66674E2BB384}"/>
                </a:ext>
              </a:extLst>
            </p:cNvPr>
            <p:cNvSpPr/>
            <p:nvPr/>
          </p:nvSpPr>
          <p:spPr>
            <a:xfrm>
              <a:off x="8357447" y="2764596"/>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2"/>
                  </a:cubicBezTo>
                  <a:cubicBezTo>
                    <a:pt x="35616" y="20038"/>
                    <a:pt x="31368" y="15789"/>
                    <a:pt x="25703" y="15789"/>
                  </a:cubicBezTo>
                  <a:cubicBezTo>
                    <a:pt x="20037" y="15789"/>
                    <a:pt x="15789" y="20038"/>
                    <a:pt x="15789" y="25702"/>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9" name="Freeform: Shape 1988">
              <a:extLst>
                <a:ext uri="{FF2B5EF4-FFF2-40B4-BE49-F238E27FC236}">
                  <a16:creationId xmlns:a16="http://schemas.microsoft.com/office/drawing/2014/main" id="{A0E6EB35-9EDC-4045-A7D3-E1F44AA41286}"/>
                </a:ext>
              </a:extLst>
            </p:cNvPr>
            <p:cNvSpPr/>
            <p:nvPr/>
          </p:nvSpPr>
          <p:spPr>
            <a:xfrm>
              <a:off x="8938085" y="3847982"/>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2"/>
                  </a:cubicBezTo>
                  <a:cubicBezTo>
                    <a:pt x="35616" y="20038"/>
                    <a:pt x="31368" y="15789"/>
                    <a:pt x="25703" y="15789"/>
                  </a:cubicBezTo>
                  <a:cubicBezTo>
                    <a:pt x="20037" y="15789"/>
                    <a:pt x="15789" y="20038"/>
                    <a:pt x="15789" y="25702"/>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0" name="Freeform: Shape 1989">
              <a:extLst>
                <a:ext uri="{FF2B5EF4-FFF2-40B4-BE49-F238E27FC236}">
                  <a16:creationId xmlns:a16="http://schemas.microsoft.com/office/drawing/2014/main" id="{5D81754D-2693-4A8C-A1AB-729AC639BACB}"/>
                </a:ext>
              </a:extLst>
            </p:cNvPr>
            <p:cNvSpPr/>
            <p:nvPr/>
          </p:nvSpPr>
          <p:spPr>
            <a:xfrm>
              <a:off x="8160596" y="3717692"/>
              <a:ext cx="42486" cy="42486"/>
            </a:xfrm>
            <a:custGeom>
              <a:avLst/>
              <a:gdLst>
                <a:gd name="connsiteX0" fmla="*/ 25702 w 42485"/>
                <a:gd name="connsiteY0" fmla="*/ 35616 h 42485"/>
                <a:gd name="connsiteX1" fmla="*/ 35615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5" y="31367"/>
                    <a:pt x="35615" y="25702"/>
                  </a:cubicBezTo>
                  <a:cubicBezTo>
                    <a:pt x="35615"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1" name="Freeform: Shape 1990">
              <a:extLst>
                <a:ext uri="{FF2B5EF4-FFF2-40B4-BE49-F238E27FC236}">
                  <a16:creationId xmlns:a16="http://schemas.microsoft.com/office/drawing/2014/main" id="{5B360E99-628C-4BC9-BA48-387CE7AE3D45}"/>
                </a:ext>
              </a:extLst>
            </p:cNvPr>
            <p:cNvSpPr/>
            <p:nvPr/>
          </p:nvSpPr>
          <p:spPr>
            <a:xfrm>
              <a:off x="7850450" y="3342401"/>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7" y="15789"/>
                    <a:pt x="15789" y="20038"/>
                    <a:pt x="15789" y="25702"/>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2" name="Freeform: Shape 1991">
              <a:extLst>
                <a:ext uri="{FF2B5EF4-FFF2-40B4-BE49-F238E27FC236}">
                  <a16:creationId xmlns:a16="http://schemas.microsoft.com/office/drawing/2014/main" id="{8D892C8E-054D-4089-92E3-8C97E7B6EDAF}"/>
                </a:ext>
              </a:extLst>
            </p:cNvPr>
            <p:cNvSpPr/>
            <p:nvPr/>
          </p:nvSpPr>
          <p:spPr>
            <a:xfrm>
              <a:off x="7391604" y="3568992"/>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3" name="Freeform: Shape 1992">
              <a:extLst>
                <a:ext uri="{FF2B5EF4-FFF2-40B4-BE49-F238E27FC236}">
                  <a16:creationId xmlns:a16="http://schemas.microsoft.com/office/drawing/2014/main" id="{61D51096-A13E-4BAE-BEF7-ABB540128489}"/>
                </a:ext>
              </a:extLst>
            </p:cNvPr>
            <p:cNvSpPr/>
            <p:nvPr/>
          </p:nvSpPr>
          <p:spPr>
            <a:xfrm>
              <a:off x="7026227" y="3546333"/>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8" y="15789"/>
                    <a:pt x="15789" y="20038"/>
                    <a:pt x="15789" y="25703"/>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4" name="Freeform: Shape 1993">
              <a:extLst>
                <a:ext uri="{FF2B5EF4-FFF2-40B4-BE49-F238E27FC236}">
                  <a16:creationId xmlns:a16="http://schemas.microsoft.com/office/drawing/2014/main" id="{11E17E6C-AF64-4353-A8EE-4AE2312F1544}"/>
                </a:ext>
              </a:extLst>
            </p:cNvPr>
            <p:cNvSpPr/>
            <p:nvPr/>
          </p:nvSpPr>
          <p:spPr>
            <a:xfrm>
              <a:off x="7199002" y="3026591"/>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9"/>
                    <a:pt x="55442" y="15789"/>
                    <a:pt x="41280" y="15789"/>
                  </a:cubicBezTo>
                  <a:cubicBezTo>
                    <a:pt x="27118" y="15789"/>
                    <a:pt x="15789" y="27119"/>
                    <a:pt x="15789" y="41280"/>
                  </a:cubicBezTo>
                  <a:cubicBezTo>
                    <a:pt x="15789" y="54026"/>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5" name="Freeform: Shape 1994">
              <a:extLst>
                <a:ext uri="{FF2B5EF4-FFF2-40B4-BE49-F238E27FC236}">
                  <a16:creationId xmlns:a16="http://schemas.microsoft.com/office/drawing/2014/main" id="{6167CA0D-401B-4987-B078-50CD35586A6A}"/>
                </a:ext>
              </a:extLst>
            </p:cNvPr>
            <p:cNvSpPr/>
            <p:nvPr/>
          </p:nvSpPr>
          <p:spPr>
            <a:xfrm>
              <a:off x="8889815" y="3767259"/>
              <a:ext cx="70810" cy="70810"/>
            </a:xfrm>
            <a:custGeom>
              <a:avLst/>
              <a:gdLst>
                <a:gd name="connsiteX0" fmla="*/ 41400 w 70809"/>
                <a:gd name="connsiteY0" fmla="*/ 66772 h 70809"/>
                <a:gd name="connsiteX1" fmla="*/ 66891 w 70809"/>
                <a:gd name="connsiteY1" fmla="*/ 41280 h 70809"/>
                <a:gd name="connsiteX2" fmla="*/ 41400 w 70809"/>
                <a:gd name="connsiteY2" fmla="*/ 15789 h 70809"/>
                <a:gd name="connsiteX3" fmla="*/ 15909 w 70809"/>
                <a:gd name="connsiteY3" fmla="*/ 41280 h 70809"/>
                <a:gd name="connsiteX4" fmla="*/ 4140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400" y="66772"/>
                  </a:moveTo>
                  <a:cubicBezTo>
                    <a:pt x="55562" y="66772"/>
                    <a:pt x="66891" y="55442"/>
                    <a:pt x="66891" y="41280"/>
                  </a:cubicBezTo>
                  <a:cubicBezTo>
                    <a:pt x="66891" y="27119"/>
                    <a:pt x="55562" y="15789"/>
                    <a:pt x="41400" y="15789"/>
                  </a:cubicBezTo>
                  <a:cubicBezTo>
                    <a:pt x="27238" y="15789"/>
                    <a:pt x="15909" y="27119"/>
                    <a:pt x="15909" y="41280"/>
                  </a:cubicBezTo>
                  <a:cubicBezTo>
                    <a:pt x="14492" y="55442"/>
                    <a:pt x="25821" y="66772"/>
                    <a:pt x="4140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6" name="Freeform: Shape 1995">
              <a:extLst>
                <a:ext uri="{FF2B5EF4-FFF2-40B4-BE49-F238E27FC236}">
                  <a16:creationId xmlns:a16="http://schemas.microsoft.com/office/drawing/2014/main" id="{DA98F61C-CF47-47A3-808F-E84B698E0EBC}"/>
                </a:ext>
              </a:extLst>
            </p:cNvPr>
            <p:cNvSpPr/>
            <p:nvPr/>
          </p:nvSpPr>
          <p:spPr>
            <a:xfrm>
              <a:off x="8955079" y="3543501"/>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7" y="15789"/>
                    <a:pt x="15789" y="20038"/>
                    <a:pt x="15789" y="25702"/>
                  </a:cubicBezTo>
                  <a:cubicBezTo>
                    <a:pt x="17205" y="31367"/>
                    <a:pt x="21454"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7" name="Freeform: Shape 1996">
              <a:extLst>
                <a:ext uri="{FF2B5EF4-FFF2-40B4-BE49-F238E27FC236}">
                  <a16:creationId xmlns:a16="http://schemas.microsoft.com/office/drawing/2014/main" id="{20CB1610-86F1-42A0-8FFE-BF796CD3D667}"/>
                </a:ext>
              </a:extLst>
            </p:cNvPr>
            <p:cNvSpPr/>
            <p:nvPr/>
          </p:nvSpPr>
          <p:spPr>
            <a:xfrm>
              <a:off x="9079704" y="3549165"/>
              <a:ext cx="28324" cy="28324"/>
            </a:xfrm>
            <a:custGeom>
              <a:avLst/>
              <a:gdLst>
                <a:gd name="connsiteX0" fmla="*/ 20037 w 28323"/>
                <a:gd name="connsiteY0" fmla="*/ 24286 h 28323"/>
                <a:gd name="connsiteX1" fmla="*/ 24287 w 28323"/>
                <a:gd name="connsiteY1" fmla="*/ 20037 h 28323"/>
                <a:gd name="connsiteX2" fmla="*/ 20037 w 28323"/>
                <a:gd name="connsiteY2" fmla="*/ 15789 h 28323"/>
                <a:gd name="connsiteX3" fmla="*/ 15789 w 28323"/>
                <a:gd name="connsiteY3" fmla="*/ 20037 h 28323"/>
                <a:gd name="connsiteX4" fmla="*/ 20037 w 28323"/>
                <a:gd name="connsiteY4" fmla="*/ 24286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0037" y="24286"/>
                  </a:moveTo>
                  <a:cubicBezTo>
                    <a:pt x="22870" y="24286"/>
                    <a:pt x="24287" y="21454"/>
                    <a:pt x="24287" y="20037"/>
                  </a:cubicBezTo>
                  <a:cubicBezTo>
                    <a:pt x="24287" y="17205"/>
                    <a:pt x="21454" y="15789"/>
                    <a:pt x="20037" y="15789"/>
                  </a:cubicBezTo>
                  <a:cubicBezTo>
                    <a:pt x="17206" y="15789"/>
                    <a:pt x="15789" y="18621"/>
                    <a:pt x="15789" y="20037"/>
                  </a:cubicBezTo>
                  <a:cubicBezTo>
                    <a:pt x="15789" y="21454"/>
                    <a:pt x="17206" y="24286"/>
                    <a:pt x="20037"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8" name="Freeform: Shape 1997">
              <a:extLst>
                <a:ext uri="{FF2B5EF4-FFF2-40B4-BE49-F238E27FC236}">
                  <a16:creationId xmlns:a16="http://schemas.microsoft.com/office/drawing/2014/main" id="{F5D410DA-48F8-417C-9C65-A2649F2BBC6A}"/>
                </a:ext>
              </a:extLst>
            </p:cNvPr>
            <p:cNvSpPr/>
            <p:nvPr/>
          </p:nvSpPr>
          <p:spPr>
            <a:xfrm>
              <a:off x="9062710" y="3747432"/>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2"/>
                  </a:cubicBezTo>
                  <a:cubicBezTo>
                    <a:pt x="35616" y="20037"/>
                    <a:pt x="31368" y="15789"/>
                    <a:pt x="25703" y="15789"/>
                  </a:cubicBezTo>
                  <a:cubicBezTo>
                    <a:pt x="20038" y="15789"/>
                    <a:pt x="15789" y="20037"/>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9" name="Freeform: Shape 1998">
              <a:extLst>
                <a:ext uri="{FF2B5EF4-FFF2-40B4-BE49-F238E27FC236}">
                  <a16:creationId xmlns:a16="http://schemas.microsoft.com/office/drawing/2014/main" id="{BDA3D9D7-49BE-416D-8233-3F369AD8B8C1}"/>
                </a:ext>
              </a:extLst>
            </p:cNvPr>
            <p:cNvSpPr/>
            <p:nvPr/>
          </p:nvSpPr>
          <p:spPr>
            <a:xfrm>
              <a:off x="8753980" y="3662461"/>
              <a:ext cx="99133" cy="99133"/>
            </a:xfrm>
            <a:custGeom>
              <a:avLst/>
              <a:gdLst>
                <a:gd name="connsiteX0" fmla="*/ 49778 w 99133"/>
                <a:gd name="connsiteY0" fmla="*/ 83766 h 99133"/>
                <a:gd name="connsiteX1" fmla="*/ 83766 w 99133"/>
                <a:gd name="connsiteY1" fmla="*/ 49777 h 99133"/>
                <a:gd name="connsiteX2" fmla="*/ 49778 w 99133"/>
                <a:gd name="connsiteY2" fmla="*/ 15789 h 99133"/>
                <a:gd name="connsiteX3" fmla="*/ 15789 w 99133"/>
                <a:gd name="connsiteY3" fmla="*/ 49777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7"/>
                  </a:cubicBezTo>
                  <a:cubicBezTo>
                    <a:pt x="83766" y="31367"/>
                    <a:pt x="68188" y="15789"/>
                    <a:pt x="49778" y="15789"/>
                  </a:cubicBezTo>
                  <a:cubicBezTo>
                    <a:pt x="31368" y="15789"/>
                    <a:pt x="15789" y="31367"/>
                    <a:pt x="15789" y="49777"/>
                  </a:cubicBezTo>
                  <a:cubicBezTo>
                    <a:pt x="15789" y="68188"/>
                    <a:pt x="31368" y="83766"/>
                    <a:pt x="49778" y="8376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0" name="Freeform: Shape 1999">
              <a:extLst>
                <a:ext uri="{FF2B5EF4-FFF2-40B4-BE49-F238E27FC236}">
                  <a16:creationId xmlns:a16="http://schemas.microsoft.com/office/drawing/2014/main" id="{5B1A75A0-AC2C-4A8A-BBF2-B2B78EA60C55}"/>
                </a:ext>
              </a:extLst>
            </p:cNvPr>
            <p:cNvSpPr/>
            <p:nvPr/>
          </p:nvSpPr>
          <p:spPr>
            <a:xfrm>
              <a:off x="9004646" y="3661044"/>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9"/>
                    <a:pt x="55442" y="15789"/>
                    <a:pt x="41280" y="15789"/>
                  </a:cubicBezTo>
                  <a:cubicBezTo>
                    <a:pt x="27118" y="15789"/>
                    <a:pt x="15789" y="27119"/>
                    <a:pt x="15789" y="41280"/>
                  </a:cubicBezTo>
                  <a:cubicBezTo>
                    <a:pt x="15789" y="55442"/>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1" name="Freeform: Shape 2000">
              <a:extLst>
                <a:ext uri="{FF2B5EF4-FFF2-40B4-BE49-F238E27FC236}">
                  <a16:creationId xmlns:a16="http://schemas.microsoft.com/office/drawing/2014/main" id="{03AC5577-0AAC-491C-BEE7-FF3F72A4E732}"/>
                </a:ext>
              </a:extLst>
            </p:cNvPr>
            <p:cNvSpPr/>
            <p:nvPr/>
          </p:nvSpPr>
          <p:spPr>
            <a:xfrm>
              <a:off x="9149098" y="4153879"/>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4200"/>
                    <a:pt x="21453" y="41281"/>
                    <a:pt x="28534"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2" name="Freeform: Shape 2001">
              <a:extLst>
                <a:ext uri="{FF2B5EF4-FFF2-40B4-BE49-F238E27FC236}">
                  <a16:creationId xmlns:a16="http://schemas.microsoft.com/office/drawing/2014/main" id="{2B8C2C2A-6A17-4707-9BD8-D70E5DE184E0}"/>
                </a:ext>
              </a:extLst>
            </p:cNvPr>
            <p:cNvSpPr/>
            <p:nvPr/>
          </p:nvSpPr>
          <p:spPr>
            <a:xfrm>
              <a:off x="9285052" y="3983936"/>
              <a:ext cx="56648" cy="56648"/>
            </a:xfrm>
            <a:custGeom>
              <a:avLst/>
              <a:gdLst>
                <a:gd name="connsiteX0" fmla="*/ 28535 w 56647"/>
                <a:gd name="connsiteY0" fmla="*/ 41281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1"/>
                  </a:moveTo>
                  <a:cubicBezTo>
                    <a:pt x="35616" y="41281"/>
                    <a:pt x="41280" y="35616"/>
                    <a:pt x="41280" y="28535"/>
                  </a:cubicBezTo>
                  <a:cubicBezTo>
                    <a:pt x="41280" y="21454"/>
                    <a:pt x="35616" y="15789"/>
                    <a:pt x="28535" y="15789"/>
                  </a:cubicBezTo>
                  <a:cubicBezTo>
                    <a:pt x="21454" y="15789"/>
                    <a:pt x="15789" y="21454"/>
                    <a:pt x="15789" y="28535"/>
                  </a:cubicBezTo>
                  <a:cubicBezTo>
                    <a:pt x="15789" y="34200"/>
                    <a:pt x="21454" y="41281"/>
                    <a:pt x="28535"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3" name="Freeform: Shape 2002">
              <a:extLst>
                <a:ext uri="{FF2B5EF4-FFF2-40B4-BE49-F238E27FC236}">
                  <a16:creationId xmlns:a16="http://schemas.microsoft.com/office/drawing/2014/main" id="{2079D33F-9043-40B9-9C92-DD0BE3259421}"/>
                </a:ext>
              </a:extLst>
            </p:cNvPr>
            <p:cNvSpPr/>
            <p:nvPr/>
          </p:nvSpPr>
          <p:spPr>
            <a:xfrm>
              <a:off x="9235485" y="4330902"/>
              <a:ext cx="70810" cy="70810"/>
            </a:xfrm>
            <a:custGeom>
              <a:avLst/>
              <a:gdLst>
                <a:gd name="connsiteX0" fmla="*/ 35616 w 70809"/>
                <a:gd name="connsiteY0" fmla="*/ 55443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3"/>
                  </a:moveTo>
                  <a:cubicBezTo>
                    <a:pt x="46945" y="55443"/>
                    <a:pt x="55442" y="46945"/>
                    <a:pt x="55442" y="35616"/>
                  </a:cubicBezTo>
                  <a:cubicBezTo>
                    <a:pt x="55442" y="24286"/>
                    <a:pt x="46945" y="15789"/>
                    <a:pt x="35616" y="15789"/>
                  </a:cubicBezTo>
                  <a:cubicBezTo>
                    <a:pt x="24287" y="15789"/>
                    <a:pt x="15789" y="24286"/>
                    <a:pt x="15789" y="35616"/>
                  </a:cubicBezTo>
                  <a:cubicBezTo>
                    <a:pt x="15789" y="45529"/>
                    <a:pt x="24287" y="55443"/>
                    <a:pt x="35616" y="554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4" name="Freeform: Shape 2003">
              <a:extLst>
                <a:ext uri="{FF2B5EF4-FFF2-40B4-BE49-F238E27FC236}">
                  <a16:creationId xmlns:a16="http://schemas.microsoft.com/office/drawing/2014/main" id="{522897D6-A4A8-4587-A103-DC5126780F98}"/>
                </a:ext>
              </a:extLst>
            </p:cNvPr>
            <p:cNvSpPr/>
            <p:nvPr/>
          </p:nvSpPr>
          <p:spPr>
            <a:xfrm>
              <a:off x="9102364" y="4264342"/>
              <a:ext cx="113295" cy="113295"/>
            </a:xfrm>
            <a:custGeom>
              <a:avLst/>
              <a:gdLst>
                <a:gd name="connsiteX0" fmla="*/ 56858 w 113295"/>
                <a:gd name="connsiteY0" fmla="*/ 15789 h 113295"/>
                <a:gd name="connsiteX1" fmla="*/ 97928 w 113295"/>
                <a:gd name="connsiteY1" fmla="*/ 56858 h 113295"/>
                <a:gd name="connsiteX2" fmla="*/ 56858 w 113295"/>
                <a:gd name="connsiteY2" fmla="*/ 97928 h 113295"/>
                <a:gd name="connsiteX3" fmla="*/ 15789 w 113295"/>
                <a:gd name="connsiteY3" fmla="*/ 56858 h 113295"/>
                <a:gd name="connsiteX4" fmla="*/ 56858 w 113295"/>
                <a:gd name="connsiteY4" fmla="*/ 15789 h 113295"/>
                <a:gd name="connsiteX5" fmla="*/ 56858 w 113295"/>
                <a:gd name="connsiteY5" fmla="*/ 15789 h 113295"/>
                <a:gd name="connsiteX6" fmla="*/ 56858 w 113295"/>
                <a:gd name="connsiteY6" fmla="*/ 34199 h 113295"/>
                <a:gd name="connsiteX7" fmla="*/ 34199 w 113295"/>
                <a:gd name="connsiteY7" fmla="*/ 56858 h 113295"/>
                <a:gd name="connsiteX8" fmla="*/ 56858 w 113295"/>
                <a:gd name="connsiteY8" fmla="*/ 79518 h 113295"/>
                <a:gd name="connsiteX9" fmla="*/ 79518 w 113295"/>
                <a:gd name="connsiteY9" fmla="*/ 56858 h 113295"/>
                <a:gd name="connsiteX10" fmla="*/ 56858 w 113295"/>
                <a:gd name="connsiteY10" fmla="*/ 34199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56858" y="15789"/>
                  </a:moveTo>
                  <a:cubicBezTo>
                    <a:pt x="79518" y="15789"/>
                    <a:pt x="97928" y="34199"/>
                    <a:pt x="97928" y="56858"/>
                  </a:cubicBezTo>
                  <a:cubicBezTo>
                    <a:pt x="97928" y="79518"/>
                    <a:pt x="79518" y="97928"/>
                    <a:pt x="56858" y="97928"/>
                  </a:cubicBezTo>
                  <a:cubicBezTo>
                    <a:pt x="34199" y="97928"/>
                    <a:pt x="15789" y="79518"/>
                    <a:pt x="15789" y="56858"/>
                  </a:cubicBezTo>
                  <a:cubicBezTo>
                    <a:pt x="15789" y="35616"/>
                    <a:pt x="34199" y="15789"/>
                    <a:pt x="56858" y="15789"/>
                  </a:cubicBezTo>
                  <a:lnTo>
                    <a:pt x="56858" y="15789"/>
                  </a:lnTo>
                  <a:close/>
                  <a:moveTo>
                    <a:pt x="56858" y="34199"/>
                  </a:moveTo>
                  <a:cubicBezTo>
                    <a:pt x="44113" y="34199"/>
                    <a:pt x="34199" y="44113"/>
                    <a:pt x="34199" y="56858"/>
                  </a:cubicBezTo>
                  <a:cubicBezTo>
                    <a:pt x="34199" y="69604"/>
                    <a:pt x="44113" y="79518"/>
                    <a:pt x="56858" y="79518"/>
                  </a:cubicBezTo>
                  <a:cubicBezTo>
                    <a:pt x="69604" y="79518"/>
                    <a:pt x="79518" y="69604"/>
                    <a:pt x="79518" y="56858"/>
                  </a:cubicBezTo>
                  <a:cubicBezTo>
                    <a:pt x="80933" y="45529"/>
                    <a:pt x="69604" y="34199"/>
                    <a:pt x="56858" y="341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5" name="Freeform: Shape 2004">
              <a:extLst>
                <a:ext uri="{FF2B5EF4-FFF2-40B4-BE49-F238E27FC236}">
                  <a16:creationId xmlns:a16="http://schemas.microsoft.com/office/drawing/2014/main" id="{10B682AD-FF02-4E52-8B6A-A4C1D1B4BA6C}"/>
                </a:ext>
              </a:extLst>
            </p:cNvPr>
            <p:cNvSpPr/>
            <p:nvPr/>
          </p:nvSpPr>
          <p:spPr>
            <a:xfrm>
              <a:off x="9263809" y="4211943"/>
              <a:ext cx="70810" cy="70810"/>
            </a:xfrm>
            <a:custGeom>
              <a:avLst/>
              <a:gdLst>
                <a:gd name="connsiteX0" fmla="*/ 38449 w 70809"/>
                <a:gd name="connsiteY0" fmla="*/ 61107 h 70809"/>
                <a:gd name="connsiteX1" fmla="*/ 61107 w 70809"/>
                <a:gd name="connsiteY1" fmla="*/ 38448 h 70809"/>
                <a:gd name="connsiteX2" fmla="*/ 38449 w 70809"/>
                <a:gd name="connsiteY2" fmla="*/ 15789 h 70809"/>
                <a:gd name="connsiteX3" fmla="*/ 15789 w 70809"/>
                <a:gd name="connsiteY3" fmla="*/ 38448 h 70809"/>
                <a:gd name="connsiteX4" fmla="*/ 38449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9" y="61107"/>
                  </a:moveTo>
                  <a:cubicBezTo>
                    <a:pt x="51194" y="61107"/>
                    <a:pt x="61107" y="51194"/>
                    <a:pt x="61107" y="38448"/>
                  </a:cubicBezTo>
                  <a:cubicBezTo>
                    <a:pt x="61107" y="25703"/>
                    <a:pt x="51194" y="15789"/>
                    <a:pt x="38449" y="15789"/>
                  </a:cubicBezTo>
                  <a:cubicBezTo>
                    <a:pt x="25703" y="15789"/>
                    <a:pt x="15789" y="25703"/>
                    <a:pt x="15789" y="38448"/>
                  </a:cubicBezTo>
                  <a:cubicBezTo>
                    <a:pt x="15789" y="51194"/>
                    <a:pt x="25703" y="61107"/>
                    <a:pt x="38449"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6" name="Freeform: Shape 2005">
              <a:extLst>
                <a:ext uri="{FF2B5EF4-FFF2-40B4-BE49-F238E27FC236}">
                  <a16:creationId xmlns:a16="http://schemas.microsoft.com/office/drawing/2014/main" id="{8F0C11E2-8438-4AC8-A0F9-7DA379A8A040}"/>
                </a:ext>
              </a:extLst>
            </p:cNvPr>
            <p:cNvSpPr/>
            <p:nvPr/>
          </p:nvSpPr>
          <p:spPr>
            <a:xfrm>
              <a:off x="8846033" y="4107144"/>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30" y="55442"/>
                    <a:pt x="55442" y="46945"/>
                    <a:pt x="55442" y="35616"/>
                  </a:cubicBezTo>
                  <a:cubicBezTo>
                    <a:pt x="55442" y="25703"/>
                    <a:pt x="46945" y="15789"/>
                    <a:pt x="35616" y="15789"/>
                  </a:cubicBezTo>
                  <a:cubicBezTo>
                    <a:pt x="25703" y="15789"/>
                    <a:pt x="15789" y="24286"/>
                    <a:pt x="15789" y="35616"/>
                  </a:cubicBezTo>
                  <a:cubicBezTo>
                    <a:pt x="17206" y="46945"/>
                    <a:pt x="25703"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7" name="Freeform: Shape 2006">
              <a:extLst>
                <a:ext uri="{FF2B5EF4-FFF2-40B4-BE49-F238E27FC236}">
                  <a16:creationId xmlns:a16="http://schemas.microsoft.com/office/drawing/2014/main" id="{2AE41BB5-9815-4AE2-9ED5-F605158FAF5D}"/>
                </a:ext>
              </a:extLst>
            </p:cNvPr>
            <p:cNvSpPr/>
            <p:nvPr/>
          </p:nvSpPr>
          <p:spPr>
            <a:xfrm>
              <a:off x="8755397" y="3904629"/>
              <a:ext cx="42486" cy="42486"/>
            </a:xfrm>
            <a:custGeom>
              <a:avLst/>
              <a:gdLst>
                <a:gd name="connsiteX0" fmla="*/ 25702 w 42485"/>
                <a:gd name="connsiteY0" fmla="*/ 35616 h 42485"/>
                <a:gd name="connsiteX1" fmla="*/ 35615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5" y="31367"/>
                    <a:pt x="35615" y="25702"/>
                  </a:cubicBezTo>
                  <a:cubicBezTo>
                    <a:pt x="35615" y="20038"/>
                    <a:pt x="31367" y="15789"/>
                    <a:pt x="25702" y="15789"/>
                  </a:cubicBezTo>
                  <a:cubicBezTo>
                    <a:pt x="20037" y="15789"/>
                    <a:pt x="15789" y="20038"/>
                    <a:pt x="15789" y="25702"/>
                  </a:cubicBezTo>
                  <a:cubicBezTo>
                    <a:pt x="17205" y="31367"/>
                    <a:pt x="21453"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8" name="Freeform: Shape 2007">
              <a:extLst>
                <a:ext uri="{FF2B5EF4-FFF2-40B4-BE49-F238E27FC236}">
                  <a16:creationId xmlns:a16="http://schemas.microsoft.com/office/drawing/2014/main" id="{F25B6528-C328-4C6B-B911-F8BF29A1B435}"/>
                </a:ext>
              </a:extLst>
            </p:cNvPr>
            <p:cNvSpPr/>
            <p:nvPr/>
          </p:nvSpPr>
          <p:spPr>
            <a:xfrm>
              <a:off x="8885309" y="4025006"/>
              <a:ext cx="28324" cy="28324"/>
            </a:xfrm>
            <a:custGeom>
              <a:avLst/>
              <a:gdLst>
                <a:gd name="connsiteX0" fmla="*/ 20415 w 28323"/>
                <a:gd name="connsiteY0" fmla="*/ 24286 h 28323"/>
                <a:gd name="connsiteX1" fmla="*/ 24663 w 28323"/>
                <a:gd name="connsiteY1" fmla="*/ 20037 h 28323"/>
                <a:gd name="connsiteX2" fmla="*/ 20415 w 28323"/>
                <a:gd name="connsiteY2" fmla="*/ 15789 h 28323"/>
                <a:gd name="connsiteX3" fmla="*/ 16166 w 28323"/>
                <a:gd name="connsiteY3" fmla="*/ 20037 h 28323"/>
                <a:gd name="connsiteX4" fmla="*/ 20415 w 28323"/>
                <a:gd name="connsiteY4" fmla="*/ 24286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0415" y="24286"/>
                  </a:moveTo>
                  <a:cubicBezTo>
                    <a:pt x="23246" y="24286"/>
                    <a:pt x="24663" y="21454"/>
                    <a:pt x="24663" y="20037"/>
                  </a:cubicBezTo>
                  <a:cubicBezTo>
                    <a:pt x="24663" y="17205"/>
                    <a:pt x="21831" y="15789"/>
                    <a:pt x="20415" y="15789"/>
                  </a:cubicBezTo>
                  <a:cubicBezTo>
                    <a:pt x="17582" y="15789"/>
                    <a:pt x="16166" y="18621"/>
                    <a:pt x="16166" y="20037"/>
                  </a:cubicBezTo>
                  <a:cubicBezTo>
                    <a:pt x="14750" y="22870"/>
                    <a:pt x="17582" y="24286"/>
                    <a:pt x="20415"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9" name="Freeform: Shape 2008">
              <a:extLst>
                <a:ext uri="{FF2B5EF4-FFF2-40B4-BE49-F238E27FC236}">
                  <a16:creationId xmlns:a16="http://schemas.microsoft.com/office/drawing/2014/main" id="{3EB8EF82-C99F-430D-B636-75B823C08BA1}"/>
                </a:ext>
              </a:extLst>
            </p:cNvPr>
            <p:cNvSpPr/>
            <p:nvPr/>
          </p:nvSpPr>
          <p:spPr>
            <a:xfrm>
              <a:off x="8806379" y="4017925"/>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0" name="Freeform: Shape 2009">
              <a:extLst>
                <a:ext uri="{FF2B5EF4-FFF2-40B4-BE49-F238E27FC236}">
                  <a16:creationId xmlns:a16="http://schemas.microsoft.com/office/drawing/2014/main" id="{53C7E426-3CFB-4A2E-AD67-91A4B37208BF}"/>
                </a:ext>
              </a:extLst>
            </p:cNvPr>
            <p:cNvSpPr/>
            <p:nvPr/>
          </p:nvSpPr>
          <p:spPr>
            <a:xfrm>
              <a:off x="8785137" y="3772923"/>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1" name="Freeform: Shape 2010">
              <a:extLst>
                <a:ext uri="{FF2B5EF4-FFF2-40B4-BE49-F238E27FC236}">
                  <a16:creationId xmlns:a16="http://schemas.microsoft.com/office/drawing/2014/main" id="{3A4B1AB5-9CD5-44AE-8139-2D50B18D16D6}"/>
                </a:ext>
              </a:extLst>
            </p:cNvPr>
            <p:cNvSpPr/>
            <p:nvPr/>
          </p:nvSpPr>
          <p:spPr>
            <a:xfrm>
              <a:off x="8864443" y="4051913"/>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2"/>
                  </a:cubicBezTo>
                  <a:cubicBezTo>
                    <a:pt x="35616" y="20037"/>
                    <a:pt x="31368" y="15789"/>
                    <a:pt x="25703" y="15789"/>
                  </a:cubicBezTo>
                  <a:cubicBezTo>
                    <a:pt x="20038" y="15789"/>
                    <a:pt x="15789" y="20037"/>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2" name="Freeform: Shape 2011">
              <a:extLst>
                <a:ext uri="{FF2B5EF4-FFF2-40B4-BE49-F238E27FC236}">
                  <a16:creationId xmlns:a16="http://schemas.microsoft.com/office/drawing/2014/main" id="{8518BDAF-AE90-4682-8EB8-057E5ACEAF6B}"/>
                </a:ext>
              </a:extLst>
            </p:cNvPr>
            <p:cNvSpPr/>
            <p:nvPr/>
          </p:nvSpPr>
          <p:spPr>
            <a:xfrm>
              <a:off x="9415342" y="3578905"/>
              <a:ext cx="42486" cy="42486"/>
            </a:xfrm>
            <a:custGeom>
              <a:avLst/>
              <a:gdLst>
                <a:gd name="connsiteX0" fmla="*/ 27118 w 42485"/>
                <a:gd name="connsiteY0" fmla="*/ 38448 h 42485"/>
                <a:gd name="connsiteX1" fmla="*/ 38448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8" y="32783"/>
                    <a:pt x="38448" y="27119"/>
                  </a:cubicBezTo>
                  <a:cubicBezTo>
                    <a:pt x="38448" y="21454"/>
                    <a:pt x="32783" y="15789"/>
                    <a:pt x="27118" y="15789"/>
                  </a:cubicBezTo>
                  <a:cubicBezTo>
                    <a:pt x="21454" y="15789"/>
                    <a:pt x="15789" y="21454"/>
                    <a:pt x="15789" y="27119"/>
                  </a:cubicBezTo>
                  <a:cubicBezTo>
                    <a:pt x="15789" y="32783"/>
                    <a:pt x="21454"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3" name="Freeform: Shape 2012">
              <a:extLst>
                <a:ext uri="{FF2B5EF4-FFF2-40B4-BE49-F238E27FC236}">
                  <a16:creationId xmlns:a16="http://schemas.microsoft.com/office/drawing/2014/main" id="{68E61B96-107E-46A3-B77B-77302EE142A4}"/>
                </a:ext>
              </a:extLst>
            </p:cNvPr>
            <p:cNvSpPr/>
            <p:nvPr/>
          </p:nvSpPr>
          <p:spPr>
            <a:xfrm>
              <a:off x="9487567" y="3842317"/>
              <a:ext cx="42486" cy="42486"/>
            </a:xfrm>
            <a:custGeom>
              <a:avLst/>
              <a:gdLst>
                <a:gd name="connsiteX0" fmla="*/ 27119 w 42485"/>
                <a:gd name="connsiteY0" fmla="*/ 38448 h 42485"/>
                <a:gd name="connsiteX1" fmla="*/ 38449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9" y="32783"/>
                    <a:pt x="38449" y="27119"/>
                  </a:cubicBezTo>
                  <a:cubicBezTo>
                    <a:pt x="38449" y="21454"/>
                    <a:pt x="32783" y="15789"/>
                    <a:pt x="27119" y="15789"/>
                  </a:cubicBezTo>
                  <a:cubicBezTo>
                    <a:pt x="21454" y="15789"/>
                    <a:pt x="15789" y="21454"/>
                    <a:pt x="15789" y="27119"/>
                  </a:cubicBezTo>
                  <a:cubicBezTo>
                    <a:pt x="15789" y="32783"/>
                    <a:pt x="21454"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4" name="Freeform: Shape 2013">
              <a:extLst>
                <a:ext uri="{FF2B5EF4-FFF2-40B4-BE49-F238E27FC236}">
                  <a16:creationId xmlns:a16="http://schemas.microsoft.com/office/drawing/2014/main" id="{E89E54F1-CE59-443D-AD4C-05A0A6D815C8}"/>
                </a:ext>
              </a:extLst>
            </p:cNvPr>
            <p:cNvSpPr/>
            <p:nvPr/>
          </p:nvSpPr>
          <p:spPr>
            <a:xfrm>
              <a:off x="9395515" y="3689368"/>
              <a:ext cx="42486" cy="42486"/>
            </a:xfrm>
            <a:custGeom>
              <a:avLst/>
              <a:gdLst>
                <a:gd name="connsiteX0" fmla="*/ 27119 w 42485"/>
                <a:gd name="connsiteY0" fmla="*/ 38448 h 42485"/>
                <a:gd name="connsiteX1" fmla="*/ 38449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9" y="32783"/>
                    <a:pt x="38449" y="27119"/>
                  </a:cubicBezTo>
                  <a:cubicBezTo>
                    <a:pt x="38449" y="21454"/>
                    <a:pt x="32783" y="15789"/>
                    <a:pt x="27119" y="15789"/>
                  </a:cubicBezTo>
                  <a:cubicBezTo>
                    <a:pt x="21454" y="15789"/>
                    <a:pt x="15789" y="21454"/>
                    <a:pt x="15789" y="27119"/>
                  </a:cubicBezTo>
                  <a:cubicBezTo>
                    <a:pt x="15789" y="34200"/>
                    <a:pt x="20038"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5" name="Freeform: Shape 2014">
              <a:extLst>
                <a:ext uri="{FF2B5EF4-FFF2-40B4-BE49-F238E27FC236}">
                  <a16:creationId xmlns:a16="http://schemas.microsoft.com/office/drawing/2014/main" id="{574F5857-4F35-445E-8734-37B4C5A253D5}"/>
                </a:ext>
              </a:extLst>
            </p:cNvPr>
            <p:cNvSpPr/>
            <p:nvPr/>
          </p:nvSpPr>
          <p:spPr>
            <a:xfrm>
              <a:off x="9514475" y="3767259"/>
              <a:ext cx="42486" cy="42486"/>
            </a:xfrm>
            <a:custGeom>
              <a:avLst/>
              <a:gdLst>
                <a:gd name="connsiteX0" fmla="*/ 27118 w 42485"/>
                <a:gd name="connsiteY0" fmla="*/ 38448 h 42485"/>
                <a:gd name="connsiteX1" fmla="*/ 38448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8" y="32783"/>
                    <a:pt x="38448" y="27119"/>
                  </a:cubicBezTo>
                  <a:cubicBezTo>
                    <a:pt x="38448" y="21454"/>
                    <a:pt x="32783" y="15789"/>
                    <a:pt x="27118" y="15789"/>
                  </a:cubicBezTo>
                  <a:cubicBezTo>
                    <a:pt x="21454" y="15789"/>
                    <a:pt x="15789" y="21454"/>
                    <a:pt x="15789" y="27119"/>
                  </a:cubicBezTo>
                  <a:cubicBezTo>
                    <a:pt x="15789" y="34200"/>
                    <a:pt x="21454"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6" name="Freeform: Shape 2015">
              <a:extLst>
                <a:ext uri="{FF2B5EF4-FFF2-40B4-BE49-F238E27FC236}">
                  <a16:creationId xmlns:a16="http://schemas.microsoft.com/office/drawing/2014/main" id="{B5CD1800-DF2E-4B45-8ACA-3BED360FE9B1}"/>
                </a:ext>
              </a:extLst>
            </p:cNvPr>
            <p:cNvSpPr/>
            <p:nvPr/>
          </p:nvSpPr>
          <p:spPr>
            <a:xfrm>
              <a:off x="9511643" y="3924456"/>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8"/>
                    <a:pt x="55442" y="15789"/>
                    <a:pt x="41280" y="15789"/>
                  </a:cubicBezTo>
                  <a:cubicBezTo>
                    <a:pt x="27118" y="15789"/>
                    <a:pt x="15789" y="27118"/>
                    <a:pt x="15789" y="41280"/>
                  </a:cubicBezTo>
                  <a:cubicBezTo>
                    <a:pt x="15789" y="55442"/>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7" name="Freeform: Shape 2016">
              <a:extLst>
                <a:ext uri="{FF2B5EF4-FFF2-40B4-BE49-F238E27FC236}">
                  <a16:creationId xmlns:a16="http://schemas.microsoft.com/office/drawing/2014/main" id="{BB91F687-D8B2-4255-9330-7DAECDEE7712}"/>
                </a:ext>
              </a:extLst>
            </p:cNvPr>
            <p:cNvSpPr/>
            <p:nvPr/>
          </p:nvSpPr>
          <p:spPr>
            <a:xfrm>
              <a:off x="9338867" y="3787085"/>
              <a:ext cx="70810" cy="70810"/>
            </a:xfrm>
            <a:custGeom>
              <a:avLst/>
              <a:gdLst>
                <a:gd name="connsiteX0" fmla="*/ 66772 w 70809"/>
                <a:gd name="connsiteY0" fmla="*/ 41280 h 70809"/>
                <a:gd name="connsiteX1" fmla="*/ 41281 w 70809"/>
                <a:gd name="connsiteY1" fmla="*/ 66772 h 70809"/>
                <a:gd name="connsiteX2" fmla="*/ 15790 w 70809"/>
                <a:gd name="connsiteY2" fmla="*/ 41280 h 70809"/>
                <a:gd name="connsiteX3" fmla="*/ 41281 w 70809"/>
                <a:gd name="connsiteY3" fmla="*/ 15789 h 70809"/>
                <a:gd name="connsiteX4" fmla="*/ 66772 w 70809"/>
                <a:gd name="connsiteY4" fmla="*/ 4128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6772" y="41280"/>
                  </a:moveTo>
                  <a:cubicBezTo>
                    <a:pt x="66772" y="55359"/>
                    <a:pt x="55359" y="66772"/>
                    <a:pt x="41281" y="66772"/>
                  </a:cubicBezTo>
                  <a:cubicBezTo>
                    <a:pt x="27202" y="66772"/>
                    <a:pt x="15790" y="55359"/>
                    <a:pt x="15790" y="41280"/>
                  </a:cubicBezTo>
                  <a:cubicBezTo>
                    <a:pt x="15790" y="27202"/>
                    <a:pt x="27203" y="15789"/>
                    <a:pt x="41281" y="15789"/>
                  </a:cubicBezTo>
                  <a:cubicBezTo>
                    <a:pt x="55360" y="15789"/>
                    <a:pt x="66772" y="27202"/>
                    <a:pt x="66772"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8" name="Freeform: Shape 2017">
              <a:extLst>
                <a:ext uri="{FF2B5EF4-FFF2-40B4-BE49-F238E27FC236}">
                  <a16:creationId xmlns:a16="http://schemas.microsoft.com/office/drawing/2014/main" id="{0149A485-6B1B-4DD4-97B9-353375CEA134}"/>
                </a:ext>
              </a:extLst>
            </p:cNvPr>
            <p:cNvSpPr/>
            <p:nvPr/>
          </p:nvSpPr>
          <p:spPr>
            <a:xfrm>
              <a:off x="9980402" y="4373388"/>
              <a:ext cx="70810" cy="70810"/>
            </a:xfrm>
            <a:custGeom>
              <a:avLst/>
              <a:gdLst>
                <a:gd name="connsiteX0" fmla="*/ 41280 w 70809"/>
                <a:gd name="connsiteY0" fmla="*/ 66772 h 70809"/>
                <a:gd name="connsiteX1" fmla="*/ 66772 w 70809"/>
                <a:gd name="connsiteY1" fmla="*/ 41281 h 70809"/>
                <a:gd name="connsiteX2" fmla="*/ 41280 w 70809"/>
                <a:gd name="connsiteY2" fmla="*/ 15789 h 70809"/>
                <a:gd name="connsiteX3" fmla="*/ 15789 w 70809"/>
                <a:gd name="connsiteY3" fmla="*/ 41281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3"/>
                    <a:pt x="66772" y="41281"/>
                  </a:cubicBezTo>
                  <a:cubicBezTo>
                    <a:pt x="66772" y="27119"/>
                    <a:pt x="55442" y="15789"/>
                    <a:pt x="41280" y="15789"/>
                  </a:cubicBezTo>
                  <a:cubicBezTo>
                    <a:pt x="27118" y="15789"/>
                    <a:pt x="15789" y="27119"/>
                    <a:pt x="15789" y="41281"/>
                  </a:cubicBezTo>
                  <a:cubicBezTo>
                    <a:pt x="15789" y="54026"/>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9" name="Freeform: Shape 2018">
              <a:extLst>
                <a:ext uri="{FF2B5EF4-FFF2-40B4-BE49-F238E27FC236}">
                  <a16:creationId xmlns:a16="http://schemas.microsoft.com/office/drawing/2014/main" id="{8741D850-B0CC-4AAA-8960-BA26FE8504CF}"/>
                </a:ext>
              </a:extLst>
            </p:cNvPr>
            <p:cNvSpPr/>
            <p:nvPr/>
          </p:nvSpPr>
          <p:spPr>
            <a:xfrm>
              <a:off x="10028552" y="4516424"/>
              <a:ext cx="113295" cy="113295"/>
            </a:xfrm>
            <a:custGeom>
              <a:avLst/>
              <a:gdLst>
                <a:gd name="connsiteX0" fmla="*/ 56859 w 113295"/>
                <a:gd name="connsiteY0" fmla="*/ 15789 h 113295"/>
                <a:gd name="connsiteX1" fmla="*/ 97928 w 113295"/>
                <a:gd name="connsiteY1" fmla="*/ 56858 h 113295"/>
                <a:gd name="connsiteX2" fmla="*/ 56859 w 113295"/>
                <a:gd name="connsiteY2" fmla="*/ 97928 h 113295"/>
                <a:gd name="connsiteX3" fmla="*/ 15789 w 113295"/>
                <a:gd name="connsiteY3" fmla="*/ 56858 h 113295"/>
                <a:gd name="connsiteX4" fmla="*/ 56859 w 113295"/>
                <a:gd name="connsiteY4" fmla="*/ 15789 h 113295"/>
                <a:gd name="connsiteX5" fmla="*/ 56859 w 113295"/>
                <a:gd name="connsiteY5" fmla="*/ 15789 h 113295"/>
                <a:gd name="connsiteX6" fmla="*/ 56859 w 113295"/>
                <a:gd name="connsiteY6" fmla="*/ 34200 h 113295"/>
                <a:gd name="connsiteX7" fmla="*/ 34199 w 113295"/>
                <a:gd name="connsiteY7" fmla="*/ 56858 h 113295"/>
                <a:gd name="connsiteX8" fmla="*/ 56859 w 113295"/>
                <a:gd name="connsiteY8" fmla="*/ 79518 h 113295"/>
                <a:gd name="connsiteX9" fmla="*/ 79518 w 113295"/>
                <a:gd name="connsiteY9" fmla="*/ 56858 h 113295"/>
                <a:gd name="connsiteX10" fmla="*/ 56859 w 113295"/>
                <a:gd name="connsiteY10" fmla="*/ 34200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56859" y="15789"/>
                  </a:moveTo>
                  <a:cubicBezTo>
                    <a:pt x="79518" y="15789"/>
                    <a:pt x="97928" y="34200"/>
                    <a:pt x="97928" y="56858"/>
                  </a:cubicBezTo>
                  <a:cubicBezTo>
                    <a:pt x="97928" y="79518"/>
                    <a:pt x="79518" y="97928"/>
                    <a:pt x="56859" y="97928"/>
                  </a:cubicBezTo>
                  <a:cubicBezTo>
                    <a:pt x="34199" y="97928"/>
                    <a:pt x="15789" y="79518"/>
                    <a:pt x="15789" y="56858"/>
                  </a:cubicBezTo>
                  <a:cubicBezTo>
                    <a:pt x="15789" y="35616"/>
                    <a:pt x="34199" y="15789"/>
                    <a:pt x="56859" y="15789"/>
                  </a:cubicBezTo>
                  <a:lnTo>
                    <a:pt x="56859" y="15789"/>
                  </a:lnTo>
                  <a:close/>
                  <a:moveTo>
                    <a:pt x="56859" y="34200"/>
                  </a:moveTo>
                  <a:cubicBezTo>
                    <a:pt x="44113" y="34200"/>
                    <a:pt x="34199" y="44113"/>
                    <a:pt x="34199" y="56858"/>
                  </a:cubicBezTo>
                  <a:cubicBezTo>
                    <a:pt x="34199" y="69605"/>
                    <a:pt x="44113" y="79518"/>
                    <a:pt x="56859" y="79518"/>
                  </a:cubicBezTo>
                  <a:cubicBezTo>
                    <a:pt x="69604" y="79518"/>
                    <a:pt x="79518" y="69605"/>
                    <a:pt x="79518" y="56858"/>
                  </a:cubicBezTo>
                  <a:cubicBezTo>
                    <a:pt x="79518" y="45529"/>
                    <a:pt x="69604" y="34200"/>
                    <a:pt x="56859" y="3420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0" name="Freeform: Shape 2019">
              <a:extLst>
                <a:ext uri="{FF2B5EF4-FFF2-40B4-BE49-F238E27FC236}">
                  <a16:creationId xmlns:a16="http://schemas.microsoft.com/office/drawing/2014/main" id="{F61CFB32-2185-40B0-B2A3-24BA4EBD415D}"/>
                </a:ext>
              </a:extLst>
            </p:cNvPr>
            <p:cNvSpPr/>
            <p:nvPr/>
          </p:nvSpPr>
          <p:spPr>
            <a:xfrm>
              <a:off x="9823097" y="4345064"/>
              <a:ext cx="84971" cy="84971"/>
            </a:xfrm>
            <a:custGeom>
              <a:avLst/>
              <a:gdLst>
                <a:gd name="connsiteX0" fmla="*/ 44220 w 84971"/>
                <a:gd name="connsiteY0" fmla="*/ 15789 h 84971"/>
                <a:gd name="connsiteX1" fmla="*/ 72544 w 84971"/>
                <a:gd name="connsiteY1" fmla="*/ 44113 h 84971"/>
                <a:gd name="connsiteX2" fmla="*/ 44220 w 84971"/>
                <a:gd name="connsiteY2" fmla="*/ 72437 h 84971"/>
                <a:gd name="connsiteX3" fmla="*/ 15896 w 84971"/>
                <a:gd name="connsiteY3" fmla="*/ 44113 h 84971"/>
                <a:gd name="connsiteX4" fmla="*/ 44220 w 84971"/>
                <a:gd name="connsiteY4" fmla="*/ 15789 h 84971"/>
                <a:gd name="connsiteX5" fmla="*/ 44220 w 84971"/>
                <a:gd name="connsiteY5" fmla="*/ 15789 h 84971"/>
                <a:gd name="connsiteX6" fmla="*/ 44220 w 84971"/>
                <a:gd name="connsiteY6" fmla="*/ 28535 h 84971"/>
                <a:gd name="connsiteX7" fmla="*/ 28643 w 84971"/>
                <a:gd name="connsiteY7" fmla="*/ 44113 h 84971"/>
                <a:gd name="connsiteX8" fmla="*/ 44220 w 84971"/>
                <a:gd name="connsiteY8" fmla="*/ 59691 h 84971"/>
                <a:gd name="connsiteX9" fmla="*/ 61215 w 84971"/>
                <a:gd name="connsiteY9" fmla="*/ 44113 h 84971"/>
                <a:gd name="connsiteX10" fmla="*/ 44220 w 84971"/>
                <a:gd name="connsiteY10" fmla="*/ 28535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4220" y="15789"/>
                  </a:moveTo>
                  <a:cubicBezTo>
                    <a:pt x="59799" y="15789"/>
                    <a:pt x="72544" y="28535"/>
                    <a:pt x="72544" y="44113"/>
                  </a:cubicBezTo>
                  <a:cubicBezTo>
                    <a:pt x="72544" y="59691"/>
                    <a:pt x="59799" y="72437"/>
                    <a:pt x="44220" y="72437"/>
                  </a:cubicBezTo>
                  <a:cubicBezTo>
                    <a:pt x="28643" y="72437"/>
                    <a:pt x="15896" y="59691"/>
                    <a:pt x="15896" y="44113"/>
                  </a:cubicBezTo>
                  <a:cubicBezTo>
                    <a:pt x="14481" y="28535"/>
                    <a:pt x="27226" y="15789"/>
                    <a:pt x="44220" y="15789"/>
                  </a:cubicBezTo>
                  <a:lnTo>
                    <a:pt x="44220" y="15789"/>
                  </a:lnTo>
                  <a:close/>
                  <a:moveTo>
                    <a:pt x="44220" y="28535"/>
                  </a:moveTo>
                  <a:cubicBezTo>
                    <a:pt x="35723" y="28535"/>
                    <a:pt x="28643" y="35616"/>
                    <a:pt x="28643" y="44113"/>
                  </a:cubicBezTo>
                  <a:cubicBezTo>
                    <a:pt x="28643" y="52610"/>
                    <a:pt x="35723" y="59691"/>
                    <a:pt x="44220" y="59691"/>
                  </a:cubicBezTo>
                  <a:cubicBezTo>
                    <a:pt x="52718" y="59691"/>
                    <a:pt x="61215" y="52610"/>
                    <a:pt x="61215" y="44113"/>
                  </a:cubicBezTo>
                  <a:cubicBezTo>
                    <a:pt x="61215" y="35616"/>
                    <a:pt x="52718" y="28535"/>
                    <a:pt x="44220" y="2853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1" name="Freeform: Shape 2020">
              <a:extLst>
                <a:ext uri="{FF2B5EF4-FFF2-40B4-BE49-F238E27FC236}">
                  <a16:creationId xmlns:a16="http://schemas.microsoft.com/office/drawing/2014/main" id="{BAB5CE37-180E-4E25-9453-53658D754C7E}"/>
                </a:ext>
              </a:extLst>
            </p:cNvPr>
            <p:cNvSpPr/>
            <p:nvPr/>
          </p:nvSpPr>
          <p:spPr>
            <a:xfrm>
              <a:off x="10198495" y="4499430"/>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7" y="15789"/>
                    <a:pt x="15789" y="24286"/>
                    <a:pt x="15789" y="35616"/>
                  </a:cubicBezTo>
                  <a:cubicBezTo>
                    <a:pt x="15789" y="45529"/>
                    <a:pt x="24287"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2" name="Freeform: Shape 2021">
              <a:extLst>
                <a:ext uri="{FF2B5EF4-FFF2-40B4-BE49-F238E27FC236}">
                  <a16:creationId xmlns:a16="http://schemas.microsoft.com/office/drawing/2014/main" id="{4BB4143B-8EE6-492A-9795-F61C1126D292}"/>
                </a:ext>
              </a:extLst>
            </p:cNvPr>
            <p:cNvSpPr/>
            <p:nvPr/>
          </p:nvSpPr>
          <p:spPr>
            <a:xfrm>
              <a:off x="9750979" y="4285585"/>
              <a:ext cx="42486" cy="42486"/>
            </a:xfrm>
            <a:custGeom>
              <a:avLst/>
              <a:gdLst>
                <a:gd name="connsiteX0" fmla="*/ 25703 w 42485"/>
                <a:gd name="connsiteY0" fmla="*/ 35616 h 42485"/>
                <a:gd name="connsiteX1" fmla="*/ 35615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5" y="31367"/>
                    <a:pt x="35615" y="25702"/>
                  </a:cubicBezTo>
                  <a:cubicBezTo>
                    <a:pt x="35615" y="20037"/>
                    <a:pt x="31367" y="15789"/>
                    <a:pt x="25703" y="15789"/>
                  </a:cubicBezTo>
                  <a:cubicBezTo>
                    <a:pt x="20037" y="15789"/>
                    <a:pt x="15789" y="20037"/>
                    <a:pt x="15789" y="25702"/>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3" name="Freeform: Shape 2022">
              <a:extLst>
                <a:ext uri="{FF2B5EF4-FFF2-40B4-BE49-F238E27FC236}">
                  <a16:creationId xmlns:a16="http://schemas.microsoft.com/office/drawing/2014/main" id="{DE700B32-B34A-4CB8-B2B7-90CB46D32791}"/>
                </a:ext>
              </a:extLst>
            </p:cNvPr>
            <p:cNvSpPr/>
            <p:nvPr/>
          </p:nvSpPr>
          <p:spPr>
            <a:xfrm>
              <a:off x="9925171" y="4325238"/>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4" name="Freeform: Shape 2023">
              <a:extLst>
                <a:ext uri="{FF2B5EF4-FFF2-40B4-BE49-F238E27FC236}">
                  <a16:creationId xmlns:a16="http://schemas.microsoft.com/office/drawing/2014/main" id="{BCD9C44F-F237-4326-A890-8EF5ED3BE56B}"/>
                </a:ext>
              </a:extLst>
            </p:cNvPr>
            <p:cNvSpPr/>
            <p:nvPr/>
          </p:nvSpPr>
          <p:spPr>
            <a:xfrm>
              <a:off x="9944998" y="4503678"/>
              <a:ext cx="42486" cy="42486"/>
            </a:xfrm>
            <a:custGeom>
              <a:avLst/>
              <a:gdLst>
                <a:gd name="connsiteX0" fmla="*/ 25702 w 42485"/>
                <a:gd name="connsiteY0" fmla="*/ 35616 h 42485"/>
                <a:gd name="connsiteX1" fmla="*/ 35615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5" y="31367"/>
                    <a:pt x="35615" y="25703"/>
                  </a:cubicBezTo>
                  <a:cubicBezTo>
                    <a:pt x="35615" y="20037"/>
                    <a:pt x="31367" y="15789"/>
                    <a:pt x="25702" y="15789"/>
                  </a:cubicBezTo>
                  <a:cubicBezTo>
                    <a:pt x="20037" y="15789"/>
                    <a:pt x="15789" y="20037"/>
                    <a:pt x="15789" y="25703"/>
                  </a:cubicBezTo>
                  <a:cubicBezTo>
                    <a:pt x="17205" y="31367"/>
                    <a:pt x="21453"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5" name="Freeform: Shape 2024">
              <a:extLst>
                <a:ext uri="{FF2B5EF4-FFF2-40B4-BE49-F238E27FC236}">
                  <a16:creationId xmlns:a16="http://schemas.microsoft.com/office/drawing/2014/main" id="{E722D84C-0927-4DC6-8D05-ADC67ABA37F0}"/>
                </a:ext>
              </a:extLst>
            </p:cNvPr>
            <p:cNvSpPr/>
            <p:nvPr/>
          </p:nvSpPr>
          <p:spPr>
            <a:xfrm>
              <a:off x="10265057" y="4605644"/>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7" y="15789"/>
                    <a:pt x="15789" y="20037"/>
                    <a:pt x="15789" y="25702"/>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6" name="Freeform: Shape 2025">
              <a:extLst>
                <a:ext uri="{FF2B5EF4-FFF2-40B4-BE49-F238E27FC236}">
                  <a16:creationId xmlns:a16="http://schemas.microsoft.com/office/drawing/2014/main" id="{52E3C525-3D03-481F-8131-89B78B849B56}"/>
                </a:ext>
              </a:extLst>
            </p:cNvPr>
            <p:cNvSpPr/>
            <p:nvPr/>
          </p:nvSpPr>
          <p:spPr>
            <a:xfrm>
              <a:off x="10034217" y="4455528"/>
              <a:ext cx="56648" cy="56648"/>
            </a:xfrm>
            <a:custGeom>
              <a:avLst/>
              <a:gdLst>
                <a:gd name="connsiteX0" fmla="*/ 32783 w 56647"/>
                <a:gd name="connsiteY0" fmla="*/ 49777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6" y="49777"/>
                    <a:pt x="49777" y="42697"/>
                    <a:pt x="49777" y="32783"/>
                  </a:cubicBezTo>
                  <a:cubicBezTo>
                    <a:pt x="49777" y="22870"/>
                    <a:pt x="42696" y="15789"/>
                    <a:pt x="32783" y="15789"/>
                  </a:cubicBezTo>
                  <a:cubicBezTo>
                    <a:pt x="22870" y="15789"/>
                    <a:pt x="15789" y="22870"/>
                    <a:pt x="15789" y="32783"/>
                  </a:cubicBezTo>
                  <a:cubicBezTo>
                    <a:pt x="15789" y="42697"/>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7" name="Freeform: Shape 2026">
              <a:extLst>
                <a:ext uri="{FF2B5EF4-FFF2-40B4-BE49-F238E27FC236}">
                  <a16:creationId xmlns:a16="http://schemas.microsoft.com/office/drawing/2014/main" id="{3C5601A6-AC77-44DF-B7CF-C4EBF0AB9F40}"/>
                </a:ext>
              </a:extLst>
            </p:cNvPr>
            <p:cNvSpPr/>
            <p:nvPr/>
          </p:nvSpPr>
          <p:spPr>
            <a:xfrm>
              <a:off x="8880022" y="4391799"/>
              <a:ext cx="84971" cy="84971"/>
            </a:xfrm>
            <a:custGeom>
              <a:avLst/>
              <a:gdLst>
                <a:gd name="connsiteX0" fmla="*/ 45529 w 84971"/>
                <a:gd name="connsiteY0" fmla="*/ 75269 h 84971"/>
                <a:gd name="connsiteX1" fmla="*/ 75269 w 84971"/>
                <a:gd name="connsiteY1" fmla="*/ 45529 h 84971"/>
                <a:gd name="connsiteX2" fmla="*/ 45529 w 84971"/>
                <a:gd name="connsiteY2" fmla="*/ 15789 h 84971"/>
                <a:gd name="connsiteX3" fmla="*/ 15789 w 84971"/>
                <a:gd name="connsiteY3" fmla="*/ 45529 h 84971"/>
                <a:gd name="connsiteX4" fmla="*/ 45529 w 84971"/>
                <a:gd name="connsiteY4" fmla="*/ 7526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529" y="75269"/>
                  </a:moveTo>
                  <a:cubicBezTo>
                    <a:pt x="62523" y="75269"/>
                    <a:pt x="75269" y="62523"/>
                    <a:pt x="75269" y="45529"/>
                  </a:cubicBezTo>
                  <a:cubicBezTo>
                    <a:pt x="75269" y="28535"/>
                    <a:pt x="62523" y="15789"/>
                    <a:pt x="45529" y="15789"/>
                  </a:cubicBezTo>
                  <a:cubicBezTo>
                    <a:pt x="28534" y="15789"/>
                    <a:pt x="15789" y="28535"/>
                    <a:pt x="15789" y="45529"/>
                  </a:cubicBezTo>
                  <a:cubicBezTo>
                    <a:pt x="15789" y="62523"/>
                    <a:pt x="28534" y="75269"/>
                    <a:pt x="45529" y="752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8" name="Freeform: Shape 2027">
              <a:extLst>
                <a:ext uri="{FF2B5EF4-FFF2-40B4-BE49-F238E27FC236}">
                  <a16:creationId xmlns:a16="http://schemas.microsoft.com/office/drawing/2014/main" id="{47F57C07-8084-4EB1-ACDF-98A385B589C3}"/>
                </a:ext>
              </a:extLst>
            </p:cNvPr>
            <p:cNvSpPr/>
            <p:nvPr/>
          </p:nvSpPr>
          <p:spPr>
            <a:xfrm>
              <a:off x="8656263" y="3998098"/>
              <a:ext cx="70810" cy="70810"/>
            </a:xfrm>
            <a:custGeom>
              <a:avLst/>
              <a:gdLst>
                <a:gd name="connsiteX0" fmla="*/ 35615 w 70809"/>
                <a:gd name="connsiteY0" fmla="*/ 55443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3"/>
                  </a:moveTo>
                  <a:cubicBezTo>
                    <a:pt x="46945" y="55443"/>
                    <a:pt x="55442" y="46945"/>
                    <a:pt x="55442" y="35616"/>
                  </a:cubicBezTo>
                  <a:cubicBezTo>
                    <a:pt x="55442" y="24286"/>
                    <a:pt x="46945" y="15789"/>
                    <a:pt x="35615" y="15789"/>
                  </a:cubicBezTo>
                  <a:cubicBezTo>
                    <a:pt x="24286" y="15789"/>
                    <a:pt x="15789" y="24286"/>
                    <a:pt x="15789" y="35616"/>
                  </a:cubicBezTo>
                  <a:cubicBezTo>
                    <a:pt x="15789" y="46945"/>
                    <a:pt x="24286" y="55443"/>
                    <a:pt x="35615" y="554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9" name="Freeform: Shape 2028">
              <a:extLst>
                <a:ext uri="{FF2B5EF4-FFF2-40B4-BE49-F238E27FC236}">
                  <a16:creationId xmlns:a16="http://schemas.microsoft.com/office/drawing/2014/main" id="{2CD725B3-D0B1-4EF5-9B8C-33F8630CF60D}"/>
                </a:ext>
              </a:extLst>
            </p:cNvPr>
            <p:cNvSpPr/>
            <p:nvPr/>
          </p:nvSpPr>
          <p:spPr>
            <a:xfrm>
              <a:off x="8735570" y="4080237"/>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7" y="15789"/>
                    <a:pt x="15789" y="20037"/>
                    <a:pt x="15789" y="25702"/>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0" name="Freeform: Shape 2029">
              <a:extLst>
                <a:ext uri="{FF2B5EF4-FFF2-40B4-BE49-F238E27FC236}">
                  <a16:creationId xmlns:a16="http://schemas.microsoft.com/office/drawing/2014/main" id="{095C087E-0CAB-4DCE-B4EC-D13C89882FD8}"/>
                </a:ext>
              </a:extLst>
            </p:cNvPr>
            <p:cNvSpPr/>
            <p:nvPr/>
          </p:nvSpPr>
          <p:spPr>
            <a:xfrm>
              <a:off x="8806379" y="4303995"/>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7" y="15789"/>
                    <a:pt x="15789" y="20038"/>
                    <a:pt x="15789" y="25703"/>
                  </a:cubicBezTo>
                  <a:cubicBezTo>
                    <a:pt x="15789" y="31367"/>
                    <a:pt x="21454"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1" name="Freeform: Shape 2030">
              <a:extLst>
                <a:ext uri="{FF2B5EF4-FFF2-40B4-BE49-F238E27FC236}">
                  <a16:creationId xmlns:a16="http://schemas.microsoft.com/office/drawing/2014/main" id="{C802D3C1-5F1E-49F9-87C4-EC39E560C06B}"/>
                </a:ext>
              </a:extLst>
            </p:cNvPr>
            <p:cNvSpPr/>
            <p:nvPr/>
          </p:nvSpPr>
          <p:spPr>
            <a:xfrm>
              <a:off x="8935252" y="4295498"/>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3"/>
                  </a:cubicBezTo>
                  <a:cubicBezTo>
                    <a:pt x="35616" y="20038"/>
                    <a:pt x="31368" y="15789"/>
                    <a:pt x="25703" y="15789"/>
                  </a:cubicBezTo>
                  <a:cubicBezTo>
                    <a:pt x="20038" y="15789"/>
                    <a:pt x="15789" y="20038"/>
                    <a:pt x="15789" y="25703"/>
                  </a:cubicBezTo>
                  <a:cubicBezTo>
                    <a:pt x="15789" y="29951"/>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2" name="Freeform: Shape 2031">
              <a:extLst>
                <a:ext uri="{FF2B5EF4-FFF2-40B4-BE49-F238E27FC236}">
                  <a16:creationId xmlns:a16="http://schemas.microsoft.com/office/drawing/2014/main" id="{C5C8D2FF-1574-4687-A08B-86CBDB5F2F7B}"/>
                </a:ext>
              </a:extLst>
            </p:cNvPr>
            <p:cNvSpPr/>
            <p:nvPr/>
          </p:nvSpPr>
          <p:spPr>
            <a:xfrm>
              <a:off x="9061294" y="4500845"/>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3" name="Freeform: Shape 2032">
              <a:extLst>
                <a:ext uri="{FF2B5EF4-FFF2-40B4-BE49-F238E27FC236}">
                  <a16:creationId xmlns:a16="http://schemas.microsoft.com/office/drawing/2014/main" id="{F9C5B063-EAD5-4EAA-AB51-AD1CA93E7384}"/>
                </a:ext>
              </a:extLst>
            </p:cNvPr>
            <p:cNvSpPr/>
            <p:nvPr/>
          </p:nvSpPr>
          <p:spPr>
            <a:xfrm>
              <a:off x="8850281" y="4243099"/>
              <a:ext cx="70810" cy="70810"/>
            </a:xfrm>
            <a:custGeom>
              <a:avLst/>
              <a:gdLst>
                <a:gd name="connsiteX0" fmla="*/ 38449 w 70809"/>
                <a:gd name="connsiteY0" fmla="*/ 61107 h 70809"/>
                <a:gd name="connsiteX1" fmla="*/ 61107 w 70809"/>
                <a:gd name="connsiteY1" fmla="*/ 38448 h 70809"/>
                <a:gd name="connsiteX2" fmla="*/ 38449 w 70809"/>
                <a:gd name="connsiteY2" fmla="*/ 15789 h 70809"/>
                <a:gd name="connsiteX3" fmla="*/ 15789 w 70809"/>
                <a:gd name="connsiteY3" fmla="*/ 38448 h 70809"/>
                <a:gd name="connsiteX4" fmla="*/ 38449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9" y="61107"/>
                  </a:moveTo>
                  <a:cubicBezTo>
                    <a:pt x="51194" y="61107"/>
                    <a:pt x="61107" y="51194"/>
                    <a:pt x="61107" y="38448"/>
                  </a:cubicBezTo>
                  <a:cubicBezTo>
                    <a:pt x="61107" y="25702"/>
                    <a:pt x="51194" y="15789"/>
                    <a:pt x="38449" y="15789"/>
                  </a:cubicBezTo>
                  <a:cubicBezTo>
                    <a:pt x="25703" y="15789"/>
                    <a:pt x="15789" y="25702"/>
                    <a:pt x="15789" y="38448"/>
                  </a:cubicBezTo>
                  <a:cubicBezTo>
                    <a:pt x="17206" y="51194"/>
                    <a:pt x="27119" y="61107"/>
                    <a:pt x="38449"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4" name="Freeform: Shape 2033">
              <a:extLst>
                <a:ext uri="{FF2B5EF4-FFF2-40B4-BE49-F238E27FC236}">
                  <a16:creationId xmlns:a16="http://schemas.microsoft.com/office/drawing/2014/main" id="{18FEBF08-E908-4438-A26A-F8FC4BBABAE5}"/>
                </a:ext>
              </a:extLst>
            </p:cNvPr>
            <p:cNvSpPr/>
            <p:nvPr/>
          </p:nvSpPr>
          <p:spPr>
            <a:xfrm>
              <a:off x="9130688" y="4462608"/>
              <a:ext cx="70810" cy="70810"/>
            </a:xfrm>
            <a:custGeom>
              <a:avLst/>
              <a:gdLst>
                <a:gd name="connsiteX0" fmla="*/ 38448 w 70809"/>
                <a:gd name="connsiteY0" fmla="*/ 61107 h 70809"/>
                <a:gd name="connsiteX1" fmla="*/ 61106 w 70809"/>
                <a:gd name="connsiteY1" fmla="*/ 38448 h 70809"/>
                <a:gd name="connsiteX2" fmla="*/ 38448 w 70809"/>
                <a:gd name="connsiteY2" fmla="*/ 15789 h 70809"/>
                <a:gd name="connsiteX3" fmla="*/ 15789 w 70809"/>
                <a:gd name="connsiteY3" fmla="*/ 38448 h 70809"/>
                <a:gd name="connsiteX4" fmla="*/ 3844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8" y="61107"/>
                  </a:moveTo>
                  <a:cubicBezTo>
                    <a:pt x="51194" y="61107"/>
                    <a:pt x="61106" y="51194"/>
                    <a:pt x="61106" y="38448"/>
                  </a:cubicBezTo>
                  <a:cubicBezTo>
                    <a:pt x="61106" y="25702"/>
                    <a:pt x="51194" y="15789"/>
                    <a:pt x="38448" y="15789"/>
                  </a:cubicBezTo>
                  <a:cubicBezTo>
                    <a:pt x="25702" y="15789"/>
                    <a:pt x="15789" y="25702"/>
                    <a:pt x="15789" y="38448"/>
                  </a:cubicBezTo>
                  <a:cubicBezTo>
                    <a:pt x="15789" y="51194"/>
                    <a:pt x="25702" y="61107"/>
                    <a:pt x="38448"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5" name="Freeform: Shape 2034">
              <a:extLst>
                <a:ext uri="{FF2B5EF4-FFF2-40B4-BE49-F238E27FC236}">
                  <a16:creationId xmlns:a16="http://schemas.microsoft.com/office/drawing/2014/main" id="{E08EF28F-F7AC-4FA8-A63A-2AF688B20114}"/>
                </a:ext>
              </a:extLst>
            </p:cNvPr>
            <p:cNvSpPr/>
            <p:nvPr/>
          </p:nvSpPr>
          <p:spPr>
            <a:xfrm>
              <a:off x="8772390" y="4202029"/>
              <a:ext cx="42486" cy="42486"/>
            </a:xfrm>
            <a:custGeom>
              <a:avLst/>
              <a:gdLst>
                <a:gd name="connsiteX0" fmla="*/ 27119 w 42485"/>
                <a:gd name="connsiteY0" fmla="*/ 38448 h 42485"/>
                <a:gd name="connsiteX1" fmla="*/ 38449 w 42485"/>
                <a:gd name="connsiteY1" fmla="*/ 27118 h 42485"/>
                <a:gd name="connsiteX2" fmla="*/ 27119 w 42485"/>
                <a:gd name="connsiteY2" fmla="*/ 15789 h 42485"/>
                <a:gd name="connsiteX3" fmla="*/ 15789 w 42485"/>
                <a:gd name="connsiteY3" fmla="*/ 27118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9" y="32783"/>
                    <a:pt x="38449" y="27118"/>
                  </a:cubicBezTo>
                  <a:cubicBezTo>
                    <a:pt x="38449" y="21454"/>
                    <a:pt x="32783" y="15789"/>
                    <a:pt x="27119" y="15789"/>
                  </a:cubicBezTo>
                  <a:cubicBezTo>
                    <a:pt x="21454" y="15789"/>
                    <a:pt x="15789" y="21454"/>
                    <a:pt x="15789" y="27118"/>
                  </a:cubicBezTo>
                  <a:cubicBezTo>
                    <a:pt x="15789" y="34199"/>
                    <a:pt x="21454"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6" name="Freeform: Shape 2035">
              <a:extLst>
                <a:ext uri="{FF2B5EF4-FFF2-40B4-BE49-F238E27FC236}">
                  <a16:creationId xmlns:a16="http://schemas.microsoft.com/office/drawing/2014/main" id="{E708E1A7-D24A-437D-83EA-D5E87EB45333}"/>
                </a:ext>
              </a:extLst>
            </p:cNvPr>
            <p:cNvSpPr/>
            <p:nvPr/>
          </p:nvSpPr>
          <p:spPr>
            <a:xfrm>
              <a:off x="9520140" y="4588649"/>
              <a:ext cx="42486" cy="42486"/>
            </a:xfrm>
            <a:custGeom>
              <a:avLst/>
              <a:gdLst>
                <a:gd name="connsiteX0" fmla="*/ 25702 w 42485"/>
                <a:gd name="connsiteY0" fmla="*/ 35616 h 42485"/>
                <a:gd name="connsiteX1" fmla="*/ 35615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5" y="31367"/>
                    <a:pt x="35615" y="25703"/>
                  </a:cubicBezTo>
                  <a:cubicBezTo>
                    <a:pt x="35615" y="20037"/>
                    <a:pt x="31367" y="15789"/>
                    <a:pt x="25702" y="15789"/>
                  </a:cubicBezTo>
                  <a:cubicBezTo>
                    <a:pt x="20037" y="15789"/>
                    <a:pt x="15789" y="20037"/>
                    <a:pt x="15789" y="25703"/>
                  </a:cubicBezTo>
                  <a:cubicBezTo>
                    <a:pt x="17205" y="31367"/>
                    <a:pt x="21453"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7" name="Freeform: Shape 2036">
              <a:extLst>
                <a:ext uri="{FF2B5EF4-FFF2-40B4-BE49-F238E27FC236}">
                  <a16:creationId xmlns:a16="http://schemas.microsoft.com/office/drawing/2014/main" id="{C08A04E3-F6EA-481A-9CC3-5A2422125F29}"/>
                </a:ext>
              </a:extLst>
            </p:cNvPr>
            <p:cNvSpPr/>
            <p:nvPr/>
          </p:nvSpPr>
          <p:spPr>
            <a:xfrm>
              <a:off x="9432336" y="4373388"/>
              <a:ext cx="42486" cy="42486"/>
            </a:xfrm>
            <a:custGeom>
              <a:avLst/>
              <a:gdLst>
                <a:gd name="connsiteX0" fmla="*/ 25703 w 42485"/>
                <a:gd name="connsiteY0" fmla="*/ 35616 h 42485"/>
                <a:gd name="connsiteX1" fmla="*/ 35615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5" y="31367"/>
                    <a:pt x="35615" y="25703"/>
                  </a:cubicBezTo>
                  <a:cubicBezTo>
                    <a:pt x="35615" y="20038"/>
                    <a:pt x="31367" y="15789"/>
                    <a:pt x="25703" y="15789"/>
                  </a:cubicBezTo>
                  <a:cubicBezTo>
                    <a:pt x="20037" y="15789"/>
                    <a:pt x="15789" y="20038"/>
                    <a:pt x="15789" y="25703"/>
                  </a:cubicBezTo>
                  <a:cubicBezTo>
                    <a:pt x="17205" y="31367"/>
                    <a:pt x="21453"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8" name="Freeform: Shape 2037">
              <a:extLst>
                <a:ext uri="{FF2B5EF4-FFF2-40B4-BE49-F238E27FC236}">
                  <a16:creationId xmlns:a16="http://schemas.microsoft.com/office/drawing/2014/main" id="{2DA148B4-AF60-47F4-B481-8A0F3B2D6E38}"/>
                </a:ext>
              </a:extLst>
            </p:cNvPr>
            <p:cNvSpPr/>
            <p:nvPr/>
          </p:nvSpPr>
          <p:spPr>
            <a:xfrm>
              <a:off x="9387018" y="4295498"/>
              <a:ext cx="70810" cy="70810"/>
            </a:xfrm>
            <a:custGeom>
              <a:avLst/>
              <a:gdLst>
                <a:gd name="connsiteX0" fmla="*/ 41280 w 70809"/>
                <a:gd name="connsiteY0" fmla="*/ 66772 h 70809"/>
                <a:gd name="connsiteX1" fmla="*/ 66772 w 70809"/>
                <a:gd name="connsiteY1" fmla="*/ 41281 h 70809"/>
                <a:gd name="connsiteX2" fmla="*/ 41280 w 70809"/>
                <a:gd name="connsiteY2" fmla="*/ 15789 h 70809"/>
                <a:gd name="connsiteX3" fmla="*/ 15789 w 70809"/>
                <a:gd name="connsiteY3" fmla="*/ 41281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3"/>
                    <a:pt x="66772" y="41281"/>
                  </a:cubicBezTo>
                  <a:cubicBezTo>
                    <a:pt x="66772" y="27119"/>
                    <a:pt x="55442" y="15789"/>
                    <a:pt x="41280" y="15789"/>
                  </a:cubicBezTo>
                  <a:cubicBezTo>
                    <a:pt x="27118" y="15789"/>
                    <a:pt x="15789" y="27119"/>
                    <a:pt x="15789" y="41281"/>
                  </a:cubicBezTo>
                  <a:cubicBezTo>
                    <a:pt x="15789" y="55443"/>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9" name="Freeform: Shape 2038">
              <a:extLst>
                <a:ext uri="{FF2B5EF4-FFF2-40B4-BE49-F238E27FC236}">
                  <a16:creationId xmlns:a16="http://schemas.microsoft.com/office/drawing/2014/main" id="{98C1A1B9-26C1-47D6-8CB2-50FCB194619C}"/>
                </a:ext>
              </a:extLst>
            </p:cNvPr>
            <p:cNvSpPr/>
            <p:nvPr/>
          </p:nvSpPr>
          <p:spPr>
            <a:xfrm>
              <a:off x="10580867" y="4558909"/>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0" y="49777"/>
                    <a:pt x="49778" y="42697"/>
                    <a:pt x="49778" y="32783"/>
                  </a:cubicBezTo>
                  <a:cubicBezTo>
                    <a:pt x="49778" y="22870"/>
                    <a:pt x="42697" y="15789"/>
                    <a:pt x="32783" y="15789"/>
                  </a:cubicBezTo>
                  <a:cubicBezTo>
                    <a:pt x="24287" y="15789"/>
                    <a:pt x="15789" y="22870"/>
                    <a:pt x="15789" y="32783"/>
                  </a:cubicBezTo>
                  <a:cubicBezTo>
                    <a:pt x="15789" y="42697"/>
                    <a:pt x="24287"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0" name="Freeform: Shape 2039">
              <a:extLst>
                <a:ext uri="{FF2B5EF4-FFF2-40B4-BE49-F238E27FC236}">
                  <a16:creationId xmlns:a16="http://schemas.microsoft.com/office/drawing/2014/main" id="{B211B219-8A15-43F9-A8D9-F4A37A9374B6}"/>
                </a:ext>
              </a:extLst>
            </p:cNvPr>
            <p:cNvSpPr/>
            <p:nvPr/>
          </p:nvSpPr>
          <p:spPr>
            <a:xfrm>
              <a:off x="10335866" y="4391799"/>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0" y="49777"/>
                    <a:pt x="49778" y="42697"/>
                    <a:pt x="49778" y="32783"/>
                  </a:cubicBezTo>
                  <a:cubicBezTo>
                    <a:pt x="49778" y="22870"/>
                    <a:pt x="42697" y="15789"/>
                    <a:pt x="32783" y="15789"/>
                  </a:cubicBezTo>
                  <a:cubicBezTo>
                    <a:pt x="24286" y="15789"/>
                    <a:pt x="15789" y="22870"/>
                    <a:pt x="15789" y="32783"/>
                  </a:cubicBezTo>
                  <a:cubicBezTo>
                    <a:pt x="15789" y="42697"/>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1" name="Freeform: Shape 2040">
              <a:extLst>
                <a:ext uri="{FF2B5EF4-FFF2-40B4-BE49-F238E27FC236}">
                  <a16:creationId xmlns:a16="http://schemas.microsoft.com/office/drawing/2014/main" id="{67214132-AD2E-479B-88A7-8B00CF039C76}"/>
                </a:ext>
              </a:extLst>
            </p:cNvPr>
            <p:cNvSpPr/>
            <p:nvPr/>
          </p:nvSpPr>
          <p:spPr>
            <a:xfrm>
              <a:off x="10488815" y="4500845"/>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3"/>
                  </a:cubicBezTo>
                  <a:cubicBezTo>
                    <a:pt x="35616" y="20038"/>
                    <a:pt x="31368"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2" name="Freeform: Shape 2041">
              <a:extLst>
                <a:ext uri="{FF2B5EF4-FFF2-40B4-BE49-F238E27FC236}">
                  <a16:creationId xmlns:a16="http://schemas.microsoft.com/office/drawing/2014/main" id="{ED53423E-C449-4A5D-A061-EE1D9B0D9264}"/>
                </a:ext>
              </a:extLst>
            </p:cNvPr>
            <p:cNvSpPr/>
            <p:nvPr/>
          </p:nvSpPr>
          <p:spPr>
            <a:xfrm>
              <a:off x="10818787" y="6081314"/>
              <a:ext cx="84971" cy="84971"/>
            </a:xfrm>
            <a:custGeom>
              <a:avLst/>
              <a:gdLst>
                <a:gd name="connsiteX0" fmla="*/ 42697 w 84971"/>
                <a:gd name="connsiteY0" fmla="*/ 69605 h 84971"/>
                <a:gd name="connsiteX1" fmla="*/ 69605 w 84971"/>
                <a:gd name="connsiteY1" fmla="*/ 42697 h 84971"/>
                <a:gd name="connsiteX2" fmla="*/ 42697 w 84971"/>
                <a:gd name="connsiteY2" fmla="*/ 15789 h 84971"/>
                <a:gd name="connsiteX3" fmla="*/ 15789 w 84971"/>
                <a:gd name="connsiteY3" fmla="*/ 42697 h 84971"/>
                <a:gd name="connsiteX4" fmla="*/ 42697 w 84971"/>
                <a:gd name="connsiteY4" fmla="*/ 69605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7" y="69605"/>
                  </a:moveTo>
                  <a:cubicBezTo>
                    <a:pt x="56859" y="69605"/>
                    <a:pt x="69605" y="58275"/>
                    <a:pt x="69605" y="42697"/>
                  </a:cubicBezTo>
                  <a:cubicBezTo>
                    <a:pt x="69605" y="28535"/>
                    <a:pt x="58275" y="15789"/>
                    <a:pt x="42697" y="15789"/>
                  </a:cubicBezTo>
                  <a:cubicBezTo>
                    <a:pt x="28535" y="15789"/>
                    <a:pt x="15789" y="27119"/>
                    <a:pt x="15789" y="42697"/>
                  </a:cubicBezTo>
                  <a:cubicBezTo>
                    <a:pt x="15789" y="56858"/>
                    <a:pt x="28535" y="69605"/>
                    <a:pt x="42697" y="6960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3" name="Freeform: Shape 2042">
              <a:extLst>
                <a:ext uri="{FF2B5EF4-FFF2-40B4-BE49-F238E27FC236}">
                  <a16:creationId xmlns:a16="http://schemas.microsoft.com/office/drawing/2014/main" id="{79D39AFE-F518-4DCE-9B9F-4D209A446264}"/>
                </a:ext>
              </a:extLst>
            </p:cNvPr>
            <p:cNvSpPr/>
            <p:nvPr/>
          </p:nvSpPr>
          <p:spPr>
            <a:xfrm>
              <a:off x="10876851" y="5986430"/>
              <a:ext cx="56648" cy="56648"/>
            </a:xfrm>
            <a:custGeom>
              <a:avLst/>
              <a:gdLst>
                <a:gd name="connsiteX0" fmla="*/ 32783 w 56647"/>
                <a:gd name="connsiteY0" fmla="*/ 49777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6" y="49777"/>
                    <a:pt x="49777" y="42697"/>
                    <a:pt x="49777" y="32783"/>
                  </a:cubicBezTo>
                  <a:cubicBezTo>
                    <a:pt x="49777" y="22870"/>
                    <a:pt x="42696" y="15789"/>
                    <a:pt x="32783" y="15789"/>
                  </a:cubicBezTo>
                  <a:cubicBezTo>
                    <a:pt x="22870" y="15789"/>
                    <a:pt x="15789" y="22870"/>
                    <a:pt x="15789" y="32783"/>
                  </a:cubicBezTo>
                  <a:cubicBezTo>
                    <a:pt x="15789" y="42697"/>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4" name="Freeform: Shape 2043">
              <a:extLst>
                <a:ext uri="{FF2B5EF4-FFF2-40B4-BE49-F238E27FC236}">
                  <a16:creationId xmlns:a16="http://schemas.microsoft.com/office/drawing/2014/main" id="{ED296FBC-BB1C-4BAA-AFB8-435D5A66E5D8}"/>
                </a:ext>
              </a:extLst>
            </p:cNvPr>
            <p:cNvSpPr/>
            <p:nvPr/>
          </p:nvSpPr>
          <p:spPr>
            <a:xfrm>
              <a:off x="11077951" y="5827816"/>
              <a:ext cx="56648" cy="56648"/>
            </a:xfrm>
            <a:custGeom>
              <a:avLst/>
              <a:gdLst>
                <a:gd name="connsiteX0" fmla="*/ 32783 w 56647"/>
                <a:gd name="connsiteY0" fmla="*/ 49777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6" y="49777"/>
                    <a:pt x="49777" y="42697"/>
                    <a:pt x="49777" y="32783"/>
                  </a:cubicBezTo>
                  <a:cubicBezTo>
                    <a:pt x="49777" y="22870"/>
                    <a:pt x="42696" y="15789"/>
                    <a:pt x="32783" y="15789"/>
                  </a:cubicBezTo>
                  <a:cubicBezTo>
                    <a:pt x="22870" y="15789"/>
                    <a:pt x="15789" y="22870"/>
                    <a:pt x="15789" y="32783"/>
                  </a:cubicBezTo>
                  <a:cubicBezTo>
                    <a:pt x="15789" y="42697"/>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5" name="Freeform: Shape 2044">
              <a:extLst>
                <a:ext uri="{FF2B5EF4-FFF2-40B4-BE49-F238E27FC236}">
                  <a16:creationId xmlns:a16="http://schemas.microsoft.com/office/drawing/2014/main" id="{A698FFFC-B93A-4B54-B5BC-5CCE755843C7}"/>
                </a:ext>
              </a:extLst>
            </p:cNvPr>
            <p:cNvSpPr/>
            <p:nvPr/>
          </p:nvSpPr>
          <p:spPr>
            <a:xfrm>
              <a:off x="11005724" y="5604058"/>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6" name="Freeform: Shape 2045">
              <a:extLst>
                <a:ext uri="{FF2B5EF4-FFF2-40B4-BE49-F238E27FC236}">
                  <a16:creationId xmlns:a16="http://schemas.microsoft.com/office/drawing/2014/main" id="{FCB8561C-C93A-4413-8CD5-40F1A2F8334A}"/>
                </a:ext>
              </a:extLst>
            </p:cNvPr>
            <p:cNvSpPr/>
            <p:nvPr/>
          </p:nvSpPr>
          <p:spPr>
            <a:xfrm>
              <a:off x="11138664" y="5749926"/>
              <a:ext cx="56648" cy="56648"/>
            </a:xfrm>
            <a:custGeom>
              <a:avLst/>
              <a:gdLst>
                <a:gd name="connsiteX0" fmla="*/ 28717 w 56647"/>
                <a:gd name="connsiteY0" fmla="*/ 41280 h 56647"/>
                <a:gd name="connsiteX1" fmla="*/ 41463 w 56647"/>
                <a:gd name="connsiteY1" fmla="*/ 28535 h 56647"/>
                <a:gd name="connsiteX2" fmla="*/ 28717 w 56647"/>
                <a:gd name="connsiteY2" fmla="*/ 15789 h 56647"/>
                <a:gd name="connsiteX3" fmla="*/ 15971 w 56647"/>
                <a:gd name="connsiteY3" fmla="*/ 28535 h 56647"/>
                <a:gd name="connsiteX4" fmla="*/ 28717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717" y="41280"/>
                  </a:moveTo>
                  <a:cubicBezTo>
                    <a:pt x="35798" y="41280"/>
                    <a:pt x="41463" y="35616"/>
                    <a:pt x="41463" y="28535"/>
                  </a:cubicBezTo>
                  <a:cubicBezTo>
                    <a:pt x="41463" y="21454"/>
                    <a:pt x="35798" y="15789"/>
                    <a:pt x="28717" y="15789"/>
                  </a:cubicBezTo>
                  <a:cubicBezTo>
                    <a:pt x="21636" y="15789"/>
                    <a:pt x="15971" y="21454"/>
                    <a:pt x="15971" y="28535"/>
                  </a:cubicBezTo>
                  <a:cubicBezTo>
                    <a:pt x="14555" y="35616"/>
                    <a:pt x="21636" y="41280"/>
                    <a:pt x="28717"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7" name="Freeform: Shape 2046">
              <a:extLst>
                <a:ext uri="{FF2B5EF4-FFF2-40B4-BE49-F238E27FC236}">
                  <a16:creationId xmlns:a16="http://schemas.microsoft.com/office/drawing/2014/main" id="{66D1DD1A-F372-4D52-8896-0AA33081FC94}"/>
                </a:ext>
              </a:extLst>
            </p:cNvPr>
            <p:cNvSpPr/>
            <p:nvPr/>
          </p:nvSpPr>
          <p:spPr>
            <a:xfrm>
              <a:off x="10983066" y="5939695"/>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8" name="Freeform: Shape 2047">
              <a:extLst>
                <a:ext uri="{FF2B5EF4-FFF2-40B4-BE49-F238E27FC236}">
                  <a16:creationId xmlns:a16="http://schemas.microsoft.com/office/drawing/2014/main" id="{40CF596A-0F82-4593-BA81-410F4802831B}"/>
                </a:ext>
              </a:extLst>
            </p:cNvPr>
            <p:cNvSpPr/>
            <p:nvPr/>
          </p:nvSpPr>
          <p:spPr>
            <a:xfrm>
              <a:off x="10968904" y="5843395"/>
              <a:ext cx="56648" cy="56648"/>
            </a:xfrm>
            <a:custGeom>
              <a:avLst/>
              <a:gdLst>
                <a:gd name="connsiteX0" fmla="*/ 28534 w 56647"/>
                <a:gd name="connsiteY0" fmla="*/ 41280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0"/>
                  </a:moveTo>
                  <a:cubicBezTo>
                    <a:pt x="35615" y="41280"/>
                    <a:pt x="41280" y="35616"/>
                    <a:pt x="41280" y="28535"/>
                  </a:cubicBezTo>
                  <a:cubicBezTo>
                    <a:pt x="41280" y="21454"/>
                    <a:pt x="35615" y="15789"/>
                    <a:pt x="28534" y="15789"/>
                  </a:cubicBezTo>
                  <a:cubicBezTo>
                    <a:pt x="21453" y="15789"/>
                    <a:pt x="15789" y="21454"/>
                    <a:pt x="15789" y="28535"/>
                  </a:cubicBezTo>
                  <a:cubicBezTo>
                    <a:pt x="15789" y="35616"/>
                    <a:pt x="21453" y="41280"/>
                    <a:pt x="28534"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9" name="Freeform: Shape 2048">
              <a:extLst>
                <a:ext uri="{FF2B5EF4-FFF2-40B4-BE49-F238E27FC236}">
                  <a16:creationId xmlns:a16="http://schemas.microsoft.com/office/drawing/2014/main" id="{8E2ED8BF-BF1E-4F26-B392-4E3F07541252}"/>
                </a:ext>
              </a:extLst>
            </p:cNvPr>
            <p:cNvSpPr/>
            <p:nvPr/>
          </p:nvSpPr>
          <p:spPr>
            <a:xfrm>
              <a:off x="11015638" y="5774001"/>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2697"/>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0" name="Freeform: Shape 2049">
              <a:extLst>
                <a:ext uri="{FF2B5EF4-FFF2-40B4-BE49-F238E27FC236}">
                  <a16:creationId xmlns:a16="http://schemas.microsoft.com/office/drawing/2014/main" id="{D665B9F5-2E9E-4024-92BB-EEC4E30FA8B7}"/>
                </a:ext>
              </a:extLst>
            </p:cNvPr>
            <p:cNvSpPr/>
            <p:nvPr/>
          </p:nvSpPr>
          <p:spPr>
            <a:xfrm>
              <a:off x="8705830" y="2393554"/>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9"/>
                    <a:pt x="55442" y="15789"/>
                    <a:pt x="41280" y="15789"/>
                  </a:cubicBezTo>
                  <a:cubicBezTo>
                    <a:pt x="27118" y="15789"/>
                    <a:pt x="15789" y="27119"/>
                    <a:pt x="15789" y="41280"/>
                  </a:cubicBezTo>
                  <a:cubicBezTo>
                    <a:pt x="15789" y="55442"/>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1" name="Freeform: Shape 2050">
              <a:extLst>
                <a:ext uri="{FF2B5EF4-FFF2-40B4-BE49-F238E27FC236}">
                  <a16:creationId xmlns:a16="http://schemas.microsoft.com/office/drawing/2014/main" id="{2E13290E-C0B5-490B-94D9-4078DE0BD40D}"/>
                </a:ext>
              </a:extLst>
            </p:cNvPr>
            <p:cNvSpPr/>
            <p:nvPr/>
          </p:nvSpPr>
          <p:spPr>
            <a:xfrm>
              <a:off x="7718745" y="1750603"/>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9"/>
                    <a:pt x="55442" y="15789"/>
                    <a:pt x="41280" y="15789"/>
                  </a:cubicBezTo>
                  <a:cubicBezTo>
                    <a:pt x="27118" y="15789"/>
                    <a:pt x="15789" y="27119"/>
                    <a:pt x="15789" y="41280"/>
                  </a:cubicBezTo>
                  <a:cubicBezTo>
                    <a:pt x="17205" y="55442"/>
                    <a:pt x="28535"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2" name="Freeform: Shape 2051">
              <a:extLst>
                <a:ext uri="{FF2B5EF4-FFF2-40B4-BE49-F238E27FC236}">
                  <a16:creationId xmlns:a16="http://schemas.microsoft.com/office/drawing/2014/main" id="{DF16DD08-A801-4A0F-AFA6-A1A2195FC30F}"/>
                </a:ext>
              </a:extLst>
            </p:cNvPr>
            <p:cNvSpPr/>
            <p:nvPr/>
          </p:nvSpPr>
          <p:spPr>
            <a:xfrm>
              <a:off x="8010480" y="1362567"/>
              <a:ext cx="70810" cy="70810"/>
            </a:xfrm>
            <a:custGeom>
              <a:avLst/>
              <a:gdLst>
                <a:gd name="connsiteX0" fmla="*/ 41281 w 70809"/>
                <a:gd name="connsiteY0" fmla="*/ 66772 h 70809"/>
                <a:gd name="connsiteX1" fmla="*/ 66772 w 70809"/>
                <a:gd name="connsiteY1" fmla="*/ 41280 h 70809"/>
                <a:gd name="connsiteX2" fmla="*/ 41281 w 70809"/>
                <a:gd name="connsiteY2" fmla="*/ 15789 h 70809"/>
                <a:gd name="connsiteX3" fmla="*/ 15789 w 70809"/>
                <a:gd name="connsiteY3" fmla="*/ 41280 h 70809"/>
                <a:gd name="connsiteX4" fmla="*/ 41281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1" y="66772"/>
                  </a:moveTo>
                  <a:cubicBezTo>
                    <a:pt x="55443" y="66772"/>
                    <a:pt x="66772" y="55442"/>
                    <a:pt x="66772" y="41280"/>
                  </a:cubicBezTo>
                  <a:cubicBezTo>
                    <a:pt x="66772" y="27119"/>
                    <a:pt x="55443" y="15789"/>
                    <a:pt x="41281" y="15789"/>
                  </a:cubicBezTo>
                  <a:cubicBezTo>
                    <a:pt x="27119" y="15789"/>
                    <a:pt x="15789" y="27119"/>
                    <a:pt x="15789" y="41280"/>
                  </a:cubicBezTo>
                  <a:cubicBezTo>
                    <a:pt x="17205" y="55442"/>
                    <a:pt x="28535" y="66772"/>
                    <a:pt x="41281"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3" name="Freeform: Shape 2052">
              <a:extLst>
                <a:ext uri="{FF2B5EF4-FFF2-40B4-BE49-F238E27FC236}">
                  <a16:creationId xmlns:a16="http://schemas.microsoft.com/office/drawing/2014/main" id="{1CB5CD26-2D77-43A7-A7D0-5C67259EC063}"/>
                </a:ext>
              </a:extLst>
            </p:cNvPr>
            <p:cNvSpPr/>
            <p:nvPr/>
          </p:nvSpPr>
          <p:spPr>
            <a:xfrm>
              <a:off x="7156516" y="2103235"/>
              <a:ext cx="70810" cy="70810"/>
            </a:xfrm>
            <a:custGeom>
              <a:avLst/>
              <a:gdLst>
                <a:gd name="connsiteX0" fmla="*/ 39864 w 70809"/>
                <a:gd name="connsiteY0" fmla="*/ 63939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39" y="52610"/>
                    <a:pt x="63939" y="39864"/>
                  </a:cubicBezTo>
                  <a:cubicBezTo>
                    <a:pt x="63939" y="27119"/>
                    <a:pt x="52610" y="15789"/>
                    <a:pt x="39864" y="15789"/>
                  </a:cubicBezTo>
                  <a:cubicBezTo>
                    <a:pt x="27118" y="15789"/>
                    <a:pt x="15789" y="27119"/>
                    <a:pt x="15789" y="39864"/>
                  </a:cubicBezTo>
                  <a:cubicBezTo>
                    <a:pt x="15789" y="52610"/>
                    <a:pt x="27118" y="63939"/>
                    <a:pt x="3986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4" name="Freeform: Shape 2053">
              <a:extLst>
                <a:ext uri="{FF2B5EF4-FFF2-40B4-BE49-F238E27FC236}">
                  <a16:creationId xmlns:a16="http://schemas.microsoft.com/office/drawing/2014/main" id="{156EDEE3-92F0-456A-951B-72EBFAC338FA}"/>
                </a:ext>
              </a:extLst>
            </p:cNvPr>
            <p:cNvSpPr/>
            <p:nvPr/>
          </p:nvSpPr>
          <p:spPr>
            <a:xfrm>
              <a:off x="7412847" y="1320081"/>
              <a:ext cx="70810" cy="70810"/>
            </a:xfrm>
            <a:custGeom>
              <a:avLst/>
              <a:gdLst>
                <a:gd name="connsiteX0" fmla="*/ 39864 w 70809"/>
                <a:gd name="connsiteY0" fmla="*/ 63940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2610" y="63940"/>
                    <a:pt x="63939" y="52610"/>
                    <a:pt x="63939" y="39864"/>
                  </a:cubicBezTo>
                  <a:cubicBezTo>
                    <a:pt x="63939" y="27119"/>
                    <a:pt x="52610" y="15789"/>
                    <a:pt x="39864" y="15789"/>
                  </a:cubicBezTo>
                  <a:cubicBezTo>
                    <a:pt x="27118" y="15789"/>
                    <a:pt x="15789" y="27119"/>
                    <a:pt x="15789" y="39864"/>
                  </a:cubicBezTo>
                  <a:cubicBezTo>
                    <a:pt x="15789" y="52610"/>
                    <a:pt x="27118"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5" name="Freeform: Shape 2054">
              <a:extLst>
                <a:ext uri="{FF2B5EF4-FFF2-40B4-BE49-F238E27FC236}">
                  <a16:creationId xmlns:a16="http://schemas.microsoft.com/office/drawing/2014/main" id="{C8452949-B6A3-4AC2-8FAE-1FDC9467C562}"/>
                </a:ext>
              </a:extLst>
            </p:cNvPr>
            <p:cNvSpPr/>
            <p:nvPr/>
          </p:nvSpPr>
          <p:spPr>
            <a:xfrm>
              <a:off x="6245905" y="606321"/>
              <a:ext cx="70810" cy="70810"/>
            </a:xfrm>
            <a:custGeom>
              <a:avLst/>
              <a:gdLst>
                <a:gd name="connsiteX0" fmla="*/ 63940 w 70809"/>
                <a:gd name="connsiteY0" fmla="*/ 39864 h 70809"/>
                <a:gd name="connsiteX1" fmla="*/ 39864 w 70809"/>
                <a:gd name="connsiteY1" fmla="*/ 63940 h 70809"/>
                <a:gd name="connsiteX2" fmla="*/ 15789 w 70809"/>
                <a:gd name="connsiteY2" fmla="*/ 39864 h 70809"/>
                <a:gd name="connsiteX3" fmla="*/ 39864 w 70809"/>
                <a:gd name="connsiteY3" fmla="*/ 15789 h 70809"/>
                <a:gd name="connsiteX4" fmla="*/ 63940 w 70809"/>
                <a:gd name="connsiteY4" fmla="*/ 3986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3940" y="39864"/>
                  </a:moveTo>
                  <a:cubicBezTo>
                    <a:pt x="63940" y="53161"/>
                    <a:pt x="53161" y="63940"/>
                    <a:pt x="39864" y="63940"/>
                  </a:cubicBezTo>
                  <a:cubicBezTo>
                    <a:pt x="26568" y="63940"/>
                    <a:pt x="15789" y="53161"/>
                    <a:pt x="15789" y="39864"/>
                  </a:cubicBezTo>
                  <a:cubicBezTo>
                    <a:pt x="15789" y="26568"/>
                    <a:pt x="26568" y="15789"/>
                    <a:pt x="39864" y="15789"/>
                  </a:cubicBezTo>
                  <a:cubicBezTo>
                    <a:pt x="53160" y="15789"/>
                    <a:pt x="63940" y="26568"/>
                    <a:pt x="63940"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6" name="Freeform: Shape 2055">
              <a:extLst>
                <a:ext uri="{FF2B5EF4-FFF2-40B4-BE49-F238E27FC236}">
                  <a16:creationId xmlns:a16="http://schemas.microsoft.com/office/drawing/2014/main" id="{994BB9F9-7DAC-4674-9B1B-0B8AA760ABF0}"/>
                </a:ext>
              </a:extLst>
            </p:cNvPr>
            <p:cNvSpPr/>
            <p:nvPr/>
          </p:nvSpPr>
          <p:spPr>
            <a:xfrm>
              <a:off x="6179344" y="1835574"/>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7" name="Freeform: Shape 2056">
              <a:extLst>
                <a:ext uri="{FF2B5EF4-FFF2-40B4-BE49-F238E27FC236}">
                  <a16:creationId xmlns:a16="http://schemas.microsoft.com/office/drawing/2014/main" id="{AF7674B0-1835-4CBA-8778-FEB21A730453}"/>
                </a:ext>
              </a:extLst>
            </p:cNvPr>
            <p:cNvSpPr/>
            <p:nvPr/>
          </p:nvSpPr>
          <p:spPr>
            <a:xfrm>
              <a:off x="6565964" y="607737"/>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9951"/>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8" name="Freeform: Shape 2057">
              <a:extLst>
                <a:ext uri="{FF2B5EF4-FFF2-40B4-BE49-F238E27FC236}">
                  <a16:creationId xmlns:a16="http://schemas.microsoft.com/office/drawing/2014/main" id="{6354405C-55AF-4D2A-9877-98EB39B0E078}"/>
                </a:ext>
              </a:extLst>
            </p:cNvPr>
            <p:cNvSpPr/>
            <p:nvPr/>
          </p:nvSpPr>
          <p:spPr>
            <a:xfrm>
              <a:off x="6448421" y="648807"/>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9" name="Freeform: Shape 2058">
              <a:extLst>
                <a:ext uri="{FF2B5EF4-FFF2-40B4-BE49-F238E27FC236}">
                  <a16:creationId xmlns:a16="http://schemas.microsoft.com/office/drawing/2014/main" id="{B6C91825-0EE6-49D7-9D43-641DED589E7B}"/>
                </a:ext>
              </a:extLst>
            </p:cNvPr>
            <p:cNvSpPr/>
            <p:nvPr/>
          </p:nvSpPr>
          <p:spPr>
            <a:xfrm>
              <a:off x="6595705" y="1141641"/>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2" y="58275"/>
                    <a:pt x="58275" y="48361"/>
                    <a:pt x="58275" y="37032"/>
                  </a:cubicBezTo>
                  <a:cubicBezTo>
                    <a:pt x="58275" y="25702"/>
                    <a:pt x="48362" y="15789"/>
                    <a:pt x="37032" y="15789"/>
                  </a:cubicBezTo>
                  <a:cubicBezTo>
                    <a:pt x="25703" y="15789"/>
                    <a:pt x="15789" y="25702"/>
                    <a:pt x="15789" y="37032"/>
                  </a:cubicBezTo>
                  <a:cubicBezTo>
                    <a:pt x="15789" y="48361"/>
                    <a:pt x="25703"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0" name="Freeform: Shape 2059">
              <a:extLst>
                <a:ext uri="{FF2B5EF4-FFF2-40B4-BE49-F238E27FC236}">
                  <a16:creationId xmlns:a16="http://schemas.microsoft.com/office/drawing/2014/main" id="{1FDA4903-8EFD-4250-8F51-B3FE49C674BD}"/>
                </a:ext>
              </a:extLst>
            </p:cNvPr>
            <p:cNvSpPr/>
            <p:nvPr/>
          </p:nvSpPr>
          <p:spPr>
            <a:xfrm>
              <a:off x="6254402" y="1620313"/>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2" y="58275"/>
                    <a:pt x="58275" y="48361"/>
                    <a:pt x="58275" y="37032"/>
                  </a:cubicBezTo>
                  <a:cubicBezTo>
                    <a:pt x="58275" y="25702"/>
                    <a:pt x="48362" y="15789"/>
                    <a:pt x="37032" y="15789"/>
                  </a:cubicBezTo>
                  <a:cubicBezTo>
                    <a:pt x="25703" y="15789"/>
                    <a:pt x="15789" y="25702"/>
                    <a:pt x="15789" y="37032"/>
                  </a:cubicBezTo>
                  <a:cubicBezTo>
                    <a:pt x="15789" y="48361"/>
                    <a:pt x="25703"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1" name="Freeform: Shape 2060">
              <a:extLst>
                <a:ext uri="{FF2B5EF4-FFF2-40B4-BE49-F238E27FC236}">
                  <a16:creationId xmlns:a16="http://schemas.microsoft.com/office/drawing/2014/main" id="{70A3D449-61E6-4251-9EAF-A1B379551809}"/>
                </a:ext>
              </a:extLst>
            </p:cNvPr>
            <p:cNvSpPr/>
            <p:nvPr/>
          </p:nvSpPr>
          <p:spPr>
            <a:xfrm>
              <a:off x="6037725" y="1766181"/>
              <a:ext cx="70810" cy="70810"/>
            </a:xfrm>
            <a:custGeom>
              <a:avLst/>
              <a:gdLst>
                <a:gd name="connsiteX0" fmla="*/ 38448 w 70809"/>
                <a:gd name="connsiteY0" fmla="*/ 15789 h 70809"/>
                <a:gd name="connsiteX1" fmla="*/ 61107 w 70809"/>
                <a:gd name="connsiteY1" fmla="*/ 38448 h 70809"/>
                <a:gd name="connsiteX2" fmla="*/ 38448 w 70809"/>
                <a:gd name="connsiteY2" fmla="*/ 61107 h 70809"/>
                <a:gd name="connsiteX3" fmla="*/ 15789 w 70809"/>
                <a:gd name="connsiteY3" fmla="*/ 38448 h 70809"/>
                <a:gd name="connsiteX4" fmla="*/ 38448 w 70809"/>
                <a:gd name="connsiteY4" fmla="*/ 15789 h 70809"/>
                <a:gd name="connsiteX5" fmla="*/ 38448 w 70809"/>
                <a:gd name="connsiteY5" fmla="*/ 15789 h 70809"/>
                <a:gd name="connsiteX6" fmla="*/ 38448 w 70809"/>
                <a:gd name="connsiteY6" fmla="*/ 25702 h 70809"/>
                <a:gd name="connsiteX7" fmla="*/ 25703 w 70809"/>
                <a:gd name="connsiteY7" fmla="*/ 38448 h 70809"/>
                <a:gd name="connsiteX8" fmla="*/ 38448 w 70809"/>
                <a:gd name="connsiteY8" fmla="*/ 51194 h 70809"/>
                <a:gd name="connsiteX9" fmla="*/ 51194 w 70809"/>
                <a:gd name="connsiteY9" fmla="*/ 38448 h 70809"/>
                <a:gd name="connsiteX10" fmla="*/ 38448 w 70809"/>
                <a:gd name="connsiteY10" fmla="*/ 25702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38448" y="15789"/>
                  </a:moveTo>
                  <a:cubicBezTo>
                    <a:pt x="51194" y="15789"/>
                    <a:pt x="61107" y="25702"/>
                    <a:pt x="61107" y="38448"/>
                  </a:cubicBezTo>
                  <a:cubicBezTo>
                    <a:pt x="61107" y="51194"/>
                    <a:pt x="51194" y="61107"/>
                    <a:pt x="38448" y="61107"/>
                  </a:cubicBezTo>
                  <a:cubicBezTo>
                    <a:pt x="25703" y="61107"/>
                    <a:pt x="15789" y="51194"/>
                    <a:pt x="15789" y="38448"/>
                  </a:cubicBezTo>
                  <a:cubicBezTo>
                    <a:pt x="15789" y="25702"/>
                    <a:pt x="25703" y="15789"/>
                    <a:pt x="38448" y="15789"/>
                  </a:cubicBezTo>
                  <a:lnTo>
                    <a:pt x="38448" y="15789"/>
                  </a:lnTo>
                  <a:close/>
                  <a:moveTo>
                    <a:pt x="38448" y="25702"/>
                  </a:moveTo>
                  <a:cubicBezTo>
                    <a:pt x="31367" y="25702"/>
                    <a:pt x="25703" y="31367"/>
                    <a:pt x="25703" y="38448"/>
                  </a:cubicBezTo>
                  <a:cubicBezTo>
                    <a:pt x="25703" y="45529"/>
                    <a:pt x="31367" y="51194"/>
                    <a:pt x="38448" y="51194"/>
                  </a:cubicBezTo>
                  <a:cubicBezTo>
                    <a:pt x="45529" y="51194"/>
                    <a:pt x="51194" y="45529"/>
                    <a:pt x="51194" y="38448"/>
                  </a:cubicBezTo>
                  <a:cubicBezTo>
                    <a:pt x="51194" y="31367"/>
                    <a:pt x="45529" y="25702"/>
                    <a:pt x="38448" y="2570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2" name="Freeform: Shape 2061">
              <a:extLst>
                <a:ext uri="{FF2B5EF4-FFF2-40B4-BE49-F238E27FC236}">
                  <a16:creationId xmlns:a16="http://schemas.microsoft.com/office/drawing/2014/main" id="{7B86F11F-1FB9-450C-AA5A-E95A4AADAD7D}"/>
                </a:ext>
              </a:extLst>
            </p:cNvPr>
            <p:cNvSpPr/>
            <p:nvPr/>
          </p:nvSpPr>
          <p:spPr>
            <a:xfrm>
              <a:off x="6924261" y="137389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3" name="Freeform: Shape 2062">
              <a:extLst>
                <a:ext uri="{FF2B5EF4-FFF2-40B4-BE49-F238E27FC236}">
                  <a16:creationId xmlns:a16="http://schemas.microsoft.com/office/drawing/2014/main" id="{CADA10B9-D05C-4E71-BF25-9F5D451A8596}"/>
                </a:ext>
              </a:extLst>
            </p:cNvPr>
            <p:cNvSpPr/>
            <p:nvPr/>
          </p:nvSpPr>
          <p:spPr>
            <a:xfrm>
              <a:off x="6430010" y="1591990"/>
              <a:ext cx="70810" cy="70810"/>
            </a:xfrm>
            <a:custGeom>
              <a:avLst/>
              <a:gdLst>
                <a:gd name="connsiteX0" fmla="*/ 63940 w 70809"/>
                <a:gd name="connsiteY0" fmla="*/ 39864 h 70809"/>
                <a:gd name="connsiteX1" fmla="*/ 39864 w 70809"/>
                <a:gd name="connsiteY1" fmla="*/ 63939 h 70809"/>
                <a:gd name="connsiteX2" fmla="*/ 15789 w 70809"/>
                <a:gd name="connsiteY2" fmla="*/ 39864 h 70809"/>
                <a:gd name="connsiteX3" fmla="*/ 39864 w 70809"/>
                <a:gd name="connsiteY3" fmla="*/ 15789 h 70809"/>
                <a:gd name="connsiteX4" fmla="*/ 63940 w 70809"/>
                <a:gd name="connsiteY4" fmla="*/ 3986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3940" y="39864"/>
                  </a:moveTo>
                  <a:cubicBezTo>
                    <a:pt x="63940" y="53161"/>
                    <a:pt x="53161" y="63939"/>
                    <a:pt x="39864" y="63939"/>
                  </a:cubicBezTo>
                  <a:cubicBezTo>
                    <a:pt x="26568" y="63939"/>
                    <a:pt x="15789" y="53161"/>
                    <a:pt x="15789" y="39864"/>
                  </a:cubicBezTo>
                  <a:cubicBezTo>
                    <a:pt x="15789" y="26568"/>
                    <a:pt x="26568" y="15789"/>
                    <a:pt x="39864" y="15789"/>
                  </a:cubicBezTo>
                  <a:cubicBezTo>
                    <a:pt x="53160" y="15789"/>
                    <a:pt x="63940" y="26568"/>
                    <a:pt x="63940"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4" name="Freeform: Shape 2063">
              <a:extLst>
                <a:ext uri="{FF2B5EF4-FFF2-40B4-BE49-F238E27FC236}">
                  <a16:creationId xmlns:a16="http://schemas.microsoft.com/office/drawing/2014/main" id="{B4FDD45A-84AC-4A5B-A320-622EF4ED7F78}"/>
                </a:ext>
              </a:extLst>
            </p:cNvPr>
            <p:cNvSpPr/>
            <p:nvPr/>
          </p:nvSpPr>
          <p:spPr>
            <a:xfrm>
              <a:off x="6156685" y="1675545"/>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5" name="Freeform: Shape 2064">
              <a:extLst>
                <a:ext uri="{FF2B5EF4-FFF2-40B4-BE49-F238E27FC236}">
                  <a16:creationId xmlns:a16="http://schemas.microsoft.com/office/drawing/2014/main" id="{71B27F73-398A-456A-BB3F-8A821006644B}"/>
                </a:ext>
              </a:extLst>
            </p:cNvPr>
            <p:cNvSpPr/>
            <p:nvPr/>
          </p:nvSpPr>
          <p:spPr>
            <a:xfrm>
              <a:off x="6237408" y="1388058"/>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2" y="15789"/>
                    <a:pt x="15789" y="25702"/>
                    <a:pt x="15789" y="37032"/>
                  </a:cubicBezTo>
                  <a:cubicBezTo>
                    <a:pt x="15789" y="48361"/>
                    <a:pt x="25702"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6" name="Freeform: Shape 2065">
              <a:extLst>
                <a:ext uri="{FF2B5EF4-FFF2-40B4-BE49-F238E27FC236}">
                  <a16:creationId xmlns:a16="http://schemas.microsoft.com/office/drawing/2014/main" id="{7937D830-BE61-42EA-BF40-8816E88506FE}"/>
                </a:ext>
              </a:extLst>
            </p:cNvPr>
            <p:cNvSpPr/>
            <p:nvPr/>
          </p:nvSpPr>
          <p:spPr>
            <a:xfrm>
              <a:off x="6142523" y="1468781"/>
              <a:ext cx="99133" cy="99133"/>
            </a:xfrm>
            <a:custGeom>
              <a:avLst/>
              <a:gdLst>
                <a:gd name="connsiteX0" fmla="*/ 55443 w 99133"/>
                <a:gd name="connsiteY0" fmla="*/ 15789 h 99133"/>
                <a:gd name="connsiteX1" fmla="*/ 95096 w 99133"/>
                <a:gd name="connsiteY1" fmla="*/ 55442 h 99133"/>
                <a:gd name="connsiteX2" fmla="*/ 55443 w 99133"/>
                <a:gd name="connsiteY2" fmla="*/ 95096 h 99133"/>
                <a:gd name="connsiteX3" fmla="*/ 15789 w 99133"/>
                <a:gd name="connsiteY3" fmla="*/ 55442 h 99133"/>
                <a:gd name="connsiteX4" fmla="*/ 55443 w 99133"/>
                <a:gd name="connsiteY4" fmla="*/ 15789 h 99133"/>
                <a:gd name="connsiteX5" fmla="*/ 55443 w 99133"/>
                <a:gd name="connsiteY5" fmla="*/ 15789 h 99133"/>
                <a:gd name="connsiteX6" fmla="*/ 55443 w 99133"/>
                <a:gd name="connsiteY6" fmla="*/ 34200 h 99133"/>
                <a:gd name="connsiteX7" fmla="*/ 34200 w 99133"/>
                <a:gd name="connsiteY7" fmla="*/ 55442 h 99133"/>
                <a:gd name="connsiteX8" fmla="*/ 55443 w 99133"/>
                <a:gd name="connsiteY8" fmla="*/ 76685 h 99133"/>
                <a:gd name="connsiteX9" fmla="*/ 76686 w 99133"/>
                <a:gd name="connsiteY9" fmla="*/ 55442 h 99133"/>
                <a:gd name="connsiteX10" fmla="*/ 55443 w 99133"/>
                <a:gd name="connsiteY10" fmla="*/ 34200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55443" y="15789"/>
                  </a:moveTo>
                  <a:cubicBezTo>
                    <a:pt x="76686" y="15789"/>
                    <a:pt x="95096" y="32783"/>
                    <a:pt x="95096" y="55442"/>
                  </a:cubicBezTo>
                  <a:cubicBezTo>
                    <a:pt x="95096" y="76685"/>
                    <a:pt x="78101" y="95096"/>
                    <a:pt x="55443" y="95096"/>
                  </a:cubicBezTo>
                  <a:cubicBezTo>
                    <a:pt x="34200" y="95096"/>
                    <a:pt x="15789" y="78101"/>
                    <a:pt x="15789" y="55442"/>
                  </a:cubicBezTo>
                  <a:cubicBezTo>
                    <a:pt x="17205" y="34200"/>
                    <a:pt x="34200" y="15789"/>
                    <a:pt x="55443" y="15789"/>
                  </a:cubicBezTo>
                  <a:lnTo>
                    <a:pt x="55443" y="15789"/>
                  </a:lnTo>
                  <a:close/>
                  <a:moveTo>
                    <a:pt x="55443" y="34200"/>
                  </a:moveTo>
                  <a:cubicBezTo>
                    <a:pt x="42697" y="34200"/>
                    <a:pt x="34200" y="44113"/>
                    <a:pt x="34200" y="55442"/>
                  </a:cubicBezTo>
                  <a:cubicBezTo>
                    <a:pt x="34200" y="68188"/>
                    <a:pt x="44113" y="76685"/>
                    <a:pt x="55443" y="76685"/>
                  </a:cubicBezTo>
                  <a:cubicBezTo>
                    <a:pt x="68188" y="76685"/>
                    <a:pt x="76686" y="66772"/>
                    <a:pt x="76686" y="55442"/>
                  </a:cubicBezTo>
                  <a:cubicBezTo>
                    <a:pt x="78101" y="42697"/>
                    <a:pt x="68188" y="34200"/>
                    <a:pt x="55443" y="3420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7" name="Freeform: Shape 2066">
              <a:extLst>
                <a:ext uri="{FF2B5EF4-FFF2-40B4-BE49-F238E27FC236}">
                  <a16:creationId xmlns:a16="http://schemas.microsoft.com/office/drawing/2014/main" id="{ACFDF506-A07F-43C8-AC29-BF2576DC0B3D}"/>
                </a:ext>
              </a:extLst>
            </p:cNvPr>
            <p:cNvSpPr/>
            <p:nvPr/>
          </p:nvSpPr>
          <p:spPr>
            <a:xfrm>
              <a:off x="6369114" y="1497105"/>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1" y="49778"/>
                    <a:pt x="49778" y="42697"/>
                    <a:pt x="49778" y="32783"/>
                  </a:cubicBezTo>
                  <a:cubicBezTo>
                    <a:pt x="49778" y="22870"/>
                    <a:pt x="42697"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8" name="Freeform: Shape 2067">
              <a:extLst>
                <a:ext uri="{FF2B5EF4-FFF2-40B4-BE49-F238E27FC236}">
                  <a16:creationId xmlns:a16="http://schemas.microsoft.com/office/drawing/2014/main" id="{EB0A6407-21A3-4A00-9549-23D8E18E3AE4}"/>
                </a:ext>
              </a:extLst>
            </p:cNvPr>
            <p:cNvSpPr/>
            <p:nvPr/>
          </p:nvSpPr>
          <p:spPr>
            <a:xfrm>
              <a:off x="6258651" y="1516931"/>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2870" y="15789"/>
                    <a:pt x="15789" y="22870"/>
                    <a:pt x="15789" y="32783"/>
                  </a:cubicBezTo>
                  <a:cubicBezTo>
                    <a:pt x="15789" y="41280"/>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9" name="Freeform: Shape 2068">
              <a:extLst>
                <a:ext uri="{FF2B5EF4-FFF2-40B4-BE49-F238E27FC236}">
                  <a16:creationId xmlns:a16="http://schemas.microsoft.com/office/drawing/2014/main" id="{369E04DF-86F9-4477-84ED-643A7365F3BB}"/>
                </a:ext>
              </a:extLst>
            </p:cNvPr>
            <p:cNvSpPr/>
            <p:nvPr/>
          </p:nvSpPr>
          <p:spPr>
            <a:xfrm>
              <a:off x="6118448" y="1621730"/>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0" name="Freeform: Shape 2069">
              <a:extLst>
                <a:ext uri="{FF2B5EF4-FFF2-40B4-BE49-F238E27FC236}">
                  <a16:creationId xmlns:a16="http://schemas.microsoft.com/office/drawing/2014/main" id="{8D5602EF-2E56-491F-AA55-85B1BD39AFF2}"/>
                </a:ext>
              </a:extLst>
            </p:cNvPr>
            <p:cNvSpPr/>
            <p:nvPr/>
          </p:nvSpPr>
          <p:spPr>
            <a:xfrm>
              <a:off x="6326628" y="1237942"/>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1" name="Freeform: Shape 2070">
              <a:extLst>
                <a:ext uri="{FF2B5EF4-FFF2-40B4-BE49-F238E27FC236}">
                  <a16:creationId xmlns:a16="http://schemas.microsoft.com/office/drawing/2014/main" id="{4E303446-BD5A-4319-B025-0F28D1B5AD84}"/>
                </a:ext>
              </a:extLst>
            </p:cNvPr>
            <p:cNvSpPr/>
            <p:nvPr/>
          </p:nvSpPr>
          <p:spPr>
            <a:xfrm>
              <a:off x="6473912" y="1345572"/>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2" name="Freeform: Shape 2071">
              <a:extLst>
                <a:ext uri="{FF2B5EF4-FFF2-40B4-BE49-F238E27FC236}">
                  <a16:creationId xmlns:a16="http://schemas.microsoft.com/office/drawing/2014/main" id="{12E332CB-6953-4AB1-BD87-1C3B3A3A6BD0}"/>
                </a:ext>
              </a:extLst>
            </p:cNvPr>
            <p:cNvSpPr/>
            <p:nvPr/>
          </p:nvSpPr>
          <p:spPr>
            <a:xfrm>
              <a:off x="6575878" y="1286092"/>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7" y="15789"/>
                    <a:pt x="15789" y="20038"/>
                    <a:pt x="15789" y="25702"/>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3" name="Freeform: Shape 2072">
              <a:extLst>
                <a:ext uri="{FF2B5EF4-FFF2-40B4-BE49-F238E27FC236}">
                  <a16:creationId xmlns:a16="http://schemas.microsoft.com/office/drawing/2014/main" id="{E9C0E403-B9D2-4600-AD87-24C8D3DC0439}"/>
                </a:ext>
              </a:extLst>
            </p:cNvPr>
            <p:cNvSpPr/>
            <p:nvPr/>
          </p:nvSpPr>
          <p:spPr>
            <a:xfrm>
              <a:off x="6850619" y="1257769"/>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4" name="Freeform: Shape 2073">
              <a:extLst>
                <a:ext uri="{FF2B5EF4-FFF2-40B4-BE49-F238E27FC236}">
                  <a16:creationId xmlns:a16="http://schemas.microsoft.com/office/drawing/2014/main" id="{A7443AE5-DFB3-4E39-9159-424AF3F8A60C}"/>
                </a:ext>
              </a:extLst>
            </p:cNvPr>
            <p:cNvSpPr/>
            <p:nvPr/>
          </p:nvSpPr>
          <p:spPr>
            <a:xfrm>
              <a:off x="5948505" y="1814332"/>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5" name="Freeform: Shape 2074">
              <a:extLst>
                <a:ext uri="{FF2B5EF4-FFF2-40B4-BE49-F238E27FC236}">
                  <a16:creationId xmlns:a16="http://schemas.microsoft.com/office/drawing/2014/main" id="{5238BEDE-E9CD-4726-92BC-DBE5C9EFD35F}"/>
                </a:ext>
              </a:extLst>
            </p:cNvPr>
            <p:cNvSpPr/>
            <p:nvPr/>
          </p:nvSpPr>
          <p:spPr>
            <a:xfrm>
              <a:off x="5937176" y="1644389"/>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6" name="Freeform: Shape 2075">
              <a:extLst>
                <a:ext uri="{FF2B5EF4-FFF2-40B4-BE49-F238E27FC236}">
                  <a16:creationId xmlns:a16="http://schemas.microsoft.com/office/drawing/2014/main" id="{0344C629-7BC0-44F7-A554-B824CD764C42}"/>
                </a:ext>
              </a:extLst>
            </p:cNvPr>
            <p:cNvSpPr/>
            <p:nvPr/>
          </p:nvSpPr>
          <p:spPr>
            <a:xfrm>
              <a:off x="6631109" y="1689707"/>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7" name="Freeform: Shape 2076">
              <a:extLst>
                <a:ext uri="{FF2B5EF4-FFF2-40B4-BE49-F238E27FC236}">
                  <a16:creationId xmlns:a16="http://schemas.microsoft.com/office/drawing/2014/main" id="{0F60237F-109A-49DC-AE8F-9CAE9579BE79}"/>
                </a:ext>
              </a:extLst>
            </p:cNvPr>
            <p:cNvSpPr/>
            <p:nvPr/>
          </p:nvSpPr>
          <p:spPr>
            <a:xfrm>
              <a:off x="6539057" y="167412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1"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8" name="Freeform: Shape 2077">
              <a:extLst>
                <a:ext uri="{FF2B5EF4-FFF2-40B4-BE49-F238E27FC236}">
                  <a16:creationId xmlns:a16="http://schemas.microsoft.com/office/drawing/2014/main" id="{E378AA62-1FF5-45E9-AA4B-C57BB8C33136}"/>
                </a:ext>
              </a:extLst>
            </p:cNvPr>
            <p:cNvSpPr/>
            <p:nvPr/>
          </p:nvSpPr>
          <p:spPr>
            <a:xfrm>
              <a:off x="6516398" y="1431960"/>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1"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9" name="Freeform: Shape 2078">
              <a:extLst>
                <a:ext uri="{FF2B5EF4-FFF2-40B4-BE49-F238E27FC236}">
                  <a16:creationId xmlns:a16="http://schemas.microsoft.com/office/drawing/2014/main" id="{D197F6E2-D484-49DB-9FE0-84BEA3B6B79B}"/>
                </a:ext>
              </a:extLst>
            </p:cNvPr>
            <p:cNvSpPr/>
            <p:nvPr/>
          </p:nvSpPr>
          <p:spPr>
            <a:xfrm>
              <a:off x="6631109" y="1543839"/>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0" name="Freeform: Shape 2079">
              <a:extLst>
                <a:ext uri="{FF2B5EF4-FFF2-40B4-BE49-F238E27FC236}">
                  <a16:creationId xmlns:a16="http://schemas.microsoft.com/office/drawing/2014/main" id="{9BB8E758-D1D2-4C25-8BF3-88FBC0D9C09B}"/>
                </a:ext>
              </a:extLst>
            </p:cNvPr>
            <p:cNvSpPr/>
            <p:nvPr/>
          </p:nvSpPr>
          <p:spPr>
            <a:xfrm>
              <a:off x="6111367" y="2276010"/>
              <a:ext cx="84971" cy="84971"/>
            </a:xfrm>
            <a:custGeom>
              <a:avLst/>
              <a:gdLst>
                <a:gd name="connsiteX0" fmla="*/ 42697 w 84971"/>
                <a:gd name="connsiteY0" fmla="*/ 69604 h 84971"/>
                <a:gd name="connsiteX1" fmla="*/ 69604 w 84971"/>
                <a:gd name="connsiteY1" fmla="*/ 42697 h 84971"/>
                <a:gd name="connsiteX2" fmla="*/ 42697 w 84971"/>
                <a:gd name="connsiteY2" fmla="*/ 15789 h 84971"/>
                <a:gd name="connsiteX3" fmla="*/ 15789 w 84971"/>
                <a:gd name="connsiteY3" fmla="*/ 42697 h 84971"/>
                <a:gd name="connsiteX4" fmla="*/ 42697 w 84971"/>
                <a:gd name="connsiteY4" fmla="*/ 6960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7" y="69604"/>
                  </a:moveTo>
                  <a:cubicBezTo>
                    <a:pt x="56858" y="69604"/>
                    <a:pt x="69604" y="56859"/>
                    <a:pt x="69604" y="42697"/>
                  </a:cubicBezTo>
                  <a:cubicBezTo>
                    <a:pt x="69604" y="28535"/>
                    <a:pt x="56858" y="15789"/>
                    <a:pt x="42697" y="15789"/>
                  </a:cubicBezTo>
                  <a:cubicBezTo>
                    <a:pt x="28535" y="15789"/>
                    <a:pt x="15789" y="28535"/>
                    <a:pt x="15789" y="42697"/>
                  </a:cubicBezTo>
                  <a:cubicBezTo>
                    <a:pt x="15789" y="56859"/>
                    <a:pt x="28535" y="69604"/>
                    <a:pt x="42697" y="6960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1" name="Freeform: Shape 2080">
              <a:extLst>
                <a:ext uri="{FF2B5EF4-FFF2-40B4-BE49-F238E27FC236}">
                  <a16:creationId xmlns:a16="http://schemas.microsoft.com/office/drawing/2014/main" id="{1B38E630-920F-4A6C-B66B-0D2593193424}"/>
                </a:ext>
              </a:extLst>
            </p:cNvPr>
            <p:cNvSpPr/>
            <p:nvPr/>
          </p:nvSpPr>
          <p:spPr>
            <a:xfrm>
              <a:off x="6122697" y="2525259"/>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1280"/>
                    <a:pt x="49778" y="32783"/>
                  </a:cubicBezTo>
                  <a:cubicBezTo>
                    <a:pt x="49778" y="22870"/>
                    <a:pt x="41280" y="15789"/>
                    <a:pt x="32783" y="15789"/>
                  </a:cubicBezTo>
                  <a:cubicBezTo>
                    <a:pt x="22870" y="15789"/>
                    <a:pt x="15789" y="24286"/>
                    <a:pt x="15789" y="32783"/>
                  </a:cubicBezTo>
                  <a:cubicBezTo>
                    <a:pt x="15789" y="41280"/>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2" name="Freeform: Shape 2081">
              <a:extLst>
                <a:ext uri="{FF2B5EF4-FFF2-40B4-BE49-F238E27FC236}">
                  <a16:creationId xmlns:a16="http://schemas.microsoft.com/office/drawing/2014/main" id="{EF1435DF-B05F-4EDC-9E1D-280C60CFFED5}"/>
                </a:ext>
              </a:extLst>
            </p:cNvPr>
            <p:cNvSpPr/>
            <p:nvPr/>
          </p:nvSpPr>
          <p:spPr>
            <a:xfrm>
              <a:off x="5990991" y="2317079"/>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7"/>
                    <a:pt x="31367" y="15789"/>
                    <a:pt x="25702" y="15789"/>
                  </a:cubicBezTo>
                  <a:cubicBezTo>
                    <a:pt x="20037" y="15789"/>
                    <a:pt x="15789" y="20037"/>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3" name="Freeform: Shape 2082">
              <a:extLst>
                <a:ext uri="{FF2B5EF4-FFF2-40B4-BE49-F238E27FC236}">
                  <a16:creationId xmlns:a16="http://schemas.microsoft.com/office/drawing/2014/main" id="{DC4D02B7-9791-4513-A018-623858860D56}"/>
                </a:ext>
              </a:extLst>
            </p:cNvPr>
            <p:cNvSpPr/>
            <p:nvPr/>
          </p:nvSpPr>
          <p:spPr>
            <a:xfrm>
              <a:off x="6152437" y="2056500"/>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4" name="Freeform: Shape 2083">
              <a:extLst>
                <a:ext uri="{FF2B5EF4-FFF2-40B4-BE49-F238E27FC236}">
                  <a16:creationId xmlns:a16="http://schemas.microsoft.com/office/drawing/2014/main" id="{7B17E80F-D753-4014-BB03-DD49106B030D}"/>
                </a:ext>
              </a:extLst>
            </p:cNvPr>
            <p:cNvSpPr/>
            <p:nvPr/>
          </p:nvSpPr>
          <p:spPr>
            <a:xfrm>
              <a:off x="6376195" y="2345403"/>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8" y="15789"/>
                    <a:pt x="15789" y="20037"/>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5" name="Freeform: Shape 2084">
              <a:extLst>
                <a:ext uri="{FF2B5EF4-FFF2-40B4-BE49-F238E27FC236}">
                  <a16:creationId xmlns:a16="http://schemas.microsoft.com/office/drawing/2014/main" id="{AB11A4A4-9B2B-482C-9519-FEC06DB6B719}"/>
                </a:ext>
              </a:extLst>
            </p:cNvPr>
            <p:cNvSpPr/>
            <p:nvPr/>
          </p:nvSpPr>
          <p:spPr>
            <a:xfrm>
              <a:off x="6475328" y="2600318"/>
              <a:ext cx="84971" cy="84971"/>
            </a:xfrm>
            <a:custGeom>
              <a:avLst/>
              <a:gdLst>
                <a:gd name="connsiteX0" fmla="*/ 42697 w 84971"/>
                <a:gd name="connsiteY0" fmla="*/ 69604 h 84971"/>
                <a:gd name="connsiteX1" fmla="*/ 69605 w 84971"/>
                <a:gd name="connsiteY1" fmla="*/ 42697 h 84971"/>
                <a:gd name="connsiteX2" fmla="*/ 42697 w 84971"/>
                <a:gd name="connsiteY2" fmla="*/ 15789 h 84971"/>
                <a:gd name="connsiteX3" fmla="*/ 15789 w 84971"/>
                <a:gd name="connsiteY3" fmla="*/ 42697 h 84971"/>
                <a:gd name="connsiteX4" fmla="*/ 42697 w 84971"/>
                <a:gd name="connsiteY4" fmla="*/ 6960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7" y="69604"/>
                  </a:moveTo>
                  <a:cubicBezTo>
                    <a:pt x="56858" y="69604"/>
                    <a:pt x="69605" y="56858"/>
                    <a:pt x="69605" y="42697"/>
                  </a:cubicBezTo>
                  <a:cubicBezTo>
                    <a:pt x="69605" y="28535"/>
                    <a:pt x="56858" y="15789"/>
                    <a:pt x="42697" y="15789"/>
                  </a:cubicBezTo>
                  <a:cubicBezTo>
                    <a:pt x="28535" y="15789"/>
                    <a:pt x="15789" y="28535"/>
                    <a:pt x="15789" y="42697"/>
                  </a:cubicBezTo>
                  <a:cubicBezTo>
                    <a:pt x="15789" y="56858"/>
                    <a:pt x="28535" y="69604"/>
                    <a:pt x="42697" y="6960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6" name="Freeform: Shape 2085">
              <a:extLst>
                <a:ext uri="{FF2B5EF4-FFF2-40B4-BE49-F238E27FC236}">
                  <a16:creationId xmlns:a16="http://schemas.microsoft.com/office/drawing/2014/main" id="{A5AC9884-141C-4C7D-946A-2954FAAC72DA}"/>
                </a:ext>
              </a:extLst>
            </p:cNvPr>
            <p:cNvSpPr/>
            <p:nvPr/>
          </p:nvSpPr>
          <p:spPr>
            <a:xfrm>
              <a:off x="6560300" y="2169795"/>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7" name="Freeform: Shape 2086">
              <a:extLst>
                <a:ext uri="{FF2B5EF4-FFF2-40B4-BE49-F238E27FC236}">
                  <a16:creationId xmlns:a16="http://schemas.microsoft.com/office/drawing/2014/main" id="{0E544DFC-0772-4243-95E1-2CF739AA0608}"/>
                </a:ext>
              </a:extLst>
            </p:cNvPr>
            <p:cNvSpPr/>
            <p:nvPr/>
          </p:nvSpPr>
          <p:spPr>
            <a:xfrm>
              <a:off x="5978245" y="2499768"/>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8" name="Freeform: Shape 2087">
              <a:extLst>
                <a:ext uri="{FF2B5EF4-FFF2-40B4-BE49-F238E27FC236}">
                  <a16:creationId xmlns:a16="http://schemas.microsoft.com/office/drawing/2014/main" id="{2CD52EA9-09D8-48B8-BBAD-9468EA7EFF14}"/>
                </a:ext>
              </a:extLst>
            </p:cNvPr>
            <p:cNvSpPr/>
            <p:nvPr/>
          </p:nvSpPr>
          <p:spPr>
            <a:xfrm>
              <a:off x="5755903" y="2084824"/>
              <a:ext cx="70810" cy="70810"/>
            </a:xfrm>
            <a:custGeom>
              <a:avLst/>
              <a:gdLst>
                <a:gd name="connsiteX0" fmla="*/ 39864 w 70809"/>
                <a:gd name="connsiteY0" fmla="*/ 63940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2610" y="63940"/>
                    <a:pt x="63939" y="52610"/>
                    <a:pt x="63939" y="39864"/>
                  </a:cubicBezTo>
                  <a:cubicBezTo>
                    <a:pt x="63939" y="27119"/>
                    <a:pt x="52610" y="15789"/>
                    <a:pt x="39864" y="15789"/>
                  </a:cubicBezTo>
                  <a:cubicBezTo>
                    <a:pt x="27118" y="15789"/>
                    <a:pt x="15789" y="27119"/>
                    <a:pt x="15789" y="39864"/>
                  </a:cubicBezTo>
                  <a:cubicBezTo>
                    <a:pt x="15789" y="52610"/>
                    <a:pt x="27118"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9" name="Freeform: Shape 2088">
              <a:extLst>
                <a:ext uri="{FF2B5EF4-FFF2-40B4-BE49-F238E27FC236}">
                  <a16:creationId xmlns:a16="http://schemas.microsoft.com/office/drawing/2014/main" id="{B1D1BE12-77E9-4CA1-AEDC-4D563A9A4A99}"/>
                </a:ext>
              </a:extLst>
            </p:cNvPr>
            <p:cNvSpPr/>
            <p:nvPr/>
          </p:nvSpPr>
          <p:spPr>
            <a:xfrm>
              <a:off x="6578710" y="2502600"/>
              <a:ext cx="56648" cy="56648"/>
            </a:xfrm>
            <a:custGeom>
              <a:avLst/>
              <a:gdLst>
                <a:gd name="connsiteX0" fmla="*/ 49778 w 56647"/>
                <a:gd name="connsiteY0" fmla="*/ 32783 h 56647"/>
                <a:gd name="connsiteX1" fmla="*/ 32783 w 56647"/>
                <a:gd name="connsiteY1" fmla="*/ 49777 h 56647"/>
                <a:gd name="connsiteX2" fmla="*/ 15789 w 56647"/>
                <a:gd name="connsiteY2" fmla="*/ 32783 h 56647"/>
                <a:gd name="connsiteX3" fmla="*/ 32783 w 56647"/>
                <a:gd name="connsiteY3" fmla="*/ 15789 h 56647"/>
                <a:gd name="connsiteX4" fmla="*/ 49778 w 56647"/>
                <a:gd name="connsiteY4" fmla="*/ 3278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49778" y="32783"/>
                  </a:moveTo>
                  <a:cubicBezTo>
                    <a:pt x="49778" y="42169"/>
                    <a:pt x="42169" y="49777"/>
                    <a:pt x="32783" y="49777"/>
                  </a:cubicBezTo>
                  <a:cubicBezTo>
                    <a:pt x="23397" y="49777"/>
                    <a:pt x="15789" y="42169"/>
                    <a:pt x="15789" y="32783"/>
                  </a:cubicBezTo>
                  <a:cubicBezTo>
                    <a:pt x="15789" y="23398"/>
                    <a:pt x="23397" y="15789"/>
                    <a:pt x="32783" y="15789"/>
                  </a:cubicBezTo>
                  <a:cubicBezTo>
                    <a:pt x="42169" y="15789"/>
                    <a:pt x="49778" y="23398"/>
                    <a:pt x="49778"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0" name="Freeform: Shape 2089">
              <a:extLst>
                <a:ext uri="{FF2B5EF4-FFF2-40B4-BE49-F238E27FC236}">
                  <a16:creationId xmlns:a16="http://schemas.microsoft.com/office/drawing/2014/main" id="{10D1B822-8327-4B11-B1E7-B1F6A15A7223}"/>
                </a:ext>
              </a:extLst>
            </p:cNvPr>
            <p:cNvSpPr/>
            <p:nvPr/>
          </p:nvSpPr>
          <p:spPr>
            <a:xfrm>
              <a:off x="6371947" y="2083408"/>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1" name="Freeform: Shape 2090">
              <a:extLst>
                <a:ext uri="{FF2B5EF4-FFF2-40B4-BE49-F238E27FC236}">
                  <a16:creationId xmlns:a16="http://schemas.microsoft.com/office/drawing/2014/main" id="{6B63649C-DF63-4F70-AB36-5325475B1E4C}"/>
                </a:ext>
              </a:extLst>
            </p:cNvPr>
            <p:cNvSpPr/>
            <p:nvPr/>
          </p:nvSpPr>
          <p:spPr>
            <a:xfrm>
              <a:off x="6029228" y="1892222"/>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2" name="Freeform: Shape 2091">
              <a:extLst>
                <a:ext uri="{FF2B5EF4-FFF2-40B4-BE49-F238E27FC236}">
                  <a16:creationId xmlns:a16="http://schemas.microsoft.com/office/drawing/2014/main" id="{FB9F33C7-E6CF-4BF3-BC60-A5C4699063E8}"/>
                </a:ext>
              </a:extLst>
            </p:cNvPr>
            <p:cNvSpPr/>
            <p:nvPr/>
          </p:nvSpPr>
          <p:spPr>
            <a:xfrm>
              <a:off x="5957002" y="2079159"/>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3" name="Freeform: Shape 2092">
              <a:extLst>
                <a:ext uri="{FF2B5EF4-FFF2-40B4-BE49-F238E27FC236}">
                  <a16:creationId xmlns:a16="http://schemas.microsoft.com/office/drawing/2014/main" id="{350A3443-9F33-49FA-A32B-DC9498855C8C}"/>
                </a:ext>
              </a:extLst>
            </p:cNvPr>
            <p:cNvSpPr/>
            <p:nvPr/>
          </p:nvSpPr>
          <p:spPr>
            <a:xfrm>
              <a:off x="6050471" y="2025344"/>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4" name="Freeform: Shape 2093">
              <a:extLst>
                <a:ext uri="{FF2B5EF4-FFF2-40B4-BE49-F238E27FC236}">
                  <a16:creationId xmlns:a16="http://schemas.microsoft.com/office/drawing/2014/main" id="{3C2E43CA-1590-4279-BE0B-26F9D4CCB247}"/>
                </a:ext>
              </a:extLst>
            </p:cNvPr>
            <p:cNvSpPr/>
            <p:nvPr/>
          </p:nvSpPr>
          <p:spPr>
            <a:xfrm>
              <a:off x="6700503" y="2338322"/>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1" y="49777"/>
                    <a:pt x="49778" y="42697"/>
                    <a:pt x="49778" y="32783"/>
                  </a:cubicBezTo>
                  <a:cubicBezTo>
                    <a:pt x="49778" y="24286"/>
                    <a:pt x="42697" y="15789"/>
                    <a:pt x="32783" y="15789"/>
                  </a:cubicBezTo>
                  <a:cubicBezTo>
                    <a:pt x="24286" y="15789"/>
                    <a:pt x="15789" y="22870"/>
                    <a:pt x="15789" y="32783"/>
                  </a:cubicBezTo>
                  <a:cubicBezTo>
                    <a:pt x="15789" y="41280"/>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5" name="Freeform: Shape 2094">
              <a:extLst>
                <a:ext uri="{FF2B5EF4-FFF2-40B4-BE49-F238E27FC236}">
                  <a16:creationId xmlns:a16="http://schemas.microsoft.com/office/drawing/2014/main" id="{17859574-37F0-4DCC-B20F-4BA5271F6944}"/>
                </a:ext>
              </a:extLst>
            </p:cNvPr>
            <p:cNvSpPr/>
            <p:nvPr/>
          </p:nvSpPr>
          <p:spPr>
            <a:xfrm>
              <a:off x="5886193" y="2382224"/>
              <a:ext cx="84971" cy="84971"/>
            </a:xfrm>
            <a:custGeom>
              <a:avLst/>
              <a:gdLst>
                <a:gd name="connsiteX0" fmla="*/ 45529 w 84971"/>
                <a:gd name="connsiteY0" fmla="*/ 15789 h 84971"/>
                <a:gd name="connsiteX1" fmla="*/ 75269 w 84971"/>
                <a:gd name="connsiteY1" fmla="*/ 45529 h 84971"/>
                <a:gd name="connsiteX2" fmla="*/ 45529 w 84971"/>
                <a:gd name="connsiteY2" fmla="*/ 75269 h 84971"/>
                <a:gd name="connsiteX3" fmla="*/ 15789 w 84971"/>
                <a:gd name="connsiteY3" fmla="*/ 45529 h 84971"/>
                <a:gd name="connsiteX4" fmla="*/ 45529 w 84971"/>
                <a:gd name="connsiteY4" fmla="*/ 15789 h 84971"/>
                <a:gd name="connsiteX5" fmla="*/ 45529 w 84971"/>
                <a:gd name="connsiteY5" fmla="*/ 15789 h 84971"/>
                <a:gd name="connsiteX6" fmla="*/ 45529 w 84971"/>
                <a:gd name="connsiteY6" fmla="*/ 28535 h 84971"/>
                <a:gd name="connsiteX7" fmla="*/ 28535 w 84971"/>
                <a:gd name="connsiteY7" fmla="*/ 45529 h 84971"/>
                <a:gd name="connsiteX8" fmla="*/ 45529 w 84971"/>
                <a:gd name="connsiteY8" fmla="*/ 62523 h 84971"/>
                <a:gd name="connsiteX9" fmla="*/ 62524 w 84971"/>
                <a:gd name="connsiteY9" fmla="*/ 45529 h 84971"/>
                <a:gd name="connsiteX10" fmla="*/ 45529 w 84971"/>
                <a:gd name="connsiteY10" fmla="*/ 28535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5529" y="15789"/>
                  </a:moveTo>
                  <a:cubicBezTo>
                    <a:pt x="62524" y="15789"/>
                    <a:pt x="75269" y="28535"/>
                    <a:pt x="75269" y="45529"/>
                  </a:cubicBezTo>
                  <a:cubicBezTo>
                    <a:pt x="75269" y="62523"/>
                    <a:pt x="62524" y="75269"/>
                    <a:pt x="45529" y="75269"/>
                  </a:cubicBezTo>
                  <a:cubicBezTo>
                    <a:pt x="28535" y="75269"/>
                    <a:pt x="15789" y="62523"/>
                    <a:pt x="15789" y="45529"/>
                  </a:cubicBezTo>
                  <a:cubicBezTo>
                    <a:pt x="15789" y="28535"/>
                    <a:pt x="28535" y="15789"/>
                    <a:pt x="45529" y="15789"/>
                  </a:cubicBezTo>
                  <a:lnTo>
                    <a:pt x="45529" y="15789"/>
                  </a:lnTo>
                  <a:close/>
                  <a:moveTo>
                    <a:pt x="45529" y="28535"/>
                  </a:moveTo>
                  <a:cubicBezTo>
                    <a:pt x="35616" y="28535"/>
                    <a:pt x="28535" y="35616"/>
                    <a:pt x="28535" y="45529"/>
                  </a:cubicBezTo>
                  <a:cubicBezTo>
                    <a:pt x="28535" y="55442"/>
                    <a:pt x="35616" y="62523"/>
                    <a:pt x="45529" y="62523"/>
                  </a:cubicBezTo>
                  <a:cubicBezTo>
                    <a:pt x="55443" y="62523"/>
                    <a:pt x="62524" y="55442"/>
                    <a:pt x="62524" y="45529"/>
                  </a:cubicBezTo>
                  <a:cubicBezTo>
                    <a:pt x="62524" y="35616"/>
                    <a:pt x="55443" y="28535"/>
                    <a:pt x="45529" y="2853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6" name="Freeform: Shape 2095">
              <a:extLst>
                <a:ext uri="{FF2B5EF4-FFF2-40B4-BE49-F238E27FC236}">
                  <a16:creationId xmlns:a16="http://schemas.microsoft.com/office/drawing/2014/main" id="{C12E7102-6D5C-40DD-B4B9-4BD1CF2D99C7}"/>
                </a:ext>
              </a:extLst>
            </p:cNvPr>
            <p:cNvSpPr/>
            <p:nvPr/>
          </p:nvSpPr>
          <p:spPr>
            <a:xfrm>
              <a:off x="7104117" y="2467195"/>
              <a:ext cx="84971" cy="84971"/>
            </a:xfrm>
            <a:custGeom>
              <a:avLst/>
              <a:gdLst>
                <a:gd name="connsiteX0" fmla="*/ 45529 w 84971"/>
                <a:gd name="connsiteY0" fmla="*/ 15789 h 84971"/>
                <a:gd name="connsiteX1" fmla="*/ 75269 w 84971"/>
                <a:gd name="connsiteY1" fmla="*/ 45529 h 84971"/>
                <a:gd name="connsiteX2" fmla="*/ 45529 w 84971"/>
                <a:gd name="connsiteY2" fmla="*/ 75269 h 84971"/>
                <a:gd name="connsiteX3" fmla="*/ 15789 w 84971"/>
                <a:gd name="connsiteY3" fmla="*/ 45529 h 84971"/>
                <a:gd name="connsiteX4" fmla="*/ 45529 w 84971"/>
                <a:gd name="connsiteY4" fmla="*/ 15789 h 84971"/>
                <a:gd name="connsiteX5" fmla="*/ 45529 w 84971"/>
                <a:gd name="connsiteY5" fmla="*/ 15789 h 84971"/>
                <a:gd name="connsiteX6" fmla="*/ 45529 w 84971"/>
                <a:gd name="connsiteY6" fmla="*/ 28535 h 84971"/>
                <a:gd name="connsiteX7" fmla="*/ 28535 w 84971"/>
                <a:gd name="connsiteY7" fmla="*/ 45529 h 84971"/>
                <a:gd name="connsiteX8" fmla="*/ 45529 w 84971"/>
                <a:gd name="connsiteY8" fmla="*/ 62523 h 84971"/>
                <a:gd name="connsiteX9" fmla="*/ 62524 w 84971"/>
                <a:gd name="connsiteY9" fmla="*/ 45529 h 84971"/>
                <a:gd name="connsiteX10" fmla="*/ 45529 w 84971"/>
                <a:gd name="connsiteY10" fmla="*/ 28535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5529" y="15789"/>
                  </a:moveTo>
                  <a:cubicBezTo>
                    <a:pt x="62524" y="15789"/>
                    <a:pt x="75269" y="28535"/>
                    <a:pt x="75269" y="45529"/>
                  </a:cubicBezTo>
                  <a:cubicBezTo>
                    <a:pt x="75269" y="62523"/>
                    <a:pt x="62524" y="75269"/>
                    <a:pt x="45529" y="75269"/>
                  </a:cubicBezTo>
                  <a:cubicBezTo>
                    <a:pt x="28535" y="75269"/>
                    <a:pt x="15789" y="62523"/>
                    <a:pt x="15789" y="45529"/>
                  </a:cubicBezTo>
                  <a:cubicBezTo>
                    <a:pt x="15789" y="28535"/>
                    <a:pt x="28535" y="15789"/>
                    <a:pt x="45529" y="15789"/>
                  </a:cubicBezTo>
                  <a:lnTo>
                    <a:pt x="45529" y="15789"/>
                  </a:lnTo>
                  <a:close/>
                  <a:moveTo>
                    <a:pt x="45529" y="28535"/>
                  </a:moveTo>
                  <a:cubicBezTo>
                    <a:pt x="35616" y="28535"/>
                    <a:pt x="28535" y="35616"/>
                    <a:pt x="28535" y="45529"/>
                  </a:cubicBezTo>
                  <a:cubicBezTo>
                    <a:pt x="28535" y="55442"/>
                    <a:pt x="35616" y="62523"/>
                    <a:pt x="45529" y="62523"/>
                  </a:cubicBezTo>
                  <a:cubicBezTo>
                    <a:pt x="55443" y="62523"/>
                    <a:pt x="62524" y="55442"/>
                    <a:pt x="62524" y="45529"/>
                  </a:cubicBezTo>
                  <a:cubicBezTo>
                    <a:pt x="62524" y="35616"/>
                    <a:pt x="55443" y="28535"/>
                    <a:pt x="45529" y="2853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7" name="Freeform: Shape 2096">
              <a:extLst>
                <a:ext uri="{FF2B5EF4-FFF2-40B4-BE49-F238E27FC236}">
                  <a16:creationId xmlns:a16="http://schemas.microsoft.com/office/drawing/2014/main" id="{9B8484F0-ECCE-4007-B86F-E0CF0FC15026}"/>
                </a:ext>
              </a:extLst>
            </p:cNvPr>
            <p:cNvSpPr/>
            <p:nvPr/>
          </p:nvSpPr>
          <p:spPr>
            <a:xfrm>
              <a:off x="6186425" y="2076327"/>
              <a:ext cx="70810" cy="70810"/>
            </a:xfrm>
            <a:custGeom>
              <a:avLst/>
              <a:gdLst>
                <a:gd name="connsiteX0" fmla="*/ 63939 w 70809"/>
                <a:gd name="connsiteY0" fmla="*/ 39864 h 70809"/>
                <a:gd name="connsiteX1" fmla="*/ 39864 w 70809"/>
                <a:gd name="connsiteY1" fmla="*/ 63939 h 70809"/>
                <a:gd name="connsiteX2" fmla="*/ 15789 w 70809"/>
                <a:gd name="connsiteY2" fmla="*/ 39864 h 70809"/>
                <a:gd name="connsiteX3" fmla="*/ 39864 w 70809"/>
                <a:gd name="connsiteY3" fmla="*/ 15789 h 70809"/>
                <a:gd name="connsiteX4" fmla="*/ 63939 w 70809"/>
                <a:gd name="connsiteY4" fmla="*/ 3986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3939" y="39864"/>
                  </a:moveTo>
                  <a:cubicBezTo>
                    <a:pt x="63939" y="53161"/>
                    <a:pt x="53161" y="63939"/>
                    <a:pt x="39864" y="63939"/>
                  </a:cubicBezTo>
                  <a:cubicBezTo>
                    <a:pt x="26568" y="63939"/>
                    <a:pt x="15789" y="53161"/>
                    <a:pt x="15789" y="39864"/>
                  </a:cubicBezTo>
                  <a:cubicBezTo>
                    <a:pt x="15789" y="26568"/>
                    <a:pt x="26567" y="15789"/>
                    <a:pt x="39864" y="15789"/>
                  </a:cubicBezTo>
                  <a:cubicBezTo>
                    <a:pt x="53160" y="15789"/>
                    <a:pt x="63939" y="26568"/>
                    <a:pt x="63939"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8" name="Freeform: Shape 2097">
              <a:extLst>
                <a:ext uri="{FF2B5EF4-FFF2-40B4-BE49-F238E27FC236}">
                  <a16:creationId xmlns:a16="http://schemas.microsoft.com/office/drawing/2014/main" id="{958A1158-4EAA-4EBB-8787-BE8B8792BD21}"/>
                </a:ext>
              </a:extLst>
            </p:cNvPr>
            <p:cNvSpPr/>
            <p:nvPr/>
          </p:nvSpPr>
          <p:spPr>
            <a:xfrm>
              <a:off x="6480993" y="2489855"/>
              <a:ext cx="70810" cy="70810"/>
            </a:xfrm>
            <a:custGeom>
              <a:avLst/>
              <a:gdLst>
                <a:gd name="connsiteX0" fmla="*/ 39864 w 70809"/>
                <a:gd name="connsiteY0" fmla="*/ 63939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40" y="52610"/>
                    <a:pt x="63940" y="39864"/>
                  </a:cubicBezTo>
                  <a:cubicBezTo>
                    <a:pt x="63940" y="27119"/>
                    <a:pt x="52610" y="15789"/>
                    <a:pt x="39864" y="15789"/>
                  </a:cubicBezTo>
                  <a:cubicBezTo>
                    <a:pt x="27119" y="15789"/>
                    <a:pt x="15789" y="27119"/>
                    <a:pt x="15789" y="39864"/>
                  </a:cubicBezTo>
                  <a:cubicBezTo>
                    <a:pt x="15789" y="52610"/>
                    <a:pt x="27119" y="63939"/>
                    <a:pt x="3986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9" name="Freeform: Shape 2098">
              <a:extLst>
                <a:ext uri="{FF2B5EF4-FFF2-40B4-BE49-F238E27FC236}">
                  <a16:creationId xmlns:a16="http://schemas.microsoft.com/office/drawing/2014/main" id="{664D6854-3E2B-4886-BD5D-D56E2F4205CE}"/>
                </a:ext>
              </a:extLst>
            </p:cNvPr>
            <p:cNvSpPr/>
            <p:nvPr/>
          </p:nvSpPr>
          <p:spPr>
            <a:xfrm>
              <a:off x="7249985" y="1329994"/>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0" name="Freeform: Shape 2099">
              <a:extLst>
                <a:ext uri="{FF2B5EF4-FFF2-40B4-BE49-F238E27FC236}">
                  <a16:creationId xmlns:a16="http://schemas.microsoft.com/office/drawing/2014/main" id="{E591CC15-89B1-4866-B9D5-6CEC7E1FA095}"/>
                </a:ext>
              </a:extLst>
            </p:cNvPr>
            <p:cNvSpPr/>
            <p:nvPr/>
          </p:nvSpPr>
          <p:spPr>
            <a:xfrm>
              <a:off x="7119695" y="1313000"/>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1" y="49778"/>
                    <a:pt x="49778" y="42697"/>
                    <a:pt x="49778" y="32783"/>
                  </a:cubicBezTo>
                  <a:cubicBezTo>
                    <a:pt x="49778" y="22870"/>
                    <a:pt x="42697" y="15789"/>
                    <a:pt x="32783" y="15789"/>
                  </a:cubicBezTo>
                  <a:cubicBezTo>
                    <a:pt x="24286"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1" name="Freeform: Shape 2100">
              <a:extLst>
                <a:ext uri="{FF2B5EF4-FFF2-40B4-BE49-F238E27FC236}">
                  <a16:creationId xmlns:a16="http://schemas.microsoft.com/office/drawing/2014/main" id="{F84FE36E-8B73-4B8C-863F-4DE3605EF620}"/>
                </a:ext>
              </a:extLst>
            </p:cNvPr>
            <p:cNvSpPr/>
            <p:nvPr/>
          </p:nvSpPr>
          <p:spPr>
            <a:xfrm>
              <a:off x="7058799" y="1744938"/>
              <a:ext cx="56648" cy="56648"/>
            </a:xfrm>
            <a:custGeom>
              <a:avLst/>
              <a:gdLst>
                <a:gd name="connsiteX0" fmla="*/ 52610 w 56647"/>
                <a:gd name="connsiteY0" fmla="*/ 34199 h 56647"/>
                <a:gd name="connsiteX1" fmla="*/ 34200 w 56647"/>
                <a:gd name="connsiteY1" fmla="*/ 52610 h 56647"/>
                <a:gd name="connsiteX2" fmla="*/ 15790 w 56647"/>
                <a:gd name="connsiteY2" fmla="*/ 34199 h 56647"/>
                <a:gd name="connsiteX3" fmla="*/ 34200 w 56647"/>
                <a:gd name="connsiteY3" fmla="*/ 15789 h 56647"/>
                <a:gd name="connsiteX4" fmla="*/ 52610 w 56647"/>
                <a:gd name="connsiteY4" fmla="*/ 3419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52610" y="34199"/>
                  </a:moveTo>
                  <a:cubicBezTo>
                    <a:pt x="52610" y="44367"/>
                    <a:pt x="44367" y="52610"/>
                    <a:pt x="34200" y="52610"/>
                  </a:cubicBezTo>
                  <a:cubicBezTo>
                    <a:pt x="24032" y="52610"/>
                    <a:pt x="15790" y="44367"/>
                    <a:pt x="15790" y="34199"/>
                  </a:cubicBezTo>
                  <a:cubicBezTo>
                    <a:pt x="15790" y="24032"/>
                    <a:pt x="24032" y="15789"/>
                    <a:pt x="34200" y="15789"/>
                  </a:cubicBezTo>
                  <a:cubicBezTo>
                    <a:pt x="44367" y="15789"/>
                    <a:pt x="52610" y="24032"/>
                    <a:pt x="52610" y="341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2" name="Freeform: Shape 2101">
              <a:extLst>
                <a:ext uri="{FF2B5EF4-FFF2-40B4-BE49-F238E27FC236}">
                  <a16:creationId xmlns:a16="http://schemas.microsoft.com/office/drawing/2014/main" id="{37E1CC68-7E8C-4104-A7DC-6DD694EF6D83}"/>
                </a:ext>
              </a:extLst>
            </p:cNvPr>
            <p:cNvSpPr/>
            <p:nvPr/>
          </p:nvSpPr>
          <p:spPr>
            <a:xfrm>
              <a:off x="6949752" y="1740690"/>
              <a:ext cx="84971" cy="84971"/>
            </a:xfrm>
            <a:custGeom>
              <a:avLst/>
              <a:gdLst>
                <a:gd name="connsiteX0" fmla="*/ 78101 w 84971"/>
                <a:gd name="connsiteY0" fmla="*/ 46945 h 84971"/>
                <a:gd name="connsiteX1" fmla="*/ 46945 w 84971"/>
                <a:gd name="connsiteY1" fmla="*/ 78101 h 84971"/>
                <a:gd name="connsiteX2" fmla="*/ 15788 w 84971"/>
                <a:gd name="connsiteY2" fmla="*/ 46945 h 84971"/>
                <a:gd name="connsiteX3" fmla="*/ 46945 w 84971"/>
                <a:gd name="connsiteY3" fmla="*/ 15789 h 84971"/>
                <a:gd name="connsiteX4" fmla="*/ 78101 w 84971"/>
                <a:gd name="connsiteY4" fmla="*/ 46945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78101" y="46945"/>
                  </a:moveTo>
                  <a:cubicBezTo>
                    <a:pt x="78101" y="64152"/>
                    <a:pt x="64152" y="78101"/>
                    <a:pt x="46945" y="78101"/>
                  </a:cubicBezTo>
                  <a:cubicBezTo>
                    <a:pt x="29738" y="78101"/>
                    <a:pt x="15788" y="64152"/>
                    <a:pt x="15788" y="46945"/>
                  </a:cubicBezTo>
                  <a:cubicBezTo>
                    <a:pt x="15788" y="29738"/>
                    <a:pt x="29738" y="15789"/>
                    <a:pt x="46945" y="15789"/>
                  </a:cubicBezTo>
                  <a:cubicBezTo>
                    <a:pt x="64152" y="15789"/>
                    <a:pt x="78101" y="29738"/>
                    <a:pt x="78101"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3" name="Freeform: Shape 2102">
              <a:extLst>
                <a:ext uri="{FF2B5EF4-FFF2-40B4-BE49-F238E27FC236}">
                  <a16:creationId xmlns:a16="http://schemas.microsoft.com/office/drawing/2014/main" id="{542F2F39-E97E-4334-9844-C7DD3CB545BF}"/>
                </a:ext>
              </a:extLst>
            </p:cNvPr>
            <p:cNvSpPr/>
            <p:nvPr/>
          </p:nvSpPr>
          <p:spPr>
            <a:xfrm>
              <a:off x="8633604" y="1630227"/>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7" y="15789"/>
                    <a:pt x="15789" y="22870"/>
                    <a:pt x="15789" y="32783"/>
                  </a:cubicBezTo>
                  <a:cubicBezTo>
                    <a:pt x="17206" y="42697"/>
                    <a:pt x="24287"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4" name="Freeform: Shape 2103">
              <a:extLst>
                <a:ext uri="{FF2B5EF4-FFF2-40B4-BE49-F238E27FC236}">
                  <a16:creationId xmlns:a16="http://schemas.microsoft.com/office/drawing/2014/main" id="{98325D6E-2748-4ECF-8B83-F689E2D7C0C9}"/>
                </a:ext>
              </a:extLst>
            </p:cNvPr>
            <p:cNvSpPr/>
            <p:nvPr/>
          </p:nvSpPr>
          <p:spPr>
            <a:xfrm>
              <a:off x="7953832" y="1039675"/>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4200" y="38448"/>
                    <a:pt x="38448" y="32783"/>
                    <a:pt x="38448" y="27119"/>
                  </a:cubicBezTo>
                  <a:cubicBezTo>
                    <a:pt x="38448" y="20038"/>
                    <a:pt x="32783" y="15789"/>
                    <a:pt x="27119" y="15789"/>
                  </a:cubicBezTo>
                  <a:cubicBezTo>
                    <a:pt x="20038" y="15789"/>
                    <a:pt x="15789" y="21454"/>
                    <a:pt x="15789" y="27119"/>
                  </a:cubicBezTo>
                  <a:cubicBezTo>
                    <a:pt x="15789" y="34199"/>
                    <a:pt x="21454"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5" name="Freeform: Shape 2104">
              <a:extLst>
                <a:ext uri="{FF2B5EF4-FFF2-40B4-BE49-F238E27FC236}">
                  <a16:creationId xmlns:a16="http://schemas.microsoft.com/office/drawing/2014/main" id="{038EFB0A-CC0D-4557-A71B-4D85E2F597DF}"/>
                </a:ext>
              </a:extLst>
            </p:cNvPr>
            <p:cNvSpPr/>
            <p:nvPr/>
          </p:nvSpPr>
          <p:spPr>
            <a:xfrm>
              <a:off x="8470742" y="87964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7" y="15789"/>
                    <a:pt x="15789" y="22870"/>
                    <a:pt x="15789" y="32783"/>
                  </a:cubicBezTo>
                  <a:cubicBezTo>
                    <a:pt x="17206" y="42697"/>
                    <a:pt x="24287"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6" name="Freeform: Shape 2105">
              <a:extLst>
                <a:ext uri="{FF2B5EF4-FFF2-40B4-BE49-F238E27FC236}">
                  <a16:creationId xmlns:a16="http://schemas.microsoft.com/office/drawing/2014/main" id="{E6AD080D-1141-4B17-878F-18DD16BE373C}"/>
                </a:ext>
              </a:extLst>
            </p:cNvPr>
            <p:cNvSpPr/>
            <p:nvPr/>
          </p:nvSpPr>
          <p:spPr>
            <a:xfrm>
              <a:off x="8299383" y="1157219"/>
              <a:ext cx="56648" cy="56648"/>
            </a:xfrm>
            <a:custGeom>
              <a:avLst/>
              <a:gdLst>
                <a:gd name="connsiteX0" fmla="*/ 32783 w 56647"/>
                <a:gd name="connsiteY0" fmla="*/ 49778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7" y="42697"/>
                    <a:pt x="49777" y="32783"/>
                  </a:cubicBezTo>
                  <a:cubicBezTo>
                    <a:pt x="49777" y="24286"/>
                    <a:pt x="42696" y="15789"/>
                    <a:pt x="32783" y="15789"/>
                  </a:cubicBezTo>
                  <a:cubicBezTo>
                    <a:pt x="24286"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7" name="Freeform: Shape 2106">
              <a:extLst>
                <a:ext uri="{FF2B5EF4-FFF2-40B4-BE49-F238E27FC236}">
                  <a16:creationId xmlns:a16="http://schemas.microsoft.com/office/drawing/2014/main" id="{EA6DA9C4-0147-4D8D-9DE2-009CF05F2C93}"/>
                </a:ext>
              </a:extLst>
            </p:cNvPr>
            <p:cNvSpPr/>
            <p:nvPr/>
          </p:nvSpPr>
          <p:spPr>
            <a:xfrm>
              <a:off x="7527559" y="1696788"/>
              <a:ext cx="42486" cy="42486"/>
            </a:xfrm>
            <a:custGeom>
              <a:avLst/>
              <a:gdLst>
                <a:gd name="connsiteX0" fmla="*/ 32783 w 42485"/>
                <a:gd name="connsiteY0" fmla="*/ 24286 h 42485"/>
                <a:gd name="connsiteX1" fmla="*/ 24286 w 42485"/>
                <a:gd name="connsiteY1" fmla="*/ 32783 h 42485"/>
                <a:gd name="connsiteX2" fmla="*/ 15789 w 42485"/>
                <a:gd name="connsiteY2" fmla="*/ 24286 h 42485"/>
                <a:gd name="connsiteX3" fmla="*/ 24286 w 42485"/>
                <a:gd name="connsiteY3" fmla="*/ 15789 h 42485"/>
                <a:gd name="connsiteX4" fmla="*/ 32783 w 42485"/>
                <a:gd name="connsiteY4" fmla="*/ 2428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3" y="24286"/>
                  </a:moveTo>
                  <a:cubicBezTo>
                    <a:pt x="32783" y="28979"/>
                    <a:pt x="28979" y="32783"/>
                    <a:pt x="24286" y="32783"/>
                  </a:cubicBezTo>
                  <a:cubicBezTo>
                    <a:pt x="19593" y="32783"/>
                    <a:pt x="15789" y="28979"/>
                    <a:pt x="15789" y="24286"/>
                  </a:cubicBezTo>
                  <a:cubicBezTo>
                    <a:pt x="15789" y="19593"/>
                    <a:pt x="19593" y="15789"/>
                    <a:pt x="24286" y="15789"/>
                  </a:cubicBezTo>
                  <a:cubicBezTo>
                    <a:pt x="28979" y="15789"/>
                    <a:pt x="32783" y="19593"/>
                    <a:pt x="32783"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8" name="Freeform: Shape 2107">
              <a:extLst>
                <a:ext uri="{FF2B5EF4-FFF2-40B4-BE49-F238E27FC236}">
                  <a16:creationId xmlns:a16="http://schemas.microsoft.com/office/drawing/2014/main" id="{3398BD9A-E113-49C9-BD4C-FEFDEE2A5DEF}"/>
                </a:ext>
              </a:extLst>
            </p:cNvPr>
            <p:cNvSpPr/>
            <p:nvPr/>
          </p:nvSpPr>
          <p:spPr>
            <a:xfrm>
              <a:off x="9847280" y="5526168"/>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1280"/>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9" name="Freeform: Shape 2108">
              <a:extLst>
                <a:ext uri="{FF2B5EF4-FFF2-40B4-BE49-F238E27FC236}">
                  <a16:creationId xmlns:a16="http://schemas.microsoft.com/office/drawing/2014/main" id="{B3D43372-CBFA-46CE-851D-A2B6489C3B91}"/>
                </a:ext>
              </a:extLst>
            </p:cNvPr>
            <p:cNvSpPr/>
            <p:nvPr/>
          </p:nvSpPr>
          <p:spPr>
            <a:xfrm>
              <a:off x="9226988" y="5316571"/>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8"/>
                    <a:pt x="28534" y="15789"/>
                    <a:pt x="24286" y="15789"/>
                  </a:cubicBezTo>
                  <a:cubicBezTo>
                    <a:pt x="20037" y="15789"/>
                    <a:pt x="15789" y="20038"/>
                    <a:pt x="15789" y="24286"/>
                  </a:cubicBezTo>
                  <a:cubicBezTo>
                    <a:pt x="15789" y="28535"/>
                    <a:pt x="18622"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0" name="Freeform: Shape 2109">
              <a:extLst>
                <a:ext uri="{FF2B5EF4-FFF2-40B4-BE49-F238E27FC236}">
                  <a16:creationId xmlns:a16="http://schemas.microsoft.com/office/drawing/2014/main" id="{177C6424-117D-4A9D-9D21-2C5A9F2D6D2D}"/>
                </a:ext>
              </a:extLst>
            </p:cNvPr>
            <p:cNvSpPr/>
            <p:nvPr/>
          </p:nvSpPr>
          <p:spPr>
            <a:xfrm>
              <a:off x="9192999" y="5157958"/>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7"/>
                    <a:pt x="28535" y="15789"/>
                    <a:pt x="24287" y="15789"/>
                  </a:cubicBezTo>
                  <a:cubicBezTo>
                    <a:pt x="20037" y="15789"/>
                    <a:pt x="15789" y="20037"/>
                    <a:pt x="15789" y="24286"/>
                  </a:cubicBezTo>
                  <a:cubicBezTo>
                    <a:pt x="15789" y="29951"/>
                    <a:pt x="18622" y="32783"/>
                    <a:pt x="24287"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1" name="Freeform: Shape 2110">
              <a:extLst>
                <a:ext uri="{FF2B5EF4-FFF2-40B4-BE49-F238E27FC236}">
                  <a16:creationId xmlns:a16="http://schemas.microsoft.com/office/drawing/2014/main" id="{EBBBF903-49C6-41AF-BF81-190647C3965E}"/>
                </a:ext>
              </a:extLst>
            </p:cNvPr>
            <p:cNvSpPr/>
            <p:nvPr/>
          </p:nvSpPr>
          <p:spPr>
            <a:xfrm>
              <a:off x="9647597" y="5459607"/>
              <a:ext cx="42486" cy="42486"/>
            </a:xfrm>
            <a:custGeom>
              <a:avLst/>
              <a:gdLst>
                <a:gd name="connsiteX0" fmla="*/ 32783 w 42485"/>
                <a:gd name="connsiteY0" fmla="*/ 24286 h 42485"/>
                <a:gd name="connsiteX1" fmla="*/ 24286 w 42485"/>
                <a:gd name="connsiteY1" fmla="*/ 32783 h 42485"/>
                <a:gd name="connsiteX2" fmla="*/ 15789 w 42485"/>
                <a:gd name="connsiteY2" fmla="*/ 24286 h 42485"/>
                <a:gd name="connsiteX3" fmla="*/ 24286 w 42485"/>
                <a:gd name="connsiteY3" fmla="*/ 15789 h 42485"/>
                <a:gd name="connsiteX4" fmla="*/ 32783 w 42485"/>
                <a:gd name="connsiteY4" fmla="*/ 2428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3" y="24286"/>
                  </a:moveTo>
                  <a:cubicBezTo>
                    <a:pt x="32783" y="28979"/>
                    <a:pt x="28979" y="32783"/>
                    <a:pt x="24286" y="32783"/>
                  </a:cubicBezTo>
                  <a:cubicBezTo>
                    <a:pt x="19593" y="32783"/>
                    <a:pt x="15789" y="28979"/>
                    <a:pt x="15789" y="24286"/>
                  </a:cubicBezTo>
                  <a:cubicBezTo>
                    <a:pt x="15789" y="19594"/>
                    <a:pt x="19593" y="15789"/>
                    <a:pt x="24286" y="15789"/>
                  </a:cubicBezTo>
                  <a:cubicBezTo>
                    <a:pt x="28979" y="15789"/>
                    <a:pt x="32783" y="19593"/>
                    <a:pt x="32783"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2" name="Freeform: Shape 2111">
              <a:extLst>
                <a:ext uri="{FF2B5EF4-FFF2-40B4-BE49-F238E27FC236}">
                  <a16:creationId xmlns:a16="http://schemas.microsoft.com/office/drawing/2014/main" id="{71210B01-C49C-4C06-8821-B7D55CBC1BD7}"/>
                </a:ext>
              </a:extLst>
            </p:cNvPr>
            <p:cNvSpPr/>
            <p:nvPr/>
          </p:nvSpPr>
          <p:spPr>
            <a:xfrm>
              <a:off x="10299045" y="512821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7"/>
                    <a:pt x="28534" y="15789"/>
                    <a:pt x="24286" y="15789"/>
                  </a:cubicBezTo>
                  <a:cubicBezTo>
                    <a:pt x="20037" y="15789"/>
                    <a:pt x="15789" y="20037"/>
                    <a:pt x="15789" y="24286"/>
                  </a:cubicBezTo>
                  <a:cubicBezTo>
                    <a:pt x="15789" y="28535"/>
                    <a:pt x="18621"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3" name="Freeform: Shape 2112">
              <a:extLst>
                <a:ext uri="{FF2B5EF4-FFF2-40B4-BE49-F238E27FC236}">
                  <a16:creationId xmlns:a16="http://schemas.microsoft.com/office/drawing/2014/main" id="{0082226F-15D4-4845-B03E-DFA0B309B5FF}"/>
                </a:ext>
              </a:extLst>
            </p:cNvPr>
            <p:cNvSpPr/>
            <p:nvPr/>
          </p:nvSpPr>
          <p:spPr>
            <a:xfrm>
              <a:off x="10001645" y="5718769"/>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8"/>
                    <a:pt x="28534" y="15789"/>
                    <a:pt x="24286" y="15789"/>
                  </a:cubicBezTo>
                  <a:cubicBezTo>
                    <a:pt x="20037" y="15789"/>
                    <a:pt x="15789" y="20038"/>
                    <a:pt x="15789" y="24286"/>
                  </a:cubicBezTo>
                  <a:cubicBezTo>
                    <a:pt x="15789" y="29951"/>
                    <a:pt x="18621"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4" name="Freeform: Shape 2113">
              <a:extLst>
                <a:ext uri="{FF2B5EF4-FFF2-40B4-BE49-F238E27FC236}">
                  <a16:creationId xmlns:a16="http://schemas.microsoft.com/office/drawing/2014/main" id="{2C1F8F18-A536-4E31-A686-F82B2B0ABC22}"/>
                </a:ext>
              </a:extLst>
            </p:cNvPr>
            <p:cNvSpPr/>
            <p:nvPr/>
          </p:nvSpPr>
          <p:spPr>
            <a:xfrm>
              <a:off x="10253727" y="5543162"/>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8"/>
                    <a:pt x="28534" y="15789"/>
                    <a:pt x="24286" y="15789"/>
                  </a:cubicBezTo>
                  <a:cubicBezTo>
                    <a:pt x="20037" y="15789"/>
                    <a:pt x="15789" y="20038"/>
                    <a:pt x="15789" y="24286"/>
                  </a:cubicBezTo>
                  <a:cubicBezTo>
                    <a:pt x="17205"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5" name="Freeform: Shape 2114">
              <a:extLst>
                <a:ext uri="{FF2B5EF4-FFF2-40B4-BE49-F238E27FC236}">
                  <a16:creationId xmlns:a16="http://schemas.microsoft.com/office/drawing/2014/main" id="{729D7D69-0C5B-4521-B0D7-4761246D5B4F}"/>
                </a:ext>
              </a:extLst>
            </p:cNvPr>
            <p:cNvSpPr/>
            <p:nvPr/>
          </p:nvSpPr>
          <p:spPr>
            <a:xfrm>
              <a:off x="10001645" y="5275502"/>
              <a:ext cx="56648" cy="56648"/>
            </a:xfrm>
            <a:custGeom>
              <a:avLst/>
              <a:gdLst>
                <a:gd name="connsiteX0" fmla="*/ 28534 w 56647"/>
                <a:gd name="connsiteY0" fmla="*/ 41280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0"/>
                  </a:moveTo>
                  <a:cubicBezTo>
                    <a:pt x="35615" y="41280"/>
                    <a:pt x="41280" y="35616"/>
                    <a:pt x="41280" y="28535"/>
                  </a:cubicBezTo>
                  <a:cubicBezTo>
                    <a:pt x="41280" y="21454"/>
                    <a:pt x="35615" y="15789"/>
                    <a:pt x="28534" y="15789"/>
                  </a:cubicBezTo>
                  <a:cubicBezTo>
                    <a:pt x="21453" y="15789"/>
                    <a:pt x="15789" y="21454"/>
                    <a:pt x="15789" y="28535"/>
                  </a:cubicBezTo>
                  <a:cubicBezTo>
                    <a:pt x="15789" y="35616"/>
                    <a:pt x="21453" y="41280"/>
                    <a:pt x="28534"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6" name="Freeform: Shape 2115">
              <a:extLst>
                <a:ext uri="{FF2B5EF4-FFF2-40B4-BE49-F238E27FC236}">
                  <a16:creationId xmlns:a16="http://schemas.microsoft.com/office/drawing/2014/main" id="{FC4A94BE-BFE7-4E35-A170-18C1DF4175D9}"/>
                </a:ext>
              </a:extLst>
            </p:cNvPr>
            <p:cNvSpPr/>
            <p:nvPr/>
          </p:nvSpPr>
          <p:spPr>
            <a:xfrm>
              <a:off x="9328954" y="5081484"/>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7" name="Freeform: Shape 2116">
              <a:extLst>
                <a:ext uri="{FF2B5EF4-FFF2-40B4-BE49-F238E27FC236}">
                  <a16:creationId xmlns:a16="http://schemas.microsoft.com/office/drawing/2014/main" id="{D74B442C-93F4-4784-9635-BFD0E6BC924E}"/>
                </a:ext>
              </a:extLst>
            </p:cNvPr>
            <p:cNvSpPr/>
            <p:nvPr/>
          </p:nvSpPr>
          <p:spPr>
            <a:xfrm>
              <a:off x="9496065" y="4904460"/>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8" name="Freeform: Shape 2117">
              <a:extLst>
                <a:ext uri="{FF2B5EF4-FFF2-40B4-BE49-F238E27FC236}">
                  <a16:creationId xmlns:a16="http://schemas.microsoft.com/office/drawing/2014/main" id="{799C1A40-42C9-4BFB-BD73-23346C8D46BE}"/>
                </a:ext>
              </a:extLst>
            </p:cNvPr>
            <p:cNvSpPr/>
            <p:nvPr/>
          </p:nvSpPr>
          <p:spPr>
            <a:xfrm>
              <a:off x="9474822" y="5527584"/>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9" name="Freeform: Shape 2118">
              <a:extLst>
                <a:ext uri="{FF2B5EF4-FFF2-40B4-BE49-F238E27FC236}">
                  <a16:creationId xmlns:a16="http://schemas.microsoft.com/office/drawing/2014/main" id="{68F7B0E3-A79B-4BB2-A545-07317B7BA427}"/>
                </a:ext>
              </a:extLst>
            </p:cNvPr>
            <p:cNvSpPr/>
            <p:nvPr/>
          </p:nvSpPr>
          <p:spPr>
            <a:xfrm>
              <a:off x="9504562" y="5329317"/>
              <a:ext cx="42486" cy="42486"/>
            </a:xfrm>
            <a:custGeom>
              <a:avLst/>
              <a:gdLst>
                <a:gd name="connsiteX0" fmla="*/ 21454 w 42485"/>
                <a:gd name="connsiteY0" fmla="*/ 27119 h 42485"/>
                <a:gd name="connsiteX1" fmla="*/ 27118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7" y="27119"/>
                    <a:pt x="27118" y="24286"/>
                    <a:pt x="27118" y="21454"/>
                  </a:cubicBezTo>
                  <a:cubicBezTo>
                    <a:pt x="27118" y="18622"/>
                    <a:pt x="24287" y="15789"/>
                    <a:pt x="21454" y="15789"/>
                  </a:cubicBezTo>
                  <a:cubicBezTo>
                    <a:pt x="18622" y="15789"/>
                    <a:pt x="15789" y="18622"/>
                    <a:pt x="15789" y="21454"/>
                  </a:cubicBezTo>
                  <a:cubicBezTo>
                    <a:pt x="15789" y="24286"/>
                    <a:pt x="18622"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0" name="Freeform: Shape 2119">
              <a:extLst>
                <a:ext uri="{FF2B5EF4-FFF2-40B4-BE49-F238E27FC236}">
                  <a16:creationId xmlns:a16="http://schemas.microsoft.com/office/drawing/2014/main" id="{0A898074-DF54-4D49-BD02-046915E747F1}"/>
                </a:ext>
              </a:extLst>
            </p:cNvPr>
            <p:cNvSpPr/>
            <p:nvPr/>
          </p:nvSpPr>
          <p:spPr>
            <a:xfrm>
              <a:off x="9263809" y="5503509"/>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1" name="Freeform: Shape 2120">
              <a:extLst>
                <a:ext uri="{FF2B5EF4-FFF2-40B4-BE49-F238E27FC236}">
                  <a16:creationId xmlns:a16="http://schemas.microsoft.com/office/drawing/2014/main" id="{F7CCDE29-C528-40FE-BFEF-79980B5C5FFF}"/>
                </a:ext>
              </a:extLst>
            </p:cNvPr>
            <p:cNvSpPr/>
            <p:nvPr/>
          </p:nvSpPr>
          <p:spPr>
            <a:xfrm>
              <a:off x="9661759" y="5054576"/>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2" name="Freeform: Shape 2121">
              <a:extLst>
                <a:ext uri="{FF2B5EF4-FFF2-40B4-BE49-F238E27FC236}">
                  <a16:creationId xmlns:a16="http://schemas.microsoft.com/office/drawing/2014/main" id="{51864622-5DE7-4ABB-9E99-F5CF1EEB105B}"/>
                </a:ext>
              </a:extLst>
            </p:cNvPr>
            <p:cNvSpPr/>
            <p:nvPr/>
          </p:nvSpPr>
          <p:spPr>
            <a:xfrm>
              <a:off x="9874188" y="5186282"/>
              <a:ext cx="56648" cy="56648"/>
            </a:xfrm>
            <a:custGeom>
              <a:avLst/>
              <a:gdLst>
                <a:gd name="connsiteX0" fmla="*/ 28534 w 56647"/>
                <a:gd name="connsiteY0" fmla="*/ 41280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0"/>
                  </a:moveTo>
                  <a:cubicBezTo>
                    <a:pt x="35615" y="41280"/>
                    <a:pt x="41280" y="35616"/>
                    <a:pt x="41280" y="28535"/>
                  </a:cubicBezTo>
                  <a:cubicBezTo>
                    <a:pt x="41280" y="21454"/>
                    <a:pt x="35615" y="15789"/>
                    <a:pt x="28534" y="15789"/>
                  </a:cubicBezTo>
                  <a:cubicBezTo>
                    <a:pt x="21453" y="15789"/>
                    <a:pt x="15789" y="21454"/>
                    <a:pt x="15789" y="28535"/>
                  </a:cubicBezTo>
                  <a:cubicBezTo>
                    <a:pt x="15789" y="35616"/>
                    <a:pt x="21453" y="41280"/>
                    <a:pt x="28534"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3" name="Freeform: Shape 2122">
              <a:extLst>
                <a:ext uri="{FF2B5EF4-FFF2-40B4-BE49-F238E27FC236}">
                  <a16:creationId xmlns:a16="http://schemas.microsoft.com/office/drawing/2014/main" id="{6460A1DE-9FA5-4A64-8673-FF2DF88CA6EA}"/>
                </a:ext>
              </a:extLst>
            </p:cNvPr>
            <p:cNvSpPr/>
            <p:nvPr/>
          </p:nvSpPr>
          <p:spPr>
            <a:xfrm>
              <a:off x="9457827" y="4648130"/>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7" y="15789"/>
                    <a:pt x="15789" y="20037"/>
                    <a:pt x="15789" y="25702"/>
                  </a:cubicBezTo>
                  <a:cubicBezTo>
                    <a:pt x="17205" y="31367"/>
                    <a:pt x="21454"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4" name="Freeform: Shape 2123">
              <a:extLst>
                <a:ext uri="{FF2B5EF4-FFF2-40B4-BE49-F238E27FC236}">
                  <a16:creationId xmlns:a16="http://schemas.microsoft.com/office/drawing/2014/main" id="{DBCA5916-86D2-4A7B-A626-CBA404BC6CA4}"/>
                </a:ext>
              </a:extLst>
            </p:cNvPr>
            <p:cNvSpPr/>
            <p:nvPr/>
          </p:nvSpPr>
          <p:spPr>
            <a:xfrm>
              <a:off x="9285052" y="5533249"/>
              <a:ext cx="70810" cy="70810"/>
            </a:xfrm>
            <a:custGeom>
              <a:avLst/>
              <a:gdLst>
                <a:gd name="connsiteX0" fmla="*/ 38449 w 70809"/>
                <a:gd name="connsiteY0" fmla="*/ 61107 h 70809"/>
                <a:gd name="connsiteX1" fmla="*/ 61107 w 70809"/>
                <a:gd name="connsiteY1" fmla="*/ 38448 h 70809"/>
                <a:gd name="connsiteX2" fmla="*/ 38449 w 70809"/>
                <a:gd name="connsiteY2" fmla="*/ 15789 h 70809"/>
                <a:gd name="connsiteX3" fmla="*/ 15789 w 70809"/>
                <a:gd name="connsiteY3" fmla="*/ 38448 h 70809"/>
                <a:gd name="connsiteX4" fmla="*/ 38449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9" y="61107"/>
                  </a:moveTo>
                  <a:cubicBezTo>
                    <a:pt x="51194" y="61107"/>
                    <a:pt x="61107" y="51194"/>
                    <a:pt x="61107" y="38448"/>
                  </a:cubicBezTo>
                  <a:cubicBezTo>
                    <a:pt x="61107" y="25702"/>
                    <a:pt x="51194" y="15789"/>
                    <a:pt x="38449" y="15789"/>
                  </a:cubicBezTo>
                  <a:cubicBezTo>
                    <a:pt x="25703" y="15789"/>
                    <a:pt x="15789" y="25702"/>
                    <a:pt x="15789" y="38448"/>
                  </a:cubicBezTo>
                  <a:cubicBezTo>
                    <a:pt x="15789" y="51194"/>
                    <a:pt x="25703" y="61107"/>
                    <a:pt x="38449"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5" name="Freeform: Shape 2124">
              <a:extLst>
                <a:ext uri="{FF2B5EF4-FFF2-40B4-BE49-F238E27FC236}">
                  <a16:creationId xmlns:a16="http://schemas.microsoft.com/office/drawing/2014/main" id="{4DCC1D02-EA75-4CC1-9FE7-4938E71F411A}"/>
                </a:ext>
              </a:extLst>
            </p:cNvPr>
            <p:cNvSpPr/>
            <p:nvPr/>
          </p:nvSpPr>
          <p:spPr>
            <a:xfrm>
              <a:off x="9959160" y="5536081"/>
              <a:ext cx="127457" cy="127457"/>
            </a:xfrm>
            <a:custGeom>
              <a:avLst/>
              <a:gdLst>
                <a:gd name="connsiteX0" fmla="*/ 65356 w 127457"/>
                <a:gd name="connsiteY0" fmla="*/ 114922 h 127457"/>
                <a:gd name="connsiteX1" fmla="*/ 114922 w 127457"/>
                <a:gd name="connsiteY1" fmla="*/ 65356 h 127457"/>
                <a:gd name="connsiteX2" fmla="*/ 65356 w 127457"/>
                <a:gd name="connsiteY2" fmla="*/ 15789 h 127457"/>
                <a:gd name="connsiteX3" fmla="*/ 15789 w 127457"/>
                <a:gd name="connsiteY3" fmla="*/ 65356 h 127457"/>
                <a:gd name="connsiteX4" fmla="*/ 65356 w 127457"/>
                <a:gd name="connsiteY4" fmla="*/ 114922 h 127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57" h="127457">
                  <a:moveTo>
                    <a:pt x="65356" y="114922"/>
                  </a:moveTo>
                  <a:cubicBezTo>
                    <a:pt x="92263" y="114922"/>
                    <a:pt x="114922" y="92263"/>
                    <a:pt x="114922" y="65356"/>
                  </a:cubicBezTo>
                  <a:cubicBezTo>
                    <a:pt x="114922" y="38448"/>
                    <a:pt x="92263" y="15789"/>
                    <a:pt x="65356" y="15789"/>
                  </a:cubicBezTo>
                  <a:cubicBezTo>
                    <a:pt x="38448" y="15789"/>
                    <a:pt x="15789" y="38448"/>
                    <a:pt x="15789" y="65356"/>
                  </a:cubicBezTo>
                  <a:cubicBezTo>
                    <a:pt x="15789" y="92263"/>
                    <a:pt x="38448" y="114922"/>
                    <a:pt x="65356" y="11492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6" name="Freeform: Shape 2125">
              <a:extLst>
                <a:ext uri="{FF2B5EF4-FFF2-40B4-BE49-F238E27FC236}">
                  <a16:creationId xmlns:a16="http://schemas.microsoft.com/office/drawing/2014/main" id="{967D1EDB-F238-43F9-9E9C-D6D0A5F120C9}"/>
                </a:ext>
              </a:extLst>
            </p:cNvPr>
            <p:cNvSpPr/>
            <p:nvPr/>
          </p:nvSpPr>
          <p:spPr>
            <a:xfrm>
              <a:off x="9772222" y="4714690"/>
              <a:ext cx="70810" cy="70810"/>
            </a:xfrm>
            <a:custGeom>
              <a:avLst/>
              <a:gdLst>
                <a:gd name="connsiteX0" fmla="*/ 38448 w 70809"/>
                <a:gd name="connsiteY0" fmla="*/ 61107 h 70809"/>
                <a:gd name="connsiteX1" fmla="*/ 61107 w 70809"/>
                <a:gd name="connsiteY1" fmla="*/ 38448 h 70809"/>
                <a:gd name="connsiteX2" fmla="*/ 38448 w 70809"/>
                <a:gd name="connsiteY2" fmla="*/ 15789 h 70809"/>
                <a:gd name="connsiteX3" fmla="*/ 15789 w 70809"/>
                <a:gd name="connsiteY3" fmla="*/ 38448 h 70809"/>
                <a:gd name="connsiteX4" fmla="*/ 3844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8" y="61107"/>
                  </a:moveTo>
                  <a:cubicBezTo>
                    <a:pt x="51194" y="61107"/>
                    <a:pt x="61107" y="51194"/>
                    <a:pt x="61107" y="38448"/>
                  </a:cubicBezTo>
                  <a:cubicBezTo>
                    <a:pt x="61107" y="25703"/>
                    <a:pt x="51194" y="15789"/>
                    <a:pt x="38448" y="15789"/>
                  </a:cubicBezTo>
                  <a:cubicBezTo>
                    <a:pt x="25703" y="15789"/>
                    <a:pt x="15789" y="25703"/>
                    <a:pt x="15789" y="38448"/>
                  </a:cubicBezTo>
                  <a:cubicBezTo>
                    <a:pt x="15789" y="51194"/>
                    <a:pt x="25703" y="61107"/>
                    <a:pt x="38448"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7" name="Freeform: Shape 2126">
              <a:extLst>
                <a:ext uri="{FF2B5EF4-FFF2-40B4-BE49-F238E27FC236}">
                  <a16:creationId xmlns:a16="http://schemas.microsoft.com/office/drawing/2014/main" id="{D33D521C-1E85-4637-952C-F3E270187373}"/>
                </a:ext>
              </a:extLst>
            </p:cNvPr>
            <p:cNvSpPr/>
            <p:nvPr/>
          </p:nvSpPr>
          <p:spPr>
            <a:xfrm>
              <a:off x="10123437" y="504607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2697"/>
                    <a:pt x="49778" y="32783"/>
                  </a:cubicBezTo>
                  <a:cubicBezTo>
                    <a:pt x="49778" y="22870"/>
                    <a:pt x="42697" y="15789"/>
                    <a:pt x="32783" y="15789"/>
                  </a:cubicBezTo>
                  <a:cubicBezTo>
                    <a:pt x="22870"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8" name="Freeform: Shape 2127">
              <a:extLst>
                <a:ext uri="{FF2B5EF4-FFF2-40B4-BE49-F238E27FC236}">
                  <a16:creationId xmlns:a16="http://schemas.microsoft.com/office/drawing/2014/main" id="{9CD12075-3BCA-43DE-8ABE-4CBE15F48103}"/>
                </a:ext>
              </a:extLst>
            </p:cNvPr>
            <p:cNvSpPr/>
            <p:nvPr/>
          </p:nvSpPr>
          <p:spPr>
            <a:xfrm>
              <a:off x="9426671" y="5473769"/>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2697"/>
                    <a:pt x="24287"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9" name="Freeform: Shape 2128">
              <a:extLst>
                <a:ext uri="{FF2B5EF4-FFF2-40B4-BE49-F238E27FC236}">
                  <a16:creationId xmlns:a16="http://schemas.microsoft.com/office/drawing/2014/main" id="{A0B23FF9-C6DE-4B1B-8B6B-A0755A4B617D}"/>
                </a:ext>
              </a:extLst>
            </p:cNvPr>
            <p:cNvSpPr/>
            <p:nvPr/>
          </p:nvSpPr>
          <p:spPr>
            <a:xfrm>
              <a:off x="9401180" y="5165039"/>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2697"/>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0" name="Freeform: Shape 2129">
              <a:extLst>
                <a:ext uri="{FF2B5EF4-FFF2-40B4-BE49-F238E27FC236}">
                  <a16:creationId xmlns:a16="http://schemas.microsoft.com/office/drawing/2014/main" id="{250144BD-9399-4773-8BD5-742E6E41D1FA}"/>
                </a:ext>
              </a:extLst>
            </p:cNvPr>
            <p:cNvSpPr/>
            <p:nvPr/>
          </p:nvSpPr>
          <p:spPr>
            <a:xfrm>
              <a:off x="9214242" y="521602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2697"/>
                    <a:pt x="49778" y="32783"/>
                  </a:cubicBezTo>
                  <a:cubicBezTo>
                    <a:pt x="49778" y="22870"/>
                    <a:pt x="42697" y="15789"/>
                    <a:pt x="32783" y="15789"/>
                  </a:cubicBezTo>
                  <a:cubicBezTo>
                    <a:pt x="22870" y="15789"/>
                    <a:pt x="15789" y="22870"/>
                    <a:pt x="15789" y="32783"/>
                  </a:cubicBezTo>
                  <a:cubicBezTo>
                    <a:pt x="15789" y="42697"/>
                    <a:pt x="24287"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1" name="Freeform: Shape 2130">
              <a:extLst>
                <a:ext uri="{FF2B5EF4-FFF2-40B4-BE49-F238E27FC236}">
                  <a16:creationId xmlns:a16="http://schemas.microsoft.com/office/drawing/2014/main" id="{3A63E1BC-10D4-4EEB-BAD7-2F9F225E6DED}"/>
                </a:ext>
              </a:extLst>
            </p:cNvPr>
            <p:cNvSpPr/>
            <p:nvPr/>
          </p:nvSpPr>
          <p:spPr>
            <a:xfrm>
              <a:off x="10250895" y="5623885"/>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2697"/>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2" name="Freeform: Shape 2131">
              <a:extLst>
                <a:ext uri="{FF2B5EF4-FFF2-40B4-BE49-F238E27FC236}">
                  <a16:creationId xmlns:a16="http://schemas.microsoft.com/office/drawing/2014/main" id="{A115A667-E7A9-46BA-88B9-D2D8CF2D3EFF}"/>
                </a:ext>
              </a:extLst>
            </p:cNvPr>
            <p:cNvSpPr/>
            <p:nvPr/>
          </p:nvSpPr>
          <p:spPr>
            <a:xfrm>
              <a:off x="10216906" y="5201860"/>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2697"/>
                    <a:pt x="49778" y="32783"/>
                  </a:cubicBezTo>
                  <a:cubicBezTo>
                    <a:pt x="49778" y="22870"/>
                    <a:pt x="42697" y="15789"/>
                    <a:pt x="32783" y="15789"/>
                  </a:cubicBezTo>
                  <a:cubicBezTo>
                    <a:pt x="22870"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3" name="Freeform: Shape 2132">
              <a:extLst>
                <a:ext uri="{FF2B5EF4-FFF2-40B4-BE49-F238E27FC236}">
                  <a16:creationId xmlns:a16="http://schemas.microsoft.com/office/drawing/2014/main" id="{0CA18155-8734-429B-956A-D326BD0354A6}"/>
                </a:ext>
              </a:extLst>
            </p:cNvPr>
            <p:cNvSpPr/>
            <p:nvPr/>
          </p:nvSpPr>
          <p:spPr>
            <a:xfrm>
              <a:off x="10296213" y="5363306"/>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7"/>
                    <a:pt x="28534" y="15789"/>
                    <a:pt x="24286" y="15789"/>
                  </a:cubicBezTo>
                  <a:cubicBezTo>
                    <a:pt x="20037" y="15789"/>
                    <a:pt x="15789" y="20037"/>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4" name="Freeform: Shape 2133">
              <a:extLst>
                <a:ext uri="{FF2B5EF4-FFF2-40B4-BE49-F238E27FC236}">
                  <a16:creationId xmlns:a16="http://schemas.microsoft.com/office/drawing/2014/main" id="{5E87FCF0-C93E-4872-8CEA-8649E30AD611}"/>
                </a:ext>
              </a:extLst>
            </p:cNvPr>
            <p:cNvSpPr/>
            <p:nvPr/>
          </p:nvSpPr>
          <p:spPr>
            <a:xfrm>
              <a:off x="10072455" y="5742845"/>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7"/>
                    <a:pt x="28534" y="15789"/>
                    <a:pt x="24286" y="15789"/>
                  </a:cubicBezTo>
                  <a:cubicBezTo>
                    <a:pt x="20037" y="15789"/>
                    <a:pt x="15789" y="20037"/>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5" name="Freeform: Shape 2134">
              <a:extLst>
                <a:ext uri="{FF2B5EF4-FFF2-40B4-BE49-F238E27FC236}">
                  <a16:creationId xmlns:a16="http://schemas.microsoft.com/office/drawing/2014/main" id="{71060AA4-800F-4AD2-88FC-82323EADC19A}"/>
                </a:ext>
              </a:extLst>
            </p:cNvPr>
            <p:cNvSpPr/>
            <p:nvPr/>
          </p:nvSpPr>
          <p:spPr>
            <a:xfrm>
              <a:off x="10123437" y="5567237"/>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7"/>
                    <a:pt x="28535" y="15789"/>
                    <a:pt x="24286" y="15789"/>
                  </a:cubicBezTo>
                  <a:cubicBezTo>
                    <a:pt x="20037" y="15789"/>
                    <a:pt x="15789" y="20037"/>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6" name="Freeform: Shape 2135">
              <a:extLst>
                <a:ext uri="{FF2B5EF4-FFF2-40B4-BE49-F238E27FC236}">
                  <a16:creationId xmlns:a16="http://schemas.microsoft.com/office/drawing/2014/main" id="{D6738847-A9FE-4F7E-8695-7B0E9356989A}"/>
                </a:ext>
              </a:extLst>
            </p:cNvPr>
            <p:cNvSpPr/>
            <p:nvPr/>
          </p:nvSpPr>
          <p:spPr>
            <a:xfrm>
              <a:off x="10063957" y="4700528"/>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8"/>
                    <a:pt x="28535" y="15789"/>
                    <a:pt x="24287" y="15789"/>
                  </a:cubicBezTo>
                  <a:cubicBezTo>
                    <a:pt x="20037" y="15789"/>
                    <a:pt x="15789" y="20038"/>
                    <a:pt x="15789" y="24286"/>
                  </a:cubicBezTo>
                  <a:cubicBezTo>
                    <a:pt x="15789" y="29951"/>
                    <a:pt x="20037" y="32783"/>
                    <a:pt x="24287"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7" name="Freeform: Shape 2136">
              <a:extLst>
                <a:ext uri="{FF2B5EF4-FFF2-40B4-BE49-F238E27FC236}">
                  <a16:creationId xmlns:a16="http://schemas.microsoft.com/office/drawing/2014/main" id="{26BA2F92-DE3F-429E-924B-6A4E7ACB9A05}"/>
                </a:ext>
              </a:extLst>
            </p:cNvPr>
            <p:cNvSpPr/>
            <p:nvPr/>
          </p:nvSpPr>
          <p:spPr>
            <a:xfrm>
              <a:off x="10253727" y="5040414"/>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8"/>
                    <a:pt x="28534" y="15789"/>
                    <a:pt x="24286" y="15789"/>
                  </a:cubicBezTo>
                  <a:cubicBezTo>
                    <a:pt x="20037" y="15789"/>
                    <a:pt x="15789" y="20038"/>
                    <a:pt x="15789" y="24286"/>
                  </a:cubicBezTo>
                  <a:cubicBezTo>
                    <a:pt x="15789" y="29951"/>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8" name="Freeform: Shape 2137">
              <a:extLst>
                <a:ext uri="{FF2B5EF4-FFF2-40B4-BE49-F238E27FC236}">
                  <a16:creationId xmlns:a16="http://schemas.microsoft.com/office/drawing/2014/main" id="{A51E2E6F-B004-43D5-9741-527393266929}"/>
                </a:ext>
              </a:extLst>
            </p:cNvPr>
            <p:cNvSpPr/>
            <p:nvPr/>
          </p:nvSpPr>
          <p:spPr>
            <a:xfrm>
              <a:off x="10367022" y="5238681"/>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8"/>
                    <a:pt x="28534"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9" name="Freeform: Shape 2138">
              <a:extLst>
                <a:ext uri="{FF2B5EF4-FFF2-40B4-BE49-F238E27FC236}">
                  <a16:creationId xmlns:a16="http://schemas.microsoft.com/office/drawing/2014/main" id="{687F1A6D-2C4E-46CB-B49C-35073E0D2ED4}"/>
                </a:ext>
              </a:extLst>
            </p:cNvPr>
            <p:cNvSpPr/>
            <p:nvPr/>
          </p:nvSpPr>
          <p:spPr>
            <a:xfrm>
              <a:off x="10364190" y="5434115"/>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7"/>
                    <a:pt x="28535" y="15789"/>
                    <a:pt x="24286" y="15789"/>
                  </a:cubicBezTo>
                  <a:cubicBezTo>
                    <a:pt x="20037" y="15789"/>
                    <a:pt x="15789" y="20037"/>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0" name="Freeform: Shape 2139">
              <a:extLst>
                <a:ext uri="{FF2B5EF4-FFF2-40B4-BE49-F238E27FC236}">
                  <a16:creationId xmlns:a16="http://schemas.microsoft.com/office/drawing/2014/main" id="{8FDB6C4F-BA41-4201-8887-EB14EEEFAADC}"/>
                </a:ext>
              </a:extLst>
            </p:cNvPr>
            <p:cNvSpPr/>
            <p:nvPr/>
          </p:nvSpPr>
          <p:spPr>
            <a:xfrm>
              <a:off x="9268057" y="5057409"/>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7"/>
                    <a:pt x="28535" y="15789"/>
                    <a:pt x="24287" y="15789"/>
                  </a:cubicBezTo>
                  <a:cubicBezTo>
                    <a:pt x="20038" y="15789"/>
                    <a:pt x="15789" y="20037"/>
                    <a:pt x="15789" y="24286"/>
                  </a:cubicBezTo>
                  <a:cubicBezTo>
                    <a:pt x="15789" y="28535"/>
                    <a:pt x="20038" y="32783"/>
                    <a:pt x="24287"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1" name="Freeform: Shape 2140">
              <a:extLst>
                <a:ext uri="{FF2B5EF4-FFF2-40B4-BE49-F238E27FC236}">
                  <a16:creationId xmlns:a16="http://schemas.microsoft.com/office/drawing/2014/main" id="{D5563AA8-ECBB-4195-8906-ABC6746C1F9D}"/>
                </a:ext>
              </a:extLst>
            </p:cNvPr>
            <p:cNvSpPr/>
            <p:nvPr/>
          </p:nvSpPr>
          <p:spPr>
            <a:xfrm>
              <a:off x="9463493" y="4887466"/>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7"/>
                    <a:pt x="28534" y="15789"/>
                    <a:pt x="24286" y="15789"/>
                  </a:cubicBezTo>
                  <a:cubicBezTo>
                    <a:pt x="20037" y="15789"/>
                    <a:pt x="15789" y="20037"/>
                    <a:pt x="15789" y="24286"/>
                  </a:cubicBezTo>
                  <a:cubicBezTo>
                    <a:pt x="15789" y="29951"/>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2" name="Freeform: Shape 2141">
              <a:extLst>
                <a:ext uri="{FF2B5EF4-FFF2-40B4-BE49-F238E27FC236}">
                  <a16:creationId xmlns:a16="http://schemas.microsoft.com/office/drawing/2014/main" id="{D4117BD1-FDCF-403D-A378-2967DCC17D63}"/>
                </a:ext>
              </a:extLst>
            </p:cNvPr>
            <p:cNvSpPr/>
            <p:nvPr/>
          </p:nvSpPr>
          <p:spPr>
            <a:xfrm>
              <a:off x="9579620" y="4808159"/>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7"/>
                    <a:pt x="28535" y="15789"/>
                    <a:pt x="24287" y="15789"/>
                  </a:cubicBezTo>
                  <a:cubicBezTo>
                    <a:pt x="20038" y="15789"/>
                    <a:pt x="15789" y="20037"/>
                    <a:pt x="15789" y="24286"/>
                  </a:cubicBezTo>
                  <a:cubicBezTo>
                    <a:pt x="15789" y="29951"/>
                    <a:pt x="20038" y="32783"/>
                    <a:pt x="24287"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3" name="Freeform: Shape 2142">
              <a:extLst>
                <a:ext uri="{FF2B5EF4-FFF2-40B4-BE49-F238E27FC236}">
                  <a16:creationId xmlns:a16="http://schemas.microsoft.com/office/drawing/2014/main" id="{B95A17B8-2C6B-4410-8969-B8B6C7A4514F}"/>
                </a:ext>
              </a:extLst>
            </p:cNvPr>
            <p:cNvSpPr/>
            <p:nvPr/>
          </p:nvSpPr>
          <p:spPr>
            <a:xfrm>
              <a:off x="9607943" y="5315155"/>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8"/>
                    <a:pt x="28535" y="15789"/>
                    <a:pt x="24287" y="15789"/>
                  </a:cubicBezTo>
                  <a:cubicBezTo>
                    <a:pt x="20038" y="15789"/>
                    <a:pt x="15789" y="20038"/>
                    <a:pt x="15789" y="24286"/>
                  </a:cubicBezTo>
                  <a:cubicBezTo>
                    <a:pt x="15789" y="28535"/>
                    <a:pt x="20038" y="32783"/>
                    <a:pt x="24287"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4" name="Freeform: Shape 2143">
              <a:extLst>
                <a:ext uri="{FF2B5EF4-FFF2-40B4-BE49-F238E27FC236}">
                  <a16:creationId xmlns:a16="http://schemas.microsoft.com/office/drawing/2014/main" id="{0143D6C8-0DB0-43E4-869E-35B15607D2E6}"/>
                </a:ext>
              </a:extLst>
            </p:cNvPr>
            <p:cNvSpPr/>
            <p:nvPr/>
          </p:nvSpPr>
          <p:spPr>
            <a:xfrm>
              <a:off x="9758060" y="5046079"/>
              <a:ext cx="42486" cy="42486"/>
            </a:xfrm>
            <a:custGeom>
              <a:avLst/>
              <a:gdLst>
                <a:gd name="connsiteX0" fmla="*/ 32784 w 42485"/>
                <a:gd name="connsiteY0" fmla="*/ 24286 h 42485"/>
                <a:gd name="connsiteX1" fmla="*/ 24287 w 42485"/>
                <a:gd name="connsiteY1" fmla="*/ 32783 h 42485"/>
                <a:gd name="connsiteX2" fmla="*/ 15790 w 42485"/>
                <a:gd name="connsiteY2" fmla="*/ 24286 h 42485"/>
                <a:gd name="connsiteX3" fmla="*/ 24287 w 42485"/>
                <a:gd name="connsiteY3" fmla="*/ 15789 h 42485"/>
                <a:gd name="connsiteX4" fmla="*/ 32784 w 42485"/>
                <a:gd name="connsiteY4" fmla="*/ 2428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4" y="24286"/>
                  </a:moveTo>
                  <a:cubicBezTo>
                    <a:pt x="32784" y="28979"/>
                    <a:pt x="28980" y="32783"/>
                    <a:pt x="24287" y="32783"/>
                  </a:cubicBezTo>
                  <a:cubicBezTo>
                    <a:pt x="19594" y="32783"/>
                    <a:pt x="15790" y="28979"/>
                    <a:pt x="15790" y="24286"/>
                  </a:cubicBezTo>
                  <a:cubicBezTo>
                    <a:pt x="15790" y="19593"/>
                    <a:pt x="19594" y="15789"/>
                    <a:pt x="24287" y="15789"/>
                  </a:cubicBezTo>
                  <a:cubicBezTo>
                    <a:pt x="28980" y="15789"/>
                    <a:pt x="32784" y="19593"/>
                    <a:pt x="32784"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5" name="Freeform: Shape 2144">
              <a:extLst>
                <a:ext uri="{FF2B5EF4-FFF2-40B4-BE49-F238E27FC236}">
                  <a16:creationId xmlns:a16="http://schemas.microsoft.com/office/drawing/2014/main" id="{417A4FF7-697A-4A2B-8FD6-AE8E9E29D6F1}"/>
                </a:ext>
              </a:extLst>
            </p:cNvPr>
            <p:cNvSpPr/>
            <p:nvPr/>
          </p:nvSpPr>
          <p:spPr>
            <a:xfrm>
              <a:off x="9412509" y="5309490"/>
              <a:ext cx="42486" cy="42486"/>
            </a:xfrm>
            <a:custGeom>
              <a:avLst/>
              <a:gdLst>
                <a:gd name="connsiteX0" fmla="*/ 32783 w 42485"/>
                <a:gd name="connsiteY0" fmla="*/ 24286 h 42485"/>
                <a:gd name="connsiteX1" fmla="*/ 24287 w 42485"/>
                <a:gd name="connsiteY1" fmla="*/ 32783 h 42485"/>
                <a:gd name="connsiteX2" fmla="*/ 15790 w 42485"/>
                <a:gd name="connsiteY2" fmla="*/ 24286 h 42485"/>
                <a:gd name="connsiteX3" fmla="*/ 24287 w 42485"/>
                <a:gd name="connsiteY3" fmla="*/ 15789 h 42485"/>
                <a:gd name="connsiteX4" fmla="*/ 32783 w 42485"/>
                <a:gd name="connsiteY4" fmla="*/ 2428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3" y="24286"/>
                  </a:moveTo>
                  <a:cubicBezTo>
                    <a:pt x="32783" y="28979"/>
                    <a:pt x="28979" y="32783"/>
                    <a:pt x="24287" y="32783"/>
                  </a:cubicBezTo>
                  <a:cubicBezTo>
                    <a:pt x="19594" y="32783"/>
                    <a:pt x="15790" y="28979"/>
                    <a:pt x="15790" y="24286"/>
                  </a:cubicBezTo>
                  <a:cubicBezTo>
                    <a:pt x="15790" y="19593"/>
                    <a:pt x="19594" y="15789"/>
                    <a:pt x="24287" y="15789"/>
                  </a:cubicBezTo>
                  <a:cubicBezTo>
                    <a:pt x="28979" y="15789"/>
                    <a:pt x="32783" y="19593"/>
                    <a:pt x="32783"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6" name="Freeform: Shape 2145">
              <a:extLst>
                <a:ext uri="{FF2B5EF4-FFF2-40B4-BE49-F238E27FC236}">
                  <a16:creationId xmlns:a16="http://schemas.microsoft.com/office/drawing/2014/main" id="{3A8013AA-B403-4222-A918-62B35192FECD}"/>
                </a:ext>
              </a:extLst>
            </p:cNvPr>
            <p:cNvSpPr/>
            <p:nvPr/>
          </p:nvSpPr>
          <p:spPr>
            <a:xfrm>
              <a:off x="9340284" y="5407207"/>
              <a:ext cx="70810" cy="70810"/>
            </a:xfrm>
            <a:custGeom>
              <a:avLst/>
              <a:gdLst>
                <a:gd name="connsiteX0" fmla="*/ 39864 w 70809"/>
                <a:gd name="connsiteY0" fmla="*/ 63940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2610" y="63940"/>
                    <a:pt x="63939" y="52610"/>
                    <a:pt x="63939" y="39864"/>
                  </a:cubicBezTo>
                  <a:cubicBezTo>
                    <a:pt x="63939" y="27119"/>
                    <a:pt x="52610" y="15789"/>
                    <a:pt x="39864" y="15789"/>
                  </a:cubicBezTo>
                  <a:cubicBezTo>
                    <a:pt x="27118" y="15789"/>
                    <a:pt x="15789" y="27119"/>
                    <a:pt x="15789" y="39864"/>
                  </a:cubicBezTo>
                  <a:cubicBezTo>
                    <a:pt x="15789" y="54026"/>
                    <a:pt x="27118"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7" name="Freeform: Shape 2146">
              <a:extLst>
                <a:ext uri="{FF2B5EF4-FFF2-40B4-BE49-F238E27FC236}">
                  <a16:creationId xmlns:a16="http://schemas.microsoft.com/office/drawing/2014/main" id="{479CE92D-38EF-40FF-BEAB-E991B9D1274E}"/>
                </a:ext>
              </a:extLst>
            </p:cNvPr>
            <p:cNvSpPr/>
            <p:nvPr/>
          </p:nvSpPr>
          <p:spPr>
            <a:xfrm>
              <a:off x="9660343" y="5271254"/>
              <a:ext cx="70810" cy="70810"/>
            </a:xfrm>
            <a:custGeom>
              <a:avLst/>
              <a:gdLst>
                <a:gd name="connsiteX0" fmla="*/ 39864 w 70809"/>
                <a:gd name="connsiteY0" fmla="*/ 63939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1" y="63939"/>
                    <a:pt x="63940" y="52610"/>
                    <a:pt x="63940" y="39864"/>
                  </a:cubicBezTo>
                  <a:cubicBezTo>
                    <a:pt x="63940" y="27118"/>
                    <a:pt x="52611" y="15789"/>
                    <a:pt x="39864" y="15789"/>
                  </a:cubicBezTo>
                  <a:cubicBezTo>
                    <a:pt x="27118" y="15789"/>
                    <a:pt x="15789" y="27118"/>
                    <a:pt x="15789" y="39864"/>
                  </a:cubicBezTo>
                  <a:cubicBezTo>
                    <a:pt x="15789" y="54026"/>
                    <a:pt x="27118" y="63939"/>
                    <a:pt x="3986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8" name="Freeform: Shape 2147">
              <a:extLst>
                <a:ext uri="{FF2B5EF4-FFF2-40B4-BE49-F238E27FC236}">
                  <a16:creationId xmlns:a16="http://schemas.microsoft.com/office/drawing/2014/main" id="{0E0DCF98-6305-4878-8D9E-18A9713636A3}"/>
                </a:ext>
              </a:extLst>
            </p:cNvPr>
            <p:cNvSpPr/>
            <p:nvPr/>
          </p:nvSpPr>
          <p:spPr>
            <a:xfrm>
              <a:off x="9613519" y="4863390"/>
              <a:ext cx="99133" cy="99133"/>
            </a:xfrm>
            <a:custGeom>
              <a:avLst/>
              <a:gdLst>
                <a:gd name="connsiteX0" fmla="*/ 49867 w 99133"/>
                <a:gd name="connsiteY0" fmla="*/ 83766 h 99133"/>
                <a:gd name="connsiteX1" fmla="*/ 83855 w 99133"/>
                <a:gd name="connsiteY1" fmla="*/ 49777 h 99133"/>
                <a:gd name="connsiteX2" fmla="*/ 49867 w 99133"/>
                <a:gd name="connsiteY2" fmla="*/ 15789 h 99133"/>
                <a:gd name="connsiteX3" fmla="*/ 15878 w 99133"/>
                <a:gd name="connsiteY3" fmla="*/ 49777 h 99133"/>
                <a:gd name="connsiteX4" fmla="*/ 49867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867" y="83766"/>
                  </a:moveTo>
                  <a:cubicBezTo>
                    <a:pt x="68278" y="83766"/>
                    <a:pt x="83855" y="68188"/>
                    <a:pt x="83855" y="49777"/>
                  </a:cubicBezTo>
                  <a:cubicBezTo>
                    <a:pt x="83855" y="31367"/>
                    <a:pt x="68278" y="15789"/>
                    <a:pt x="49867" y="15789"/>
                  </a:cubicBezTo>
                  <a:cubicBezTo>
                    <a:pt x="31456" y="15789"/>
                    <a:pt x="15878" y="31367"/>
                    <a:pt x="15878" y="49777"/>
                  </a:cubicBezTo>
                  <a:cubicBezTo>
                    <a:pt x="14463" y="68188"/>
                    <a:pt x="30040" y="83766"/>
                    <a:pt x="49867" y="8376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9" name="Freeform: Shape 2148">
              <a:extLst>
                <a:ext uri="{FF2B5EF4-FFF2-40B4-BE49-F238E27FC236}">
                  <a16:creationId xmlns:a16="http://schemas.microsoft.com/office/drawing/2014/main" id="{EBC42FC4-50DA-4368-9035-25A62C226164}"/>
                </a:ext>
              </a:extLst>
            </p:cNvPr>
            <p:cNvSpPr/>
            <p:nvPr/>
          </p:nvSpPr>
          <p:spPr>
            <a:xfrm>
              <a:off x="10119189" y="4877552"/>
              <a:ext cx="84971" cy="84971"/>
            </a:xfrm>
            <a:custGeom>
              <a:avLst/>
              <a:gdLst>
                <a:gd name="connsiteX0" fmla="*/ 42696 w 84971"/>
                <a:gd name="connsiteY0" fmla="*/ 69605 h 84971"/>
                <a:gd name="connsiteX1" fmla="*/ 69604 w 84971"/>
                <a:gd name="connsiteY1" fmla="*/ 42697 h 84971"/>
                <a:gd name="connsiteX2" fmla="*/ 42696 w 84971"/>
                <a:gd name="connsiteY2" fmla="*/ 15789 h 84971"/>
                <a:gd name="connsiteX3" fmla="*/ 15789 w 84971"/>
                <a:gd name="connsiteY3" fmla="*/ 42697 h 84971"/>
                <a:gd name="connsiteX4" fmla="*/ 42696 w 84971"/>
                <a:gd name="connsiteY4" fmla="*/ 69605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6" y="69605"/>
                  </a:moveTo>
                  <a:cubicBezTo>
                    <a:pt x="56858" y="69605"/>
                    <a:pt x="69604" y="58275"/>
                    <a:pt x="69604" y="42697"/>
                  </a:cubicBezTo>
                  <a:cubicBezTo>
                    <a:pt x="69604" y="28535"/>
                    <a:pt x="58275" y="15789"/>
                    <a:pt x="42696" y="15789"/>
                  </a:cubicBezTo>
                  <a:cubicBezTo>
                    <a:pt x="28534" y="15789"/>
                    <a:pt x="15789" y="27119"/>
                    <a:pt x="15789" y="42697"/>
                  </a:cubicBezTo>
                  <a:cubicBezTo>
                    <a:pt x="15789" y="58275"/>
                    <a:pt x="28534" y="69605"/>
                    <a:pt x="42696" y="6960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0" name="Freeform: Shape 2149">
              <a:extLst>
                <a:ext uri="{FF2B5EF4-FFF2-40B4-BE49-F238E27FC236}">
                  <a16:creationId xmlns:a16="http://schemas.microsoft.com/office/drawing/2014/main" id="{DEF7B703-9A9F-4F41-928F-3714905303C1}"/>
                </a:ext>
              </a:extLst>
            </p:cNvPr>
            <p:cNvSpPr/>
            <p:nvPr/>
          </p:nvSpPr>
          <p:spPr>
            <a:xfrm>
              <a:off x="10122022" y="5302409"/>
              <a:ext cx="84971" cy="84971"/>
            </a:xfrm>
            <a:custGeom>
              <a:avLst/>
              <a:gdLst>
                <a:gd name="connsiteX0" fmla="*/ 42696 w 84971"/>
                <a:gd name="connsiteY0" fmla="*/ 69605 h 84971"/>
                <a:gd name="connsiteX1" fmla="*/ 69604 w 84971"/>
                <a:gd name="connsiteY1" fmla="*/ 42697 h 84971"/>
                <a:gd name="connsiteX2" fmla="*/ 42696 w 84971"/>
                <a:gd name="connsiteY2" fmla="*/ 15789 h 84971"/>
                <a:gd name="connsiteX3" fmla="*/ 15789 w 84971"/>
                <a:gd name="connsiteY3" fmla="*/ 42697 h 84971"/>
                <a:gd name="connsiteX4" fmla="*/ 42696 w 84971"/>
                <a:gd name="connsiteY4" fmla="*/ 69605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6" y="69605"/>
                  </a:moveTo>
                  <a:cubicBezTo>
                    <a:pt x="56858" y="69605"/>
                    <a:pt x="69604" y="58275"/>
                    <a:pt x="69604" y="42697"/>
                  </a:cubicBezTo>
                  <a:cubicBezTo>
                    <a:pt x="69604" y="28535"/>
                    <a:pt x="58275" y="15789"/>
                    <a:pt x="42696" y="15789"/>
                  </a:cubicBezTo>
                  <a:cubicBezTo>
                    <a:pt x="28534" y="15789"/>
                    <a:pt x="15789" y="27119"/>
                    <a:pt x="15789" y="42697"/>
                  </a:cubicBezTo>
                  <a:cubicBezTo>
                    <a:pt x="15789" y="58275"/>
                    <a:pt x="28534" y="69605"/>
                    <a:pt x="42696" y="6960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1" name="Freeform: Shape 2150">
              <a:extLst>
                <a:ext uri="{FF2B5EF4-FFF2-40B4-BE49-F238E27FC236}">
                  <a16:creationId xmlns:a16="http://schemas.microsoft.com/office/drawing/2014/main" id="{F407F144-DF61-4C6B-A682-16950611D53B}"/>
                </a:ext>
              </a:extLst>
            </p:cNvPr>
            <p:cNvSpPr/>
            <p:nvPr/>
          </p:nvSpPr>
          <p:spPr>
            <a:xfrm>
              <a:off x="10188365" y="5489347"/>
              <a:ext cx="56648" cy="56648"/>
            </a:xfrm>
            <a:custGeom>
              <a:avLst/>
              <a:gdLst>
                <a:gd name="connsiteX0" fmla="*/ 28752 w 56647"/>
                <a:gd name="connsiteY0" fmla="*/ 41280 h 56647"/>
                <a:gd name="connsiteX1" fmla="*/ 41498 w 56647"/>
                <a:gd name="connsiteY1" fmla="*/ 28535 h 56647"/>
                <a:gd name="connsiteX2" fmla="*/ 28752 w 56647"/>
                <a:gd name="connsiteY2" fmla="*/ 15789 h 56647"/>
                <a:gd name="connsiteX3" fmla="*/ 16006 w 56647"/>
                <a:gd name="connsiteY3" fmla="*/ 28535 h 56647"/>
                <a:gd name="connsiteX4" fmla="*/ 28752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752" y="41280"/>
                  </a:moveTo>
                  <a:cubicBezTo>
                    <a:pt x="35833" y="41280"/>
                    <a:pt x="41498" y="35616"/>
                    <a:pt x="41498" y="28535"/>
                  </a:cubicBezTo>
                  <a:cubicBezTo>
                    <a:pt x="41498" y="21454"/>
                    <a:pt x="35833" y="15789"/>
                    <a:pt x="28752" y="15789"/>
                  </a:cubicBezTo>
                  <a:cubicBezTo>
                    <a:pt x="21671" y="15789"/>
                    <a:pt x="16006" y="21454"/>
                    <a:pt x="16006" y="28535"/>
                  </a:cubicBezTo>
                  <a:cubicBezTo>
                    <a:pt x="14590" y="35616"/>
                    <a:pt x="20255" y="41280"/>
                    <a:pt x="28752"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2" name="Freeform: Shape 2151">
              <a:extLst>
                <a:ext uri="{FF2B5EF4-FFF2-40B4-BE49-F238E27FC236}">
                  <a16:creationId xmlns:a16="http://schemas.microsoft.com/office/drawing/2014/main" id="{484F2820-414B-4F45-97F9-608A7F9C1550}"/>
                </a:ext>
              </a:extLst>
            </p:cNvPr>
            <p:cNvSpPr/>
            <p:nvPr/>
          </p:nvSpPr>
          <p:spPr>
            <a:xfrm>
              <a:off x="10320288" y="5238681"/>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3" name="Freeform: Shape 2152">
              <a:extLst>
                <a:ext uri="{FF2B5EF4-FFF2-40B4-BE49-F238E27FC236}">
                  <a16:creationId xmlns:a16="http://schemas.microsoft.com/office/drawing/2014/main" id="{610FBE2D-117D-4A9F-9A12-296007AD8D09}"/>
                </a:ext>
              </a:extLst>
            </p:cNvPr>
            <p:cNvSpPr/>
            <p:nvPr/>
          </p:nvSpPr>
          <p:spPr>
            <a:xfrm>
              <a:off x="9408261" y="4978102"/>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4" name="Freeform: Shape 2153">
              <a:extLst>
                <a:ext uri="{FF2B5EF4-FFF2-40B4-BE49-F238E27FC236}">
                  <a16:creationId xmlns:a16="http://schemas.microsoft.com/office/drawing/2014/main" id="{4E9A0FBC-D9B6-45FA-A5E1-0460ACAEA583}"/>
                </a:ext>
              </a:extLst>
            </p:cNvPr>
            <p:cNvSpPr/>
            <p:nvPr/>
          </p:nvSpPr>
          <p:spPr>
            <a:xfrm>
              <a:off x="9246815" y="5380300"/>
              <a:ext cx="56648" cy="56648"/>
            </a:xfrm>
            <a:custGeom>
              <a:avLst/>
              <a:gdLst>
                <a:gd name="connsiteX0" fmla="*/ 28535 w 56647"/>
                <a:gd name="connsiteY0" fmla="*/ 41281 h 56647"/>
                <a:gd name="connsiteX1" fmla="*/ 41281 w 56647"/>
                <a:gd name="connsiteY1" fmla="*/ 28535 h 56647"/>
                <a:gd name="connsiteX2" fmla="*/ 28535 w 56647"/>
                <a:gd name="connsiteY2" fmla="*/ 15789 h 56647"/>
                <a:gd name="connsiteX3" fmla="*/ 15789 w 56647"/>
                <a:gd name="connsiteY3" fmla="*/ 28535 h 56647"/>
                <a:gd name="connsiteX4" fmla="*/ 28535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1"/>
                  </a:moveTo>
                  <a:cubicBezTo>
                    <a:pt x="35616" y="41281"/>
                    <a:pt x="41281" y="35616"/>
                    <a:pt x="41281" y="28535"/>
                  </a:cubicBezTo>
                  <a:cubicBezTo>
                    <a:pt x="41281" y="21454"/>
                    <a:pt x="35616" y="15789"/>
                    <a:pt x="28535" y="15789"/>
                  </a:cubicBezTo>
                  <a:cubicBezTo>
                    <a:pt x="21454" y="15789"/>
                    <a:pt x="15789" y="21454"/>
                    <a:pt x="15789" y="28535"/>
                  </a:cubicBezTo>
                  <a:cubicBezTo>
                    <a:pt x="15789" y="35616"/>
                    <a:pt x="21454" y="41281"/>
                    <a:pt x="28535"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5" name="Freeform: Shape 2154">
              <a:extLst>
                <a:ext uri="{FF2B5EF4-FFF2-40B4-BE49-F238E27FC236}">
                  <a16:creationId xmlns:a16="http://schemas.microsoft.com/office/drawing/2014/main" id="{D6E67EF0-69A2-4CBE-BD91-5F28D3F73E19}"/>
                </a:ext>
              </a:extLst>
            </p:cNvPr>
            <p:cNvSpPr/>
            <p:nvPr/>
          </p:nvSpPr>
          <p:spPr>
            <a:xfrm>
              <a:off x="9504562" y="5091397"/>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4199"/>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6" name="Freeform: Shape 2155">
              <a:extLst>
                <a:ext uri="{FF2B5EF4-FFF2-40B4-BE49-F238E27FC236}">
                  <a16:creationId xmlns:a16="http://schemas.microsoft.com/office/drawing/2014/main" id="{5AF14E20-8673-48DD-BC12-8D0A8E5C25B6}"/>
                </a:ext>
              </a:extLst>
            </p:cNvPr>
            <p:cNvSpPr/>
            <p:nvPr/>
          </p:nvSpPr>
          <p:spPr>
            <a:xfrm>
              <a:off x="9943581" y="5077235"/>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7" name="Freeform: Shape 2156">
              <a:extLst>
                <a:ext uri="{FF2B5EF4-FFF2-40B4-BE49-F238E27FC236}">
                  <a16:creationId xmlns:a16="http://schemas.microsoft.com/office/drawing/2014/main" id="{93494EB1-A5FF-4F96-A350-3237D7FDDEDD}"/>
                </a:ext>
              </a:extLst>
            </p:cNvPr>
            <p:cNvSpPr/>
            <p:nvPr/>
          </p:nvSpPr>
          <p:spPr>
            <a:xfrm>
              <a:off x="9828870" y="4915790"/>
              <a:ext cx="70810" cy="70810"/>
            </a:xfrm>
            <a:custGeom>
              <a:avLst/>
              <a:gdLst>
                <a:gd name="connsiteX0" fmla="*/ 38448 w 70809"/>
                <a:gd name="connsiteY0" fmla="*/ 61107 h 70809"/>
                <a:gd name="connsiteX1" fmla="*/ 61107 w 70809"/>
                <a:gd name="connsiteY1" fmla="*/ 38448 h 70809"/>
                <a:gd name="connsiteX2" fmla="*/ 38448 w 70809"/>
                <a:gd name="connsiteY2" fmla="*/ 15789 h 70809"/>
                <a:gd name="connsiteX3" fmla="*/ 15789 w 70809"/>
                <a:gd name="connsiteY3" fmla="*/ 38448 h 70809"/>
                <a:gd name="connsiteX4" fmla="*/ 3844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8" y="61107"/>
                  </a:moveTo>
                  <a:cubicBezTo>
                    <a:pt x="51194" y="61107"/>
                    <a:pt x="61107" y="51194"/>
                    <a:pt x="61107" y="38448"/>
                  </a:cubicBezTo>
                  <a:cubicBezTo>
                    <a:pt x="61107" y="25702"/>
                    <a:pt x="51194" y="15789"/>
                    <a:pt x="38448" y="15789"/>
                  </a:cubicBezTo>
                  <a:cubicBezTo>
                    <a:pt x="25703" y="15789"/>
                    <a:pt x="15789" y="25702"/>
                    <a:pt x="15789" y="38448"/>
                  </a:cubicBezTo>
                  <a:cubicBezTo>
                    <a:pt x="15789" y="51194"/>
                    <a:pt x="25703" y="61107"/>
                    <a:pt x="38448"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8" name="Freeform: Shape 2157">
              <a:extLst>
                <a:ext uri="{FF2B5EF4-FFF2-40B4-BE49-F238E27FC236}">
                  <a16:creationId xmlns:a16="http://schemas.microsoft.com/office/drawing/2014/main" id="{F4AAB9E0-2AC7-4358-ABBE-83DFCB4B3655}"/>
                </a:ext>
              </a:extLst>
            </p:cNvPr>
            <p:cNvSpPr/>
            <p:nvPr/>
          </p:nvSpPr>
          <p:spPr>
            <a:xfrm>
              <a:off x="9721239" y="5394462"/>
              <a:ext cx="70810" cy="70810"/>
            </a:xfrm>
            <a:custGeom>
              <a:avLst/>
              <a:gdLst>
                <a:gd name="connsiteX0" fmla="*/ 61107 w 70809"/>
                <a:gd name="connsiteY0" fmla="*/ 38448 h 70809"/>
                <a:gd name="connsiteX1" fmla="*/ 38448 w 70809"/>
                <a:gd name="connsiteY1" fmla="*/ 61107 h 70809"/>
                <a:gd name="connsiteX2" fmla="*/ 15790 w 70809"/>
                <a:gd name="connsiteY2" fmla="*/ 38448 h 70809"/>
                <a:gd name="connsiteX3" fmla="*/ 38448 w 70809"/>
                <a:gd name="connsiteY3" fmla="*/ 15789 h 70809"/>
                <a:gd name="connsiteX4" fmla="*/ 61107 w 70809"/>
                <a:gd name="connsiteY4" fmla="*/ 38448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1107" y="38448"/>
                  </a:moveTo>
                  <a:cubicBezTo>
                    <a:pt x="61107" y="50962"/>
                    <a:pt x="50962" y="61107"/>
                    <a:pt x="38448" y="61107"/>
                  </a:cubicBezTo>
                  <a:cubicBezTo>
                    <a:pt x="25934" y="61107"/>
                    <a:pt x="15790" y="50962"/>
                    <a:pt x="15790" y="38448"/>
                  </a:cubicBezTo>
                  <a:cubicBezTo>
                    <a:pt x="15790" y="25934"/>
                    <a:pt x="25935" y="15789"/>
                    <a:pt x="38448" y="15789"/>
                  </a:cubicBezTo>
                  <a:cubicBezTo>
                    <a:pt x="50963" y="15789"/>
                    <a:pt x="61107" y="25934"/>
                    <a:pt x="61107"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9" name="Freeform: Shape 2158">
              <a:extLst>
                <a:ext uri="{FF2B5EF4-FFF2-40B4-BE49-F238E27FC236}">
                  <a16:creationId xmlns:a16="http://schemas.microsoft.com/office/drawing/2014/main" id="{3471E877-7021-4250-8D0B-8C7A9E1759DA}"/>
                </a:ext>
              </a:extLst>
            </p:cNvPr>
            <p:cNvSpPr/>
            <p:nvPr/>
          </p:nvSpPr>
          <p:spPr>
            <a:xfrm>
              <a:off x="10078119" y="5442612"/>
              <a:ext cx="42486" cy="42486"/>
            </a:xfrm>
            <a:custGeom>
              <a:avLst/>
              <a:gdLst>
                <a:gd name="connsiteX0" fmla="*/ 27118 w 42485"/>
                <a:gd name="connsiteY0" fmla="*/ 38448 h 42485"/>
                <a:gd name="connsiteX1" fmla="*/ 38449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9" y="32783"/>
                    <a:pt x="38449" y="27119"/>
                  </a:cubicBezTo>
                  <a:cubicBezTo>
                    <a:pt x="38449" y="21454"/>
                    <a:pt x="32783" y="15789"/>
                    <a:pt x="27118" y="15789"/>
                  </a:cubicBezTo>
                  <a:cubicBezTo>
                    <a:pt x="21454" y="15789"/>
                    <a:pt x="15789" y="21454"/>
                    <a:pt x="15789" y="27119"/>
                  </a:cubicBezTo>
                  <a:cubicBezTo>
                    <a:pt x="15789" y="34200"/>
                    <a:pt x="21454"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0" name="Freeform: Shape 2159">
              <a:extLst>
                <a:ext uri="{FF2B5EF4-FFF2-40B4-BE49-F238E27FC236}">
                  <a16:creationId xmlns:a16="http://schemas.microsoft.com/office/drawing/2014/main" id="{6182676D-FB35-43C7-99DA-00D18E17E8F5}"/>
                </a:ext>
              </a:extLst>
            </p:cNvPr>
            <p:cNvSpPr/>
            <p:nvPr/>
          </p:nvSpPr>
          <p:spPr>
            <a:xfrm>
              <a:off x="10177252" y="5938279"/>
              <a:ext cx="42486" cy="42486"/>
            </a:xfrm>
            <a:custGeom>
              <a:avLst/>
              <a:gdLst>
                <a:gd name="connsiteX0" fmla="*/ 27118 w 42485"/>
                <a:gd name="connsiteY0" fmla="*/ 38448 h 42485"/>
                <a:gd name="connsiteX1" fmla="*/ 38449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9" y="32783"/>
                    <a:pt x="38449" y="27119"/>
                  </a:cubicBezTo>
                  <a:cubicBezTo>
                    <a:pt x="38449" y="21454"/>
                    <a:pt x="32783" y="15789"/>
                    <a:pt x="27118" y="15789"/>
                  </a:cubicBezTo>
                  <a:cubicBezTo>
                    <a:pt x="21454" y="15789"/>
                    <a:pt x="15789" y="21454"/>
                    <a:pt x="15789" y="27119"/>
                  </a:cubicBezTo>
                  <a:cubicBezTo>
                    <a:pt x="15789" y="32783"/>
                    <a:pt x="21454"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1" name="Freeform: Shape 2160">
              <a:extLst>
                <a:ext uri="{FF2B5EF4-FFF2-40B4-BE49-F238E27FC236}">
                  <a16:creationId xmlns:a16="http://schemas.microsoft.com/office/drawing/2014/main" id="{60F069D2-03CB-4D56-AB76-6819D85A7BD7}"/>
                </a:ext>
              </a:extLst>
            </p:cNvPr>
            <p:cNvSpPr/>
            <p:nvPr/>
          </p:nvSpPr>
          <p:spPr>
            <a:xfrm>
              <a:off x="10222571" y="5856140"/>
              <a:ext cx="42486" cy="42486"/>
            </a:xfrm>
            <a:custGeom>
              <a:avLst/>
              <a:gdLst>
                <a:gd name="connsiteX0" fmla="*/ 27118 w 42485"/>
                <a:gd name="connsiteY0" fmla="*/ 38448 h 42485"/>
                <a:gd name="connsiteX1" fmla="*/ 38448 w 42485"/>
                <a:gd name="connsiteY1" fmla="*/ 27118 h 42485"/>
                <a:gd name="connsiteX2" fmla="*/ 27118 w 42485"/>
                <a:gd name="connsiteY2" fmla="*/ 15789 h 42485"/>
                <a:gd name="connsiteX3" fmla="*/ 15789 w 42485"/>
                <a:gd name="connsiteY3" fmla="*/ 27118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8" y="32783"/>
                    <a:pt x="38448" y="27118"/>
                  </a:cubicBezTo>
                  <a:cubicBezTo>
                    <a:pt x="38448" y="21454"/>
                    <a:pt x="32783" y="15789"/>
                    <a:pt x="27118" y="15789"/>
                  </a:cubicBezTo>
                  <a:cubicBezTo>
                    <a:pt x="21454" y="15789"/>
                    <a:pt x="15789" y="21454"/>
                    <a:pt x="15789" y="27118"/>
                  </a:cubicBezTo>
                  <a:cubicBezTo>
                    <a:pt x="15789" y="32783"/>
                    <a:pt x="21454"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2" name="Freeform: Shape 2161">
              <a:extLst>
                <a:ext uri="{FF2B5EF4-FFF2-40B4-BE49-F238E27FC236}">
                  <a16:creationId xmlns:a16="http://schemas.microsoft.com/office/drawing/2014/main" id="{399D6E3B-9871-4A63-90F5-4FBF9E9B549D}"/>
                </a:ext>
              </a:extLst>
            </p:cNvPr>
            <p:cNvSpPr/>
            <p:nvPr/>
          </p:nvSpPr>
          <p:spPr>
            <a:xfrm>
              <a:off x="10029969" y="4952611"/>
              <a:ext cx="42486" cy="42486"/>
            </a:xfrm>
            <a:custGeom>
              <a:avLst/>
              <a:gdLst>
                <a:gd name="connsiteX0" fmla="*/ 27118 w 42485"/>
                <a:gd name="connsiteY0" fmla="*/ 38448 h 42485"/>
                <a:gd name="connsiteX1" fmla="*/ 38448 w 42485"/>
                <a:gd name="connsiteY1" fmla="*/ 27118 h 42485"/>
                <a:gd name="connsiteX2" fmla="*/ 27118 w 42485"/>
                <a:gd name="connsiteY2" fmla="*/ 15789 h 42485"/>
                <a:gd name="connsiteX3" fmla="*/ 15789 w 42485"/>
                <a:gd name="connsiteY3" fmla="*/ 27118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8" y="32783"/>
                    <a:pt x="38448" y="27118"/>
                  </a:cubicBezTo>
                  <a:cubicBezTo>
                    <a:pt x="38448" y="21454"/>
                    <a:pt x="32783" y="15789"/>
                    <a:pt x="27118" y="15789"/>
                  </a:cubicBezTo>
                  <a:cubicBezTo>
                    <a:pt x="21453" y="15789"/>
                    <a:pt x="15789" y="21454"/>
                    <a:pt x="15789" y="27118"/>
                  </a:cubicBezTo>
                  <a:cubicBezTo>
                    <a:pt x="15789" y="34199"/>
                    <a:pt x="21453"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3" name="Freeform: Shape 2162">
              <a:extLst>
                <a:ext uri="{FF2B5EF4-FFF2-40B4-BE49-F238E27FC236}">
                  <a16:creationId xmlns:a16="http://schemas.microsoft.com/office/drawing/2014/main" id="{90507003-1EAB-4627-A68A-4337183C4594}"/>
                </a:ext>
              </a:extLst>
            </p:cNvPr>
            <p:cNvSpPr/>
            <p:nvPr/>
          </p:nvSpPr>
          <p:spPr>
            <a:xfrm>
              <a:off x="9894014" y="4842147"/>
              <a:ext cx="42486" cy="42486"/>
            </a:xfrm>
            <a:custGeom>
              <a:avLst/>
              <a:gdLst>
                <a:gd name="connsiteX0" fmla="*/ 27118 w 42485"/>
                <a:gd name="connsiteY0" fmla="*/ 38448 h 42485"/>
                <a:gd name="connsiteX1" fmla="*/ 38449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9" y="32783"/>
                    <a:pt x="38449" y="27119"/>
                  </a:cubicBezTo>
                  <a:cubicBezTo>
                    <a:pt x="38449" y="21454"/>
                    <a:pt x="32783" y="15789"/>
                    <a:pt x="27118" y="15789"/>
                  </a:cubicBezTo>
                  <a:cubicBezTo>
                    <a:pt x="21454" y="15789"/>
                    <a:pt x="15789" y="21454"/>
                    <a:pt x="15789" y="27119"/>
                  </a:cubicBezTo>
                  <a:cubicBezTo>
                    <a:pt x="15789" y="34200"/>
                    <a:pt x="21454"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4" name="Freeform: Shape 2163">
              <a:extLst>
                <a:ext uri="{FF2B5EF4-FFF2-40B4-BE49-F238E27FC236}">
                  <a16:creationId xmlns:a16="http://schemas.microsoft.com/office/drawing/2014/main" id="{5B100960-ACC1-409A-AAB4-02209B21232D}"/>
                </a:ext>
              </a:extLst>
            </p:cNvPr>
            <p:cNvSpPr/>
            <p:nvPr/>
          </p:nvSpPr>
          <p:spPr>
            <a:xfrm>
              <a:off x="10318872" y="5524752"/>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7"/>
                    <a:pt x="28535" y="15789"/>
                    <a:pt x="24287" y="15789"/>
                  </a:cubicBezTo>
                  <a:cubicBezTo>
                    <a:pt x="20037" y="15789"/>
                    <a:pt x="15789" y="20037"/>
                    <a:pt x="15789" y="24286"/>
                  </a:cubicBezTo>
                  <a:cubicBezTo>
                    <a:pt x="15789" y="28535"/>
                    <a:pt x="20037" y="32783"/>
                    <a:pt x="24287"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5" name="Freeform: Shape 2164">
              <a:extLst>
                <a:ext uri="{FF2B5EF4-FFF2-40B4-BE49-F238E27FC236}">
                  <a16:creationId xmlns:a16="http://schemas.microsoft.com/office/drawing/2014/main" id="{86CBB2CA-7869-4179-B169-50DCF452CA85}"/>
                </a:ext>
              </a:extLst>
            </p:cNvPr>
            <p:cNvSpPr/>
            <p:nvPr/>
          </p:nvSpPr>
          <p:spPr>
            <a:xfrm>
              <a:off x="9735401" y="5354809"/>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7"/>
                    <a:pt x="28535" y="15789"/>
                    <a:pt x="24287" y="15789"/>
                  </a:cubicBezTo>
                  <a:cubicBezTo>
                    <a:pt x="20038" y="15789"/>
                    <a:pt x="15789" y="20037"/>
                    <a:pt x="15789" y="24286"/>
                  </a:cubicBezTo>
                  <a:cubicBezTo>
                    <a:pt x="15789" y="28535"/>
                    <a:pt x="20038" y="32783"/>
                    <a:pt x="24287"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6" name="Freeform: Shape 2165">
              <a:extLst>
                <a:ext uri="{FF2B5EF4-FFF2-40B4-BE49-F238E27FC236}">
                  <a16:creationId xmlns:a16="http://schemas.microsoft.com/office/drawing/2014/main" id="{0B112D52-3712-4A64-8315-0A4DA43855B9}"/>
                </a:ext>
              </a:extLst>
            </p:cNvPr>
            <p:cNvSpPr/>
            <p:nvPr/>
          </p:nvSpPr>
          <p:spPr>
            <a:xfrm>
              <a:off x="9571123" y="5431283"/>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2697"/>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7" name="Freeform: Shape 2166">
              <a:extLst>
                <a:ext uri="{FF2B5EF4-FFF2-40B4-BE49-F238E27FC236}">
                  <a16:creationId xmlns:a16="http://schemas.microsoft.com/office/drawing/2014/main" id="{594A4E5B-191C-4E84-AEF6-217E645463EA}"/>
                </a:ext>
              </a:extLst>
            </p:cNvPr>
            <p:cNvSpPr/>
            <p:nvPr/>
          </p:nvSpPr>
          <p:spPr>
            <a:xfrm>
              <a:off x="9998813" y="5336398"/>
              <a:ext cx="56648" cy="56648"/>
            </a:xfrm>
            <a:custGeom>
              <a:avLst/>
              <a:gdLst>
                <a:gd name="connsiteX0" fmla="*/ 34199 w 56647"/>
                <a:gd name="connsiteY0" fmla="*/ 52610 h 56647"/>
                <a:gd name="connsiteX1" fmla="*/ 52610 w 56647"/>
                <a:gd name="connsiteY1" fmla="*/ 34200 h 56647"/>
                <a:gd name="connsiteX2" fmla="*/ 34199 w 56647"/>
                <a:gd name="connsiteY2" fmla="*/ 15789 h 56647"/>
                <a:gd name="connsiteX3" fmla="*/ 15789 w 56647"/>
                <a:gd name="connsiteY3" fmla="*/ 34200 h 56647"/>
                <a:gd name="connsiteX4" fmla="*/ 34199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199" y="52610"/>
                  </a:moveTo>
                  <a:cubicBezTo>
                    <a:pt x="44113" y="52610"/>
                    <a:pt x="52610" y="44113"/>
                    <a:pt x="52610" y="34200"/>
                  </a:cubicBezTo>
                  <a:cubicBezTo>
                    <a:pt x="52610" y="24286"/>
                    <a:pt x="44113" y="15789"/>
                    <a:pt x="34199" y="15789"/>
                  </a:cubicBezTo>
                  <a:cubicBezTo>
                    <a:pt x="24286" y="15789"/>
                    <a:pt x="15789" y="24286"/>
                    <a:pt x="15789" y="34200"/>
                  </a:cubicBezTo>
                  <a:cubicBezTo>
                    <a:pt x="15789" y="44113"/>
                    <a:pt x="22870" y="52610"/>
                    <a:pt x="34199"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8" name="Freeform: Shape 2167">
              <a:extLst>
                <a:ext uri="{FF2B5EF4-FFF2-40B4-BE49-F238E27FC236}">
                  <a16:creationId xmlns:a16="http://schemas.microsoft.com/office/drawing/2014/main" id="{20D43F79-ECCE-48B0-8ECD-F9291BBF5A96}"/>
                </a:ext>
              </a:extLst>
            </p:cNvPr>
            <p:cNvSpPr/>
            <p:nvPr/>
          </p:nvSpPr>
          <p:spPr>
            <a:xfrm>
              <a:off x="9481903" y="5020588"/>
              <a:ext cx="56648" cy="56648"/>
            </a:xfrm>
            <a:custGeom>
              <a:avLst/>
              <a:gdLst>
                <a:gd name="connsiteX0" fmla="*/ 34199 w 56647"/>
                <a:gd name="connsiteY0" fmla="*/ 52610 h 56647"/>
                <a:gd name="connsiteX1" fmla="*/ 52610 w 56647"/>
                <a:gd name="connsiteY1" fmla="*/ 34199 h 56647"/>
                <a:gd name="connsiteX2" fmla="*/ 34199 w 56647"/>
                <a:gd name="connsiteY2" fmla="*/ 15789 h 56647"/>
                <a:gd name="connsiteX3" fmla="*/ 15789 w 56647"/>
                <a:gd name="connsiteY3" fmla="*/ 34199 h 56647"/>
                <a:gd name="connsiteX4" fmla="*/ 34199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199" y="52610"/>
                  </a:moveTo>
                  <a:cubicBezTo>
                    <a:pt x="44113" y="52610"/>
                    <a:pt x="52610" y="44113"/>
                    <a:pt x="52610" y="34199"/>
                  </a:cubicBezTo>
                  <a:cubicBezTo>
                    <a:pt x="52610" y="24286"/>
                    <a:pt x="44113" y="15789"/>
                    <a:pt x="34199" y="15789"/>
                  </a:cubicBezTo>
                  <a:cubicBezTo>
                    <a:pt x="24286" y="15789"/>
                    <a:pt x="15789" y="24286"/>
                    <a:pt x="15789" y="34199"/>
                  </a:cubicBezTo>
                  <a:cubicBezTo>
                    <a:pt x="15789" y="44113"/>
                    <a:pt x="24286" y="52610"/>
                    <a:pt x="34199"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9" name="Freeform: Shape 2168">
              <a:extLst>
                <a:ext uri="{FF2B5EF4-FFF2-40B4-BE49-F238E27FC236}">
                  <a16:creationId xmlns:a16="http://schemas.microsoft.com/office/drawing/2014/main" id="{087ED037-6704-40F8-8604-C6EBA6F87E68}"/>
                </a:ext>
              </a:extLst>
            </p:cNvPr>
            <p:cNvSpPr/>
            <p:nvPr/>
          </p:nvSpPr>
          <p:spPr>
            <a:xfrm>
              <a:off x="10160258" y="5237265"/>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3"/>
                  </a:cubicBezTo>
                  <a:cubicBezTo>
                    <a:pt x="35616" y="20038"/>
                    <a:pt x="31368" y="15789"/>
                    <a:pt x="25703" y="15789"/>
                  </a:cubicBezTo>
                  <a:cubicBezTo>
                    <a:pt x="20038" y="15789"/>
                    <a:pt x="15789" y="20038"/>
                    <a:pt x="15789" y="25703"/>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0" name="Freeform: Shape 2169">
              <a:extLst>
                <a:ext uri="{FF2B5EF4-FFF2-40B4-BE49-F238E27FC236}">
                  <a16:creationId xmlns:a16="http://schemas.microsoft.com/office/drawing/2014/main" id="{35872D23-DD55-481B-B78B-AE218C331BEE}"/>
                </a:ext>
              </a:extLst>
            </p:cNvPr>
            <p:cNvSpPr/>
            <p:nvPr/>
          </p:nvSpPr>
          <p:spPr>
            <a:xfrm>
              <a:off x="9701413" y="4854893"/>
              <a:ext cx="42486" cy="42486"/>
            </a:xfrm>
            <a:custGeom>
              <a:avLst/>
              <a:gdLst>
                <a:gd name="connsiteX0" fmla="*/ 25703 w 42485"/>
                <a:gd name="connsiteY0" fmla="*/ 35616 h 42485"/>
                <a:gd name="connsiteX1" fmla="*/ 35615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5" y="31367"/>
                    <a:pt x="35615" y="25703"/>
                  </a:cubicBezTo>
                  <a:cubicBezTo>
                    <a:pt x="35615" y="20038"/>
                    <a:pt x="31367"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1" name="Freeform: Shape 2170">
              <a:extLst>
                <a:ext uri="{FF2B5EF4-FFF2-40B4-BE49-F238E27FC236}">
                  <a16:creationId xmlns:a16="http://schemas.microsoft.com/office/drawing/2014/main" id="{F16751C0-9BAF-4F01-8711-96D7188A0344}"/>
                </a:ext>
              </a:extLst>
            </p:cNvPr>
            <p:cNvSpPr/>
            <p:nvPr/>
          </p:nvSpPr>
          <p:spPr>
            <a:xfrm>
              <a:off x="9251064" y="5126802"/>
              <a:ext cx="42486" cy="42486"/>
            </a:xfrm>
            <a:custGeom>
              <a:avLst/>
              <a:gdLst>
                <a:gd name="connsiteX0" fmla="*/ 25702 w 42485"/>
                <a:gd name="connsiteY0" fmla="*/ 35616 h 42485"/>
                <a:gd name="connsiteX1" fmla="*/ 35615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5" y="31367"/>
                    <a:pt x="35615" y="25703"/>
                  </a:cubicBezTo>
                  <a:cubicBezTo>
                    <a:pt x="35615" y="20037"/>
                    <a:pt x="31367" y="15789"/>
                    <a:pt x="25702" y="15789"/>
                  </a:cubicBezTo>
                  <a:cubicBezTo>
                    <a:pt x="20037" y="15789"/>
                    <a:pt x="15789" y="20037"/>
                    <a:pt x="15789" y="25703"/>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2" name="Freeform: Shape 2171">
              <a:extLst>
                <a:ext uri="{FF2B5EF4-FFF2-40B4-BE49-F238E27FC236}">
                  <a16:creationId xmlns:a16="http://schemas.microsoft.com/office/drawing/2014/main" id="{85E03FD6-02FA-47BD-91E5-A1C3DE7F082C}"/>
                </a:ext>
              </a:extLst>
            </p:cNvPr>
            <p:cNvSpPr/>
            <p:nvPr/>
          </p:nvSpPr>
          <p:spPr>
            <a:xfrm>
              <a:off x="9991732" y="5109807"/>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3" name="Freeform: Shape 2172">
              <a:extLst>
                <a:ext uri="{FF2B5EF4-FFF2-40B4-BE49-F238E27FC236}">
                  <a16:creationId xmlns:a16="http://schemas.microsoft.com/office/drawing/2014/main" id="{34BE479C-401E-4EB4-88C6-D64CD5656C7B}"/>
                </a:ext>
              </a:extLst>
            </p:cNvPr>
            <p:cNvSpPr/>
            <p:nvPr/>
          </p:nvSpPr>
          <p:spPr>
            <a:xfrm>
              <a:off x="9664591" y="5179201"/>
              <a:ext cx="70810" cy="70810"/>
            </a:xfrm>
            <a:custGeom>
              <a:avLst/>
              <a:gdLst>
                <a:gd name="connsiteX0" fmla="*/ 66772 w 70809"/>
                <a:gd name="connsiteY0" fmla="*/ 41280 h 70809"/>
                <a:gd name="connsiteX1" fmla="*/ 41281 w 70809"/>
                <a:gd name="connsiteY1" fmla="*/ 66772 h 70809"/>
                <a:gd name="connsiteX2" fmla="*/ 15790 w 70809"/>
                <a:gd name="connsiteY2" fmla="*/ 41280 h 70809"/>
                <a:gd name="connsiteX3" fmla="*/ 41281 w 70809"/>
                <a:gd name="connsiteY3" fmla="*/ 15789 h 70809"/>
                <a:gd name="connsiteX4" fmla="*/ 66772 w 70809"/>
                <a:gd name="connsiteY4" fmla="*/ 4128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6772" y="41280"/>
                  </a:moveTo>
                  <a:cubicBezTo>
                    <a:pt x="66772" y="55359"/>
                    <a:pt x="55359" y="66772"/>
                    <a:pt x="41281" y="66772"/>
                  </a:cubicBezTo>
                  <a:cubicBezTo>
                    <a:pt x="27202" y="66772"/>
                    <a:pt x="15790" y="55359"/>
                    <a:pt x="15790" y="41280"/>
                  </a:cubicBezTo>
                  <a:cubicBezTo>
                    <a:pt x="15790" y="27202"/>
                    <a:pt x="27203" y="15789"/>
                    <a:pt x="41281" y="15789"/>
                  </a:cubicBezTo>
                  <a:cubicBezTo>
                    <a:pt x="55360" y="15789"/>
                    <a:pt x="66772" y="27202"/>
                    <a:pt x="66772"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4" name="Freeform: Shape 2173">
              <a:extLst>
                <a:ext uri="{FF2B5EF4-FFF2-40B4-BE49-F238E27FC236}">
                  <a16:creationId xmlns:a16="http://schemas.microsoft.com/office/drawing/2014/main" id="{F9F5C886-7B1A-4BDD-B512-15B7BEBF8546}"/>
                </a:ext>
              </a:extLst>
            </p:cNvPr>
            <p:cNvSpPr/>
            <p:nvPr/>
          </p:nvSpPr>
          <p:spPr>
            <a:xfrm>
              <a:off x="10058293" y="4854893"/>
              <a:ext cx="42486" cy="42486"/>
            </a:xfrm>
            <a:custGeom>
              <a:avLst/>
              <a:gdLst>
                <a:gd name="connsiteX0" fmla="*/ 25702 w 42485"/>
                <a:gd name="connsiteY0" fmla="*/ 35616 h 42485"/>
                <a:gd name="connsiteX1" fmla="*/ 35615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5" y="31367"/>
                    <a:pt x="35615" y="25703"/>
                  </a:cubicBezTo>
                  <a:cubicBezTo>
                    <a:pt x="35615" y="20038"/>
                    <a:pt x="31367" y="15789"/>
                    <a:pt x="25702" y="15789"/>
                  </a:cubicBezTo>
                  <a:cubicBezTo>
                    <a:pt x="20037" y="15789"/>
                    <a:pt x="15789" y="20038"/>
                    <a:pt x="15789" y="25703"/>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5" name="Freeform: Shape 2174">
              <a:extLst>
                <a:ext uri="{FF2B5EF4-FFF2-40B4-BE49-F238E27FC236}">
                  <a16:creationId xmlns:a16="http://schemas.microsoft.com/office/drawing/2014/main" id="{99B1307A-BC3C-4194-AC52-4F9FEFBA72AD}"/>
                </a:ext>
              </a:extLst>
            </p:cNvPr>
            <p:cNvSpPr/>
            <p:nvPr/>
          </p:nvSpPr>
          <p:spPr>
            <a:xfrm>
              <a:off x="9531470" y="5472352"/>
              <a:ext cx="42486" cy="42486"/>
            </a:xfrm>
            <a:custGeom>
              <a:avLst/>
              <a:gdLst>
                <a:gd name="connsiteX0" fmla="*/ 25703 w 42485"/>
                <a:gd name="connsiteY0" fmla="*/ 35616 h 42485"/>
                <a:gd name="connsiteX1" fmla="*/ 35615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5" y="31367"/>
                    <a:pt x="35615" y="25703"/>
                  </a:cubicBezTo>
                  <a:cubicBezTo>
                    <a:pt x="35615" y="20038"/>
                    <a:pt x="31367"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6" name="Freeform: Shape 2175">
              <a:extLst>
                <a:ext uri="{FF2B5EF4-FFF2-40B4-BE49-F238E27FC236}">
                  <a16:creationId xmlns:a16="http://schemas.microsoft.com/office/drawing/2014/main" id="{B73248D2-62F7-4C05-8F22-0C7F45EB037C}"/>
                </a:ext>
              </a:extLst>
            </p:cNvPr>
            <p:cNvSpPr/>
            <p:nvPr/>
          </p:nvSpPr>
          <p:spPr>
            <a:xfrm>
              <a:off x="9208578" y="5071571"/>
              <a:ext cx="56648" cy="56648"/>
            </a:xfrm>
            <a:custGeom>
              <a:avLst/>
              <a:gdLst>
                <a:gd name="connsiteX0" fmla="*/ 32783 w 56647"/>
                <a:gd name="connsiteY0" fmla="*/ 49777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6" y="49777"/>
                    <a:pt x="49777" y="42697"/>
                    <a:pt x="49777" y="32783"/>
                  </a:cubicBezTo>
                  <a:cubicBezTo>
                    <a:pt x="49777" y="22870"/>
                    <a:pt x="42696" y="15789"/>
                    <a:pt x="32783" y="15789"/>
                  </a:cubicBezTo>
                  <a:cubicBezTo>
                    <a:pt x="22870" y="15789"/>
                    <a:pt x="15789" y="22870"/>
                    <a:pt x="15789" y="32783"/>
                  </a:cubicBezTo>
                  <a:cubicBezTo>
                    <a:pt x="15789" y="42697"/>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7" name="Freeform: Shape 2176">
              <a:extLst>
                <a:ext uri="{FF2B5EF4-FFF2-40B4-BE49-F238E27FC236}">
                  <a16:creationId xmlns:a16="http://schemas.microsoft.com/office/drawing/2014/main" id="{B3AA2725-0F7B-4C77-BBD9-398FE0489A41}"/>
                </a:ext>
              </a:extLst>
            </p:cNvPr>
            <p:cNvSpPr/>
            <p:nvPr/>
          </p:nvSpPr>
          <p:spPr>
            <a:xfrm>
              <a:off x="10165923" y="5731516"/>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2697"/>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8" name="Freeform: Shape 2177">
              <a:extLst>
                <a:ext uri="{FF2B5EF4-FFF2-40B4-BE49-F238E27FC236}">
                  <a16:creationId xmlns:a16="http://schemas.microsoft.com/office/drawing/2014/main" id="{DE64BB4A-5743-4B9F-BE6D-9305A06BC696}"/>
                </a:ext>
              </a:extLst>
            </p:cNvPr>
            <p:cNvSpPr/>
            <p:nvPr/>
          </p:nvSpPr>
          <p:spPr>
            <a:xfrm>
              <a:off x="6227495" y="2749018"/>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8" y="15789"/>
                    <a:pt x="15789" y="20037"/>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9" name="Freeform: Shape 2178">
              <a:extLst>
                <a:ext uri="{FF2B5EF4-FFF2-40B4-BE49-F238E27FC236}">
                  <a16:creationId xmlns:a16="http://schemas.microsoft.com/office/drawing/2014/main" id="{B318971A-791C-43FC-9613-E0E3C9F09EBE}"/>
                </a:ext>
              </a:extLst>
            </p:cNvPr>
            <p:cNvSpPr/>
            <p:nvPr/>
          </p:nvSpPr>
          <p:spPr>
            <a:xfrm>
              <a:off x="6257235" y="2668295"/>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0" name="Freeform: Shape 2179">
              <a:extLst>
                <a:ext uri="{FF2B5EF4-FFF2-40B4-BE49-F238E27FC236}">
                  <a16:creationId xmlns:a16="http://schemas.microsoft.com/office/drawing/2014/main" id="{AFAFAA29-E0BC-4A13-9A30-029DC08CC766}"/>
                </a:ext>
              </a:extLst>
            </p:cNvPr>
            <p:cNvSpPr/>
            <p:nvPr/>
          </p:nvSpPr>
          <p:spPr>
            <a:xfrm>
              <a:off x="6192090" y="2628641"/>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8" y="15789"/>
                    <a:pt x="15789" y="20037"/>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1" name="Freeform: Shape 2180">
              <a:extLst>
                <a:ext uri="{FF2B5EF4-FFF2-40B4-BE49-F238E27FC236}">
                  <a16:creationId xmlns:a16="http://schemas.microsoft.com/office/drawing/2014/main" id="{38132EF0-0484-4437-BFF2-37D32C01F518}"/>
                </a:ext>
              </a:extLst>
            </p:cNvPr>
            <p:cNvSpPr/>
            <p:nvPr/>
          </p:nvSpPr>
          <p:spPr>
            <a:xfrm>
              <a:off x="6244489" y="2608815"/>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2" name="Freeform: Shape 2181">
              <a:extLst>
                <a:ext uri="{FF2B5EF4-FFF2-40B4-BE49-F238E27FC236}">
                  <a16:creationId xmlns:a16="http://schemas.microsoft.com/office/drawing/2014/main" id="{6BBA1AC2-C49F-4CCB-8F39-A8D29A234E84}"/>
                </a:ext>
              </a:extLst>
            </p:cNvPr>
            <p:cNvSpPr/>
            <p:nvPr/>
          </p:nvSpPr>
          <p:spPr>
            <a:xfrm>
              <a:off x="6621196" y="276459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3" name="Freeform: Shape 2182">
              <a:extLst>
                <a:ext uri="{FF2B5EF4-FFF2-40B4-BE49-F238E27FC236}">
                  <a16:creationId xmlns:a16="http://schemas.microsoft.com/office/drawing/2014/main" id="{E45FBC53-7E8C-4589-9D5C-0571FA4B1220}"/>
                </a:ext>
              </a:extLst>
            </p:cNvPr>
            <p:cNvSpPr/>
            <p:nvPr/>
          </p:nvSpPr>
          <p:spPr>
            <a:xfrm>
              <a:off x="6829376" y="258757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2697"/>
                    <a:pt x="49778" y="32783"/>
                  </a:cubicBezTo>
                  <a:cubicBezTo>
                    <a:pt x="49778" y="22870"/>
                    <a:pt x="42697" y="15789"/>
                    <a:pt x="32783" y="15789"/>
                  </a:cubicBezTo>
                  <a:cubicBezTo>
                    <a:pt x="22870" y="15789"/>
                    <a:pt x="15789" y="22870"/>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4" name="Freeform: Shape 2183">
              <a:extLst>
                <a:ext uri="{FF2B5EF4-FFF2-40B4-BE49-F238E27FC236}">
                  <a16:creationId xmlns:a16="http://schemas.microsoft.com/office/drawing/2014/main" id="{BB5F3223-842C-4AB2-8182-B3349A8117A4}"/>
                </a:ext>
              </a:extLst>
            </p:cNvPr>
            <p:cNvSpPr/>
            <p:nvPr/>
          </p:nvSpPr>
          <p:spPr>
            <a:xfrm>
              <a:off x="6915764" y="2434623"/>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1454"/>
                    <a:pt x="38448" y="15789"/>
                    <a:pt x="29951" y="15789"/>
                  </a:cubicBezTo>
                  <a:cubicBezTo>
                    <a:pt x="22870" y="15789"/>
                    <a:pt x="15789" y="21454"/>
                    <a:pt x="15789" y="29951"/>
                  </a:cubicBezTo>
                  <a:cubicBezTo>
                    <a:pt x="15789" y="38448"/>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5" name="Freeform: Shape 2184">
              <a:extLst>
                <a:ext uri="{FF2B5EF4-FFF2-40B4-BE49-F238E27FC236}">
                  <a16:creationId xmlns:a16="http://schemas.microsoft.com/office/drawing/2014/main" id="{B9E7C65D-11B2-44E5-A2F5-CB6870CE9D7B}"/>
                </a:ext>
              </a:extLst>
            </p:cNvPr>
            <p:cNvSpPr/>
            <p:nvPr/>
          </p:nvSpPr>
          <p:spPr>
            <a:xfrm>
              <a:off x="6379027" y="2400635"/>
              <a:ext cx="70810" cy="70810"/>
            </a:xfrm>
            <a:custGeom>
              <a:avLst/>
              <a:gdLst>
                <a:gd name="connsiteX0" fmla="*/ 37032 w 70809"/>
                <a:gd name="connsiteY0" fmla="*/ 15789 h 70809"/>
                <a:gd name="connsiteX1" fmla="*/ 58275 w 70809"/>
                <a:gd name="connsiteY1" fmla="*/ 37032 h 70809"/>
                <a:gd name="connsiteX2" fmla="*/ 37032 w 70809"/>
                <a:gd name="connsiteY2" fmla="*/ 58275 h 70809"/>
                <a:gd name="connsiteX3" fmla="*/ 15789 w 70809"/>
                <a:gd name="connsiteY3" fmla="*/ 37032 h 70809"/>
                <a:gd name="connsiteX4" fmla="*/ 37032 w 70809"/>
                <a:gd name="connsiteY4" fmla="*/ 15789 h 70809"/>
                <a:gd name="connsiteX5" fmla="*/ 37032 w 70809"/>
                <a:gd name="connsiteY5" fmla="*/ 15789 h 70809"/>
                <a:gd name="connsiteX6" fmla="*/ 37032 w 70809"/>
                <a:gd name="connsiteY6" fmla="*/ 24286 h 70809"/>
                <a:gd name="connsiteX7" fmla="*/ 25702 w 70809"/>
                <a:gd name="connsiteY7" fmla="*/ 35616 h 70809"/>
                <a:gd name="connsiteX8" fmla="*/ 37032 w 70809"/>
                <a:gd name="connsiteY8" fmla="*/ 46945 h 70809"/>
                <a:gd name="connsiteX9" fmla="*/ 48361 w 70809"/>
                <a:gd name="connsiteY9" fmla="*/ 35616 h 70809"/>
                <a:gd name="connsiteX10" fmla="*/ 37032 w 70809"/>
                <a:gd name="connsiteY10" fmla="*/ 24286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37032" y="15789"/>
                  </a:moveTo>
                  <a:cubicBezTo>
                    <a:pt x="48361" y="15789"/>
                    <a:pt x="58275" y="25702"/>
                    <a:pt x="58275" y="37032"/>
                  </a:cubicBezTo>
                  <a:cubicBezTo>
                    <a:pt x="58275" y="48361"/>
                    <a:pt x="48361" y="58275"/>
                    <a:pt x="37032" y="58275"/>
                  </a:cubicBezTo>
                  <a:cubicBezTo>
                    <a:pt x="25702" y="58275"/>
                    <a:pt x="15789" y="48361"/>
                    <a:pt x="15789" y="37032"/>
                  </a:cubicBezTo>
                  <a:cubicBezTo>
                    <a:pt x="15789" y="24286"/>
                    <a:pt x="25702" y="15789"/>
                    <a:pt x="37032" y="15789"/>
                  </a:cubicBezTo>
                  <a:lnTo>
                    <a:pt x="37032" y="15789"/>
                  </a:lnTo>
                  <a:close/>
                  <a:moveTo>
                    <a:pt x="37032" y="24286"/>
                  </a:moveTo>
                  <a:cubicBezTo>
                    <a:pt x="29951" y="24286"/>
                    <a:pt x="25702" y="29951"/>
                    <a:pt x="25702" y="35616"/>
                  </a:cubicBezTo>
                  <a:cubicBezTo>
                    <a:pt x="25702" y="42697"/>
                    <a:pt x="31367" y="46945"/>
                    <a:pt x="37032" y="46945"/>
                  </a:cubicBezTo>
                  <a:cubicBezTo>
                    <a:pt x="44113" y="46945"/>
                    <a:pt x="48361" y="41280"/>
                    <a:pt x="48361" y="35616"/>
                  </a:cubicBezTo>
                  <a:cubicBezTo>
                    <a:pt x="49778" y="29951"/>
                    <a:pt x="44113" y="24286"/>
                    <a:pt x="37032"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6" name="Freeform: Shape 2185">
              <a:extLst>
                <a:ext uri="{FF2B5EF4-FFF2-40B4-BE49-F238E27FC236}">
                  <a16:creationId xmlns:a16="http://schemas.microsoft.com/office/drawing/2014/main" id="{10DBEBB6-D668-477E-BBB2-48C5DA2CAEAB}"/>
                </a:ext>
              </a:extLst>
            </p:cNvPr>
            <p:cNvSpPr/>
            <p:nvPr/>
          </p:nvSpPr>
          <p:spPr>
            <a:xfrm>
              <a:off x="6870446" y="2812746"/>
              <a:ext cx="70810" cy="70810"/>
            </a:xfrm>
            <a:custGeom>
              <a:avLst/>
              <a:gdLst>
                <a:gd name="connsiteX0" fmla="*/ 37032 w 70809"/>
                <a:gd name="connsiteY0" fmla="*/ 15789 h 70809"/>
                <a:gd name="connsiteX1" fmla="*/ 58275 w 70809"/>
                <a:gd name="connsiteY1" fmla="*/ 37032 h 70809"/>
                <a:gd name="connsiteX2" fmla="*/ 37032 w 70809"/>
                <a:gd name="connsiteY2" fmla="*/ 58275 h 70809"/>
                <a:gd name="connsiteX3" fmla="*/ 15789 w 70809"/>
                <a:gd name="connsiteY3" fmla="*/ 37032 h 70809"/>
                <a:gd name="connsiteX4" fmla="*/ 37032 w 70809"/>
                <a:gd name="connsiteY4" fmla="*/ 15789 h 70809"/>
                <a:gd name="connsiteX5" fmla="*/ 37032 w 70809"/>
                <a:gd name="connsiteY5" fmla="*/ 15789 h 70809"/>
                <a:gd name="connsiteX6" fmla="*/ 37032 w 70809"/>
                <a:gd name="connsiteY6" fmla="*/ 24286 h 70809"/>
                <a:gd name="connsiteX7" fmla="*/ 25703 w 70809"/>
                <a:gd name="connsiteY7" fmla="*/ 35616 h 70809"/>
                <a:gd name="connsiteX8" fmla="*/ 37032 w 70809"/>
                <a:gd name="connsiteY8" fmla="*/ 46945 h 70809"/>
                <a:gd name="connsiteX9" fmla="*/ 48362 w 70809"/>
                <a:gd name="connsiteY9" fmla="*/ 35616 h 70809"/>
                <a:gd name="connsiteX10" fmla="*/ 37032 w 70809"/>
                <a:gd name="connsiteY10" fmla="*/ 24286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37032" y="15789"/>
                  </a:moveTo>
                  <a:cubicBezTo>
                    <a:pt x="48362" y="15789"/>
                    <a:pt x="58275" y="25702"/>
                    <a:pt x="58275" y="37032"/>
                  </a:cubicBezTo>
                  <a:cubicBezTo>
                    <a:pt x="58275" y="48361"/>
                    <a:pt x="48362" y="58275"/>
                    <a:pt x="37032" y="58275"/>
                  </a:cubicBezTo>
                  <a:cubicBezTo>
                    <a:pt x="25703" y="58275"/>
                    <a:pt x="15789" y="48361"/>
                    <a:pt x="15789" y="37032"/>
                  </a:cubicBezTo>
                  <a:cubicBezTo>
                    <a:pt x="15789" y="24286"/>
                    <a:pt x="25703" y="15789"/>
                    <a:pt x="37032" y="15789"/>
                  </a:cubicBezTo>
                  <a:lnTo>
                    <a:pt x="37032" y="15789"/>
                  </a:lnTo>
                  <a:close/>
                  <a:moveTo>
                    <a:pt x="37032" y="24286"/>
                  </a:moveTo>
                  <a:cubicBezTo>
                    <a:pt x="29951" y="24286"/>
                    <a:pt x="25703" y="29951"/>
                    <a:pt x="25703" y="35616"/>
                  </a:cubicBezTo>
                  <a:cubicBezTo>
                    <a:pt x="25703" y="42697"/>
                    <a:pt x="31367" y="46945"/>
                    <a:pt x="37032" y="46945"/>
                  </a:cubicBezTo>
                  <a:cubicBezTo>
                    <a:pt x="44113" y="46945"/>
                    <a:pt x="48362" y="41280"/>
                    <a:pt x="48362" y="35616"/>
                  </a:cubicBezTo>
                  <a:cubicBezTo>
                    <a:pt x="48362" y="29951"/>
                    <a:pt x="44113" y="24286"/>
                    <a:pt x="37032"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7" name="Freeform: Shape 2186">
              <a:extLst>
                <a:ext uri="{FF2B5EF4-FFF2-40B4-BE49-F238E27FC236}">
                  <a16:creationId xmlns:a16="http://schemas.microsoft.com/office/drawing/2014/main" id="{1056AF17-9701-42A1-9BD4-9B96FF4A0916}"/>
                </a:ext>
              </a:extLst>
            </p:cNvPr>
            <p:cNvSpPr/>
            <p:nvPr/>
          </p:nvSpPr>
          <p:spPr>
            <a:xfrm>
              <a:off x="7687453" y="3223442"/>
              <a:ext cx="70810" cy="70810"/>
            </a:xfrm>
            <a:custGeom>
              <a:avLst/>
              <a:gdLst>
                <a:gd name="connsiteX0" fmla="*/ 35751 w 70809"/>
                <a:gd name="connsiteY0" fmla="*/ 55442 h 70809"/>
                <a:gd name="connsiteX1" fmla="*/ 55578 w 70809"/>
                <a:gd name="connsiteY1" fmla="*/ 35616 h 70809"/>
                <a:gd name="connsiteX2" fmla="*/ 35751 w 70809"/>
                <a:gd name="connsiteY2" fmla="*/ 15789 h 70809"/>
                <a:gd name="connsiteX3" fmla="*/ 15924 w 70809"/>
                <a:gd name="connsiteY3" fmla="*/ 35616 h 70809"/>
                <a:gd name="connsiteX4" fmla="*/ 35751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751" y="55442"/>
                  </a:moveTo>
                  <a:cubicBezTo>
                    <a:pt x="47081" y="55442"/>
                    <a:pt x="55578" y="46945"/>
                    <a:pt x="55578" y="35616"/>
                  </a:cubicBezTo>
                  <a:cubicBezTo>
                    <a:pt x="55578" y="24286"/>
                    <a:pt x="47081" y="15789"/>
                    <a:pt x="35751" y="15789"/>
                  </a:cubicBezTo>
                  <a:cubicBezTo>
                    <a:pt x="24422" y="15789"/>
                    <a:pt x="15924" y="24286"/>
                    <a:pt x="15924" y="35616"/>
                  </a:cubicBezTo>
                  <a:cubicBezTo>
                    <a:pt x="14508" y="46945"/>
                    <a:pt x="24422" y="55442"/>
                    <a:pt x="35751"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8" name="Freeform: Shape 2187">
              <a:extLst>
                <a:ext uri="{FF2B5EF4-FFF2-40B4-BE49-F238E27FC236}">
                  <a16:creationId xmlns:a16="http://schemas.microsoft.com/office/drawing/2014/main" id="{1AE1A6FE-4B16-4646-AB95-B406658D05AE}"/>
                </a:ext>
              </a:extLst>
            </p:cNvPr>
            <p:cNvSpPr/>
            <p:nvPr/>
          </p:nvSpPr>
          <p:spPr>
            <a:xfrm>
              <a:off x="7996318" y="3590235"/>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4286"/>
                    <a:pt x="46945" y="15789"/>
                    <a:pt x="35616" y="15789"/>
                  </a:cubicBezTo>
                  <a:cubicBezTo>
                    <a:pt x="24286" y="15789"/>
                    <a:pt x="15789" y="24286"/>
                    <a:pt x="15789" y="35616"/>
                  </a:cubicBezTo>
                  <a:cubicBezTo>
                    <a:pt x="15789" y="46945"/>
                    <a:pt x="24286"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9" name="Freeform: Shape 2188">
              <a:extLst>
                <a:ext uri="{FF2B5EF4-FFF2-40B4-BE49-F238E27FC236}">
                  <a16:creationId xmlns:a16="http://schemas.microsoft.com/office/drawing/2014/main" id="{6DDDE704-3093-48B4-9150-84656D817B35}"/>
                </a:ext>
              </a:extLst>
            </p:cNvPr>
            <p:cNvSpPr/>
            <p:nvPr/>
          </p:nvSpPr>
          <p:spPr>
            <a:xfrm>
              <a:off x="7649351" y="2414796"/>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29" y="55442"/>
                    <a:pt x="55443" y="46945"/>
                    <a:pt x="55443" y="35616"/>
                  </a:cubicBezTo>
                  <a:cubicBezTo>
                    <a:pt x="55443" y="25702"/>
                    <a:pt x="46945" y="15789"/>
                    <a:pt x="35616" y="15789"/>
                  </a:cubicBezTo>
                  <a:cubicBezTo>
                    <a:pt x="25703" y="15789"/>
                    <a:pt x="15789" y="24286"/>
                    <a:pt x="15789" y="35616"/>
                  </a:cubicBezTo>
                  <a:cubicBezTo>
                    <a:pt x="17205" y="46945"/>
                    <a:pt x="25703"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0" name="Freeform: Shape 2189">
              <a:extLst>
                <a:ext uri="{FF2B5EF4-FFF2-40B4-BE49-F238E27FC236}">
                  <a16:creationId xmlns:a16="http://schemas.microsoft.com/office/drawing/2014/main" id="{854AB506-6072-409E-8B9C-BEF3C559CB7C}"/>
                </a:ext>
              </a:extLst>
            </p:cNvPr>
            <p:cNvSpPr/>
            <p:nvPr/>
          </p:nvSpPr>
          <p:spPr>
            <a:xfrm>
              <a:off x="8479240" y="3047834"/>
              <a:ext cx="141619" cy="141619"/>
            </a:xfrm>
            <a:custGeom>
              <a:avLst/>
              <a:gdLst>
                <a:gd name="connsiteX0" fmla="*/ 73853 w 141619"/>
                <a:gd name="connsiteY0" fmla="*/ 131917 h 141619"/>
                <a:gd name="connsiteX1" fmla="*/ 131916 w 141619"/>
                <a:gd name="connsiteY1" fmla="*/ 73853 h 141619"/>
                <a:gd name="connsiteX2" fmla="*/ 73853 w 141619"/>
                <a:gd name="connsiteY2" fmla="*/ 15789 h 141619"/>
                <a:gd name="connsiteX3" fmla="*/ 15789 w 141619"/>
                <a:gd name="connsiteY3" fmla="*/ 73853 h 141619"/>
                <a:gd name="connsiteX4" fmla="*/ 73853 w 141619"/>
                <a:gd name="connsiteY4" fmla="*/ 131917 h 141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9" h="141619">
                  <a:moveTo>
                    <a:pt x="73853" y="131917"/>
                  </a:moveTo>
                  <a:cubicBezTo>
                    <a:pt x="106425" y="131917"/>
                    <a:pt x="131916" y="105009"/>
                    <a:pt x="131916" y="73853"/>
                  </a:cubicBezTo>
                  <a:cubicBezTo>
                    <a:pt x="131916" y="41280"/>
                    <a:pt x="105009" y="15789"/>
                    <a:pt x="73853" y="15789"/>
                  </a:cubicBezTo>
                  <a:cubicBezTo>
                    <a:pt x="41280" y="15789"/>
                    <a:pt x="15789" y="42697"/>
                    <a:pt x="15789" y="73853"/>
                  </a:cubicBezTo>
                  <a:cubicBezTo>
                    <a:pt x="15789" y="106425"/>
                    <a:pt x="41280" y="131917"/>
                    <a:pt x="73853" y="13191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1" name="Freeform: Shape 2190">
              <a:extLst>
                <a:ext uri="{FF2B5EF4-FFF2-40B4-BE49-F238E27FC236}">
                  <a16:creationId xmlns:a16="http://schemas.microsoft.com/office/drawing/2014/main" id="{32823861-C85E-4BD0-ACAB-46AD2D9DD429}"/>
                </a:ext>
              </a:extLst>
            </p:cNvPr>
            <p:cNvSpPr/>
            <p:nvPr/>
          </p:nvSpPr>
          <p:spPr>
            <a:xfrm>
              <a:off x="7272644" y="3029423"/>
              <a:ext cx="84971" cy="84971"/>
            </a:xfrm>
            <a:custGeom>
              <a:avLst/>
              <a:gdLst>
                <a:gd name="connsiteX0" fmla="*/ 45529 w 84971"/>
                <a:gd name="connsiteY0" fmla="*/ 75269 h 84971"/>
                <a:gd name="connsiteX1" fmla="*/ 75269 w 84971"/>
                <a:gd name="connsiteY1" fmla="*/ 45529 h 84971"/>
                <a:gd name="connsiteX2" fmla="*/ 45529 w 84971"/>
                <a:gd name="connsiteY2" fmla="*/ 15789 h 84971"/>
                <a:gd name="connsiteX3" fmla="*/ 15789 w 84971"/>
                <a:gd name="connsiteY3" fmla="*/ 45529 h 84971"/>
                <a:gd name="connsiteX4" fmla="*/ 45529 w 84971"/>
                <a:gd name="connsiteY4" fmla="*/ 7526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529" y="75269"/>
                  </a:moveTo>
                  <a:cubicBezTo>
                    <a:pt x="61107" y="75269"/>
                    <a:pt x="75269" y="62523"/>
                    <a:pt x="75269" y="45529"/>
                  </a:cubicBezTo>
                  <a:cubicBezTo>
                    <a:pt x="75269" y="29951"/>
                    <a:pt x="62523" y="15789"/>
                    <a:pt x="45529" y="15789"/>
                  </a:cubicBezTo>
                  <a:cubicBezTo>
                    <a:pt x="28535" y="15789"/>
                    <a:pt x="15789" y="28535"/>
                    <a:pt x="15789" y="45529"/>
                  </a:cubicBezTo>
                  <a:cubicBezTo>
                    <a:pt x="15789" y="62523"/>
                    <a:pt x="29951" y="75269"/>
                    <a:pt x="45529" y="752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2" name="Freeform: Shape 2191">
              <a:extLst>
                <a:ext uri="{FF2B5EF4-FFF2-40B4-BE49-F238E27FC236}">
                  <a16:creationId xmlns:a16="http://schemas.microsoft.com/office/drawing/2014/main" id="{7A66B906-EC43-452F-9987-21E1344756CD}"/>
                </a:ext>
              </a:extLst>
            </p:cNvPr>
            <p:cNvSpPr/>
            <p:nvPr/>
          </p:nvSpPr>
          <p:spPr>
            <a:xfrm>
              <a:off x="7421344" y="3387720"/>
              <a:ext cx="84971" cy="84971"/>
            </a:xfrm>
            <a:custGeom>
              <a:avLst/>
              <a:gdLst>
                <a:gd name="connsiteX0" fmla="*/ 45529 w 84971"/>
                <a:gd name="connsiteY0" fmla="*/ 75269 h 84971"/>
                <a:gd name="connsiteX1" fmla="*/ 75269 w 84971"/>
                <a:gd name="connsiteY1" fmla="*/ 45529 h 84971"/>
                <a:gd name="connsiteX2" fmla="*/ 45529 w 84971"/>
                <a:gd name="connsiteY2" fmla="*/ 15789 h 84971"/>
                <a:gd name="connsiteX3" fmla="*/ 15789 w 84971"/>
                <a:gd name="connsiteY3" fmla="*/ 45529 h 84971"/>
                <a:gd name="connsiteX4" fmla="*/ 45529 w 84971"/>
                <a:gd name="connsiteY4" fmla="*/ 7526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529" y="75269"/>
                  </a:moveTo>
                  <a:cubicBezTo>
                    <a:pt x="61107" y="75269"/>
                    <a:pt x="75269" y="62523"/>
                    <a:pt x="75269" y="45529"/>
                  </a:cubicBezTo>
                  <a:cubicBezTo>
                    <a:pt x="75269" y="29951"/>
                    <a:pt x="62523" y="15789"/>
                    <a:pt x="45529" y="15789"/>
                  </a:cubicBezTo>
                  <a:cubicBezTo>
                    <a:pt x="29951" y="15789"/>
                    <a:pt x="15789" y="28535"/>
                    <a:pt x="15789" y="45529"/>
                  </a:cubicBezTo>
                  <a:cubicBezTo>
                    <a:pt x="15789" y="62523"/>
                    <a:pt x="28535" y="75269"/>
                    <a:pt x="45529" y="752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3" name="Freeform: Shape 2192">
              <a:extLst>
                <a:ext uri="{FF2B5EF4-FFF2-40B4-BE49-F238E27FC236}">
                  <a16:creationId xmlns:a16="http://schemas.microsoft.com/office/drawing/2014/main" id="{12C71B02-3517-41AE-81F1-C1914A9E6341}"/>
                </a:ext>
              </a:extLst>
            </p:cNvPr>
            <p:cNvSpPr/>
            <p:nvPr/>
          </p:nvSpPr>
          <p:spPr>
            <a:xfrm>
              <a:off x="6683509" y="2666878"/>
              <a:ext cx="84971" cy="84971"/>
            </a:xfrm>
            <a:custGeom>
              <a:avLst/>
              <a:gdLst>
                <a:gd name="connsiteX0" fmla="*/ 45529 w 84971"/>
                <a:gd name="connsiteY0" fmla="*/ 75269 h 84971"/>
                <a:gd name="connsiteX1" fmla="*/ 75269 w 84971"/>
                <a:gd name="connsiteY1" fmla="*/ 45529 h 84971"/>
                <a:gd name="connsiteX2" fmla="*/ 45529 w 84971"/>
                <a:gd name="connsiteY2" fmla="*/ 15789 h 84971"/>
                <a:gd name="connsiteX3" fmla="*/ 15789 w 84971"/>
                <a:gd name="connsiteY3" fmla="*/ 45529 h 84971"/>
                <a:gd name="connsiteX4" fmla="*/ 45529 w 84971"/>
                <a:gd name="connsiteY4" fmla="*/ 7526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529" y="75269"/>
                  </a:moveTo>
                  <a:cubicBezTo>
                    <a:pt x="61107" y="75269"/>
                    <a:pt x="75269" y="62523"/>
                    <a:pt x="75269" y="45529"/>
                  </a:cubicBezTo>
                  <a:cubicBezTo>
                    <a:pt x="75269" y="29951"/>
                    <a:pt x="62523" y="15789"/>
                    <a:pt x="45529" y="15789"/>
                  </a:cubicBezTo>
                  <a:cubicBezTo>
                    <a:pt x="29951" y="15789"/>
                    <a:pt x="15789" y="28535"/>
                    <a:pt x="15789" y="45529"/>
                  </a:cubicBezTo>
                  <a:cubicBezTo>
                    <a:pt x="15789" y="62523"/>
                    <a:pt x="29951" y="75269"/>
                    <a:pt x="45529" y="752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4" name="Freeform: Shape 2193">
              <a:extLst>
                <a:ext uri="{FF2B5EF4-FFF2-40B4-BE49-F238E27FC236}">
                  <a16:creationId xmlns:a16="http://schemas.microsoft.com/office/drawing/2014/main" id="{1030326F-D364-4C41-B37B-49E540F7C829}"/>
                </a:ext>
              </a:extLst>
            </p:cNvPr>
            <p:cNvSpPr/>
            <p:nvPr/>
          </p:nvSpPr>
          <p:spPr>
            <a:xfrm>
              <a:off x="7145032" y="3411795"/>
              <a:ext cx="56648" cy="56648"/>
            </a:xfrm>
            <a:custGeom>
              <a:avLst/>
              <a:gdLst>
                <a:gd name="connsiteX0" fmla="*/ 32938 w 56647"/>
                <a:gd name="connsiteY0" fmla="*/ 49778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8"/>
                  </a:moveTo>
                  <a:cubicBezTo>
                    <a:pt x="42852" y="49778"/>
                    <a:pt x="49933" y="41280"/>
                    <a:pt x="49933" y="32783"/>
                  </a:cubicBezTo>
                  <a:cubicBezTo>
                    <a:pt x="49933" y="22870"/>
                    <a:pt x="41435" y="15789"/>
                    <a:pt x="32938" y="15789"/>
                  </a:cubicBezTo>
                  <a:cubicBezTo>
                    <a:pt x="23025" y="15789"/>
                    <a:pt x="15944" y="24286"/>
                    <a:pt x="15944" y="32783"/>
                  </a:cubicBezTo>
                  <a:cubicBezTo>
                    <a:pt x="14528" y="41280"/>
                    <a:pt x="23025" y="49778"/>
                    <a:pt x="32938"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5" name="Freeform: Shape 2194">
              <a:extLst>
                <a:ext uri="{FF2B5EF4-FFF2-40B4-BE49-F238E27FC236}">
                  <a16:creationId xmlns:a16="http://schemas.microsoft.com/office/drawing/2014/main" id="{4E67C854-6ADC-4201-B080-47E573AD47BB}"/>
                </a:ext>
              </a:extLst>
            </p:cNvPr>
            <p:cNvSpPr/>
            <p:nvPr/>
          </p:nvSpPr>
          <p:spPr>
            <a:xfrm>
              <a:off x="7089955" y="3098817"/>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1280"/>
                    <a:pt x="49778" y="32783"/>
                  </a:cubicBezTo>
                  <a:cubicBezTo>
                    <a:pt x="49778" y="22870"/>
                    <a:pt x="41281" y="15789"/>
                    <a:pt x="32783" y="15789"/>
                  </a:cubicBezTo>
                  <a:cubicBezTo>
                    <a:pt x="22870" y="15789"/>
                    <a:pt x="15789" y="24286"/>
                    <a:pt x="15789" y="32783"/>
                  </a:cubicBezTo>
                  <a:cubicBezTo>
                    <a:pt x="15789" y="41280"/>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6" name="Freeform: Shape 2195">
              <a:extLst>
                <a:ext uri="{FF2B5EF4-FFF2-40B4-BE49-F238E27FC236}">
                  <a16:creationId xmlns:a16="http://schemas.microsoft.com/office/drawing/2014/main" id="{BF684EB3-6C5A-4A76-8242-1A03577CA85E}"/>
                </a:ext>
              </a:extLst>
            </p:cNvPr>
            <p:cNvSpPr/>
            <p:nvPr/>
          </p:nvSpPr>
          <p:spPr>
            <a:xfrm>
              <a:off x="7501912" y="3486853"/>
              <a:ext cx="56648" cy="56648"/>
            </a:xfrm>
            <a:custGeom>
              <a:avLst/>
              <a:gdLst>
                <a:gd name="connsiteX0" fmla="*/ 32938 w 56647"/>
                <a:gd name="connsiteY0" fmla="*/ 49778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8"/>
                  </a:moveTo>
                  <a:cubicBezTo>
                    <a:pt x="42852" y="49778"/>
                    <a:pt x="49933" y="41280"/>
                    <a:pt x="49933" y="32783"/>
                  </a:cubicBezTo>
                  <a:cubicBezTo>
                    <a:pt x="49933" y="22870"/>
                    <a:pt x="41436" y="15789"/>
                    <a:pt x="32938" y="15789"/>
                  </a:cubicBezTo>
                  <a:cubicBezTo>
                    <a:pt x="23025" y="15789"/>
                    <a:pt x="15944" y="24286"/>
                    <a:pt x="15944" y="32783"/>
                  </a:cubicBezTo>
                  <a:cubicBezTo>
                    <a:pt x="14528" y="41280"/>
                    <a:pt x="23025" y="49778"/>
                    <a:pt x="32938"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7" name="Freeform: Shape 2196">
              <a:extLst>
                <a:ext uri="{FF2B5EF4-FFF2-40B4-BE49-F238E27FC236}">
                  <a16:creationId xmlns:a16="http://schemas.microsoft.com/office/drawing/2014/main" id="{1D0E2EF8-8899-4A68-9D5C-C2F511473225}"/>
                </a:ext>
              </a:extLst>
            </p:cNvPr>
            <p:cNvSpPr/>
            <p:nvPr/>
          </p:nvSpPr>
          <p:spPr>
            <a:xfrm>
              <a:off x="6829221" y="2945868"/>
              <a:ext cx="56648" cy="56648"/>
            </a:xfrm>
            <a:custGeom>
              <a:avLst/>
              <a:gdLst>
                <a:gd name="connsiteX0" fmla="*/ 32938 w 56647"/>
                <a:gd name="connsiteY0" fmla="*/ 49777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7"/>
                  </a:moveTo>
                  <a:cubicBezTo>
                    <a:pt x="42852" y="49777"/>
                    <a:pt x="49933" y="41280"/>
                    <a:pt x="49933" y="32783"/>
                  </a:cubicBezTo>
                  <a:cubicBezTo>
                    <a:pt x="49933" y="22870"/>
                    <a:pt x="41436" y="15789"/>
                    <a:pt x="32938" y="15789"/>
                  </a:cubicBezTo>
                  <a:cubicBezTo>
                    <a:pt x="23025" y="15789"/>
                    <a:pt x="15944" y="24286"/>
                    <a:pt x="15944" y="32783"/>
                  </a:cubicBezTo>
                  <a:cubicBezTo>
                    <a:pt x="14528" y="42697"/>
                    <a:pt x="23025" y="49777"/>
                    <a:pt x="32938"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8" name="Freeform: Shape 2197">
              <a:extLst>
                <a:ext uri="{FF2B5EF4-FFF2-40B4-BE49-F238E27FC236}">
                  <a16:creationId xmlns:a16="http://schemas.microsoft.com/office/drawing/2014/main" id="{EB122A67-EBA5-4754-9761-03137CA26353}"/>
                </a:ext>
              </a:extLst>
            </p:cNvPr>
            <p:cNvSpPr/>
            <p:nvPr/>
          </p:nvSpPr>
          <p:spPr>
            <a:xfrm>
              <a:off x="7227326" y="3205031"/>
              <a:ext cx="84971" cy="84971"/>
            </a:xfrm>
            <a:custGeom>
              <a:avLst/>
              <a:gdLst>
                <a:gd name="connsiteX0" fmla="*/ 45529 w 84971"/>
                <a:gd name="connsiteY0" fmla="*/ 15789 h 84971"/>
                <a:gd name="connsiteX1" fmla="*/ 75269 w 84971"/>
                <a:gd name="connsiteY1" fmla="*/ 45529 h 84971"/>
                <a:gd name="connsiteX2" fmla="*/ 45529 w 84971"/>
                <a:gd name="connsiteY2" fmla="*/ 75269 h 84971"/>
                <a:gd name="connsiteX3" fmla="*/ 15789 w 84971"/>
                <a:gd name="connsiteY3" fmla="*/ 45529 h 84971"/>
                <a:gd name="connsiteX4" fmla="*/ 45529 w 84971"/>
                <a:gd name="connsiteY4" fmla="*/ 15789 h 84971"/>
                <a:gd name="connsiteX5" fmla="*/ 45529 w 84971"/>
                <a:gd name="connsiteY5" fmla="*/ 15789 h 84971"/>
                <a:gd name="connsiteX6" fmla="*/ 45529 w 84971"/>
                <a:gd name="connsiteY6" fmla="*/ 28535 h 84971"/>
                <a:gd name="connsiteX7" fmla="*/ 28535 w 84971"/>
                <a:gd name="connsiteY7" fmla="*/ 45529 h 84971"/>
                <a:gd name="connsiteX8" fmla="*/ 45529 w 84971"/>
                <a:gd name="connsiteY8" fmla="*/ 62523 h 84971"/>
                <a:gd name="connsiteX9" fmla="*/ 62523 w 84971"/>
                <a:gd name="connsiteY9" fmla="*/ 45529 h 84971"/>
                <a:gd name="connsiteX10" fmla="*/ 45529 w 84971"/>
                <a:gd name="connsiteY10" fmla="*/ 28535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5529" y="15789"/>
                  </a:moveTo>
                  <a:cubicBezTo>
                    <a:pt x="62523" y="15789"/>
                    <a:pt x="75269" y="28535"/>
                    <a:pt x="75269" y="45529"/>
                  </a:cubicBezTo>
                  <a:cubicBezTo>
                    <a:pt x="75269" y="62523"/>
                    <a:pt x="62523" y="75269"/>
                    <a:pt x="45529" y="75269"/>
                  </a:cubicBezTo>
                  <a:cubicBezTo>
                    <a:pt x="28535" y="75269"/>
                    <a:pt x="15789" y="62523"/>
                    <a:pt x="15789" y="45529"/>
                  </a:cubicBezTo>
                  <a:cubicBezTo>
                    <a:pt x="15789" y="28535"/>
                    <a:pt x="28535" y="15789"/>
                    <a:pt x="45529" y="15789"/>
                  </a:cubicBezTo>
                  <a:lnTo>
                    <a:pt x="45529" y="15789"/>
                  </a:lnTo>
                  <a:close/>
                  <a:moveTo>
                    <a:pt x="45529" y="28535"/>
                  </a:moveTo>
                  <a:cubicBezTo>
                    <a:pt x="35616" y="28535"/>
                    <a:pt x="28535" y="35616"/>
                    <a:pt x="28535" y="45529"/>
                  </a:cubicBezTo>
                  <a:cubicBezTo>
                    <a:pt x="28535" y="55442"/>
                    <a:pt x="35616" y="62523"/>
                    <a:pt x="45529" y="62523"/>
                  </a:cubicBezTo>
                  <a:cubicBezTo>
                    <a:pt x="55442" y="62523"/>
                    <a:pt x="62523" y="55442"/>
                    <a:pt x="62523" y="45529"/>
                  </a:cubicBezTo>
                  <a:cubicBezTo>
                    <a:pt x="62523" y="35616"/>
                    <a:pt x="54026" y="28535"/>
                    <a:pt x="45529" y="2853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9" name="Freeform: Shape 2198">
              <a:extLst>
                <a:ext uri="{FF2B5EF4-FFF2-40B4-BE49-F238E27FC236}">
                  <a16:creationId xmlns:a16="http://schemas.microsoft.com/office/drawing/2014/main" id="{37A8B6EF-4B18-4A92-AAA9-F5F9520A4E08}"/>
                </a:ext>
              </a:extLst>
            </p:cNvPr>
            <p:cNvSpPr/>
            <p:nvPr/>
          </p:nvSpPr>
          <p:spPr>
            <a:xfrm>
              <a:off x="7451084" y="3258846"/>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8" y="15789"/>
                    <a:pt x="15789" y="20037"/>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0" name="Freeform: Shape 2199">
              <a:extLst>
                <a:ext uri="{FF2B5EF4-FFF2-40B4-BE49-F238E27FC236}">
                  <a16:creationId xmlns:a16="http://schemas.microsoft.com/office/drawing/2014/main" id="{634F350C-37BE-4151-841D-277FEABF3B79}"/>
                </a:ext>
              </a:extLst>
            </p:cNvPr>
            <p:cNvSpPr/>
            <p:nvPr/>
          </p:nvSpPr>
          <p:spPr>
            <a:xfrm>
              <a:off x="7561547" y="3372142"/>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7"/>
                    <a:pt x="31367" y="15789"/>
                    <a:pt x="25702" y="15789"/>
                  </a:cubicBezTo>
                  <a:cubicBezTo>
                    <a:pt x="20037" y="15789"/>
                    <a:pt x="15789" y="20037"/>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1" name="Freeform: Shape 2200">
              <a:extLst>
                <a:ext uri="{FF2B5EF4-FFF2-40B4-BE49-F238E27FC236}">
                  <a16:creationId xmlns:a16="http://schemas.microsoft.com/office/drawing/2014/main" id="{91C488C1-9BDB-4093-927B-F2E7B25DB8FC}"/>
                </a:ext>
              </a:extLst>
            </p:cNvPr>
            <p:cNvSpPr/>
            <p:nvPr/>
          </p:nvSpPr>
          <p:spPr>
            <a:xfrm>
              <a:off x="8150548" y="3935785"/>
              <a:ext cx="70810" cy="70810"/>
            </a:xfrm>
            <a:custGeom>
              <a:avLst/>
              <a:gdLst>
                <a:gd name="connsiteX0" fmla="*/ 38582 w 70809"/>
                <a:gd name="connsiteY0" fmla="*/ 61107 h 70809"/>
                <a:gd name="connsiteX1" fmla="*/ 61242 w 70809"/>
                <a:gd name="connsiteY1" fmla="*/ 38448 h 70809"/>
                <a:gd name="connsiteX2" fmla="*/ 38582 w 70809"/>
                <a:gd name="connsiteY2" fmla="*/ 15789 h 70809"/>
                <a:gd name="connsiteX3" fmla="*/ 15924 w 70809"/>
                <a:gd name="connsiteY3" fmla="*/ 38448 h 70809"/>
                <a:gd name="connsiteX4" fmla="*/ 38582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582" y="61107"/>
                  </a:moveTo>
                  <a:cubicBezTo>
                    <a:pt x="51328" y="61107"/>
                    <a:pt x="61242" y="51194"/>
                    <a:pt x="61242" y="38448"/>
                  </a:cubicBezTo>
                  <a:cubicBezTo>
                    <a:pt x="61242" y="25703"/>
                    <a:pt x="51328" y="15789"/>
                    <a:pt x="38582" y="15789"/>
                  </a:cubicBezTo>
                  <a:cubicBezTo>
                    <a:pt x="25837" y="15789"/>
                    <a:pt x="15924" y="25703"/>
                    <a:pt x="15924" y="38448"/>
                  </a:cubicBezTo>
                  <a:cubicBezTo>
                    <a:pt x="14507" y="49777"/>
                    <a:pt x="24420" y="61107"/>
                    <a:pt x="38582"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2" name="Freeform: Shape 2201">
              <a:extLst>
                <a:ext uri="{FF2B5EF4-FFF2-40B4-BE49-F238E27FC236}">
                  <a16:creationId xmlns:a16="http://schemas.microsoft.com/office/drawing/2014/main" id="{003F4D01-BEC9-40B3-82C9-252D65CC8A44}"/>
                </a:ext>
              </a:extLst>
            </p:cNvPr>
            <p:cNvSpPr/>
            <p:nvPr/>
          </p:nvSpPr>
          <p:spPr>
            <a:xfrm>
              <a:off x="5467000" y="2127310"/>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18621"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3" name="Freeform: Shape 2202">
              <a:extLst>
                <a:ext uri="{FF2B5EF4-FFF2-40B4-BE49-F238E27FC236}">
                  <a16:creationId xmlns:a16="http://schemas.microsoft.com/office/drawing/2014/main" id="{23609BCB-37D1-4C46-892C-563B770AF2C7}"/>
                </a:ext>
              </a:extLst>
            </p:cNvPr>
            <p:cNvSpPr/>
            <p:nvPr/>
          </p:nvSpPr>
          <p:spPr>
            <a:xfrm>
              <a:off x="5549139" y="1984274"/>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4" name="Freeform: Shape 2203">
              <a:extLst>
                <a:ext uri="{FF2B5EF4-FFF2-40B4-BE49-F238E27FC236}">
                  <a16:creationId xmlns:a16="http://schemas.microsoft.com/office/drawing/2014/main" id="{14054D10-40C9-433C-B32E-0A0D37F0A7BE}"/>
                </a:ext>
              </a:extLst>
            </p:cNvPr>
            <p:cNvSpPr/>
            <p:nvPr/>
          </p:nvSpPr>
          <p:spPr>
            <a:xfrm>
              <a:off x="5454254" y="203100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1" y="49778"/>
                    <a:pt x="49778" y="42697"/>
                    <a:pt x="49778" y="32783"/>
                  </a:cubicBezTo>
                  <a:cubicBezTo>
                    <a:pt x="49778" y="24286"/>
                    <a:pt x="42697" y="15789"/>
                    <a:pt x="32783" y="15789"/>
                  </a:cubicBezTo>
                  <a:cubicBezTo>
                    <a:pt x="22870"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5" name="Freeform: Shape 2204">
              <a:extLst>
                <a:ext uri="{FF2B5EF4-FFF2-40B4-BE49-F238E27FC236}">
                  <a16:creationId xmlns:a16="http://schemas.microsoft.com/office/drawing/2014/main" id="{918CFABB-C236-440A-B05E-B441842D2A1A}"/>
                </a:ext>
              </a:extLst>
            </p:cNvPr>
            <p:cNvSpPr/>
            <p:nvPr/>
          </p:nvSpPr>
          <p:spPr>
            <a:xfrm>
              <a:off x="5522232" y="2130142"/>
              <a:ext cx="28324" cy="28324"/>
            </a:xfrm>
            <a:custGeom>
              <a:avLst/>
              <a:gdLst>
                <a:gd name="connsiteX0" fmla="*/ 20037 w 28323"/>
                <a:gd name="connsiteY0" fmla="*/ 24286 h 28323"/>
                <a:gd name="connsiteX1" fmla="*/ 24286 w 28323"/>
                <a:gd name="connsiteY1" fmla="*/ 20038 h 28323"/>
                <a:gd name="connsiteX2" fmla="*/ 20037 w 28323"/>
                <a:gd name="connsiteY2" fmla="*/ 15789 h 28323"/>
                <a:gd name="connsiteX3" fmla="*/ 15789 w 28323"/>
                <a:gd name="connsiteY3" fmla="*/ 20038 h 28323"/>
                <a:gd name="connsiteX4" fmla="*/ 20037 w 28323"/>
                <a:gd name="connsiteY4" fmla="*/ 24286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0037" y="24286"/>
                  </a:moveTo>
                  <a:cubicBezTo>
                    <a:pt x="22870" y="24286"/>
                    <a:pt x="24286" y="22870"/>
                    <a:pt x="24286" y="20038"/>
                  </a:cubicBezTo>
                  <a:cubicBezTo>
                    <a:pt x="24286" y="17205"/>
                    <a:pt x="22870" y="15789"/>
                    <a:pt x="20037" y="15789"/>
                  </a:cubicBezTo>
                  <a:cubicBezTo>
                    <a:pt x="17205" y="15789"/>
                    <a:pt x="15789" y="17205"/>
                    <a:pt x="15789" y="20038"/>
                  </a:cubicBezTo>
                  <a:cubicBezTo>
                    <a:pt x="15789" y="22870"/>
                    <a:pt x="18621" y="24286"/>
                    <a:pt x="20037"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6" name="Freeform: Shape 2205">
              <a:extLst>
                <a:ext uri="{FF2B5EF4-FFF2-40B4-BE49-F238E27FC236}">
                  <a16:creationId xmlns:a16="http://schemas.microsoft.com/office/drawing/2014/main" id="{B8D8A153-A55F-43B8-AC3D-2CAD1FBD177A}"/>
                </a:ext>
              </a:extLst>
            </p:cNvPr>
            <p:cNvSpPr/>
            <p:nvPr/>
          </p:nvSpPr>
          <p:spPr>
            <a:xfrm>
              <a:off x="5539226" y="2070662"/>
              <a:ext cx="28324" cy="28324"/>
            </a:xfrm>
            <a:custGeom>
              <a:avLst/>
              <a:gdLst>
                <a:gd name="connsiteX0" fmla="*/ 20038 w 28323"/>
                <a:gd name="connsiteY0" fmla="*/ 24286 h 28323"/>
                <a:gd name="connsiteX1" fmla="*/ 24286 w 28323"/>
                <a:gd name="connsiteY1" fmla="*/ 20038 h 28323"/>
                <a:gd name="connsiteX2" fmla="*/ 20038 w 28323"/>
                <a:gd name="connsiteY2" fmla="*/ 15789 h 28323"/>
                <a:gd name="connsiteX3" fmla="*/ 15789 w 28323"/>
                <a:gd name="connsiteY3" fmla="*/ 20038 h 28323"/>
                <a:gd name="connsiteX4" fmla="*/ 20038 w 28323"/>
                <a:gd name="connsiteY4" fmla="*/ 24286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0038" y="24286"/>
                  </a:moveTo>
                  <a:cubicBezTo>
                    <a:pt x="22870" y="24286"/>
                    <a:pt x="24286" y="22870"/>
                    <a:pt x="24286" y="20038"/>
                  </a:cubicBezTo>
                  <a:cubicBezTo>
                    <a:pt x="24286" y="17205"/>
                    <a:pt x="22870" y="15789"/>
                    <a:pt x="20038" y="15789"/>
                  </a:cubicBezTo>
                  <a:cubicBezTo>
                    <a:pt x="17205" y="15789"/>
                    <a:pt x="15789" y="17205"/>
                    <a:pt x="15789" y="20038"/>
                  </a:cubicBezTo>
                  <a:cubicBezTo>
                    <a:pt x="15789" y="22870"/>
                    <a:pt x="17205" y="24286"/>
                    <a:pt x="20038"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7" name="Freeform: Shape 2206">
              <a:extLst>
                <a:ext uri="{FF2B5EF4-FFF2-40B4-BE49-F238E27FC236}">
                  <a16:creationId xmlns:a16="http://schemas.microsoft.com/office/drawing/2014/main" id="{75CCD3C0-5EBC-40A5-92F1-A07C160FD550}"/>
                </a:ext>
              </a:extLst>
            </p:cNvPr>
            <p:cNvSpPr/>
            <p:nvPr/>
          </p:nvSpPr>
          <p:spPr>
            <a:xfrm>
              <a:off x="7040389" y="2883556"/>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4286"/>
                    <a:pt x="46945" y="15789"/>
                    <a:pt x="35616" y="15789"/>
                  </a:cubicBezTo>
                  <a:cubicBezTo>
                    <a:pt x="24286" y="15789"/>
                    <a:pt x="15789" y="24286"/>
                    <a:pt x="15789" y="35616"/>
                  </a:cubicBezTo>
                  <a:cubicBezTo>
                    <a:pt x="15789" y="46945"/>
                    <a:pt x="24286"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8" name="Freeform: Shape 2207">
              <a:extLst>
                <a:ext uri="{FF2B5EF4-FFF2-40B4-BE49-F238E27FC236}">
                  <a16:creationId xmlns:a16="http://schemas.microsoft.com/office/drawing/2014/main" id="{128B7168-869D-4AD0-AAAB-22E95BB39DED}"/>
                </a:ext>
              </a:extLst>
            </p:cNvPr>
            <p:cNvSpPr/>
            <p:nvPr/>
          </p:nvSpPr>
          <p:spPr>
            <a:xfrm>
              <a:off x="7778224" y="2978440"/>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1" y="49777"/>
                    <a:pt x="49778" y="42697"/>
                    <a:pt x="49778" y="32783"/>
                  </a:cubicBezTo>
                  <a:cubicBezTo>
                    <a:pt x="49778" y="22870"/>
                    <a:pt x="42697" y="15789"/>
                    <a:pt x="32783" y="15789"/>
                  </a:cubicBezTo>
                  <a:cubicBezTo>
                    <a:pt x="24286" y="15789"/>
                    <a:pt x="15789" y="22870"/>
                    <a:pt x="15789" y="32783"/>
                  </a:cubicBezTo>
                  <a:cubicBezTo>
                    <a:pt x="15789" y="42697"/>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9" name="Freeform: Shape 2208">
              <a:extLst>
                <a:ext uri="{FF2B5EF4-FFF2-40B4-BE49-F238E27FC236}">
                  <a16:creationId xmlns:a16="http://schemas.microsoft.com/office/drawing/2014/main" id="{1E268E69-162B-4C5A-8451-56E34CB12920}"/>
                </a:ext>
              </a:extLst>
            </p:cNvPr>
            <p:cNvSpPr/>
            <p:nvPr/>
          </p:nvSpPr>
          <p:spPr>
            <a:xfrm>
              <a:off x="7731490" y="2804249"/>
              <a:ext cx="113295" cy="113295"/>
            </a:xfrm>
            <a:custGeom>
              <a:avLst/>
              <a:gdLst>
                <a:gd name="connsiteX0" fmla="*/ 56858 w 113295"/>
                <a:gd name="connsiteY0" fmla="*/ 97928 h 113295"/>
                <a:gd name="connsiteX1" fmla="*/ 97928 w 113295"/>
                <a:gd name="connsiteY1" fmla="*/ 56858 h 113295"/>
                <a:gd name="connsiteX2" fmla="*/ 56858 w 113295"/>
                <a:gd name="connsiteY2" fmla="*/ 15789 h 113295"/>
                <a:gd name="connsiteX3" fmla="*/ 15789 w 113295"/>
                <a:gd name="connsiteY3" fmla="*/ 56858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8"/>
                  </a:cubicBezTo>
                  <a:cubicBezTo>
                    <a:pt x="97928" y="34200"/>
                    <a:pt x="79518" y="15789"/>
                    <a:pt x="56858" y="15789"/>
                  </a:cubicBezTo>
                  <a:cubicBezTo>
                    <a:pt x="34199" y="15789"/>
                    <a:pt x="15789" y="34200"/>
                    <a:pt x="15789" y="56858"/>
                  </a:cubicBezTo>
                  <a:cubicBezTo>
                    <a:pt x="17205" y="79518"/>
                    <a:pt x="35616" y="97928"/>
                    <a:pt x="56858"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0" name="Freeform: Shape 2209">
              <a:extLst>
                <a:ext uri="{FF2B5EF4-FFF2-40B4-BE49-F238E27FC236}">
                  <a16:creationId xmlns:a16="http://schemas.microsoft.com/office/drawing/2014/main" id="{C54CC030-F645-43AF-8512-72F4956DE576}"/>
                </a:ext>
              </a:extLst>
            </p:cNvPr>
            <p:cNvSpPr/>
            <p:nvPr/>
          </p:nvSpPr>
          <p:spPr>
            <a:xfrm>
              <a:off x="9766557" y="1137392"/>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30" y="55442"/>
                    <a:pt x="55442" y="46945"/>
                    <a:pt x="55442" y="35616"/>
                  </a:cubicBezTo>
                  <a:cubicBezTo>
                    <a:pt x="55442" y="25702"/>
                    <a:pt x="46945" y="15789"/>
                    <a:pt x="35616" y="15789"/>
                  </a:cubicBezTo>
                  <a:cubicBezTo>
                    <a:pt x="24287" y="15789"/>
                    <a:pt x="15789" y="24286"/>
                    <a:pt x="15789" y="35616"/>
                  </a:cubicBezTo>
                  <a:cubicBezTo>
                    <a:pt x="17206" y="46945"/>
                    <a:pt x="25703"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1" name="Freeform: Shape 2210">
              <a:extLst>
                <a:ext uri="{FF2B5EF4-FFF2-40B4-BE49-F238E27FC236}">
                  <a16:creationId xmlns:a16="http://schemas.microsoft.com/office/drawing/2014/main" id="{FB83DBEF-9D3A-4639-9278-C12BFC00D457}"/>
                </a:ext>
              </a:extLst>
            </p:cNvPr>
            <p:cNvSpPr/>
            <p:nvPr/>
          </p:nvSpPr>
          <p:spPr>
            <a:xfrm>
              <a:off x="8154931" y="3325407"/>
              <a:ext cx="99133" cy="99133"/>
            </a:xfrm>
            <a:custGeom>
              <a:avLst/>
              <a:gdLst>
                <a:gd name="connsiteX0" fmla="*/ 49778 w 99133"/>
                <a:gd name="connsiteY0" fmla="*/ 83766 h 99133"/>
                <a:gd name="connsiteX1" fmla="*/ 83766 w 99133"/>
                <a:gd name="connsiteY1" fmla="*/ 49777 h 99133"/>
                <a:gd name="connsiteX2" fmla="*/ 49778 w 99133"/>
                <a:gd name="connsiteY2" fmla="*/ 15789 h 99133"/>
                <a:gd name="connsiteX3" fmla="*/ 15789 w 99133"/>
                <a:gd name="connsiteY3" fmla="*/ 49777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7"/>
                  </a:cubicBezTo>
                  <a:cubicBezTo>
                    <a:pt x="83766" y="31367"/>
                    <a:pt x="68188" y="15789"/>
                    <a:pt x="49778" y="15789"/>
                  </a:cubicBezTo>
                  <a:cubicBezTo>
                    <a:pt x="31367" y="15789"/>
                    <a:pt x="15789" y="31367"/>
                    <a:pt x="15789" y="49777"/>
                  </a:cubicBezTo>
                  <a:cubicBezTo>
                    <a:pt x="17205" y="68188"/>
                    <a:pt x="31367" y="83766"/>
                    <a:pt x="49778" y="8376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2" name="Freeform: Shape 2211">
              <a:extLst>
                <a:ext uri="{FF2B5EF4-FFF2-40B4-BE49-F238E27FC236}">
                  <a16:creationId xmlns:a16="http://schemas.microsoft.com/office/drawing/2014/main" id="{520C8AEF-89FB-4901-BC66-759287727951}"/>
                </a:ext>
              </a:extLst>
            </p:cNvPr>
            <p:cNvSpPr/>
            <p:nvPr/>
          </p:nvSpPr>
          <p:spPr>
            <a:xfrm>
              <a:off x="5695007" y="1965864"/>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3" name="Freeform: Shape 2212">
              <a:extLst>
                <a:ext uri="{FF2B5EF4-FFF2-40B4-BE49-F238E27FC236}">
                  <a16:creationId xmlns:a16="http://schemas.microsoft.com/office/drawing/2014/main" id="{B6472949-241A-4D2A-BC6B-859ADF9F8781}"/>
                </a:ext>
              </a:extLst>
            </p:cNvPr>
            <p:cNvSpPr/>
            <p:nvPr/>
          </p:nvSpPr>
          <p:spPr>
            <a:xfrm>
              <a:off x="5594458" y="1883725"/>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4" name="Freeform: Shape 2213">
              <a:extLst>
                <a:ext uri="{FF2B5EF4-FFF2-40B4-BE49-F238E27FC236}">
                  <a16:creationId xmlns:a16="http://schemas.microsoft.com/office/drawing/2014/main" id="{0FC24908-8412-49B1-944F-0F1CBE561CAF}"/>
                </a:ext>
              </a:extLst>
            </p:cNvPr>
            <p:cNvSpPr/>
            <p:nvPr/>
          </p:nvSpPr>
          <p:spPr>
            <a:xfrm>
              <a:off x="5693591" y="2174044"/>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5" name="Freeform: Shape 2214">
              <a:extLst>
                <a:ext uri="{FF2B5EF4-FFF2-40B4-BE49-F238E27FC236}">
                  <a16:creationId xmlns:a16="http://schemas.microsoft.com/office/drawing/2014/main" id="{E344E9FA-8CC0-43DB-ABD9-996711DE8C9F}"/>
                </a:ext>
              </a:extLst>
            </p:cNvPr>
            <p:cNvSpPr/>
            <p:nvPr/>
          </p:nvSpPr>
          <p:spPr>
            <a:xfrm>
              <a:off x="5632694" y="2321328"/>
              <a:ext cx="56648" cy="56648"/>
            </a:xfrm>
            <a:custGeom>
              <a:avLst/>
              <a:gdLst>
                <a:gd name="connsiteX0" fmla="*/ 28535 w 56647"/>
                <a:gd name="connsiteY0" fmla="*/ 41280 h 56647"/>
                <a:gd name="connsiteX1" fmla="*/ 41281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1" y="35616"/>
                    <a:pt x="41281" y="28535"/>
                  </a:cubicBezTo>
                  <a:cubicBezTo>
                    <a:pt x="41281"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6" name="Freeform: Shape 2215">
              <a:extLst>
                <a:ext uri="{FF2B5EF4-FFF2-40B4-BE49-F238E27FC236}">
                  <a16:creationId xmlns:a16="http://schemas.microsoft.com/office/drawing/2014/main" id="{534244C7-6E23-4216-97B2-D061D0173626}"/>
                </a:ext>
              </a:extLst>
            </p:cNvPr>
            <p:cNvSpPr/>
            <p:nvPr/>
          </p:nvSpPr>
          <p:spPr>
            <a:xfrm>
              <a:off x="6458334" y="1882309"/>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7" name="Freeform: Shape 2216">
              <a:extLst>
                <a:ext uri="{FF2B5EF4-FFF2-40B4-BE49-F238E27FC236}">
                  <a16:creationId xmlns:a16="http://schemas.microsoft.com/office/drawing/2014/main" id="{2473085B-BC27-431B-8DA3-DD159CA28EBC}"/>
                </a:ext>
              </a:extLst>
            </p:cNvPr>
            <p:cNvSpPr/>
            <p:nvPr/>
          </p:nvSpPr>
          <p:spPr>
            <a:xfrm>
              <a:off x="7486489" y="460453"/>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1" y="49778"/>
                    <a:pt x="49778" y="42697"/>
                    <a:pt x="49778" y="32783"/>
                  </a:cubicBezTo>
                  <a:cubicBezTo>
                    <a:pt x="49778" y="24286"/>
                    <a:pt x="42697" y="15789"/>
                    <a:pt x="32783" y="15789"/>
                  </a:cubicBezTo>
                  <a:cubicBezTo>
                    <a:pt x="24286"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8" name="Freeform: Shape 2217">
              <a:extLst>
                <a:ext uri="{FF2B5EF4-FFF2-40B4-BE49-F238E27FC236}">
                  <a16:creationId xmlns:a16="http://schemas.microsoft.com/office/drawing/2014/main" id="{6645EF85-1098-49A6-B0F7-7CFFC8DF55C2}"/>
                </a:ext>
              </a:extLst>
            </p:cNvPr>
            <p:cNvSpPr/>
            <p:nvPr/>
          </p:nvSpPr>
          <p:spPr>
            <a:xfrm>
              <a:off x="6131194" y="674298"/>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9" name="Freeform: Shape 2218">
              <a:extLst>
                <a:ext uri="{FF2B5EF4-FFF2-40B4-BE49-F238E27FC236}">
                  <a16:creationId xmlns:a16="http://schemas.microsoft.com/office/drawing/2014/main" id="{0502719A-6100-4C32-91FA-B2E7F1F5DFBF}"/>
                </a:ext>
              </a:extLst>
            </p:cNvPr>
            <p:cNvSpPr/>
            <p:nvPr/>
          </p:nvSpPr>
          <p:spPr>
            <a:xfrm>
              <a:off x="4188179" y="1171381"/>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0" name="Freeform: Shape 2219">
              <a:extLst>
                <a:ext uri="{FF2B5EF4-FFF2-40B4-BE49-F238E27FC236}">
                  <a16:creationId xmlns:a16="http://schemas.microsoft.com/office/drawing/2014/main" id="{78E594F5-6361-40AB-AA10-FBA084E0216F}"/>
                </a:ext>
              </a:extLst>
            </p:cNvPr>
            <p:cNvSpPr/>
            <p:nvPr/>
          </p:nvSpPr>
          <p:spPr>
            <a:xfrm>
              <a:off x="4447342" y="43212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1" name="Freeform: Shape 2220">
              <a:extLst>
                <a:ext uri="{FF2B5EF4-FFF2-40B4-BE49-F238E27FC236}">
                  <a16:creationId xmlns:a16="http://schemas.microsoft.com/office/drawing/2014/main" id="{47402273-9D32-4AFB-99AB-129F078B6EDE}"/>
                </a:ext>
              </a:extLst>
            </p:cNvPr>
            <p:cNvSpPr/>
            <p:nvPr/>
          </p:nvSpPr>
          <p:spPr>
            <a:xfrm>
              <a:off x="3994161" y="654471"/>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2" name="Freeform: Shape 2221">
              <a:extLst>
                <a:ext uri="{FF2B5EF4-FFF2-40B4-BE49-F238E27FC236}">
                  <a16:creationId xmlns:a16="http://schemas.microsoft.com/office/drawing/2014/main" id="{DC4DA0BE-BC6C-4A2F-A97F-9834C443F214}"/>
                </a:ext>
              </a:extLst>
            </p:cNvPr>
            <p:cNvSpPr/>
            <p:nvPr/>
          </p:nvSpPr>
          <p:spPr>
            <a:xfrm>
              <a:off x="3916271" y="487361"/>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3" name="Freeform: Shape 2222">
              <a:extLst>
                <a:ext uri="{FF2B5EF4-FFF2-40B4-BE49-F238E27FC236}">
                  <a16:creationId xmlns:a16="http://schemas.microsoft.com/office/drawing/2014/main" id="{A344B2A9-D3C6-4590-9821-A67A41C412CB}"/>
                </a:ext>
              </a:extLst>
            </p:cNvPr>
            <p:cNvSpPr/>
            <p:nvPr/>
          </p:nvSpPr>
          <p:spPr>
            <a:xfrm>
              <a:off x="4731997" y="855570"/>
              <a:ext cx="113295" cy="113295"/>
            </a:xfrm>
            <a:custGeom>
              <a:avLst/>
              <a:gdLst>
                <a:gd name="connsiteX0" fmla="*/ 56859 w 113295"/>
                <a:gd name="connsiteY0" fmla="*/ 97928 h 113295"/>
                <a:gd name="connsiteX1" fmla="*/ 97928 w 113295"/>
                <a:gd name="connsiteY1" fmla="*/ 56859 h 113295"/>
                <a:gd name="connsiteX2" fmla="*/ 56859 w 113295"/>
                <a:gd name="connsiteY2" fmla="*/ 15789 h 113295"/>
                <a:gd name="connsiteX3" fmla="*/ 15789 w 113295"/>
                <a:gd name="connsiteY3" fmla="*/ 56859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8" y="79518"/>
                    <a:pt x="97928" y="56859"/>
                  </a:cubicBezTo>
                  <a:cubicBezTo>
                    <a:pt x="97928" y="34199"/>
                    <a:pt x="79518" y="15789"/>
                    <a:pt x="56859" y="15789"/>
                  </a:cubicBezTo>
                  <a:cubicBezTo>
                    <a:pt x="34200" y="15789"/>
                    <a:pt x="15789" y="34199"/>
                    <a:pt x="15789" y="56859"/>
                  </a:cubicBezTo>
                  <a:cubicBezTo>
                    <a:pt x="15789" y="79518"/>
                    <a:pt x="34200" y="97928"/>
                    <a:pt x="56859"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4" name="Freeform: Shape 2223">
              <a:extLst>
                <a:ext uri="{FF2B5EF4-FFF2-40B4-BE49-F238E27FC236}">
                  <a16:creationId xmlns:a16="http://schemas.microsoft.com/office/drawing/2014/main" id="{312C56EE-F105-4DB8-9BC9-B0D9C8D93AD1}"/>
                </a:ext>
              </a:extLst>
            </p:cNvPr>
            <p:cNvSpPr/>
            <p:nvPr/>
          </p:nvSpPr>
          <p:spPr>
            <a:xfrm>
              <a:off x="4382198" y="1169965"/>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5" name="Freeform: Shape 2224">
              <a:extLst>
                <a:ext uri="{FF2B5EF4-FFF2-40B4-BE49-F238E27FC236}">
                  <a16:creationId xmlns:a16="http://schemas.microsoft.com/office/drawing/2014/main" id="{B595382A-AD8C-4A31-93A1-B9D1D4AA756B}"/>
                </a:ext>
              </a:extLst>
            </p:cNvPr>
            <p:cNvSpPr/>
            <p:nvPr/>
          </p:nvSpPr>
          <p:spPr>
            <a:xfrm>
              <a:off x="4814136" y="1155803"/>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6" name="Freeform: Shape 2225">
              <a:extLst>
                <a:ext uri="{FF2B5EF4-FFF2-40B4-BE49-F238E27FC236}">
                  <a16:creationId xmlns:a16="http://schemas.microsoft.com/office/drawing/2014/main" id="{E1CEF3D8-141C-47B9-B4E2-016D5C165E70}"/>
                </a:ext>
              </a:extLst>
            </p:cNvPr>
            <p:cNvSpPr/>
            <p:nvPr/>
          </p:nvSpPr>
          <p:spPr>
            <a:xfrm>
              <a:off x="4175279" y="889559"/>
              <a:ext cx="56648" cy="56648"/>
            </a:xfrm>
            <a:custGeom>
              <a:avLst/>
              <a:gdLst>
                <a:gd name="connsiteX0" fmla="*/ 32938 w 56647"/>
                <a:gd name="connsiteY0" fmla="*/ 49778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8"/>
                  </a:moveTo>
                  <a:cubicBezTo>
                    <a:pt x="42852" y="49778"/>
                    <a:pt x="49933" y="41280"/>
                    <a:pt x="49933" y="32783"/>
                  </a:cubicBezTo>
                  <a:cubicBezTo>
                    <a:pt x="49933" y="22870"/>
                    <a:pt x="41435" y="15789"/>
                    <a:pt x="32938" y="15789"/>
                  </a:cubicBezTo>
                  <a:cubicBezTo>
                    <a:pt x="23025" y="15789"/>
                    <a:pt x="15944" y="24286"/>
                    <a:pt x="15944" y="32783"/>
                  </a:cubicBezTo>
                  <a:cubicBezTo>
                    <a:pt x="14528" y="42697"/>
                    <a:pt x="23025" y="49778"/>
                    <a:pt x="32938"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7" name="Freeform: Shape 2226">
              <a:extLst>
                <a:ext uri="{FF2B5EF4-FFF2-40B4-BE49-F238E27FC236}">
                  <a16:creationId xmlns:a16="http://schemas.microsoft.com/office/drawing/2014/main" id="{2A5EF5C9-C812-41ED-9173-C81F7F5E32FB}"/>
                </a:ext>
              </a:extLst>
            </p:cNvPr>
            <p:cNvSpPr/>
            <p:nvPr/>
          </p:nvSpPr>
          <p:spPr>
            <a:xfrm>
              <a:off x="4249076" y="534095"/>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0" y="15789"/>
                    <a:pt x="32783" y="15789"/>
                  </a:cubicBezTo>
                  <a:cubicBezTo>
                    <a:pt x="22870" y="15789"/>
                    <a:pt x="15789" y="24286"/>
                    <a:pt x="15789" y="32783"/>
                  </a:cubicBezTo>
                  <a:cubicBezTo>
                    <a:pt x="15789" y="41280"/>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8" name="Freeform: Shape 2227">
              <a:extLst>
                <a:ext uri="{FF2B5EF4-FFF2-40B4-BE49-F238E27FC236}">
                  <a16:creationId xmlns:a16="http://schemas.microsoft.com/office/drawing/2014/main" id="{96860F0B-20D1-410E-974D-02CF2F57F270}"/>
                </a:ext>
              </a:extLst>
            </p:cNvPr>
            <p:cNvSpPr/>
            <p:nvPr/>
          </p:nvSpPr>
          <p:spPr>
            <a:xfrm>
              <a:off x="3628784" y="705454"/>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9" name="Freeform: Shape 2228">
              <a:extLst>
                <a:ext uri="{FF2B5EF4-FFF2-40B4-BE49-F238E27FC236}">
                  <a16:creationId xmlns:a16="http://schemas.microsoft.com/office/drawing/2014/main" id="{7715ECF0-B893-466F-8A4B-617D7D003DC1}"/>
                </a:ext>
              </a:extLst>
            </p:cNvPr>
            <p:cNvSpPr/>
            <p:nvPr/>
          </p:nvSpPr>
          <p:spPr>
            <a:xfrm>
              <a:off x="3742079" y="800339"/>
              <a:ext cx="42486" cy="42486"/>
            </a:xfrm>
            <a:custGeom>
              <a:avLst/>
              <a:gdLst>
                <a:gd name="connsiteX0" fmla="*/ 32783 w 42485"/>
                <a:gd name="connsiteY0" fmla="*/ 24286 h 42485"/>
                <a:gd name="connsiteX1" fmla="*/ 24286 w 42485"/>
                <a:gd name="connsiteY1" fmla="*/ 32783 h 42485"/>
                <a:gd name="connsiteX2" fmla="*/ 15789 w 42485"/>
                <a:gd name="connsiteY2" fmla="*/ 24286 h 42485"/>
                <a:gd name="connsiteX3" fmla="*/ 24286 w 42485"/>
                <a:gd name="connsiteY3" fmla="*/ 15789 h 42485"/>
                <a:gd name="connsiteX4" fmla="*/ 32783 w 42485"/>
                <a:gd name="connsiteY4" fmla="*/ 2428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3" y="24286"/>
                  </a:moveTo>
                  <a:cubicBezTo>
                    <a:pt x="32783" y="28979"/>
                    <a:pt x="28979" y="32783"/>
                    <a:pt x="24286" y="32783"/>
                  </a:cubicBezTo>
                  <a:cubicBezTo>
                    <a:pt x="19593" y="32783"/>
                    <a:pt x="15789" y="28979"/>
                    <a:pt x="15789" y="24286"/>
                  </a:cubicBezTo>
                  <a:cubicBezTo>
                    <a:pt x="15789" y="19593"/>
                    <a:pt x="19593" y="15789"/>
                    <a:pt x="24286" y="15789"/>
                  </a:cubicBezTo>
                  <a:cubicBezTo>
                    <a:pt x="28979" y="15789"/>
                    <a:pt x="32783" y="19593"/>
                    <a:pt x="32783"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0" name="Freeform: Shape 2229">
              <a:extLst>
                <a:ext uri="{FF2B5EF4-FFF2-40B4-BE49-F238E27FC236}">
                  <a16:creationId xmlns:a16="http://schemas.microsoft.com/office/drawing/2014/main" id="{754A1117-0ADC-42A8-814F-AAE4D712DD2C}"/>
                </a:ext>
              </a:extLst>
            </p:cNvPr>
            <p:cNvSpPr/>
            <p:nvPr/>
          </p:nvSpPr>
          <p:spPr>
            <a:xfrm>
              <a:off x="4047976" y="457621"/>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18621"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1" name="Freeform: Shape 2230">
              <a:extLst>
                <a:ext uri="{FF2B5EF4-FFF2-40B4-BE49-F238E27FC236}">
                  <a16:creationId xmlns:a16="http://schemas.microsoft.com/office/drawing/2014/main" id="{6E9B8223-A49C-4A63-9B1F-67C38E2980D8}"/>
                </a:ext>
              </a:extLst>
            </p:cNvPr>
            <p:cNvSpPr/>
            <p:nvPr/>
          </p:nvSpPr>
          <p:spPr>
            <a:xfrm>
              <a:off x="4219336" y="906553"/>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2" name="Freeform: Shape 2231">
              <a:extLst>
                <a:ext uri="{FF2B5EF4-FFF2-40B4-BE49-F238E27FC236}">
                  <a16:creationId xmlns:a16="http://schemas.microsoft.com/office/drawing/2014/main" id="{A916D99D-2C2E-4A40-BF6D-5466C770B85D}"/>
                </a:ext>
              </a:extLst>
            </p:cNvPr>
            <p:cNvSpPr/>
            <p:nvPr/>
          </p:nvSpPr>
          <p:spPr>
            <a:xfrm>
              <a:off x="4760320" y="358487"/>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1"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3" name="Freeform: Shape 2232">
              <a:extLst>
                <a:ext uri="{FF2B5EF4-FFF2-40B4-BE49-F238E27FC236}">
                  <a16:creationId xmlns:a16="http://schemas.microsoft.com/office/drawing/2014/main" id="{FEFA8139-E0E4-4A59-939A-2FE5E604A00E}"/>
                </a:ext>
              </a:extLst>
            </p:cNvPr>
            <p:cNvSpPr/>
            <p:nvPr/>
          </p:nvSpPr>
          <p:spPr>
            <a:xfrm>
              <a:off x="3929016" y="705454"/>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7205" y="71020"/>
                    <a:pt x="32783"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4" name="Freeform: Shape 2233">
              <a:extLst>
                <a:ext uri="{FF2B5EF4-FFF2-40B4-BE49-F238E27FC236}">
                  <a16:creationId xmlns:a16="http://schemas.microsoft.com/office/drawing/2014/main" id="{A8363CCC-DE63-47F4-87E0-99616DE4CD15}"/>
                </a:ext>
              </a:extLst>
            </p:cNvPr>
            <p:cNvSpPr/>
            <p:nvPr/>
          </p:nvSpPr>
          <p:spPr>
            <a:xfrm>
              <a:off x="4457256" y="1516931"/>
              <a:ext cx="84971" cy="84971"/>
            </a:xfrm>
            <a:custGeom>
              <a:avLst/>
              <a:gdLst>
                <a:gd name="connsiteX0" fmla="*/ 42697 w 84971"/>
                <a:gd name="connsiteY0" fmla="*/ 69604 h 84971"/>
                <a:gd name="connsiteX1" fmla="*/ 69605 w 84971"/>
                <a:gd name="connsiteY1" fmla="*/ 42697 h 84971"/>
                <a:gd name="connsiteX2" fmla="*/ 42697 w 84971"/>
                <a:gd name="connsiteY2" fmla="*/ 15789 h 84971"/>
                <a:gd name="connsiteX3" fmla="*/ 15789 w 84971"/>
                <a:gd name="connsiteY3" fmla="*/ 42697 h 84971"/>
                <a:gd name="connsiteX4" fmla="*/ 42697 w 84971"/>
                <a:gd name="connsiteY4" fmla="*/ 6960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7" y="69604"/>
                  </a:moveTo>
                  <a:cubicBezTo>
                    <a:pt x="58275" y="69604"/>
                    <a:pt x="69605" y="56859"/>
                    <a:pt x="69605" y="42697"/>
                  </a:cubicBezTo>
                  <a:cubicBezTo>
                    <a:pt x="69605" y="27119"/>
                    <a:pt x="56858" y="15789"/>
                    <a:pt x="42697" y="15789"/>
                  </a:cubicBezTo>
                  <a:cubicBezTo>
                    <a:pt x="27119" y="15789"/>
                    <a:pt x="15789" y="28535"/>
                    <a:pt x="15789" y="42697"/>
                  </a:cubicBezTo>
                  <a:cubicBezTo>
                    <a:pt x="15789" y="56859"/>
                    <a:pt x="27119" y="69604"/>
                    <a:pt x="42697" y="6960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5" name="Freeform: Shape 2234">
              <a:extLst>
                <a:ext uri="{FF2B5EF4-FFF2-40B4-BE49-F238E27FC236}">
                  <a16:creationId xmlns:a16="http://schemas.microsoft.com/office/drawing/2014/main" id="{1BEB5DC6-CD7E-4A23-8334-7AC47DB2B9E9}"/>
                </a:ext>
              </a:extLst>
            </p:cNvPr>
            <p:cNvSpPr/>
            <p:nvPr/>
          </p:nvSpPr>
          <p:spPr>
            <a:xfrm>
              <a:off x="5211811" y="514268"/>
              <a:ext cx="42486" cy="42486"/>
            </a:xfrm>
            <a:custGeom>
              <a:avLst/>
              <a:gdLst>
                <a:gd name="connsiteX0" fmla="*/ 24560 w 42485"/>
                <a:gd name="connsiteY0" fmla="*/ 32783 h 42485"/>
                <a:gd name="connsiteX1" fmla="*/ 33058 w 42485"/>
                <a:gd name="connsiteY1" fmla="*/ 24286 h 42485"/>
                <a:gd name="connsiteX2" fmla="*/ 24560 w 42485"/>
                <a:gd name="connsiteY2" fmla="*/ 15789 h 42485"/>
                <a:gd name="connsiteX3" fmla="*/ 16064 w 42485"/>
                <a:gd name="connsiteY3" fmla="*/ 24286 h 42485"/>
                <a:gd name="connsiteX4" fmla="*/ 24560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0" y="32783"/>
                  </a:moveTo>
                  <a:cubicBezTo>
                    <a:pt x="28809" y="32783"/>
                    <a:pt x="33058" y="28535"/>
                    <a:pt x="33058" y="24286"/>
                  </a:cubicBezTo>
                  <a:cubicBezTo>
                    <a:pt x="33058" y="20038"/>
                    <a:pt x="28809" y="15789"/>
                    <a:pt x="24560" y="15789"/>
                  </a:cubicBezTo>
                  <a:cubicBezTo>
                    <a:pt x="20312" y="15789"/>
                    <a:pt x="16064" y="20038"/>
                    <a:pt x="16064" y="24286"/>
                  </a:cubicBezTo>
                  <a:cubicBezTo>
                    <a:pt x="14647" y="28535"/>
                    <a:pt x="18896" y="32783"/>
                    <a:pt x="24560"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6" name="Freeform: Shape 2235">
              <a:extLst>
                <a:ext uri="{FF2B5EF4-FFF2-40B4-BE49-F238E27FC236}">
                  <a16:creationId xmlns:a16="http://schemas.microsoft.com/office/drawing/2014/main" id="{CA555158-9363-4C9F-80AE-F72438166BB9}"/>
                </a:ext>
              </a:extLst>
            </p:cNvPr>
            <p:cNvSpPr/>
            <p:nvPr/>
          </p:nvSpPr>
          <p:spPr>
            <a:xfrm>
              <a:off x="4679598" y="138805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9951"/>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7" name="Freeform: Shape 2236">
              <a:extLst>
                <a:ext uri="{FF2B5EF4-FFF2-40B4-BE49-F238E27FC236}">
                  <a16:creationId xmlns:a16="http://schemas.microsoft.com/office/drawing/2014/main" id="{8330AAB8-3BA8-4063-919E-B02AE504E046}"/>
                </a:ext>
              </a:extLst>
            </p:cNvPr>
            <p:cNvSpPr/>
            <p:nvPr/>
          </p:nvSpPr>
          <p:spPr>
            <a:xfrm>
              <a:off x="4525233" y="858403"/>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8" name="Freeform: Shape 2237">
              <a:extLst>
                <a:ext uri="{FF2B5EF4-FFF2-40B4-BE49-F238E27FC236}">
                  <a16:creationId xmlns:a16="http://schemas.microsoft.com/office/drawing/2014/main" id="{261B7F1B-0981-425E-8D53-5979FFE646FE}"/>
                </a:ext>
              </a:extLst>
            </p:cNvPr>
            <p:cNvSpPr/>
            <p:nvPr/>
          </p:nvSpPr>
          <p:spPr>
            <a:xfrm>
              <a:off x="4804222" y="515685"/>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9"/>
                  </a:cubicBezTo>
                  <a:cubicBezTo>
                    <a:pt x="38448" y="21454"/>
                    <a:pt x="32783" y="15789"/>
                    <a:pt x="27119" y="15789"/>
                  </a:cubicBezTo>
                  <a:cubicBezTo>
                    <a:pt x="21454" y="15789"/>
                    <a:pt x="15789" y="21454"/>
                    <a:pt x="15789" y="27119"/>
                  </a:cubicBezTo>
                  <a:cubicBezTo>
                    <a:pt x="15789" y="32783"/>
                    <a:pt x="21454"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9" name="Freeform: Shape 2238">
              <a:extLst>
                <a:ext uri="{FF2B5EF4-FFF2-40B4-BE49-F238E27FC236}">
                  <a16:creationId xmlns:a16="http://schemas.microsoft.com/office/drawing/2014/main" id="{BE7F3404-FB8C-40C5-9082-506B3B040FFA}"/>
                </a:ext>
              </a:extLst>
            </p:cNvPr>
            <p:cNvSpPr/>
            <p:nvPr/>
          </p:nvSpPr>
          <p:spPr>
            <a:xfrm>
              <a:off x="5056305" y="885310"/>
              <a:ext cx="42486" cy="42486"/>
            </a:xfrm>
            <a:custGeom>
              <a:avLst/>
              <a:gdLst>
                <a:gd name="connsiteX0" fmla="*/ 27118 w 42485"/>
                <a:gd name="connsiteY0" fmla="*/ 38448 h 42485"/>
                <a:gd name="connsiteX1" fmla="*/ 38448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8" y="32783"/>
                    <a:pt x="38448" y="27119"/>
                  </a:cubicBezTo>
                  <a:cubicBezTo>
                    <a:pt x="38448" y="21454"/>
                    <a:pt x="34199" y="15789"/>
                    <a:pt x="27118" y="15789"/>
                  </a:cubicBezTo>
                  <a:cubicBezTo>
                    <a:pt x="21454" y="15789"/>
                    <a:pt x="15789" y="21454"/>
                    <a:pt x="15789" y="27119"/>
                  </a:cubicBezTo>
                  <a:cubicBezTo>
                    <a:pt x="15789" y="34199"/>
                    <a:pt x="20037"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0" name="Freeform: Shape 2239">
              <a:extLst>
                <a:ext uri="{FF2B5EF4-FFF2-40B4-BE49-F238E27FC236}">
                  <a16:creationId xmlns:a16="http://schemas.microsoft.com/office/drawing/2014/main" id="{627FC585-AC4A-4942-BCC7-40F4BF58406D}"/>
                </a:ext>
              </a:extLst>
            </p:cNvPr>
            <p:cNvSpPr/>
            <p:nvPr/>
          </p:nvSpPr>
          <p:spPr>
            <a:xfrm>
              <a:off x="4644085" y="606321"/>
              <a:ext cx="84971" cy="84971"/>
            </a:xfrm>
            <a:custGeom>
              <a:avLst/>
              <a:gdLst>
                <a:gd name="connsiteX0" fmla="*/ 42804 w 84971"/>
                <a:gd name="connsiteY0" fmla="*/ 69604 h 84971"/>
                <a:gd name="connsiteX1" fmla="*/ 69712 w 84971"/>
                <a:gd name="connsiteY1" fmla="*/ 42697 h 84971"/>
                <a:gd name="connsiteX2" fmla="*/ 42804 w 84971"/>
                <a:gd name="connsiteY2" fmla="*/ 15789 h 84971"/>
                <a:gd name="connsiteX3" fmla="*/ 15897 w 84971"/>
                <a:gd name="connsiteY3" fmla="*/ 42697 h 84971"/>
                <a:gd name="connsiteX4" fmla="*/ 42804 w 84971"/>
                <a:gd name="connsiteY4" fmla="*/ 6960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804" y="69604"/>
                  </a:moveTo>
                  <a:cubicBezTo>
                    <a:pt x="58382" y="69604"/>
                    <a:pt x="69712" y="56859"/>
                    <a:pt x="69712" y="42697"/>
                  </a:cubicBezTo>
                  <a:cubicBezTo>
                    <a:pt x="69712" y="27119"/>
                    <a:pt x="56966" y="15789"/>
                    <a:pt x="42804" y="15789"/>
                  </a:cubicBezTo>
                  <a:cubicBezTo>
                    <a:pt x="28642" y="15789"/>
                    <a:pt x="15897" y="28535"/>
                    <a:pt x="15897" y="42697"/>
                  </a:cubicBezTo>
                  <a:cubicBezTo>
                    <a:pt x="14480" y="56859"/>
                    <a:pt x="27226" y="69604"/>
                    <a:pt x="42804" y="6960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1" name="Freeform: Shape 2240">
              <a:extLst>
                <a:ext uri="{FF2B5EF4-FFF2-40B4-BE49-F238E27FC236}">
                  <a16:creationId xmlns:a16="http://schemas.microsoft.com/office/drawing/2014/main" id="{EC3FC1FA-76D0-4839-84D1-BFD7C73111BF}"/>
                </a:ext>
              </a:extLst>
            </p:cNvPr>
            <p:cNvSpPr/>
            <p:nvPr/>
          </p:nvSpPr>
          <p:spPr>
            <a:xfrm>
              <a:off x="4298642" y="1613233"/>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0" y="15789"/>
                    <a:pt x="32783" y="15789"/>
                  </a:cubicBezTo>
                  <a:cubicBezTo>
                    <a:pt x="22870" y="15789"/>
                    <a:pt x="15789" y="24286"/>
                    <a:pt x="15789" y="32783"/>
                  </a:cubicBezTo>
                  <a:cubicBezTo>
                    <a:pt x="15789" y="41280"/>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2" name="Freeform: Shape 2241">
              <a:extLst>
                <a:ext uri="{FF2B5EF4-FFF2-40B4-BE49-F238E27FC236}">
                  <a16:creationId xmlns:a16="http://schemas.microsoft.com/office/drawing/2014/main" id="{8E38CCEC-7F1B-4EFC-929F-735283219048}"/>
                </a:ext>
              </a:extLst>
            </p:cNvPr>
            <p:cNvSpPr/>
            <p:nvPr/>
          </p:nvSpPr>
          <p:spPr>
            <a:xfrm>
              <a:off x="4186763" y="1471613"/>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3" name="Freeform: Shape 2242">
              <a:extLst>
                <a:ext uri="{FF2B5EF4-FFF2-40B4-BE49-F238E27FC236}">
                  <a16:creationId xmlns:a16="http://schemas.microsoft.com/office/drawing/2014/main" id="{F1FC7894-1627-4056-8F9D-EBAEBF3A8153}"/>
                </a:ext>
              </a:extLst>
            </p:cNvPr>
            <p:cNvSpPr/>
            <p:nvPr/>
          </p:nvSpPr>
          <p:spPr>
            <a:xfrm>
              <a:off x="4297226" y="1587741"/>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9951"/>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4" name="Freeform: Shape 2243">
              <a:extLst>
                <a:ext uri="{FF2B5EF4-FFF2-40B4-BE49-F238E27FC236}">
                  <a16:creationId xmlns:a16="http://schemas.microsoft.com/office/drawing/2014/main" id="{84F932E6-62F0-4CD6-ABDF-EF8F33806A51}"/>
                </a:ext>
              </a:extLst>
            </p:cNvPr>
            <p:cNvSpPr/>
            <p:nvPr/>
          </p:nvSpPr>
          <p:spPr>
            <a:xfrm>
              <a:off x="4451591" y="1679793"/>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5" name="Freeform: Shape 2244">
              <a:extLst>
                <a:ext uri="{FF2B5EF4-FFF2-40B4-BE49-F238E27FC236}">
                  <a16:creationId xmlns:a16="http://schemas.microsoft.com/office/drawing/2014/main" id="{AD35139B-664B-4CB0-A5BE-70F7D1F80CCB}"/>
                </a:ext>
              </a:extLst>
            </p:cNvPr>
            <p:cNvSpPr/>
            <p:nvPr/>
          </p:nvSpPr>
          <p:spPr>
            <a:xfrm>
              <a:off x="4918934" y="1264850"/>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9951"/>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6" name="Freeform: Shape 2245">
              <a:extLst>
                <a:ext uri="{FF2B5EF4-FFF2-40B4-BE49-F238E27FC236}">
                  <a16:creationId xmlns:a16="http://schemas.microsoft.com/office/drawing/2014/main" id="{632B3E84-7586-4568-A32F-7689F589EBC7}"/>
                </a:ext>
              </a:extLst>
            </p:cNvPr>
            <p:cNvSpPr/>
            <p:nvPr/>
          </p:nvSpPr>
          <p:spPr>
            <a:xfrm>
              <a:off x="4911853" y="122661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7" name="Freeform: Shape 2246">
              <a:extLst>
                <a:ext uri="{FF2B5EF4-FFF2-40B4-BE49-F238E27FC236}">
                  <a16:creationId xmlns:a16="http://schemas.microsoft.com/office/drawing/2014/main" id="{45F7610C-E27F-4128-BA94-C2A7791C6624}"/>
                </a:ext>
              </a:extLst>
            </p:cNvPr>
            <p:cNvSpPr/>
            <p:nvPr/>
          </p:nvSpPr>
          <p:spPr>
            <a:xfrm>
              <a:off x="4069219" y="103825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8" name="Freeform: Shape 2247">
              <a:extLst>
                <a:ext uri="{FF2B5EF4-FFF2-40B4-BE49-F238E27FC236}">
                  <a16:creationId xmlns:a16="http://schemas.microsoft.com/office/drawing/2014/main" id="{1AE55718-142B-4C48-BEE5-5D77D8550DAC}"/>
                </a:ext>
              </a:extLst>
            </p:cNvPr>
            <p:cNvSpPr/>
            <p:nvPr/>
          </p:nvSpPr>
          <p:spPr>
            <a:xfrm>
              <a:off x="3741924" y="668633"/>
              <a:ext cx="56648" cy="56648"/>
            </a:xfrm>
            <a:custGeom>
              <a:avLst/>
              <a:gdLst>
                <a:gd name="connsiteX0" fmla="*/ 32938 w 56647"/>
                <a:gd name="connsiteY0" fmla="*/ 49778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8"/>
                  </a:moveTo>
                  <a:cubicBezTo>
                    <a:pt x="42852" y="49778"/>
                    <a:pt x="49933" y="41280"/>
                    <a:pt x="49933" y="32783"/>
                  </a:cubicBezTo>
                  <a:cubicBezTo>
                    <a:pt x="49933" y="22870"/>
                    <a:pt x="41435" y="15789"/>
                    <a:pt x="32938" y="15789"/>
                  </a:cubicBezTo>
                  <a:cubicBezTo>
                    <a:pt x="23025" y="15789"/>
                    <a:pt x="15944" y="24286"/>
                    <a:pt x="15944" y="32783"/>
                  </a:cubicBezTo>
                  <a:cubicBezTo>
                    <a:pt x="14528" y="42697"/>
                    <a:pt x="23025" y="49778"/>
                    <a:pt x="32938"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9" name="Freeform: Shape 2248">
              <a:extLst>
                <a:ext uri="{FF2B5EF4-FFF2-40B4-BE49-F238E27FC236}">
                  <a16:creationId xmlns:a16="http://schemas.microsoft.com/office/drawing/2014/main" id="{A097CCE8-5B02-4460-8A42-0E1E75B89FF0}"/>
                </a:ext>
              </a:extLst>
            </p:cNvPr>
            <p:cNvSpPr/>
            <p:nvPr/>
          </p:nvSpPr>
          <p:spPr>
            <a:xfrm>
              <a:off x="3887672" y="515685"/>
              <a:ext cx="42486" cy="42486"/>
            </a:xfrm>
            <a:custGeom>
              <a:avLst/>
              <a:gdLst>
                <a:gd name="connsiteX0" fmla="*/ 24561 w 42485"/>
                <a:gd name="connsiteY0" fmla="*/ 32783 h 42485"/>
                <a:gd name="connsiteX1" fmla="*/ 33058 w 42485"/>
                <a:gd name="connsiteY1" fmla="*/ 24286 h 42485"/>
                <a:gd name="connsiteX2" fmla="*/ 24561 w 42485"/>
                <a:gd name="connsiteY2" fmla="*/ 15789 h 42485"/>
                <a:gd name="connsiteX3" fmla="*/ 16063 w 42485"/>
                <a:gd name="connsiteY3" fmla="*/ 24286 h 42485"/>
                <a:gd name="connsiteX4" fmla="*/ 24561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1" y="32783"/>
                  </a:moveTo>
                  <a:cubicBezTo>
                    <a:pt x="28809" y="32783"/>
                    <a:pt x="33058" y="28535"/>
                    <a:pt x="33058" y="24286"/>
                  </a:cubicBezTo>
                  <a:cubicBezTo>
                    <a:pt x="33058" y="20038"/>
                    <a:pt x="28809" y="15789"/>
                    <a:pt x="24561" y="15789"/>
                  </a:cubicBezTo>
                  <a:cubicBezTo>
                    <a:pt x="20312" y="15789"/>
                    <a:pt x="16063" y="20038"/>
                    <a:pt x="16063" y="24286"/>
                  </a:cubicBezTo>
                  <a:cubicBezTo>
                    <a:pt x="14647" y="29951"/>
                    <a:pt x="18896" y="32783"/>
                    <a:pt x="24561"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0" name="Freeform: Shape 2249">
              <a:extLst>
                <a:ext uri="{FF2B5EF4-FFF2-40B4-BE49-F238E27FC236}">
                  <a16:creationId xmlns:a16="http://schemas.microsoft.com/office/drawing/2014/main" id="{B5E73FD1-2BDE-4CD3-85A9-98A8C7CAB25E}"/>
                </a:ext>
              </a:extLst>
            </p:cNvPr>
            <p:cNvSpPr/>
            <p:nvPr/>
          </p:nvSpPr>
          <p:spPr>
            <a:xfrm>
              <a:off x="4621534" y="332996"/>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9951" y="15789"/>
                    <a:pt x="24286" y="15789"/>
                  </a:cubicBezTo>
                  <a:cubicBezTo>
                    <a:pt x="18622"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1" name="Freeform: Shape 2250">
              <a:extLst>
                <a:ext uri="{FF2B5EF4-FFF2-40B4-BE49-F238E27FC236}">
                  <a16:creationId xmlns:a16="http://schemas.microsoft.com/office/drawing/2014/main" id="{4EC8CCFC-9A22-4C82-93E2-83A3BF8EACC9}"/>
                </a:ext>
              </a:extLst>
            </p:cNvPr>
            <p:cNvSpPr/>
            <p:nvPr/>
          </p:nvSpPr>
          <p:spPr>
            <a:xfrm>
              <a:off x="5035062" y="385395"/>
              <a:ext cx="42486" cy="42486"/>
            </a:xfrm>
            <a:custGeom>
              <a:avLst/>
              <a:gdLst>
                <a:gd name="connsiteX0" fmla="*/ 21454 w 42485"/>
                <a:gd name="connsiteY0" fmla="*/ 27119 h 42485"/>
                <a:gd name="connsiteX1" fmla="*/ 27118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8" y="24286"/>
                    <a:pt x="27118" y="21454"/>
                  </a:cubicBezTo>
                  <a:cubicBezTo>
                    <a:pt x="27118" y="18621"/>
                    <a:pt x="24286" y="15789"/>
                    <a:pt x="21454" y="15789"/>
                  </a:cubicBezTo>
                  <a:cubicBezTo>
                    <a:pt x="18621" y="15789"/>
                    <a:pt x="15789" y="18621"/>
                    <a:pt x="15789" y="21454"/>
                  </a:cubicBezTo>
                  <a:cubicBezTo>
                    <a:pt x="15789" y="24286"/>
                    <a:pt x="18621"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2" name="Freeform: Shape 2251">
              <a:extLst>
                <a:ext uri="{FF2B5EF4-FFF2-40B4-BE49-F238E27FC236}">
                  <a16:creationId xmlns:a16="http://schemas.microsoft.com/office/drawing/2014/main" id="{7A17DEF3-7142-429D-A7D6-085523E9429A}"/>
                </a:ext>
              </a:extLst>
            </p:cNvPr>
            <p:cNvSpPr/>
            <p:nvPr/>
          </p:nvSpPr>
          <p:spPr>
            <a:xfrm>
              <a:off x="4804222" y="342909"/>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2" y="15789"/>
                    <a:pt x="15789" y="18621"/>
                    <a:pt x="15789" y="21454"/>
                  </a:cubicBezTo>
                  <a:cubicBezTo>
                    <a:pt x="15789" y="25702"/>
                    <a:pt x="18622"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3" name="Freeform: Shape 2252">
              <a:extLst>
                <a:ext uri="{FF2B5EF4-FFF2-40B4-BE49-F238E27FC236}">
                  <a16:creationId xmlns:a16="http://schemas.microsoft.com/office/drawing/2014/main" id="{4CC13D56-F2FA-42BF-997E-EAB8D8010B6F}"/>
                </a:ext>
              </a:extLst>
            </p:cNvPr>
            <p:cNvSpPr/>
            <p:nvPr/>
          </p:nvSpPr>
          <p:spPr>
            <a:xfrm>
              <a:off x="4427464" y="597766"/>
              <a:ext cx="70810" cy="70810"/>
            </a:xfrm>
            <a:custGeom>
              <a:avLst/>
              <a:gdLst>
                <a:gd name="connsiteX0" fmla="*/ 63997 w 70809"/>
                <a:gd name="connsiteY0" fmla="*/ 39887 h 70809"/>
                <a:gd name="connsiteX1" fmla="*/ 39955 w 70809"/>
                <a:gd name="connsiteY1" fmla="*/ 63996 h 70809"/>
                <a:gd name="connsiteX2" fmla="*/ 15846 w 70809"/>
                <a:gd name="connsiteY2" fmla="*/ 39955 h 70809"/>
                <a:gd name="connsiteX3" fmla="*/ 39887 w 70809"/>
                <a:gd name="connsiteY3" fmla="*/ 15846 h 70809"/>
                <a:gd name="connsiteX4" fmla="*/ 63997 w 70809"/>
                <a:gd name="connsiteY4" fmla="*/ 3988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3997" y="39887"/>
                  </a:moveTo>
                  <a:cubicBezTo>
                    <a:pt x="64015" y="53183"/>
                    <a:pt x="53252" y="63977"/>
                    <a:pt x="39955" y="63996"/>
                  </a:cubicBezTo>
                  <a:cubicBezTo>
                    <a:pt x="26659" y="64015"/>
                    <a:pt x="15865" y="53252"/>
                    <a:pt x="15846" y="39955"/>
                  </a:cubicBezTo>
                  <a:cubicBezTo>
                    <a:pt x="15827" y="26659"/>
                    <a:pt x="26590" y="15865"/>
                    <a:pt x="39887" y="15846"/>
                  </a:cubicBezTo>
                  <a:cubicBezTo>
                    <a:pt x="53183" y="15827"/>
                    <a:pt x="63978" y="26590"/>
                    <a:pt x="63997" y="3988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4" name="Freeform: Shape 2253">
              <a:extLst>
                <a:ext uri="{FF2B5EF4-FFF2-40B4-BE49-F238E27FC236}">
                  <a16:creationId xmlns:a16="http://schemas.microsoft.com/office/drawing/2014/main" id="{41E8F364-1A9A-4883-8A9C-19F5678BC7D7}"/>
                </a:ext>
              </a:extLst>
            </p:cNvPr>
            <p:cNvSpPr/>
            <p:nvPr/>
          </p:nvSpPr>
          <p:spPr>
            <a:xfrm>
              <a:off x="4491244" y="553922"/>
              <a:ext cx="70810" cy="70810"/>
            </a:xfrm>
            <a:custGeom>
              <a:avLst/>
              <a:gdLst>
                <a:gd name="connsiteX0" fmla="*/ 39864 w 70809"/>
                <a:gd name="connsiteY0" fmla="*/ 63939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40" y="52610"/>
                    <a:pt x="63940" y="39864"/>
                  </a:cubicBezTo>
                  <a:cubicBezTo>
                    <a:pt x="63940" y="27119"/>
                    <a:pt x="52610" y="15789"/>
                    <a:pt x="39864" y="15789"/>
                  </a:cubicBezTo>
                  <a:cubicBezTo>
                    <a:pt x="27119" y="15789"/>
                    <a:pt x="15789" y="27119"/>
                    <a:pt x="15789" y="39864"/>
                  </a:cubicBezTo>
                  <a:cubicBezTo>
                    <a:pt x="17205" y="54026"/>
                    <a:pt x="27119" y="63939"/>
                    <a:pt x="3986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5" name="Freeform: Shape 2254">
              <a:extLst>
                <a:ext uri="{FF2B5EF4-FFF2-40B4-BE49-F238E27FC236}">
                  <a16:creationId xmlns:a16="http://schemas.microsoft.com/office/drawing/2014/main" id="{81CDEE26-3E3E-432A-9C89-ADEF16C92060}"/>
                </a:ext>
              </a:extLst>
            </p:cNvPr>
            <p:cNvSpPr/>
            <p:nvPr/>
          </p:nvSpPr>
          <p:spPr>
            <a:xfrm>
              <a:off x="4686460" y="1137392"/>
              <a:ext cx="42486" cy="42486"/>
            </a:xfrm>
            <a:custGeom>
              <a:avLst/>
              <a:gdLst>
                <a:gd name="connsiteX0" fmla="*/ 27337 w 42485"/>
                <a:gd name="connsiteY0" fmla="*/ 38448 h 42485"/>
                <a:gd name="connsiteX1" fmla="*/ 38667 w 42485"/>
                <a:gd name="connsiteY1" fmla="*/ 27119 h 42485"/>
                <a:gd name="connsiteX2" fmla="*/ 27337 w 42485"/>
                <a:gd name="connsiteY2" fmla="*/ 15789 h 42485"/>
                <a:gd name="connsiteX3" fmla="*/ 16007 w 42485"/>
                <a:gd name="connsiteY3" fmla="*/ 27119 h 42485"/>
                <a:gd name="connsiteX4" fmla="*/ 27337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8448"/>
                  </a:moveTo>
                  <a:cubicBezTo>
                    <a:pt x="34418" y="38448"/>
                    <a:pt x="38667" y="32783"/>
                    <a:pt x="38667" y="27119"/>
                  </a:cubicBezTo>
                  <a:cubicBezTo>
                    <a:pt x="38667" y="20038"/>
                    <a:pt x="33002" y="15789"/>
                    <a:pt x="27337" y="15789"/>
                  </a:cubicBezTo>
                  <a:cubicBezTo>
                    <a:pt x="20256" y="15789"/>
                    <a:pt x="16007" y="21454"/>
                    <a:pt x="16007" y="27119"/>
                  </a:cubicBezTo>
                  <a:cubicBezTo>
                    <a:pt x="14591" y="32783"/>
                    <a:pt x="20256" y="38448"/>
                    <a:pt x="27337"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6" name="Freeform: Shape 2255">
              <a:extLst>
                <a:ext uri="{FF2B5EF4-FFF2-40B4-BE49-F238E27FC236}">
                  <a16:creationId xmlns:a16="http://schemas.microsoft.com/office/drawing/2014/main" id="{08CDBB62-FC4A-4946-89CB-AEA3F43892CF}"/>
                </a:ext>
              </a:extLst>
            </p:cNvPr>
            <p:cNvSpPr/>
            <p:nvPr/>
          </p:nvSpPr>
          <p:spPr>
            <a:xfrm>
              <a:off x="5372115" y="490193"/>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5789" y="38448"/>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7" name="Freeform: Shape 2256">
              <a:extLst>
                <a:ext uri="{FF2B5EF4-FFF2-40B4-BE49-F238E27FC236}">
                  <a16:creationId xmlns:a16="http://schemas.microsoft.com/office/drawing/2014/main" id="{BD5DB8FD-9192-4DEA-93CD-15D7C7E38D43}"/>
                </a:ext>
              </a:extLst>
            </p:cNvPr>
            <p:cNvSpPr/>
            <p:nvPr/>
          </p:nvSpPr>
          <p:spPr>
            <a:xfrm>
              <a:off x="5101623" y="1507018"/>
              <a:ext cx="42486" cy="42486"/>
            </a:xfrm>
            <a:custGeom>
              <a:avLst/>
              <a:gdLst>
                <a:gd name="connsiteX0" fmla="*/ 32783 w 42485"/>
                <a:gd name="connsiteY0" fmla="*/ 24286 h 42485"/>
                <a:gd name="connsiteX1" fmla="*/ 24286 w 42485"/>
                <a:gd name="connsiteY1" fmla="*/ 32783 h 42485"/>
                <a:gd name="connsiteX2" fmla="*/ 15789 w 42485"/>
                <a:gd name="connsiteY2" fmla="*/ 24286 h 42485"/>
                <a:gd name="connsiteX3" fmla="*/ 24286 w 42485"/>
                <a:gd name="connsiteY3" fmla="*/ 15789 h 42485"/>
                <a:gd name="connsiteX4" fmla="*/ 32783 w 42485"/>
                <a:gd name="connsiteY4" fmla="*/ 2428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3" y="24286"/>
                  </a:moveTo>
                  <a:cubicBezTo>
                    <a:pt x="32783" y="28979"/>
                    <a:pt x="28979" y="32783"/>
                    <a:pt x="24286" y="32783"/>
                  </a:cubicBezTo>
                  <a:cubicBezTo>
                    <a:pt x="19593" y="32783"/>
                    <a:pt x="15789" y="28979"/>
                    <a:pt x="15789" y="24286"/>
                  </a:cubicBezTo>
                  <a:cubicBezTo>
                    <a:pt x="15789" y="19593"/>
                    <a:pt x="19593" y="15789"/>
                    <a:pt x="24286" y="15789"/>
                  </a:cubicBezTo>
                  <a:cubicBezTo>
                    <a:pt x="28979" y="15789"/>
                    <a:pt x="32783" y="19593"/>
                    <a:pt x="32783"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8" name="Freeform: Shape 2257">
              <a:extLst>
                <a:ext uri="{FF2B5EF4-FFF2-40B4-BE49-F238E27FC236}">
                  <a16:creationId xmlns:a16="http://schemas.microsoft.com/office/drawing/2014/main" id="{14115E49-D346-47AF-ACCC-43A956D45406}"/>
                </a:ext>
              </a:extLst>
            </p:cNvPr>
            <p:cNvSpPr/>
            <p:nvPr/>
          </p:nvSpPr>
          <p:spPr>
            <a:xfrm>
              <a:off x="5321132" y="1419214"/>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4200" y="38448"/>
                    <a:pt x="38448" y="32783"/>
                    <a:pt x="38448" y="27119"/>
                  </a:cubicBezTo>
                  <a:cubicBezTo>
                    <a:pt x="38448" y="20038"/>
                    <a:pt x="32783" y="15789"/>
                    <a:pt x="27119" y="15789"/>
                  </a:cubicBezTo>
                  <a:cubicBezTo>
                    <a:pt x="21454" y="15789"/>
                    <a:pt x="15789" y="21454"/>
                    <a:pt x="15789" y="27119"/>
                  </a:cubicBezTo>
                  <a:cubicBezTo>
                    <a:pt x="15789" y="32783"/>
                    <a:pt x="21454"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9" name="Freeform: Shape 2258">
              <a:extLst>
                <a:ext uri="{FF2B5EF4-FFF2-40B4-BE49-F238E27FC236}">
                  <a16:creationId xmlns:a16="http://schemas.microsoft.com/office/drawing/2014/main" id="{C33A55FB-0311-493F-9748-403ADECCCE99}"/>
                </a:ext>
              </a:extLst>
            </p:cNvPr>
            <p:cNvSpPr/>
            <p:nvPr/>
          </p:nvSpPr>
          <p:spPr>
            <a:xfrm>
              <a:off x="5277230" y="1498521"/>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1280"/>
                    <a:pt x="49778" y="32783"/>
                  </a:cubicBezTo>
                  <a:cubicBezTo>
                    <a:pt x="49778" y="22870"/>
                    <a:pt x="41281" y="15789"/>
                    <a:pt x="32783" y="15789"/>
                  </a:cubicBezTo>
                  <a:cubicBezTo>
                    <a:pt x="22870" y="15789"/>
                    <a:pt x="15789" y="24286"/>
                    <a:pt x="15789" y="32783"/>
                  </a:cubicBezTo>
                  <a:cubicBezTo>
                    <a:pt x="15789" y="41280"/>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0" name="Freeform: Shape 2259">
              <a:extLst>
                <a:ext uri="{FF2B5EF4-FFF2-40B4-BE49-F238E27FC236}">
                  <a16:creationId xmlns:a16="http://schemas.microsoft.com/office/drawing/2014/main" id="{7514106A-6BF8-4797-98E6-356750753F76}"/>
                </a:ext>
              </a:extLst>
            </p:cNvPr>
            <p:cNvSpPr/>
            <p:nvPr/>
          </p:nvSpPr>
          <p:spPr>
            <a:xfrm>
              <a:off x="5131088" y="1433376"/>
              <a:ext cx="42486" cy="42486"/>
            </a:xfrm>
            <a:custGeom>
              <a:avLst/>
              <a:gdLst>
                <a:gd name="connsiteX0" fmla="*/ 24561 w 42485"/>
                <a:gd name="connsiteY0" fmla="*/ 32783 h 42485"/>
                <a:gd name="connsiteX1" fmla="*/ 33058 w 42485"/>
                <a:gd name="connsiteY1" fmla="*/ 24286 h 42485"/>
                <a:gd name="connsiteX2" fmla="*/ 24561 w 42485"/>
                <a:gd name="connsiteY2" fmla="*/ 15789 h 42485"/>
                <a:gd name="connsiteX3" fmla="*/ 16064 w 42485"/>
                <a:gd name="connsiteY3" fmla="*/ 24286 h 42485"/>
                <a:gd name="connsiteX4" fmla="*/ 24561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1" y="32783"/>
                  </a:moveTo>
                  <a:cubicBezTo>
                    <a:pt x="28809" y="32783"/>
                    <a:pt x="33058" y="28535"/>
                    <a:pt x="33058" y="24286"/>
                  </a:cubicBezTo>
                  <a:cubicBezTo>
                    <a:pt x="33058" y="20038"/>
                    <a:pt x="28809" y="15789"/>
                    <a:pt x="24561" y="15789"/>
                  </a:cubicBezTo>
                  <a:cubicBezTo>
                    <a:pt x="20312" y="15789"/>
                    <a:pt x="16064" y="20038"/>
                    <a:pt x="16064" y="24286"/>
                  </a:cubicBezTo>
                  <a:cubicBezTo>
                    <a:pt x="14647" y="28535"/>
                    <a:pt x="18896" y="32783"/>
                    <a:pt x="24561"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1" name="Freeform: Shape 2260">
              <a:extLst>
                <a:ext uri="{FF2B5EF4-FFF2-40B4-BE49-F238E27FC236}">
                  <a16:creationId xmlns:a16="http://schemas.microsoft.com/office/drawing/2014/main" id="{492484D3-5A6F-4552-9088-C3AA791E072C}"/>
                </a:ext>
              </a:extLst>
            </p:cNvPr>
            <p:cNvSpPr/>
            <p:nvPr/>
          </p:nvSpPr>
          <p:spPr>
            <a:xfrm>
              <a:off x="5162519" y="1545255"/>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9951"/>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2" name="Freeform: Shape 2261">
              <a:extLst>
                <a:ext uri="{FF2B5EF4-FFF2-40B4-BE49-F238E27FC236}">
                  <a16:creationId xmlns:a16="http://schemas.microsoft.com/office/drawing/2014/main" id="{DAE8D086-D268-4F01-8EBE-FE47B11B6E5C}"/>
                </a:ext>
              </a:extLst>
            </p:cNvPr>
            <p:cNvSpPr/>
            <p:nvPr/>
          </p:nvSpPr>
          <p:spPr>
            <a:xfrm>
              <a:off x="3380950" y="681379"/>
              <a:ext cx="70810" cy="70810"/>
            </a:xfrm>
            <a:custGeom>
              <a:avLst/>
              <a:gdLst>
                <a:gd name="connsiteX0" fmla="*/ 39864 w 70809"/>
                <a:gd name="connsiteY0" fmla="*/ 63939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40" y="52610"/>
                    <a:pt x="63940" y="39864"/>
                  </a:cubicBezTo>
                  <a:cubicBezTo>
                    <a:pt x="63940" y="27119"/>
                    <a:pt x="52610" y="15789"/>
                    <a:pt x="39864" y="15789"/>
                  </a:cubicBezTo>
                  <a:cubicBezTo>
                    <a:pt x="27119" y="15789"/>
                    <a:pt x="15789" y="27119"/>
                    <a:pt x="15789" y="39864"/>
                  </a:cubicBezTo>
                  <a:cubicBezTo>
                    <a:pt x="15789" y="54026"/>
                    <a:pt x="27119" y="63939"/>
                    <a:pt x="3986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3" name="Freeform: Shape 2262">
              <a:extLst>
                <a:ext uri="{FF2B5EF4-FFF2-40B4-BE49-F238E27FC236}">
                  <a16:creationId xmlns:a16="http://schemas.microsoft.com/office/drawing/2014/main" id="{1A78866F-1374-44B9-8921-257E19D2B14B}"/>
                </a:ext>
              </a:extLst>
            </p:cNvPr>
            <p:cNvSpPr/>
            <p:nvPr/>
          </p:nvSpPr>
          <p:spPr>
            <a:xfrm>
              <a:off x="3301644" y="457621"/>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5789" y="46945"/>
                    <a:pt x="24286"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4" name="Freeform: Shape 2263">
              <a:extLst>
                <a:ext uri="{FF2B5EF4-FFF2-40B4-BE49-F238E27FC236}">
                  <a16:creationId xmlns:a16="http://schemas.microsoft.com/office/drawing/2014/main" id="{A2C2E2B2-BF57-4C29-A48B-CCB08236E1AD}"/>
                </a:ext>
              </a:extLst>
            </p:cNvPr>
            <p:cNvSpPr/>
            <p:nvPr/>
          </p:nvSpPr>
          <p:spPr>
            <a:xfrm>
              <a:off x="3698177" y="39247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0" y="15789"/>
                    <a:pt x="32783" y="15789"/>
                  </a:cubicBezTo>
                  <a:cubicBezTo>
                    <a:pt x="22870" y="15789"/>
                    <a:pt x="15789" y="24286"/>
                    <a:pt x="15789" y="32783"/>
                  </a:cubicBezTo>
                  <a:cubicBezTo>
                    <a:pt x="15789" y="41280"/>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5" name="Freeform: Shape 2264">
              <a:extLst>
                <a:ext uri="{FF2B5EF4-FFF2-40B4-BE49-F238E27FC236}">
                  <a16:creationId xmlns:a16="http://schemas.microsoft.com/office/drawing/2014/main" id="{75F2984B-33A3-41C8-AF07-185348485B70}"/>
                </a:ext>
              </a:extLst>
            </p:cNvPr>
            <p:cNvSpPr/>
            <p:nvPr/>
          </p:nvSpPr>
          <p:spPr>
            <a:xfrm>
              <a:off x="3216672" y="70403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9951"/>
                    <a:pt x="18621"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6" name="Freeform: Shape 2265">
              <a:extLst>
                <a:ext uri="{FF2B5EF4-FFF2-40B4-BE49-F238E27FC236}">
                  <a16:creationId xmlns:a16="http://schemas.microsoft.com/office/drawing/2014/main" id="{0C0B7BF9-03C1-4A6F-9879-8F9156A6D141}"/>
                </a:ext>
              </a:extLst>
            </p:cNvPr>
            <p:cNvSpPr/>
            <p:nvPr/>
          </p:nvSpPr>
          <p:spPr>
            <a:xfrm>
              <a:off x="2949012" y="647390"/>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7" name="Freeform: Shape 2266">
              <a:extLst>
                <a:ext uri="{FF2B5EF4-FFF2-40B4-BE49-F238E27FC236}">
                  <a16:creationId xmlns:a16="http://schemas.microsoft.com/office/drawing/2014/main" id="{B467E1CC-9847-4C32-8AEF-83CB45F13F8A}"/>
                </a:ext>
              </a:extLst>
            </p:cNvPr>
            <p:cNvSpPr/>
            <p:nvPr/>
          </p:nvSpPr>
          <p:spPr>
            <a:xfrm>
              <a:off x="3329967" y="682795"/>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8" name="Freeform: Shape 2267">
              <a:extLst>
                <a:ext uri="{FF2B5EF4-FFF2-40B4-BE49-F238E27FC236}">
                  <a16:creationId xmlns:a16="http://schemas.microsoft.com/office/drawing/2014/main" id="{A598BBDE-84D9-4F03-8877-C92D2F81B786}"/>
                </a:ext>
              </a:extLst>
            </p:cNvPr>
            <p:cNvSpPr/>
            <p:nvPr/>
          </p:nvSpPr>
          <p:spPr>
            <a:xfrm>
              <a:off x="3366788" y="46611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9951"/>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9" name="Freeform: Shape 2268">
              <a:extLst>
                <a:ext uri="{FF2B5EF4-FFF2-40B4-BE49-F238E27FC236}">
                  <a16:creationId xmlns:a16="http://schemas.microsoft.com/office/drawing/2014/main" id="{50A48A6A-CA42-491E-8124-8A66233E54E4}"/>
                </a:ext>
              </a:extLst>
            </p:cNvPr>
            <p:cNvSpPr/>
            <p:nvPr/>
          </p:nvSpPr>
          <p:spPr>
            <a:xfrm>
              <a:off x="3009908" y="518517"/>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5789" y="45529"/>
                    <a:pt x="24286"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0" name="Freeform: Shape 2269">
              <a:extLst>
                <a:ext uri="{FF2B5EF4-FFF2-40B4-BE49-F238E27FC236}">
                  <a16:creationId xmlns:a16="http://schemas.microsoft.com/office/drawing/2014/main" id="{49D6749D-79ED-48EF-BEC1-0256D723F59E}"/>
                </a:ext>
              </a:extLst>
            </p:cNvPr>
            <p:cNvSpPr/>
            <p:nvPr/>
          </p:nvSpPr>
          <p:spPr>
            <a:xfrm>
              <a:off x="3574969" y="570916"/>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1" name="Freeform: Shape 2270">
              <a:extLst>
                <a:ext uri="{FF2B5EF4-FFF2-40B4-BE49-F238E27FC236}">
                  <a16:creationId xmlns:a16="http://schemas.microsoft.com/office/drawing/2014/main" id="{F2325EE2-2461-41C3-876D-B519413FEDAC}"/>
                </a:ext>
              </a:extLst>
            </p:cNvPr>
            <p:cNvSpPr/>
            <p:nvPr/>
          </p:nvSpPr>
          <p:spPr>
            <a:xfrm>
              <a:off x="3691096" y="477447"/>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7205" y="41280"/>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2" name="Freeform: Shape 2271">
              <a:extLst>
                <a:ext uri="{FF2B5EF4-FFF2-40B4-BE49-F238E27FC236}">
                  <a16:creationId xmlns:a16="http://schemas.microsoft.com/office/drawing/2014/main" id="{2FA99211-C8D0-49E7-A1E9-AF9A59A482D7}"/>
                </a:ext>
              </a:extLst>
            </p:cNvPr>
            <p:cNvSpPr/>
            <p:nvPr/>
          </p:nvSpPr>
          <p:spPr>
            <a:xfrm>
              <a:off x="3148695" y="596407"/>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3" name="Freeform: Shape 2272">
              <a:extLst>
                <a:ext uri="{FF2B5EF4-FFF2-40B4-BE49-F238E27FC236}">
                  <a16:creationId xmlns:a16="http://schemas.microsoft.com/office/drawing/2014/main" id="{AD098A3C-F0C8-4C31-B699-457DEFE2DEE5}"/>
                </a:ext>
              </a:extLst>
            </p:cNvPr>
            <p:cNvSpPr/>
            <p:nvPr/>
          </p:nvSpPr>
          <p:spPr>
            <a:xfrm>
              <a:off x="3373869" y="568084"/>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4" name="Freeform: Shape 2273">
              <a:extLst>
                <a:ext uri="{FF2B5EF4-FFF2-40B4-BE49-F238E27FC236}">
                  <a16:creationId xmlns:a16="http://schemas.microsoft.com/office/drawing/2014/main" id="{598E9B0B-73F5-42E9-95A1-A39C59C48A1D}"/>
                </a:ext>
              </a:extLst>
            </p:cNvPr>
            <p:cNvSpPr/>
            <p:nvPr/>
          </p:nvSpPr>
          <p:spPr>
            <a:xfrm>
              <a:off x="3267655" y="80883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5" name="Freeform: Shape 2274">
              <a:extLst>
                <a:ext uri="{FF2B5EF4-FFF2-40B4-BE49-F238E27FC236}">
                  <a16:creationId xmlns:a16="http://schemas.microsoft.com/office/drawing/2014/main" id="{F19E1027-11BC-4330-BE0A-CE74E823CDE1}"/>
                </a:ext>
              </a:extLst>
            </p:cNvPr>
            <p:cNvSpPr/>
            <p:nvPr/>
          </p:nvSpPr>
          <p:spPr>
            <a:xfrm>
              <a:off x="2798741" y="796090"/>
              <a:ext cx="56648" cy="56648"/>
            </a:xfrm>
            <a:custGeom>
              <a:avLst/>
              <a:gdLst>
                <a:gd name="connsiteX0" fmla="*/ 32938 w 56647"/>
                <a:gd name="connsiteY0" fmla="*/ 49778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8"/>
                  </a:moveTo>
                  <a:cubicBezTo>
                    <a:pt x="42852" y="49778"/>
                    <a:pt x="49933" y="41280"/>
                    <a:pt x="49933" y="32783"/>
                  </a:cubicBezTo>
                  <a:cubicBezTo>
                    <a:pt x="49933" y="22870"/>
                    <a:pt x="41435" y="15789"/>
                    <a:pt x="32938" y="15789"/>
                  </a:cubicBezTo>
                  <a:cubicBezTo>
                    <a:pt x="23025" y="15789"/>
                    <a:pt x="15944" y="24286"/>
                    <a:pt x="15944" y="32783"/>
                  </a:cubicBezTo>
                  <a:cubicBezTo>
                    <a:pt x="14528" y="42697"/>
                    <a:pt x="23025" y="49778"/>
                    <a:pt x="32938"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6" name="Freeform: Shape 2275">
              <a:extLst>
                <a:ext uri="{FF2B5EF4-FFF2-40B4-BE49-F238E27FC236}">
                  <a16:creationId xmlns:a16="http://schemas.microsoft.com/office/drawing/2014/main" id="{31005D99-5D33-48EF-A605-E35C214BF704}"/>
                </a:ext>
              </a:extLst>
            </p:cNvPr>
            <p:cNvSpPr/>
            <p:nvPr/>
          </p:nvSpPr>
          <p:spPr>
            <a:xfrm>
              <a:off x="3165689" y="1117566"/>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18621"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7" name="Freeform: Shape 2276">
              <a:extLst>
                <a:ext uri="{FF2B5EF4-FFF2-40B4-BE49-F238E27FC236}">
                  <a16:creationId xmlns:a16="http://schemas.microsoft.com/office/drawing/2014/main" id="{9A80E055-6CDB-4F9F-9250-E2B28FA6F83E}"/>
                </a:ext>
              </a:extLst>
            </p:cNvPr>
            <p:cNvSpPr/>
            <p:nvPr/>
          </p:nvSpPr>
          <p:spPr>
            <a:xfrm>
              <a:off x="2790124" y="1358318"/>
              <a:ext cx="42486" cy="42486"/>
            </a:xfrm>
            <a:custGeom>
              <a:avLst/>
              <a:gdLst>
                <a:gd name="connsiteX0" fmla="*/ 24561 w 42485"/>
                <a:gd name="connsiteY0" fmla="*/ 32783 h 42485"/>
                <a:gd name="connsiteX1" fmla="*/ 33058 w 42485"/>
                <a:gd name="connsiteY1" fmla="*/ 24286 h 42485"/>
                <a:gd name="connsiteX2" fmla="*/ 24561 w 42485"/>
                <a:gd name="connsiteY2" fmla="*/ 15789 h 42485"/>
                <a:gd name="connsiteX3" fmla="*/ 16063 w 42485"/>
                <a:gd name="connsiteY3" fmla="*/ 24286 h 42485"/>
                <a:gd name="connsiteX4" fmla="*/ 24561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1" y="32783"/>
                  </a:moveTo>
                  <a:cubicBezTo>
                    <a:pt x="28809" y="32783"/>
                    <a:pt x="33058" y="28535"/>
                    <a:pt x="33058" y="24286"/>
                  </a:cubicBezTo>
                  <a:cubicBezTo>
                    <a:pt x="33058" y="20038"/>
                    <a:pt x="28809" y="15789"/>
                    <a:pt x="24561" y="15789"/>
                  </a:cubicBezTo>
                  <a:cubicBezTo>
                    <a:pt x="20312" y="15789"/>
                    <a:pt x="16063" y="20038"/>
                    <a:pt x="16063" y="24286"/>
                  </a:cubicBezTo>
                  <a:cubicBezTo>
                    <a:pt x="14647" y="29951"/>
                    <a:pt x="18896" y="32783"/>
                    <a:pt x="24561"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8" name="Freeform: Shape 2277">
              <a:extLst>
                <a:ext uri="{FF2B5EF4-FFF2-40B4-BE49-F238E27FC236}">
                  <a16:creationId xmlns:a16="http://schemas.microsoft.com/office/drawing/2014/main" id="{5FD4482F-FC8C-4D40-8F0F-05D9F9F61B07}"/>
                </a:ext>
              </a:extLst>
            </p:cNvPr>
            <p:cNvSpPr/>
            <p:nvPr/>
          </p:nvSpPr>
          <p:spPr>
            <a:xfrm>
              <a:off x="3498494" y="1077912"/>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9" name="Freeform: Shape 2278">
              <a:extLst>
                <a:ext uri="{FF2B5EF4-FFF2-40B4-BE49-F238E27FC236}">
                  <a16:creationId xmlns:a16="http://schemas.microsoft.com/office/drawing/2014/main" id="{47E7A09C-9177-4142-9BDF-0195D55D9756}"/>
                </a:ext>
              </a:extLst>
            </p:cNvPr>
            <p:cNvSpPr/>
            <p:nvPr/>
          </p:nvSpPr>
          <p:spPr>
            <a:xfrm>
              <a:off x="3363956" y="1158635"/>
              <a:ext cx="70810" cy="70810"/>
            </a:xfrm>
            <a:custGeom>
              <a:avLst/>
              <a:gdLst>
                <a:gd name="connsiteX0" fmla="*/ 39864 w 70809"/>
                <a:gd name="connsiteY0" fmla="*/ 63940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2610" y="63940"/>
                    <a:pt x="63940" y="52610"/>
                    <a:pt x="63940" y="39864"/>
                  </a:cubicBezTo>
                  <a:cubicBezTo>
                    <a:pt x="63940" y="27119"/>
                    <a:pt x="52610" y="15789"/>
                    <a:pt x="39864" y="15789"/>
                  </a:cubicBezTo>
                  <a:cubicBezTo>
                    <a:pt x="27119" y="15789"/>
                    <a:pt x="15789" y="27119"/>
                    <a:pt x="15789" y="39864"/>
                  </a:cubicBezTo>
                  <a:cubicBezTo>
                    <a:pt x="15789" y="54026"/>
                    <a:pt x="27119"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0" name="Freeform: Shape 2279">
              <a:extLst>
                <a:ext uri="{FF2B5EF4-FFF2-40B4-BE49-F238E27FC236}">
                  <a16:creationId xmlns:a16="http://schemas.microsoft.com/office/drawing/2014/main" id="{2C47291D-FFEF-46F5-B841-E59C49BCB813}"/>
                </a:ext>
              </a:extLst>
            </p:cNvPr>
            <p:cNvSpPr/>
            <p:nvPr/>
          </p:nvSpPr>
          <p:spPr>
            <a:xfrm>
              <a:off x="3240473" y="1243607"/>
              <a:ext cx="42486" cy="42486"/>
            </a:xfrm>
            <a:custGeom>
              <a:avLst/>
              <a:gdLst>
                <a:gd name="connsiteX0" fmla="*/ 24561 w 42485"/>
                <a:gd name="connsiteY0" fmla="*/ 32783 h 42485"/>
                <a:gd name="connsiteX1" fmla="*/ 33058 w 42485"/>
                <a:gd name="connsiteY1" fmla="*/ 24286 h 42485"/>
                <a:gd name="connsiteX2" fmla="*/ 24561 w 42485"/>
                <a:gd name="connsiteY2" fmla="*/ 15789 h 42485"/>
                <a:gd name="connsiteX3" fmla="*/ 16064 w 42485"/>
                <a:gd name="connsiteY3" fmla="*/ 24286 h 42485"/>
                <a:gd name="connsiteX4" fmla="*/ 24561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1" y="32783"/>
                  </a:moveTo>
                  <a:cubicBezTo>
                    <a:pt x="28809" y="32783"/>
                    <a:pt x="33058" y="28535"/>
                    <a:pt x="33058" y="24286"/>
                  </a:cubicBezTo>
                  <a:cubicBezTo>
                    <a:pt x="33058" y="20038"/>
                    <a:pt x="28809" y="15789"/>
                    <a:pt x="24561" y="15789"/>
                  </a:cubicBezTo>
                  <a:cubicBezTo>
                    <a:pt x="20312" y="15789"/>
                    <a:pt x="16064" y="20038"/>
                    <a:pt x="16064" y="24286"/>
                  </a:cubicBezTo>
                  <a:cubicBezTo>
                    <a:pt x="14647" y="28535"/>
                    <a:pt x="18896" y="32783"/>
                    <a:pt x="24561"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1" name="Freeform: Shape 2280">
              <a:extLst>
                <a:ext uri="{FF2B5EF4-FFF2-40B4-BE49-F238E27FC236}">
                  <a16:creationId xmlns:a16="http://schemas.microsoft.com/office/drawing/2014/main" id="{33BF751C-302A-4028-9401-E83D45C866EA}"/>
                </a:ext>
              </a:extLst>
            </p:cNvPr>
            <p:cNvSpPr/>
            <p:nvPr/>
          </p:nvSpPr>
          <p:spPr>
            <a:xfrm>
              <a:off x="2913607" y="119120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2" name="Freeform: Shape 2281">
              <a:extLst>
                <a:ext uri="{FF2B5EF4-FFF2-40B4-BE49-F238E27FC236}">
                  <a16:creationId xmlns:a16="http://schemas.microsoft.com/office/drawing/2014/main" id="{D88B09AE-B995-4CF3-8FF0-432D818FA3EA}"/>
                </a:ext>
              </a:extLst>
            </p:cNvPr>
            <p:cNvSpPr/>
            <p:nvPr/>
          </p:nvSpPr>
          <p:spPr>
            <a:xfrm>
              <a:off x="2291899" y="84140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3" name="Freeform: Shape 2282">
              <a:extLst>
                <a:ext uri="{FF2B5EF4-FFF2-40B4-BE49-F238E27FC236}">
                  <a16:creationId xmlns:a16="http://schemas.microsoft.com/office/drawing/2014/main" id="{5087A60D-A58A-4FA0-88E4-724FD19A9DC8}"/>
                </a:ext>
              </a:extLst>
            </p:cNvPr>
            <p:cNvSpPr/>
            <p:nvPr/>
          </p:nvSpPr>
          <p:spPr>
            <a:xfrm>
              <a:off x="2423605" y="66296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4" name="Freeform: Shape 2283">
              <a:extLst>
                <a:ext uri="{FF2B5EF4-FFF2-40B4-BE49-F238E27FC236}">
                  <a16:creationId xmlns:a16="http://schemas.microsoft.com/office/drawing/2014/main" id="{B01EA1B7-32F5-4660-BB21-5F19C046BE10}"/>
                </a:ext>
              </a:extLst>
            </p:cNvPr>
            <p:cNvSpPr/>
            <p:nvPr/>
          </p:nvSpPr>
          <p:spPr>
            <a:xfrm>
              <a:off x="3540980" y="1422047"/>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41280"/>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5" name="Freeform: Shape 2284">
              <a:extLst>
                <a:ext uri="{FF2B5EF4-FFF2-40B4-BE49-F238E27FC236}">
                  <a16:creationId xmlns:a16="http://schemas.microsoft.com/office/drawing/2014/main" id="{3B5F0473-B70B-4EC6-B354-480C1C1894D6}"/>
                </a:ext>
              </a:extLst>
            </p:cNvPr>
            <p:cNvSpPr/>
            <p:nvPr/>
          </p:nvSpPr>
          <p:spPr>
            <a:xfrm>
              <a:off x="3768712" y="1329994"/>
              <a:ext cx="42486" cy="42486"/>
            </a:xfrm>
            <a:custGeom>
              <a:avLst/>
              <a:gdLst>
                <a:gd name="connsiteX0" fmla="*/ 24561 w 42485"/>
                <a:gd name="connsiteY0" fmla="*/ 32783 h 42485"/>
                <a:gd name="connsiteX1" fmla="*/ 33058 w 42485"/>
                <a:gd name="connsiteY1" fmla="*/ 24286 h 42485"/>
                <a:gd name="connsiteX2" fmla="*/ 24561 w 42485"/>
                <a:gd name="connsiteY2" fmla="*/ 15789 h 42485"/>
                <a:gd name="connsiteX3" fmla="*/ 16064 w 42485"/>
                <a:gd name="connsiteY3" fmla="*/ 24286 h 42485"/>
                <a:gd name="connsiteX4" fmla="*/ 24561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1" y="32783"/>
                  </a:moveTo>
                  <a:cubicBezTo>
                    <a:pt x="28809" y="32783"/>
                    <a:pt x="33058" y="28535"/>
                    <a:pt x="33058" y="24286"/>
                  </a:cubicBezTo>
                  <a:cubicBezTo>
                    <a:pt x="33058" y="20038"/>
                    <a:pt x="28809" y="15789"/>
                    <a:pt x="24561" y="15789"/>
                  </a:cubicBezTo>
                  <a:cubicBezTo>
                    <a:pt x="20312" y="15789"/>
                    <a:pt x="16064" y="20038"/>
                    <a:pt x="16064" y="24286"/>
                  </a:cubicBezTo>
                  <a:cubicBezTo>
                    <a:pt x="14647" y="28535"/>
                    <a:pt x="18896" y="32783"/>
                    <a:pt x="24561"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6" name="Freeform: Shape 2285">
              <a:extLst>
                <a:ext uri="{FF2B5EF4-FFF2-40B4-BE49-F238E27FC236}">
                  <a16:creationId xmlns:a16="http://schemas.microsoft.com/office/drawing/2014/main" id="{9C9DB2EA-8211-42F6-B1B9-C63F7F6217CB}"/>
                </a:ext>
              </a:extLst>
            </p:cNvPr>
            <p:cNvSpPr/>
            <p:nvPr/>
          </p:nvSpPr>
          <p:spPr>
            <a:xfrm>
              <a:off x="3685431" y="1508434"/>
              <a:ext cx="70810" cy="70810"/>
            </a:xfrm>
            <a:custGeom>
              <a:avLst/>
              <a:gdLst>
                <a:gd name="connsiteX0" fmla="*/ 38448 w 70809"/>
                <a:gd name="connsiteY0" fmla="*/ 61107 h 70809"/>
                <a:gd name="connsiteX1" fmla="*/ 61107 w 70809"/>
                <a:gd name="connsiteY1" fmla="*/ 38448 h 70809"/>
                <a:gd name="connsiteX2" fmla="*/ 38448 w 70809"/>
                <a:gd name="connsiteY2" fmla="*/ 15789 h 70809"/>
                <a:gd name="connsiteX3" fmla="*/ 15789 w 70809"/>
                <a:gd name="connsiteY3" fmla="*/ 38448 h 70809"/>
                <a:gd name="connsiteX4" fmla="*/ 3844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8" y="61107"/>
                  </a:moveTo>
                  <a:cubicBezTo>
                    <a:pt x="51194" y="61107"/>
                    <a:pt x="61107" y="51194"/>
                    <a:pt x="61107" y="38448"/>
                  </a:cubicBezTo>
                  <a:cubicBezTo>
                    <a:pt x="61107" y="25702"/>
                    <a:pt x="51194" y="15789"/>
                    <a:pt x="38448" y="15789"/>
                  </a:cubicBezTo>
                  <a:cubicBezTo>
                    <a:pt x="25703" y="15789"/>
                    <a:pt x="15789" y="25702"/>
                    <a:pt x="15789" y="38448"/>
                  </a:cubicBezTo>
                  <a:cubicBezTo>
                    <a:pt x="15789" y="51194"/>
                    <a:pt x="25703" y="61107"/>
                    <a:pt x="38448"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7" name="Freeform: Shape 2286">
              <a:extLst>
                <a:ext uri="{FF2B5EF4-FFF2-40B4-BE49-F238E27FC236}">
                  <a16:creationId xmlns:a16="http://schemas.microsoft.com/office/drawing/2014/main" id="{02346402-3553-417E-9F91-0EC2E933A930}"/>
                </a:ext>
              </a:extLst>
            </p:cNvPr>
            <p:cNvSpPr/>
            <p:nvPr/>
          </p:nvSpPr>
          <p:spPr>
            <a:xfrm>
              <a:off x="3652859" y="117846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8" name="Freeform: Shape 2287">
              <a:extLst>
                <a:ext uri="{FF2B5EF4-FFF2-40B4-BE49-F238E27FC236}">
                  <a16:creationId xmlns:a16="http://schemas.microsoft.com/office/drawing/2014/main" id="{F16008FB-5BA2-4D02-B1BD-7F799B12D0FD}"/>
                </a:ext>
              </a:extLst>
            </p:cNvPr>
            <p:cNvSpPr/>
            <p:nvPr/>
          </p:nvSpPr>
          <p:spPr>
            <a:xfrm>
              <a:off x="3604708" y="1574995"/>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9" name="Freeform: Shape 2288">
              <a:extLst>
                <a:ext uri="{FF2B5EF4-FFF2-40B4-BE49-F238E27FC236}">
                  <a16:creationId xmlns:a16="http://schemas.microsoft.com/office/drawing/2014/main" id="{D00488DF-44DD-4DC0-A6D8-68990B4A6C14}"/>
                </a:ext>
              </a:extLst>
            </p:cNvPr>
            <p:cNvSpPr/>
            <p:nvPr/>
          </p:nvSpPr>
          <p:spPr>
            <a:xfrm>
              <a:off x="3538147" y="1134560"/>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0" name="Freeform: Shape 2289">
              <a:extLst>
                <a:ext uri="{FF2B5EF4-FFF2-40B4-BE49-F238E27FC236}">
                  <a16:creationId xmlns:a16="http://schemas.microsoft.com/office/drawing/2014/main" id="{6490BE14-FA3B-43F1-9CAC-E44DBD096B79}"/>
                </a:ext>
              </a:extLst>
            </p:cNvPr>
            <p:cNvSpPr/>
            <p:nvPr/>
          </p:nvSpPr>
          <p:spPr>
            <a:xfrm>
              <a:off x="3805808" y="1440457"/>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1" name="Freeform: Shape 2290">
              <a:extLst>
                <a:ext uri="{FF2B5EF4-FFF2-40B4-BE49-F238E27FC236}">
                  <a16:creationId xmlns:a16="http://schemas.microsoft.com/office/drawing/2014/main" id="{A9B2C11A-D6D0-4865-93B9-9EF4E9EB98C4}"/>
                </a:ext>
              </a:extLst>
            </p:cNvPr>
            <p:cNvSpPr/>
            <p:nvPr/>
          </p:nvSpPr>
          <p:spPr>
            <a:xfrm>
              <a:off x="3242164" y="1059502"/>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18621"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2" name="Freeform: Shape 2291">
              <a:extLst>
                <a:ext uri="{FF2B5EF4-FFF2-40B4-BE49-F238E27FC236}">
                  <a16:creationId xmlns:a16="http://schemas.microsoft.com/office/drawing/2014/main" id="{9ED4407E-C7BB-4F87-A338-5099303521EB}"/>
                </a:ext>
              </a:extLst>
            </p:cNvPr>
            <p:cNvSpPr/>
            <p:nvPr/>
          </p:nvSpPr>
          <p:spPr>
            <a:xfrm>
              <a:off x="3175602" y="973114"/>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3" name="Freeform: Shape 2292">
              <a:extLst>
                <a:ext uri="{FF2B5EF4-FFF2-40B4-BE49-F238E27FC236}">
                  <a16:creationId xmlns:a16="http://schemas.microsoft.com/office/drawing/2014/main" id="{FFD3FAA0-8AD0-46AE-9483-8A15C89ABD3E}"/>
                </a:ext>
              </a:extLst>
            </p:cNvPr>
            <p:cNvSpPr/>
            <p:nvPr/>
          </p:nvSpPr>
          <p:spPr>
            <a:xfrm>
              <a:off x="3205343" y="98727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4" name="Freeform: Shape 2293">
              <a:extLst>
                <a:ext uri="{FF2B5EF4-FFF2-40B4-BE49-F238E27FC236}">
                  <a16:creationId xmlns:a16="http://schemas.microsoft.com/office/drawing/2014/main" id="{0A8FC651-3F37-478C-9A7D-BA3B06D27501}"/>
                </a:ext>
              </a:extLst>
            </p:cNvPr>
            <p:cNvSpPr/>
            <p:nvPr/>
          </p:nvSpPr>
          <p:spPr>
            <a:xfrm>
              <a:off x="3041064" y="1075080"/>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5" name="Freeform: Shape 2294">
              <a:extLst>
                <a:ext uri="{FF2B5EF4-FFF2-40B4-BE49-F238E27FC236}">
                  <a16:creationId xmlns:a16="http://schemas.microsoft.com/office/drawing/2014/main" id="{4E0DE109-B03F-4CC8-9051-49375196770E}"/>
                </a:ext>
              </a:extLst>
            </p:cNvPr>
            <p:cNvSpPr/>
            <p:nvPr/>
          </p:nvSpPr>
          <p:spPr>
            <a:xfrm>
              <a:off x="3184100" y="1240774"/>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6" name="Freeform: Shape 2295">
              <a:extLst>
                <a:ext uri="{FF2B5EF4-FFF2-40B4-BE49-F238E27FC236}">
                  <a16:creationId xmlns:a16="http://schemas.microsoft.com/office/drawing/2014/main" id="{AE947BAF-9407-4660-84E3-3A4A8BFDE320}"/>
                </a:ext>
              </a:extLst>
            </p:cNvPr>
            <p:cNvSpPr/>
            <p:nvPr/>
          </p:nvSpPr>
          <p:spPr>
            <a:xfrm>
              <a:off x="3427685" y="1168549"/>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18621"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7" name="Freeform: Shape 2296">
              <a:extLst>
                <a:ext uri="{FF2B5EF4-FFF2-40B4-BE49-F238E27FC236}">
                  <a16:creationId xmlns:a16="http://schemas.microsoft.com/office/drawing/2014/main" id="{B8609D5E-3678-4405-B4ED-5F6025E22EB3}"/>
                </a:ext>
              </a:extLst>
            </p:cNvPr>
            <p:cNvSpPr/>
            <p:nvPr/>
          </p:nvSpPr>
          <p:spPr>
            <a:xfrm>
              <a:off x="3577801" y="1235110"/>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8" name="Freeform: Shape 2297">
              <a:extLst>
                <a:ext uri="{FF2B5EF4-FFF2-40B4-BE49-F238E27FC236}">
                  <a16:creationId xmlns:a16="http://schemas.microsoft.com/office/drawing/2014/main" id="{0A57531B-BD41-49A2-9D5B-068D4FC1CF69}"/>
                </a:ext>
              </a:extLst>
            </p:cNvPr>
            <p:cNvSpPr/>
            <p:nvPr/>
          </p:nvSpPr>
          <p:spPr>
            <a:xfrm>
              <a:off x="3250661" y="1378145"/>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9" name="Freeform: Shape 2298">
              <a:extLst>
                <a:ext uri="{FF2B5EF4-FFF2-40B4-BE49-F238E27FC236}">
                  <a16:creationId xmlns:a16="http://schemas.microsoft.com/office/drawing/2014/main" id="{F7E8CC10-BB92-4308-898E-ED851D45B7C2}"/>
                </a:ext>
              </a:extLst>
            </p:cNvPr>
            <p:cNvSpPr/>
            <p:nvPr/>
          </p:nvSpPr>
          <p:spPr>
            <a:xfrm>
              <a:off x="3162857" y="1407885"/>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0" name="Freeform: Shape 2299">
              <a:extLst>
                <a:ext uri="{FF2B5EF4-FFF2-40B4-BE49-F238E27FC236}">
                  <a16:creationId xmlns:a16="http://schemas.microsoft.com/office/drawing/2014/main" id="{AA61306D-BC20-40FB-95EF-1971EB50E300}"/>
                </a:ext>
              </a:extLst>
            </p:cNvPr>
            <p:cNvSpPr/>
            <p:nvPr/>
          </p:nvSpPr>
          <p:spPr>
            <a:xfrm>
              <a:off x="2443431" y="1574995"/>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1" name="Freeform: Shape 2300">
              <a:extLst>
                <a:ext uri="{FF2B5EF4-FFF2-40B4-BE49-F238E27FC236}">
                  <a16:creationId xmlns:a16="http://schemas.microsoft.com/office/drawing/2014/main" id="{A6517242-4FF3-412B-BCC4-0F8D9F67749F}"/>
                </a:ext>
              </a:extLst>
            </p:cNvPr>
            <p:cNvSpPr/>
            <p:nvPr/>
          </p:nvSpPr>
          <p:spPr>
            <a:xfrm>
              <a:off x="2543116" y="2540623"/>
              <a:ext cx="84971" cy="84971"/>
            </a:xfrm>
            <a:custGeom>
              <a:avLst/>
              <a:gdLst>
                <a:gd name="connsiteX0" fmla="*/ 44220 w 84971"/>
                <a:gd name="connsiteY0" fmla="*/ 72437 h 84971"/>
                <a:gd name="connsiteX1" fmla="*/ 72544 w 84971"/>
                <a:gd name="connsiteY1" fmla="*/ 44113 h 84971"/>
                <a:gd name="connsiteX2" fmla="*/ 44220 w 84971"/>
                <a:gd name="connsiteY2" fmla="*/ 15789 h 84971"/>
                <a:gd name="connsiteX3" fmla="*/ 15896 w 84971"/>
                <a:gd name="connsiteY3" fmla="*/ 44113 h 84971"/>
                <a:gd name="connsiteX4" fmla="*/ 44220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220" y="72437"/>
                  </a:moveTo>
                  <a:cubicBezTo>
                    <a:pt x="59798" y="72437"/>
                    <a:pt x="72544" y="59691"/>
                    <a:pt x="72544" y="44113"/>
                  </a:cubicBezTo>
                  <a:cubicBezTo>
                    <a:pt x="72544" y="28535"/>
                    <a:pt x="59798" y="15789"/>
                    <a:pt x="44220" y="15789"/>
                  </a:cubicBezTo>
                  <a:cubicBezTo>
                    <a:pt x="28642" y="15789"/>
                    <a:pt x="15896" y="28535"/>
                    <a:pt x="15896" y="44113"/>
                  </a:cubicBezTo>
                  <a:cubicBezTo>
                    <a:pt x="14480" y="59691"/>
                    <a:pt x="27226" y="72437"/>
                    <a:pt x="44220"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2" name="Freeform: Shape 2301">
              <a:extLst>
                <a:ext uri="{FF2B5EF4-FFF2-40B4-BE49-F238E27FC236}">
                  <a16:creationId xmlns:a16="http://schemas.microsoft.com/office/drawing/2014/main" id="{C7573C15-FB95-4BF9-84BE-1DE4BC6F08BC}"/>
                </a:ext>
              </a:extLst>
            </p:cNvPr>
            <p:cNvSpPr/>
            <p:nvPr/>
          </p:nvSpPr>
          <p:spPr>
            <a:xfrm>
              <a:off x="2657656" y="2057587"/>
              <a:ext cx="84971" cy="84971"/>
            </a:xfrm>
            <a:custGeom>
              <a:avLst/>
              <a:gdLst>
                <a:gd name="connsiteX0" fmla="*/ 44220 w 84971"/>
                <a:gd name="connsiteY0" fmla="*/ 72437 h 84971"/>
                <a:gd name="connsiteX1" fmla="*/ 72544 w 84971"/>
                <a:gd name="connsiteY1" fmla="*/ 44113 h 84971"/>
                <a:gd name="connsiteX2" fmla="*/ 44220 w 84971"/>
                <a:gd name="connsiteY2" fmla="*/ 15789 h 84971"/>
                <a:gd name="connsiteX3" fmla="*/ 15897 w 84971"/>
                <a:gd name="connsiteY3" fmla="*/ 44113 h 84971"/>
                <a:gd name="connsiteX4" fmla="*/ 44220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220" y="72437"/>
                  </a:moveTo>
                  <a:cubicBezTo>
                    <a:pt x="59798" y="72437"/>
                    <a:pt x="72544" y="59691"/>
                    <a:pt x="72544" y="44113"/>
                  </a:cubicBezTo>
                  <a:cubicBezTo>
                    <a:pt x="72544" y="28535"/>
                    <a:pt x="59798" y="15789"/>
                    <a:pt x="44220" y="15789"/>
                  </a:cubicBezTo>
                  <a:cubicBezTo>
                    <a:pt x="28642" y="15789"/>
                    <a:pt x="15897" y="28535"/>
                    <a:pt x="15897" y="44113"/>
                  </a:cubicBezTo>
                  <a:cubicBezTo>
                    <a:pt x="14480" y="59691"/>
                    <a:pt x="27226" y="72437"/>
                    <a:pt x="44220"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3" name="Freeform: Shape 2302">
              <a:extLst>
                <a:ext uri="{FF2B5EF4-FFF2-40B4-BE49-F238E27FC236}">
                  <a16:creationId xmlns:a16="http://schemas.microsoft.com/office/drawing/2014/main" id="{D28F61CB-593F-4FEF-AF2B-7AC282EB848B}"/>
                </a:ext>
              </a:extLst>
            </p:cNvPr>
            <p:cNvSpPr/>
            <p:nvPr/>
          </p:nvSpPr>
          <p:spPr>
            <a:xfrm>
              <a:off x="3052394" y="2495519"/>
              <a:ext cx="113295" cy="113295"/>
            </a:xfrm>
            <a:custGeom>
              <a:avLst/>
              <a:gdLst>
                <a:gd name="connsiteX0" fmla="*/ 56859 w 113295"/>
                <a:gd name="connsiteY0" fmla="*/ 97928 h 113295"/>
                <a:gd name="connsiteX1" fmla="*/ 97928 w 113295"/>
                <a:gd name="connsiteY1" fmla="*/ 56859 h 113295"/>
                <a:gd name="connsiteX2" fmla="*/ 56859 w 113295"/>
                <a:gd name="connsiteY2" fmla="*/ 15789 h 113295"/>
                <a:gd name="connsiteX3" fmla="*/ 15789 w 113295"/>
                <a:gd name="connsiteY3" fmla="*/ 56859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8" y="79518"/>
                    <a:pt x="97928" y="56859"/>
                  </a:cubicBezTo>
                  <a:cubicBezTo>
                    <a:pt x="97928" y="34200"/>
                    <a:pt x="79518" y="15789"/>
                    <a:pt x="56859" y="15789"/>
                  </a:cubicBezTo>
                  <a:cubicBezTo>
                    <a:pt x="34200" y="15789"/>
                    <a:pt x="15789" y="34200"/>
                    <a:pt x="15789" y="56859"/>
                  </a:cubicBezTo>
                  <a:cubicBezTo>
                    <a:pt x="15789" y="79518"/>
                    <a:pt x="34200" y="97928"/>
                    <a:pt x="56859"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4" name="Freeform: Shape 2303">
              <a:extLst>
                <a:ext uri="{FF2B5EF4-FFF2-40B4-BE49-F238E27FC236}">
                  <a16:creationId xmlns:a16="http://schemas.microsoft.com/office/drawing/2014/main" id="{8070735D-AD39-4A77-901E-E79BEC4688D9}"/>
                </a:ext>
              </a:extLst>
            </p:cNvPr>
            <p:cNvSpPr/>
            <p:nvPr/>
          </p:nvSpPr>
          <p:spPr>
            <a:xfrm>
              <a:off x="2204095" y="1550920"/>
              <a:ext cx="127457" cy="127457"/>
            </a:xfrm>
            <a:custGeom>
              <a:avLst/>
              <a:gdLst>
                <a:gd name="connsiteX0" fmla="*/ 63939 w 127457"/>
                <a:gd name="connsiteY0" fmla="*/ 15789 h 127457"/>
                <a:gd name="connsiteX1" fmla="*/ 112090 w 127457"/>
                <a:gd name="connsiteY1" fmla="*/ 63940 h 127457"/>
                <a:gd name="connsiteX2" fmla="*/ 63939 w 127457"/>
                <a:gd name="connsiteY2" fmla="*/ 112090 h 127457"/>
                <a:gd name="connsiteX3" fmla="*/ 15789 w 127457"/>
                <a:gd name="connsiteY3" fmla="*/ 63940 h 127457"/>
                <a:gd name="connsiteX4" fmla="*/ 63939 w 127457"/>
                <a:gd name="connsiteY4" fmla="*/ 15789 h 127457"/>
                <a:gd name="connsiteX5" fmla="*/ 63939 w 127457"/>
                <a:gd name="connsiteY5" fmla="*/ 15789 h 127457"/>
                <a:gd name="connsiteX6" fmla="*/ 63939 w 127457"/>
                <a:gd name="connsiteY6" fmla="*/ 37032 h 127457"/>
                <a:gd name="connsiteX7" fmla="*/ 37032 w 127457"/>
                <a:gd name="connsiteY7" fmla="*/ 63940 h 127457"/>
                <a:gd name="connsiteX8" fmla="*/ 63939 w 127457"/>
                <a:gd name="connsiteY8" fmla="*/ 90847 h 127457"/>
                <a:gd name="connsiteX9" fmla="*/ 90847 w 127457"/>
                <a:gd name="connsiteY9" fmla="*/ 63940 h 127457"/>
                <a:gd name="connsiteX10" fmla="*/ 63939 w 127457"/>
                <a:gd name="connsiteY10" fmla="*/ 37032 h 12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457" h="127457">
                  <a:moveTo>
                    <a:pt x="63939" y="15789"/>
                  </a:moveTo>
                  <a:cubicBezTo>
                    <a:pt x="90847" y="15789"/>
                    <a:pt x="112090" y="37032"/>
                    <a:pt x="112090" y="63940"/>
                  </a:cubicBezTo>
                  <a:cubicBezTo>
                    <a:pt x="112090" y="90847"/>
                    <a:pt x="90847" y="112090"/>
                    <a:pt x="63939" y="112090"/>
                  </a:cubicBezTo>
                  <a:cubicBezTo>
                    <a:pt x="37032" y="112090"/>
                    <a:pt x="15789" y="90847"/>
                    <a:pt x="15789" y="63940"/>
                  </a:cubicBezTo>
                  <a:cubicBezTo>
                    <a:pt x="15789" y="37032"/>
                    <a:pt x="37032" y="15789"/>
                    <a:pt x="63939" y="15789"/>
                  </a:cubicBezTo>
                  <a:lnTo>
                    <a:pt x="63939" y="15789"/>
                  </a:lnTo>
                  <a:close/>
                  <a:moveTo>
                    <a:pt x="63939" y="37032"/>
                  </a:moveTo>
                  <a:cubicBezTo>
                    <a:pt x="48361" y="37032"/>
                    <a:pt x="37032" y="49778"/>
                    <a:pt x="37032" y="63940"/>
                  </a:cubicBezTo>
                  <a:cubicBezTo>
                    <a:pt x="37032" y="79518"/>
                    <a:pt x="49778" y="90847"/>
                    <a:pt x="63939" y="90847"/>
                  </a:cubicBezTo>
                  <a:cubicBezTo>
                    <a:pt x="79518" y="90847"/>
                    <a:pt x="90847" y="78101"/>
                    <a:pt x="90847" y="63940"/>
                  </a:cubicBezTo>
                  <a:cubicBezTo>
                    <a:pt x="90847" y="49778"/>
                    <a:pt x="78101" y="37032"/>
                    <a:pt x="63939" y="3703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5" name="Freeform: Shape 2304">
              <a:extLst>
                <a:ext uri="{FF2B5EF4-FFF2-40B4-BE49-F238E27FC236}">
                  <a16:creationId xmlns:a16="http://schemas.microsoft.com/office/drawing/2014/main" id="{B93CA15C-8586-483A-914A-504949F930D2}"/>
                </a:ext>
              </a:extLst>
            </p:cNvPr>
            <p:cNvSpPr/>
            <p:nvPr/>
          </p:nvSpPr>
          <p:spPr>
            <a:xfrm>
              <a:off x="2225636" y="2936101"/>
              <a:ext cx="70810" cy="70810"/>
            </a:xfrm>
            <a:custGeom>
              <a:avLst/>
              <a:gdLst>
                <a:gd name="connsiteX0" fmla="*/ 39864 w 70809"/>
                <a:gd name="connsiteY0" fmla="*/ 63939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40" y="52610"/>
                    <a:pt x="63940" y="39864"/>
                  </a:cubicBezTo>
                  <a:cubicBezTo>
                    <a:pt x="63940" y="27118"/>
                    <a:pt x="52610" y="15789"/>
                    <a:pt x="39864" y="15789"/>
                  </a:cubicBezTo>
                  <a:cubicBezTo>
                    <a:pt x="27118" y="15789"/>
                    <a:pt x="15789" y="27118"/>
                    <a:pt x="15789" y="39864"/>
                  </a:cubicBezTo>
                  <a:cubicBezTo>
                    <a:pt x="15789" y="52610"/>
                    <a:pt x="27118" y="63939"/>
                    <a:pt x="3986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6" name="Freeform: Shape 2305">
              <a:extLst>
                <a:ext uri="{FF2B5EF4-FFF2-40B4-BE49-F238E27FC236}">
                  <a16:creationId xmlns:a16="http://schemas.microsoft.com/office/drawing/2014/main" id="{5C4A38AB-5A00-4F53-939C-09FD62BCFBBA}"/>
                </a:ext>
              </a:extLst>
            </p:cNvPr>
            <p:cNvSpPr/>
            <p:nvPr/>
          </p:nvSpPr>
          <p:spPr>
            <a:xfrm>
              <a:off x="2143199" y="2593237"/>
              <a:ext cx="84971" cy="99133"/>
            </a:xfrm>
            <a:custGeom>
              <a:avLst/>
              <a:gdLst>
                <a:gd name="connsiteX0" fmla="*/ 48361 w 84971"/>
                <a:gd name="connsiteY0" fmla="*/ 15789 h 99133"/>
                <a:gd name="connsiteX1" fmla="*/ 82350 w 84971"/>
                <a:gd name="connsiteY1" fmla="*/ 49777 h 99133"/>
                <a:gd name="connsiteX2" fmla="*/ 48361 w 84971"/>
                <a:gd name="connsiteY2" fmla="*/ 83766 h 99133"/>
                <a:gd name="connsiteX3" fmla="*/ 15789 w 84971"/>
                <a:gd name="connsiteY3" fmla="*/ 49777 h 99133"/>
                <a:gd name="connsiteX4" fmla="*/ 48361 w 84971"/>
                <a:gd name="connsiteY4" fmla="*/ 15789 h 99133"/>
                <a:gd name="connsiteX5" fmla="*/ 48361 w 84971"/>
                <a:gd name="connsiteY5" fmla="*/ 15789 h 99133"/>
                <a:gd name="connsiteX6" fmla="*/ 48361 w 84971"/>
                <a:gd name="connsiteY6" fmla="*/ 29951 h 99133"/>
                <a:gd name="connsiteX7" fmla="*/ 29951 w 84971"/>
                <a:gd name="connsiteY7" fmla="*/ 48361 h 99133"/>
                <a:gd name="connsiteX8" fmla="*/ 48361 w 84971"/>
                <a:gd name="connsiteY8" fmla="*/ 66772 h 99133"/>
                <a:gd name="connsiteX9" fmla="*/ 66772 w 84971"/>
                <a:gd name="connsiteY9" fmla="*/ 48361 h 99133"/>
                <a:gd name="connsiteX10" fmla="*/ 48361 w 84971"/>
                <a:gd name="connsiteY10" fmla="*/ 29951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99133">
                  <a:moveTo>
                    <a:pt x="48361" y="15789"/>
                  </a:moveTo>
                  <a:cubicBezTo>
                    <a:pt x="66772" y="15789"/>
                    <a:pt x="82350" y="31367"/>
                    <a:pt x="82350" y="49777"/>
                  </a:cubicBezTo>
                  <a:cubicBezTo>
                    <a:pt x="82350" y="68188"/>
                    <a:pt x="66772" y="83766"/>
                    <a:pt x="48361" y="83766"/>
                  </a:cubicBezTo>
                  <a:cubicBezTo>
                    <a:pt x="29951" y="83766"/>
                    <a:pt x="15789" y="68188"/>
                    <a:pt x="15789" y="49777"/>
                  </a:cubicBezTo>
                  <a:cubicBezTo>
                    <a:pt x="15789" y="31367"/>
                    <a:pt x="29951" y="15789"/>
                    <a:pt x="48361" y="15789"/>
                  </a:cubicBezTo>
                  <a:lnTo>
                    <a:pt x="48361" y="15789"/>
                  </a:lnTo>
                  <a:close/>
                  <a:moveTo>
                    <a:pt x="48361" y="29951"/>
                  </a:moveTo>
                  <a:cubicBezTo>
                    <a:pt x="38448" y="29951"/>
                    <a:pt x="29951" y="38448"/>
                    <a:pt x="29951" y="48361"/>
                  </a:cubicBezTo>
                  <a:cubicBezTo>
                    <a:pt x="29951" y="58275"/>
                    <a:pt x="38448" y="66772"/>
                    <a:pt x="48361" y="66772"/>
                  </a:cubicBezTo>
                  <a:cubicBezTo>
                    <a:pt x="58275" y="66772"/>
                    <a:pt x="66772" y="58275"/>
                    <a:pt x="66772" y="48361"/>
                  </a:cubicBezTo>
                  <a:cubicBezTo>
                    <a:pt x="68188" y="38448"/>
                    <a:pt x="59691" y="29951"/>
                    <a:pt x="48361"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7" name="Freeform: Shape 2306">
              <a:extLst>
                <a:ext uri="{FF2B5EF4-FFF2-40B4-BE49-F238E27FC236}">
                  <a16:creationId xmlns:a16="http://schemas.microsoft.com/office/drawing/2014/main" id="{A20A2F13-B8FF-4BF3-A1FA-75F213B500E7}"/>
                </a:ext>
              </a:extLst>
            </p:cNvPr>
            <p:cNvSpPr/>
            <p:nvPr/>
          </p:nvSpPr>
          <p:spPr>
            <a:xfrm>
              <a:off x="2075137" y="2193786"/>
              <a:ext cx="68147" cy="68147"/>
            </a:xfrm>
            <a:custGeom>
              <a:avLst/>
              <a:gdLst>
                <a:gd name="connsiteX0" fmla="*/ 63940 w 127457"/>
                <a:gd name="connsiteY0" fmla="*/ 112090 h 127457"/>
                <a:gd name="connsiteX1" fmla="*/ 112090 w 127457"/>
                <a:gd name="connsiteY1" fmla="*/ 63939 h 127457"/>
                <a:gd name="connsiteX2" fmla="*/ 63940 w 127457"/>
                <a:gd name="connsiteY2" fmla="*/ 15789 h 127457"/>
                <a:gd name="connsiteX3" fmla="*/ 15789 w 127457"/>
                <a:gd name="connsiteY3" fmla="*/ 63939 h 127457"/>
                <a:gd name="connsiteX4" fmla="*/ 63940 w 127457"/>
                <a:gd name="connsiteY4" fmla="*/ 112090 h 127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57" h="127457">
                  <a:moveTo>
                    <a:pt x="63940" y="112090"/>
                  </a:moveTo>
                  <a:cubicBezTo>
                    <a:pt x="90847" y="112090"/>
                    <a:pt x="112090" y="90847"/>
                    <a:pt x="112090" y="63939"/>
                  </a:cubicBezTo>
                  <a:cubicBezTo>
                    <a:pt x="112090" y="37032"/>
                    <a:pt x="90847" y="15789"/>
                    <a:pt x="63940" y="15789"/>
                  </a:cubicBezTo>
                  <a:cubicBezTo>
                    <a:pt x="37032" y="15789"/>
                    <a:pt x="15789" y="37032"/>
                    <a:pt x="15789" y="63939"/>
                  </a:cubicBezTo>
                  <a:cubicBezTo>
                    <a:pt x="15789" y="90847"/>
                    <a:pt x="38448" y="112090"/>
                    <a:pt x="63940" y="11209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8" name="Freeform: Shape 2307">
              <a:extLst>
                <a:ext uri="{FF2B5EF4-FFF2-40B4-BE49-F238E27FC236}">
                  <a16:creationId xmlns:a16="http://schemas.microsoft.com/office/drawing/2014/main" id="{E345322C-0DAE-4E09-85DD-38D188C9D5DC}"/>
                </a:ext>
              </a:extLst>
            </p:cNvPr>
            <p:cNvSpPr/>
            <p:nvPr/>
          </p:nvSpPr>
          <p:spPr>
            <a:xfrm>
              <a:off x="2883867" y="1906384"/>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9" name="Freeform: Shape 2308">
              <a:extLst>
                <a:ext uri="{FF2B5EF4-FFF2-40B4-BE49-F238E27FC236}">
                  <a16:creationId xmlns:a16="http://schemas.microsoft.com/office/drawing/2014/main" id="{19300047-CCFD-4BDC-A92A-4260D8CB6373}"/>
                </a:ext>
              </a:extLst>
            </p:cNvPr>
            <p:cNvSpPr/>
            <p:nvPr/>
          </p:nvSpPr>
          <p:spPr>
            <a:xfrm>
              <a:off x="2751462" y="2493833"/>
              <a:ext cx="127457" cy="127457"/>
            </a:xfrm>
            <a:custGeom>
              <a:avLst/>
              <a:gdLst>
                <a:gd name="connsiteX0" fmla="*/ 63939 w 127457"/>
                <a:gd name="connsiteY0" fmla="*/ 15789 h 127457"/>
                <a:gd name="connsiteX1" fmla="*/ 112090 w 127457"/>
                <a:gd name="connsiteY1" fmla="*/ 63940 h 127457"/>
                <a:gd name="connsiteX2" fmla="*/ 63939 w 127457"/>
                <a:gd name="connsiteY2" fmla="*/ 112090 h 127457"/>
                <a:gd name="connsiteX3" fmla="*/ 15789 w 127457"/>
                <a:gd name="connsiteY3" fmla="*/ 63940 h 127457"/>
                <a:gd name="connsiteX4" fmla="*/ 63939 w 127457"/>
                <a:gd name="connsiteY4" fmla="*/ 15789 h 127457"/>
                <a:gd name="connsiteX5" fmla="*/ 63939 w 127457"/>
                <a:gd name="connsiteY5" fmla="*/ 15789 h 127457"/>
                <a:gd name="connsiteX6" fmla="*/ 63939 w 127457"/>
                <a:gd name="connsiteY6" fmla="*/ 37032 h 127457"/>
                <a:gd name="connsiteX7" fmla="*/ 37032 w 127457"/>
                <a:gd name="connsiteY7" fmla="*/ 63940 h 127457"/>
                <a:gd name="connsiteX8" fmla="*/ 63939 w 127457"/>
                <a:gd name="connsiteY8" fmla="*/ 90847 h 127457"/>
                <a:gd name="connsiteX9" fmla="*/ 90847 w 127457"/>
                <a:gd name="connsiteY9" fmla="*/ 63940 h 127457"/>
                <a:gd name="connsiteX10" fmla="*/ 63939 w 127457"/>
                <a:gd name="connsiteY10" fmla="*/ 37032 h 12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457" h="127457">
                  <a:moveTo>
                    <a:pt x="63939" y="15789"/>
                  </a:moveTo>
                  <a:cubicBezTo>
                    <a:pt x="90847" y="15789"/>
                    <a:pt x="112090" y="37032"/>
                    <a:pt x="112090" y="63940"/>
                  </a:cubicBezTo>
                  <a:cubicBezTo>
                    <a:pt x="112090" y="90847"/>
                    <a:pt x="90847" y="112090"/>
                    <a:pt x="63939" y="112090"/>
                  </a:cubicBezTo>
                  <a:cubicBezTo>
                    <a:pt x="37032" y="112090"/>
                    <a:pt x="15789" y="90847"/>
                    <a:pt x="15789" y="63940"/>
                  </a:cubicBezTo>
                  <a:cubicBezTo>
                    <a:pt x="15789" y="37032"/>
                    <a:pt x="37032" y="15789"/>
                    <a:pt x="63939" y="15789"/>
                  </a:cubicBezTo>
                  <a:lnTo>
                    <a:pt x="63939" y="15789"/>
                  </a:lnTo>
                  <a:close/>
                  <a:moveTo>
                    <a:pt x="63939" y="37032"/>
                  </a:moveTo>
                  <a:cubicBezTo>
                    <a:pt x="48361" y="37032"/>
                    <a:pt x="37032" y="49778"/>
                    <a:pt x="37032" y="63940"/>
                  </a:cubicBezTo>
                  <a:cubicBezTo>
                    <a:pt x="37032" y="79518"/>
                    <a:pt x="49778" y="90847"/>
                    <a:pt x="63939" y="90847"/>
                  </a:cubicBezTo>
                  <a:cubicBezTo>
                    <a:pt x="79518" y="90847"/>
                    <a:pt x="90847" y="78102"/>
                    <a:pt x="90847" y="63940"/>
                  </a:cubicBezTo>
                  <a:cubicBezTo>
                    <a:pt x="90847" y="48361"/>
                    <a:pt x="79518" y="37032"/>
                    <a:pt x="63939" y="3703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0" name="Freeform: Shape 2309">
              <a:extLst>
                <a:ext uri="{FF2B5EF4-FFF2-40B4-BE49-F238E27FC236}">
                  <a16:creationId xmlns:a16="http://schemas.microsoft.com/office/drawing/2014/main" id="{54330D58-76BE-454F-B63E-540AEBFE6F27}"/>
                </a:ext>
              </a:extLst>
            </p:cNvPr>
            <p:cNvSpPr/>
            <p:nvPr/>
          </p:nvSpPr>
          <p:spPr>
            <a:xfrm>
              <a:off x="1049899" y="1509851"/>
              <a:ext cx="99133" cy="99133"/>
            </a:xfrm>
            <a:custGeom>
              <a:avLst/>
              <a:gdLst>
                <a:gd name="connsiteX0" fmla="*/ 49778 w 99133"/>
                <a:gd name="connsiteY0" fmla="*/ 15789 h 99133"/>
                <a:gd name="connsiteX1" fmla="*/ 83766 w 99133"/>
                <a:gd name="connsiteY1" fmla="*/ 49778 h 99133"/>
                <a:gd name="connsiteX2" fmla="*/ 49778 w 99133"/>
                <a:gd name="connsiteY2" fmla="*/ 83766 h 99133"/>
                <a:gd name="connsiteX3" fmla="*/ 15789 w 99133"/>
                <a:gd name="connsiteY3" fmla="*/ 49778 h 99133"/>
                <a:gd name="connsiteX4" fmla="*/ 49778 w 99133"/>
                <a:gd name="connsiteY4" fmla="*/ 15789 h 99133"/>
                <a:gd name="connsiteX5" fmla="*/ 49778 w 99133"/>
                <a:gd name="connsiteY5" fmla="*/ 15789 h 99133"/>
                <a:gd name="connsiteX6" fmla="*/ 49778 w 99133"/>
                <a:gd name="connsiteY6" fmla="*/ 29951 h 99133"/>
                <a:gd name="connsiteX7" fmla="*/ 31367 w 99133"/>
                <a:gd name="connsiteY7" fmla="*/ 48361 h 99133"/>
                <a:gd name="connsiteX8" fmla="*/ 49778 w 99133"/>
                <a:gd name="connsiteY8" fmla="*/ 66772 h 99133"/>
                <a:gd name="connsiteX9" fmla="*/ 68188 w 99133"/>
                <a:gd name="connsiteY9" fmla="*/ 48361 h 99133"/>
                <a:gd name="connsiteX10" fmla="*/ 49778 w 99133"/>
                <a:gd name="connsiteY10" fmla="*/ 29951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49778" y="15789"/>
                  </a:moveTo>
                  <a:cubicBezTo>
                    <a:pt x="68188" y="15789"/>
                    <a:pt x="83766" y="31367"/>
                    <a:pt x="83766" y="49778"/>
                  </a:cubicBezTo>
                  <a:cubicBezTo>
                    <a:pt x="83766" y="68188"/>
                    <a:pt x="68188" y="83766"/>
                    <a:pt x="49778" y="83766"/>
                  </a:cubicBezTo>
                  <a:cubicBezTo>
                    <a:pt x="31367" y="83766"/>
                    <a:pt x="15789" y="68188"/>
                    <a:pt x="15789" y="49778"/>
                  </a:cubicBezTo>
                  <a:cubicBezTo>
                    <a:pt x="15789" y="29951"/>
                    <a:pt x="31367" y="15789"/>
                    <a:pt x="49778" y="15789"/>
                  </a:cubicBezTo>
                  <a:lnTo>
                    <a:pt x="49778" y="15789"/>
                  </a:lnTo>
                  <a:close/>
                  <a:moveTo>
                    <a:pt x="49778" y="29951"/>
                  </a:moveTo>
                  <a:cubicBezTo>
                    <a:pt x="39864" y="29951"/>
                    <a:pt x="31367" y="38448"/>
                    <a:pt x="31367" y="48361"/>
                  </a:cubicBezTo>
                  <a:cubicBezTo>
                    <a:pt x="31367" y="58275"/>
                    <a:pt x="39864" y="66772"/>
                    <a:pt x="49778" y="66772"/>
                  </a:cubicBezTo>
                  <a:cubicBezTo>
                    <a:pt x="59691" y="66772"/>
                    <a:pt x="68188" y="58275"/>
                    <a:pt x="68188" y="48361"/>
                  </a:cubicBezTo>
                  <a:cubicBezTo>
                    <a:pt x="68188" y="38448"/>
                    <a:pt x="59691" y="29951"/>
                    <a:pt x="49778"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1" name="Freeform: Shape 2310">
              <a:extLst>
                <a:ext uri="{FF2B5EF4-FFF2-40B4-BE49-F238E27FC236}">
                  <a16:creationId xmlns:a16="http://schemas.microsoft.com/office/drawing/2014/main" id="{1F41DCE3-0BAB-4380-B75A-ED943475DE3D}"/>
                </a:ext>
              </a:extLst>
            </p:cNvPr>
            <p:cNvSpPr/>
            <p:nvPr/>
          </p:nvSpPr>
          <p:spPr>
            <a:xfrm>
              <a:off x="2287808" y="2727603"/>
              <a:ext cx="42486" cy="42486"/>
            </a:xfrm>
            <a:custGeom>
              <a:avLst/>
              <a:gdLst>
                <a:gd name="connsiteX0" fmla="*/ 27119 w 42485"/>
                <a:gd name="connsiteY0" fmla="*/ 39864 h 42485"/>
                <a:gd name="connsiteX1" fmla="*/ 38448 w 42485"/>
                <a:gd name="connsiteY1" fmla="*/ 28535 h 42485"/>
                <a:gd name="connsiteX2" fmla="*/ 27119 w 42485"/>
                <a:gd name="connsiteY2" fmla="*/ 15789 h 42485"/>
                <a:gd name="connsiteX3" fmla="*/ 15789 w 42485"/>
                <a:gd name="connsiteY3" fmla="*/ 28535 h 42485"/>
                <a:gd name="connsiteX4" fmla="*/ 27119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9864"/>
                  </a:moveTo>
                  <a:cubicBezTo>
                    <a:pt x="34200" y="39864"/>
                    <a:pt x="38448" y="34200"/>
                    <a:pt x="38448" y="28535"/>
                  </a:cubicBezTo>
                  <a:cubicBezTo>
                    <a:pt x="38448" y="21454"/>
                    <a:pt x="32783" y="15789"/>
                    <a:pt x="27119" y="15789"/>
                  </a:cubicBezTo>
                  <a:cubicBezTo>
                    <a:pt x="21454" y="15789"/>
                    <a:pt x="15789" y="21454"/>
                    <a:pt x="15789" y="28535"/>
                  </a:cubicBezTo>
                  <a:cubicBezTo>
                    <a:pt x="15789" y="34200"/>
                    <a:pt x="20038" y="39864"/>
                    <a:pt x="27119"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2" name="Freeform: Shape 2311">
              <a:extLst>
                <a:ext uri="{FF2B5EF4-FFF2-40B4-BE49-F238E27FC236}">
                  <a16:creationId xmlns:a16="http://schemas.microsoft.com/office/drawing/2014/main" id="{DB16B250-5ADE-4718-9F20-352038E6CBB4}"/>
                </a:ext>
              </a:extLst>
            </p:cNvPr>
            <p:cNvSpPr/>
            <p:nvPr/>
          </p:nvSpPr>
          <p:spPr>
            <a:xfrm>
              <a:off x="2399015" y="1866816"/>
              <a:ext cx="42486" cy="42486"/>
            </a:xfrm>
            <a:custGeom>
              <a:avLst/>
              <a:gdLst>
                <a:gd name="connsiteX0" fmla="*/ 27118 w 42485"/>
                <a:gd name="connsiteY0" fmla="*/ 39864 h 42485"/>
                <a:gd name="connsiteX1" fmla="*/ 38448 w 42485"/>
                <a:gd name="connsiteY1" fmla="*/ 27119 h 42485"/>
                <a:gd name="connsiteX2" fmla="*/ 27118 w 42485"/>
                <a:gd name="connsiteY2" fmla="*/ 15789 h 42485"/>
                <a:gd name="connsiteX3" fmla="*/ 15789 w 42485"/>
                <a:gd name="connsiteY3" fmla="*/ 27119 h 42485"/>
                <a:gd name="connsiteX4" fmla="*/ 27118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9864"/>
                  </a:moveTo>
                  <a:cubicBezTo>
                    <a:pt x="34199" y="39864"/>
                    <a:pt x="38448" y="34200"/>
                    <a:pt x="38448" y="27119"/>
                  </a:cubicBezTo>
                  <a:cubicBezTo>
                    <a:pt x="38448" y="20038"/>
                    <a:pt x="32783" y="15789"/>
                    <a:pt x="27118" y="15789"/>
                  </a:cubicBezTo>
                  <a:cubicBezTo>
                    <a:pt x="21454" y="15789"/>
                    <a:pt x="15789" y="21454"/>
                    <a:pt x="15789" y="27119"/>
                  </a:cubicBezTo>
                  <a:cubicBezTo>
                    <a:pt x="15789" y="34200"/>
                    <a:pt x="20038" y="39864"/>
                    <a:pt x="27118"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3" name="Freeform: Shape 2312">
              <a:extLst>
                <a:ext uri="{FF2B5EF4-FFF2-40B4-BE49-F238E27FC236}">
                  <a16:creationId xmlns:a16="http://schemas.microsoft.com/office/drawing/2014/main" id="{8C209649-DF95-4E98-8371-DCF3647714EC}"/>
                </a:ext>
              </a:extLst>
            </p:cNvPr>
            <p:cNvSpPr/>
            <p:nvPr/>
          </p:nvSpPr>
          <p:spPr>
            <a:xfrm>
              <a:off x="3057939" y="2688121"/>
              <a:ext cx="70810" cy="70810"/>
            </a:xfrm>
            <a:custGeom>
              <a:avLst/>
              <a:gdLst>
                <a:gd name="connsiteX0" fmla="*/ 39984 w 70809"/>
                <a:gd name="connsiteY0" fmla="*/ 63939 h 70809"/>
                <a:gd name="connsiteX1" fmla="*/ 64059 w 70809"/>
                <a:gd name="connsiteY1" fmla="*/ 39864 h 70809"/>
                <a:gd name="connsiteX2" fmla="*/ 39984 w 70809"/>
                <a:gd name="connsiteY2" fmla="*/ 15789 h 70809"/>
                <a:gd name="connsiteX3" fmla="*/ 15909 w 70809"/>
                <a:gd name="connsiteY3" fmla="*/ 39864 h 70809"/>
                <a:gd name="connsiteX4" fmla="*/ 3998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984" y="63939"/>
                  </a:moveTo>
                  <a:cubicBezTo>
                    <a:pt x="54146" y="63939"/>
                    <a:pt x="64059" y="52610"/>
                    <a:pt x="64059" y="39864"/>
                  </a:cubicBezTo>
                  <a:cubicBezTo>
                    <a:pt x="64059" y="25702"/>
                    <a:pt x="52730" y="15789"/>
                    <a:pt x="39984" y="15789"/>
                  </a:cubicBezTo>
                  <a:cubicBezTo>
                    <a:pt x="25822" y="15789"/>
                    <a:pt x="15909" y="27119"/>
                    <a:pt x="15909" y="39864"/>
                  </a:cubicBezTo>
                  <a:cubicBezTo>
                    <a:pt x="14493" y="54026"/>
                    <a:pt x="25822" y="63939"/>
                    <a:pt x="3998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4" name="Freeform: Shape 2313">
              <a:extLst>
                <a:ext uri="{FF2B5EF4-FFF2-40B4-BE49-F238E27FC236}">
                  <a16:creationId xmlns:a16="http://schemas.microsoft.com/office/drawing/2014/main" id="{D8CA5805-7332-4E21-A541-BE9B521B1FEB}"/>
                </a:ext>
              </a:extLst>
            </p:cNvPr>
            <p:cNvSpPr/>
            <p:nvPr/>
          </p:nvSpPr>
          <p:spPr>
            <a:xfrm>
              <a:off x="3381939" y="2723856"/>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1" y="15789"/>
                    <a:pt x="15789" y="18621"/>
                    <a:pt x="15789" y="21454"/>
                  </a:cubicBezTo>
                  <a:cubicBezTo>
                    <a:pt x="17205" y="24286"/>
                    <a:pt x="18621"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5" name="Freeform: Shape 2314">
              <a:extLst>
                <a:ext uri="{FF2B5EF4-FFF2-40B4-BE49-F238E27FC236}">
                  <a16:creationId xmlns:a16="http://schemas.microsoft.com/office/drawing/2014/main" id="{3FCAEBD2-2768-420A-A86B-3AB6BB5B811D}"/>
                </a:ext>
              </a:extLst>
            </p:cNvPr>
            <p:cNvSpPr/>
            <p:nvPr/>
          </p:nvSpPr>
          <p:spPr>
            <a:xfrm>
              <a:off x="3222996" y="2494103"/>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8" y="29951"/>
                    <a:pt x="29951" y="27118"/>
                    <a:pt x="29951" y="22870"/>
                  </a:cubicBezTo>
                  <a:cubicBezTo>
                    <a:pt x="29951" y="18621"/>
                    <a:pt x="27118" y="15789"/>
                    <a:pt x="22870" y="15789"/>
                  </a:cubicBezTo>
                  <a:cubicBezTo>
                    <a:pt x="18621" y="15789"/>
                    <a:pt x="15789" y="18621"/>
                    <a:pt x="15789" y="22870"/>
                  </a:cubicBezTo>
                  <a:cubicBezTo>
                    <a:pt x="15789" y="27118"/>
                    <a:pt x="18621" y="29951"/>
                    <a:pt x="22870"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6" name="Freeform: Shape 2315">
              <a:extLst>
                <a:ext uri="{FF2B5EF4-FFF2-40B4-BE49-F238E27FC236}">
                  <a16:creationId xmlns:a16="http://schemas.microsoft.com/office/drawing/2014/main" id="{25EAD455-65D3-4A4E-988A-BCF9C1138FD5}"/>
                </a:ext>
              </a:extLst>
            </p:cNvPr>
            <p:cNvSpPr/>
            <p:nvPr/>
          </p:nvSpPr>
          <p:spPr>
            <a:xfrm>
              <a:off x="3226071" y="2579489"/>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1" y="15789"/>
                    <a:pt x="15789" y="18621"/>
                    <a:pt x="15789" y="21454"/>
                  </a:cubicBezTo>
                  <a:cubicBezTo>
                    <a:pt x="17205" y="25702"/>
                    <a:pt x="18621"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7" name="Freeform: Shape 2316">
              <a:extLst>
                <a:ext uri="{FF2B5EF4-FFF2-40B4-BE49-F238E27FC236}">
                  <a16:creationId xmlns:a16="http://schemas.microsoft.com/office/drawing/2014/main" id="{C2570AA6-94A1-41CF-8771-729F913F7FC3}"/>
                </a:ext>
              </a:extLst>
            </p:cNvPr>
            <p:cNvSpPr/>
            <p:nvPr/>
          </p:nvSpPr>
          <p:spPr>
            <a:xfrm>
              <a:off x="3237415" y="2674117"/>
              <a:ext cx="42486" cy="42486"/>
            </a:xfrm>
            <a:custGeom>
              <a:avLst/>
              <a:gdLst>
                <a:gd name="connsiteX0" fmla="*/ 21454 w 42485"/>
                <a:gd name="connsiteY0" fmla="*/ 27118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8"/>
                  </a:moveTo>
                  <a:cubicBezTo>
                    <a:pt x="24286" y="27118"/>
                    <a:pt x="27119" y="24286"/>
                    <a:pt x="27119" y="21454"/>
                  </a:cubicBezTo>
                  <a:cubicBezTo>
                    <a:pt x="27119" y="18621"/>
                    <a:pt x="24286" y="15789"/>
                    <a:pt x="21454" y="15789"/>
                  </a:cubicBezTo>
                  <a:cubicBezTo>
                    <a:pt x="18621" y="15789"/>
                    <a:pt x="15789" y="18621"/>
                    <a:pt x="15789" y="21454"/>
                  </a:cubicBezTo>
                  <a:cubicBezTo>
                    <a:pt x="15789" y="24286"/>
                    <a:pt x="17205" y="27118"/>
                    <a:pt x="21454" y="2711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8" name="Freeform: Shape 2317">
              <a:extLst>
                <a:ext uri="{FF2B5EF4-FFF2-40B4-BE49-F238E27FC236}">
                  <a16:creationId xmlns:a16="http://schemas.microsoft.com/office/drawing/2014/main" id="{32A6B034-1B56-445E-9566-88D1151A05A7}"/>
                </a:ext>
              </a:extLst>
            </p:cNvPr>
            <p:cNvSpPr/>
            <p:nvPr/>
          </p:nvSpPr>
          <p:spPr>
            <a:xfrm>
              <a:off x="2113459" y="1722279"/>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7205" y="71020"/>
                    <a:pt x="32783"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9" name="Freeform: Shape 2318">
              <a:extLst>
                <a:ext uri="{FF2B5EF4-FFF2-40B4-BE49-F238E27FC236}">
                  <a16:creationId xmlns:a16="http://schemas.microsoft.com/office/drawing/2014/main" id="{7F608411-232A-4938-A824-13E1702E0FA5}"/>
                </a:ext>
              </a:extLst>
            </p:cNvPr>
            <p:cNvSpPr/>
            <p:nvPr/>
          </p:nvSpPr>
          <p:spPr>
            <a:xfrm>
              <a:off x="2178676" y="2243852"/>
              <a:ext cx="42486" cy="42486"/>
            </a:xfrm>
            <a:custGeom>
              <a:avLst/>
              <a:gdLst>
                <a:gd name="connsiteX0" fmla="*/ 27119 w 42485"/>
                <a:gd name="connsiteY0" fmla="*/ 39864 h 42485"/>
                <a:gd name="connsiteX1" fmla="*/ 38448 w 42485"/>
                <a:gd name="connsiteY1" fmla="*/ 28535 h 42485"/>
                <a:gd name="connsiteX2" fmla="*/ 27119 w 42485"/>
                <a:gd name="connsiteY2" fmla="*/ 15789 h 42485"/>
                <a:gd name="connsiteX3" fmla="*/ 15789 w 42485"/>
                <a:gd name="connsiteY3" fmla="*/ 28535 h 42485"/>
                <a:gd name="connsiteX4" fmla="*/ 27119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9864"/>
                  </a:moveTo>
                  <a:cubicBezTo>
                    <a:pt x="34200" y="39864"/>
                    <a:pt x="38448" y="34200"/>
                    <a:pt x="38448" y="28535"/>
                  </a:cubicBezTo>
                  <a:cubicBezTo>
                    <a:pt x="38448" y="21454"/>
                    <a:pt x="32783" y="15789"/>
                    <a:pt x="27119" y="15789"/>
                  </a:cubicBezTo>
                  <a:cubicBezTo>
                    <a:pt x="21454" y="15789"/>
                    <a:pt x="15789" y="21454"/>
                    <a:pt x="15789" y="28535"/>
                  </a:cubicBezTo>
                  <a:cubicBezTo>
                    <a:pt x="15789" y="34200"/>
                    <a:pt x="20038" y="39864"/>
                    <a:pt x="27119"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0" name="Freeform: Shape 2319">
              <a:extLst>
                <a:ext uri="{FF2B5EF4-FFF2-40B4-BE49-F238E27FC236}">
                  <a16:creationId xmlns:a16="http://schemas.microsoft.com/office/drawing/2014/main" id="{AB8F03EC-1016-4D06-9ED6-730DD04252FF}"/>
                </a:ext>
              </a:extLst>
            </p:cNvPr>
            <p:cNvSpPr/>
            <p:nvPr/>
          </p:nvSpPr>
          <p:spPr>
            <a:xfrm>
              <a:off x="2677677" y="2429373"/>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1" name="Freeform: Shape 2320">
              <a:extLst>
                <a:ext uri="{FF2B5EF4-FFF2-40B4-BE49-F238E27FC236}">
                  <a16:creationId xmlns:a16="http://schemas.microsoft.com/office/drawing/2014/main" id="{21CA89C4-6D7F-4B69-9899-B872228CD93B}"/>
                </a:ext>
              </a:extLst>
            </p:cNvPr>
            <p:cNvSpPr/>
            <p:nvPr/>
          </p:nvSpPr>
          <p:spPr>
            <a:xfrm>
              <a:off x="2147448" y="1328578"/>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2" y="15789"/>
                    <a:pt x="15789" y="25702"/>
                    <a:pt x="15789" y="37032"/>
                  </a:cubicBezTo>
                  <a:cubicBezTo>
                    <a:pt x="15789" y="49777"/>
                    <a:pt x="25702"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2" name="Freeform: Shape 2321">
              <a:extLst>
                <a:ext uri="{FF2B5EF4-FFF2-40B4-BE49-F238E27FC236}">
                  <a16:creationId xmlns:a16="http://schemas.microsoft.com/office/drawing/2014/main" id="{334FA409-609B-41E8-96C8-4977A67CA29A}"/>
                </a:ext>
              </a:extLst>
            </p:cNvPr>
            <p:cNvSpPr/>
            <p:nvPr/>
          </p:nvSpPr>
          <p:spPr>
            <a:xfrm>
              <a:off x="2475884" y="1654302"/>
              <a:ext cx="70810" cy="70810"/>
            </a:xfrm>
            <a:custGeom>
              <a:avLst/>
              <a:gdLst>
                <a:gd name="connsiteX0" fmla="*/ 38568 w 70809"/>
                <a:gd name="connsiteY0" fmla="*/ 61107 h 70809"/>
                <a:gd name="connsiteX1" fmla="*/ 61227 w 70809"/>
                <a:gd name="connsiteY1" fmla="*/ 38448 h 70809"/>
                <a:gd name="connsiteX2" fmla="*/ 38568 w 70809"/>
                <a:gd name="connsiteY2" fmla="*/ 15789 h 70809"/>
                <a:gd name="connsiteX3" fmla="*/ 15909 w 70809"/>
                <a:gd name="connsiteY3" fmla="*/ 38448 h 70809"/>
                <a:gd name="connsiteX4" fmla="*/ 3856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568" y="61107"/>
                  </a:moveTo>
                  <a:cubicBezTo>
                    <a:pt x="51314" y="61107"/>
                    <a:pt x="61227" y="51194"/>
                    <a:pt x="61227" y="38448"/>
                  </a:cubicBezTo>
                  <a:cubicBezTo>
                    <a:pt x="61227" y="25702"/>
                    <a:pt x="51314" y="15789"/>
                    <a:pt x="38568" y="15789"/>
                  </a:cubicBezTo>
                  <a:cubicBezTo>
                    <a:pt x="25822" y="15789"/>
                    <a:pt x="15909" y="25702"/>
                    <a:pt x="15909" y="38448"/>
                  </a:cubicBezTo>
                  <a:cubicBezTo>
                    <a:pt x="14493" y="51194"/>
                    <a:pt x="25822" y="61107"/>
                    <a:pt x="38568"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3" name="Freeform: Shape 2322">
              <a:extLst>
                <a:ext uri="{FF2B5EF4-FFF2-40B4-BE49-F238E27FC236}">
                  <a16:creationId xmlns:a16="http://schemas.microsoft.com/office/drawing/2014/main" id="{4949C652-FCCB-486E-B858-AE2AC43AC7A3}"/>
                </a:ext>
              </a:extLst>
            </p:cNvPr>
            <p:cNvSpPr/>
            <p:nvPr/>
          </p:nvSpPr>
          <p:spPr>
            <a:xfrm>
              <a:off x="2219455" y="1430544"/>
              <a:ext cx="42486" cy="42486"/>
            </a:xfrm>
            <a:custGeom>
              <a:avLst/>
              <a:gdLst>
                <a:gd name="connsiteX0" fmla="*/ 27337 w 42485"/>
                <a:gd name="connsiteY0" fmla="*/ 38448 h 42485"/>
                <a:gd name="connsiteX1" fmla="*/ 38667 w 42485"/>
                <a:gd name="connsiteY1" fmla="*/ 27119 h 42485"/>
                <a:gd name="connsiteX2" fmla="*/ 27337 w 42485"/>
                <a:gd name="connsiteY2" fmla="*/ 15789 h 42485"/>
                <a:gd name="connsiteX3" fmla="*/ 16007 w 42485"/>
                <a:gd name="connsiteY3" fmla="*/ 27119 h 42485"/>
                <a:gd name="connsiteX4" fmla="*/ 27337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8448"/>
                  </a:moveTo>
                  <a:cubicBezTo>
                    <a:pt x="34418" y="38448"/>
                    <a:pt x="38667" y="32783"/>
                    <a:pt x="38667" y="27119"/>
                  </a:cubicBezTo>
                  <a:cubicBezTo>
                    <a:pt x="38667" y="20038"/>
                    <a:pt x="33002" y="15789"/>
                    <a:pt x="27337" y="15789"/>
                  </a:cubicBezTo>
                  <a:cubicBezTo>
                    <a:pt x="21672" y="15789"/>
                    <a:pt x="16007" y="21454"/>
                    <a:pt x="16007" y="27119"/>
                  </a:cubicBezTo>
                  <a:cubicBezTo>
                    <a:pt x="14591" y="32783"/>
                    <a:pt x="20256" y="38448"/>
                    <a:pt x="27337"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4" name="Freeform: Shape 2323">
              <a:extLst>
                <a:ext uri="{FF2B5EF4-FFF2-40B4-BE49-F238E27FC236}">
                  <a16:creationId xmlns:a16="http://schemas.microsoft.com/office/drawing/2014/main" id="{1DF19273-EC95-4822-B9AC-93DF196F5F29}"/>
                </a:ext>
              </a:extLst>
            </p:cNvPr>
            <p:cNvSpPr/>
            <p:nvPr/>
          </p:nvSpPr>
          <p:spPr>
            <a:xfrm>
              <a:off x="2344080" y="1397971"/>
              <a:ext cx="42486" cy="42486"/>
            </a:xfrm>
            <a:custGeom>
              <a:avLst/>
              <a:gdLst>
                <a:gd name="connsiteX0" fmla="*/ 27337 w 42485"/>
                <a:gd name="connsiteY0" fmla="*/ 39864 h 42485"/>
                <a:gd name="connsiteX1" fmla="*/ 38667 w 42485"/>
                <a:gd name="connsiteY1" fmla="*/ 27119 h 42485"/>
                <a:gd name="connsiteX2" fmla="*/ 27337 w 42485"/>
                <a:gd name="connsiteY2" fmla="*/ 15789 h 42485"/>
                <a:gd name="connsiteX3" fmla="*/ 16007 w 42485"/>
                <a:gd name="connsiteY3" fmla="*/ 27119 h 42485"/>
                <a:gd name="connsiteX4" fmla="*/ 27337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9864"/>
                  </a:moveTo>
                  <a:cubicBezTo>
                    <a:pt x="34418" y="39864"/>
                    <a:pt x="38667" y="34200"/>
                    <a:pt x="38667" y="27119"/>
                  </a:cubicBezTo>
                  <a:cubicBezTo>
                    <a:pt x="38667" y="20038"/>
                    <a:pt x="33002" y="15789"/>
                    <a:pt x="27337" y="15789"/>
                  </a:cubicBezTo>
                  <a:cubicBezTo>
                    <a:pt x="20256" y="15789"/>
                    <a:pt x="16007" y="21454"/>
                    <a:pt x="16007" y="27119"/>
                  </a:cubicBezTo>
                  <a:cubicBezTo>
                    <a:pt x="14591" y="34200"/>
                    <a:pt x="20256" y="39864"/>
                    <a:pt x="27337"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5" name="Freeform: Shape 2324">
              <a:extLst>
                <a:ext uri="{FF2B5EF4-FFF2-40B4-BE49-F238E27FC236}">
                  <a16:creationId xmlns:a16="http://schemas.microsoft.com/office/drawing/2014/main" id="{2B7FAC2A-9C6F-4711-93C4-2CCF2EE0F50A}"/>
                </a:ext>
              </a:extLst>
            </p:cNvPr>
            <p:cNvSpPr/>
            <p:nvPr/>
          </p:nvSpPr>
          <p:spPr>
            <a:xfrm>
              <a:off x="2070716" y="2424867"/>
              <a:ext cx="42486" cy="56648"/>
            </a:xfrm>
            <a:custGeom>
              <a:avLst/>
              <a:gdLst>
                <a:gd name="connsiteX0" fmla="*/ 27118 w 42485"/>
                <a:gd name="connsiteY0" fmla="*/ 41280 h 56647"/>
                <a:gd name="connsiteX1" fmla="*/ 38448 w 42485"/>
                <a:gd name="connsiteY1" fmla="*/ 28535 h 56647"/>
                <a:gd name="connsiteX2" fmla="*/ 27118 w 42485"/>
                <a:gd name="connsiteY2" fmla="*/ 15789 h 56647"/>
                <a:gd name="connsiteX3" fmla="*/ 15789 w 42485"/>
                <a:gd name="connsiteY3" fmla="*/ 28535 h 56647"/>
                <a:gd name="connsiteX4" fmla="*/ 27118 w 42485"/>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56647">
                  <a:moveTo>
                    <a:pt x="27118" y="41280"/>
                  </a:moveTo>
                  <a:cubicBezTo>
                    <a:pt x="34199" y="41280"/>
                    <a:pt x="38448" y="35616"/>
                    <a:pt x="38448" y="28535"/>
                  </a:cubicBezTo>
                  <a:cubicBezTo>
                    <a:pt x="38448" y="21454"/>
                    <a:pt x="32783" y="15789"/>
                    <a:pt x="27118" y="15789"/>
                  </a:cubicBezTo>
                  <a:cubicBezTo>
                    <a:pt x="20038" y="15789"/>
                    <a:pt x="15789" y="21454"/>
                    <a:pt x="15789" y="28535"/>
                  </a:cubicBezTo>
                  <a:cubicBezTo>
                    <a:pt x="15789" y="35616"/>
                    <a:pt x="21454" y="41280"/>
                    <a:pt x="27118"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6" name="Freeform: Shape 2325">
              <a:extLst>
                <a:ext uri="{FF2B5EF4-FFF2-40B4-BE49-F238E27FC236}">
                  <a16:creationId xmlns:a16="http://schemas.microsoft.com/office/drawing/2014/main" id="{667528EF-C009-4FCA-BF0A-0788CDD65664}"/>
                </a:ext>
              </a:extLst>
            </p:cNvPr>
            <p:cNvSpPr/>
            <p:nvPr/>
          </p:nvSpPr>
          <p:spPr>
            <a:xfrm>
              <a:off x="2110943" y="1985276"/>
              <a:ext cx="42486" cy="42486"/>
            </a:xfrm>
            <a:custGeom>
              <a:avLst/>
              <a:gdLst>
                <a:gd name="connsiteX0" fmla="*/ 21454 w 42485"/>
                <a:gd name="connsiteY0" fmla="*/ 27118 h 42485"/>
                <a:gd name="connsiteX1" fmla="*/ 27118 w 42485"/>
                <a:gd name="connsiteY1" fmla="*/ 21454 h 42485"/>
                <a:gd name="connsiteX2" fmla="*/ 21454 w 42485"/>
                <a:gd name="connsiteY2" fmla="*/ 15789 h 42485"/>
                <a:gd name="connsiteX3" fmla="*/ 15789 w 42485"/>
                <a:gd name="connsiteY3" fmla="*/ 21454 h 42485"/>
                <a:gd name="connsiteX4" fmla="*/ 21454 w 42485"/>
                <a:gd name="connsiteY4" fmla="*/ 2711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8"/>
                  </a:moveTo>
                  <a:cubicBezTo>
                    <a:pt x="24286" y="27118"/>
                    <a:pt x="27118" y="24286"/>
                    <a:pt x="27118" y="21454"/>
                  </a:cubicBezTo>
                  <a:cubicBezTo>
                    <a:pt x="27118" y="18621"/>
                    <a:pt x="24286" y="15789"/>
                    <a:pt x="21454" y="15789"/>
                  </a:cubicBezTo>
                  <a:cubicBezTo>
                    <a:pt x="18621" y="15789"/>
                    <a:pt x="15789" y="18621"/>
                    <a:pt x="15789" y="21454"/>
                  </a:cubicBezTo>
                  <a:cubicBezTo>
                    <a:pt x="15789" y="24286"/>
                    <a:pt x="18621" y="27118"/>
                    <a:pt x="21454" y="2711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7" name="Freeform: Shape 2326">
              <a:extLst>
                <a:ext uri="{FF2B5EF4-FFF2-40B4-BE49-F238E27FC236}">
                  <a16:creationId xmlns:a16="http://schemas.microsoft.com/office/drawing/2014/main" id="{A0AAFB42-AF19-49AB-8A7E-4A9F11395801}"/>
                </a:ext>
              </a:extLst>
            </p:cNvPr>
            <p:cNvSpPr/>
            <p:nvPr/>
          </p:nvSpPr>
          <p:spPr>
            <a:xfrm>
              <a:off x="2795721" y="2280416"/>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1" y="15789"/>
                    <a:pt x="15789" y="18621"/>
                    <a:pt x="15789" y="21454"/>
                  </a:cubicBezTo>
                  <a:cubicBezTo>
                    <a:pt x="15789" y="24286"/>
                    <a:pt x="17205"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8" name="Freeform: Shape 2327">
              <a:extLst>
                <a:ext uri="{FF2B5EF4-FFF2-40B4-BE49-F238E27FC236}">
                  <a16:creationId xmlns:a16="http://schemas.microsoft.com/office/drawing/2014/main" id="{C75AA0EA-93DE-455C-A51A-6B76E58F6F38}"/>
                </a:ext>
              </a:extLst>
            </p:cNvPr>
            <p:cNvSpPr/>
            <p:nvPr/>
          </p:nvSpPr>
          <p:spPr>
            <a:xfrm>
              <a:off x="2709547" y="2642247"/>
              <a:ext cx="56648" cy="56648"/>
            </a:xfrm>
            <a:custGeom>
              <a:avLst/>
              <a:gdLst>
                <a:gd name="connsiteX0" fmla="*/ 44113 w 56647"/>
                <a:gd name="connsiteY0" fmla="*/ 29951 h 56647"/>
                <a:gd name="connsiteX1" fmla="*/ 29951 w 56647"/>
                <a:gd name="connsiteY1" fmla="*/ 44113 h 56647"/>
                <a:gd name="connsiteX2" fmla="*/ 15789 w 56647"/>
                <a:gd name="connsiteY2" fmla="*/ 29951 h 56647"/>
                <a:gd name="connsiteX3" fmla="*/ 29951 w 56647"/>
                <a:gd name="connsiteY3" fmla="*/ 15789 h 56647"/>
                <a:gd name="connsiteX4" fmla="*/ 44113 w 56647"/>
                <a:gd name="connsiteY4" fmla="*/ 2995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44113" y="29951"/>
                  </a:moveTo>
                  <a:cubicBezTo>
                    <a:pt x="44113" y="37772"/>
                    <a:pt x="37772" y="44113"/>
                    <a:pt x="29951" y="44113"/>
                  </a:cubicBezTo>
                  <a:cubicBezTo>
                    <a:pt x="22129" y="44113"/>
                    <a:pt x="15789" y="37772"/>
                    <a:pt x="15789" y="29951"/>
                  </a:cubicBezTo>
                  <a:cubicBezTo>
                    <a:pt x="15789" y="22129"/>
                    <a:pt x="22129" y="15789"/>
                    <a:pt x="29951" y="15789"/>
                  </a:cubicBezTo>
                  <a:cubicBezTo>
                    <a:pt x="37772" y="15789"/>
                    <a:pt x="44113" y="22129"/>
                    <a:pt x="44113"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9" name="Freeform: Shape 2328">
              <a:extLst>
                <a:ext uri="{FF2B5EF4-FFF2-40B4-BE49-F238E27FC236}">
                  <a16:creationId xmlns:a16="http://schemas.microsoft.com/office/drawing/2014/main" id="{D9DDD13F-1DB0-4D5F-8213-87D817D840DC}"/>
                </a:ext>
              </a:extLst>
            </p:cNvPr>
            <p:cNvSpPr/>
            <p:nvPr/>
          </p:nvSpPr>
          <p:spPr>
            <a:xfrm>
              <a:off x="2261275" y="2520755"/>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1454"/>
                    <a:pt x="38448" y="15789"/>
                    <a:pt x="29951" y="15789"/>
                  </a:cubicBezTo>
                  <a:cubicBezTo>
                    <a:pt x="21454" y="15789"/>
                    <a:pt x="15789" y="21454"/>
                    <a:pt x="15789" y="29951"/>
                  </a:cubicBezTo>
                  <a:cubicBezTo>
                    <a:pt x="15789" y="38448"/>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0" name="Freeform: Shape 2329">
              <a:extLst>
                <a:ext uri="{FF2B5EF4-FFF2-40B4-BE49-F238E27FC236}">
                  <a16:creationId xmlns:a16="http://schemas.microsoft.com/office/drawing/2014/main" id="{1CE93304-3A82-4F1F-84C1-661A209276B7}"/>
                </a:ext>
              </a:extLst>
            </p:cNvPr>
            <p:cNvSpPr/>
            <p:nvPr/>
          </p:nvSpPr>
          <p:spPr>
            <a:xfrm>
              <a:off x="2585710" y="2246184"/>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1454"/>
                    <a:pt x="38448" y="15789"/>
                    <a:pt x="29951" y="15789"/>
                  </a:cubicBezTo>
                  <a:cubicBezTo>
                    <a:pt x="21454" y="15789"/>
                    <a:pt x="15789" y="21454"/>
                    <a:pt x="15789" y="29951"/>
                  </a:cubicBezTo>
                  <a:cubicBezTo>
                    <a:pt x="15789" y="37032"/>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1" name="Freeform: Shape 2330">
              <a:extLst>
                <a:ext uri="{FF2B5EF4-FFF2-40B4-BE49-F238E27FC236}">
                  <a16:creationId xmlns:a16="http://schemas.microsoft.com/office/drawing/2014/main" id="{F4E2ED8D-DFCD-4875-9AE1-AE3131247D9C}"/>
                </a:ext>
              </a:extLst>
            </p:cNvPr>
            <p:cNvSpPr/>
            <p:nvPr/>
          </p:nvSpPr>
          <p:spPr>
            <a:xfrm>
              <a:off x="2142355" y="1958698"/>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8448"/>
                    <a:pt x="44113" y="29951"/>
                  </a:cubicBezTo>
                  <a:cubicBezTo>
                    <a:pt x="44113" y="21454"/>
                    <a:pt x="38448" y="15789"/>
                    <a:pt x="29951" y="15789"/>
                  </a:cubicBezTo>
                  <a:cubicBezTo>
                    <a:pt x="21454" y="15789"/>
                    <a:pt x="15789" y="21454"/>
                    <a:pt x="15789" y="29951"/>
                  </a:cubicBezTo>
                  <a:cubicBezTo>
                    <a:pt x="15789" y="37032"/>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2" name="Freeform: Shape 2331">
              <a:extLst>
                <a:ext uri="{FF2B5EF4-FFF2-40B4-BE49-F238E27FC236}">
                  <a16:creationId xmlns:a16="http://schemas.microsoft.com/office/drawing/2014/main" id="{CCE6EA17-49B5-4A9F-9504-444A6C678C6E}"/>
                </a:ext>
              </a:extLst>
            </p:cNvPr>
            <p:cNvSpPr/>
            <p:nvPr/>
          </p:nvSpPr>
          <p:spPr>
            <a:xfrm>
              <a:off x="2706625" y="1732193"/>
              <a:ext cx="42486" cy="42486"/>
            </a:xfrm>
            <a:custGeom>
              <a:avLst/>
              <a:gdLst>
                <a:gd name="connsiteX0" fmla="*/ 27337 w 42485"/>
                <a:gd name="connsiteY0" fmla="*/ 39864 h 42485"/>
                <a:gd name="connsiteX1" fmla="*/ 38666 w 42485"/>
                <a:gd name="connsiteY1" fmla="*/ 28535 h 42485"/>
                <a:gd name="connsiteX2" fmla="*/ 27337 w 42485"/>
                <a:gd name="connsiteY2" fmla="*/ 15789 h 42485"/>
                <a:gd name="connsiteX3" fmla="*/ 16007 w 42485"/>
                <a:gd name="connsiteY3" fmla="*/ 28535 h 42485"/>
                <a:gd name="connsiteX4" fmla="*/ 27337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9864"/>
                  </a:moveTo>
                  <a:cubicBezTo>
                    <a:pt x="34418" y="39864"/>
                    <a:pt x="38666" y="34199"/>
                    <a:pt x="38666" y="28535"/>
                  </a:cubicBezTo>
                  <a:cubicBezTo>
                    <a:pt x="38666" y="21454"/>
                    <a:pt x="33002" y="15789"/>
                    <a:pt x="27337" y="15789"/>
                  </a:cubicBezTo>
                  <a:cubicBezTo>
                    <a:pt x="20256" y="15789"/>
                    <a:pt x="16007" y="21454"/>
                    <a:pt x="16007" y="28535"/>
                  </a:cubicBezTo>
                  <a:cubicBezTo>
                    <a:pt x="14591" y="34199"/>
                    <a:pt x="20256" y="39864"/>
                    <a:pt x="27337"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3" name="Freeform: Shape 2332">
              <a:extLst>
                <a:ext uri="{FF2B5EF4-FFF2-40B4-BE49-F238E27FC236}">
                  <a16:creationId xmlns:a16="http://schemas.microsoft.com/office/drawing/2014/main" id="{F67F7F38-E8C0-4D38-9133-1BB977B38BBF}"/>
                </a:ext>
              </a:extLst>
            </p:cNvPr>
            <p:cNvSpPr/>
            <p:nvPr/>
          </p:nvSpPr>
          <p:spPr>
            <a:xfrm>
              <a:off x="3075053" y="1781759"/>
              <a:ext cx="42486" cy="42486"/>
            </a:xfrm>
            <a:custGeom>
              <a:avLst/>
              <a:gdLst>
                <a:gd name="connsiteX0" fmla="*/ 27119 w 42485"/>
                <a:gd name="connsiteY0" fmla="*/ 39864 h 42485"/>
                <a:gd name="connsiteX1" fmla="*/ 38448 w 42485"/>
                <a:gd name="connsiteY1" fmla="*/ 28535 h 42485"/>
                <a:gd name="connsiteX2" fmla="*/ 27119 w 42485"/>
                <a:gd name="connsiteY2" fmla="*/ 15789 h 42485"/>
                <a:gd name="connsiteX3" fmla="*/ 15789 w 42485"/>
                <a:gd name="connsiteY3" fmla="*/ 28535 h 42485"/>
                <a:gd name="connsiteX4" fmla="*/ 27119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9864"/>
                  </a:moveTo>
                  <a:cubicBezTo>
                    <a:pt x="34200" y="39864"/>
                    <a:pt x="38448" y="34199"/>
                    <a:pt x="38448" y="28535"/>
                  </a:cubicBezTo>
                  <a:cubicBezTo>
                    <a:pt x="38448" y="22870"/>
                    <a:pt x="32783" y="15789"/>
                    <a:pt x="27119" y="15789"/>
                  </a:cubicBezTo>
                  <a:cubicBezTo>
                    <a:pt x="20038" y="15789"/>
                    <a:pt x="15789" y="21454"/>
                    <a:pt x="15789" y="28535"/>
                  </a:cubicBezTo>
                  <a:cubicBezTo>
                    <a:pt x="15789" y="35616"/>
                    <a:pt x="21454" y="39864"/>
                    <a:pt x="27119"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4" name="Freeform: Shape 2333">
              <a:extLst>
                <a:ext uri="{FF2B5EF4-FFF2-40B4-BE49-F238E27FC236}">
                  <a16:creationId xmlns:a16="http://schemas.microsoft.com/office/drawing/2014/main" id="{B46FE1F4-B4FC-414D-A1B1-19DD1562FC0B}"/>
                </a:ext>
              </a:extLst>
            </p:cNvPr>
            <p:cNvSpPr/>
            <p:nvPr/>
          </p:nvSpPr>
          <p:spPr>
            <a:xfrm>
              <a:off x="3025888" y="2418873"/>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1454"/>
                    <a:pt x="37032" y="15789"/>
                    <a:pt x="29951" y="15789"/>
                  </a:cubicBezTo>
                  <a:cubicBezTo>
                    <a:pt x="21454" y="15789"/>
                    <a:pt x="15789" y="22870"/>
                    <a:pt x="15789" y="29951"/>
                  </a:cubicBezTo>
                  <a:cubicBezTo>
                    <a:pt x="15789" y="38448"/>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5" name="Freeform: Shape 2334">
              <a:extLst>
                <a:ext uri="{FF2B5EF4-FFF2-40B4-BE49-F238E27FC236}">
                  <a16:creationId xmlns:a16="http://schemas.microsoft.com/office/drawing/2014/main" id="{3B4EB689-CB8A-4705-BFD1-FD817786AB56}"/>
                </a:ext>
              </a:extLst>
            </p:cNvPr>
            <p:cNvSpPr/>
            <p:nvPr/>
          </p:nvSpPr>
          <p:spPr>
            <a:xfrm>
              <a:off x="2483572" y="1997350"/>
              <a:ext cx="84971" cy="84971"/>
            </a:xfrm>
            <a:custGeom>
              <a:avLst/>
              <a:gdLst>
                <a:gd name="connsiteX0" fmla="*/ 45529 w 84971"/>
                <a:gd name="connsiteY0" fmla="*/ 75269 h 84971"/>
                <a:gd name="connsiteX1" fmla="*/ 75269 w 84971"/>
                <a:gd name="connsiteY1" fmla="*/ 45529 h 84971"/>
                <a:gd name="connsiteX2" fmla="*/ 45529 w 84971"/>
                <a:gd name="connsiteY2" fmla="*/ 15789 h 84971"/>
                <a:gd name="connsiteX3" fmla="*/ 15789 w 84971"/>
                <a:gd name="connsiteY3" fmla="*/ 45529 h 84971"/>
                <a:gd name="connsiteX4" fmla="*/ 45529 w 84971"/>
                <a:gd name="connsiteY4" fmla="*/ 7526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529" y="75269"/>
                  </a:moveTo>
                  <a:cubicBezTo>
                    <a:pt x="62523" y="75269"/>
                    <a:pt x="75269" y="61107"/>
                    <a:pt x="75269" y="45529"/>
                  </a:cubicBezTo>
                  <a:cubicBezTo>
                    <a:pt x="75269" y="28535"/>
                    <a:pt x="61107" y="15789"/>
                    <a:pt x="45529" y="15789"/>
                  </a:cubicBezTo>
                  <a:cubicBezTo>
                    <a:pt x="28535" y="15789"/>
                    <a:pt x="15789" y="29951"/>
                    <a:pt x="15789" y="45529"/>
                  </a:cubicBezTo>
                  <a:cubicBezTo>
                    <a:pt x="15789" y="62523"/>
                    <a:pt x="29951" y="75269"/>
                    <a:pt x="45529" y="752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6" name="Freeform: Shape 2335">
              <a:extLst>
                <a:ext uri="{FF2B5EF4-FFF2-40B4-BE49-F238E27FC236}">
                  <a16:creationId xmlns:a16="http://schemas.microsoft.com/office/drawing/2014/main" id="{6FAD8298-3346-497A-85AF-CD8378E9790E}"/>
                </a:ext>
              </a:extLst>
            </p:cNvPr>
            <p:cNvSpPr/>
            <p:nvPr/>
          </p:nvSpPr>
          <p:spPr>
            <a:xfrm>
              <a:off x="2207672" y="2695373"/>
              <a:ext cx="56648" cy="56648"/>
            </a:xfrm>
            <a:custGeom>
              <a:avLst/>
              <a:gdLst>
                <a:gd name="connsiteX0" fmla="*/ 34200 w 56647"/>
                <a:gd name="connsiteY0" fmla="*/ 52610 h 56647"/>
                <a:gd name="connsiteX1" fmla="*/ 52610 w 56647"/>
                <a:gd name="connsiteY1" fmla="*/ 34200 h 56647"/>
                <a:gd name="connsiteX2" fmla="*/ 34200 w 56647"/>
                <a:gd name="connsiteY2" fmla="*/ 15789 h 56647"/>
                <a:gd name="connsiteX3" fmla="*/ 15789 w 56647"/>
                <a:gd name="connsiteY3" fmla="*/ 34200 h 56647"/>
                <a:gd name="connsiteX4" fmla="*/ 34200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200" y="52610"/>
                  </a:moveTo>
                  <a:cubicBezTo>
                    <a:pt x="44113" y="52610"/>
                    <a:pt x="52610" y="44113"/>
                    <a:pt x="52610" y="34200"/>
                  </a:cubicBezTo>
                  <a:cubicBezTo>
                    <a:pt x="52610" y="24286"/>
                    <a:pt x="44113" y="15789"/>
                    <a:pt x="34200" y="15789"/>
                  </a:cubicBezTo>
                  <a:cubicBezTo>
                    <a:pt x="24286" y="15789"/>
                    <a:pt x="15789" y="24286"/>
                    <a:pt x="15789" y="34200"/>
                  </a:cubicBezTo>
                  <a:cubicBezTo>
                    <a:pt x="15789" y="44113"/>
                    <a:pt x="24286" y="52610"/>
                    <a:pt x="34200"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7" name="Freeform: Shape 2336">
              <a:extLst>
                <a:ext uri="{FF2B5EF4-FFF2-40B4-BE49-F238E27FC236}">
                  <a16:creationId xmlns:a16="http://schemas.microsoft.com/office/drawing/2014/main" id="{9EA8F082-BF73-4B8F-8275-C56645635A90}"/>
                </a:ext>
              </a:extLst>
            </p:cNvPr>
            <p:cNvSpPr/>
            <p:nvPr/>
          </p:nvSpPr>
          <p:spPr>
            <a:xfrm>
              <a:off x="2148864" y="2141472"/>
              <a:ext cx="42486" cy="42486"/>
            </a:xfrm>
            <a:custGeom>
              <a:avLst/>
              <a:gdLst>
                <a:gd name="connsiteX0" fmla="*/ 27118 w 42485"/>
                <a:gd name="connsiteY0" fmla="*/ 38448 h 42485"/>
                <a:gd name="connsiteX1" fmla="*/ 38448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4199" y="38448"/>
                    <a:pt x="38448" y="32783"/>
                    <a:pt x="38448" y="27119"/>
                  </a:cubicBezTo>
                  <a:cubicBezTo>
                    <a:pt x="38448" y="20038"/>
                    <a:pt x="32783" y="15789"/>
                    <a:pt x="27118" y="15789"/>
                  </a:cubicBezTo>
                  <a:cubicBezTo>
                    <a:pt x="21454" y="15789"/>
                    <a:pt x="15789" y="21454"/>
                    <a:pt x="15789" y="27119"/>
                  </a:cubicBezTo>
                  <a:cubicBezTo>
                    <a:pt x="15789" y="32783"/>
                    <a:pt x="21454"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8" name="Freeform: Shape 2337">
              <a:extLst>
                <a:ext uri="{FF2B5EF4-FFF2-40B4-BE49-F238E27FC236}">
                  <a16:creationId xmlns:a16="http://schemas.microsoft.com/office/drawing/2014/main" id="{167CB62A-577D-46F1-8BF1-2F60DAFF4199}"/>
                </a:ext>
              </a:extLst>
            </p:cNvPr>
            <p:cNvSpPr/>
            <p:nvPr/>
          </p:nvSpPr>
          <p:spPr>
            <a:xfrm>
              <a:off x="2028487" y="1587741"/>
              <a:ext cx="42486" cy="42486"/>
            </a:xfrm>
            <a:custGeom>
              <a:avLst/>
              <a:gdLst>
                <a:gd name="connsiteX0" fmla="*/ 28535 w 42485"/>
                <a:gd name="connsiteY0" fmla="*/ 39864 h 42485"/>
                <a:gd name="connsiteX1" fmla="*/ 39864 w 42485"/>
                <a:gd name="connsiteY1" fmla="*/ 28535 h 42485"/>
                <a:gd name="connsiteX2" fmla="*/ 28535 w 42485"/>
                <a:gd name="connsiteY2" fmla="*/ 15789 h 42485"/>
                <a:gd name="connsiteX3" fmla="*/ 15789 w 42485"/>
                <a:gd name="connsiteY3" fmla="*/ 28535 h 42485"/>
                <a:gd name="connsiteX4" fmla="*/ 28535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8535" y="39864"/>
                  </a:moveTo>
                  <a:cubicBezTo>
                    <a:pt x="35616" y="39864"/>
                    <a:pt x="39864" y="34200"/>
                    <a:pt x="39864" y="28535"/>
                  </a:cubicBezTo>
                  <a:cubicBezTo>
                    <a:pt x="39864" y="21454"/>
                    <a:pt x="34199" y="15789"/>
                    <a:pt x="28535" y="15789"/>
                  </a:cubicBezTo>
                  <a:cubicBezTo>
                    <a:pt x="21454" y="15789"/>
                    <a:pt x="15789" y="21454"/>
                    <a:pt x="15789" y="28535"/>
                  </a:cubicBezTo>
                  <a:cubicBezTo>
                    <a:pt x="15789" y="34200"/>
                    <a:pt x="21454" y="39864"/>
                    <a:pt x="28535"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9" name="Freeform: Shape 2338">
              <a:extLst>
                <a:ext uri="{FF2B5EF4-FFF2-40B4-BE49-F238E27FC236}">
                  <a16:creationId xmlns:a16="http://schemas.microsoft.com/office/drawing/2014/main" id="{F2BA6703-E438-4007-A8FC-C457A5CB1CF7}"/>
                </a:ext>
              </a:extLst>
            </p:cNvPr>
            <p:cNvSpPr/>
            <p:nvPr/>
          </p:nvSpPr>
          <p:spPr>
            <a:xfrm>
              <a:off x="2983000" y="1777511"/>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8448"/>
                    <a:pt x="44113" y="29951"/>
                  </a:cubicBezTo>
                  <a:cubicBezTo>
                    <a:pt x="44113" y="21454"/>
                    <a:pt x="38448" y="15789"/>
                    <a:pt x="29951" y="15789"/>
                  </a:cubicBezTo>
                  <a:cubicBezTo>
                    <a:pt x="21454" y="15789"/>
                    <a:pt x="15789" y="21454"/>
                    <a:pt x="15789" y="29951"/>
                  </a:cubicBezTo>
                  <a:cubicBezTo>
                    <a:pt x="15789" y="37032"/>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0" name="Freeform: Shape 2339">
              <a:extLst>
                <a:ext uri="{FF2B5EF4-FFF2-40B4-BE49-F238E27FC236}">
                  <a16:creationId xmlns:a16="http://schemas.microsoft.com/office/drawing/2014/main" id="{075706F5-C0D5-498E-80B0-3760B5E61051}"/>
                </a:ext>
              </a:extLst>
            </p:cNvPr>
            <p:cNvSpPr/>
            <p:nvPr/>
          </p:nvSpPr>
          <p:spPr>
            <a:xfrm>
              <a:off x="1709844" y="1872395"/>
              <a:ext cx="70810" cy="70810"/>
            </a:xfrm>
            <a:custGeom>
              <a:avLst/>
              <a:gdLst>
                <a:gd name="connsiteX0" fmla="*/ 39864 w 70809"/>
                <a:gd name="connsiteY0" fmla="*/ 63940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2610" y="63940"/>
                    <a:pt x="63940" y="52610"/>
                    <a:pt x="63940" y="39864"/>
                  </a:cubicBezTo>
                  <a:cubicBezTo>
                    <a:pt x="63940" y="27119"/>
                    <a:pt x="52610" y="15789"/>
                    <a:pt x="39864" y="15789"/>
                  </a:cubicBezTo>
                  <a:cubicBezTo>
                    <a:pt x="27119" y="15789"/>
                    <a:pt x="15789" y="27119"/>
                    <a:pt x="15789" y="39864"/>
                  </a:cubicBezTo>
                  <a:cubicBezTo>
                    <a:pt x="15789" y="52610"/>
                    <a:pt x="27119"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1" name="Freeform: Shape 2340">
              <a:extLst>
                <a:ext uri="{FF2B5EF4-FFF2-40B4-BE49-F238E27FC236}">
                  <a16:creationId xmlns:a16="http://schemas.microsoft.com/office/drawing/2014/main" id="{03FDBBAE-0FC8-4A7F-A155-E96858C9BE3B}"/>
                </a:ext>
              </a:extLst>
            </p:cNvPr>
            <p:cNvSpPr/>
            <p:nvPr/>
          </p:nvSpPr>
          <p:spPr>
            <a:xfrm>
              <a:off x="1358629" y="1623146"/>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5789" y="71020"/>
                    <a:pt x="31367"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2" name="Freeform: Shape 2341">
              <a:extLst>
                <a:ext uri="{FF2B5EF4-FFF2-40B4-BE49-F238E27FC236}">
                  <a16:creationId xmlns:a16="http://schemas.microsoft.com/office/drawing/2014/main" id="{E0A02818-7B39-4CF2-BD68-A5BA49DA5AC2}"/>
                </a:ext>
              </a:extLst>
            </p:cNvPr>
            <p:cNvSpPr/>
            <p:nvPr/>
          </p:nvSpPr>
          <p:spPr>
            <a:xfrm>
              <a:off x="2141034" y="2883480"/>
              <a:ext cx="56648" cy="56648"/>
            </a:xfrm>
            <a:custGeom>
              <a:avLst/>
              <a:gdLst>
                <a:gd name="connsiteX0" fmla="*/ 34199 w 56647"/>
                <a:gd name="connsiteY0" fmla="*/ 52610 h 56647"/>
                <a:gd name="connsiteX1" fmla="*/ 52610 w 56647"/>
                <a:gd name="connsiteY1" fmla="*/ 34200 h 56647"/>
                <a:gd name="connsiteX2" fmla="*/ 34199 w 56647"/>
                <a:gd name="connsiteY2" fmla="*/ 15789 h 56647"/>
                <a:gd name="connsiteX3" fmla="*/ 15789 w 56647"/>
                <a:gd name="connsiteY3" fmla="*/ 34200 h 56647"/>
                <a:gd name="connsiteX4" fmla="*/ 34199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199" y="52610"/>
                  </a:moveTo>
                  <a:cubicBezTo>
                    <a:pt x="44113" y="52610"/>
                    <a:pt x="52610" y="44113"/>
                    <a:pt x="52610" y="34200"/>
                  </a:cubicBezTo>
                  <a:cubicBezTo>
                    <a:pt x="52610" y="24286"/>
                    <a:pt x="44113" y="15789"/>
                    <a:pt x="34199" y="15789"/>
                  </a:cubicBezTo>
                  <a:cubicBezTo>
                    <a:pt x="24286" y="15789"/>
                    <a:pt x="15789" y="24286"/>
                    <a:pt x="15789" y="34200"/>
                  </a:cubicBezTo>
                  <a:cubicBezTo>
                    <a:pt x="15789" y="44113"/>
                    <a:pt x="22870" y="52610"/>
                    <a:pt x="34199"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3" name="Freeform: Shape 2342">
              <a:extLst>
                <a:ext uri="{FF2B5EF4-FFF2-40B4-BE49-F238E27FC236}">
                  <a16:creationId xmlns:a16="http://schemas.microsoft.com/office/drawing/2014/main" id="{E5E60501-BD61-40C8-B93C-1080059C110E}"/>
                </a:ext>
              </a:extLst>
            </p:cNvPr>
            <p:cNvSpPr/>
            <p:nvPr/>
          </p:nvSpPr>
          <p:spPr>
            <a:xfrm>
              <a:off x="972009" y="1117566"/>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4" name="Freeform: Shape 2343">
              <a:extLst>
                <a:ext uri="{FF2B5EF4-FFF2-40B4-BE49-F238E27FC236}">
                  <a16:creationId xmlns:a16="http://schemas.microsoft.com/office/drawing/2014/main" id="{4009260A-85ED-4F80-9028-3B6FDBAC8355}"/>
                </a:ext>
              </a:extLst>
            </p:cNvPr>
            <p:cNvSpPr/>
            <p:nvPr/>
          </p:nvSpPr>
          <p:spPr>
            <a:xfrm>
              <a:off x="1384120" y="1198289"/>
              <a:ext cx="70810" cy="70810"/>
            </a:xfrm>
            <a:custGeom>
              <a:avLst/>
              <a:gdLst>
                <a:gd name="connsiteX0" fmla="*/ 58275 w 70809"/>
                <a:gd name="connsiteY0" fmla="*/ 37032 h 70809"/>
                <a:gd name="connsiteX1" fmla="*/ 37032 w 70809"/>
                <a:gd name="connsiteY1" fmla="*/ 58275 h 70809"/>
                <a:gd name="connsiteX2" fmla="*/ 15789 w 70809"/>
                <a:gd name="connsiteY2" fmla="*/ 37032 h 70809"/>
                <a:gd name="connsiteX3" fmla="*/ 37032 w 70809"/>
                <a:gd name="connsiteY3" fmla="*/ 15789 h 70809"/>
                <a:gd name="connsiteX4" fmla="*/ 58275 w 70809"/>
                <a:gd name="connsiteY4" fmla="*/ 3703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58275" y="37032"/>
                  </a:moveTo>
                  <a:cubicBezTo>
                    <a:pt x="58275" y="48764"/>
                    <a:pt x="48764" y="58275"/>
                    <a:pt x="37032" y="58275"/>
                  </a:cubicBezTo>
                  <a:cubicBezTo>
                    <a:pt x="25300" y="58275"/>
                    <a:pt x="15789" y="48764"/>
                    <a:pt x="15789" y="37032"/>
                  </a:cubicBezTo>
                  <a:cubicBezTo>
                    <a:pt x="15789" y="25300"/>
                    <a:pt x="25300" y="15789"/>
                    <a:pt x="37032" y="15789"/>
                  </a:cubicBezTo>
                  <a:cubicBezTo>
                    <a:pt x="48764" y="15789"/>
                    <a:pt x="58275" y="25300"/>
                    <a:pt x="58275" y="3703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5" name="Freeform: Shape 2344">
              <a:extLst>
                <a:ext uri="{FF2B5EF4-FFF2-40B4-BE49-F238E27FC236}">
                  <a16:creationId xmlns:a16="http://schemas.microsoft.com/office/drawing/2014/main" id="{64581AF6-A7FF-4B74-9D50-6E3DEE592364}"/>
                </a:ext>
              </a:extLst>
            </p:cNvPr>
            <p:cNvSpPr/>
            <p:nvPr/>
          </p:nvSpPr>
          <p:spPr>
            <a:xfrm>
              <a:off x="1013078" y="1761933"/>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2" y="15789"/>
                    <a:pt x="15789" y="25702"/>
                    <a:pt x="15789" y="37032"/>
                  </a:cubicBezTo>
                  <a:cubicBezTo>
                    <a:pt x="15789" y="49778"/>
                    <a:pt x="25702"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6" name="Freeform: Shape 2345">
              <a:extLst>
                <a:ext uri="{FF2B5EF4-FFF2-40B4-BE49-F238E27FC236}">
                  <a16:creationId xmlns:a16="http://schemas.microsoft.com/office/drawing/2014/main" id="{4CF8EE7F-E80E-4AE8-A9B0-4013C7139566}"/>
                </a:ext>
              </a:extLst>
            </p:cNvPr>
            <p:cNvSpPr/>
            <p:nvPr/>
          </p:nvSpPr>
          <p:spPr>
            <a:xfrm>
              <a:off x="900981" y="1574995"/>
              <a:ext cx="42486" cy="42486"/>
            </a:xfrm>
            <a:custGeom>
              <a:avLst/>
              <a:gdLst>
                <a:gd name="connsiteX0" fmla="*/ 27337 w 42485"/>
                <a:gd name="connsiteY0" fmla="*/ 39864 h 42485"/>
                <a:gd name="connsiteX1" fmla="*/ 38667 w 42485"/>
                <a:gd name="connsiteY1" fmla="*/ 28535 h 42485"/>
                <a:gd name="connsiteX2" fmla="*/ 27337 w 42485"/>
                <a:gd name="connsiteY2" fmla="*/ 15789 h 42485"/>
                <a:gd name="connsiteX3" fmla="*/ 16007 w 42485"/>
                <a:gd name="connsiteY3" fmla="*/ 28535 h 42485"/>
                <a:gd name="connsiteX4" fmla="*/ 27337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9864"/>
                  </a:moveTo>
                  <a:cubicBezTo>
                    <a:pt x="34418" y="39864"/>
                    <a:pt x="38667" y="34200"/>
                    <a:pt x="38667" y="28535"/>
                  </a:cubicBezTo>
                  <a:cubicBezTo>
                    <a:pt x="38667" y="21454"/>
                    <a:pt x="33002" y="15789"/>
                    <a:pt x="27337" y="15789"/>
                  </a:cubicBezTo>
                  <a:cubicBezTo>
                    <a:pt x="20256" y="15789"/>
                    <a:pt x="16007" y="21454"/>
                    <a:pt x="16007" y="28535"/>
                  </a:cubicBezTo>
                  <a:cubicBezTo>
                    <a:pt x="14591" y="34200"/>
                    <a:pt x="20256" y="39864"/>
                    <a:pt x="27337"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7" name="Freeform: Shape 2346">
              <a:extLst>
                <a:ext uri="{FF2B5EF4-FFF2-40B4-BE49-F238E27FC236}">
                  <a16:creationId xmlns:a16="http://schemas.microsoft.com/office/drawing/2014/main" id="{C2ED6952-7767-4D69-B65A-D5ADD39F6F42}"/>
                </a:ext>
              </a:extLst>
            </p:cNvPr>
            <p:cNvSpPr/>
            <p:nvPr/>
          </p:nvSpPr>
          <p:spPr>
            <a:xfrm>
              <a:off x="1140535" y="1233693"/>
              <a:ext cx="42486" cy="42486"/>
            </a:xfrm>
            <a:custGeom>
              <a:avLst/>
              <a:gdLst>
                <a:gd name="connsiteX0" fmla="*/ 28535 w 42485"/>
                <a:gd name="connsiteY0" fmla="*/ 39864 h 42485"/>
                <a:gd name="connsiteX1" fmla="*/ 39864 w 42485"/>
                <a:gd name="connsiteY1" fmla="*/ 28535 h 42485"/>
                <a:gd name="connsiteX2" fmla="*/ 28535 w 42485"/>
                <a:gd name="connsiteY2" fmla="*/ 15789 h 42485"/>
                <a:gd name="connsiteX3" fmla="*/ 15789 w 42485"/>
                <a:gd name="connsiteY3" fmla="*/ 28535 h 42485"/>
                <a:gd name="connsiteX4" fmla="*/ 28535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8535" y="39864"/>
                  </a:moveTo>
                  <a:cubicBezTo>
                    <a:pt x="35616" y="39864"/>
                    <a:pt x="39864" y="34200"/>
                    <a:pt x="39864" y="28535"/>
                  </a:cubicBezTo>
                  <a:cubicBezTo>
                    <a:pt x="39864" y="22870"/>
                    <a:pt x="34199" y="15789"/>
                    <a:pt x="28535" y="15789"/>
                  </a:cubicBezTo>
                  <a:cubicBezTo>
                    <a:pt x="21454" y="15789"/>
                    <a:pt x="15789" y="21454"/>
                    <a:pt x="15789" y="28535"/>
                  </a:cubicBezTo>
                  <a:cubicBezTo>
                    <a:pt x="15789" y="35616"/>
                    <a:pt x="21454" y="39864"/>
                    <a:pt x="28535"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8" name="Freeform: Shape 2347">
              <a:extLst>
                <a:ext uri="{FF2B5EF4-FFF2-40B4-BE49-F238E27FC236}">
                  <a16:creationId xmlns:a16="http://schemas.microsoft.com/office/drawing/2014/main" id="{F79D7FDD-981C-40E4-BF2C-DEA14B239C59}"/>
                </a:ext>
              </a:extLst>
            </p:cNvPr>
            <p:cNvSpPr/>
            <p:nvPr/>
          </p:nvSpPr>
          <p:spPr>
            <a:xfrm>
              <a:off x="874292" y="1293173"/>
              <a:ext cx="113295" cy="113295"/>
            </a:xfrm>
            <a:custGeom>
              <a:avLst/>
              <a:gdLst>
                <a:gd name="connsiteX0" fmla="*/ 58275 w 113295"/>
                <a:gd name="connsiteY0" fmla="*/ 100760 h 113295"/>
                <a:gd name="connsiteX1" fmla="*/ 100760 w 113295"/>
                <a:gd name="connsiteY1" fmla="*/ 58275 h 113295"/>
                <a:gd name="connsiteX2" fmla="*/ 58275 w 113295"/>
                <a:gd name="connsiteY2" fmla="*/ 15789 h 113295"/>
                <a:gd name="connsiteX3" fmla="*/ 15789 w 113295"/>
                <a:gd name="connsiteY3" fmla="*/ 58275 h 113295"/>
                <a:gd name="connsiteX4" fmla="*/ 58275 w 113295"/>
                <a:gd name="connsiteY4" fmla="*/ 100760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8275" y="100760"/>
                  </a:moveTo>
                  <a:cubicBezTo>
                    <a:pt x="82350" y="100760"/>
                    <a:pt x="100760" y="80934"/>
                    <a:pt x="100760" y="58275"/>
                  </a:cubicBezTo>
                  <a:cubicBezTo>
                    <a:pt x="100760" y="35616"/>
                    <a:pt x="80934" y="15789"/>
                    <a:pt x="58275" y="15789"/>
                  </a:cubicBezTo>
                  <a:cubicBezTo>
                    <a:pt x="34199" y="15789"/>
                    <a:pt x="15789" y="35616"/>
                    <a:pt x="15789" y="58275"/>
                  </a:cubicBezTo>
                  <a:cubicBezTo>
                    <a:pt x="15789" y="80934"/>
                    <a:pt x="34199" y="100760"/>
                    <a:pt x="58275" y="1007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9" name="Freeform: Shape 2348">
              <a:extLst>
                <a:ext uri="{FF2B5EF4-FFF2-40B4-BE49-F238E27FC236}">
                  <a16:creationId xmlns:a16="http://schemas.microsoft.com/office/drawing/2014/main" id="{4A486E2B-8F8A-41F8-94F9-792D03EED646}"/>
                </a:ext>
              </a:extLst>
            </p:cNvPr>
            <p:cNvSpPr/>
            <p:nvPr/>
          </p:nvSpPr>
          <p:spPr>
            <a:xfrm>
              <a:off x="2141783" y="1015600"/>
              <a:ext cx="113295" cy="113295"/>
            </a:xfrm>
            <a:custGeom>
              <a:avLst/>
              <a:gdLst>
                <a:gd name="connsiteX0" fmla="*/ 58275 w 113295"/>
                <a:gd name="connsiteY0" fmla="*/ 100760 h 113295"/>
                <a:gd name="connsiteX1" fmla="*/ 100760 w 113295"/>
                <a:gd name="connsiteY1" fmla="*/ 58275 h 113295"/>
                <a:gd name="connsiteX2" fmla="*/ 58275 w 113295"/>
                <a:gd name="connsiteY2" fmla="*/ 15789 h 113295"/>
                <a:gd name="connsiteX3" fmla="*/ 15789 w 113295"/>
                <a:gd name="connsiteY3" fmla="*/ 58275 h 113295"/>
                <a:gd name="connsiteX4" fmla="*/ 58275 w 113295"/>
                <a:gd name="connsiteY4" fmla="*/ 100760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8275" y="100760"/>
                  </a:moveTo>
                  <a:cubicBezTo>
                    <a:pt x="82350" y="100760"/>
                    <a:pt x="100760" y="80934"/>
                    <a:pt x="100760" y="58275"/>
                  </a:cubicBezTo>
                  <a:cubicBezTo>
                    <a:pt x="100760" y="35616"/>
                    <a:pt x="80934" y="15789"/>
                    <a:pt x="58275" y="15789"/>
                  </a:cubicBezTo>
                  <a:cubicBezTo>
                    <a:pt x="34199" y="15789"/>
                    <a:pt x="15789" y="35616"/>
                    <a:pt x="15789" y="58275"/>
                  </a:cubicBezTo>
                  <a:cubicBezTo>
                    <a:pt x="15789" y="80934"/>
                    <a:pt x="34199" y="100760"/>
                    <a:pt x="58275" y="1007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0" name="Freeform: Shape 2349">
              <a:extLst>
                <a:ext uri="{FF2B5EF4-FFF2-40B4-BE49-F238E27FC236}">
                  <a16:creationId xmlns:a16="http://schemas.microsoft.com/office/drawing/2014/main" id="{225DF158-EB5D-49A9-AC01-A2919C40B862}"/>
                </a:ext>
              </a:extLst>
            </p:cNvPr>
            <p:cNvSpPr/>
            <p:nvPr/>
          </p:nvSpPr>
          <p:spPr>
            <a:xfrm>
              <a:off x="2725254" y="1526845"/>
              <a:ext cx="84971" cy="84971"/>
            </a:xfrm>
            <a:custGeom>
              <a:avLst/>
              <a:gdLst>
                <a:gd name="connsiteX0" fmla="*/ 46945 w 84971"/>
                <a:gd name="connsiteY0" fmla="*/ 78101 h 84971"/>
                <a:gd name="connsiteX1" fmla="*/ 78101 w 84971"/>
                <a:gd name="connsiteY1" fmla="*/ 46945 h 84971"/>
                <a:gd name="connsiteX2" fmla="*/ 46945 w 84971"/>
                <a:gd name="connsiteY2" fmla="*/ 15789 h 84971"/>
                <a:gd name="connsiteX3" fmla="*/ 15789 w 84971"/>
                <a:gd name="connsiteY3" fmla="*/ 46945 h 84971"/>
                <a:gd name="connsiteX4" fmla="*/ 46945 w 84971"/>
                <a:gd name="connsiteY4" fmla="*/ 78101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6945" y="78101"/>
                  </a:moveTo>
                  <a:cubicBezTo>
                    <a:pt x="63939" y="78101"/>
                    <a:pt x="78101" y="63939"/>
                    <a:pt x="78101" y="46945"/>
                  </a:cubicBezTo>
                  <a:cubicBezTo>
                    <a:pt x="78101" y="29951"/>
                    <a:pt x="63939" y="15789"/>
                    <a:pt x="46945" y="15789"/>
                  </a:cubicBezTo>
                  <a:cubicBezTo>
                    <a:pt x="29951" y="15789"/>
                    <a:pt x="15789" y="29951"/>
                    <a:pt x="15789" y="46945"/>
                  </a:cubicBezTo>
                  <a:cubicBezTo>
                    <a:pt x="15789" y="65356"/>
                    <a:pt x="29951" y="78101"/>
                    <a:pt x="46945" y="7810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1" name="Freeform: Shape 2350">
              <a:extLst>
                <a:ext uri="{FF2B5EF4-FFF2-40B4-BE49-F238E27FC236}">
                  <a16:creationId xmlns:a16="http://schemas.microsoft.com/office/drawing/2014/main" id="{CCBE19E2-C64A-4370-9F23-D1263C9B2EA4}"/>
                </a:ext>
              </a:extLst>
            </p:cNvPr>
            <p:cNvSpPr/>
            <p:nvPr/>
          </p:nvSpPr>
          <p:spPr>
            <a:xfrm>
              <a:off x="1597965" y="1280428"/>
              <a:ext cx="42486" cy="42486"/>
            </a:xfrm>
            <a:custGeom>
              <a:avLst/>
              <a:gdLst>
                <a:gd name="connsiteX0" fmla="*/ 27119 w 42485"/>
                <a:gd name="connsiteY0" fmla="*/ 38448 h 42485"/>
                <a:gd name="connsiteX1" fmla="*/ 38448 w 42485"/>
                <a:gd name="connsiteY1" fmla="*/ 27118 h 42485"/>
                <a:gd name="connsiteX2" fmla="*/ 27119 w 42485"/>
                <a:gd name="connsiteY2" fmla="*/ 15789 h 42485"/>
                <a:gd name="connsiteX3" fmla="*/ 15789 w 42485"/>
                <a:gd name="connsiteY3" fmla="*/ 27118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8"/>
                  </a:cubicBezTo>
                  <a:cubicBezTo>
                    <a:pt x="38448" y="21454"/>
                    <a:pt x="32783" y="15789"/>
                    <a:pt x="27119" y="15789"/>
                  </a:cubicBezTo>
                  <a:cubicBezTo>
                    <a:pt x="21454" y="15789"/>
                    <a:pt x="15789" y="21454"/>
                    <a:pt x="15789" y="27118"/>
                  </a:cubicBezTo>
                  <a:cubicBezTo>
                    <a:pt x="15789" y="32783"/>
                    <a:pt x="21454"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2" name="Freeform: Shape 2351">
              <a:extLst>
                <a:ext uri="{FF2B5EF4-FFF2-40B4-BE49-F238E27FC236}">
                  <a16:creationId xmlns:a16="http://schemas.microsoft.com/office/drawing/2014/main" id="{E45C4FAF-FEB7-4E2F-95CC-50419CEDCE03}"/>
                </a:ext>
              </a:extLst>
            </p:cNvPr>
            <p:cNvSpPr/>
            <p:nvPr/>
          </p:nvSpPr>
          <p:spPr>
            <a:xfrm>
              <a:off x="1838718" y="1215283"/>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3" name="Freeform: Shape 2352">
              <a:extLst>
                <a:ext uri="{FF2B5EF4-FFF2-40B4-BE49-F238E27FC236}">
                  <a16:creationId xmlns:a16="http://schemas.microsoft.com/office/drawing/2014/main" id="{CE21C2A3-1196-4CE4-A0CB-6FCC6393E858}"/>
                </a:ext>
              </a:extLst>
            </p:cNvPr>
            <p:cNvSpPr/>
            <p:nvPr/>
          </p:nvSpPr>
          <p:spPr>
            <a:xfrm>
              <a:off x="2134483" y="1242190"/>
              <a:ext cx="42486" cy="42486"/>
            </a:xfrm>
            <a:custGeom>
              <a:avLst/>
              <a:gdLst>
                <a:gd name="connsiteX0" fmla="*/ 27337 w 42485"/>
                <a:gd name="connsiteY0" fmla="*/ 39864 h 42485"/>
                <a:gd name="connsiteX1" fmla="*/ 38667 w 42485"/>
                <a:gd name="connsiteY1" fmla="*/ 27119 h 42485"/>
                <a:gd name="connsiteX2" fmla="*/ 27337 w 42485"/>
                <a:gd name="connsiteY2" fmla="*/ 15789 h 42485"/>
                <a:gd name="connsiteX3" fmla="*/ 16007 w 42485"/>
                <a:gd name="connsiteY3" fmla="*/ 27119 h 42485"/>
                <a:gd name="connsiteX4" fmla="*/ 27337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9864"/>
                  </a:moveTo>
                  <a:cubicBezTo>
                    <a:pt x="34418" y="39864"/>
                    <a:pt x="38667" y="34200"/>
                    <a:pt x="38667" y="27119"/>
                  </a:cubicBezTo>
                  <a:cubicBezTo>
                    <a:pt x="38667" y="20038"/>
                    <a:pt x="33002" y="15789"/>
                    <a:pt x="27337" y="15789"/>
                  </a:cubicBezTo>
                  <a:cubicBezTo>
                    <a:pt x="21672" y="15789"/>
                    <a:pt x="16007" y="21454"/>
                    <a:pt x="16007" y="27119"/>
                  </a:cubicBezTo>
                  <a:cubicBezTo>
                    <a:pt x="14591" y="34200"/>
                    <a:pt x="20256" y="39864"/>
                    <a:pt x="27337"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4" name="Freeform: Shape 2353">
              <a:extLst>
                <a:ext uri="{FF2B5EF4-FFF2-40B4-BE49-F238E27FC236}">
                  <a16:creationId xmlns:a16="http://schemas.microsoft.com/office/drawing/2014/main" id="{76206B44-E3C5-4E7E-908D-A6B73DC08A4F}"/>
                </a:ext>
              </a:extLst>
            </p:cNvPr>
            <p:cNvSpPr/>
            <p:nvPr/>
          </p:nvSpPr>
          <p:spPr>
            <a:xfrm>
              <a:off x="2631785" y="1185543"/>
              <a:ext cx="42486" cy="42486"/>
            </a:xfrm>
            <a:custGeom>
              <a:avLst/>
              <a:gdLst>
                <a:gd name="connsiteX0" fmla="*/ 27119 w 42485"/>
                <a:gd name="connsiteY0" fmla="*/ 39864 h 42485"/>
                <a:gd name="connsiteX1" fmla="*/ 38448 w 42485"/>
                <a:gd name="connsiteY1" fmla="*/ 28535 h 42485"/>
                <a:gd name="connsiteX2" fmla="*/ 27119 w 42485"/>
                <a:gd name="connsiteY2" fmla="*/ 15789 h 42485"/>
                <a:gd name="connsiteX3" fmla="*/ 15789 w 42485"/>
                <a:gd name="connsiteY3" fmla="*/ 28535 h 42485"/>
                <a:gd name="connsiteX4" fmla="*/ 27119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9864"/>
                  </a:moveTo>
                  <a:cubicBezTo>
                    <a:pt x="34200" y="39864"/>
                    <a:pt x="38448" y="34199"/>
                    <a:pt x="38448" y="28535"/>
                  </a:cubicBezTo>
                  <a:cubicBezTo>
                    <a:pt x="38448" y="22870"/>
                    <a:pt x="32783" y="15789"/>
                    <a:pt x="27119" y="15789"/>
                  </a:cubicBezTo>
                  <a:cubicBezTo>
                    <a:pt x="20038" y="15789"/>
                    <a:pt x="15789" y="21454"/>
                    <a:pt x="15789" y="28535"/>
                  </a:cubicBezTo>
                  <a:cubicBezTo>
                    <a:pt x="15789" y="35616"/>
                    <a:pt x="20038" y="39864"/>
                    <a:pt x="27119"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5" name="Freeform: Shape 2354">
              <a:extLst>
                <a:ext uri="{FF2B5EF4-FFF2-40B4-BE49-F238E27FC236}">
                  <a16:creationId xmlns:a16="http://schemas.microsoft.com/office/drawing/2014/main" id="{A177C2EF-3EA8-4E11-9128-C19841787A1A}"/>
                </a:ext>
              </a:extLst>
            </p:cNvPr>
            <p:cNvSpPr/>
            <p:nvPr/>
          </p:nvSpPr>
          <p:spPr>
            <a:xfrm>
              <a:off x="2631785" y="651639"/>
              <a:ext cx="42486" cy="42486"/>
            </a:xfrm>
            <a:custGeom>
              <a:avLst/>
              <a:gdLst>
                <a:gd name="connsiteX0" fmla="*/ 28535 w 42485"/>
                <a:gd name="connsiteY0" fmla="*/ 38448 h 42485"/>
                <a:gd name="connsiteX1" fmla="*/ 39864 w 42485"/>
                <a:gd name="connsiteY1" fmla="*/ 27119 h 42485"/>
                <a:gd name="connsiteX2" fmla="*/ 28535 w 42485"/>
                <a:gd name="connsiteY2" fmla="*/ 15789 h 42485"/>
                <a:gd name="connsiteX3" fmla="*/ 15789 w 42485"/>
                <a:gd name="connsiteY3" fmla="*/ 27119 h 42485"/>
                <a:gd name="connsiteX4" fmla="*/ 28535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8535" y="38448"/>
                  </a:moveTo>
                  <a:cubicBezTo>
                    <a:pt x="35616" y="38448"/>
                    <a:pt x="39864" y="32783"/>
                    <a:pt x="39864" y="27119"/>
                  </a:cubicBezTo>
                  <a:cubicBezTo>
                    <a:pt x="39864" y="20038"/>
                    <a:pt x="34200" y="15789"/>
                    <a:pt x="28535" y="15789"/>
                  </a:cubicBezTo>
                  <a:cubicBezTo>
                    <a:pt x="21454" y="15789"/>
                    <a:pt x="15789" y="21454"/>
                    <a:pt x="15789" y="27119"/>
                  </a:cubicBezTo>
                  <a:cubicBezTo>
                    <a:pt x="17205" y="34199"/>
                    <a:pt x="22870" y="38448"/>
                    <a:pt x="28535"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6" name="Freeform: Shape 2355">
              <a:extLst>
                <a:ext uri="{FF2B5EF4-FFF2-40B4-BE49-F238E27FC236}">
                  <a16:creationId xmlns:a16="http://schemas.microsoft.com/office/drawing/2014/main" id="{7D536004-FF5A-4FF4-BF98-61DCD1619864}"/>
                </a:ext>
              </a:extLst>
            </p:cNvPr>
            <p:cNvSpPr/>
            <p:nvPr/>
          </p:nvSpPr>
          <p:spPr>
            <a:xfrm>
              <a:off x="2082028" y="779096"/>
              <a:ext cx="42486" cy="42486"/>
            </a:xfrm>
            <a:custGeom>
              <a:avLst/>
              <a:gdLst>
                <a:gd name="connsiteX0" fmla="*/ 24561 w 42485"/>
                <a:gd name="connsiteY0" fmla="*/ 32783 h 42485"/>
                <a:gd name="connsiteX1" fmla="*/ 33058 w 42485"/>
                <a:gd name="connsiteY1" fmla="*/ 24286 h 42485"/>
                <a:gd name="connsiteX2" fmla="*/ 24561 w 42485"/>
                <a:gd name="connsiteY2" fmla="*/ 15789 h 42485"/>
                <a:gd name="connsiteX3" fmla="*/ 16063 w 42485"/>
                <a:gd name="connsiteY3" fmla="*/ 24286 h 42485"/>
                <a:gd name="connsiteX4" fmla="*/ 24561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1" y="32783"/>
                  </a:moveTo>
                  <a:cubicBezTo>
                    <a:pt x="28809" y="32783"/>
                    <a:pt x="33058" y="28535"/>
                    <a:pt x="33058" y="24286"/>
                  </a:cubicBezTo>
                  <a:cubicBezTo>
                    <a:pt x="33058" y="20038"/>
                    <a:pt x="28809" y="15789"/>
                    <a:pt x="24561" y="15789"/>
                  </a:cubicBezTo>
                  <a:cubicBezTo>
                    <a:pt x="20312" y="15789"/>
                    <a:pt x="16063" y="20038"/>
                    <a:pt x="16063" y="24286"/>
                  </a:cubicBezTo>
                  <a:cubicBezTo>
                    <a:pt x="14647" y="28535"/>
                    <a:pt x="18896" y="32783"/>
                    <a:pt x="24561"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7" name="Freeform: Shape 2356">
              <a:extLst>
                <a:ext uri="{FF2B5EF4-FFF2-40B4-BE49-F238E27FC236}">
                  <a16:creationId xmlns:a16="http://schemas.microsoft.com/office/drawing/2014/main" id="{2E743CC0-338A-42CE-AB74-3F0256AB3B98}"/>
                </a:ext>
              </a:extLst>
            </p:cNvPr>
            <p:cNvSpPr/>
            <p:nvPr/>
          </p:nvSpPr>
          <p:spPr>
            <a:xfrm>
              <a:off x="3049561" y="1460284"/>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8" name="Freeform: Shape 2357">
              <a:extLst>
                <a:ext uri="{FF2B5EF4-FFF2-40B4-BE49-F238E27FC236}">
                  <a16:creationId xmlns:a16="http://schemas.microsoft.com/office/drawing/2014/main" id="{29B38326-7AEB-4806-8BE0-A3E9396B8864}"/>
                </a:ext>
              </a:extLst>
            </p:cNvPr>
            <p:cNvSpPr/>
            <p:nvPr/>
          </p:nvSpPr>
          <p:spPr>
            <a:xfrm>
              <a:off x="2902061" y="1658551"/>
              <a:ext cx="56648" cy="56648"/>
            </a:xfrm>
            <a:custGeom>
              <a:avLst/>
              <a:gdLst>
                <a:gd name="connsiteX0" fmla="*/ 28752 w 56647"/>
                <a:gd name="connsiteY0" fmla="*/ 41280 h 56647"/>
                <a:gd name="connsiteX1" fmla="*/ 41497 w 56647"/>
                <a:gd name="connsiteY1" fmla="*/ 28535 h 56647"/>
                <a:gd name="connsiteX2" fmla="*/ 28752 w 56647"/>
                <a:gd name="connsiteY2" fmla="*/ 15789 h 56647"/>
                <a:gd name="connsiteX3" fmla="*/ 16006 w 56647"/>
                <a:gd name="connsiteY3" fmla="*/ 28535 h 56647"/>
                <a:gd name="connsiteX4" fmla="*/ 28752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752" y="41280"/>
                  </a:moveTo>
                  <a:cubicBezTo>
                    <a:pt x="35833" y="41280"/>
                    <a:pt x="41497" y="35616"/>
                    <a:pt x="41497" y="28535"/>
                  </a:cubicBezTo>
                  <a:cubicBezTo>
                    <a:pt x="41497" y="21454"/>
                    <a:pt x="35833" y="15789"/>
                    <a:pt x="28752" y="15789"/>
                  </a:cubicBezTo>
                  <a:cubicBezTo>
                    <a:pt x="21671" y="15789"/>
                    <a:pt x="16006" y="21454"/>
                    <a:pt x="16006" y="28535"/>
                  </a:cubicBezTo>
                  <a:cubicBezTo>
                    <a:pt x="14590" y="35616"/>
                    <a:pt x="20254" y="41280"/>
                    <a:pt x="28752"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9" name="Freeform: Shape 2358">
              <a:extLst>
                <a:ext uri="{FF2B5EF4-FFF2-40B4-BE49-F238E27FC236}">
                  <a16:creationId xmlns:a16="http://schemas.microsoft.com/office/drawing/2014/main" id="{243B8632-8DDB-43DA-AD82-023D90034557}"/>
                </a:ext>
              </a:extLst>
            </p:cNvPr>
            <p:cNvSpPr/>
            <p:nvPr/>
          </p:nvSpPr>
          <p:spPr>
            <a:xfrm>
              <a:off x="3436182" y="1678377"/>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0" name="Freeform: Shape 2359">
              <a:extLst>
                <a:ext uri="{FF2B5EF4-FFF2-40B4-BE49-F238E27FC236}">
                  <a16:creationId xmlns:a16="http://schemas.microsoft.com/office/drawing/2014/main" id="{9E40B6C6-ECE6-4BBB-9A53-7D57F27F6368}"/>
                </a:ext>
              </a:extLst>
            </p:cNvPr>
            <p:cNvSpPr/>
            <p:nvPr/>
          </p:nvSpPr>
          <p:spPr>
            <a:xfrm>
              <a:off x="3870952" y="1933292"/>
              <a:ext cx="70810" cy="70810"/>
            </a:xfrm>
            <a:custGeom>
              <a:avLst/>
              <a:gdLst>
                <a:gd name="connsiteX0" fmla="*/ 38448 w 70809"/>
                <a:gd name="connsiteY0" fmla="*/ 61107 h 70809"/>
                <a:gd name="connsiteX1" fmla="*/ 61107 w 70809"/>
                <a:gd name="connsiteY1" fmla="*/ 38448 h 70809"/>
                <a:gd name="connsiteX2" fmla="*/ 38448 w 70809"/>
                <a:gd name="connsiteY2" fmla="*/ 15789 h 70809"/>
                <a:gd name="connsiteX3" fmla="*/ 15789 w 70809"/>
                <a:gd name="connsiteY3" fmla="*/ 38448 h 70809"/>
                <a:gd name="connsiteX4" fmla="*/ 3844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8" y="61107"/>
                  </a:moveTo>
                  <a:cubicBezTo>
                    <a:pt x="51194" y="61107"/>
                    <a:pt x="61107" y="51194"/>
                    <a:pt x="61107" y="38448"/>
                  </a:cubicBezTo>
                  <a:cubicBezTo>
                    <a:pt x="61107" y="25702"/>
                    <a:pt x="51194" y="15789"/>
                    <a:pt x="38448" y="15789"/>
                  </a:cubicBezTo>
                  <a:cubicBezTo>
                    <a:pt x="25702" y="15789"/>
                    <a:pt x="15789" y="25702"/>
                    <a:pt x="15789" y="38448"/>
                  </a:cubicBezTo>
                  <a:cubicBezTo>
                    <a:pt x="15789" y="51194"/>
                    <a:pt x="25702" y="61107"/>
                    <a:pt x="38448"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1" name="Freeform: Shape 2360">
              <a:extLst>
                <a:ext uri="{FF2B5EF4-FFF2-40B4-BE49-F238E27FC236}">
                  <a16:creationId xmlns:a16="http://schemas.microsoft.com/office/drawing/2014/main" id="{2E04573D-E96E-42DB-956C-9028B3FD8CAF}"/>
                </a:ext>
              </a:extLst>
            </p:cNvPr>
            <p:cNvSpPr/>
            <p:nvPr/>
          </p:nvSpPr>
          <p:spPr>
            <a:xfrm>
              <a:off x="3400511" y="2072860"/>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9"/>
                  </a:cubicBezTo>
                  <a:cubicBezTo>
                    <a:pt x="38448" y="21454"/>
                    <a:pt x="32783" y="15789"/>
                    <a:pt x="27119" y="15789"/>
                  </a:cubicBezTo>
                  <a:cubicBezTo>
                    <a:pt x="21454" y="15789"/>
                    <a:pt x="15789" y="21454"/>
                    <a:pt x="15789" y="27119"/>
                  </a:cubicBezTo>
                  <a:cubicBezTo>
                    <a:pt x="15789" y="32783"/>
                    <a:pt x="21454"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2" name="Freeform: Shape 2361">
              <a:extLst>
                <a:ext uri="{FF2B5EF4-FFF2-40B4-BE49-F238E27FC236}">
                  <a16:creationId xmlns:a16="http://schemas.microsoft.com/office/drawing/2014/main" id="{4873BA0F-DB09-455F-AA73-5BA8180B430A}"/>
                </a:ext>
              </a:extLst>
            </p:cNvPr>
            <p:cNvSpPr/>
            <p:nvPr/>
          </p:nvSpPr>
          <p:spPr>
            <a:xfrm>
              <a:off x="3688166" y="1798753"/>
              <a:ext cx="84971" cy="84971"/>
            </a:xfrm>
            <a:custGeom>
              <a:avLst/>
              <a:gdLst>
                <a:gd name="connsiteX0" fmla="*/ 44211 w 84971"/>
                <a:gd name="connsiteY0" fmla="*/ 72437 h 84971"/>
                <a:gd name="connsiteX1" fmla="*/ 72535 w 84971"/>
                <a:gd name="connsiteY1" fmla="*/ 44113 h 84971"/>
                <a:gd name="connsiteX2" fmla="*/ 44211 w 84971"/>
                <a:gd name="connsiteY2" fmla="*/ 15789 h 84971"/>
                <a:gd name="connsiteX3" fmla="*/ 15887 w 84971"/>
                <a:gd name="connsiteY3" fmla="*/ 44113 h 84971"/>
                <a:gd name="connsiteX4" fmla="*/ 44211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211" y="72437"/>
                  </a:moveTo>
                  <a:cubicBezTo>
                    <a:pt x="59789" y="72437"/>
                    <a:pt x="72535" y="59691"/>
                    <a:pt x="72535" y="44113"/>
                  </a:cubicBezTo>
                  <a:cubicBezTo>
                    <a:pt x="72535" y="28535"/>
                    <a:pt x="59789" y="15789"/>
                    <a:pt x="44211" y="15789"/>
                  </a:cubicBezTo>
                  <a:cubicBezTo>
                    <a:pt x="28633" y="15789"/>
                    <a:pt x="15887" y="28535"/>
                    <a:pt x="15887" y="44113"/>
                  </a:cubicBezTo>
                  <a:cubicBezTo>
                    <a:pt x="14471" y="59691"/>
                    <a:pt x="28633" y="72437"/>
                    <a:pt x="44211"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3" name="Freeform: Shape 2362">
              <a:extLst>
                <a:ext uri="{FF2B5EF4-FFF2-40B4-BE49-F238E27FC236}">
                  <a16:creationId xmlns:a16="http://schemas.microsoft.com/office/drawing/2014/main" id="{2FB85148-C922-4930-8380-792D067C8920}"/>
                </a:ext>
              </a:extLst>
            </p:cNvPr>
            <p:cNvSpPr/>
            <p:nvPr/>
          </p:nvSpPr>
          <p:spPr>
            <a:xfrm>
              <a:off x="2951844" y="1250688"/>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8275"/>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4" name="Freeform: Shape 2363">
              <a:extLst>
                <a:ext uri="{FF2B5EF4-FFF2-40B4-BE49-F238E27FC236}">
                  <a16:creationId xmlns:a16="http://schemas.microsoft.com/office/drawing/2014/main" id="{8C566975-6026-4B06-9F5F-31420F50B77F}"/>
                </a:ext>
              </a:extLst>
            </p:cNvPr>
            <p:cNvSpPr/>
            <p:nvPr/>
          </p:nvSpPr>
          <p:spPr>
            <a:xfrm>
              <a:off x="2536900" y="1297422"/>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1454"/>
                    <a:pt x="37032" y="15789"/>
                    <a:pt x="29951" y="15789"/>
                  </a:cubicBezTo>
                  <a:cubicBezTo>
                    <a:pt x="21454" y="15789"/>
                    <a:pt x="15789" y="22870"/>
                    <a:pt x="15789" y="29951"/>
                  </a:cubicBezTo>
                  <a:cubicBezTo>
                    <a:pt x="15789" y="38448"/>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5" name="Freeform: Shape 2364">
              <a:extLst>
                <a:ext uri="{FF2B5EF4-FFF2-40B4-BE49-F238E27FC236}">
                  <a16:creationId xmlns:a16="http://schemas.microsoft.com/office/drawing/2014/main" id="{7036F36D-E8F9-4972-98D6-C4AF81095AF8}"/>
                </a:ext>
              </a:extLst>
            </p:cNvPr>
            <p:cNvSpPr/>
            <p:nvPr/>
          </p:nvSpPr>
          <p:spPr>
            <a:xfrm>
              <a:off x="2500079" y="1049589"/>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2870"/>
                    <a:pt x="37032" y="15789"/>
                    <a:pt x="29951" y="15789"/>
                  </a:cubicBezTo>
                  <a:cubicBezTo>
                    <a:pt x="21454" y="15789"/>
                    <a:pt x="15789" y="22870"/>
                    <a:pt x="15789" y="29951"/>
                  </a:cubicBezTo>
                  <a:cubicBezTo>
                    <a:pt x="15789" y="37032"/>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6" name="Freeform: Shape 2365">
              <a:extLst>
                <a:ext uri="{FF2B5EF4-FFF2-40B4-BE49-F238E27FC236}">
                  <a16:creationId xmlns:a16="http://schemas.microsoft.com/office/drawing/2014/main" id="{B6D6F538-770A-4ABA-85B7-B3DC752C71DA}"/>
                </a:ext>
              </a:extLst>
            </p:cNvPr>
            <p:cNvSpPr/>
            <p:nvPr/>
          </p:nvSpPr>
          <p:spPr>
            <a:xfrm>
              <a:off x="1685769" y="161464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5789" y="41280"/>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7" name="Freeform: Shape 2366">
              <a:extLst>
                <a:ext uri="{FF2B5EF4-FFF2-40B4-BE49-F238E27FC236}">
                  <a16:creationId xmlns:a16="http://schemas.microsoft.com/office/drawing/2014/main" id="{B43651F6-4696-4C99-9A25-4481D8BD0A36}"/>
                </a:ext>
              </a:extLst>
            </p:cNvPr>
            <p:cNvSpPr/>
            <p:nvPr/>
          </p:nvSpPr>
          <p:spPr>
            <a:xfrm>
              <a:off x="1691434" y="1664215"/>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2" y="15789"/>
                    <a:pt x="15789" y="25702"/>
                    <a:pt x="15789" y="37032"/>
                  </a:cubicBezTo>
                  <a:cubicBezTo>
                    <a:pt x="17205" y="48361"/>
                    <a:pt x="25702"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8" name="Freeform: Shape 2367">
              <a:extLst>
                <a:ext uri="{FF2B5EF4-FFF2-40B4-BE49-F238E27FC236}">
                  <a16:creationId xmlns:a16="http://schemas.microsoft.com/office/drawing/2014/main" id="{48A1A59F-F957-4AB1-9DBB-4E5E81132936}"/>
                </a:ext>
              </a:extLst>
            </p:cNvPr>
            <p:cNvSpPr/>
            <p:nvPr/>
          </p:nvSpPr>
          <p:spPr>
            <a:xfrm>
              <a:off x="1643283" y="1399388"/>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5789" y="71020"/>
                    <a:pt x="31367"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9" name="Freeform: Shape 2368">
              <a:extLst>
                <a:ext uri="{FF2B5EF4-FFF2-40B4-BE49-F238E27FC236}">
                  <a16:creationId xmlns:a16="http://schemas.microsoft.com/office/drawing/2014/main" id="{ABBEFF95-C975-4415-8871-DD31CFFE5C9A}"/>
                </a:ext>
              </a:extLst>
            </p:cNvPr>
            <p:cNvSpPr/>
            <p:nvPr/>
          </p:nvSpPr>
          <p:spPr>
            <a:xfrm>
              <a:off x="1925399" y="1962663"/>
              <a:ext cx="84971" cy="84971"/>
            </a:xfrm>
            <a:custGeom>
              <a:avLst/>
              <a:gdLst>
                <a:gd name="connsiteX0" fmla="*/ 42697 w 84971"/>
                <a:gd name="connsiteY0" fmla="*/ 69604 h 84971"/>
                <a:gd name="connsiteX1" fmla="*/ 69604 w 84971"/>
                <a:gd name="connsiteY1" fmla="*/ 42697 h 84971"/>
                <a:gd name="connsiteX2" fmla="*/ 42697 w 84971"/>
                <a:gd name="connsiteY2" fmla="*/ 15789 h 84971"/>
                <a:gd name="connsiteX3" fmla="*/ 15789 w 84971"/>
                <a:gd name="connsiteY3" fmla="*/ 42697 h 84971"/>
                <a:gd name="connsiteX4" fmla="*/ 42697 w 84971"/>
                <a:gd name="connsiteY4" fmla="*/ 6960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7" y="69604"/>
                  </a:moveTo>
                  <a:cubicBezTo>
                    <a:pt x="56859" y="69604"/>
                    <a:pt x="69604" y="56859"/>
                    <a:pt x="69604" y="42697"/>
                  </a:cubicBezTo>
                  <a:cubicBezTo>
                    <a:pt x="69604" y="28535"/>
                    <a:pt x="56859" y="15789"/>
                    <a:pt x="42697" y="15789"/>
                  </a:cubicBezTo>
                  <a:cubicBezTo>
                    <a:pt x="28535" y="15789"/>
                    <a:pt x="15789" y="28535"/>
                    <a:pt x="15789" y="42697"/>
                  </a:cubicBezTo>
                  <a:cubicBezTo>
                    <a:pt x="15789" y="56859"/>
                    <a:pt x="27119" y="69604"/>
                    <a:pt x="42697" y="6960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0" name="Freeform: Shape 2369">
              <a:extLst>
                <a:ext uri="{FF2B5EF4-FFF2-40B4-BE49-F238E27FC236}">
                  <a16:creationId xmlns:a16="http://schemas.microsoft.com/office/drawing/2014/main" id="{2DEB11F4-34F9-4CC7-8E79-93830F54E59A}"/>
                </a:ext>
              </a:extLst>
            </p:cNvPr>
            <p:cNvSpPr/>
            <p:nvPr/>
          </p:nvSpPr>
          <p:spPr>
            <a:xfrm>
              <a:off x="3160171" y="1973764"/>
              <a:ext cx="56648" cy="56648"/>
            </a:xfrm>
            <a:custGeom>
              <a:avLst/>
              <a:gdLst>
                <a:gd name="connsiteX0" fmla="*/ 29951 w 56647"/>
                <a:gd name="connsiteY0" fmla="*/ 42697 h 56647"/>
                <a:gd name="connsiteX1" fmla="*/ 42697 w 56647"/>
                <a:gd name="connsiteY1" fmla="*/ 29951 h 56647"/>
                <a:gd name="connsiteX2" fmla="*/ 29951 w 56647"/>
                <a:gd name="connsiteY2" fmla="*/ 15789 h 56647"/>
                <a:gd name="connsiteX3" fmla="*/ 15789 w 56647"/>
                <a:gd name="connsiteY3" fmla="*/ 29951 h 56647"/>
                <a:gd name="connsiteX4" fmla="*/ 29951 w 56647"/>
                <a:gd name="connsiteY4" fmla="*/ 4269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2697"/>
                  </a:moveTo>
                  <a:cubicBezTo>
                    <a:pt x="37032" y="42697"/>
                    <a:pt x="42697" y="37032"/>
                    <a:pt x="42697" y="29951"/>
                  </a:cubicBezTo>
                  <a:cubicBezTo>
                    <a:pt x="42697" y="22870"/>
                    <a:pt x="37032" y="15789"/>
                    <a:pt x="29951" y="15789"/>
                  </a:cubicBezTo>
                  <a:cubicBezTo>
                    <a:pt x="22870" y="15789"/>
                    <a:pt x="15789" y="21454"/>
                    <a:pt x="15789" y="29951"/>
                  </a:cubicBezTo>
                  <a:cubicBezTo>
                    <a:pt x="15789" y="37032"/>
                    <a:pt x="22870" y="42697"/>
                    <a:pt x="29951" y="4269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1" name="Freeform: Shape 2370">
              <a:extLst>
                <a:ext uri="{FF2B5EF4-FFF2-40B4-BE49-F238E27FC236}">
                  <a16:creationId xmlns:a16="http://schemas.microsoft.com/office/drawing/2014/main" id="{3729B7E0-0D16-4817-AA69-3F0E569E2DCF}"/>
                </a:ext>
              </a:extLst>
            </p:cNvPr>
            <p:cNvSpPr/>
            <p:nvPr/>
          </p:nvSpPr>
          <p:spPr>
            <a:xfrm>
              <a:off x="3034575" y="1878842"/>
              <a:ext cx="42486" cy="42486"/>
            </a:xfrm>
            <a:custGeom>
              <a:avLst/>
              <a:gdLst>
                <a:gd name="connsiteX0" fmla="*/ 27118 w 42485"/>
                <a:gd name="connsiteY0" fmla="*/ 39864 h 42485"/>
                <a:gd name="connsiteX1" fmla="*/ 38448 w 42485"/>
                <a:gd name="connsiteY1" fmla="*/ 28535 h 42485"/>
                <a:gd name="connsiteX2" fmla="*/ 27118 w 42485"/>
                <a:gd name="connsiteY2" fmla="*/ 15789 h 42485"/>
                <a:gd name="connsiteX3" fmla="*/ 15789 w 42485"/>
                <a:gd name="connsiteY3" fmla="*/ 28535 h 42485"/>
                <a:gd name="connsiteX4" fmla="*/ 27118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9864"/>
                  </a:moveTo>
                  <a:cubicBezTo>
                    <a:pt x="34199" y="39864"/>
                    <a:pt x="38448" y="34199"/>
                    <a:pt x="38448" y="28535"/>
                  </a:cubicBezTo>
                  <a:cubicBezTo>
                    <a:pt x="38448" y="22870"/>
                    <a:pt x="32783" y="15789"/>
                    <a:pt x="27118" y="15789"/>
                  </a:cubicBezTo>
                  <a:cubicBezTo>
                    <a:pt x="20037" y="15789"/>
                    <a:pt x="15789" y="21454"/>
                    <a:pt x="15789" y="28535"/>
                  </a:cubicBezTo>
                  <a:cubicBezTo>
                    <a:pt x="15789" y="35616"/>
                    <a:pt x="20037" y="39864"/>
                    <a:pt x="27118"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2" name="Freeform: Shape 2371">
              <a:extLst>
                <a:ext uri="{FF2B5EF4-FFF2-40B4-BE49-F238E27FC236}">
                  <a16:creationId xmlns:a16="http://schemas.microsoft.com/office/drawing/2014/main" id="{5DE56250-ABF0-4A28-AF94-169057551002}"/>
                </a:ext>
              </a:extLst>
            </p:cNvPr>
            <p:cNvSpPr/>
            <p:nvPr/>
          </p:nvSpPr>
          <p:spPr>
            <a:xfrm>
              <a:off x="3470241" y="1907426"/>
              <a:ext cx="42486" cy="42486"/>
            </a:xfrm>
            <a:custGeom>
              <a:avLst/>
              <a:gdLst>
                <a:gd name="connsiteX0" fmla="*/ 27118 w 42485"/>
                <a:gd name="connsiteY0" fmla="*/ 38448 h 42485"/>
                <a:gd name="connsiteX1" fmla="*/ 39864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4199" y="38448"/>
                    <a:pt x="39864" y="32783"/>
                    <a:pt x="39864" y="27119"/>
                  </a:cubicBezTo>
                  <a:cubicBezTo>
                    <a:pt x="39864" y="21454"/>
                    <a:pt x="34199" y="15789"/>
                    <a:pt x="27118" y="15789"/>
                  </a:cubicBezTo>
                  <a:cubicBezTo>
                    <a:pt x="20037" y="15789"/>
                    <a:pt x="15789" y="21454"/>
                    <a:pt x="15789" y="27119"/>
                  </a:cubicBezTo>
                  <a:cubicBezTo>
                    <a:pt x="15789" y="32783"/>
                    <a:pt x="21454"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3" name="Freeform: Shape 2372">
              <a:extLst>
                <a:ext uri="{FF2B5EF4-FFF2-40B4-BE49-F238E27FC236}">
                  <a16:creationId xmlns:a16="http://schemas.microsoft.com/office/drawing/2014/main" id="{4AF4F77E-1158-4E97-93FF-8AAF7F2B0AE3}"/>
                </a:ext>
              </a:extLst>
            </p:cNvPr>
            <p:cNvSpPr/>
            <p:nvPr/>
          </p:nvSpPr>
          <p:spPr>
            <a:xfrm>
              <a:off x="3742524" y="2426273"/>
              <a:ext cx="42486" cy="42486"/>
            </a:xfrm>
            <a:custGeom>
              <a:avLst/>
              <a:gdLst>
                <a:gd name="connsiteX0" fmla="*/ 27119 w 42485"/>
                <a:gd name="connsiteY0" fmla="*/ 39864 h 42485"/>
                <a:gd name="connsiteX1" fmla="*/ 38448 w 42485"/>
                <a:gd name="connsiteY1" fmla="*/ 27118 h 42485"/>
                <a:gd name="connsiteX2" fmla="*/ 27119 w 42485"/>
                <a:gd name="connsiteY2" fmla="*/ 15789 h 42485"/>
                <a:gd name="connsiteX3" fmla="*/ 15789 w 42485"/>
                <a:gd name="connsiteY3" fmla="*/ 27118 h 42485"/>
                <a:gd name="connsiteX4" fmla="*/ 27119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9864"/>
                  </a:moveTo>
                  <a:cubicBezTo>
                    <a:pt x="34200" y="39864"/>
                    <a:pt x="38448" y="34199"/>
                    <a:pt x="38448" y="27118"/>
                  </a:cubicBezTo>
                  <a:cubicBezTo>
                    <a:pt x="38448" y="20037"/>
                    <a:pt x="32783" y="15789"/>
                    <a:pt x="27119" y="15789"/>
                  </a:cubicBezTo>
                  <a:cubicBezTo>
                    <a:pt x="20038" y="15789"/>
                    <a:pt x="15789" y="21454"/>
                    <a:pt x="15789" y="27118"/>
                  </a:cubicBezTo>
                  <a:cubicBezTo>
                    <a:pt x="15789" y="34199"/>
                    <a:pt x="20038" y="39864"/>
                    <a:pt x="27119"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4" name="Freeform: Shape 2373">
              <a:extLst>
                <a:ext uri="{FF2B5EF4-FFF2-40B4-BE49-F238E27FC236}">
                  <a16:creationId xmlns:a16="http://schemas.microsoft.com/office/drawing/2014/main" id="{AC22C31B-4B09-4405-9EFD-CA53099967E0}"/>
                </a:ext>
              </a:extLst>
            </p:cNvPr>
            <p:cNvSpPr/>
            <p:nvPr/>
          </p:nvSpPr>
          <p:spPr>
            <a:xfrm>
              <a:off x="3535097" y="2571994"/>
              <a:ext cx="42486" cy="42486"/>
            </a:xfrm>
            <a:custGeom>
              <a:avLst/>
              <a:gdLst>
                <a:gd name="connsiteX0" fmla="*/ 27337 w 42485"/>
                <a:gd name="connsiteY0" fmla="*/ 39864 h 42485"/>
                <a:gd name="connsiteX1" fmla="*/ 38666 w 42485"/>
                <a:gd name="connsiteY1" fmla="*/ 27118 h 42485"/>
                <a:gd name="connsiteX2" fmla="*/ 27337 w 42485"/>
                <a:gd name="connsiteY2" fmla="*/ 15789 h 42485"/>
                <a:gd name="connsiteX3" fmla="*/ 16007 w 42485"/>
                <a:gd name="connsiteY3" fmla="*/ 27118 h 42485"/>
                <a:gd name="connsiteX4" fmla="*/ 27337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9864"/>
                  </a:moveTo>
                  <a:cubicBezTo>
                    <a:pt x="34418" y="39864"/>
                    <a:pt x="38666" y="34199"/>
                    <a:pt x="38666" y="27118"/>
                  </a:cubicBezTo>
                  <a:cubicBezTo>
                    <a:pt x="38666" y="20037"/>
                    <a:pt x="33002" y="15789"/>
                    <a:pt x="27337" y="15789"/>
                  </a:cubicBezTo>
                  <a:cubicBezTo>
                    <a:pt x="20256" y="15789"/>
                    <a:pt x="16007" y="21454"/>
                    <a:pt x="16007" y="27118"/>
                  </a:cubicBezTo>
                  <a:cubicBezTo>
                    <a:pt x="14591" y="34199"/>
                    <a:pt x="20256" y="39864"/>
                    <a:pt x="27337"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5" name="Freeform: Shape 2374">
              <a:extLst>
                <a:ext uri="{FF2B5EF4-FFF2-40B4-BE49-F238E27FC236}">
                  <a16:creationId xmlns:a16="http://schemas.microsoft.com/office/drawing/2014/main" id="{4B885425-071B-459B-BA54-FA8E576D39CE}"/>
                </a:ext>
              </a:extLst>
            </p:cNvPr>
            <p:cNvSpPr/>
            <p:nvPr/>
          </p:nvSpPr>
          <p:spPr>
            <a:xfrm>
              <a:off x="3555142" y="2368062"/>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6" name="Freeform: Shape 2375">
              <a:extLst>
                <a:ext uri="{FF2B5EF4-FFF2-40B4-BE49-F238E27FC236}">
                  <a16:creationId xmlns:a16="http://schemas.microsoft.com/office/drawing/2014/main" id="{357C52B8-E2F6-4B74-80A8-3F45C653AC80}"/>
                </a:ext>
              </a:extLst>
            </p:cNvPr>
            <p:cNvSpPr/>
            <p:nvPr/>
          </p:nvSpPr>
          <p:spPr>
            <a:xfrm>
              <a:off x="3518543" y="2348382"/>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1454"/>
                    <a:pt x="37032" y="15789"/>
                    <a:pt x="29951" y="15789"/>
                  </a:cubicBezTo>
                  <a:cubicBezTo>
                    <a:pt x="21454" y="15789"/>
                    <a:pt x="15789" y="22870"/>
                    <a:pt x="15789" y="29951"/>
                  </a:cubicBezTo>
                  <a:cubicBezTo>
                    <a:pt x="15789" y="37032"/>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7" name="Freeform: Shape 2376">
              <a:extLst>
                <a:ext uri="{FF2B5EF4-FFF2-40B4-BE49-F238E27FC236}">
                  <a16:creationId xmlns:a16="http://schemas.microsoft.com/office/drawing/2014/main" id="{A8C14E57-A790-4435-BB91-6544BFC04487}"/>
                </a:ext>
              </a:extLst>
            </p:cNvPr>
            <p:cNvSpPr/>
            <p:nvPr/>
          </p:nvSpPr>
          <p:spPr>
            <a:xfrm>
              <a:off x="3182531" y="2256011"/>
              <a:ext cx="56648" cy="56648"/>
            </a:xfrm>
            <a:custGeom>
              <a:avLst/>
              <a:gdLst>
                <a:gd name="connsiteX0" fmla="*/ 30132 w 56647"/>
                <a:gd name="connsiteY0" fmla="*/ 44113 h 56647"/>
                <a:gd name="connsiteX1" fmla="*/ 44294 w 56647"/>
                <a:gd name="connsiteY1" fmla="*/ 29951 h 56647"/>
                <a:gd name="connsiteX2" fmla="*/ 30132 w 56647"/>
                <a:gd name="connsiteY2" fmla="*/ 15789 h 56647"/>
                <a:gd name="connsiteX3" fmla="*/ 15970 w 56647"/>
                <a:gd name="connsiteY3" fmla="*/ 29951 h 56647"/>
                <a:gd name="connsiteX4" fmla="*/ 30132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0132" y="44113"/>
                  </a:moveTo>
                  <a:cubicBezTo>
                    <a:pt x="38629" y="44113"/>
                    <a:pt x="44294" y="37032"/>
                    <a:pt x="44294" y="29951"/>
                  </a:cubicBezTo>
                  <a:cubicBezTo>
                    <a:pt x="44294" y="21454"/>
                    <a:pt x="37213" y="15789"/>
                    <a:pt x="30132" y="15789"/>
                  </a:cubicBezTo>
                  <a:cubicBezTo>
                    <a:pt x="21635" y="15789"/>
                    <a:pt x="15970" y="22870"/>
                    <a:pt x="15970" y="29951"/>
                  </a:cubicBezTo>
                  <a:cubicBezTo>
                    <a:pt x="14554" y="38448"/>
                    <a:pt x="21635" y="44113"/>
                    <a:pt x="30132"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8" name="Freeform: Shape 2377">
              <a:extLst>
                <a:ext uri="{FF2B5EF4-FFF2-40B4-BE49-F238E27FC236}">
                  <a16:creationId xmlns:a16="http://schemas.microsoft.com/office/drawing/2014/main" id="{9187CB59-02C9-4C00-936D-60170BFF5561}"/>
                </a:ext>
              </a:extLst>
            </p:cNvPr>
            <p:cNvSpPr/>
            <p:nvPr/>
          </p:nvSpPr>
          <p:spPr>
            <a:xfrm>
              <a:off x="2851439" y="2252349"/>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1454"/>
                    <a:pt x="37032" y="15789"/>
                    <a:pt x="29951" y="15789"/>
                  </a:cubicBezTo>
                  <a:cubicBezTo>
                    <a:pt x="21454" y="15789"/>
                    <a:pt x="15789" y="22870"/>
                    <a:pt x="15789" y="29951"/>
                  </a:cubicBezTo>
                  <a:cubicBezTo>
                    <a:pt x="15789" y="37032"/>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9" name="Freeform: Shape 2378">
              <a:extLst>
                <a:ext uri="{FF2B5EF4-FFF2-40B4-BE49-F238E27FC236}">
                  <a16:creationId xmlns:a16="http://schemas.microsoft.com/office/drawing/2014/main" id="{4EE54A00-FCA9-4EA6-9AE2-808334FAFF8D}"/>
                </a:ext>
              </a:extLst>
            </p:cNvPr>
            <p:cNvSpPr/>
            <p:nvPr/>
          </p:nvSpPr>
          <p:spPr>
            <a:xfrm>
              <a:off x="3682599" y="2206616"/>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0" name="Freeform: Shape 2379">
              <a:extLst>
                <a:ext uri="{FF2B5EF4-FFF2-40B4-BE49-F238E27FC236}">
                  <a16:creationId xmlns:a16="http://schemas.microsoft.com/office/drawing/2014/main" id="{65B1343E-2BCD-4368-8AEB-BE8D1CC49725}"/>
                </a:ext>
              </a:extLst>
            </p:cNvPr>
            <p:cNvSpPr/>
            <p:nvPr/>
          </p:nvSpPr>
          <p:spPr>
            <a:xfrm>
              <a:off x="3652641" y="2038090"/>
              <a:ext cx="42486" cy="42486"/>
            </a:xfrm>
            <a:custGeom>
              <a:avLst/>
              <a:gdLst>
                <a:gd name="connsiteX0" fmla="*/ 27337 w 42485"/>
                <a:gd name="connsiteY0" fmla="*/ 38448 h 42485"/>
                <a:gd name="connsiteX1" fmla="*/ 40083 w 42485"/>
                <a:gd name="connsiteY1" fmla="*/ 27118 h 42485"/>
                <a:gd name="connsiteX2" fmla="*/ 27337 w 42485"/>
                <a:gd name="connsiteY2" fmla="*/ 15789 h 42485"/>
                <a:gd name="connsiteX3" fmla="*/ 16007 w 42485"/>
                <a:gd name="connsiteY3" fmla="*/ 27118 h 42485"/>
                <a:gd name="connsiteX4" fmla="*/ 27337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8448"/>
                  </a:moveTo>
                  <a:cubicBezTo>
                    <a:pt x="34418" y="38448"/>
                    <a:pt x="40083" y="32783"/>
                    <a:pt x="40083" y="27118"/>
                  </a:cubicBezTo>
                  <a:cubicBezTo>
                    <a:pt x="40083" y="20038"/>
                    <a:pt x="34418" y="15789"/>
                    <a:pt x="27337" y="15789"/>
                  </a:cubicBezTo>
                  <a:cubicBezTo>
                    <a:pt x="20256" y="15789"/>
                    <a:pt x="16007" y="21454"/>
                    <a:pt x="16007" y="27118"/>
                  </a:cubicBezTo>
                  <a:cubicBezTo>
                    <a:pt x="14591" y="32783"/>
                    <a:pt x="20256" y="38448"/>
                    <a:pt x="27337"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1" name="Freeform: Shape 2380">
              <a:extLst>
                <a:ext uri="{FF2B5EF4-FFF2-40B4-BE49-F238E27FC236}">
                  <a16:creationId xmlns:a16="http://schemas.microsoft.com/office/drawing/2014/main" id="{A28FD1E0-04AF-41A5-B6C6-8B0B4EBB1487}"/>
                </a:ext>
              </a:extLst>
            </p:cNvPr>
            <p:cNvSpPr/>
            <p:nvPr/>
          </p:nvSpPr>
          <p:spPr>
            <a:xfrm>
              <a:off x="3866704" y="2121645"/>
              <a:ext cx="99133" cy="99133"/>
            </a:xfrm>
            <a:custGeom>
              <a:avLst/>
              <a:gdLst>
                <a:gd name="connsiteX0" fmla="*/ 55442 w 99133"/>
                <a:gd name="connsiteY0" fmla="*/ 95096 h 99133"/>
                <a:gd name="connsiteX1" fmla="*/ 95096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8102" y="95096"/>
                    <a:pt x="95096" y="76685"/>
                    <a:pt x="95096" y="55442"/>
                  </a:cubicBezTo>
                  <a:cubicBezTo>
                    <a:pt x="95096" y="32783"/>
                    <a:pt x="76685" y="15789"/>
                    <a:pt x="55442" y="15789"/>
                  </a:cubicBezTo>
                  <a:cubicBezTo>
                    <a:pt x="32783" y="15789"/>
                    <a:pt x="15789" y="34199"/>
                    <a:pt x="15789" y="55442"/>
                  </a:cubicBezTo>
                  <a:cubicBezTo>
                    <a:pt x="15789" y="78101"/>
                    <a:pt x="32783" y="95096"/>
                    <a:pt x="55442" y="950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2" name="Freeform: Shape 2381">
              <a:extLst>
                <a:ext uri="{FF2B5EF4-FFF2-40B4-BE49-F238E27FC236}">
                  <a16:creationId xmlns:a16="http://schemas.microsoft.com/office/drawing/2014/main" id="{174CF808-8675-4529-BB77-4AA2322676B8}"/>
                </a:ext>
              </a:extLst>
            </p:cNvPr>
            <p:cNvSpPr/>
            <p:nvPr/>
          </p:nvSpPr>
          <p:spPr>
            <a:xfrm>
              <a:off x="3325719" y="2232108"/>
              <a:ext cx="70810" cy="70810"/>
            </a:xfrm>
            <a:custGeom>
              <a:avLst/>
              <a:gdLst>
                <a:gd name="connsiteX0" fmla="*/ 39864 w 70809"/>
                <a:gd name="connsiteY0" fmla="*/ 63939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39" y="52610"/>
                    <a:pt x="63939" y="39864"/>
                  </a:cubicBezTo>
                  <a:cubicBezTo>
                    <a:pt x="63939" y="27118"/>
                    <a:pt x="52610" y="15789"/>
                    <a:pt x="39864" y="15789"/>
                  </a:cubicBezTo>
                  <a:cubicBezTo>
                    <a:pt x="27119" y="15789"/>
                    <a:pt x="15789" y="27118"/>
                    <a:pt x="15789" y="39864"/>
                  </a:cubicBezTo>
                  <a:cubicBezTo>
                    <a:pt x="15789" y="52610"/>
                    <a:pt x="27119" y="63939"/>
                    <a:pt x="3986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3" name="Freeform: Shape 2382">
              <a:extLst>
                <a:ext uri="{FF2B5EF4-FFF2-40B4-BE49-F238E27FC236}">
                  <a16:creationId xmlns:a16="http://schemas.microsoft.com/office/drawing/2014/main" id="{4F2EAA92-06D8-46F0-824D-5A6BA6845BE0}"/>
                </a:ext>
              </a:extLst>
            </p:cNvPr>
            <p:cNvSpPr/>
            <p:nvPr/>
          </p:nvSpPr>
          <p:spPr>
            <a:xfrm>
              <a:off x="3365372" y="2644219"/>
              <a:ext cx="70810" cy="70810"/>
            </a:xfrm>
            <a:custGeom>
              <a:avLst/>
              <a:gdLst>
                <a:gd name="connsiteX0" fmla="*/ 39864 w 70809"/>
                <a:gd name="connsiteY0" fmla="*/ 63940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2610" y="63940"/>
                    <a:pt x="63939" y="52610"/>
                    <a:pt x="63939" y="39864"/>
                  </a:cubicBezTo>
                  <a:cubicBezTo>
                    <a:pt x="63939" y="27119"/>
                    <a:pt x="52610" y="15789"/>
                    <a:pt x="39864" y="15789"/>
                  </a:cubicBezTo>
                  <a:cubicBezTo>
                    <a:pt x="27119" y="15789"/>
                    <a:pt x="15789" y="27119"/>
                    <a:pt x="15789" y="39864"/>
                  </a:cubicBezTo>
                  <a:cubicBezTo>
                    <a:pt x="15789" y="52610"/>
                    <a:pt x="27119"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4" name="Freeform: Shape 2383">
              <a:extLst>
                <a:ext uri="{FF2B5EF4-FFF2-40B4-BE49-F238E27FC236}">
                  <a16:creationId xmlns:a16="http://schemas.microsoft.com/office/drawing/2014/main" id="{AD401AD1-81B1-4C78-A225-1008F1B3EABC}"/>
                </a:ext>
              </a:extLst>
            </p:cNvPr>
            <p:cNvSpPr/>
            <p:nvPr/>
          </p:nvSpPr>
          <p:spPr>
            <a:xfrm>
              <a:off x="2786150" y="2989770"/>
              <a:ext cx="99133" cy="99133"/>
            </a:xfrm>
            <a:custGeom>
              <a:avLst/>
              <a:gdLst>
                <a:gd name="connsiteX0" fmla="*/ 49778 w 99133"/>
                <a:gd name="connsiteY0" fmla="*/ 15789 h 99133"/>
                <a:gd name="connsiteX1" fmla="*/ 83766 w 99133"/>
                <a:gd name="connsiteY1" fmla="*/ 49777 h 99133"/>
                <a:gd name="connsiteX2" fmla="*/ 49778 w 99133"/>
                <a:gd name="connsiteY2" fmla="*/ 83766 h 99133"/>
                <a:gd name="connsiteX3" fmla="*/ 15789 w 99133"/>
                <a:gd name="connsiteY3" fmla="*/ 49777 h 99133"/>
                <a:gd name="connsiteX4" fmla="*/ 49778 w 99133"/>
                <a:gd name="connsiteY4" fmla="*/ 15789 h 99133"/>
                <a:gd name="connsiteX5" fmla="*/ 49778 w 99133"/>
                <a:gd name="connsiteY5" fmla="*/ 15789 h 99133"/>
                <a:gd name="connsiteX6" fmla="*/ 49778 w 99133"/>
                <a:gd name="connsiteY6" fmla="*/ 31367 h 99133"/>
                <a:gd name="connsiteX7" fmla="*/ 31367 w 99133"/>
                <a:gd name="connsiteY7" fmla="*/ 49777 h 99133"/>
                <a:gd name="connsiteX8" fmla="*/ 49778 w 99133"/>
                <a:gd name="connsiteY8" fmla="*/ 68188 h 99133"/>
                <a:gd name="connsiteX9" fmla="*/ 68188 w 99133"/>
                <a:gd name="connsiteY9" fmla="*/ 49777 h 99133"/>
                <a:gd name="connsiteX10" fmla="*/ 49778 w 99133"/>
                <a:gd name="connsiteY10" fmla="*/ 31367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49778" y="15789"/>
                  </a:moveTo>
                  <a:cubicBezTo>
                    <a:pt x="68188" y="15789"/>
                    <a:pt x="83766" y="31367"/>
                    <a:pt x="83766" y="49777"/>
                  </a:cubicBezTo>
                  <a:cubicBezTo>
                    <a:pt x="83766" y="68188"/>
                    <a:pt x="68188" y="83766"/>
                    <a:pt x="49778" y="83766"/>
                  </a:cubicBezTo>
                  <a:cubicBezTo>
                    <a:pt x="31367" y="83766"/>
                    <a:pt x="15789" y="68188"/>
                    <a:pt x="15789" y="49777"/>
                  </a:cubicBezTo>
                  <a:cubicBezTo>
                    <a:pt x="15789" y="31367"/>
                    <a:pt x="29951" y="15789"/>
                    <a:pt x="49778" y="15789"/>
                  </a:cubicBezTo>
                  <a:lnTo>
                    <a:pt x="49778" y="15789"/>
                  </a:lnTo>
                  <a:close/>
                  <a:moveTo>
                    <a:pt x="49778" y="31367"/>
                  </a:moveTo>
                  <a:cubicBezTo>
                    <a:pt x="39864" y="31367"/>
                    <a:pt x="31367" y="39864"/>
                    <a:pt x="31367" y="49777"/>
                  </a:cubicBezTo>
                  <a:cubicBezTo>
                    <a:pt x="31367" y="59691"/>
                    <a:pt x="39864" y="68188"/>
                    <a:pt x="49778" y="68188"/>
                  </a:cubicBezTo>
                  <a:cubicBezTo>
                    <a:pt x="59691" y="68188"/>
                    <a:pt x="68188" y="59691"/>
                    <a:pt x="68188" y="49777"/>
                  </a:cubicBezTo>
                  <a:cubicBezTo>
                    <a:pt x="68188" y="39864"/>
                    <a:pt x="59691" y="31367"/>
                    <a:pt x="49778" y="3136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5" name="Freeform: Shape 2384">
              <a:extLst>
                <a:ext uri="{FF2B5EF4-FFF2-40B4-BE49-F238E27FC236}">
                  <a16:creationId xmlns:a16="http://schemas.microsoft.com/office/drawing/2014/main" id="{F034A4DD-104E-4C35-A387-8DE5F6E5FF22}"/>
                </a:ext>
              </a:extLst>
            </p:cNvPr>
            <p:cNvSpPr/>
            <p:nvPr/>
          </p:nvSpPr>
          <p:spPr>
            <a:xfrm>
              <a:off x="2464592" y="3185204"/>
              <a:ext cx="99133" cy="99133"/>
            </a:xfrm>
            <a:custGeom>
              <a:avLst/>
              <a:gdLst>
                <a:gd name="connsiteX0" fmla="*/ 51276 w 99133"/>
                <a:gd name="connsiteY0" fmla="*/ 86599 h 99133"/>
                <a:gd name="connsiteX1" fmla="*/ 86681 w 99133"/>
                <a:gd name="connsiteY1" fmla="*/ 51194 h 99133"/>
                <a:gd name="connsiteX2" fmla="*/ 51276 w 99133"/>
                <a:gd name="connsiteY2" fmla="*/ 15789 h 99133"/>
                <a:gd name="connsiteX3" fmla="*/ 15872 w 99133"/>
                <a:gd name="connsiteY3" fmla="*/ 51194 h 99133"/>
                <a:gd name="connsiteX4" fmla="*/ 51276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276" y="86599"/>
                  </a:moveTo>
                  <a:cubicBezTo>
                    <a:pt x="71103" y="86599"/>
                    <a:pt x="86681" y="71021"/>
                    <a:pt x="86681" y="51194"/>
                  </a:cubicBezTo>
                  <a:cubicBezTo>
                    <a:pt x="86681" y="31367"/>
                    <a:pt x="71103" y="15789"/>
                    <a:pt x="51276" y="15789"/>
                  </a:cubicBezTo>
                  <a:cubicBezTo>
                    <a:pt x="31450" y="15789"/>
                    <a:pt x="15872" y="31367"/>
                    <a:pt x="15872" y="51194"/>
                  </a:cubicBezTo>
                  <a:cubicBezTo>
                    <a:pt x="14455" y="71021"/>
                    <a:pt x="31450" y="86599"/>
                    <a:pt x="51276"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6" name="Freeform: Shape 2385">
              <a:extLst>
                <a:ext uri="{FF2B5EF4-FFF2-40B4-BE49-F238E27FC236}">
                  <a16:creationId xmlns:a16="http://schemas.microsoft.com/office/drawing/2014/main" id="{CCA05F03-CE96-45AE-9C59-6BD5FB549B75}"/>
                </a:ext>
              </a:extLst>
            </p:cNvPr>
            <p:cNvSpPr/>
            <p:nvPr/>
          </p:nvSpPr>
          <p:spPr>
            <a:xfrm>
              <a:off x="3181267" y="3022342"/>
              <a:ext cx="99133" cy="99133"/>
            </a:xfrm>
            <a:custGeom>
              <a:avLst/>
              <a:gdLst>
                <a:gd name="connsiteX0" fmla="*/ 86599 w 99133"/>
                <a:gd name="connsiteY0" fmla="*/ 51194 h 99133"/>
                <a:gd name="connsiteX1" fmla="*/ 51194 w 99133"/>
                <a:gd name="connsiteY1" fmla="*/ 86598 h 99133"/>
                <a:gd name="connsiteX2" fmla="*/ 15789 w 99133"/>
                <a:gd name="connsiteY2" fmla="*/ 51194 h 99133"/>
                <a:gd name="connsiteX3" fmla="*/ 51194 w 99133"/>
                <a:gd name="connsiteY3" fmla="*/ 15789 h 99133"/>
                <a:gd name="connsiteX4" fmla="*/ 86599 w 99133"/>
                <a:gd name="connsiteY4" fmla="*/ 51194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86599" y="51194"/>
                  </a:moveTo>
                  <a:cubicBezTo>
                    <a:pt x="86599" y="70747"/>
                    <a:pt x="70747" y="86598"/>
                    <a:pt x="51194" y="86598"/>
                  </a:cubicBezTo>
                  <a:cubicBezTo>
                    <a:pt x="31640" y="86598"/>
                    <a:pt x="15789" y="70747"/>
                    <a:pt x="15789" y="51194"/>
                  </a:cubicBezTo>
                  <a:cubicBezTo>
                    <a:pt x="15789" y="31640"/>
                    <a:pt x="31640" y="15789"/>
                    <a:pt x="51194" y="15789"/>
                  </a:cubicBezTo>
                  <a:cubicBezTo>
                    <a:pt x="70747" y="15789"/>
                    <a:pt x="86599" y="31640"/>
                    <a:pt x="86599" y="5119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7" name="Freeform: Shape 2386">
              <a:extLst>
                <a:ext uri="{FF2B5EF4-FFF2-40B4-BE49-F238E27FC236}">
                  <a16:creationId xmlns:a16="http://schemas.microsoft.com/office/drawing/2014/main" id="{55927ED2-0ED1-4B71-82FC-3B19DCD28517}"/>
                </a:ext>
              </a:extLst>
            </p:cNvPr>
            <p:cNvSpPr/>
            <p:nvPr/>
          </p:nvSpPr>
          <p:spPr>
            <a:xfrm>
              <a:off x="2628953" y="3373558"/>
              <a:ext cx="70810" cy="70810"/>
            </a:xfrm>
            <a:custGeom>
              <a:avLst/>
              <a:gdLst>
                <a:gd name="connsiteX0" fmla="*/ 39864 w 70809"/>
                <a:gd name="connsiteY0" fmla="*/ 15789 h 70809"/>
                <a:gd name="connsiteX1" fmla="*/ 63939 w 70809"/>
                <a:gd name="connsiteY1" fmla="*/ 39864 h 70809"/>
                <a:gd name="connsiteX2" fmla="*/ 39864 w 70809"/>
                <a:gd name="connsiteY2" fmla="*/ 63940 h 70809"/>
                <a:gd name="connsiteX3" fmla="*/ 15789 w 70809"/>
                <a:gd name="connsiteY3" fmla="*/ 39864 h 70809"/>
                <a:gd name="connsiteX4" fmla="*/ 39864 w 70809"/>
                <a:gd name="connsiteY4" fmla="*/ 15789 h 70809"/>
                <a:gd name="connsiteX5" fmla="*/ 39864 w 70809"/>
                <a:gd name="connsiteY5" fmla="*/ 15789 h 70809"/>
                <a:gd name="connsiteX6" fmla="*/ 39864 w 70809"/>
                <a:gd name="connsiteY6" fmla="*/ 27119 h 70809"/>
                <a:gd name="connsiteX7" fmla="*/ 25702 w 70809"/>
                <a:gd name="connsiteY7" fmla="*/ 41280 h 70809"/>
                <a:gd name="connsiteX8" fmla="*/ 39864 w 70809"/>
                <a:gd name="connsiteY8" fmla="*/ 55442 h 70809"/>
                <a:gd name="connsiteX9" fmla="*/ 54026 w 70809"/>
                <a:gd name="connsiteY9" fmla="*/ 41280 h 70809"/>
                <a:gd name="connsiteX10" fmla="*/ 39864 w 70809"/>
                <a:gd name="connsiteY10" fmla="*/ 27119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39864" y="15789"/>
                  </a:moveTo>
                  <a:cubicBezTo>
                    <a:pt x="52610" y="15789"/>
                    <a:pt x="63939" y="27119"/>
                    <a:pt x="63939" y="39864"/>
                  </a:cubicBezTo>
                  <a:cubicBezTo>
                    <a:pt x="63939" y="52610"/>
                    <a:pt x="52610" y="63940"/>
                    <a:pt x="39864" y="63940"/>
                  </a:cubicBezTo>
                  <a:cubicBezTo>
                    <a:pt x="27119" y="63940"/>
                    <a:pt x="15789" y="52610"/>
                    <a:pt x="15789" y="39864"/>
                  </a:cubicBezTo>
                  <a:cubicBezTo>
                    <a:pt x="15789" y="27119"/>
                    <a:pt x="25702" y="15789"/>
                    <a:pt x="39864" y="15789"/>
                  </a:cubicBezTo>
                  <a:lnTo>
                    <a:pt x="39864" y="15789"/>
                  </a:lnTo>
                  <a:close/>
                  <a:moveTo>
                    <a:pt x="39864" y="27119"/>
                  </a:moveTo>
                  <a:cubicBezTo>
                    <a:pt x="32783" y="27119"/>
                    <a:pt x="25702" y="32783"/>
                    <a:pt x="25702" y="41280"/>
                  </a:cubicBezTo>
                  <a:cubicBezTo>
                    <a:pt x="25702" y="48361"/>
                    <a:pt x="31367" y="55442"/>
                    <a:pt x="39864" y="55442"/>
                  </a:cubicBezTo>
                  <a:cubicBezTo>
                    <a:pt x="46945" y="55442"/>
                    <a:pt x="54026" y="49778"/>
                    <a:pt x="54026" y="41280"/>
                  </a:cubicBezTo>
                  <a:cubicBezTo>
                    <a:pt x="52610" y="32783"/>
                    <a:pt x="46945" y="27119"/>
                    <a:pt x="3986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8" name="Freeform: Shape 2387">
              <a:extLst>
                <a:ext uri="{FF2B5EF4-FFF2-40B4-BE49-F238E27FC236}">
                  <a16:creationId xmlns:a16="http://schemas.microsoft.com/office/drawing/2014/main" id="{9464A2FA-C8F9-4885-BE90-2E2C447DE0A6}"/>
                </a:ext>
              </a:extLst>
            </p:cNvPr>
            <p:cNvSpPr/>
            <p:nvPr/>
          </p:nvSpPr>
          <p:spPr>
            <a:xfrm>
              <a:off x="2643115" y="2831156"/>
              <a:ext cx="56648" cy="56648"/>
            </a:xfrm>
            <a:custGeom>
              <a:avLst/>
              <a:gdLst>
                <a:gd name="connsiteX0" fmla="*/ 34200 w 56647"/>
                <a:gd name="connsiteY0" fmla="*/ 52610 h 56647"/>
                <a:gd name="connsiteX1" fmla="*/ 52610 w 56647"/>
                <a:gd name="connsiteY1" fmla="*/ 34200 h 56647"/>
                <a:gd name="connsiteX2" fmla="*/ 34200 w 56647"/>
                <a:gd name="connsiteY2" fmla="*/ 15789 h 56647"/>
                <a:gd name="connsiteX3" fmla="*/ 15789 w 56647"/>
                <a:gd name="connsiteY3" fmla="*/ 34200 h 56647"/>
                <a:gd name="connsiteX4" fmla="*/ 34200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200" y="52610"/>
                  </a:moveTo>
                  <a:cubicBezTo>
                    <a:pt x="44113" y="52610"/>
                    <a:pt x="52610" y="44113"/>
                    <a:pt x="52610" y="34200"/>
                  </a:cubicBezTo>
                  <a:cubicBezTo>
                    <a:pt x="52610" y="24286"/>
                    <a:pt x="44113" y="15789"/>
                    <a:pt x="34200" y="15789"/>
                  </a:cubicBezTo>
                  <a:cubicBezTo>
                    <a:pt x="24286" y="15789"/>
                    <a:pt x="15789" y="24286"/>
                    <a:pt x="15789" y="34200"/>
                  </a:cubicBezTo>
                  <a:cubicBezTo>
                    <a:pt x="17205" y="44113"/>
                    <a:pt x="24286" y="52610"/>
                    <a:pt x="34200"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9" name="Freeform: Shape 2388">
              <a:extLst>
                <a:ext uri="{FF2B5EF4-FFF2-40B4-BE49-F238E27FC236}">
                  <a16:creationId xmlns:a16="http://schemas.microsoft.com/office/drawing/2014/main" id="{9B1E2134-1106-425C-BD5D-B5DE6CF450DB}"/>
                </a:ext>
              </a:extLst>
            </p:cNvPr>
            <p:cNvSpPr/>
            <p:nvPr/>
          </p:nvSpPr>
          <p:spPr>
            <a:xfrm>
              <a:off x="3008492" y="3045001"/>
              <a:ext cx="56648" cy="56648"/>
            </a:xfrm>
            <a:custGeom>
              <a:avLst/>
              <a:gdLst>
                <a:gd name="connsiteX0" fmla="*/ 34199 w 56647"/>
                <a:gd name="connsiteY0" fmla="*/ 52610 h 56647"/>
                <a:gd name="connsiteX1" fmla="*/ 52610 w 56647"/>
                <a:gd name="connsiteY1" fmla="*/ 34200 h 56647"/>
                <a:gd name="connsiteX2" fmla="*/ 34199 w 56647"/>
                <a:gd name="connsiteY2" fmla="*/ 15789 h 56647"/>
                <a:gd name="connsiteX3" fmla="*/ 15789 w 56647"/>
                <a:gd name="connsiteY3" fmla="*/ 34200 h 56647"/>
                <a:gd name="connsiteX4" fmla="*/ 34199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199" y="52610"/>
                  </a:moveTo>
                  <a:cubicBezTo>
                    <a:pt x="44113" y="52610"/>
                    <a:pt x="52610" y="44113"/>
                    <a:pt x="52610" y="34200"/>
                  </a:cubicBezTo>
                  <a:cubicBezTo>
                    <a:pt x="52610" y="24286"/>
                    <a:pt x="44113" y="15789"/>
                    <a:pt x="34199" y="15789"/>
                  </a:cubicBezTo>
                  <a:cubicBezTo>
                    <a:pt x="24286" y="15789"/>
                    <a:pt x="15789" y="24286"/>
                    <a:pt x="15789" y="34200"/>
                  </a:cubicBezTo>
                  <a:cubicBezTo>
                    <a:pt x="15789" y="45529"/>
                    <a:pt x="24286" y="52610"/>
                    <a:pt x="34199"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0" name="Freeform: Shape 2389">
              <a:extLst>
                <a:ext uri="{FF2B5EF4-FFF2-40B4-BE49-F238E27FC236}">
                  <a16:creationId xmlns:a16="http://schemas.microsoft.com/office/drawing/2014/main" id="{DF3FA466-707C-4BEB-9163-9425C7F879C6}"/>
                </a:ext>
              </a:extLst>
            </p:cNvPr>
            <p:cNvSpPr/>
            <p:nvPr/>
          </p:nvSpPr>
          <p:spPr>
            <a:xfrm>
              <a:off x="3290314" y="3202199"/>
              <a:ext cx="56648" cy="56648"/>
            </a:xfrm>
            <a:custGeom>
              <a:avLst/>
              <a:gdLst>
                <a:gd name="connsiteX0" fmla="*/ 34200 w 56647"/>
                <a:gd name="connsiteY0" fmla="*/ 52610 h 56647"/>
                <a:gd name="connsiteX1" fmla="*/ 52610 w 56647"/>
                <a:gd name="connsiteY1" fmla="*/ 34199 h 56647"/>
                <a:gd name="connsiteX2" fmla="*/ 34200 w 56647"/>
                <a:gd name="connsiteY2" fmla="*/ 15789 h 56647"/>
                <a:gd name="connsiteX3" fmla="*/ 15789 w 56647"/>
                <a:gd name="connsiteY3" fmla="*/ 34199 h 56647"/>
                <a:gd name="connsiteX4" fmla="*/ 34200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200" y="52610"/>
                  </a:moveTo>
                  <a:cubicBezTo>
                    <a:pt x="44113" y="52610"/>
                    <a:pt x="52610" y="44113"/>
                    <a:pt x="52610" y="34199"/>
                  </a:cubicBezTo>
                  <a:cubicBezTo>
                    <a:pt x="52610" y="24286"/>
                    <a:pt x="44113" y="15789"/>
                    <a:pt x="34200" y="15789"/>
                  </a:cubicBezTo>
                  <a:cubicBezTo>
                    <a:pt x="24286" y="15789"/>
                    <a:pt x="15789" y="24286"/>
                    <a:pt x="15789" y="34199"/>
                  </a:cubicBezTo>
                  <a:cubicBezTo>
                    <a:pt x="15789" y="44113"/>
                    <a:pt x="24286" y="52610"/>
                    <a:pt x="34200"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1" name="Freeform: Shape 2390">
              <a:extLst>
                <a:ext uri="{FF2B5EF4-FFF2-40B4-BE49-F238E27FC236}">
                  <a16:creationId xmlns:a16="http://schemas.microsoft.com/office/drawing/2014/main" id="{1DA0D1FE-AC46-4743-926B-D2DF5845FD39}"/>
                </a:ext>
              </a:extLst>
            </p:cNvPr>
            <p:cNvSpPr/>
            <p:nvPr/>
          </p:nvSpPr>
          <p:spPr>
            <a:xfrm>
              <a:off x="3331383" y="2896301"/>
              <a:ext cx="56648" cy="56648"/>
            </a:xfrm>
            <a:custGeom>
              <a:avLst/>
              <a:gdLst>
                <a:gd name="connsiteX0" fmla="*/ 34200 w 56647"/>
                <a:gd name="connsiteY0" fmla="*/ 52610 h 56647"/>
                <a:gd name="connsiteX1" fmla="*/ 52610 w 56647"/>
                <a:gd name="connsiteY1" fmla="*/ 34200 h 56647"/>
                <a:gd name="connsiteX2" fmla="*/ 34200 w 56647"/>
                <a:gd name="connsiteY2" fmla="*/ 15789 h 56647"/>
                <a:gd name="connsiteX3" fmla="*/ 15789 w 56647"/>
                <a:gd name="connsiteY3" fmla="*/ 34200 h 56647"/>
                <a:gd name="connsiteX4" fmla="*/ 34200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200" y="52610"/>
                  </a:moveTo>
                  <a:cubicBezTo>
                    <a:pt x="44113" y="52610"/>
                    <a:pt x="52610" y="44113"/>
                    <a:pt x="52610" y="34200"/>
                  </a:cubicBezTo>
                  <a:cubicBezTo>
                    <a:pt x="52610" y="24286"/>
                    <a:pt x="44113" y="15789"/>
                    <a:pt x="34200" y="15789"/>
                  </a:cubicBezTo>
                  <a:cubicBezTo>
                    <a:pt x="24286" y="15789"/>
                    <a:pt x="15789" y="24286"/>
                    <a:pt x="15789" y="34200"/>
                  </a:cubicBezTo>
                  <a:cubicBezTo>
                    <a:pt x="15789" y="44113"/>
                    <a:pt x="24286" y="52610"/>
                    <a:pt x="34200"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2" name="Freeform: Shape 2391">
              <a:extLst>
                <a:ext uri="{FF2B5EF4-FFF2-40B4-BE49-F238E27FC236}">
                  <a16:creationId xmlns:a16="http://schemas.microsoft.com/office/drawing/2014/main" id="{43B62568-0032-47F0-B529-3C586E624A3B}"/>
                </a:ext>
              </a:extLst>
            </p:cNvPr>
            <p:cNvSpPr/>
            <p:nvPr/>
          </p:nvSpPr>
          <p:spPr>
            <a:xfrm>
              <a:off x="3873603" y="2411964"/>
              <a:ext cx="56648" cy="56648"/>
            </a:xfrm>
            <a:custGeom>
              <a:avLst/>
              <a:gdLst>
                <a:gd name="connsiteX0" fmla="*/ 28717 w 56647"/>
                <a:gd name="connsiteY0" fmla="*/ 41280 h 56647"/>
                <a:gd name="connsiteX1" fmla="*/ 41463 w 56647"/>
                <a:gd name="connsiteY1" fmla="*/ 28535 h 56647"/>
                <a:gd name="connsiteX2" fmla="*/ 28717 w 56647"/>
                <a:gd name="connsiteY2" fmla="*/ 15789 h 56647"/>
                <a:gd name="connsiteX3" fmla="*/ 15971 w 56647"/>
                <a:gd name="connsiteY3" fmla="*/ 28535 h 56647"/>
                <a:gd name="connsiteX4" fmla="*/ 28717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717" y="41280"/>
                  </a:moveTo>
                  <a:cubicBezTo>
                    <a:pt x="35798" y="41280"/>
                    <a:pt x="41463" y="35616"/>
                    <a:pt x="41463" y="28535"/>
                  </a:cubicBezTo>
                  <a:cubicBezTo>
                    <a:pt x="41463" y="21454"/>
                    <a:pt x="35798" y="15789"/>
                    <a:pt x="28717" y="15789"/>
                  </a:cubicBezTo>
                  <a:cubicBezTo>
                    <a:pt x="21636" y="15789"/>
                    <a:pt x="15971" y="21454"/>
                    <a:pt x="15971" y="28535"/>
                  </a:cubicBezTo>
                  <a:cubicBezTo>
                    <a:pt x="14555" y="35616"/>
                    <a:pt x="21636" y="41280"/>
                    <a:pt x="28717"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3" name="Freeform: Shape 2392">
              <a:extLst>
                <a:ext uri="{FF2B5EF4-FFF2-40B4-BE49-F238E27FC236}">
                  <a16:creationId xmlns:a16="http://schemas.microsoft.com/office/drawing/2014/main" id="{4C8603EE-EB86-41AD-8F01-B02F6087B8A1}"/>
                </a:ext>
              </a:extLst>
            </p:cNvPr>
            <p:cNvSpPr/>
            <p:nvPr/>
          </p:nvSpPr>
          <p:spPr>
            <a:xfrm>
              <a:off x="4159855" y="2298669"/>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9"/>
                  </a:cubicBezTo>
                  <a:cubicBezTo>
                    <a:pt x="38448" y="21454"/>
                    <a:pt x="32783" y="15789"/>
                    <a:pt x="27119" y="15789"/>
                  </a:cubicBezTo>
                  <a:cubicBezTo>
                    <a:pt x="21454" y="15789"/>
                    <a:pt x="15789" y="21454"/>
                    <a:pt x="15789" y="27119"/>
                  </a:cubicBezTo>
                  <a:cubicBezTo>
                    <a:pt x="15789" y="34200"/>
                    <a:pt x="20038"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4" name="Freeform: Shape 2393">
              <a:extLst>
                <a:ext uri="{FF2B5EF4-FFF2-40B4-BE49-F238E27FC236}">
                  <a16:creationId xmlns:a16="http://schemas.microsoft.com/office/drawing/2014/main" id="{CEF61C6E-A6F7-4D85-99F9-2DB5E4B19DE5}"/>
                </a:ext>
              </a:extLst>
            </p:cNvPr>
            <p:cNvSpPr/>
            <p:nvPr/>
          </p:nvSpPr>
          <p:spPr>
            <a:xfrm>
              <a:off x="4022207" y="2297253"/>
              <a:ext cx="42486" cy="42486"/>
            </a:xfrm>
            <a:custGeom>
              <a:avLst/>
              <a:gdLst>
                <a:gd name="connsiteX0" fmla="*/ 23148 w 42485"/>
                <a:gd name="connsiteY0" fmla="*/ 29951 h 42485"/>
                <a:gd name="connsiteX1" fmla="*/ 30229 w 42485"/>
                <a:gd name="connsiteY1" fmla="*/ 22870 h 42485"/>
                <a:gd name="connsiteX2" fmla="*/ 23148 w 42485"/>
                <a:gd name="connsiteY2" fmla="*/ 15789 h 42485"/>
                <a:gd name="connsiteX3" fmla="*/ 16067 w 42485"/>
                <a:gd name="connsiteY3" fmla="*/ 22870 h 42485"/>
                <a:gd name="connsiteX4" fmla="*/ 23148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148" y="29951"/>
                  </a:moveTo>
                  <a:cubicBezTo>
                    <a:pt x="27396" y="29951"/>
                    <a:pt x="30229" y="27119"/>
                    <a:pt x="30229" y="22870"/>
                  </a:cubicBezTo>
                  <a:cubicBezTo>
                    <a:pt x="30229" y="18621"/>
                    <a:pt x="27396" y="15789"/>
                    <a:pt x="23148" y="15789"/>
                  </a:cubicBezTo>
                  <a:cubicBezTo>
                    <a:pt x="18899" y="15789"/>
                    <a:pt x="16067" y="18621"/>
                    <a:pt x="16067" y="22870"/>
                  </a:cubicBezTo>
                  <a:cubicBezTo>
                    <a:pt x="14651" y="25702"/>
                    <a:pt x="18899" y="29951"/>
                    <a:pt x="23148"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5" name="Freeform: Shape 2394">
              <a:extLst>
                <a:ext uri="{FF2B5EF4-FFF2-40B4-BE49-F238E27FC236}">
                  <a16:creationId xmlns:a16="http://schemas.microsoft.com/office/drawing/2014/main" id="{7B10048A-2361-43A3-A9EC-95BF7DEFC30D}"/>
                </a:ext>
              </a:extLst>
            </p:cNvPr>
            <p:cNvSpPr/>
            <p:nvPr/>
          </p:nvSpPr>
          <p:spPr>
            <a:xfrm>
              <a:off x="4049393" y="2097570"/>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7205" y="37032"/>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6" name="Freeform: Shape 2395">
              <a:extLst>
                <a:ext uri="{FF2B5EF4-FFF2-40B4-BE49-F238E27FC236}">
                  <a16:creationId xmlns:a16="http://schemas.microsoft.com/office/drawing/2014/main" id="{6142E6E5-601C-4ABC-9ACE-DAD16140124F}"/>
                </a:ext>
              </a:extLst>
            </p:cNvPr>
            <p:cNvSpPr/>
            <p:nvPr/>
          </p:nvSpPr>
          <p:spPr>
            <a:xfrm>
              <a:off x="5078964" y="1073664"/>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1"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7" name="Freeform: Shape 2396">
              <a:extLst>
                <a:ext uri="{FF2B5EF4-FFF2-40B4-BE49-F238E27FC236}">
                  <a16:creationId xmlns:a16="http://schemas.microsoft.com/office/drawing/2014/main" id="{BE2AE66F-638A-4824-BCA9-803FDEF45C7D}"/>
                </a:ext>
              </a:extLst>
            </p:cNvPr>
            <p:cNvSpPr/>
            <p:nvPr/>
          </p:nvSpPr>
          <p:spPr>
            <a:xfrm>
              <a:off x="4815552" y="885310"/>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8" name="Freeform: Shape 2397">
              <a:extLst>
                <a:ext uri="{FF2B5EF4-FFF2-40B4-BE49-F238E27FC236}">
                  <a16:creationId xmlns:a16="http://schemas.microsoft.com/office/drawing/2014/main" id="{8F4FE83F-9DD8-489D-A688-4C14DA470B3B}"/>
                </a:ext>
              </a:extLst>
            </p:cNvPr>
            <p:cNvSpPr/>
            <p:nvPr/>
          </p:nvSpPr>
          <p:spPr>
            <a:xfrm>
              <a:off x="2847046" y="2824076"/>
              <a:ext cx="70810" cy="70810"/>
            </a:xfrm>
            <a:custGeom>
              <a:avLst/>
              <a:gdLst>
                <a:gd name="connsiteX0" fmla="*/ 39864 w 70809"/>
                <a:gd name="connsiteY0" fmla="*/ 63940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4026" y="63940"/>
                    <a:pt x="63940" y="52610"/>
                    <a:pt x="63940" y="39864"/>
                  </a:cubicBezTo>
                  <a:cubicBezTo>
                    <a:pt x="63940" y="25703"/>
                    <a:pt x="52610" y="15789"/>
                    <a:pt x="39864" y="15789"/>
                  </a:cubicBezTo>
                  <a:cubicBezTo>
                    <a:pt x="25702" y="15789"/>
                    <a:pt x="15789" y="27119"/>
                    <a:pt x="15789" y="39864"/>
                  </a:cubicBezTo>
                  <a:cubicBezTo>
                    <a:pt x="15789" y="52610"/>
                    <a:pt x="27119"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9" name="Freeform: Shape 2398">
              <a:extLst>
                <a:ext uri="{FF2B5EF4-FFF2-40B4-BE49-F238E27FC236}">
                  <a16:creationId xmlns:a16="http://schemas.microsoft.com/office/drawing/2014/main" id="{6AE1803B-1C07-4446-99C8-A6C2C4CD7537}"/>
                </a:ext>
              </a:extLst>
            </p:cNvPr>
            <p:cNvSpPr/>
            <p:nvPr/>
          </p:nvSpPr>
          <p:spPr>
            <a:xfrm>
              <a:off x="2885163" y="3581738"/>
              <a:ext cx="70810" cy="70810"/>
            </a:xfrm>
            <a:custGeom>
              <a:avLst/>
              <a:gdLst>
                <a:gd name="connsiteX0" fmla="*/ 39984 w 70809"/>
                <a:gd name="connsiteY0" fmla="*/ 63940 h 70809"/>
                <a:gd name="connsiteX1" fmla="*/ 64059 w 70809"/>
                <a:gd name="connsiteY1" fmla="*/ 39864 h 70809"/>
                <a:gd name="connsiteX2" fmla="*/ 39984 w 70809"/>
                <a:gd name="connsiteY2" fmla="*/ 15789 h 70809"/>
                <a:gd name="connsiteX3" fmla="*/ 15909 w 70809"/>
                <a:gd name="connsiteY3" fmla="*/ 39864 h 70809"/>
                <a:gd name="connsiteX4" fmla="*/ 3998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984" y="63940"/>
                  </a:moveTo>
                  <a:cubicBezTo>
                    <a:pt x="54146" y="63940"/>
                    <a:pt x="64059" y="52610"/>
                    <a:pt x="64059" y="39864"/>
                  </a:cubicBezTo>
                  <a:cubicBezTo>
                    <a:pt x="64059" y="25703"/>
                    <a:pt x="52730" y="15789"/>
                    <a:pt x="39984" y="15789"/>
                  </a:cubicBezTo>
                  <a:cubicBezTo>
                    <a:pt x="25822" y="15789"/>
                    <a:pt x="15909" y="27119"/>
                    <a:pt x="15909" y="39864"/>
                  </a:cubicBezTo>
                  <a:cubicBezTo>
                    <a:pt x="14493" y="52610"/>
                    <a:pt x="25822" y="63940"/>
                    <a:pt x="3998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0" name="Freeform: Shape 2399">
              <a:extLst>
                <a:ext uri="{FF2B5EF4-FFF2-40B4-BE49-F238E27FC236}">
                  <a16:creationId xmlns:a16="http://schemas.microsoft.com/office/drawing/2014/main" id="{FAB5C53B-D43B-4E0B-A9C6-068E932B6541}"/>
                </a:ext>
              </a:extLst>
            </p:cNvPr>
            <p:cNvSpPr/>
            <p:nvPr/>
          </p:nvSpPr>
          <p:spPr>
            <a:xfrm>
              <a:off x="3073637" y="3393384"/>
              <a:ext cx="56648" cy="56648"/>
            </a:xfrm>
            <a:custGeom>
              <a:avLst/>
              <a:gdLst>
                <a:gd name="connsiteX0" fmla="*/ 44113 w 56647"/>
                <a:gd name="connsiteY0" fmla="*/ 29951 h 56647"/>
                <a:gd name="connsiteX1" fmla="*/ 29951 w 56647"/>
                <a:gd name="connsiteY1" fmla="*/ 44113 h 56647"/>
                <a:gd name="connsiteX2" fmla="*/ 15789 w 56647"/>
                <a:gd name="connsiteY2" fmla="*/ 29951 h 56647"/>
                <a:gd name="connsiteX3" fmla="*/ 29951 w 56647"/>
                <a:gd name="connsiteY3" fmla="*/ 15789 h 56647"/>
                <a:gd name="connsiteX4" fmla="*/ 44113 w 56647"/>
                <a:gd name="connsiteY4" fmla="*/ 2995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44113" y="29951"/>
                  </a:moveTo>
                  <a:cubicBezTo>
                    <a:pt x="44113" y="37773"/>
                    <a:pt x="37772" y="44113"/>
                    <a:pt x="29951" y="44113"/>
                  </a:cubicBezTo>
                  <a:cubicBezTo>
                    <a:pt x="22129" y="44113"/>
                    <a:pt x="15789" y="37773"/>
                    <a:pt x="15789" y="29951"/>
                  </a:cubicBezTo>
                  <a:cubicBezTo>
                    <a:pt x="15789" y="22129"/>
                    <a:pt x="22129" y="15789"/>
                    <a:pt x="29951" y="15789"/>
                  </a:cubicBezTo>
                  <a:cubicBezTo>
                    <a:pt x="37772" y="15789"/>
                    <a:pt x="44113" y="22129"/>
                    <a:pt x="44113"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1" name="Freeform: Shape 2400">
              <a:extLst>
                <a:ext uri="{FF2B5EF4-FFF2-40B4-BE49-F238E27FC236}">
                  <a16:creationId xmlns:a16="http://schemas.microsoft.com/office/drawing/2014/main" id="{F325C14D-4FA4-4C1A-BC7C-40351CB58A59}"/>
                </a:ext>
              </a:extLst>
            </p:cNvPr>
            <p:cNvSpPr/>
            <p:nvPr/>
          </p:nvSpPr>
          <p:spPr>
            <a:xfrm>
              <a:off x="3019821" y="3692201"/>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8448"/>
                    <a:pt x="44113" y="29951"/>
                  </a:cubicBezTo>
                  <a:cubicBezTo>
                    <a:pt x="44113" y="21454"/>
                    <a:pt x="38448" y="15789"/>
                    <a:pt x="29951" y="15789"/>
                  </a:cubicBezTo>
                  <a:cubicBezTo>
                    <a:pt x="21454" y="15789"/>
                    <a:pt x="15789" y="22870"/>
                    <a:pt x="15789" y="29951"/>
                  </a:cubicBezTo>
                  <a:cubicBezTo>
                    <a:pt x="15789" y="38448"/>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2" name="Freeform: Shape 2401">
              <a:extLst>
                <a:ext uri="{FF2B5EF4-FFF2-40B4-BE49-F238E27FC236}">
                  <a16:creationId xmlns:a16="http://schemas.microsoft.com/office/drawing/2014/main" id="{DB749465-82F2-4881-9B4A-2FF247349F4C}"/>
                </a:ext>
              </a:extLst>
            </p:cNvPr>
            <p:cNvSpPr/>
            <p:nvPr/>
          </p:nvSpPr>
          <p:spPr>
            <a:xfrm>
              <a:off x="2766323" y="3427373"/>
              <a:ext cx="70810" cy="70810"/>
            </a:xfrm>
            <a:custGeom>
              <a:avLst/>
              <a:gdLst>
                <a:gd name="connsiteX0" fmla="*/ 39864 w 70809"/>
                <a:gd name="connsiteY0" fmla="*/ 63939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39" y="52610"/>
                    <a:pt x="63939" y="39864"/>
                  </a:cubicBezTo>
                  <a:cubicBezTo>
                    <a:pt x="63939" y="27119"/>
                    <a:pt x="52610" y="15789"/>
                    <a:pt x="39864" y="15789"/>
                  </a:cubicBezTo>
                  <a:cubicBezTo>
                    <a:pt x="27119" y="15789"/>
                    <a:pt x="15789" y="27119"/>
                    <a:pt x="15789" y="39864"/>
                  </a:cubicBezTo>
                  <a:cubicBezTo>
                    <a:pt x="15789" y="52610"/>
                    <a:pt x="27119" y="63939"/>
                    <a:pt x="3986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3" name="Freeform: Shape 2402">
              <a:extLst>
                <a:ext uri="{FF2B5EF4-FFF2-40B4-BE49-F238E27FC236}">
                  <a16:creationId xmlns:a16="http://schemas.microsoft.com/office/drawing/2014/main" id="{CE8047A4-CC9B-45BB-A51B-921D91D4DD42}"/>
                </a:ext>
              </a:extLst>
            </p:cNvPr>
            <p:cNvSpPr/>
            <p:nvPr/>
          </p:nvSpPr>
          <p:spPr>
            <a:xfrm>
              <a:off x="3162857" y="3757345"/>
              <a:ext cx="70810" cy="70810"/>
            </a:xfrm>
            <a:custGeom>
              <a:avLst/>
              <a:gdLst>
                <a:gd name="connsiteX0" fmla="*/ 39864 w 70809"/>
                <a:gd name="connsiteY0" fmla="*/ 63939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39" y="52610"/>
                    <a:pt x="63939" y="39864"/>
                  </a:cubicBezTo>
                  <a:cubicBezTo>
                    <a:pt x="63939" y="27119"/>
                    <a:pt x="52610" y="15789"/>
                    <a:pt x="39864" y="15789"/>
                  </a:cubicBezTo>
                  <a:cubicBezTo>
                    <a:pt x="27119" y="15789"/>
                    <a:pt x="15789" y="27119"/>
                    <a:pt x="15789" y="39864"/>
                  </a:cubicBezTo>
                  <a:cubicBezTo>
                    <a:pt x="15789" y="52610"/>
                    <a:pt x="25702" y="63939"/>
                    <a:pt x="3986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4" name="Freeform: Shape 2403">
              <a:extLst>
                <a:ext uri="{FF2B5EF4-FFF2-40B4-BE49-F238E27FC236}">
                  <a16:creationId xmlns:a16="http://schemas.microsoft.com/office/drawing/2014/main" id="{308BA547-2C0C-43BF-9A6D-268F675DC2F8}"/>
                </a:ext>
              </a:extLst>
            </p:cNvPr>
            <p:cNvSpPr/>
            <p:nvPr/>
          </p:nvSpPr>
          <p:spPr>
            <a:xfrm>
              <a:off x="3209591" y="3659628"/>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2"/>
                    <a:pt x="24286" y="15789"/>
                    <a:pt x="21454" y="15789"/>
                  </a:cubicBezTo>
                  <a:cubicBezTo>
                    <a:pt x="18621" y="15789"/>
                    <a:pt x="15789" y="18622"/>
                    <a:pt x="15789" y="21454"/>
                  </a:cubicBezTo>
                  <a:cubicBezTo>
                    <a:pt x="15789" y="24286"/>
                    <a:pt x="18621"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5" name="Freeform: Shape 2404">
              <a:extLst>
                <a:ext uri="{FF2B5EF4-FFF2-40B4-BE49-F238E27FC236}">
                  <a16:creationId xmlns:a16="http://schemas.microsoft.com/office/drawing/2014/main" id="{FB576A35-C58D-4487-A3BD-46629DAE18CB}"/>
                </a:ext>
              </a:extLst>
            </p:cNvPr>
            <p:cNvSpPr/>
            <p:nvPr/>
          </p:nvSpPr>
          <p:spPr>
            <a:xfrm>
              <a:off x="3089215" y="3696449"/>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1" y="15789"/>
                    <a:pt x="15789" y="18621"/>
                    <a:pt x="15789" y="21454"/>
                  </a:cubicBezTo>
                  <a:cubicBezTo>
                    <a:pt x="15789" y="24286"/>
                    <a:pt x="18621"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6" name="Freeform: Shape 2405">
              <a:extLst>
                <a:ext uri="{FF2B5EF4-FFF2-40B4-BE49-F238E27FC236}">
                  <a16:creationId xmlns:a16="http://schemas.microsoft.com/office/drawing/2014/main" id="{D9FC2005-74EB-42F1-82D3-8A62C0FFCDBD}"/>
                </a:ext>
              </a:extLst>
            </p:cNvPr>
            <p:cNvSpPr/>
            <p:nvPr/>
          </p:nvSpPr>
          <p:spPr>
            <a:xfrm>
              <a:off x="2331552" y="3244684"/>
              <a:ext cx="99133" cy="99133"/>
            </a:xfrm>
            <a:custGeom>
              <a:avLst/>
              <a:gdLst>
                <a:gd name="connsiteX0" fmla="*/ 49778 w 99133"/>
                <a:gd name="connsiteY0" fmla="*/ 15789 h 99133"/>
                <a:gd name="connsiteX1" fmla="*/ 83766 w 99133"/>
                <a:gd name="connsiteY1" fmla="*/ 49777 h 99133"/>
                <a:gd name="connsiteX2" fmla="*/ 49778 w 99133"/>
                <a:gd name="connsiteY2" fmla="*/ 83766 h 99133"/>
                <a:gd name="connsiteX3" fmla="*/ 15789 w 99133"/>
                <a:gd name="connsiteY3" fmla="*/ 49777 h 99133"/>
                <a:gd name="connsiteX4" fmla="*/ 49778 w 99133"/>
                <a:gd name="connsiteY4" fmla="*/ 15789 h 99133"/>
                <a:gd name="connsiteX5" fmla="*/ 49778 w 99133"/>
                <a:gd name="connsiteY5" fmla="*/ 15789 h 99133"/>
                <a:gd name="connsiteX6" fmla="*/ 49778 w 99133"/>
                <a:gd name="connsiteY6" fmla="*/ 31367 h 99133"/>
                <a:gd name="connsiteX7" fmla="*/ 31367 w 99133"/>
                <a:gd name="connsiteY7" fmla="*/ 49777 h 99133"/>
                <a:gd name="connsiteX8" fmla="*/ 49778 w 99133"/>
                <a:gd name="connsiteY8" fmla="*/ 68188 h 99133"/>
                <a:gd name="connsiteX9" fmla="*/ 68188 w 99133"/>
                <a:gd name="connsiteY9" fmla="*/ 49777 h 99133"/>
                <a:gd name="connsiteX10" fmla="*/ 49778 w 99133"/>
                <a:gd name="connsiteY10" fmla="*/ 31367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49778" y="15789"/>
                  </a:moveTo>
                  <a:cubicBezTo>
                    <a:pt x="68188" y="15789"/>
                    <a:pt x="83766" y="31367"/>
                    <a:pt x="83766" y="49777"/>
                  </a:cubicBezTo>
                  <a:cubicBezTo>
                    <a:pt x="83766" y="68188"/>
                    <a:pt x="68188" y="83766"/>
                    <a:pt x="49778" y="83766"/>
                  </a:cubicBezTo>
                  <a:cubicBezTo>
                    <a:pt x="31367" y="83766"/>
                    <a:pt x="15789" y="68188"/>
                    <a:pt x="15789" y="49777"/>
                  </a:cubicBezTo>
                  <a:cubicBezTo>
                    <a:pt x="15789" y="31367"/>
                    <a:pt x="31367" y="15789"/>
                    <a:pt x="49778" y="15789"/>
                  </a:cubicBezTo>
                  <a:lnTo>
                    <a:pt x="49778" y="15789"/>
                  </a:lnTo>
                  <a:close/>
                  <a:moveTo>
                    <a:pt x="49778" y="31367"/>
                  </a:moveTo>
                  <a:cubicBezTo>
                    <a:pt x="39864" y="31367"/>
                    <a:pt x="31367" y="39864"/>
                    <a:pt x="31367" y="49777"/>
                  </a:cubicBezTo>
                  <a:cubicBezTo>
                    <a:pt x="31367" y="59691"/>
                    <a:pt x="39864" y="68188"/>
                    <a:pt x="49778" y="68188"/>
                  </a:cubicBezTo>
                  <a:cubicBezTo>
                    <a:pt x="59691" y="68188"/>
                    <a:pt x="68188" y="59691"/>
                    <a:pt x="68188" y="49777"/>
                  </a:cubicBezTo>
                  <a:cubicBezTo>
                    <a:pt x="68188" y="39864"/>
                    <a:pt x="59691" y="31367"/>
                    <a:pt x="49778" y="3136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7" name="Freeform: Shape 2406">
              <a:extLst>
                <a:ext uri="{FF2B5EF4-FFF2-40B4-BE49-F238E27FC236}">
                  <a16:creationId xmlns:a16="http://schemas.microsoft.com/office/drawing/2014/main" id="{31744ECD-5A27-4210-8CD9-736EAAD148B4}"/>
                </a:ext>
              </a:extLst>
            </p:cNvPr>
            <p:cNvSpPr/>
            <p:nvPr/>
          </p:nvSpPr>
          <p:spPr>
            <a:xfrm>
              <a:off x="3410690" y="3389136"/>
              <a:ext cx="56648" cy="56648"/>
            </a:xfrm>
            <a:custGeom>
              <a:avLst/>
              <a:gdLst>
                <a:gd name="connsiteX0" fmla="*/ 46945 w 56647"/>
                <a:gd name="connsiteY0" fmla="*/ 31367 h 56647"/>
                <a:gd name="connsiteX1" fmla="*/ 31367 w 56647"/>
                <a:gd name="connsiteY1" fmla="*/ 46945 h 56647"/>
                <a:gd name="connsiteX2" fmla="*/ 15789 w 56647"/>
                <a:gd name="connsiteY2" fmla="*/ 31367 h 56647"/>
                <a:gd name="connsiteX3" fmla="*/ 31367 w 56647"/>
                <a:gd name="connsiteY3" fmla="*/ 15789 h 56647"/>
                <a:gd name="connsiteX4" fmla="*/ 46945 w 56647"/>
                <a:gd name="connsiteY4" fmla="*/ 3136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46945" y="31367"/>
                  </a:moveTo>
                  <a:cubicBezTo>
                    <a:pt x="46945" y="39971"/>
                    <a:pt x="39971" y="46945"/>
                    <a:pt x="31367" y="46945"/>
                  </a:cubicBezTo>
                  <a:cubicBezTo>
                    <a:pt x="22763" y="46945"/>
                    <a:pt x="15789" y="39971"/>
                    <a:pt x="15789" y="31367"/>
                  </a:cubicBezTo>
                  <a:cubicBezTo>
                    <a:pt x="15789" y="22763"/>
                    <a:pt x="22763" y="15789"/>
                    <a:pt x="31367" y="15789"/>
                  </a:cubicBezTo>
                  <a:cubicBezTo>
                    <a:pt x="39971" y="15789"/>
                    <a:pt x="46945" y="22763"/>
                    <a:pt x="46945" y="3136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8" name="Freeform: Shape 2407">
              <a:extLst>
                <a:ext uri="{FF2B5EF4-FFF2-40B4-BE49-F238E27FC236}">
                  <a16:creationId xmlns:a16="http://schemas.microsoft.com/office/drawing/2014/main" id="{9190A044-A259-4092-A01F-13787CF18216}"/>
                </a:ext>
              </a:extLst>
            </p:cNvPr>
            <p:cNvSpPr/>
            <p:nvPr/>
          </p:nvSpPr>
          <p:spPr>
            <a:xfrm>
              <a:off x="3616038" y="3461361"/>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9" name="Freeform: Shape 2408">
              <a:extLst>
                <a:ext uri="{FF2B5EF4-FFF2-40B4-BE49-F238E27FC236}">
                  <a16:creationId xmlns:a16="http://schemas.microsoft.com/office/drawing/2014/main" id="{DE3DD345-C963-42C5-98B4-8EBD847B5531}"/>
                </a:ext>
              </a:extLst>
            </p:cNvPr>
            <p:cNvSpPr/>
            <p:nvPr/>
          </p:nvSpPr>
          <p:spPr>
            <a:xfrm>
              <a:off x="3511240" y="3501015"/>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8448"/>
                    <a:pt x="44113" y="29951"/>
                  </a:cubicBezTo>
                  <a:cubicBezTo>
                    <a:pt x="44113" y="21454"/>
                    <a:pt x="38448" y="15789"/>
                    <a:pt x="29951" y="15789"/>
                  </a:cubicBezTo>
                  <a:cubicBezTo>
                    <a:pt x="21454" y="15789"/>
                    <a:pt x="15789" y="21454"/>
                    <a:pt x="15789" y="29951"/>
                  </a:cubicBezTo>
                  <a:cubicBezTo>
                    <a:pt x="15789" y="38448"/>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0" name="Freeform: Shape 2409">
              <a:extLst>
                <a:ext uri="{FF2B5EF4-FFF2-40B4-BE49-F238E27FC236}">
                  <a16:creationId xmlns:a16="http://schemas.microsoft.com/office/drawing/2014/main" id="{823DBB98-22F7-4A85-BB5A-1F7BEAE0DC1B}"/>
                </a:ext>
              </a:extLst>
            </p:cNvPr>
            <p:cNvSpPr/>
            <p:nvPr/>
          </p:nvSpPr>
          <p:spPr>
            <a:xfrm>
              <a:off x="3310141" y="3348066"/>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1" name="Freeform: Shape 2410">
              <a:extLst>
                <a:ext uri="{FF2B5EF4-FFF2-40B4-BE49-F238E27FC236}">
                  <a16:creationId xmlns:a16="http://schemas.microsoft.com/office/drawing/2014/main" id="{DC070CD7-65FB-45F7-BE4A-C10328BD1964}"/>
                </a:ext>
              </a:extLst>
            </p:cNvPr>
            <p:cNvSpPr/>
            <p:nvPr/>
          </p:nvSpPr>
          <p:spPr>
            <a:xfrm>
              <a:off x="3430517" y="3457113"/>
              <a:ext cx="42486" cy="42486"/>
            </a:xfrm>
            <a:custGeom>
              <a:avLst/>
              <a:gdLst>
                <a:gd name="connsiteX0" fmla="*/ 21454 w 42485"/>
                <a:gd name="connsiteY0" fmla="*/ 27118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8"/>
                  </a:moveTo>
                  <a:cubicBezTo>
                    <a:pt x="24286" y="27118"/>
                    <a:pt x="27119" y="24286"/>
                    <a:pt x="27119" y="21454"/>
                  </a:cubicBezTo>
                  <a:cubicBezTo>
                    <a:pt x="27119" y="18621"/>
                    <a:pt x="24286" y="15789"/>
                    <a:pt x="21454" y="15789"/>
                  </a:cubicBezTo>
                  <a:cubicBezTo>
                    <a:pt x="18622" y="15789"/>
                    <a:pt x="15789" y="18621"/>
                    <a:pt x="15789" y="21454"/>
                  </a:cubicBezTo>
                  <a:cubicBezTo>
                    <a:pt x="15789" y="24286"/>
                    <a:pt x="18622" y="27118"/>
                    <a:pt x="21454" y="2711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2" name="Freeform: Shape 2411">
              <a:extLst>
                <a:ext uri="{FF2B5EF4-FFF2-40B4-BE49-F238E27FC236}">
                  <a16:creationId xmlns:a16="http://schemas.microsoft.com/office/drawing/2014/main" id="{2DA6B479-42C9-42EF-A1B7-CE71FD3DF25A}"/>
                </a:ext>
              </a:extLst>
            </p:cNvPr>
            <p:cNvSpPr/>
            <p:nvPr/>
          </p:nvSpPr>
          <p:spPr>
            <a:xfrm>
              <a:off x="3226585" y="3367893"/>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1" y="15789"/>
                    <a:pt x="15789" y="18621"/>
                    <a:pt x="15789" y="21454"/>
                  </a:cubicBezTo>
                  <a:cubicBezTo>
                    <a:pt x="15789" y="24286"/>
                    <a:pt x="18621"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3" name="Freeform: Shape 2412">
              <a:extLst>
                <a:ext uri="{FF2B5EF4-FFF2-40B4-BE49-F238E27FC236}">
                  <a16:creationId xmlns:a16="http://schemas.microsoft.com/office/drawing/2014/main" id="{94294D12-F9AC-4671-8CC0-E2E34535D760}"/>
                </a:ext>
              </a:extLst>
            </p:cNvPr>
            <p:cNvSpPr/>
            <p:nvPr/>
          </p:nvSpPr>
          <p:spPr>
            <a:xfrm>
              <a:off x="3743495" y="3519425"/>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9" y="29951"/>
                    <a:pt x="29951" y="27119"/>
                    <a:pt x="29951" y="22870"/>
                  </a:cubicBezTo>
                  <a:cubicBezTo>
                    <a:pt x="29951" y="18621"/>
                    <a:pt x="27119" y="15789"/>
                    <a:pt x="22870" y="15789"/>
                  </a:cubicBezTo>
                  <a:cubicBezTo>
                    <a:pt x="18621" y="15789"/>
                    <a:pt x="15789" y="18621"/>
                    <a:pt x="15789" y="22870"/>
                  </a:cubicBezTo>
                  <a:cubicBezTo>
                    <a:pt x="15789" y="25702"/>
                    <a:pt x="20038" y="29951"/>
                    <a:pt x="22870"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4" name="Freeform: Shape 2413">
              <a:extLst>
                <a:ext uri="{FF2B5EF4-FFF2-40B4-BE49-F238E27FC236}">
                  <a16:creationId xmlns:a16="http://schemas.microsoft.com/office/drawing/2014/main" id="{3B6DD125-B34A-4132-ACB9-DA89788F805E}"/>
                </a:ext>
              </a:extLst>
            </p:cNvPr>
            <p:cNvSpPr/>
            <p:nvPr/>
          </p:nvSpPr>
          <p:spPr>
            <a:xfrm>
              <a:off x="3665605" y="3503847"/>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9" y="29951"/>
                    <a:pt x="29951" y="27119"/>
                    <a:pt x="29951" y="22870"/>
                  </a:cubicBezTo>
                  <a:cubicBezTo>
                    <a:pt x="29951" y="18622"/>
                    <a:pt x="27119" y="15789"/>
                    <a:pt x="22870" y="15789"/>
                  </a:cubicBezTo>
                  <a:cubicBezTo>
                    <a:pt x="18621" y="15789"/>
                    <a:pt x="15789" y="18622"/>
                    <a:pt x="15789" y="22870"/>
                  </a:cubicBezTo>
                  <a:cubicBezTo>
                    <a:pt x="15789" y="25703"/>
                    <a:pt x="18621" y="29951"/>
                    <a:pt x="22870"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5" name="Freeform: Shape 2414">
              <a:extLst>
                <a:ext uri="{FF2B5EF4-FFF2-40B4-BE49-F238E27FC236}">
                  <a16:creationId xmlns:a16="http://schemas.microsoft.com/office/drawing/2014/main" id="{5F050ECD-9FA1-4404-8C51-0A2AE7DEFEBC}"/>
                </a:ext>
              </a:extLst>
            </p:cNvPr>
            <p:cNvSpPr/>
            <p:nvPr/>
          </p:nvSpPr>
          <p:spPr>
            <a:xfrm>
              <a:off x="3359707" y="3345234"/>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7205" y="38448"/>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6" name="Freeform: Shape 2415">
              <a:extLst>
                <a:ext uri="{FF2B5EF4-FFF2-40B4-BE49-F238E27FC236}">
                  <a16:creationId xmlns:a16="http://schemas.microsoft.com/office/drawing/2014/main" id="{C96516D8-6384-4759-8D0D-4C18B5E88B64}"/>
                </a:ext>
              </a:extLst>
            </p:cNvPr>
            <p:cNvSpPr/>
            <p:nvPr/>
          </p:nvSpPr>
          <p:spPr>
            <a:xfrm>
              <a:off x="3409274" y="3544917"/>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2" y="15789"/>
                    <a:pt x="15789" y="18621"/>
                    <a:pt x="15789" y="21454"/>
                  </a:cubicBezTo>
                  <a:cubicBezTo>
                    <a:pt x="15789" y="24286"/>
                    <a:pt x="18622"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7" name="Freeform: Shape 2416">
              <a:extLst>
                <a:ext uri="{FF2B5EF4-FFF2-40B4-BE49-F238E27FC236}">
                  <a16:creationId xmlns:a16="http://schemas.microsoft.com/office/drawing/2014/main" id="{366DF21C-A476-4321-AE05-A0340439F8E9}"/>
                </a:ext>
              </a:extLst>
            </p:cNvPr>
            <p:cNvSpPr/>
            <p:nvPr/>
          </p:nvSpPr>
          <p:spPr>
            <a:xfrm>
              <a:off x="3407858" y="3512344"/>
              <a:ext cx="28324" cy="28324"/>
            </a:xfrm>
            <a:custGeom>
              <a:avLst/>
              <a:gdLst>
                <a:gd name="connsiteX0" fmla="*/ 20038 w 28323"/>
                <a:gd name="connsiteY0" fmla="*/ 24286 h 28323"/>
                <a:gd name="connsiteX1" fmla="*/ 24286 w 28323"/>
                <a:gd name="connsiteY1" fmla="*/ 20038 h 28323"/>
                <a:gd name="connsiteX2" fmla="*/ 20038 w 28323"/>
                <a:gd name="connsiteY2" fmla="*/ 15789 h 28323"/>
                <a:gd name="connsiteX3" fmla="*/ 15789 w 28323"/>
                <a:gd name="connsiteY3" fmla="*/ 20038 h 28323"/>
                <a:gd name="connsiteX4" fmla="*/ 20038 w 28323"/>
                <a:gd name="connsiteY4" fmla="*/ 24286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0038" y="24286"/>
                  </a:moveTo>
                  <a:cubicBezTo>
                    <a:pt x="22870" y="24286"/>
                    <a:pt x="24286" y="22870"/>
                    <a:pt x="24286" y="20038"/>
                  </a:cubicBezTo>
                  <a:cubicBezTo>
                    <a:pt x="24286" y="17205"/>
                    <a:pt x="22870" y="15789"/>
                    <a:pt x="20038" y="15789"/>
                  </a:cubicBezTo>
                  <a:cubicBezTo>
                    <a:pt x="17205" y="15789"/>
                    <a:pt x="15789" y="17205"/>
                    <a:pt x="15789" y="20038"/>
                  </a:cubicBezTo>
                  <a:cubicBezTo>
                    <a:pt x="15789" y="21454"/>
                    <a:pt x="17205" y="24286"/>
                    <a:pt x="20038"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8" name="Freeform: Shape 2417">
              <a:extLst>
                <a:ext uri="{FF2B5EF4-FFF2-40B4-BE49-F238E27FC236}">
                  <a16:creationId xmlns:a16="http://schemas.microsoft.com/office/drawing/2014/main" id="{F8DB9E88-B1CF-4F31-AD12-DD92EAB13E93}"/>
                </a:ext>
              </a:extLst>
            </p:cNvPr>
            <p:cNvSpPr/>
            <p:nvPr/>
          </p:nvSpPr>
          <p:spPr>
            <a:xfrm>
              <a:off x="1497416" y="1713782"/>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9"/>
                  </a:cubicBezTo>
                  <a:cubicBezTo>
                    <a:pt x="38448" y="21454"/>
                    <a:pt x="32783" y="15789"/>
                    <a:pt x="27119" y="15789"/>
                  </a:cubicBezTo>
                  <a:cubicBezTo>
                    <a:pt x="21454" y="15789"/>
                    <a:pt x="15789" y="21454"/>
                    <a:pt x="15789" y="27119"/>
                  </a:cubicBezTo>
                  <a:cubicBezTo>
                    <a:pt x="15789" y="32783"/>
                    <a:pt x="21454"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9" name="Freeform: Shape 2418">
              <a:extLst>
                <a:ext uri="{FF2B5EF4-FFF2-40B4-BE49-F238E27FC236}">
                  <a16:creationId xmlns:a16="http://schemas.microsoft.com/office/drawing/2014/main" id="{D847C0BF-A521-4404-890B-A35024D4ED38}"/>
                </a:ext>
              </a:extLst>
            </p:cNvPr>
            <p:cNvSpPr/>
            <p:nvPr/>
          </p:nvSpPr>
          <p:spPr>
            <a:xfrm>
              <a:off x="1252415" y="1160051"/>
              <a:ext cx="42486" cy="42486"/>
            </a:xfrm>
            <a:custGeom>
              <a:avLst/>
              <a:gdLst>
                <a:gd name="connsiteX0" fmla="*/ 38448 w 42485"/>
                <a:gd name="connsiteY0" fmla="*/ 27119 h 42485"/>
                <a:gd name="connsiteX1" fmla="*/ 27119 w 42485"/>
                <a:gd name="connsiteY1" fmla="*/ 38448 h 42485"/>
                <a:gd name="connsiteX2" fmla="*/ 15789 w 42485"/>
                <a:gd name="connsiteY2" fmla="*/ 27119 h 42485"/>
                <a:gd name="connsiteX3" fmla="*/ 27119 w 42485"/>
                <a:gd name="connsiteY3" fmla="*/ 15789 h 42485"/>
                <a:gd name="connsiteX4" fmla="*/ 38448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8448" y="27119"/>
                  </a:moveTo>
                  <a:cubicBezTo>
                    <a:pt x="38448" y="33376"/>
                    <a:pt x="33376" y="38448"/>
                    <a:pt x="27119" y="38448"/>
                  </a:cubicBezTo>
                  <a:cubicBezTo>
                    <a:pt x="20861" y="38448"/>
                    <a:pt x="15789" y="33376"/>
                    <a:pt x="15789" y="27119"/>
                  </a:cubicBezTo>
                  <a:cubicBezTo>
                    <a:pt x="15789" y="20861"/>
                    <a:pt x="20861" y="15789"/>
                    <a:pt x="27119" y="15789"/>
                  </a:cubicBezTo>
                  <a:cubicBezTo>
                    <a:pt x="33376" y="15789"/>
                    <a:pt x="38448" y="20861"/>
                    <a:pt x="38448"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0" name="Freeform: Shape 2419">
              <a:extLst>
                <a:ext uri="{FF2B5EF4-FFF2-40B4-BE49-F238E27FC236}">
                  <a16:creationId xmlns:a16="http://schemas.microsoft.com/office/drawing/2014/main" id="{BA7A37DC-7065-4594-BDBB-1E88F0188D52}"/>
                </a:ext>
              </a:extLst>
            </p:cNvPr>
            <p:cNvSpPr/>
            <p:nvPr/>
          </p:nvSpPr>
          <p:spPr>
            <a:xfrm>
              <a:off x="826141" y="1175630"/>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9"/>
                  </a:cubicBezTo>
                  <a:cubicBezTo>
                    <a:pt x="38448" y="21454"/>
                    <a:pt x="32783" y="15789"/>
                    <a:pt x="27119" y="15789"/>
                  </a:cubicBezTo>
                  <a:cubicBezTo>
                    <a:pt x="21454" y="15789"/>
                    <a:pt x="15789" y="21454"/>
                    <a:pt x="15789" y="27119"/>
                  </a:cubicBezTo>
                  <a:cubicBezTo>
                    <a:pt x="15789" y="32783"/>
                    <a:pt x="21454"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1" name="Freeform: Shape 2420">
              <a:extLst>
                <a:ext uri="{FF2B5EF4-FFF2-40B4-BE49-F238E27FC236}">
                  <a16:creationId xmlns:a16="http://schemas.microsoft.com/office/drawing/2014/main" id="{E97E2669-7982-44B8-A0AF-782EFCE7DAB0}"/>
                </a:ext>
              </a:extLst>
            </p:cNvPr>
            <p:cNvSpPr/>
            <p:nvPr/>
          </p:nvSpPr>
          <p:spPr>
            <a:xfrm>
              <a:off x="906864" y="1406469"/>
              <a:ext cx="42486" cy="42486"/>
            </a:xfrm>
            <a:custGeom>
              <a:avLst/>
              <a:gdLst>
                <a:gd name="connsiteX0" fmla="*/ 38448 w 42485"/>
                <a:gd name="connsiteY0" fmla="*/ 27119 h 42485"/>
                <a:gd name="connsiteX1" fmla="*/ 27119 w 42485"/>
                <a:gd name="connsiteY1" fmla="*/ 38448 h 42485"/>
                <a:gd name="connsiteX2" fmla="*/ 15789 w 42485"/>
                <a:gd name="connsiteY2" fmla="*/ 27119 h 42485"/>
                <a:gd name="connsiteX3" fmla="*/ 27119 w 42485"/>
                <a:gd name="connsiteY3" fmla="*/ 15789 h 42485"/>
                <a:gd name="connsiteX4" fmla="*/ 38448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8448" y="27119"/>
                  </a:moveTo>
                  <a:cubicBezTo>
                    <a:pt x="38448" y="33376"/>
                    <a:pt x="33376" y="38448"/>
                    <a:pt x="27119" y="38448"/>
                  </a:cubicBezTo>
                  <a:cubicBezTo>
                    <a:pt x="20861" y="38448"/>
                    <a:pt x="15789" y="33376"/>
                    <a:pt x="15789" y="27119"/>
                  </a:cubicBezTo>
                  <a:cubicBezTo>
                    <a:pt x="15789" y="20861"/>
                    <a:pt x="20861" y="15789"/>
                    <a:pt x="27119" y="15789"/>
                  </a:cubicBezTo>
                  <a:cubicBezTo>
                    <a:pt x="33376" y="15789"/>
                    <a:pt x="38448" y="20861"/>
                    <a:pt x="38448"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2" name="Freeform: Shape 2421">
              <a:extLst>
                <a:ext uri="{FF2B5EF4-FFF2-40B4-BE49-F238E27FC236}">
                  <a16:creationId xmlns:a16="http://schemas.microsoft.com/office/drawing/2014/main" id="{5182C0FF-26E3-4C08-81DC-CADDEE58AF90}"/>
                </a:ext>
              </a:extLst>
            </p:cNvPr>
            <p:cNvSpPr/>
            <p:nvPr/>
          </p:nvSpPr>
          <p:spPr>
            <a:xfrm>
              <a:off x="2032736" y="963201"/>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9"/>
                  </a:cubicBezTo>
                  <a:cubicBezTo>
                    <a:pt x="38448" y="21454"/>
                    <a:pt x="32783" y="15789"/>
                    <a:pt x="27119" y="15789"/>
                  </a:cubicBezTo>
                  <a:cubicBezTo>
                    <a:pt x="21454" y="15789"/>
                    <a:pt x="15789" y="21454"/>
                    <a:pt x="15789" y="27119"/>
                  </a:cubicBezTo>
                  <a:cubicBezTo>
                    <a:pt x="15789" y="32783"/>
                    <a:pt x="20038"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3" name="Freeform: Shape 2422">
              <a:extLst>
                <a:ext uri="{FF2B5EF4-FFF2-40B4-BE49-F238E27FC236}">
                  <a16:creationId xmlns:a16="http://schemas.microsoft.com/office/drawing/2014/main" id="{A04B4456-9AF1-48BD-9581-770240D998BC}"/>
                </a:ext>
              </a:extLst>
            </p:cNvPr>
            <p:cNvSpPr/>
            <p:nvPr/>
          </p:nvSpPr>
          <p:spPr>
            <a:xfrm>
              <a:off x="1415277" y="1356902"/>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4" name="Freeform: Shape 2423">
              <a:extLst>
                <a:ext uri="{FF2B5EF4-FFF2-40B4-BE49-F238E27FC236}">
                  <a16:creationId xmlns:a16="http://schemas.microsoft.com/office/drawing/2014/main" id="{C5B77753-3684-40DF-AB3E-B9A5E43A20F3}"/>
                </a:ext>
              </a:extLst>
            </p:cNvPr>
            <p:cNvSpPr/>
            <p:nvPr/>
          </p:nvSpPr>
          <p:spPr>
            <a:xfrm>
              <a:off x="1953429" y="136964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5" name="Freeform: Shape 2424">
              <a:extLst>
                <a:ext uri="{FF2B5EF4-FFF2-40B4-BE49-F238E27FC236}">
                  <a16:creationId xmlns:a16="http://schemas.microsoft.com/office/drawing/2014/main" id="{D1DD2A8F-0D49-478B-BF9D-69DC5D1D1D93}"/>
                </a:ext>
              </a:extLst>
            </p:cNvPr>
            <p:cNvSpPr/>
            <p:nvPr/>
          </p:nvSpPr>
          <p:spPr>
            <a:xfrm>
              <a:off x="2521322" y="1172797"/>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6" name="Freeform: Shape 2425">
              <a:extLst>
                <a:ext uri="{FF2B5EF4-FFF2-40B4-BE49-F238E27FC236}">
                  <a16:creationId xmlns:a16="http://schemas.microsoft.com/office/drawing/2014/main" id="{6749D681-7FA1-41D9-8C13-59D3B49DC1F0}"/>
                </a:ext>
              </a:extLst>
            </p:cNvPr>
            <p:cNvSpPr/>
            <p:nvPr/>
          </p:nvSpPr>
          <p:spPr>
            <a:xfrm>
              <a:off x="3781732" y="1709533"/>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7" name="Freeform: Shape 2426">
              <a:extLst>
                <a:ext uri="{FF2B5EF4-FFF2-40B4-BE49-F238E27FC236}">
                  <a16:creationId xmlns:a16="http://schemas.microsoft.com/office/drawing/2014/main" id="{4E3F64DB-83C2-4327-912F-9C271092AE93}"/>
                </a:ext>
              </a:extLst>
            </p:cNvPr>
            <p:cNvSpPr/>
            <p:nvPr/>
          </p:nvSpPr>
          <p:spPr>
            <a:xfrm>
              <a:off x="2657276" y="3149799"/>
              <a:ext cx="56648" cy="56648"/>
            </a:xfrm>
            <a:custGeom>
              <a:avLst/>
              <a:gdLst>
                <a:gd name="connsiteX0" fmla="*/ 34200 w 56647"/>
                <a:gd name="connsiteY0" fmla="*/ 52610 h 56647"/>
                <a:gd name="connsiteX1" fmla="*/ 52610 w 56647"/>
                <a:gd name="connsiteY1" fmla="*/ 34200 h 56647"/>
                <a:gd name="connsiteX2" fmla="*/ 34200 w 56647"/>
                <a:gd name="connsiteY2" fmla="*/ 15789 h 56647"/>
                <a:gd name="connsiteX3" fmla="*/ 15789 w 56647"/>
                <a:gd name="connsiteY3" fmla="*/ 34200 h 56647"/>
                <a:gd name="connsiteX4" fmla="*/ 34200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200" y="52610"/>
                  </a:moveTo>
                  <a:cubicBezTo>
                    <a:pt x="44113" y="52610"/>
                    <a:pt x="52610" y="44113"/>
                    <a:pt x="52610" y="34200"/>
                  </a:cubicBezTo>
                  <a:cubicBezTo>
                    <a:pt x="52610" y="24286"/>
                    <a:pt x="44113" y="15789"/>
                    <a:pt x="34200" y="15789"/>
                  </a:cubicBezTo>
                  <a:cubicBezTo>
                    <a:pt x="24286" y="15789"/>
                    <a:pt x="15789" y="24286"/>
                    <a:pt x="15789" y="34200"/>
                  </a:cubicBezTo>
                  <a:cubicBezTo>
                    <a:pt x="17205" y="45529"/>
                    <a:pt x="24286" y="52610"/>
                    <a:pt x="34200"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8" name="Freeform: Shape 2427">
              <a:extLst>
                <a:ext uri="{FF2B5EF4-FFF2-40B4-BE49-F238E27FC236}">
                  <a16:creationId xmlns:a16="http://schemas.microsoft.com/office/drawing/2014/main" id="{B09EB7F5-6C7B-49B8-AEEE-D4FD654BBD51}"/>
                </a:ext>
              </a:extLst>
            </p:cNvPr>
            <p:cNvSpPr/>
            <p:nvPr/>
          </p:nvSpPr>
          <p:spPr>
            <a:xfrm>
              <a:off x="2662941" y="3523674"/>
              <a:ext cx="99133" cy="99133"/>
            </a:xfrm>
            <a:custGeom>
              <a:avLst/>
              <a:gdLst>
                <a:gd name="connsiteX0" fmla="*/ 86599 w 99133"/>
                <a:gd name="connsiteY0" fmla="*/ 51194 h 99133"/>
                <a:gd name="connsiteX1" fmla="*/ 51194 w 99133"/>
                <a:gd name="connsiteY1" fmla="*/ 86599 h 99133"/>
                <a:gd name="connsiteX2" fmla="*/ 15789 w 99133"/>
                <a:gd name="connsiteY2" fmla="*/ 51194 h 99133"/>
                <a:gd name="connsiteX3" fmla="*/ 51194 w 99133"/>
                <a:gd name="connsiteY3" fmla="*/ 15789 h 99133"/>
                <a:gd name="connsiteX4" fmla="*/ 86599 w 99133"/>
                <a:gd name="connsiteY4" fmla="*/ 51194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86599" y="51194"/>
                  </a:moveTo>
                  <a:cubicBezTo>
                    <a:pt x="86599" y="70747"/>
                    <a:pt x="70747" y="86599"/>
                    <a:pt x="51194" y="86599"/>
                  </a:cubicBezTo>
                  <a:cubicBezTo>
                    <a:pt x="31640" y="86599"/>
                    <a:pt x="15789" y="70747"/>
                    <a:pt x="15789" y="51194"/>
                  </a:cubicBezTo>
                  <a:cubicBezTo>
                    <a:pt x="15789" y="31640"/>
                    <a:pt x="31640" y="15789"/>
                    <a:pt x="51194" y="15789"/>
                  </a:cubicBezTo>
                  <a:cubicBezTo>
                    <a:pt x="70747" y="15789"/>
                    <a:pt x="86599" y="31640"/>
                    <a:pt x="86599" y="5119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9" name="Freeform: Shape 2428">
              <a:extLst>
                <a:ext uri="{FF2B5EF4-FFF2-40B4-BE49-F238E27FC236}">
                  <a16:creationId xmlns:a16="http://schemas.microsoft.com/office/drawing/2014/main" id="{42CCC45E-FE05-4665-B20A-D4A06A015853}"/>
                </a:ext>
              </a:extLst>
            </p:cNvPr>
            <p:cNvSpPr/>
            <p:nvPr/>
          </p:nvSpPr>
          <p:spPr>
            <a:xfrm>
              <a:off x="3312973" y="3900381"/>
              <a:ext cx="56648" cy="56648"/>
            </a:xfrm>
            <a:custGeom>
              <a:avLst/>
              <a:gdLst>
                <a:gd name="connsiteX0" fmla="*/ 34199 w 56647"/>
                <a:gd name="connsiteY0" fmla="*/ 52610 h 56647"/>
                <a:gd name="connsiteX1" fmla="*/ 52610 w 56647"/>
                <a:gd name="connsiteY1" fmla="*/ 34200 h 56647"/>
                <a:gd name="connsiteX2" fmla="*/ 34199 w 56647"/>
                <a:gd name="connsiteY2" fmla="*/ 15789 h 56647"/>
                <a:gd name="connsiteX3" fmla="*/ 15789 w 56647"/>
                <a:gd name="connsiteY3" fmla="*/ 34200 h 56647"/>
                <a:gd name="connsiteX4" fmla="*/ 34199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199" y="52610"/>
                  </a:moveTo>
                  <a:cubicBezTo>
                    <a:pt x="44113" y="52610"/>
                    <a:pt x="52610" y="44113"/>
                    <a:pt x="52610" y="34200"/>
                  </a:cubicBezTo>
                  <a:cubicBezTo>
                    <a:pt x="52610" y="24286"/>
                    <a:pt x="44113" y="15789"/>
                    <a:pt x="34199" y="15789"/>
                  </a:cubicBezTo>
                  <a:cubicBezTo>
                    <a:pt x="24286" y="15789"/>
                    <a:pt x="15789" y="24286"/>
                    <a:pt x="15789" y="34200"/>
                  </a:cubicBezTo>
                  <a:cubicBezTo>
                    <a:pt x="15789" y="44113"/>
                    <a:pt x="24286" y="52610"/>
                    <a:pt x="34199"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0" name="Freeform: Shape 2429">
              <a:extLst>
                <a:ext uri="{FF2B5EF4-FFF2-40B4-BE49-F238E27FC236}">
                  <a16:creationId xmlns:a16="http://schemas.microsoft.com/office/drawing/2014/main" id="{C58CAFA4-B989-40CB-B3EF-3B851CA92267}"/>
                </a:ext>
              </a:extLst>
            </p:cNvPr>
            <p:cNvSpPr/>
            <p:nvPr/>
          </p:nvSpPr>
          <p:spPr>
            <a:xfrm>
              <a:off x="3535315" y="3809744"/>
              <a:ext cx="56648" cy="56648"/>
            </a:xfrm>
            <a:custGeom>
              <a:avLst/>
              <a:gdLst>
                <a:gd name="connsiteX0" fmla="*/ 34200 w 56647"/>
                <a:gd name="connsiteY0" fmla="*/ 52610 h 56647"/>
                <a:gd name="connsiteX1" fmla="*/ 52610 w 56647"/>
                <a:gd name="connsiteY1" fmla="*/ 34200 h 56647"/>
                <a:gd name="connsiteX2" fmla="*/ 34200 w 56647"/>
                <a:gd name="connsiteY2" fmla="*/ 15789 h 56647"/>
                <a:gd name="connsiteX3" fmla="*/ 15789 w 56647"/>
                <a:gd name="connsiteY3" fmla="*/ 34200 h 56647"/>
                <a:gd name="connsiteX4" fmla="*/ 34200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200" y="52610"/>
                  </a:moveTo>
                  <a:cubicBezTo>
                    <a:pt x="44113" y="52610"/>
                    <a:pt x="52610" y="44113"/>
                    <a:pt x="52610" y="34200"/>
                  </a:cubicBezTo>
                  <a:cubicBezTo>
                    <a:pt x="52610" y="24286"/>
                    <a:pt x="44113" y="15789"/>
                    <a:pt x="34200" y="15789"/>
                  </a:cubicBezTo>
                  <a:cubicBezTo>
                    <a:pt x="24286" y="15789"/>
                    <a:pt x="15789" y="24286"/>
                    <a:pt x="15789" y="34200"/>
                  </a:cubicBezTo>
                  <a:cubicBezTo>
                    <a:pt x="17205" y="44113"/>
                    <a:pt x="24286" y="52610"/>
                    <a:pt x="34200"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1" name="Freeform: Shape 2430">
              <a:extLst>
                <a:ext uri="{FF2B5EF4-FFF2-40B4-BE49-F238E27FC236}">
                  <a16:creationId xmlns:a16="http://schemas.microsoft.com/office/drawing/2014/main" id="{E2C3291F-C463-44CF-8DCE-4C0F956E7453}"/>
                </a:ext>
              </a:extLst>
            </p:cNvPr>
            <p:cNvSpPr/>
            <p:nvPr/>
          </p:nvSpPr>
          <p:spPr>
            <a:xfrm>
              <a:off x="4448759" y="1213867"/>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2" name="Freeform: Shape 2431">
              <a:extLst>
                <a:ext uri="{FF2B5EF4-FFF2-40B4-BE49-F238E27FC236}">
                  <a16:creationId xmlns:a16="http://schemas.microsoft.com/office/drawing/2014/main" id="{DE83A2FB-A4B1-4E9A-A5CB-21A3F2CB3E16}"/>
                </a:ext>
              </a:extLst>
            </p:cNvPr>
            <p:cNvSpPr/>
            <p:nvPr/>
          </p:nvSpPr>
          <p:spPr>
            <a:xfrm>
              <a:off x="4326966" y="738027"/>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3" name="Freeform: Shape 2432">
              <a:extLst>
                <a:ext uri="{FF2B5EF4-FFF2-40B4-BE49-F238E27FC236}">
                  <a16:creationId xmlns:a16="http://schemas.microsoft.com/office/drawing/2014/main" id="{48A78798-E5EA-4A91-9D0A-CC53DE2926EE}"/>
                </a:ext>
              </a:extLst>
            </p:cNvPr>
            <p:cNvSpPr/>
            <p:nvPr/>
          </p:nvSpPr>
          <p:spPr>
            <a:xfrm>
              <a:off x="6951169" y="2996851"/>
              <a:ext cx="42486" cy="42486"/>
            </a:xfrm>
            <a:custGeom>
              <a:avLst/>
              <a:gdLst>
                <a:gd name="connsiteX0" fmla="*/ 22870 w 42485"/>
                <a:gd name="connsiteY0" fmla="*/ 15789 h 42485"/>
                <a:gd name="connsiteX1" fmla="*/ 28535 w 42485"/>
                <a:gd name="connsiteY1" fmla="*/ 22870 h 42485"/>
                <a:gd name="connsiteX2" fmla="*/ 21454 w 42485"/>
                <a:gd name="connsiteY2" fmla="*/ 28535 h 42485"/>
                <a:gd name="connsiteX3" fmla="*/ 15789 w 42485"/>
                <a:gd name="connsiteY3" fmla="*/ 21454 h 42485"/>
                <a:gd name="connsiteX4" fmla="*/ 22870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15789"/>
                  </a:moveTo>
                  <a:cubicBezTo>
                    <a:pt x="27118" y="15789"/>
                    <a:pt x="29951" y="20037"/>
                    <a:pt x="28535" y="22870"/>
                  </a:cubicBezTo>
                  <a:cubicBezTo>
                    <a:pt x="28535" y="27118"/>
                    <a:pt x="24286" y="29951"/>
                    <a:pt x="21454" y="28535"/>
                  </a:cubicBezTo>
                  <a:cubicBezTo>
                    <a:pt x="17205" y="28535"/>
                    <a:pt x="15789" y="24286"/>
                    <a:pt x="15789" y="21454"/>
                  </a:cubicBezTo>
                  <a:cubicBezTo>
                    <a:pt x="15789" y="18621"/>
                    <a:pt x="20037" y="15789"/>
                    <a:pt x="22870"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4" name="Freeform: Shape 2433">
              <a:extLst>
                <a:ext uri="{FF2B5EF4-FFF2-40B4-BE49-F238E27FC236}">
                  <a16:creationId xmlns:a16="http://schemas.microsoft.com/office/drawing/2014/main" id="{70560A6B-6330-4800-8E76-43665F1D98E9}"/>
                </a:ext>
              </a:extLst>
            </p:cNvPr>
            <p:cNvSpPr/>
            <p:nvPr/>
          </p:nvSpPr>
          <p:spPr>
            <a:xfrm>
              <a:off x="7004984" y="2904583"/>
              <a:ext cx="56648" cy="56648"/>
            </a:xfrm>
            <a:custGeom>
              <a:avLst/>
              <a:gdLst>
                <a:gd name="connsiteX0" fmla="*/ 32783 w 56647"/>
                <a:gd name="connsiteY0" fmla="*/ 16004 h 56647"/>
                <a:gd name="connsiteX1" fmla="*/ 46945 w 56647"/>
                <a:gd name="connsiteY1" fmla="*/ 32999 h 56647"/>
                <a:gd name="connsiteX2" fmla="*/ 29951 w 56647"/>
                <a:gd name="connsiteY2" fmla="*/ 47161 h 56647"/>
                <a:gd name="connsiteX3" fmla="*/ 15789 w 56647"/>
                <a:gd name="connsiteY3" fmla="*/ 30166 h 56647"/>
                <a:gd name="connsiteX4" fmla="*/ 32783 w 56647"/>
                <a:gd name="connsiteY4" fmla="*/ 1600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16004"/>
                  </a:moveTo>
                  <a:cubicBezTo>
                    <a:pt x="41281" y="17420"/>
                    <a:pt x="46945" y="24501"/>
                    <a:pt x="46945" y="32999"/>
                  </a:cubicBezTo>
                  <a:cubicBezTo>
                    <a:pt x="45529" y="41496"/>
                    <a:pt x="38448" y="47161"/>
                    <a:pt x="29951" y="47161"/>
                  </a:cubicBezTo>
                  <a:cubicBezTo>
                    <a:pt x="21454" y="45744"/>
                    <a:pt x="15789" y="38663"/>
                    <a:pt x="15789" y="30166"/>
                  </a:cubicBezTo>
                  <a:cubicBezTo>
                    <a:pt x="17205" y="20253"/>
                    <a:pt x="24286" y="14588"/>
                    <a:pt x="32783" y="1600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5" name="Freeform: Shape 2434">
              <a:extLst>
                <a:ext uri="{FF2B5EF4-FFF2-40B4-BE49-F238E27FC236}">
                  <a16:creationId xmlns:a16="http://schemas.microsoft.com/office/drawing/2014/main" id="{C4A46F7B-6C81-49D3-A0D8-2310CA43C176}"/>
                </a:ext>
              </a:extLst>
            </p:cNvPr>
            <p:cNvSpPr/>
            <p:nvPr/>
          </p:nvSpPr>
          <p:spPr>
            <a:xfrm>
              <a:off x="7105533" y="2974192"/>
              <a:ext cx="42486" cy="42486"/>
            </a:xfrm>
            <a:custGeom>
              <a:avLst/>
              <a:gdLst>
                <a:gd name="connsiteX0" fmla="*/ 29951 w 42485"/>
                <a:gd name="connsiteY0" fmla="*/ 15789 h 42485"/>
                <a:gd name="connsiteX1" fmla="*/ 39864 w 42485"/>
                <a:gd name="connsiteY1" fmla="*/ 28535 h 42485"/>
                <a:gd name="connsiteX2" fmla="*/ 27119 w 42485"/>
                <a:gd name="connsiteY2" fmla="*/ 38448 h 42485"/>
                <a:gd name="connsiteX3" fmla="*/ 15789 w 42485"/>
                <a:gd name="connsiteY3" fmla="*/ 25702 h 42485"/>
                <a:gd name="connsiteX4" fmla="*/ 29951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951" y="15789"/>
                  </a:moveTo>
                  <a:cubicBezTo>
                    <a:pt x="37032" y="15789"/>
                    <a:pt x="41281" y="21454"/>
                    <a:pt x="39864" y="28535"/>
                  </a:cubicBezTo>
                  <a:cubicBezTo>
                    <a:pt x="39864" y="35616"/>
                    <a:pt x="34200" y="39864"/>
                    <a:pt x="27119" y="38448"/>
                  </a:cubicBezTo>
                  <a:cubicBezTo>
                    <a:pt x="20038" y="38448"/>
                    <a:pt x="15789" y="32783"/>
                    <a:pt x="15789" y="25702"/>
                  </a:cubicBezTo>
                  <a:cubicBezTo>
                    <a:pt x="17205" y="20038"/>
                    <a:pt x="22870" y="15789"/>
                    <a:pt x="29951"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6" name="Freeform: Shape 2435">
              <a:extLst>
                <a:ext uri="{FF2B5EF4-FFF2-40B4-BE49-F238E27FC236}">
                  <a16:creationId xmlns:a16="http://schemas.microsoft.com/office/drawing/2014/main" id="{E7922197-C992-4520-A8D0-A7E5ECB90395}"/>
                </a:ext>
              </a:extLst>
            </p:cNvPr>
            <p:cNvSpPr/>
            <p:nvPr/>
          </p:nvSpPr>
          <p:spPr>
            <a:xfrm>
              <a:off x="7082506" y="3371773"/>
              <a:ext cx="42486" cy="42486"/>
            </a:xfrm>
            <a:custGeom>
              <a:avLst/>
              <a:gdLst>
                <a:gd name="connsiteX0" fmla="*/ 23238 w 42485"/>
                <a:gd name="connsiteY0" fmla="*/ 16157 h 42485"/>
                <a:gd name="connsiteX1" fmla="*/ 28903 w 42485"/>
                <a:gd name="connsiteY1" fmla="*/ 23238 h 42485"/>
                <a:gd name="connsiteX2" fmla="*/ 21822 w 42485"/>
                <a:gd name="connsiteY2" fmla="*/ 28903 h 42485"/>
                <a:gd name="connsiteX3" fmla="*/ 16157 w 42485"/>
                <a:gd name="connsiteY3" fmla="*/ 21822 h 42485"/>
                <a:gd name="connsiteX4" fmla="*/ 23238 w 42485"/>
                <a:gd name="connsiteY4" fmla="*/ 16157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6157"/>
                  </a:moveTo>
                  <a:cubicBezTo>
                    <a:pt x="27487" y="16157"/>
                    <a:pt x="28903" y="20406"/>
                    <a:pt x="28903" y="23238"/>
                  </a:cubicBezTo>
                  <a:cubicBezTo>
                    <a:pt x="28903" y="27487"/>
                    <a:pt x="24655" y="30319"/>
                    <a:pt x="21822" y="28903"/>
                  </a:cubicBezTo>
                  <a:cubicBezTo>
                    <a:pt x="17574" y="28903"/>
                    <a:pt x="14741" y="24654"/>
                    <a:pt x="16157" y="21822"/>
                  </a:cubicBezTo>
                  <a:cubicBezTo>
                    <a:pt x="16157" y="17573"/>
                    <a:pt x="20406" y="14741"/>
                    <a:pt x="23238" y="1615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7" name="Freeform: Shape 2436">
              <a:extLst>
                <a:ext uri="{FF2B5EF4-FFF2-40B4-BE49-F238E27FC236}">
                  <a16:creationId xmlns:a16="http://schemas.microsoft.com/office/drawing/2014/main" id="{AEA8F885-3DF8-4792-8488-614C07F3C898}"/>
                </a:ext>
              </a:extLst>
            </p:cNvPr>
            <p:cNvSpPr/>
            <p:nvPr/>
          </p:nvSpPr>
          <p:spPr>
            <a:xfrm>
              <a:off x="6548970" y="2972407"/>
              <a:ext cx="42486" cy="42486"/>
            </a:xfrm>
            <a:custGeom>
              <a:avLst/>
              <a:gdLst>
                <a:gd name="connsiteX0" fmla="*/ 22870 w 42485"/>
                <a:gd name="connsiteY0" fmla="*/ 16157 h 42485"/>
                <a:gd name="connsiteX1" fmla="*/ 28535 w 42485"/>
                <a:gd name="connsiteY1" fmla="*/ 23238 h 42485"/>
                <a:gd name="connsiteX2" fmla="*/ 21454 w 42485"/>
                <a:gd name="connsiteY2" fmla="*/ 28903 h 42485"/>
                <a:gd name="connsiteX3" fmla="*/ 15789 w 42485"/>
                <a:gd name="connsiteY3" fmla="*/ 21822 h 42485"/>
                <a:gd name="connsiteX4" fmla="*/ 22870 w 42485"/>
                <a:gd name="connsiteY4" fmla="*/ 16157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16157"/>
                  </a:moveTo>
                  <a:cubicBezTo>
                    <a:pt x="27118" y="16157"/>
                    <a:pt x="29951" y="20406"/>
                    <a:pt x="28535" y="23238"/>
                  </a:cubicBezTo>
                  <a:cubicBezTo>
                    <a:pt x="28535" y="27487"/>
                    <a:pt x="24286" y="30319"/>
                    <a:pt x="21454" y="28903"/>
                  </a:cubicBezTo>
                  <a:cubicBezTo>
                    <a:pt x="17205" y="28903"/>
                    <a:pt x="15789" y="24655"/>
                    <a:pt x="15789" y="21822"/>
                  </a:cubicBezTo>
                  <a:cubicBezTo>
                    <a:pt x="17205" y="17574"/>
                    <a:pt x="20037" y="14741"/>
                    <a:pt x="22870" y="1615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8" name="Freeform: Shape 2437">
              <a:extLst>
                <a:ext uri="{FF2B5EF4-FFF2-40B4-BE49-F238E27FC236}">
                  <a16:creationId xmlns:a16="http://schemas.microsoft.com/office/drawing/2014/main" id="{DB93927E-663D-461C-B8B6-AE13717DA090}"/>
                </a:ext>
              </a:extLst>
            </p:cNvPr>
            <p:cNvSpPr/>
            <p:nvPr/>
          </p:nvSpPr>
          <p:spPr>
            <a:xfrm>
              <a:off x="6709000" y="2978440"/>
              <a:ext cx="42486" cy="42486"/>
            </a:xfrm>
            <a:custGeom>
              <a:avLst/>
              <a:gdLst>
                <a:gd name="connsiteX0" fmla="*/ 25703 w 42485"/>
                <a:gd name="connsiteY0" fmla="*/ 15789 h 42485"/>
                <a:gd name="connsiteX1" fmla="*/ 34200 w 42485"/>
                <a:gd name="connsiteY1" fmla="*/ 25702 h 42485"/>
                <a:gd name="connsiteX2" fmla="*/ 24286 w 42485"/>
                <a:gd name="connsiteY2" fmla="*/ 34200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31367" y="15789"/>
                    <a:pt x="34200" y="21454"/>
                    <a:pt x="34200" y="25702"/>
                  </a:cubicBezTo>
                  <a:cubicBezTo>
                    <a:pt x="34200" y="31367"/>
                    <a:pt x="28535" y="34200"/>
                    <a:pt x="24286" y="34200"/>
                  </a:cubicBezTo>
                  <a:cubicBezTo>
                    <a:pt x="18622" y="34200"/>
                    <a:pt x="15789" y="28535"/>
                    <a:pt x="15789" y="24286"/>
                  </a:cubicBezTo>
                  <a:cubicBezTo>
                    <a:pt x="17205" y="18621"/>
                    <a:pt x="21454" y="15789"/>
                    <a:pt x="25703"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9" name="Freeform: Shape 2438">
              <a:extLst>
                <a:ext uri="{FF2B5EF4-FFF2-40B4-BE49-F238E27FC236}">
                  <a16:creationId xmlns:a16="http://schemas.microsoft.com/office/drawing/2014/main" id="{F3C98328-BD86-4746-9661-3CF726746AB4}"/>
                </a:ext>
              </a:extLst>
            </p:cNvPr>
            <p:cNvSpPr/>
            <p:nvPr/>
          </p:nvSpPr>
          <p:spPr>
            <a:xfrm>
              <a:off x="6279894" y="3036504"/>
              <a:ext cx="42486" cy="42486"/>
            </a:xfrm>
            <a:custGeom>
              <a:avLst/>
              <a:gdLst>
                <a:gd name="connsiteX0" fmla="*/ 22870 w 42485"/>
                <a:gd name="connsiteY0" fmla="*/ 15789 h 42485"/>
                <a:gd name="connsiteX1" fmla="*/ 28535 w 42485"/>
                <a:gd name="connsiteY1" fmla="*/ 22870 h 42485"/>
                <a:gd name="connsiteX2" fmla="*/ 21454 w 42485"/>
                <a:gd name="connsiteY2" fmla="*/ 28535 h 42485"/>
                <a:gd name="connsiteX3" fmla="*/ 15789 w 42485"/>
                <a:gd name="connsiteY3" fmla="*/ 21454 h 42485"/>
                <a:gd name="connsiteX4" fmla="*/ 22870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15789"/>
                  </a:moveTo>
                  <a:cubicBezTo>
                    <a:pt x="27118" y="15789"/>
                    <a:pt x="29951" y="20038"/>
                    <a:pt x="28535" y="22870"/>
                  </a:cubicBezTo>
                  <a:cubicBezTo>
                    <a:pt x="28535" y="27119"/>
                    <a:pt x="24286" y="29951"/>
                    <a:pt x="21454" y="28535"/>
                  </a:cubicBezTo>
                  <a:cubicBezTo>
                    <a:pt x="17205" y="28535"/>
                    <a:pt x="15789" y="24286"/>
                    <a:pt x="15789" y="21454"/>
                  </a:cubicBezTo>
                  <a:cubicBezTo>
                    <a:pt x="15789" y="18622"/>
                    <a:pt x="18621" y="15789"/>
                    <a:pt x="22870"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0" name="Freeform: Shape 2439">
              <a:extLst>
                <a:ext uri="{FF2B5EF4-FFF2-40B4-BE49-F238E27FC236}">
                  <a16:creationId xmlns:a16="http://schemas.microsoft.com/office/drawing/2014/main" id="{767A7323-A493-421D-A104-C063AE3B4694}"/>
                </a:ext>
              </a:extLst>
            </p:cNvPr>
            <p:cNvSpPr/>
            <p:nvPr/>
          </p:nvSpPr>
          <p:spPr>
            <a:xfrm>
              <a:off x="6742988" y="3078990"/>
              <a:ext cx="113295" cy="113295"/>
            </a:xfrm>
            <a:custGeom>
              <a:avLst/>
              <a:gdLst>
                <a:gd name="connsiteX0" fmla="*/ 56859 w 113295"/>
                <a:gd name="connsiteY0" fmla="*/ 97928 h 113295"/>
                <a:gd name="connsiteX1" fmla="*/ 97928 w 113295"/>
                <a:gd name="connsiteY1" fmla="*/ 56859 h 113295"/>
                <a:gd name="connsiteX2" fmla="*/ 56859 w 113295"/>
                <a:gd name="connsiteY2" fmla="*/ 15789 h 113295"/>
                <a:gd name="connsiteX3" fmla="*/ 15789 w 113295"/>
                <a:gd name="connsiteY3" fmla="*/ 56859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8" y="79518"/>
                    <a:pt x="97928" y="56859"/>
                  </a:cubicBezTo>
                  <a:cubicBezTo>
                    <a:pt x="97928" y="34200"/>
                    <a:pt x="79518" y="15789"/>
                    <a:pt x="56859" y="15789"/>
                  </a:cubicBezTo>
                  <a:cubicBezTo>
                    <a:pt x="34200" y="15789"/>
                    <a:pt x="15789" y="34200"/>
                    <a:pt x="15789" y="56859"/>
                  </a:cubicBezTo>
                  <a:cubicBezTo>
                    <a:pt x="15789" y="79518"/>
                    <a:pt x="34200" y="97928"/>
                    <a:pt x="56859"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1" name="Freeform: Shape 2440">
              <a:extLst>
                <a:ext uri="{FF2B5EF4-FFF2-40B4-BE49-F238E27FC236}">
                  <a16:creationId xmlns:a16="http://schemas.microsoft.com/office/drawing/2014/main" id="{3F9A85A2-AE97-4D27-8387-B8CBF957C52E}"/>
                </a:ext>
              </a:extLst>
            </p:cNvPr>
            <p:cNvSpPr/>
            <p:nvPr/>
          </p:nvSpPr>
          <p:spPr>
            <a:xfrm>
              <a:off x="6929818" y="3304164"/>
              <a:ext cx="70810" cy="70810"/>
            </a:xfrm>
            <a:custGeom>
              <a:avLst/>
              <a:gdLst>
                <a:gd name="connsiteX0" fmla="*/ 41388 w 70809"/>
                <a:gd name="connsiteY0" fmla="*/ 66772 h 70809"/>
                <a:gd name="connsiteX1" fmla="*/ 66880 w 70809"/>
                <a:gd name="connsiteY1" fmla="*/ 41280 h 70809"/>
                <a:gd name="connsiteX2" fmla="*/ 41388 w 70809"/>
                <a:gd name="connsiteY2" fmla="*/ 15789 h 70809"/>
                <a:gd name="connsiteX3" fmla="*/ 15897 w 70809"/>
                <a:gd name="connsiteY3" fmla="*/ 41280 h 70809"/>
                <a:gd name="connsiteX4" fmla="*/ 41388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388" y="66772"/>
                  </a:moveTo>
                  <a:cubicBezTo>
                    <a:pt x="55550" y="66772"/>
                    <a:pt x="66880" y="55442"/>
                    <a:pt x="66880" y="41280"/>
                  </a:cubicBezTo>
                  <a:cubicBezTo>
                    <a:pt x="66880" y="27119"/>
                    <a:pt x="55550" y="15789"/>
                    <a:pt x="41388" y="15789"/>
                  </a:cubicBezTo>
                  <a:cubicBezTo>
                    <a:pt x="27226" y="15789"/>
                    <a:pt x="15897" y="27119"/>
                    <a:pt x="15897" y="41280"/>
                  </a:cubicBezTo>
                  <a:cubicBezTo>
                    <a:pt x="14481" y="55442"/>
                    <a:pt x="27226" y="66772"/>
                    <a:pt x="41388"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2" name="Freeform: Shape 2441">
              <a:extLst>
                <a:ext uri="{FF2B5EF4-FFF2-40B4-BE49-F238E27FC236}">
                  <a16:creationId xmlns:a16="http://schemas.microsoft.com/office/drawing/2014/main" id="{C7BFBCC7-E244-42B9-B600-976587934E53}"/>
                </a:ext>
              </a:extLst>
            </p:cNvPr>
            <p:cNvSpPr/>
            <p:nvPr/>
          </p:nvSpPr>
          <p:spPr>
            <a:xfrm>
              <a:off x="6825128" y="3101432"/>
              <a:ext cx="56648" cy="56648"/>
            </a:xfrm>
            <a:custGeom>
              <a:avLst/>
              <a:gdLst>
                <a:gd name="connsiteX0" fmla="*/ 29951 w 56647"/>
                <a:gd name="connsiteY0" fmla="*/ 16006 h 56647"/>
                <a:gd name="connsiteX1" fmla="*/ 42697 w 56647"/>
                <a:gd name="connsiteY1" fmla="*/ 30168 h 56647"/>
                <a:gd name="connsiteX2" fmla="*/ 28535 w 56647"/>
                <a:gd name="connsiteY2" fmla="*/ 42913 h 56647"/>
                <a:gd name="connsiteX3" fmla="*/ 15789 w 56647"/>
                <a:gd name="connsiteY3" fmla="*/ 28752 h 56647"/>
                <a:gd name="connsiteX4" fmla="*/ 29951 w 56647"/>
                <a:gd name="connsiteY4" fmla="*/ 16006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6006"/>
                  </a:moveTo>
                  <a:cubicBezTo>
                    <a:pt x="37032" y="16006"/>
                    <a:pt x="42697" y="23087"/>
                    <a:pt x="42697" y="30168"/>
                  </a:cubicBezTo>
                  <a:cubicBezTo>
                    <a:pt x="42697" y="37249"/>
                    <a:pt x="35616" y="42913"/>
                    <a:pt x="28535" y="42913"/>
                  </a:cubicBezTo>
                  <a:cubicBezTo>
                    <a:pt x="21454" y="42913"/>
                    <a:pt x="15789" y="35832"/>
                    <a:pt x="15789" y="28752"/>
                  </a:cubicBezTo>
                  <a:cubicBezTo>
                    <a:pt x="15789" y="20255"/>
                    <a:pt x="22870" y="14590"/>
                    <a:pt x="29951" y="1600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3" name="Freeform: Shape 2442">
              <a:extLst>
                <a:ext uri="{FF2B5EF4-FFF2-40B4-BE49-F238E27FC236}">
                  <a16:creationId xmlns:a16="http://schemas.microsoft.com/office/drawing/2014/main" id="{CE723A2B-0A83-42FD-A429-5B6795B490A2}"/>
                </a:ext>
              </a:extLst>
            </p:cNvPr>
            <p:cNvSpPr/>
            <p:nvPr/>
          </p:nvSpPr>
          <p:spPr>
            <a:xfrm>
              <a:off x="6779441" y="3529339"/>
              <a:ext cx="42486" cy="42486"/>
            </a:xfrm>
            <a:custGeom>
              <a:avLst/>
              <a:gdLst>
                <a:gd name="connsiteX0" fmla="*/ 23238 w 42485"/>
                <a:gd name="connsiteY0" fmla="*/ 15789 h 42485"/>
                <a:gd name="connsiteX1" fmla="*/ 28903 w 42485"/>
                <a:gd name="connsiteY1" fmla="*/ 22870 h 42485"/>
                <a:gd name="connsiteX2" fmla="*/ 21822 w 42485"/>
                <a:gd name="connsiteY2" fmla="*/ 28535 h 42485"/>
                <a:gd name="connsiteX3" fmla="*/ 16157 w 42485"/>
                <a:gd name="connsiteY3" fmla="*/ 21454 h 42485"/>
                <a:gd name="connsiteX4" fmla="*/ 2323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5789"/>
                  </a:moveTo>
                  <a:cubicBezTo>
                    <a:pt x="27487" y="15789"/>
                    <a:pt x="30319" y="20038"/>
                    <a:pt x="28903" y="22870"/>
                  </a:cubicBezTo>
                  <a:cubicBezTo>
                    <a:pt x="28903" y="27119"/>
                    <a:pt x="24655" y="29951"/>
                    <a:pt x="21822" y="28535"/>
                  </a:cubicBezTo>
                  <a:cubicBezTo>
                    <a:pt x="17574" y="28535"/>
                    <a:pt x="14741" y="24286"/>
                    <a:pt x="16157" y="21454"/>
                  </a:cubicBezTo>
                  <a:cubicBezTo>
                    <a:pt x="16157" y="18621"/>
                    <a:pt x="18990" y="15789"/>
                    <a:pt x="2323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4" name="Freeform: Shape 2443">
              <a:extLst>
                <a:ext uri="{FF2B5EF4-FFF2-40B4-BE49-F238E27FC236}">
                  <a16:creationId xmlns:a16="http://schemas.microsoft.com/office/drawing/2014/main" id="{C7C3D9EB-C567-4D43-BD98-5CBAA407FA36}"/>
                </a:ext>
              </a:extLst>
            </p:cNvPr>
            <p:cNvSpPr/>
            <p:nvPr/>
          </p:nvSpPr>
          <p:spPr>
            <a:xfrm>
              <a:off x="6885655" y="3410010"/>
              <a:ext cx="42486" cy="42486"/>
            </a:xfrm>
            <a:custGeom>
              <a:avLst/>
              <a:gdLst>
                <a:gd name="connsiteX0" fmla="*/ 23238 w 42485"/>
                <a:gd name="connsiteY0" fmla="*/ 16157 h 42485"/>
                <a:gd name="connsiteX1" fmla="*/ 28903 w 42485"/>
                <a:gd name="connsiteY1" fmla="*/ 23238 h 42485"/>
                <a:gd name="connsiteX2" fmla="*/ 21822 w 42485"/>
                <a:gd name="connsiteY2" fmla="*/ 28903 h 42485"/>
                <a:gd name="connsiteX3" fmla="*/ 16157 w 42485"/>
                <a:gd name="connsiteY3" fmla="*/ 21822 h 42485"/>
                <a:gd name="connsiteX4" fmla="*/ 23238 w 42485"/>
                <a:gd name="connsiteY4" fmla="*/ 16157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6157"/>
                  </a:moveTo>
                  <a:cubicBezTo>
                    <a:pt x="27487" y="16157"/>
                    <a:pt x="30319" y="20406"/>
                    <a:pt x="28903" y="23238"/>
                  </a:cubicBezTo>
                  <a:cubicBezTo>
                    <a:pt x="28903" y="27487"/>
                    <a:pt x="24655" y="30319"/>
                    <a:pt x="21822" y="28903"/>
                  </a:cubicBezTo>
                  <a:cubicBezTo>
                    <a:pt x="17574" y="28903"/>
                    <a:pt x="14741" y="24654"/>
                    <a:pt x="16157" y="21822"/>
                  </a:cubicBezTo>
                  <a:cubicBezTo>
                    <a:pt x="16157" y="17573"/>
                    <a:pt x="18990" y="14741"/>
                    <a:pt x="23238" y="1615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5" name="Freeform: Shape 2444">
              <a:extLst>
                <a:ext uri="{FF2B5EF4-FFF2-40B4-BE49-F238E27FC236}">
                  <a16:creationId xmlns:a16="http://schemas.microsoft.com/office/drawing/2014/main" id="{AF4AB749-13D4-4B52-A680-4D0584AC7296}"/>
                </a:ext>
              </a:extLst>
            </p:cNvPr>
            <p:cNvSpPr/>
            <p:nvPr/>
          </p:nvSpPr>
          <p:spPr>
            <a:xfrm>
              <a:off x="6435675" y="3098817"/>
              <a:ext cx="56648" cy="56648"/>
            </a:xfrm>
            <a:custGeom>
              <a:avLst/>
              <a:gdLst>
                <a:gd name="connsiteX0" fmla="*/ 29951 w 56647"/>
                <a:gd name="connsiteY0" fmla="*/ 15789 h 56647"/>
                <a:gd name="connsiteX1" fmla="*/ 42697 w 56647"/>
                <a:gd name="connsiteY1" fmla="*/ 29951 h 56647"/>
                <a:gd name="connsiteX2" fmla="*/ 28535 w 56647"/>
                <a:gd name="connsiteY2" fmla="*/ 42697 h 56647"/>
                <a:gd name="connsiteX3" fmla="*/ 15789 w 56647"/>
                <a:gd name="connsiteY3" fmla="*/ 28535 h 56647"/>
                <a:gd name="connsiteX4" fmla="*/ 29951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5789"/>
                  </a:moveTo>
                  <a:cubicBezTo>
                    <a:pt x="37032" y="15789"/>
                    <a:pt x="42697" y="22870"/>
                    <a:pt x="42697" y="29951"/>
                  </a:cubicBezTo>
                  <a:cubicBezTo>
                    <a:pt x="42697" y="37032"/>
                    <a:pt x="35616" y="42697"/>
                    <a:pt x="28535" y="42697"/>
                  </a:cubicBezTo>
                  <a:cubicBezTo>
                    <a:pt x="21454" y="42697"/>
                    <a:pt x="15789" y="35616"/>
                    <a:pt x="15789" y="28535"/>
                  </a:cubicBezTo>
                  <a:cubicBezTo>
                    <a:pt x="15789" y="21454"/>
                    <a:pt x="22870" y="15789"/>
                    <a:pt x="29951"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6" name="Freeform: Shape 2445">
              <a:extLst>
                <a:ext uri="{FF2B5EF4-FFF2-40B4-BE49-F238E27FC236}">
                  <a16:creationId xmlns:a16="http://schemas.microsoft.com/office/drawing/2014/main" id="{E963E974-5F0C-4BDF-98AE-0247A2ADE2F8}"/>
                </a:ext>
              </a:extLst>
            </p:cNvPr>
            <p:cNvSpPr/>
            <p:nvPr/>
          </p:nvSpPr>
          <p:spPr>
            <a:xfrm>
              <a:off x="6990822" y="3330801"/>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4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5"/>
                    <a:pt x="31367" y="37303"/>
                    <a:pt x="25703" y="37303"/>
                  </a:cubicBezTo>
                  <a:cubicBezTo>
                    <a:pt x="20038" y="37303"/>
                    <a:pt x="15789" y="31638"/>
                    <a:pt x="15789" y="25974"/>
                  </a:cubicBezTo>
                  <a:cubicBezTo>
                    <a:pt x="15789" y="18893"/>
                    <a:pt x="21454" y="14644"/>
                    <a:pt x="27119"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7" name="Freeform: Shape 2446">
              <a:extLst>
                <a:ext uri="{FF2B5EF4-FFF2-40B4-BE49-F238E27FC236}">
                  <a16:creationId xmlns:a16="http://schemas.microsoft.com/office/drawing/2014/main" id="{18C21AE3-52D3-4807-8595-C664098FCC0B}"/>
                </a:ext>
              </a:extLst>
            </p:cNvPr>
            <p:cNvSpPr/>
            <p:nvPr/>
          </p:nvSpPr>
          <p:spPr>
            <a:xfrm>
              <a:off x="6316626" y="3638288"/>
              <a:ext cx="99133" cy="99133"/>
            </a:xfrm>
            <a:custGeom>
              <a:avLst/>
              <a:gdLst>
                <a:gd name="connsiteX0" fmla="*/ 55532 w 99133"/>
                <a:gd name="connsiteY0" fmla="*/ 15886 h 99133"/>
                <a:gd name="connsiteX1" fmla="*/ 89520 w 99133"/>
                <a:gd name="connsiteY1" fmla="*/ 55540 h 99133"/>
                <a:gd name="connsiteX2" fmla="*/ 49867 w 99133"/>
                <a:gd name="connsiteY2" fmla="*/ 89528 h 99133"/>
                <a:gd name="connsiteX3" fmla="*/ 15878 w 99133"/>
                <a:gd name="connsiteY3" fmla="*/ 49875 h 99133"/>
                <a:gd name="connsiteX4" fmla="*/ 55532 w 99133"/>
                <a:gd name="connsiteY4" fmla="*/ 15886 h 99133"/>
                <a:gd name="connsiteX5" fmla="*/ 55532 w 99133"/>
                <a:gd name="connsiteY5" fmla="*/ 15886 h 99133"/>
                <a:gd name="connsiteX6" fmla="*/ 54115 w 99133"/>
                <a:gd name="connsiteY6" fmla="*/ 31465 h 99133"/>
                <a:gd name="connsiteX7" fmla="*/ 31456 w 99133"/>
                <a:gd name="connsiteY7" fmla="*/ 49875 h 99133"/>
                <a:gd name="connsiteX8" fmla="*/ 49867 w 99133"/>
                <a:gd name="connsiteY8" fmla="*/ 72534 h 99133"/>
                <a:gd name="connsiteX9" fmla="*/ 72526 w 99133"/>
                <a:gd name="connsiteY9" fmla="*/ 54124 h 99133"/>
                <a:gd name="connsiteX10" fmla="*/ 54115 w 99133"/>
                <a:gd name="connsiteY10" fmla="*/ 31465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55532" y="15886"/>
                  </a:moveTo>
                  <a:cubicBezTo>
                    <a:pt x="75358" y="17303"/>
                    <a:pt x="90936" y="35713"/>
                    <a:pt x="89520" y="55540"/>
                  </a:cubicBezTo>
                  <a:cubicBezTo>
                    <a:pt x="88104" y="75367"/>
                    <a:pt x="69694" y="90945"/>
                    <a:pt x="49867" y="89528"/>
                  </a:cubicBezTo>
                  <a:cubicBezTo>
                    <a:pt x="30040" y="88112"/>
                    <a:pt x="14462" y="69702"/>
                    <a:pt x="15878" y="49875"/>
                  </a:cubicBezTo>
                  <a:cubicBezTo>
                    <a:pt x="17294" y="28632"/>
                    <a:pt x="34289" y="14470"/>
                    <a:pt x="55532" y="15886"/>
                  </a:cubicBezTo>
                  <a:lnTo>
                    <a:pt x="55532" y="15886"/>
                  </a:lnTo>
                  <a:close/>
                  <a:moveTo>
                    <a:pt x="54115" y="31465"/>
                  </a:moveTo>
                  <a:cubicBezTo>
                    <a:pt x="42786" y="30048"/>
                    <a:pt x="32873" y="38545"/>
                    <a:pt x="31456" y="49875"/>
                  </a:cubicBezTo>
                  <a:cubicBezTo>
                    <a:pt x="30040" y="61205"/>
                    <a:pt x="38537" y="71118"/>
                    <a:pt x="49867" y="72534"/>
                  </a:cubicBezTo>
                  <a:cubicBezTo>
                    <a:pt x="61196" y="73950"/>
                    <a:pt x="71110" y="65453"/>
                    <a:pt x="72526" y="54124"/>
                  </a:cubicBezTo>
                  <a:cubicBezTo>
                    <a:pt x="73942" y="42794"/>
                    <a:pt x="65445" y="32881"/>
                    <a:pt x="54115" y="3146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8" name="Freeform: Shape 2447">
              <a:extLst>
                <a:ext uri="{FF2B5EF4-FFF2-40B4-BE49-F238E27FC236}">
                  <a16:creationId xmlns:a16="http://schemas.microsoft.com/office/drawing/2014/main" id="{50EF258E-01F8-4FF9-BB69-709220C05BB8}"/>
                </a:ext>
              </a:extLst>
            </p:cNvPr>
            <p:cNvSpPr/>
            <p:nvPr/>
          </p:nvSpPr>
          <p:spPr>
            <a:xfrm>
              <a:off x="6291042" y="3462778"/>
              <a:ext cx="56648" cy="56648"/>
            </a:xfrm>
            <a:custGeom>
              <a:avLst/>
              <a:gdLst>
                <a:gd name="connsiteX0" fmla="*/ 32965 w 56647"/>
                <a:gd name="connsiteY0" fmla="*/ 15789 h 56647"/>
                <a:gd name="connsiteX1" fmla="*/ 47127 w 56647"/>
                <a:gd name="connsiteY1" fmla="*/ 32783 h 56647"/>
                <a:gd name="connsiteX2" fmla="*/ 30132 w 56647"/>
                <a:gd name="connsiteY2" fmla="*/ 46945 h 56647"/>
                <a:gd name="connsiteX3" fmla="*/ 15970 w 56647"/>
                <a:gd name="connsiteY3" fmla="*/ 29951 h 56647"/>
                <a:gd name="connsiteX4" fmla="*/ 32965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789"/>
                  </a:moveTo>
                  <a:cubicBezTo>
                    <a:pt x="41462" y="17205"/>
                    <a:pt x="48543" y="24286"/>
                    <a:pt x="47127" y="32783"/>
                  </a:cubicBezTo>
                  <a:cubicBezTo>
                    <a:pt x="45710" y="41280"/>
                    <a:pt x="38630" y="48361"/>
                    <a:pt x="30132" y="46945"/>
                  </a:cubicBezTo>
                  <a:cubicBezTo>
                    <a:pt x="21635" y="45529"/>
                    <a:pt x="14554" y="38448"/>
                    <a:pt x="15970" y="29951"/>
                  </a:cubicBezTo>
                  <a:cubicBezTo>
                    <a:pt x="15970" y="22870"/>
                    <a:pt x="24468" y="15789"/>
                    <a:pt x="32965"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9" name="Freeform: Shape 2448">
              <a:extLst>
                <a:ext uri="{FF2B5EF4-FFF2-40B4-BE49-F238E27FC236}">
                  <a16:creationId xmlns:a16="http://schemas.microsoft.com/office/drawing/2014/main" id="{DC707F50-49BC-4981-BB56-50D51D609875}"/>
                </a:ext>
              </a:extLst>
            </p:cNvPr>
            <p:cNvSpPr/>
            <p:nvPr/>
          </p:nvSpPr>
          <p:spPr>
            <a:xfrm>
              <a:off x="6337958" y="3543501"/>
              <a:ext cx="42486" cy="42486"/>
            </a:xfrm>
            <a:custGeom>
              <a:avLst/>
              <a:gdLst>
                <a:gd name="connsiteX0" fmla="*/ 25702 w 42485"/>
                <a:gd name="connsiteY0" fmla="*/ 15789 h 42485"/>
                <a:gd name="connsiteX1" fmla="*/ 34199 w 42485"/>
                <a:gd name="connsiteY1" fmla="*/ 25702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1454"/>
                    <a:pt x="34199" y="25702"/>
                  </a:cubicBezTo>
                  <a:cubicBezTo>
                    <a:pt x="34199" y="31367"/>
                    <a:pt x="28535" y="34200"/>
                    <a:pt x="24286" y="34200"/>
                  </a:cubicBezTo>
                  <a:cubicBezTo>
                    <a:pt x="18621" y="34200"/>
                    <a:pt x="15789" y="29951"/>
                    <a:pt x="15789" y="24286"/>
                  </a:cubicBezTo>
                  <a:cubicBezTo>
                    <a:pt x="17205" y="18621"/>
                    <a:pt x="21454"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0" name="Freeform: Shape 2449">
              <a:extLst>
                <a:ext uri="{FF2B5EF4-FFF2-40B4-BE49-F238E27FC236}">
                  <a16:creationId xmlns:a16="http://schemas.microsoft.com/office/drawing/2014/main" id="{D5ED5AB6-9B82-42E3-BDDC-2FFC5ABAA882}"/>
                </a:ext>
              </a:extLst>
            </p:cNvPr>
            <p:cNvSpPr/>
            <p:nvPr/>
          </p:nvSpPr>
          <p:spPr>
            <a:xfrm>
              <a:off x="6435675" y="3527923"/>
              <a:ext cx="42486" cy="42486"/>
            </a:xfrm>
            <a:custGeom>
              <a:avLst/>
              <a:gdLst>
                <a:gd name="connsiteX0" fmla="*/ 25702 w 42485"/>
                <a:gd name="connsiteY0" fmla="*/ 15789 h 42485"/>
                <a:gd name="connsiteX1" fmla="*/ 34199 w 42485"/>
                <a:gd name="connsiteY1" fmla="*/ 25702 h 42485"/>
                <a:gd name="connsiteX2" fmla="*/ 24286 w 42485"/>
                <a:gd name="connsiteY2" fmla="*/ 34199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1454"/>
                    <a:pt x="34199" y="25702"/>
                  </a:cubicBezTo>
                  <a:cubicBezTo>
                    <a:pt x="34199" y="31367"/>
                    <a:pt x="29951" y="34199"/>
                    <a:pt x="24286" y="34199"/>
                  </a:cubicBezTo>
                  <a:cubicBezTo>
                    <a:pt x="18621" y="34199"/>
                    <a:pt x="15789" y="28535"/>
                    <a:pt x="15789" y="24286"/>
                  </a:cubicBezTo>
                  <a:cubicBezTo>
                    <a:pt x="17205" y="20037"/>
                    <a:pt x="21454"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1" name="Freeform: Shape 2450">
              <a:extLst>
                <a:ext uri="{FF2B5EF4-FFF2-40B4-BE49-F238E27FC236}">
                  <a16:creationId xmlns:a16="http://schemas.microsoft.com/office/drawing/2014/main" id="{8514EFC5-3D4A-44AB-908D-0AFBA8084052}"/>
                </a:ext>
              </a:extLst>
            </p:cNvPr>
            <p:cNvSpPr/>
            <p:nvPr/>
          </p:nvSpPr>
          <p:spPr>
            <a:xfrm>
              <a:off x="6306694" y="3223334"/>
              <a:ext cx="84971" cy="84971"/>
            </a:xfrm>
            <a:custGeom>
              <a:avLst/>
              <a:gdLst>
                <a:gd name="connsiteX0" fmla="*/ 51301 w 84971"/>
                <a:gd name="connsiteY0" fmla="*/ 15896 h 84971"/>
                <a:gd name="connsiteX1" fmla="*/ 81041 w 84971"/>
                <a:gd name="connsiteY1" fmla="*/ 51301 h 84971"/>
                <a:gd name="connsiteX2" fmla="*/ 45636 w 84971"/>
                <a:gd name="connsiteY2" fmla="*/ 81041 h 84971"/>
                <a:gd name="connsiteX3" fmla="*/ 15896 w 84971"/>
                <a:gd name="connsiteY3" fmla="*/ 45636 h 84971"/>
                <a:gd name="connsiteX4" fmla="*/ 51301 w 84971"/>
                <a:gd name="connsiteY4" fmla="*/ 15896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51301" y="15896"/>
                  </a:moveTo>
                  <a:cubicBezTo>
                    <a:pt x="69711" y="17312"/>
                    <a:pt x="82457" y="32891"/>
                    <a:pt x="81041" y="51301"/>
                  </a:cubicBezTo>
                  <a:cubicBezTo>
                    <a:pt x="79625" y="69711"/>
                    <a:pt x="64047" y="82457"/>
                    <a:pt x="45636" y="81041"/>
                  </a:cubicBezTo>
                  <a:cubicBezTo>
                    <a:pt x="27226" y="79625"/>
                    <a:pt x="14480" y="62630"/>
                    <a:pt x="15896" y="45636"/>
                  </a:cubicBezTo>
                  <a:cubicBezTo>
                    <a:pt x="17313" y="27226"/>
                    <a:pt x="32891" y="14480"/>
                    <a:pt x="51301" y="158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2" name="Freeform: Shape 2451">
              <a:extLst>
                <a:ext uri="{FF2B5EF4-FFF2-40B4-BE49-F238E27FC236}">
                  <a16:creationId xmlns:a16="http://schemas.microsoft.com/office/drawing/2014/main" id="{AA04E645-2544-4553-9D65-8FBB8446D171}"/>
                </a:ext>
              </a:extLst>
            </p:cNvPr>
            <p:cNvSpPr/>
            <p:nvPr/>
          </p:nvSpPr>
          <p:spPr>
            <a:xfrm>
              <a:off x="6286975" y="3394800"/>
              <a:ext cx="42486" cy="42486"/>
            </a:xfrm>
            <a:custGeom>
              <a:avLst/>
              <a:gdLst>
                <a:gd name="connsiteX0" fmla="*/ 25702 w 42485"/>
                <a:gd name="connsiteY0" fmla="*/ 15789 h 42485"/>
                <a:gd name="connsiteX1" fmla="*/ 34199 w 42485"/>
                <a:gd name="connsiteY1" fmla="*/ 25702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0038"/>
                    <a:pt x="34199" y="25702"/>
                  </a:cubicBezTo>
                  <a:cubicBezTo>
                    <a:pt x="34199" y="31367"/>
                    <a:pt x="29951" y="34200"/>
                    <a:pt x="24286" y="34200"/>
                  </a:cubicBezTo>
                  <a:cubicBezTo>
                    <a:pt x="18621" y="34200"/>
                    <a:pt x="15789" y="28535"/>
                    <a:pt x="15789" y="24286"/>
                  </a:cubicBezTo>
                  <a:cubicBezTo>
                    <a:pt x="15789" y="18621"/>
                    <a:pt x="20037"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3" name="Freeform: Shape 2452">
              <a:extLst>
                <a:ext uri="{FF2B5EF4-FFF2-40B4-BE49-F238E27FC236}">
                  <a16:creationId xmlns:a16="http://schemas.microsoft.com/office/drawing/2014/main" id="{696D96A2-AF3B-4FEA-B2E3-E54D59EB5A3C}"/>
                </a:ext>
              </a:extLst>
            </p:cNvPr>
            <p:cNvSpPr/>
            <p:nvPr/>
          </p:nvSpPr>
          <p:spPr>
            <a:xfrm>
              <a:off x="6670763" y="3387445"/>
              <a:ext cx="42486" cy="42486"/>
            </a:xfrm>
            <a:custGeom>
              <a:avLst/>
              <a:gdLst>
                <a:gd name="connsiteX0" fmla="*/ 25702 w 42485"/>
                <a:gd name="connsiteY0" fmla="*/ 16063 h 42485"/>
                <a:gd name="connsiteX1" fmla="*/ 34199 w 42485"/>
                <a:gd name="connsiteY1" fmla="*/ 25977 h 42485"/>
                <a:gd name="connsiteX2" fmla="*/ 24286 w 42485"/>
                <a:gd name="connsiteY2" fmla="*/ 34474 h 42485"/>
                <a:gd name="connsiteX3" fmla="*/ 15789 w 42485"/>
                <a:gd name="connsiteY3" fmla="*/ 24561 h 42485"/>
                <a:gd name="connsiteX4" fmla="*/ 25702 w 42485"/>
                <a:gd name="connsiteY4" fmla="*/ 1606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6063"/>
                  </a:moveTo>
                  <a:cubicBezTo>
                    <a:pt x="31367" y="16063"/>
                    <a:pt x="34199" y="20312"/>
                    <a:pt x="34199" y="25977"/>
                  </a:cubicBezTo>
                  <a:cubicBezTo>
                    <a:pt x="34199" y="31642"/>
                    <a:pt x="28535" y="34474"/>
                    <a:pt x="24286" y="34474"/>
                  </a:cubicBezTo>
                  <a:cubicBezTo>
                    <a:pt x="18621" y="34474"/>
                    <a:pt x="15789" y="28809"/>
                    <a:pt x="15789" y="24561"/>
                  </a:cubicBezTo>
                  <a:cubicBezTo>
                    <a:pt x="15789" y="18896"/>
                    <a:pt x="20037" y="14647"/>
                    <a:pt x="25702" y="1606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4" name="Freeform: Shape 2453">
              <a:extLst>
                <a:ext uri="{FF2B5EF4-FFF2-40B4-BE49-F238E27FC236}">
                  <a16:creationId xmlns:a16="http://schemas.microsoft.com/office/drawing/2014/main" id="{3AD8DF53-3EA7-46B8-9812-71715C4DA024}"/>
                </a:ext>
              </a:extLst>
            </p:cNvPr>
            <p:cNvSpPr/>
            <p:nvPr/>
          </p:nvSpPr>
          <p:spPr>
            <a:xfrm>
              <a:off x="6970995" y="3624223"/>
              <a:ext cx="42486" cy="42486"/>
            </a:xfrm>
            <a:custGeom>
              <a:avLst/>
              <a:gdLst>
                <a:gd name="connsiteX0" fmla="*/ 22870 w 42485"/>
                <a:gd name="connsiteY0" fmla="*/ 15789 h 42485"/>
                <a:gd name="connsiteX1" fmla="*/ 28535 w 42485"/>
                <a:gd name="connsiteY1" fmla="*/ 22870 h 42485"/>
                <a:gd name="connsiteX2" fmla="*/ 21454 w 42485"/>
                <a:gd name="connsiteY2" fmla="*/ 28535 h 42485"/>
                <a:gd name="connsiteX3" fmla="*/ 15789 w 42485"/>
                <a:gd name="connsiteY3" fmla="*/ 21454 h 42485"/>
                <a:gd name="connsiteX4" fmla="*/ 22870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15789"/>
                  </a:moveTo>
                  <a:cubicBezTo>
                    <a:pt x="27119" y="15789"/>
                    <a:pt x="28535" y="20038"/>
                    <a:pt x="28535" y="22870"/>
                  </a:cubicBezTo>
                  <a:cubicBezTo>
                    <a:pt x="28535" y="27119"/>
                    <a:pt x="24286" y="29951"/>
                    <a:pt x="21454" y="28535"/>
                  </a:cubicBezTo>
                  <a:cubicBezTo>
                    <a:pt x="17205" y="28535"/>
                    <a:pt x="15789" y="24286"/>
                    <a:pt x="15789" y="21454"/>
                  </a:cubicBezTo>
                  <a:cubicBezTo>
                    <a:pt x="15789" y="18622"/>
                    <a:pt x="20038" y="15789"/>
                    <a:pt x="22870"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5" name="Freeform: Shape 2454">
              <a:extLst>
                <a:ext uri="{FF2B5EF4-FFF2-40B4-BE49-F238E27FC236}">
                  <a16:creationId xmlns:a16="http://schemas.microsoft.com/office/drawing/2014/main" id="{6EF64B33-9A94-41A2-969A-4B6891EF322D}"/>
                </a:ext>
              </a:extLst>
            </p:cNvPr>
            <p:cNvSpPr/>
            <p:nvPr/>
          </p:nvSpPr>
          <p:spPr>
            <a:xfrm>
              <a:off x="6909945" y="3458394"/>
              <a:ext cx="70810" cy="70810"/>
            </a:xfrm>
            <a:custGeom>
              <a:avLst/>
              <a:gdLst>
                <a:gd name="connsiteX0" fmla="*/ 40018 w 70809"/>
                <a:gd name="connsiteY0" fmla="*/ 15924 h 70809"/>
                <a:gd name="connsiteX1" fmla="*/ 59845 w 70809"/>
                <a:gd name="connsiteY1" fmla="*/ 39999 h 70809"/>
                <a:gd name="connsiteX2" fmla="*/ 35769 w 70809"/>
                <a:gd name="connsiteY2" fmla="*/ 59826 h 70809"/>
                <a:gd name="connsiteX3" fmla="*/ 15943 w 70809"/>
                <a:gd name="connsiteY3" fmla="*/ 35751 h 70809"/>
                <a:gd name="connsiteX4" fmla="*/ 40018 w 70809"/>
                <a:gd name="connsiteY4" fmla="*/ 1592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24"/>
                  </a:moveTo>
                  <a:cubicBezTo>
                    <a:pt x="52764" y="17341"/>
                    <a:pt x="61261" y="27254"/>
                    <a:pt x="59845" y="39999"/>
                  </a:cubicBezTo>
                  <a:cubicBezTo>
                    <a:pt x="58429" y="52745"/>
                    <a:pt x="48515" y="61242"/>
                    <a:pt x="35769" y="59826"/>
                  </a:cubicBezTo>
                  <a:cubicBezTo>
                    <a:pt x="23024" y="58410"/>
                    <a:pt x="14527" y="48497"/>
                    <a:pt x="15943" y="35751"/>
                  </a:cubicBezTo>
                  <a:cubicBezTo>
                    <a:pt x="15943" y="24422"/>
                    <a:pt x="27272" y="14508"/>
                    <a:pt x="40018" y="1592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6" name="Freeform: Shape 2455">
              <a:extLst>
                <a:ext uri="{FF2B5EF4-FFF2-40B4-BE49-F238E27FC236}">
                  <a16:creationId xmlns:a16="http://schemas.microsoft.com/office/drawing/2014/main" id="{0CA0D8B3-1E6E-4ECD-8A3D-9047A09B924C}"/>
                </a:ext>
              </a:extLst>
            </p:cNvPr>
            <p:cNvSpPr/>
            <p:nvPr/>
          </p:nvSpPr>
          <p:spPr>
            <a:xfrm>
              <a:off x="6591456" y="3465610"/>
              <a:ext cx="42486" cy="42486"/>
            </a:xfrm>
            <a:custGeom>
              <a:avLst/>
              <a:gdLst>
                <a:gd name="connsiteX0" fmla="*/ 27118 w 42485"/>
                <a:gd name="connsiteY0" fmla="*/ 15789 h 42485"/>
                <a:gd name="connsiteX1" fmla="*/ 37032 w 42485"/>
                <a:gd name="connsiteY1" fmla="*/ 27119 h 42485"/>
                <a:gd name="connsiteX2" fmla="*/ 25702 w 42485"/>
                <a:gd name="connsiteY2" fmla="*/ 37032 h 42485"/>
                <a:gd name="connsiteX3" fmla="*/ 15789 w 42485"/>
                <a:gd name="connsiteY3" fmla="*/ 25702 h 42485"/>
                <a:gd name="connsiteX4" fmla="*/ 2711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5789"/>
                  </a:moveTo>
                  <a:cubicBezTo>
                    <a:pt x="32783" y="15789"/>
                    <a:pt x="37032" y="21454"/>
                    <a:pt x="37032" y="27119"/>
                  </a:cubicBezTo>
                  <a:cubicBezTo>
                    <a:pt x="37032" y="32783"/>
                    <a:pt x="31367" y="37032"/>
                    <a:pt x="25702" y="37032"/>
                  </a:cubicBezTo>
                  <a:cubicBezTo>
                    <a:pt x="20037" y="37032"/>
                    <a:pt x="15789" y="31367"/>
                    <a:pt x="15789" y="25702"/>
                  </a:cubicBezTo>
                  <a:cubicBezTo>
                    <a:pt x="15789" y="20038"/>
                    <a:pt x="21454" y="15789"/>
                    <a:pt x="2711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7" name="Freeform: Shape 2456">
              <a:extLst>
                <a:ext uri="{FF2B5EF4-FFF2-40B4-BE49-F238E27FC236}">
                  <a16:creationId xmlns:a16="http://schemas.microsoft.com/office/drawing/2014/main" id="{179AFDA7-34B1-430B-A159-B402AE9F6C71}"/>
                </a:ext>
              </a:extLst>
            </p:cNvPr>
            <p:cNvSpPr/>
            <p:nvPr/>
          </p:nvSpPr>
          <p:spPr>
            <a:xfrm>
              <a:off x="6580126" y="3273008"/>
              <a:ext cx="42486" cy="42486"/>
            </a:xfrm>
            <a:custGeom>
              <a:avLst/>
              <a:gdLst>
                <a:gd name="connsiteX0" fmla="*/ 27119 w 42485"/>
                <a:gd name="connsiteY0" fmla="*/ 15789 h 42485"/>
                <a:gd name="connsiteX1" fmla="*/ 37032 w 42485"/>
                <a:gd name="connsiteY1" fmla="*/ 27118 h 42485"/>
                <a:gd name="connsiteX2" fmla="*/ 25703 w 42485"/>
                <a:gd name="connsiteY2" fmla="*/ 37032 h 42485"/>
                <a:gd name="connsiteX3" fmla="*/ 15789 w 42485"/>
                <a:gd name="connsiteY3" fmla="*/ 25702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8"/>
                  </a:cubicBezTo>
                  <a:cubicBezTo>
                    <a:pt x="37032" y="32783"/>
                    <a:pt x="31367" y="37032"/>
                    <a:pt x="25703" y="37032"/>
                  </a:cubicBezTo>
                  <a:cubicBezTo>
                    <a:pt x="20038" y="37032"/>
                    <a:pt x="15789" y="31367"/>
                    <a:pt x="15789" y="25702"/>
                  </a:cubicBezTo>
                  <a:cubicBezTo>
                    <a:pt x="15789" y="20037"/>
                    <a:pt x="21454" y="15789"/>
                    <a:pt x="27119"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8" name="Freeform: Shape 2457">
              <a:extLst>
                <a:ext uri="{FF2B5EF4-FFF2-40B4-BE49-F238E27FC236}">
                  <a16:creationId xmlns:a16="http://schemas.microsoft.com/office/drawing/2014/main" id="{FF5AA576-6A14-457E-A34C-5B494F1B6297}"/>
                </a:ext>
              </a:extLst>
            </p:cNvPr>
            <p:cNvSpPr/>
            <p:nvPr/>
          </p:nvSpPr>
          <p:spPr>
            <a:xfrm>
              <a:off x="6228911" y="3173875"/>
              <a:ext cx="42486" cy="42486"/>
            </a:xfrm>
            <a:custGeom>
              <a:avLst/>
              <a:gdLst>
                <a:gd name="connsiteX0" fmla="*/ 25703 w 42485"/>
                <a:gd name="connsiteY0" fmla="*/ 15789 h 42485"/>
                <a:gd name="connsiteX1" fmla="*/ 34199 w 42485"/>
                <a:gd name="connsiteY1" fmla="*/ 25702 h 42485"/>
                <a:gd name="connsiteX2" fmla="*/ 24286 w 42485"/>
                <a:gd name="connsiteY2" fmla="*/ 34199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29951" y="15789"/>
                    <a:pt x="34199" y="20037"/>
                    <a:pt x="34199" y="25702"/>
                  </a:cubicBezTo>
                  <a:cubicBezTo>
                    <a:pt x="34199" y="29951"/>
                    <a:pt x="29951" y="34199"/>
                    <a:pt x="24286" y="34199"/>
                  </a:cubicBezTo>
                  <a:cubicBezTo>
                    <a:pt x="20037" y="34199"/>
                    <a:pt x="15789" y="29951"/>
                    <a:pt x="15789" y="24286"/>
                  </a:cubicBezTo>
                  <a:cubicBezTo>
                    <a:pt x="15789" y="18621"/>
                    <a:pt x="20037" y="15789"/>
                    <a:pt x="25703"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9" name="Freeform: Shape 2458">
              <a:extLst>
                <a:ext uri="{FF2B5EF4-FFF2-40B4-BE49-F238E27FC236}">
                  <a16:creationId xmlns:a16="http://schemas.microsoft.com/office/drawing/2014/main" id="{ADFBC57B-0A51-41D4-A836-780B4019C802}"/>
                </a:ext>
              </a:extLst>
            </p:cNvPr>
            <p:cNvSpPr/>
            <p:nvPr/>
          </p:nvSpPr>
          <p:spPr>
            <a:xfrm>
              <a:off x="5730412" y="3431253"/>
              <a:ext cx="42486" cy="42486"/>
            </a:xfrm>
            <a:custGeom>
              <a:avLst/>
              <a:gdLst>
                <a:gd name="connsiteX0" fmla="*/ 22870 w 42485"/>
                <a:gd name="connsiteY0" fmla="*/ 16157 h 42485"/>
                <a:gd name="connsiteX1" fmla="*/ 28535 w 42485"/>
                <a:gd name="connsiteY1" fmla="*/ 23238 h 42485"/>
                <a:gd name="connsiteX2" fmla="*/ 21454 w 42485"/>
                <a:gd name="connsiteY2" fmla="*/ 28903 h 42485"/>
                <a:gd name="connsiteX3" fmla="*/ 15789 w 42485"/>
                <a:gd name="connsiteY3" fmla="*/ 21822 h 42485"/>
                <a:gd name="connsiteX4" fmla="*/ 22870 w 42485"/>
                <a:gd name="connsiteY4" fmla="*/ 16157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16157"/>
                  </a:moveTo>
                  <a:cubicBezTo>
                    <a:pt x="27119" y="16157"/>
                    <a:pt x="28535" y="20406"/>
                    <a:pt x="28535" y="23238"/>
                  </a:cubicBezTo>
                  <a:cubicBezTo>
                    <a:pt x="28535" y="27487"/>
                    <a:pt x="24286" y="30319"/>
                    <a:pt x="21454" y="28903"/>
                  </a:cubicBezTo>
                  <a:cubicBezTo>
                    <a:pt x="17205" y="28903"/>
                    <a:pt x="15789" y="24654"/>
                    <a:pt x="15789" y="21822"/>
                  </a:cubicBezTo>
                  <a:cubicBezTo>
                    <a:pt x="15789" y="17573"/>
                    <a:pt x="18622" y="14741"/>
                    <a:pt x="22870" y="1615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0" name="Freeform: Shape 2459">
              <a:extLst>
                <a:ext uri="{FF2B5EF4-FFF2-40B4-BE49-F238E27FC236}">
                  <a16:creationId xmlns:a16="http://schemas.microsoft.com/office/drawing/2014/main" id="{8FAB6C16-E157-4BED-8D71-477DAB0E6059}"/>
                </a:ext>
              </a:extLst>
            </p:cNvPr>
            <p:cNvSpPr/>
            <p:nvPr/>
          </p:nvSpPr>
          <p:spPr>
            <a:xfrm>
              <a:off x="6140739" y="3479404"/>
              <a:ext cx="42486" cy="42486"/>
            </a:xfrm>
            <a:custGeom>
              <a:avLst/>
              <a:gdLst>
                <a:gd name="connsiteX0" fmla="*/ 23238 w 42485"/>
                <a:gd name="connsiteY0" fmla="*/ 16157 h 42485"/>
                <a:gd name="connsiteX1" fmla="*/ 28903 w 42485"/>
                <a:gd name="connsiteY1" fmla="*/ 23238 h 42485"/>
                <a:gd name="connsiteX2" fmla="*/ 21822 w 42485"/>
                <a:gd name="connsiteY2" fmla="*/ 28903 h 42485"/>
                <a:gd name="connsiteX3" fmla="*/ 16157 w 42485"/>
                <a:gd name="connsiteY3" fmla="*/ 21822 h 42485"/>
                <a:gd name="connsiteX4" fmla="*/ 23238 w 42485"/>
                <a:gd name="connsiteY4" fmla="*/ 16157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6157"/>
                  </a:moveTo>
                  <a:cubicBezTo>
                    <a:pt x="27487" y="16157"/>
                    <a:pt x="28903" y="20406"/>
                    <a:pt x="28903" y="23238"/>
                  </a:cubicBezTo>
                  <a:cubicBezTo>
                    <a:pt x="28903" y="27487"/>
                    <a:pt x="24655" y="30319"/>
                    <a:pt x="21822" y="28903"/>
                  </a:cubicBezTo>
                  <a:cubicBezTo>
                    <a:pt x="17574" y="28903"/>
                    <a:pt x="14741" y="24655"/>
                    <a:pt x="16157" y="21822"/>
                  </a:cubicBezTo>
                  <a:cubicBezTo>
                    <a:pt x="16157" y="17574"/>
                    <a:pt x="18990" y="14741"/>
                    <a:pt x="23238" y="1615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1" name="Freeform: Shape 2460">
              <a:extLst>
                <a:ext uri="{FF2B5EF4-FFF2-40B4-BE49-F238E27FC236}">
                  <a16:creationId xmlns:a16="http://schemas.microsoft.com/office/drawing/2014/main" id="{6B9ECF32-D77D-4AB6-B345-5C22E2227AC2}"/>
                </a:ext>
              </a:extLst>
            </p:cNvPr>
            <p:cNvSpPr/>
            <p:nvPr/>
          </p:nvSpPr>
          <p:spPr>
            <a:xfrm>
              <a:off x="6586839" y="3367893"/>
              <a:ext cx="42486" cy="42486"/>
            </a:xfrm>
            <a:custGeom>
              <a:avLst/>
              <a:gdLst>
                <a:gd name="connsiteX0" fmla="*/ 23238 w 42485"/>
                <a:gd name="connsiteY0" fmla="*/ 15789 h 42485"/>
                <a:gd name="connsiteX1" fmla="*/ 28903 w 42485"/>
                <a:gd name="connsiteY1" fmla="*/ 22870 h 42485"/>
                <a:gd name="connsiteX2" fmla="*/ 21822 w 42485"/>
                <a:gd name="connsiteY2" fmla="*/ 28535 h 42485"/>
                <a:gd name="connsiteX3" fmla="*/ 16157 w 42485"/>
                <a:gd name="connsiteY3" fmla="*/ 21454 h 42485"/>
                <a:gd name="connsiteX4" fmla="*/ 2323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5789"/>
                  </a:moveTo>
                  <a:cubicBezTo>
                    <a:pt x="27487" y="15789"/>
                    <a:pt x="28903" y="20038"/>
                    <a:pt x="28903" y="22870"/>
                  </a:cubicBezTo>
                  <a:cubicBezTo>
                    <a:pt x="28903" y="27119"/>
                    <a:pt x="24655" y="29951"/>
                    <a:pt x="21822" y="28535"/>
                  </a:cubicBezTo>
                  <a:cubicBezTo>
                    <a:pt x="17574" y="28535"/>
                    <a:pt x="14741" y="24286"/>
                    <a:pt x="16157" y="21454"/>
                  </a:cubicBezTo>
                  <a:cubicBezTo>
                    <a:pt x="17574" y="18621"/>
                    <a:pt x="20406" y="15789"/>
                    <a:pt x="2323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2" name="Freeform: Shape 2461">
              <a:extLst>
                <a:ext uri="{FF2B5EF4-FFF2-40B4-BE49-F238E27FC236}">
                  <a16:creationId xmlns:a16="http://schemas.microsoft.com/office/drawing/2014/main" id="{41012BAF-FD5A-473E-98AD-622F2065A8F4}"/>
                </a:ext>
              </a:extLst>
            </p:cNvPr>
            <p:cNvSpPr/>
            <p:nvPr/>
          </p:nvSpPr>
          <p:spPr>
            <a:xfrm>
              <a:off x="4005491" y="3995266"/>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29" y="55442"/>
                    <a:pt x="55442" y="46945"/>
                    <a:pt x="55442" y="35616"/>
                  </a:cubicBezTo>
                  <a:cubicBezTo>
                    <a:pt x="55442" y="25702"/>
                    <a:pt x="46945" y="15789"/>
                    <a:pt x="35616" y="15789"/>
                  </a:cubicBezTo>
                  <a:cubicBezTo>
                    <a:pt x="25702" y="15789"/>
                    <a:pt x="15789" y="24286"/>
                    <a:pt x="15789" y="35616"/>
                  </a:cubicBezTo>
                  <a:cubicBezTo>
                    <a:pt x="15789" y="46945"/>
                    <a:pt x="25702"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3" name="Freeform: Shape 2462">
              <a:extLst>
                <a:ext uri="{FF2B5EF4-FFF2-40B4-BE49-F238E27FC236}">
                  <a16:creationId xmlns:a16="http://schemas.microsoft.com/office/drawing/2014/main" id="{E23534B4-7759-496E-AE57-DCB5A1AC2759}"/>
                </a:ext>
              </a:extLst>
            </p:cNvPr>
            <p:cNvSpPr/>
            <p:nvPr/>
          </p:nvSpPr>
          <p:spPr>
            <a:xfrm>
              <a:off x="3346962" y="4216191"/>
              <a:ext cx="113295" cy="113295"/>
            </a:xfrm>
            <a:custGeom>
              <a:avLst/>
              <a:gdLst>
                <a:gd name="connsiteX0" fmla="*/ 56858 w 113295"/>
                <a:gd name="connsiteY0" fmla="*/ 97928 h 113295"/>
                <a:gd name="connsiteX1" fmla="*/ 97928 w 113295"/>
                <a:gd name="connsiteY1" fmla="*/ 56858 h 113295"/>
                <a:gd name="connsiteX2" fmla="*/ 56858 w 113295"/>
                <a:gd name="connsiteY2" fmla="*/ 15789 h 113295"/>
                <a:gd name="connsiteX3" fmla="*/ 15789 w 113295"/>
                <a:gd name="connsiteY3" fmla="*/ 56858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8"/>
                  </a:cubicBezTo>
                  <a:cubicBezTo>
                    <a:pt x="97928" y="34199"/>
                    <a:pt x="79518" y="15789"/>
                    <a:pt x="56858" y="15789"/>
                  </a:cubicBezTo>
                  <a:cubicBezTo>
                    <a:pt x="34200" y="15789"/>
                    <a:pt x="15789" y="34199"/>
                    <a:pt x="15789" y="56858"/>
                  </a:cubicBezTo>
                  <a:cubicBezTo>
                    <a:pt x="15789" y="79518"/>
                    <a:pt x="34200" y="97928"/>
                    <a:pt x="56858"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4" name="Freeform: Shape 2463">
              <a:extLst>
                <a:ext uri="{FF2B5EF4-FFF2-40B4-BE49-F238E27FC236}">
                  <a16:creationId xmlns:a16="http://schemas.microsoft.com/office/drawing/2014/main" id="{A36DB1C8-C68D-4C2E-8BF2-B7EF88C37309}"/>
                </a:ext>
              </a:extLst>
            </p:cNvPr>
            <p:cNvSpPr/>
            <p:nvPr/>
          </p:nvSpPr>
          <p:spPr>
            <a:xfrm>
              <a:off x="3759460" y="5558517"/>
              <a:ext cx="113295" cy="113295"/>
            </a:xfrm>
            <a:custGeom>
              <a:avLst/>
              <a:gdLst>
                <a:gd name="connsiteX0" fmla="*/ 73467 w 113295"/>
                <a:gd name="connsiteY0" fmla="*/ 18844 h 113295"/>
                <a:gd name="connsiteX1" fmla="*/ 94709 w 113295"/>
                <a:gd name="connsiteY1" fmla="*/ 72659 h 113295"/>
                <a:gd name="connsiteX2" fmla="*/ 40894 w 113295"/>
                <a:gd name="connsiteY2" fmla="*/ 93902 h 113295"/>
                <a:gd name="connsiteX3" fmla="*/ 19651 w 113295"/>
                <a:gd name="connsiteY3" fmla="*/ 40087 h 113295"/>
                <a:gd name="connsiteX4" fmla="*/ 73467 w 113295"/>
                <a:gd name="connsiteY4" fmla="*/ 18844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73467" y="18844"/>
                  </a:moveTo>
                  <a:cubicBezTo>
                    <a:pt x="94709" y="27341"/>
                    <a:pt x="104623" y="51416"/>
                    <a:pt x="94709" y="72659"/>
                  </a:cubicBezTo>
                  <a:cubicBezTo>
                    <a:pt x="86212" y="93902"/>
                    <a:pt x="62137" y="103816"/>
                    <a:pt x="40894" y="93902"/>
                  </a:cubicBezTo>
                  <a:cubicBezTo>
                    <a:pt x="19651" y="85405"/>
                    <a:pt x="9738" y="61330"/>
                    <a:pt x="19651" y="40087"/>
                  </a:cubicBezTo>
                  <a:cubicBezTo>
                    <a:pt x="28148" y="20260"/>
                    <a:pt x="52224" y="10347"/>
                    <a:pt x="73467" y="1884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5" name="Freeform: Shape 2464">
              <a:extLst>
                <a:ext uri="{FF2B5EF4-FFF2-40B4-BE49-F238E27FC236}">
                  <a16:creationId xmlns:a16="http://schemas.microsoft.com/office/drawing/2014/main" id="{92ED4CCF-DF3F-418E-A749-8FEE3523DE7E}"/>
                </a:ext>
              </a:extLst>
            </p:cNvPr>
            <p:cNvSpPr/>
            <p:nvPr/>
          </p:nvSpPr>
          <p:spPr>
            <a:xfrm>
              <a:off x="3933265" y="4240266"/>
              <a:ext cx="70810" cy="70810"/>
            </a:xfrm>
            <a:custGeom>
              <a:avLst/>
              <a:gdLst>
                <a:gd name="connsiteX0" fmla="*/ 35616 w 70809"/>
                <a:gd name="connsiteY0" fmla="*/ 55443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3"/>
                  </a:moveTo>
                  <a:cubicBezTo>
                    <a:pt x="46945" y="55443"/>
                    <a:pt x="55442" y="46945"/>
                    <a:pt x="55442" y="35616"/>
                  </a:cubicBezTo>
                  <a:cubicBezTo>
                    <a:pt x="55442" y="24286"/>
                    <a:pt x="46945" y="15789"/>
                    <a:pt x="35616" y="15789"/>
                  </a:cubicBezTo>
                  <a:cubicBezTo>
                    <a:pt x="24286" y="15789"/>
                    <a:pt x="15789" y="24286"/>
                    <a:pt x="15789" y="35616"/>
                  </a:cubicBezTo>
                  <a:cubicBezTo>
                    <a:pt x="17205" y="45529"/>
                    <a:pt x="25703" y="55443"/>
                    <a:pt x="35616" y="554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6" name="Freeform: Shape 2465">
              <a:extLst>
                <a:ext uri="{FF2B5EF4-FFF2-40B4-BE49-F238E27FC236}">
                  <a16:creationId xmlns:a16="http://schemas.microsoft.com/office/drawing/2014/main" id="{C1791FDA-E4CA-4DDB-AEF8-77B9E2A23B21}"/>
                </a:ext>
              </a:extLst>
            </p:cNvPr>
            <p:cNvSpPr/>
            <p:nvPr/>
          </p:nvSpPr>
          <p:spPr>
            <a:xfrm>
              <a:off x="3892195" y="4827986"/>
              <a:ext cx="70810" cy="70810"/>
            </a:xfrm>
            <a:custGeom>
              <a:avLst/>
              <a:gdLst>
                <a:gd name="connsiteX0" fmla="*/ 35616 w 70809"/>
                <a:gd name="connsiteY0" fmla="*/ 55443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3"/>
                  </a:moveTo>
                  <a:cubicBezTo>
                    <a:pt x="46945" y="55443"/>
                    <a:pt x="55442" y="46945"/>
                    <a:pt x="55442" y="35616"/>
                  </a:cubicBezTo>
                  <a:cubicBezTo>
                    <a:pt x="55442" y="24286"/>
                    <a:pt x="46945" y="15789"/>
                    <a:pt x="35616" y="15789"/>
                  </a:cubicBezTo>
                  <a:cubicBezTo>
                    <a:pt x="24286" y="15789"/>
                    <a:pt x="15789" y="24286"/>
                    <a:pt x="15789" y="35616"/>
                  </a:cubicBezTo>
                  <a:cubicBezTo>
                    <a:pt x="15789" y="45529"/>
                    <a:pt x="24286" y="55443"/>
                    <a:pt x="35616" y="554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7" name="Freeform: Shape 2466">
              <a:extLst>
                <a:ext uri="{FF2B5EF4-FFF2-40B4-BE49-F238E27FC236}">
                  <a16:creationId xmlns:a16="http://schemas.microsoft.com/office/drawing/2014/main" id="{55E6F51E-F422-4BF6-92C5-03B328C145DC}"/>
                </a:ext>
              </a:extLst>
            </p:cNvPr>
            <p:cNvSpPr/>
            <p:nvPr/>
          </p:nvSpPr>
          <p:spPr>
            <a:xfrm>
              <a:off x="3539564" y="4003763"/>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5789" y="46945"/>
                    <a:pt x="25702"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8" name="Freeform: Shape 2467">
              <a:extLst>
                <a:ext uri="{FF2B5EF4-FFF2-40B4-BE49-F238E27FC236}">
                  <a16:creationId xmlns:a16="http://schemas.microsoft.com/office/drawing/2014/main" id="{754D7880-25D7-49C0-BF70-142C8F3298B2}"/>
                </a:ext>
              </a:extLst>
            </p:cNvPr>
            <p:cNvSpPr/>
            <p:nvPr/>
          </p:nvSpPr>
          <p:spPr>
            <a:xfrm>
              <a:off x="4045144" y="4619806"/>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5789" y="45529"/>
                    <a:pt x="24286"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9" name="Freeform: Shape 2468">
              <a:extLst>
                <a:ext uri="{FF2B5EF4-FFF2-40B4-BE49-F238E27FC236}">
                  <a16:creationId xmlns:a16="http://schemas.microsoft.com/office/drawing/2014/main" id="{6B27782E-96C8-4C84-8F2D-3879066F78B7}"/>
                </a:ext>
              </a:extLst>
            </p:cNvPr>
            <p:cNvSpPr/>
            <p:nvPr/>
          </p:nvSpPr>
          <p:spPr>
            <a:xfrm>
              <a:off x="4021069" y="4757176"/>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8"/>
                    <a:pt x="31367" y="15789"/>
                    <a:pt x="25702" y="15789"/>
                  </a:cubicBezTo>
                  <a:cubicBezTo>
                    <a:pt x="20037" y="15789"/>
                    <a:pt x="15789" y="20038"/>
                    <a:pt x="15789" y="25703"/>
                  </a:cubicBezTo>
                  <a:cubicBezTo>
                    <a:pt x="17205" y="31367"/>
                    <a:pt x="21454"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0" name="Freeform: Shape 2469">
              <a:extLst>
                <a:ext uri="{FF2B5EF4-FFF2-40B4-BE49-F238E27FC236}">
                  <a16:creationId xmlns:a16="http://schemas.microsoft.com/office/drawing/2014/main" id="{83A76179-75DA-4173-AD6C-ECE2F081002F}"/>
                </a:ext>
              </a:extLst>
            </p:cNvPr>
            <p:cNvSpPr/>
            <p:nvPr/>
          </p:nvSpPr>
          <p:spPr>
            <a:xfrm>
              <a:off x="3710923" y="4380469"/>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8"/>
                    <a:pt x="31367" y="15789"/>
                    <a:pt x="25702" y="15789"/>
                  </a:cubicBezTo>
                  <a:cubicBezTo>
                    <a:pt x="20038" y="15789"/>
                    <a:pt x="15789" y="20038"/>
                    <a:pt x="15789" y="25703"/>
                  </a:cubicBezTo>
                  <a:cubicBezTo>
                    <a:pt x="17205" y="31367"/>
                    <a:pt x="21454"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1" name="Freeform: Shape 2470">
              <a:extLst>
                <a:ext uri="{FF2B5EF4-FFF2-40B4-BE49-F238E27FC236}">
                  <a16:creationId xmlns:a16="http://schemas.microsoft.com/office/drawing/2014/main" id="{D2502C24-18A3-4D8B-9D09-7D4A6273FD15}"/>
                </a:ext>
              </a:extLst>
            </p:cNvPr>
            <p:cNvSpPr/>
            <p:nvPr/>
          </p:nvSpPr>
          <p:spPr>
            <a:xfrm>
              <a:off x="4539395" y="4912957"/>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8"/>
                    <a:pt x="31367" y="15789"/>
                    <a:pt x="25702" y="15789"/>
                  </a:cubicBezTo>
                  <a:cubicBezTo>
                    <a:pt x="20037" y="15789"/>
                    <a:pt x="15789" y="20038"/>
                    <a:pt x="15789" y="25703"/>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2" name="Freeform: Shape 2471">
              <a:extLst>
                <a:ext uri="{FF2B5EF4-FFF2-40B4-BE49-F238E27FC236}">
                  <a16:creationId xmlns:a16="http://schemas.microsoft.com/office/drawing/2014/main" id="{202A1917-08C6-4545-B825-53CA5C2B85B1}"/>
                </a:ext>
              </a:extLst>
            </p:cNvPr>
            <p:cNvSpPr/>
            <p:nvPr/>
          </p:nvSpPr>
          <p:spPr>
            <a:xfrm>
              <a:off x="4174017" y="4890298"/>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8" y="15789"/>
                    <a:pt x="15789" y="20038"/>
                    <a:pt x="15789" y="25703"/>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3" name="Freeform: Shape 2472">
              <a:extLst>
                <a:ext uri="{FF2B5EF4-FFF2-40B4-BE49-F238E27FC236}">
                  <a16:creationId xmlns:a16="http://schemas.microsoft.com/office/drawing/2014/main" id="{21D2C0A3-6237-4015-83B0-61171C809FF4}"/>
                </a:ext>
              </a:extLst>
            </p:cNvPr>
            <p:cNvSpPr/>
            <p:nvPr/>
          </p:nvSpPr>
          <p:spPr>
            <a:xfrm>
              <a:off x="4317053" y="5019171"/>
              <a:ext cx="70810" cy="70810"/>
            </a:xfrm>
            <a:custGeom>
              <a:avLst/>
              <a:gdLst>
                <a:gd name="connsiteX0" fmla="*/ 66772 w 70809"/>
                <a:gd name="connsiteY0" fmla="*/ 41281 h 70809"/>
                <a:gd name="connsiteX1" fmla="*/ 41280 w 70809"/>
                <a:gd name="connsiteY1" fmla="*/ 66772 h 70809"/>
                <a:gd name="connsiteX2" fmla="*/ 15789 w 70809"/>
                <a:gd name="connsiteY2" fmla="*/ 41281 h 70809"/>
                <a:gd name="connsiteX3" fmla="*/ 41280 w 70809"/>
                <a:gd name="connsiteY3" fmla="*/ 15789 h 70809"/>
                <a:gd name="connsiteX4" fmla="*/ 66772 w 70809"/>
                <a:gd name="connsiteY4" fmla="*/ 41281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6772" y="41281"/>
                  </a:moveTo>
                  <a:cubicBezTo>
                    <a:pt x="66772" y="55359"/>
                    <a:pt x="55359" y="66772"/>
                    <a:pt x="41280" y="66772"/>
                  </a:cubicBezTo>
                  <a:cubicBezTo>
                    <a:pt x="27202" y="66772"/>
                    <a:pt x="15789" y="55359"/>
                    <a:pt x="15789" y="41281"/>
                  </a:cubicBezTo>
                  <a:cubicBezTo>
                    <a:pt x="15789" y="27202"/>
                    <a:pt x="27202" y="15789"/>
                    <a:pt x="41280" y="15789"/>
                  </a:cubicBezTo>
                  <a:cubicBezTo>
                    <a:pt x="55359" y="15789"/>
                    <a:pt x="66772" y="27202"/>
                    <a:pt x="66772"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4" name="Freeform: Shape 2473">
              <a:extLst>
                <a:ext uri="{FF2B5EF4-FFF2-40B4-BE49-F238E27FC236}">
                  <a16:creationId xmlns:a16="http://schemas.microsoft.com/office/drawing/2014/main" id="{D5714680-6551-4DBB-BD2E-5F34C7970BAF}"/>
                </a:ext>
              </a:extLst>
            </p:cNvPr>
            <p:cNvSpPr/>
            <p:nvPr/>
          </p:nvSpPr>
          <p:spPr>
            <a:xfrm>
              <a:off x="3806666" y="5773246"/>
              <a:ext cx="70810" cy="70810"/>
            </a:xfrm>
            <a:custGeom>
              <a:avLst/>
              <a:gdLst>
                <a:gd name="connsiteX0" fmla="*/ 51752 w 70809"/>
                <a:gd name="connsiteY0" fmla="*/ 17960 h 70809"/>
                <a:gd name="connsiteX1" fmla="*/ 65914 w 70809"/>
                <a:gd name="connsiteY1" fmla="*/ 51949 h 70809"/>
                <a:gd name="connsiteX2" fmla="*/ 31925 w 70809"/>
                <a:gd name="connsiteY2" fmla="*/ 66111 h 70809"/>
                <a:gd name="connsiteX3" fmla="*/ 17763 w 70809"/>
                <a:gd name="connsiteY3" fmla="*/ 32122 h 70809"/>
                <a:gd name="connsiteX4" fmla="*/ 51752 w 70809"/>
                <a:gd name="connsiteY4" fmla="*/ 1796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51752" y="17960"/>
                  </a:moveTo>
                  <a:cubicBezTo>
                    <a:pt x="64497" y="23625"/>
                    <a:pt x="71578" y="39203"/>
                    <a:pt x="65914" y="51949"/>
                  </a:cubicBezTo>
                  <a:cubicBezTo>
                    <a:pt x="60249" y="64694"/>
                    <a:pt x="44671" y="71775"/>
                    <a:pt x="31925" y="66111"/>
                  </a:cubicBezTo>
                  <a:cubicBezTo>
                    <a:pt x="19179" y="60445"/>
                    <a:pt x="12098" y="44868"/>
                    <a:pt x="17763" y="32122"/>
                  </a:cubicBezTo>
                  <a:cubicBezTo>
                    <a:pt x="23428" y="17960"/>
                    <a:pt x="37590" y="12295"/>
                    <a:pt x="51752" y="179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5" name="Freeform: Shape 2474">
              <a:extLst>
                <a:ext uri="{FF2B5EF4-FFF2-40B4-BE49-F238E27FC236}">
                  <a16:creationId xmlns:a16="http://schemas.microsoft.com/office/drawing/2014/main" id="{AC575745-FB4B-4B15-AD88-BE702A49D622}"/>
                </a:ext>
              </a:extLst>
            </p:cNvPr>
            <p:cNvSpPr/>
            <p:nvPr/>
          </p:nvSpPr>
          <p:spPr>
            <a:xfrm>
              <a:off x="4346793" y="4370556"/>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8"/>
                    <a:pt x="55442" y="15789"/>
                    <a:pt x="41280" y="15789"/>
                  </a:cubicBezTo>
                  <a:cubicBezTo>
                    <a:pt x="27118" y="15789"/>
                    <a:pt x="15789" y="27118"/>
                    <a:pt x="15789" y="41280"/>
                  </a:cubicBezTo>
                  <a:cubicBezTo>
                    <a:pt x="15789" y="54026"/>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6" name="Freeform: Shape 2475">
              <a:extLst>
                <a:ext uri="{FF2B5EF4-FFF2-40B4-BE49-F238E27FC236}">
                  <a16:creationId xmlns:a16="http://schemas.microsoft.com/office/drawing/2014/main" id="{EC68C2F7-50E4-4FF3-A60F-12AA51A90855}"/>
                </a:ext>
              </a:extLst>
            </p:cNvPr>
            <p:cNvSpPr/>
            <p:nvPr/>
          </p:nvSpPr>
          <p:spPr>
            <a:xfrm>
              <a:off x="3992545" y="5356025"/>
              <a:ext cx="70810" cy="70810"/>
            </a:xfrm>
            <a:custGeom>
              <a:avLst/>
              <a:gdLst>
                <a:gd name="connsiteX0" fmla="*/ 44313 w 70809"/>
                <a:gd name="connsiteY0" fmla="*/ 17405 h 70809"/>
                <a:gd name="connsiteX1" fmla="*/ 55642 w 70809"/>
                <a:gd name="connsiteY1" fmla="*/ 44313 h 70809"/>
                <a:gd name="connsiteX2" fmla="*/ 28735 w 70809"/>
                <a:gd name="connsiteY2" fmla="*/ 55642 h 70809"/>
                <a:gd name="connsiteX3" fmla="*/ 17405 w 70809"/>
                <a:gd name="connsiteY3" fmla="*/ 28735 h 70809"/>
                <a:gd name="connsiteX4" fmla="*/ 44313 w 70809"/>
                <a:gd name="connsiteY4" fmla="*/ 17405 h 70809"/>
                <a:gd name="connsiteX5" fmla="*/ 44313 w 70809"/>
                <a:gd name="connsiteY5" fmla="*/ 17405 h 70809"/>
                <a:gd name="connsiteX6" fmla="*/ 40064 w 70809"/>
                <a:gd name="connsiteY6" fmla="*/ 25902 h 70809"/>
                <a:gd name="connsiteX7" fmla="*/ 24486 w 70809"/>
                <a:gd name="connsiteY7" fmla="*/ 31567 h 70809"/>
                <a:gd name="connsiteX8" fmla="*/ 30151 w 70809"/>
                <a:gd name="connsiteY8" fmla="*/ 47145 h 70809"/>
                <a:gd name="connsiteX9" fmla="*/ 45729 w 70809"/>
                <a:gd name="connsiteY9" fmla="*/ 41480 h 70809"/>
                <a:gd name="connsiteX10" fmla="*/ 40064 w 70809"/>
                <a:gd name="connsiteY10" fmla="*/ 25902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313" y="17405"/>
                  </a:moveTo>
                  <a:cubicBezTo>
                    <a:pt x="55642" y="21654"/>
                    <a:pt x="59891" y="34399"/>
                    <a:pt x="55642" y="44313"/>
                  </a:cubicBezTo>
                  <a:cubicBezTo>
                    <a:pt x="51394" y="55642"/>
                    <a:pt x="38648" y="59891"/>
                    <a:pt x="28735" y="55642"/>
                  </a:cubicBezTo>
                  <a:cubicBezTo>
                    <a:pt x="17405" y="51394"/>
                    <a:pt x="13156" y="38648"/>
                    <a:pt x="17405" y="28735"/>
                  </a:cubicBezTo>
                  <a:cubicBezTo>
                    <a:pt x="21654" y="17405"/>
                    <a:pt x="32983" y="13157"/>
                    <a:pt x="44313" y="17405"/>
                  </a:cubicBezTo>
                  <a:lnTo>
                    <a:pt x="44313" y="17405"/>
                  </a:lnTo>
                  <a:close/>
                  <a:moveTo>
                    <a:pt x="40064" y="25902"/>
                  </a:moveTo>
                  <a:cubicBezTo>
                    <a:pt x="34399" y="23070"/>
                    <a:pt x="27318" y="25902"/>
                    <a:pt x="24486" y="31567"/>
                  </a:cubicBezTo>
                  <a:cubicBezTo>
                    <a:pt x="21654" y="37232"/>
                    <a:pt x="24486" y="44313"/>
                    <a:pt x="30151" y="47145"/>
                  </a:cubicBezTo>
                  <a:cubicBezTo>
                    <a:pt x="35816" y="49978"/>
                    <a:pt x="42897" y="47145"/>
                    <a:pt x="45729" y="41480"/>
                  </a:cubicBezTo>
                  <a:cubicBezTo>
                    <a:pt x="49978" y="34399"/>
                    <a:pt x="47145" y="28735"/>
                    <a:pt x="40064" y="2590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7" name="Freeform: Shape 2476">
              <a:extLst>
                <a:ext uri="{FF2B5EF4-FFF2-40B4-BE49-F238E27FC236}">
                  <a16:creationId xmlns:a16="http://schemas.microsoft.com/office/drawing/2014/main" id="{F5137850-29CB-403B-A1E4-74C9DA841F22}"/>
                </a:ext>
              </a:extLst>
            </p:cNvPr>
            <p:cNvSpPr/>
            <p:nvPr/>
          </p:nvSpPr>
          <p:spPr>
            <a:xfrm>
              <a:off x="3548061" y="4261509"/>
              <a:ext cx="70810" cy="70810"/>
            </a:xfrm>
            <a:custGeom>
              <a:avLst/>
              <a:gdLst>
                <a:gd name="connsiteX0" fmla="*/ 35616 w 70809"/>
                <a:gd name="connsiteY0" fmla="*/ 55443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3"/>
                  </a:moveTo>
                  <a:cubicBezTo>
                    <a:pt x="46945" y="55443"/>
                    <a:pt x="55442" y="46945"/>
                    <a:pt x="55442" y="35616"/>
                  </a:cubicBezTo>
                  <a:cubicBezTo>
                    <a:pt x="55442" y="24286"/>
                    <a:pt x="46945" y="15789"/>
                    <a:pt x="35616" y="15789"/>
                  </a:cubicBezTo>
                  <a:cubicBezTo>
                    <a:pt x="24286" y="15789"/>
                    <a:pt x="15789" y="24286"/>
                    <a:pt x="15789" y="35616"/>
                  </a:cubicBezTo>
                  <a:cubicBezTo>
                    <a:pt x="15789" y="46945"/>
                    <a:pt x="25702" y="55443"/>
                    <a:pt x="35616" y="554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8" name="Freeform: Shape 2477">
              <a:extLst>
                <a:ext uri="{FF2B5EF4-FFF2-40B4-BE49-F238E27FC236}">
                  <a16:creationId xmlns:a16="http://schemas.microsoft.com/office/drawing/2014/main" id="{316EB968-C7A3-4A40-87B8-892DDA517A7B}"/>
                </a:ext>
              </a:extLst>
            </p:cNvPr>
            <p:cNvSpPr/>
            <p:nvPr/>
          </p:nvSpPr>
          <p:spPr>
            <a:xfrm>
              <a:off x="3858072" y="4629719"/>
              <a:ext cx="70810" cy="70810"/>
            </a:xfrm>
            <a:custGeom>
              <a:avLst/>
              <a:gdLst>
                <a:gd name="connsiteX0" fmla="*/ 35751 w 70809"/>
                <a:gd name="connsiteY0" fmla="*/ 55443 h 70809"/>
                <a:gd name="connsiteX1" fmla="*/ 55578 w 70809"/>
                <a:gd name="connsiteY1" fmla="*/ 35616 h 70809"/>
                <a:gd name="connsiteX2" fmla="*/ 35751 w 70809"/>
                <a:gd name="connsiteY2" fmla="*/ 15789 h 70809"/>
                <a:gd name="connsiteX3" fmla="*/ 15924 w 70809"/>
                <a:gd name="connsiteY3" fmla="*/ 35616 h 70809"/>
                <a:gd name="connsiteX4" fmla="*/ 35751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751" y="55443"/>
                  </a:moveTo>
                  <a:cubicBezTo>
                    <a:pt x="47080" y="55443"/>
                    <a:pt x="55578" y="46945"/>
                    <a:pt x="55578" y="35616"/>
                  </a:cubicBezTo>
                  <a:cubicBezTo>
                    <a:pt x="55578" y="24286"/>
                    <a:pt x="47080" y="15789"/>
                    <a:pt x="35751" y="15789"/>
                  </a:cubicBezTo>
                  <a:cubicBezTo>
                    <a:pt x="24421" y="15789"/>
                    <a:pt x="15924" y="24286"/>
                    <a:pt x="15924" y="35616"/>
                  </a:cubicBezTo>
                  <a:cubicBezTo>
                    <a:pt x="14508" y="45529"/>
                    <a:pt x="24421" y="55443"/>
                    <a:pt x="35751" y="554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9" name="Freeform: Shape 2478">
              <a:extLst>
                <a:ext uri="{FF2B5EF4-FFF2-40B4-BE49-F238E27FC236}">
                  <a16:creationId xmlns:a16="http://schemas.microsoft.com/office/drawing/2014/main" id="{0F0CE4F7-7D9F-4096-8E25-771BE229193C}"/>
                </a:ext>
              </a:extLst>
            </p:cNvPr>
            <p:cNvSpPr/>
            <p:nvPr/>
          </p:nvSpPr>
          <p:spPr>
            <a:xfrm>
              <a:off x="4420435" y="4373388"/>
              <a:ext cx="84971" cy="84971"/>
            </a:xfrm>
            <a:custGeom>
              <a:avLst/>
              <a:gdLst>
                <a:gd name="connsiteX0" fmla="*/ 45529 w 84971"/>
                <a:gd name="connsiteY0" fmla="*/ 75269 h 84971"/>
                <a:gd name="connsiteX1" fmla="*/ 75269 w 84971"/>
                <a:gd name="connsiteY1" fmla="*/ 45529 h 84971"/>
                <a:gd name="connsiteX2" fmla="*/ 45529 w 84971"/>
                <a:gd name="connsiteY2" fmla="*/ 15789 h 84971"/>
                <a:gd name="connsiteX3" fmla="*/ 15789 w 84971"/>
                <a:gd name="connsiteY3" fmla="*/ 45529 h 84971"/>
                <a:gd name="connsiteX4" fmla="*/ 45529 w 84971"/>
                <a:gd name="connsiteY4" fmla="*/ 7526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529" y="75269"/>
                  </a:moveTo>
                  <a:cubicBezTo>
                    <a:pt x="61107" y="75269"/>
                    <a:pt x="75269" y="62524"/>
                    <a:pt x="75269" y="45529"/>
                  </a:cubicBezTo>
                  <a:cubicBezTo>
                    <a:pt x="75269" y="29951"/>
                    <a:pt x="62523" y="15789"/>
                    <a:pt x="45529" y="15789"/>
                  </a:cubicBezTo>
                  <a:cubicBezTo>
                    <a:pt x="29951" y="15789"/>
                    <a:pt x="15789" y="28535"/>
                    <a:pt x="15789" y="45529"/>
                  </a:cubicBezTo>
                  <a:cubicBezTo>
                    <a:pt x="15789" y="62524"/>
                    <a:pt x="29951" y="75269"/>
                    <a:pt x="45529" y="752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0" name="Freeform: Shape 2479">
              <a:extLst>
                <a:ext uri="{FF2B5EF4-FFF2-40B4-BE49-F238E27FC236}">
                  <a16:creationId xmlns:a16="http://schemas.microsoft.com/office/drawing/2014/main" id="{E3D76AA2-471A-4645-BF58-65095295C516}"/>
                </a:ext>
              </a:extLst>
            </p:cNvPr>
            <p:cNvSpPr/>
            <p:nvPr/>
          </p:nvSpPr>
          <p:spPr>
            <a:xfrm>
              <a:off x="4567719" y="4731685"/>
              <a:ext cx="84971" cy="84971"/>
            </a:xfrm>
            <a:custGeom>
              <a:avLst/>
              <a:gdLst>
                <a:gd name="connsiteX0" fmla="*/ 75269 w 84971"/>
                <a:gd name="connsiteY0" fmla="*/ 45529 h 84971"/>
                <a:gd name="connsiteX1" fmla="*/ 45529 w 84971"/>
                <a:gd name="connsiteY1" fmla="*/ 75269 h 84971"/>
                <a:gd name="connsiteX2" fmla="*/ 15789 w 84971"/>
                <a:gd name="connsiteY2" fmla="*/ 45529 h 84971"/>
                <a:gd name="connsiteX3" fmla="*/ 45529 w 84971"/>
                <a:gd name="connsiteY3" fmla="*/ 15789 h 84971"/>
                <a:gd name="connsiteX4" fmla="*/ 75269 w 84971"/>
                <a:gd name="connsiteY4" fmla="*/ 4552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75269" y="45529"/>
                  </a:moveTo>
                  <a:cubicBezTo>
                    <a:pt x="75269" y="61954"/>
                    <a:pt x="61954" y="75269"/>
                    <a:pt x="45529" y="75269"/>
                  </a:cubicBezTo>
                  <a:cubicBezTo>
                    <a:pt x="29104" y="75269"/>
                    <a:pt x="15789" y="61954"/>
                    <a:pt x="15789" y="45529"/>
                  </a:cubicBezTo>
                  <a:cubicBezTo>
                    <a:pt x="15789" y="29104"/>
                    <a:pt x="29104" y="15789"/>
                    <a:pt x="45529" y="15789"/>
                  </a:cubicBezTo>
                  <a:cubicBezTo>
                    <a:pt x="61954" y="15789"/>
                    <a:pt x="75269" y="29104"/>
                    <a:pt x="75269" y="4552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1" name="Freeform: Shape 2480">
              <a:extLst>
                <a:ext uri="{FF2B5EF4-FFF2-40B4-BE49-F238E27FC236}">
                  <a16:creationId xmlns:a16="http://schemas.microsoft.com/office/drawing/2014/main" id="{475318D0-E907-4196-81F7-2EC4E32E2101}"/>
                </a:ext>
              </a:extLst>
            </p:cNvPr>
            <p:cNvSpPr/>
            <p:nvPr/>
          </p:nvSpPr>
          <p:spPr>
            <a:xfrm>
              <a:off x="4292823" y="4755760"/>
              <a:ext cx="56648" cy="56648"/>
            </a:xfrm>
            <a:custGeom>
              <a:avLst/>
              <a:gdLst>
                <a:gd name="connsiteX0" fmla="*/ 32938 w 56647"/>
                <a:gd name="connsiteY0" fmla="*/ 49778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8"/>
                  </a:moveTo>
                  <a:cubicBezTo>
                    <a:pt x="42852" y="49778"/>
                    <a:pt x="49933" y="41281"/>
                    <a:pt x="49933" y="32783"/>
                  </a:cubicBezTo>
                  <a:cubicBezTo>
                    <a:pt x="49933" y="22870"/>
                    <a:pt x="41435" y="15789"/>
                    <a:pt x="32938" y="15789"/>
                  </a:cubicBezTo>
                  <a:cubicBezTo>
                    <a:pt x="23025" y="15789"/>
                    <a:pt x="15944" y="24286"/>
                    <a:pt x="15944" y="32783"/>
                  </a:cubicBezTo>
                  <a:cubicBezTo>
                    <a:pt x="14528" y="41281"/>
                    <a:pt x="23025" y="49778"/>
                    <a:pt x="32938"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2" name="Freeform: Shape 2481">
              <a:extLst>
                <a:ext uri="{FF2B5EF4-FFF2-40B4-BE49-F238E27FC236}">
                  <a16:creationId xmlns:a16="http://schemas.microsoft.com/office/drawing/2014/main" id="{A1C77EED-75A5-47AD-9F59-5821FC43CA5E}"/>
                </a:ext>
              </a:extLst>
            </p:cNvPr>
            <p:cNvSpPr/>
            <p:nvPr/>
          </p:nvSpPr>
          <p:spPr>
            <a:xfrm>
              <a:off x="4237746" y="4442782"/>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1280"/>
                    <a:pt x="49778" y="32783"/>
                  </a:cubicBezTo>
                  <a:cubicBezTo>
                    <a:pt x="49778" y="22870"/>
                    <a:pt x="41280" y="15789"/>
                    <a:pt x="32783" y="15789"/>
                  </a:cubicBezTo>
                  <a:cubicBezTo>
                    <a:pt x="22870" y="15789"/>
                    <a:pt x="15789" y="24286"/>
                    <a:pt x="15789" y="32783"/>
                  </a:cubicBezTo>
                  <a:cubicBezTo>
                    <a:pt x="15789" y="41280"/>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3" name="Freeform: Shape 2482">
              <a:extLst>
                <a:ext uri="{FF2B5EF4-FFF2-40B4-BE49-F238E27FC236}">
                  <a16:creationId xmlns:a16="http://schemas.microsoft.com/office/drawing/2014/main" id="{DBA26219-7C51-4A60-A514-4999BDE6EAF7}"/>
                </a:ext>
              </a:extLst>
            </p:cNvPr>
            <p:cNvSpPr/>
            <p:nvPr/>
          </p:nvSpPr>
          <p:spPr>
            <a:xfrm>
              <a:off x="3362540" y="4524921"/>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1280"/>
                    <a:pt x="49778" y="32783"/>
                  </a:cubicBezTo>
                  <a:cubicBezTo>
                    <a:pt x="49778" y="22870"/>
                    <a:pt x="41280" y="15789"/>
                    <a:pt x="32783" y="15789"/>
                  </a:cubicBezTo>
                  <a:cubicBezTo>
                    <a:pt x="22870" y="15789"/>
                    <a:pt x="15789" y="24286"/>
                    <a:pt x="15789" y="32783"/>
                  </a:cubicBezTo>
                  <a:cubicBezTo>
                    <a:pt x="15789" y="41280"/>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4" name="Freeform: Shape 2483">
              <a:extLst>
                <a:ext uri="{FF2B5EF4-FFF2-40B4-BE49-F238E27FC236}">
                  <a16:creationId xmlns:a16="http://schemas.microsoft.com/office/drawing/2014/main" id="{F9A91A0C-7D06-4786-B305-6D0D3B9F2D75}"/>
                </a:ext>
              </a:extLst>
            </p:cNvPr>
            <p:cNvSpPr/>
            <p:nvPr/>
          </p:nvSpPr>
          <p:spPr>
            <a:xfrm>
              <a:off x="3904067" y="5460149"/>
              <a:ext cx="56648" cy="56648"/>
            </a:xfrm>
            <a:custGeom>
              <a:avLst/>
              <a:gdLst>
                <a:gd name="connsiteX0" fmla="*/ 39322 w 56647"/>
                <a:gd name="connsiteY0" fmla="*/ 16663 h 56647"/>
                <a:gd name="connsiteX1" fmla="*/ 49235 w 56647"/>
                <a:gd name="connsiteY1" fmla="*/ 39322 h 56647"/>
                <a:gd name="connsiteX2" fmla="*/ 26576 w 56647"/>
                <a:gd name="connsiteY2" fmla="*/ 49235 h 56647"/>
                <a:gd name="connsiteX3" fmla="*/ 16663 w 56647"/>
                <a:gd name="connsiteY3" fmla="*/ 26576 h 56647"/>
                <a:gd name="connsiteX4" fmla="*/ 39322 w 56647"/>
                <a:gd name="connsiteY4" fmla="*/ 1666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9322" y="16663"/>
                  </a:moveTo>
                  <a:cubicBezTo>
                    <a:pt x="47819" y="20911"/>
                    <a:pt x="52068" y="30825"/>
                    <a:pt x="49235" y="39322"/>
                  </a:cubicBezTo>
                  <a:cubicBezTo>
                    <a:pt x="44987" y="47819"/>
                    <a:pt x="35073" y="52068"/>
                    <a:pt x="26576" y="49235"/>
                  </a:cubicBezTo>
                  <a:cubicBezTo>
                    <a:pt x="18079" y="44987"/>
                    <a:pt x="13830" y="35073"/>
                    <a:pt x="16663" y="26576"/>
                  </a:cubicBezTo>
                  <a:cubicBezTo>
                    <a:pt x="19495" y="18079"/>
                    <a:pt x="29409" y="13830"/>
                    <a:pt x="39322" y="1666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5" name="Freeform: Shape 2484">
              <a:extLst>
                <a:ext uri="{FF2B5EF4-FFF2-40B4-BE49-F238E27FC236}">
                  <a16:creationId xmlns:a16="http://schemas.microsoft.com/office/drawing/2014/main" id="{0687A263-B7A8-4CF0-9DDB-8D46D5D9FD49}"/>
                </a:ext>
              </a:extLst>
            </p:cNvPr>
            <p:cNvSpPr/>
            <p:nvPr/>
          </p:nvSpPr>
          <p:spPr>
            <a:xfrm>
              <a:off x="4375117" y="4548996"/>
              <a:ext cx="84971" cy="84971"/>
            </a:xfrm>
            <a:custGeom>
              <a:avLst/>
              <a:gdLst>
                <a:gd name="connsiteX0" fmla="*/ 45529 w 84971"/>
                <a:gd name="connsiteY0" fmla="*/ 15789 h 84971"/>
                <a:gd name="connsiteX1" fmla="*/ 75269 w 84971"/>
                <a:gd name="connsiteY1" fmla="*/ 45529 h 84971"/>
                <a:gd name="connsiteX2" fmla="*/ 45529 w 84971"/>
                <a:gd name="connsiteY2" fmla="*/ 75269 h 84971"/>
                <a:gd name="connsiteX3" fmla="*/ 15789 w 84971"/>
                <a:gd name="connsiteY3" fmla="*/ 45529 h 84971"/>
                <a:gd name="connsiteX4" fmla="*/ 45529 w 84971"/>
                <a:gd name="connsiteY4" fmla="*/ 15789 h 84971"/>
                <a:gd name="connsiteX5" fmla="*/ 45529 w 84971"/>
                <a:gd name="connsiteY5" fmla="*/ 15789 h 84971"/>
                <a:gd name="connsiteX6" fmla="*/ 45529 w 84971"/>
                <a:gd name="connsiteY6" fmla="*/ 28535 h 84971"/>
                <a:gd name="connsiteX7" fmla="*/ 28535 w 84971"/>
                <a:gd name="connsiteY7" fmla="*/ 45529 h 84971"/>
                <a:gd name="connsiteX8" fmla="*/ 45529 w 84971"/>
                <a:gd name="connsiteY8" fmla="*/ 62523 h 84971"/>
                <a:gd name="connsiteX9" fmla="*/ 62523 w 84971"/>
                <a:gd name="connsiteY9" fmla="*/ 45529 h 84971"/>
                <a:gd name="connsiteX10" fmla="*/ 45529 w 84971"/>
                <a:gd name="connsiteY10" fmla="*/ 28535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5529" y="15789"/>
                  </a:moveTo>
                  <a:cubicBezTo>
                    <a:pt x="62523" y="15789"/>
                    <a:pt x="75269" y="29951"/>
                    <a:pt x="75269" y="45529"/>
                  </a:cubicBezTo>
                  <a:cubicBezTo>
                    <a:pt x="75269" y="61107"/>
                    <a:pt x="62523" y="75269"/>
                    <a:pt x="45529" y="75269"/>
                  </a:cubicBezTo>
                  <a:cubicBezTo>
                    <a:pt x="28535" y="75269"/>
                    <a:pt x="15789" y="62523"/>
                    <a:pt x="15789" y="45529"/>
                  </a:cubicBezTo>
                  <a:cubicBezTo>
                    <a:pt x="15789" y="28535"/>
                    <a:pt x="28535" y="15789"/>
                    <a:pt x="45529" y="15789"/>
                  </a:cubicBezTo>
                  <a:lnTo>
                    <a:pt x="45529" y="15789"/>
                  </a:lnTo>
                  <a:close/>
                  <a:moveTo>
                    <a:pt x="45529" y="28535"/>
                  </a:moveTo>
                  <a:cubicBezTo>
                    <a:pt x="35616" y="28535"/>
                    <a:pt x="28535" y="35616"/>
                    <a:pt x="28535" y="45529"/>
                  </a:cubicBezTo>
                  <a:cubicBezTo>
                    <a:pt x="28535" y="55442"/>
                    <a:pt x="35616" y="62523"/>
                    <a:pt x="45529" y="62523"/>
                  </a:cubicBezTo>
                  <a:cubicBezTo>
                    <a:pt x="55442" y="62523"/>
                    <a:pt x="62523" y="55442"/>
                    <a:pt x="62523" y="45529"/>
                  </a:cubicBezTo>
                  <a:cubicBezTo>
                    <a:pt x="62523" y="37032"/>
                    <a:pt x="54026" y="28535"/>
                    <a:pt x="45529" y="2853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6" name="Freeform: Shape 2485">
              <a:extLst>
                <a:ext uri="{FF2B5EF4-FFF2-40B4-BE49-F238E27FC236}">
                  <a16:creationId xmlns:a16="http://schemas.microsoft.com/office/drawing/2014/main" id="{9204CA9F-3564-4967-8B5F-15BF54CD086F}"/>
                </a:ext>
              </a:extLst>
            </p:cNvPr>
            <p:cNvSpPr/>
            <p:nvPr/>
          </p:nvSpPr>
          <p:spPr>
            <a:xfrm>
              <a:off x="4598655" y="4602811"/>
              <a:ext cx="42486" cy="42486"/>
            </a:xfrm>
            <a:custGeom>
              <a:avLst/>
              <a:gdLst>
                <a:gd name="connsiteX0" fmla="*/ 25923 w 42485"/>
                <a:gd name="connsiteY0" fmla="*/ 35616 h 42485"/>
                <a:gd name="connsiteX1" fmla="*/ 35836 w 42485"/>
                <a:gd name="connsiteY1" fmla="*/ 25703 h 42485"/>
                <a:gd name="connsiteX2" fmla="*/ 25923 w 42485"/>
                <a:gd name="connsiteY2" fmla="*/ 15789 h 42485"/>
                <a:gd name="connsiteX3" fmla="*/ 16009 w 42485"/>
                <a:gd name="connsiteY3" fmla="*/ 25703 h 42485"/>
                <a:gd name="connsiteX4" fmla="*/ 2592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923" y="35616"/>
                  </a:moveTo>
                  <a:cubicBezTo>
                    <a:pt x="31587" y="35616"/>
                    <a:pt x="35836" y="31367"/>
                    <a:pt x="35836" y="25703"/>
                  </a:cubicBezTo>
                  <a:cubicBezTo>
                    <a:pt x="35836" y="20037"/>
                    <a:pt x="31587" y="15789"/>
                    <a:pt x="25923" y="15789"/>
                  </a:cubicBezTo>
                  <a:cubicBezTo>
                    <a:pt x="20258" y="15789"/>
                    <a:pt x="16009" y="20037"/>
                    <a:pt x="16009" y="25703"/>
                  </a:cubicBezTo>
                  <a:cubicBezTo>
                    <a:pt x="14593" y="31367"/>
                    <a:pt x="20258" y="35616"/>
                    <a:pt x="2592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7" name="Freeform: Shape 2486">
              <a:extLst>
                <a:ext uri="{FF2B5EF4-FFF2-40B4-BE49-F238E27FC236}">
                  <a16:creationId xmlns:a16="http://schemas.microsoft.com/office/drawing/2014/main" id="{6B806E00-7910-4F58-8090-2574CAF9946F}"/>
                </a:ext>
              </a:extLst>
            </p:cNvPr>
            <p:cNvSpPr/>
            <p:nvPr/>
          </p:nvSpPr>
          <p:spPr>
            <a:xfrm>
              <a:off x="3422020" y="4410209"/>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8"/>
                    <a:pt x="31367" y="15789"/>
                    <a:pt x="25702" y="15789"/>
                  </a:cubicBezTo>
                  <a:cubicBezTo>
                    <a:pt x="20038" y="15789"/>
                    <a:pt x="15789" y="20038"/>
                    <a:pt x="15789" y="25703"/>
                  </a:cubicBezTo>
                  <a:cubicBezTo>
                    <a:pt x="17205" y="31367"/>
                    <a:pt x="21454"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8" name="Freeform: Shape 2487">
              <a:extLst>
                <a:ext uri="{FF2B5EF4-FFF2-40B4-BE49-F238E27FC236}">
                  <a16:creationId xmlns:a16="http://schemas.microsoft.com/office/drawing/2014/main" id="{639210B0-4EAD-49C3-BF94-D46C3335632B}"/>
                </a:ext>
              </a:extLst>
            </p:cNvPr>
            <p:cNvSpPr/>
            <p:nvPr/>
          </p:nvSpPr>
          <p:spPr>
            <a:xfrm>
              <a:off x="4011155" y="4973853"/>
              <a:ext cx="70810" cy="70810"/>
            </a:xfrm>
            <a:custGeom>
              <a:avLst/>
              <a:gdLst>
                <a:gd name="connsiteX0" fmla="*/ 38448 w 70809"/>
                <a:gd name="connsiteY0" fmla="*/ 61107 h 70809"/>
                <a:gd name="connsiteX1" fmla="*/ 61107 w 70809"/>
                <a:gd name="connsiteY1" fmla="*/ 38448 h 70809"/>
                <a:gd name="connsiteX2" fmla="*/ 38448 w 70809"/>
                <a:gd name="connsiteY2" fmla="*/ 15789 h 70809"/>
                <a:gd name="connsiteX3" fmla="*/ 15789 w 70809"/>
                <a:gd name="connsiteY3" fmla="*/ 38448 h 70809"/>
                <a:gd name="connsiteX4" fmla="*/ 3844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8" y="61107"/>
                  </a:moveTo>
                  <a:cubicBezTo>
                    <a:pt x="51194" y="61107"/>
                    <a:pt x="61107" y="51194"/>
                    <a:pt x="61107" y="38448"/>
                  </a:cubicBezTo>
                  <a:cubicBezTo>
                    <a:pt x="61107" y="25702"/>
                    <a:pt x="51194" y="15789"/>
                    <a:pt x="38448" y="15789"/>
                  </a:cubicBezTo>
                  <a:cubicBezTo>
                    <a:pt x="25703" y="15789"/>
                    <a:pt x="15789" y="25702"/>
                    <a:pt x="15789" y="38448"/>
                  </a:cubicBezTo>
                  <a:cubicBezTo>
                    <a:pt x="15789" y="51194"/>
                    <a:pt x="25703" y="61107"/>
                    <a:pt x="38448"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9" name="Freeform: Shape 2488">
              <a:extLst>
                <a:ext uri="{FF2B5EF4-FFF2-40B4-BE49-F238E27FC236}">
                  <a16:creationId xmlns:a16="http://schemas.microsoft.com/office/drawing/2014/main" id="{2FA05DF7-A917-4159-A674-32C757F2CC55}"/>
                </a:ext>
              </a:extLst>
            </p:cNvPr>
            <p:cNvSpPr/>
            <p:nvPr/>
          </p:nvSpPr>
          <p:spPr>
            <a:xfrm>
              <a:off x="3640113" y="4017925"/>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0" y="49777"/>
                    <a:pt x="49778" y="42697"/>
                    <a:pt x="49778" y="32783"/>
                  </a:cubicBezTo>
                  <a:cubicBezTo>
                    <a:pt x="49778" y="24286"/>
                    <a:pt x="42697" y="15789"/>
                    <a:pt x="32783" y="15789"/>
                  </a:cubicBezTo>
                  <a:cubicBezTo>
                    <a:pt x="22870" y="15789"/>
                    <a:pt x="15789" y="22870"/>
                    <a:pt x="15789" y="32783"/>
                  </a:cubicBezTo>
                  <a:cubicBezTo>
                    <a:pt x="15789" y="41280"/>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0" name="Freeform: Shape 2489">
              <a:extLst>
                <a:ext uri="{FF2B5EF4-FFF2-40B4-BE49-F238E27FC236}">
                  <a16:creationId xmlns:a16="http://schemas.microsoft.com/office/drawing/2014/main" id="{7EABA76D-6C88-4D0D-A821-F4547388E572}"/>
                </a:ext>
              </a:extLst>
            </p:cNvPr>
            <p:cNvSpPr/>
            <p:nvPr/>
          </p:nvSpPr>
          <p:spPr>
            <a:xfrm>
              <a:off x="3593379" y="3842317"/>
              <a:ext cx="113295" cy="113295"/>
            </a:xfrm>
            <a:custGeom>
              <a:avLst/>
              <a:gdLst>
                <a:gd name="connsiteX0" fmla="*/ 56859 w 113295"/>
                <a:gd name="connsiteY0" fmla="*/ 97928 h 113295"/>
                <a:gd name="connsiteX1" fmla="*/ 97928 w 113295"/>
                <a:gd name="connsiteY1" fmla="*/ 56858 h 113295"/>
                <a:gd name="connsiteX2" fmla="*/ 56859 w 113295"/>
                <a:gd name="connsiteY2" fmla="*/ 15789 h 113295"/>
                <a:gd name="connsiteX3" fmla="*/ 15789 w 113295"/>
                <a:gd name="connsiteY3" fmla="*/ 56858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8" y="79518"/>
                    <a:pt x="97928" y="56858"/>
                  </a:cubicBezTo>
                  <a:cubicBezTo>
                    <a:pt x="97928" y="34200"/>
                    <a:pt x="79518" y="15789"/>
                    <a:pt x="56859" y="15789"/>
                  </a:cubicBezTo>
                  <a:cubicBezTo>
                    <a:pt x="34200" y="15789"/>
                    <a:pt x="15789" y="34200"/>
                    <a:pt x="15789" y="56858"/>
                  </a:cubicBezTo>
                  <a:cubicBezTo>
                    <a:pt x="15789" y="79518"/>
                    <a:pt x="34200" y="97928"/>
                    <a:pt x="56859"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1" name="Freeform: Shape 2490">
              <a:extLst>
                <a:ext uri="{FF2B5EF4-FFF2-40B4-BE49-F238E27FC236}">
                  <a16:creationId xmlns:a16="http://schemas.microsoft.com/office/drawing/2014/main" id="{A1120AEF-9182-4D25-91F0-85B196C355ED}"/>
                </a:ext>
              </a:extLst>
            </p:cNvPr>
            <p:cNvSpPr/>
            <p:nvPr/>
          </p:nvSpPr>
          <p:spPr>
            <a:xfrm>
              <a:off x="4016820" y="4363475"/>
              <a:ext cx="99133" cy="99133"/>
            </a:xfrm>
            <a:custGeom>
              <a:avLst/>
              <a:gdLst>
                <a:gd name="connsiteX0" fmla="*/ 49778 w 99133"/>
                <a:gd name="connsiteY0" fmla="*/ 83766 h 99133"/>
                <a:gd name="connsiteX1" fmla="*/ 83766 w 99133"/>
                <a:gd name="connsiteY1" fmla="*/ 49777 h 99133"/>
                <a:gd name="connsiteX2" fmla="*/ 49778 w 99133"/>
                <a:gd name="connsiteY2" fmla="*/ 15789 h 99133"/>
                <a:gd name="connsiteX3" fmla="*/ 15789 w 99133"/>
                <a:gd name="connsiteY3" fmla="*/ 49777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7"/>
                  </a:cubicBezTo>
                  <a:cubicBezTo>
                    <a:pt x="83766" y="31367"/>
                    <a:pt x="68188" y="15789"/>
                    <a:pt x="49778" y="15789"/>
                  </a:cubicBezTo>
                  <a:cubicBezTo>
                    <a:pt x="31367" y="15789"/>
                    <a:pt x="15789" y="31367"/>
                    <a:pt x="15789" y="49777"/>
                  </a:cubicBezTo>
                  <a:cubicBezTo>
                    <a:pt x="15789" y="69604"/>
                    <a:pt x="31367" y="83766"/>
                    <a:pt x="49778" y="8376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2" name="Freeform: Shape 2491">
              <a:extLst>
                <a:ext uri="{FF2B5EF4-FFF2-40B4-BE49-F238E27FC236}">
                  <a16:creationId xmlns:a16="http://schemas.microsoft.com/office/drawing/2014/main" id="{E4B8E5D2-6A66-4BF1-858B-57A52879A1F2}"/>
                </a:ext>
              </a:extLst>
            </p:cNvPr>
            <p:cNvSpPr/>
            <p:nvPr/>
          </p:nvSpPr>
          <p:spPr>
            <a:xfrm>
              <a:off x="4002103" y="5552520"/>
              <a:ext cx="42486" cy="42486"/>
            </a:xfrm>
            <a:custGeom>
              <a:avLst/>
              <a:gdLst>
                <a:gd name="connsiteX0" fmla="*/ 24842 w 42485"/>
                <a:gd name="connsiteY0" fmla="*/ 16345 h 42485"/>
                <a:gd name="connsiteX1" fmla="*/ 27674 w 42485"/>
                <a:gd name="connsiteY1" fmla="*/ 24842 h 42485"/>
                <a:gd name="connsiteX2" fmla="*/ 19177 w 42485"/>
                <a:gd name="connsiteY2" fmla="*/ 27674 h 42485"/>
                <a:gd name="connsiteX3" fmla="*/ 16345 w 42485"/>
                <a:gd name="connsiteY3" fmla="*/ 19177 h 42485"/>
                <a:gd name="connsiteX4" fmla="*/ 24842 w 42485"/>
                <a:gd name="connsiteY4" fmla="*/ 1634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6345"/>
                  </a:moveTo>
                  <a:cubicBezTo>
                    <a:pt x="27674" y="17761"/>
                    <a:pt x="29090" y="22009"/>
                    <a:pt x="27674" y="24842"/>
                  </a:cubicBezTo>
                  <a:cubicBezTo>
                    <a:pt x="26258" y="27674"/>
                    <a:pt x="22009" y="29090"/>
                    <a:pt x="19177" y="27674"/>
                  </a:cubicBezTo>
                  <a:cubicBezTo>
                    <a:pt x="16345" y="26258"/>
                    <a:pt x="14928" y="22009"/>
                    <a:pt x="16345" y="19177"/>
                  </a:cubicBezTo>
                  <a:cubicBezTo>
                    <a:pt x="17761" y="16345"/>
                    <a:pt x="20593" y="14928"/>
                    <a:pt x="24842" y="163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3" name="Freeform: Shape 2492">
              <a:extLst>
                <a:ext uri="{FF2B5EF4-FFF2-40B4-BE49-F238E27FC236}">
                  <a16:creationId xmlns:a16="http://schemas.microsoft.com/office/drawing/2014/main" id="{25396C25-05D8-4996-BADA-B53B594757EB}"/>
                </a:ext>
              </a:extLst>
            </p:cNvPr>
            <p:cNvSpPr/>
            <p:nvPr/>
          </p:nvSpPr>
          <p:spPr>
            <a:xfrm>
              <a:off x="3839845" y="5601274"/>
              <a:ext cx="56648" cy="56648"/>
            </a:xfrm>
            <a:custGeom>
              <a:avLst/>
              <a:gdLst>
                <a:gd name="connsiteX0" fmla="*/ 35567 w 56647"/>
                <a:gd name="connsiteY0" fmla="*/ 17157 h 56647"/>
                <a:gd name="connsiteX1" fmla="*/ 41232 w 56647"/>
                <a:gd name="connsiteY1" fmla="*/ 35567 h 56647"/>
                <a:gd name="connsiteX2" fmla="*/ 22822 w 56647"/>
                <a:gd name="connsiteY2" fmla="*/ 41232 h 56647"/>
                <a:gd name="connsiteX3" fmla="*/ 17157 w 56647"/>
                <a:gd name="connsiteY3" fmla="*/ 22821 h 56647"/>
                <a:gd name="connsiteX4" fmla="*/ 35567 w 56647"/>
                <a:gd name="connsiteY4" fmla="*/ 1715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567" y="17157"/>
                  </a:moveTo>
                  <a:cubicBezTo>
                    <a:pt x="42648" y="19989"/>
                    <a:pt x="44064" y="28486"/>
                    <a:pt x="41232" y="35567"/>
                  </a:cubicBezTo>
                  <a:cubicBezTo>
                    <a:pt x="38400" y="42648"/>
                    <a:pt x="29902" y="44064"/>
                    <a:pt x="22822" y="41232"/>
                  </a:cubicBezTo>
                  <a:cubicBezTo>
                    <a:pt x="15741" y="38400"/>
                    <a:pt x="14324" y="29902"/>
                    <a:pt x="17157" y="22821"/>
                  </a:cubicBezTo>
                  <a:cubicBezTo>
                    <a:pt x="21405" y="15741"/>
                    <a:pt x="29902" y="14324"/>
                    <a:pt x="35567" y="1715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4" name="Freeform: Shape 2493">
              <a:extLst>
                <a:ext uri="{FF2B5EF4-FFF2-40B4-BE49-F238E27FC236}">
                  <a16:creationId xmlns:a16="http://schemas.microsoft.com/office/drawing/2014/main" id="{B41F9F4B-E589-4973-AA1E-875784BAA85D}"/>
                </a:ext>
              </a:extLst>
            </p:cNvPr>
            <p:cNvSpPr/>
            <p:nvPr/>
          </p:nvSpPr>
          <p:spPr>
            <a:xfrm>
              <a:off x="4230297" y="4715738"/>
              <a:ext cx="42486" cy="42486"/>
            </a:xfrm>
            <a:custGeom>
              <a:avLst/>
              <a:gdLst>
                <a:gd name="connsiteX0" fmla="*/ 23238 w 42485"/>
                <a:gd name="connsiteY0" fmla="*/ 16157 h 42485"/>
                <a:gd name="connsiteX1" fmla="*/ 28903 w 42485"/>
                <a:gd name="connsiteY1" fmla="*/ 23238 h 42485"/>
                <a:gd name="connsiteX2" fmla="*/ 21822 w 42485"/>
                <a:gd name="connsiteY2" fmla="*/ 28903 h 42485"/>
                <a:gd name="connsiteX3" fmla="*/ 16157 w 42485"/>
                <a:gd name="connsiteY3" fmla="*/ 21822 h 42485"/>
                <a:gd name="connsiteX4" fmla="*/ 23238 w 42485"/>
                <a:gd name="connsiteY4" fmla="*/ 16157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6157"/>
                  </a:moveTo>
                  <a:cubicBezTo>
                    <a:pt x="27487" y="16157"/>
                    <a:pt x="30319" y="20406"/>
                    <a:pt x="28903" y="23238"/>
                  </a:cubicBezTo>
                  <a:cubicBezTo>
                    <a:pt x="28903" y="27487"/>
                    <a:pt x="24655" y="30319"/>
                    <a:pt x="21822" y="28903"/>
                  </a:cubicBezTo>
                  <a:cubicBezTo>
                    <a:pt x="17574" y="28903"/>
                    <a:pt x="14741" y="24655"/>
                    <a:pt x="16157" y="21822"/>
                  </a:cubicBezTo>
                  <a:cubicBezTo>
                    <a:pt x="16157" y="17574"/>
                    <a:pt x="20406" y="14741"/>
                    <a:pt x="23238" y="1615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5" name="Freeform: Shape 2494">
              <a:extLst>
                <a:ext uri="{FF2B5EF4-FFF2-40B4-BE49-F238E27FC236}">
                  <a16:creationId xmlns:a16="http://schemas.microsoft.com/office/drawing/2014/main" id="{697A99D1-8DA3-4D19-B473-D1B7BCD5E4F6}"/>
                </a:ext>
              </a:extLst>
            </p:cNvPr>
            <p:cNvSpPr/>
            <p:nvPr/>
          </p:nvSpPr>
          <p:spPr>
            <a:xfrm>
              <a:off x="3635309" y="5975961"/>
              <a:ext cx="42486" cy="42486"/>
            </a:xfrm>
            <a:custGeom>
              <a:avLst/>
              <a:gdLst>
                <a:gd name="connsiteX0" fmla="*/ 24842 w 42485"/>
                <a:gd name="connsiteY0" fmla="*/ 16345 h 42485"/>
                <a:gd name="connsiteX1" fmla="*/ 27674 w 42485"/>
                <a:gd name="connsiteY1" fmla="*/ 24842 h 42485"/>
                <a:gd name="connsiteX2" fmla="*/ 19177 w 42485"/>
                <a:gd name="connsiteY2" fmla="*/ 27674 h 42485"/>
                <a:gd name="connsiteX3" fmla="*/ 16345 w 42485"/>
                <a:gd name="connsiteY3" fmla="*/ 19177 h 42485"/>
                <a:gd name="connsiteX4" fmla="*/ 24842 w 42485"/>
                <a:gd name="connsiteY4" fmla="*/ 1634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6345"/>
                  </a:moveTo>
                  <a:cubicBezTo>
                    <a:pt x="27674" y="17761"/>
                    <a:pt x="29090" y="22009"/>
                    <a:pt x="27674" y="24842"/>
                  </a:cubicBezTo>
                  <a:cubicBezTo>
                    <a:pt x="26258" y="27674"/>
                    <a:pt x="22009" y="29090"/>
                    <a:pt x="19177" y="27674"/>
                  </a:cubicBezTo>
                  <a:cubicBezTo>
                    <a:pt x="16345" y="26258"/>
                    <a:pt x="14928" y="22009"/>
                    <a:pt x="16345" y="19177"/>
                  </a:cubicBezTo>
                  <a:cubicBezTo>
                    <a:pt x="17761" y="16345"/>
                    <a:pt x="22009" y="14928"/>
                    <a:pt x="24842" y="163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6" name="Freeform: Shape 2495">
              <a:extLst>
                <a:ext uri="{FF2B5EF4-FFF2-40B4-BE49-F238E27FC236}">
                  <a16:creationId xmlns:a16="http://schemas.microsoft.com/office/drawing/2014/main" id="{6D8C0496-5F71-49A0-8A37-8DE18ED64521}"/>
                </a:ext>
              </a:extLst>
            </p:cNvPr>
            <p:cNvSpPr/>
            <p:nvPr/>
          </p:nvSpPr>
          <p:spPr>
            <a:xfrm>
              <a:off x="3781177" y="5907066"/>
              <a:ext cx="42486" cy="42486"/>
            </a:xfrm>
            <a:custGeom>
              <a:avLst/>
              <a:gdLst>
                <a:gd name="connsiteX0" fmla="*/ 24842 w 42485"/>
                <a:gd name="connsiteY0" fmla="*/ 17263 h 42485"/>
                <a:gd name="connsiteX1" fmla="*/ 27674 w 42485"/>
                <a:gd name="connsiteY1" fmla="*/ 25759 h 42485"/>
                <a:gd name="connsiteX2" fmla="*/ 19177 w 42485"/>
                <a:gd name="connsiteY2" fmla="*/ 28592 h 42485"/>
                <a:gd name="connsiteX3" fmla="*/ 16345 w 42485"/>
                <a:gd name="connsiteY3" fmla="*/ 20095 h 42485"/>
                <a:gd name="connsiteX4" fmla="*/ 24842 w 42485"/>
                <a:gd name="connsiteY4" fmla="*/ 1726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7263"/>
                  </a:moveTo>
                  <a:cubicBezTo>
                    <a:pt x="27674" y="18679"/>
                    <a:pt x="29090" y="22927"/>
                    <a:pt x="27674" y="25759"/>
                  </a:cubicBezTo>
                  <a:cubicBezTo>
                    <a:pt x="26258" y="28592"/>
                    <a:pt x="22009" y="30008"/>
                    <a:pt x="19177" y="28592"/>
                  </a:cubicBezTo>
                  <a:cubicBezTo>
                    <a:pt x="16345" y="27176"/>
                    <a:pt x="14928" y="22927"/>
                    <a:pt x="16345" y="20095"/>
                  </a:cubicBezTo>
                  <a:cubicBezTo>
                    <a:pt x="16345" y="15846"/>
                    <a:pt x="20593" y="14430"/>
                    <a:pt x="24842" y="1726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7" name="Freeform: Shape 2496">
              <a:extLst>
                <a:ext uri="{FF2B5EF4-FFF2-40B4-BE49-F238E27FC236}">
                  <a16:creationId xmlns:a16="http://schemas.microsoft.com/office/drawing/2014/main" id="{37FDCFFE-B20C-4FC7-83F9-011B22002EB5}"/>
                </a:ext>
              </a:extLst>
            </p:cNvPr>
            <p:cNvSpPr/>
            <p:nvPr/>
          </p:nvSpPr>
          <p:spPr>
            <a:xfrm>
              <a:off x="4138613" y="4674766"/>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3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4"/>
                    <a:pt x="31367" y="37303"/>
                    <a:pt x="25703" y="37303"/>
                  </a:cubicBezTo>
                  <a:cubicBezTo>
                    <a:pt x="20038" y="37303"/>
                    <a:pt x="15789" y="31639"/>
                    <a:pt x="15789" y="25973"/>
                  </a:cubicBezTo>
                  <a:cubicBezTo>
                    <a:pt x="15789" y="18893"/>
                    <a:pt x="21454" y="14644"/>
                    <a:pt x="27119"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8" name="Freeform: Shape 2497">
              <a:extLst>
                <a:ext uri="{FF2B5EF4-FFF2-40B4-BE49-F238E27FC236}">
                  <a16:creationId xmlns:a16="http://schemas.microsoft.com/office/drawing/2014/main" id="{5F7F3C7D-C5E8-4A48-865B-21F01A0BF538}"/>
                </a:ext>
              </a:extLst>
            </p:cNvPr>
            <p:cNvSpPr/>
            <p:nvPr/>
          </p:nvSpPr>
          <p:spPr>
            <a:xfrm>
              <a:off x="3618716" y="4455374"/>
              <a:ext cx="70810" cy="70810"/>
            </a:xfrm>
            <a:custGeom>
              <a:avLst/>
              <a:gdLst>
                <a:gd name="connsiteX0" fmla="*/ 40018 w 70809"/>
                <a:gd name="connsiteY0" fmla="*/ 15943 h 70809"/>
                <a:gd name="connsiteX1" fmla="*/ 59845 w 70809"/>
                <a:gd name="connsiteY1" fmla="*/ 40018 h 70809"/>
                <a:gd name="connsiteX2" fmla="*/ 35770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2"/>
                    <a:pt x="59845" y="40018"/>
                  </a:cubicBezTo>
                  <a:cubicBezTo>
                    <a:pt x="58429" y="52764"/>
                    <a:pt x="48515" y="61261"/>
                    <a:pt x="35770" y="59845"/>
                  </a:cubicBezTo>
                  <a:cubicBezTo>
                    <a:pt x="23024" y="58429"/>
                    <a:pt x="14527" y="48515"/>
                    <a:pt x="15943" y="35769"/>
                  </a:cubicBezTo>
                  <a:cubicBezTo>
                    <a:pt x="15943" y="23024"/>
                    <a:pt x="27272" y="14527"/>
                    <a:pt x="40018" y="159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9" name="Freeform: Shape 2498">
              <a:extLst>
                <a:ext uri="{FF2B5EF4-FFF2-40B4-BE49-F238E27FC236}">
                  <a16:creationId xmlns:a16="http://schemas.microsoft.com/office/drawing/2014/main" id="{43A99B27-D64A-47B2-B944-0EFC864D52B2}"/>
                </a:ext>
              </a:extLst>
            </p:cNvPr>
            <p:cNvSpPr/>
            <p:nvPr/>
          </p:nvSpPr>
          <p:spPr>
            <a:xfrm>
              <a:off x="4342437" y="4761306"/>
              <a:ext cx="84971" cy="84971"/>
            </a:xfrm>
            <a:custGeom>
              <a:avLst/>
              <a:gdLst>
                <a:gd name="connsiteX0" fmla="*/ 49885 w 84971"/>
                <a:gd name="connsiteY0" fmla="*/ 15908 h 84971"/>
                <a:gd name="connsiteX1" fmla="*/ 78209 w 84971"/>
                <a:gd name="connsiteY1" fmla="*/ 49897 h 84971"/>
                <a:gd name="connsiteX2" fmla="*/ 44220 w 84971"/>
                <a:gd name="connsiteY2" fmla="*/ 78220 h 84971"/>
                <a:gd name="connsiteX3" fmla="*/ 15897 w 84971"/>
                <a:gd name="connsiteY3" fmla="*/ 44232 h 84971"/>
                <a:gd name="connsiteX4" fmla="*/ 49885 w 84971"/>
                <a:gd name="connsiteY4" fmla="*/ 15908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9885" y="15908"/>
                  </a:moveTo>
                  <a:cubicBezTo>
                    <a:pt x="66879" y="17324"/>
                    <a:pt x="79625" y="32902"/>
                    <a:pt x="78209" y="49897"/>
                  </a:cubicBezTo>
                  <a:cubicBezTo>
                    <a:pt x="76793" y="66891"/>
                    <a:pt x="61215" y="79637"/>
                    <a:pt x="44220" y="78220"/>
                  </a:cubicBezTo>
                  <a:cubicBezTo>
                    <a:pt x="27226" y="76804"/>
                    <a:pt x="14480" y="61226"/>
                    <a:pt x="15897" y="44232"/>
                  </a:cubicBezTo>
                  <a:cubicBezTo>
                    <a:pt x="17313" y="25821"/>
                    <a:pt x="32891" y="14492"/>
                    <a:pt x="49885" y="1590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0" name="Freeform: Shape 2499">
              <a:extLst>
                <a:ext uri="{FF2B5EF4-FFF2-40B4-BE49-F238E27FC236}">
                  <a16:creationId xmlns:a16="http://schemas.microsoft.com/office/drawing/2014/main" id="{65629D3D-2879-45A0-81E2-2164BF75FEDA}"/>
                </a:ext>
              </a:extLst>
            </p:cNvPr>
            <p:cNvSpPr/>
            <p:nvPr/>
          </p:nvSpPr>
          <p:spPr>
            <a:xfrm>
              <a:off x="3491708" y="6386091"/>
              <a:ext cx="70810" cy="70810"/>
            </a:xfrm>
            <a:custGeom>
              <a:avLst/>
              <a:gdLst>
                <a:gd name="connsiteX0" fmla="*/ 48066 w 70809"/>
                <a:gd name="connsiteY0" fmla="*/ 18326 h 70809"/>
                <a:gd name="connsiteX1" fmla="*/ 56564 w 70809"/>
                <a:gd name="connsiteY1" fmla="*/ 48066 h 70809"/>
                <a:gd name="connsiteX2" fmla="*/ 26823 w 70809"/>
                <a:gd name="connsiteY2" fmla="*/ 56563 h 70809"/>
                <a:gd name="connsiteX3" fmla="*/ 18326 w 70809"/>
                <a:gd name="connsiteY3" fmla="*/ 26823 h 70809"/>
                <a:gd name="connsiteX4" fmla="*/ 48066 w 70809"/>
                <a:gd name="connsiteY4" fmla="*/ 18326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8066" y="18326"/>
                  </a:moveTo>
                  <a:cubicBezTo>
                    <a:pt x="59396" y="23991"/>
                    <a:pt x="62228" y="38153"/>
                    <a:pt x="56564" y="48066"/>
                  </a:cubicBezTo>
                  <a:cubicBezTo>
                    <a:pt x="50899" y="59396"/>
                    <a:pt x="36737" y="62228"/>
                    <a:pt x="26823" y="56563"/>
                  </a:cubicBezTo>
                  <a:cubicBezTo>
                    <a:pt x="16910" y="50898"/>
                    <a:pt x="12662" y="36737"/>
                    <a:pt x="18326" y="26823"/>
                  </a:cubicBezTo>
                  <a:cubicBezTo>
                    <a:pt x="23991" y="16910"/>
                    <a:pt x="36737" y="12662"/>
                    <a:pt x="48066" y="1832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1" name="Freeform: Shape 2500">
              <a:extLst>
                <a:ext uri="{FF2B5EF4-FFF2-40B4-BE49-F238E27FC236}">
                  <a16:creationId xmlns:a16="http://schemas.microsoft.com/office/drawing/2014/main" id="{7CD791DB-87C6-41FD-8DD7-8E4B63AA3597}"/>
                </a:ext>
              </a:extLst>
            </p:cNvPr>
            <p:cNvSpPr/>
            <p:nvPr/>
          </p:nvSpPr>
          <p:spPr>
            <a:xfrm>
              <a:off x="4234824" y="4227431"/>
              <a:ext cx="99133" cy="99133"/>
            </a:xfrm>
            <a:custGeom>
              <a:avLst/>
              <a:gdLst>
                <a:gd name="connsiteX0" fmla="*/ 55532 w 99133"/>
                <a:gd name="connsiteY0" fmla="*/ 15878 h 99133"/>
                <a:gd name="connsiteX1" fmla="*/ 89520 w 99133"/>
                <a:gd name="connsiteY1" fmla="*/ 55532 h 99133"/>
                <a:gd name="connsiteX2" fmla="*/ 49867 w 99133"/>
                <a:gd name="connsiteY2" fmla="*/ 89521 h 99133"/>
                <a:gd name="connsiteX3" fmla="*/ 15878 w 99133"/>
                <a:gd name="connsiteY3" fmla="*/ 49867 h 99133"/>
                <a:gd name="connsiteX4" fmla="*/ 55532 w 99133"/>
                <a:gd name="connsiteY4" fmla="*/ 15878 h 99133"/>
                <a:gd name="connsiteX5" fmla="*/ 55532 w 99133"/>
                <a:gd name="connsiteY5" fmla="*/ 15878 h 99133"/>
                <a:gd name="connsiteX6" fmla="*/ 54116 w 99133"/>
                <a:gd name="connsiteY6" fmla="*/ 32873 h 99133"/>
                <a:gd name="connsiteX7" fmla="*/ 31457 w 99133"/>
                <a:gd name="connsiteY7" fmla="*/ 51283 h 99133"/>
                <a:gd name="connsiteX8" fmla="*/ 49867 w 99133"/>
                <a:gd name="connsiteY8" fmla="*/ 73942 h 99133"/>
                <a:gd name="connsiteX9" fmla="*/ 72526 w 99133"/>
                <a:gd name="connsiteY9" fmla="*/ 55532 h 99133"/>
                <a:gd name="connsiteX10" fmla="*/ 54116 w 99133"/>
                <a:gd name="connsiteY10" fmla="*/ 32873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55532" y="15878"/>
                  </a:moveTo>
                  <a:cubicBezTo>
                    <a:pt x="75358" y="17295"/>
                    <a:pt x="90937" y="35705"/>
                    <a:pt x="89520" y="55532"/>
                  </a:cubicBezTo>
                  <a:cubicBezTo>
                    <a:pt x="88104" y="75359"/>
                    <a:pt x="69694" y="90936"/>
                    <a:pt x="49867" y="89521"/>
                  </a:cubicBezTo>
                  <a:cubicBezTo>
                    <a:pt x="30040" y="88104"/>
                    <a:pt x="14462" y="69694"/>
                    <a:pt x="15878" y="49867"/>
                  </a:cubicBezTo>
                  <a:cubicBezTo>
                    <a:pt x="17295" y="30040"/>
                    <a:pt x="34289" y="14462"/>
                    <a:pt x="55532" y="15878"/>
                  </a:cubicBezTo>
                  <a:lnTo>
                    <a:pt x="55532" y="15878"/>
                  </a:lnTo>
                  <a:close/>
                  <a:moveTo>
                    <a:pt x="54116" y="32873"/>
                  </a:moveTo>
                  <a:cubicBezTo>
                    <a:pt x="42786" y="31457"/>
                    <a:pt x="32873" y="39954"/>
                    <a:pt x="31457" y="51283"/>
                  </a:cubicBezTo>
                  <a:cubicBezTo>
                    <a:pt x="30040" y="62613"/>
                    <a:pt x="38538" y="72526"/>
                    <a:pt x="49867" y="73942"/>
                  </a:cubicBezTo>
                  <a:cubicBezTo>
                    <a:pt x="61197" y="75359"/>
                    <a:pt x="71110" y="66861"/>
                    <a:pt x="72526" y="55532"/>
                  </a:cubicBezTo>
                  <a:cubicBezTo>
                    <a:pt x="73942" y="44202"/>
                    <a:pt x="65445" y="34289"/>
                    <a:pt x="54116" y="3287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2" name="Freeform: Shape 2501">
              <a:extLst>
                <a:ext uri="{FF2B5EF4-FFF2-40B4-BE49-F238E27FC236}">
                  <a16:creationId xmlns:a16="http://schemas.microsoft.com/office/drawing/2014/main" id="{314F15E1-241A-434D-9248-A4466E269EB2}"/>
                </a:ext>
              </a:extLst>
            </p:cNvPr>
            <p:cNvSpPr/>
            <p:nvPr/>
          </p:nvSpPr>
          <p:spPr>
            <a:xfrm>
              <a:off x="3892040" y="4962369"/>
              <a:ext cx="56648" cy="56648"/>
            </a:xfrm>
            <a:custGeom>
              <a:avLst/>
              <a:gdLst>
                <a:gd name="connsiteX0" fmla="*/ 35771 w 56647"/>
                <a:gd name="connsiteY0" fmla="*/ 15944 h 56647"/>
                <a:gd name="connsiteX1" fmla="*/ 52765 w 56647"/>
                <a:gd name="connsiteY1" fmla="*/ 35771 h 56647"/>
                <a:gd name="connsiteX2" fmla="*/ 32938 w 56647"/>
                <a:gd name="connsiteY2" fmla="*/ 52765 h 56647"/>
                <a:gd name="connsiteX3" fmla="*/ 15944 w 56647"/>
                <a:gd name="connsiteY3" fmla="*/ 32938 h 56647"/>
                <a:gd name="connsiteX4" fmla="*/ 35771 w 56647"/>
                <a:gd name="connsiteY4" fmla="*/ 1594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44"/>
                  </a:moveTo>
                  <a:cubicBezTo>
                    <a:pt x="45684" y="17360"/>
                    <a:pt x="54181" y="25858"/>
                    <a:pt x="52765" y="35771"/>
                  </a:cubicBezTo>
                  <a:cubicBezTo>
                    <a:pt x="51349" y="45684"/>
                    <a:pt x="42852" y="54181"/>
                    <a:pt x="32938" y="52765"/>
                  </a:cubicBezTo>
                  <a:cubicBezTo>
                    <a:pt x="23025" y="51349"/>
                    <a:pt x="14528" y="42852"/>
                    <a:pt x="15944" y="32938"/>
                  </a:cubicBezTo>
                  <a:cubicBezTo>
                    <a:pt x="15944" y="23025"/>
                    <a:pt x="25857" y="14528"/>
                    <a:pt x="35771" y="1594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3" name="Freeform: Shape 2502">
              <a:extLst>
                <a:ext uri="{FF2B5EF4-FFF2-40B4-BE49-F238E27FC236}">
                  <a16:creationId xmlns:a16="http://schemas.microsoft.com/office/drawing/2014/main" id="{5EC96930-519A-4069-B211-4E2865DBD98E}"/>
                </a:ext>
              </a:extLst>
            </p:cNvPr>
            <p:cNvSpPr/>
            <p:nvPr/>
          </p:nvSpPr>
          <p:spPr>
            <a:xfrm>
              <a:off x="3610219" y="4735779"/>
              <a:ext cx="70810" cy="70810"/>
            </a:xfrm>
            <a:custGeom>
              <a:avLst/>
              <a:gdLst>
                <a:gd name="connsiteX0" fmla="*/ 40018 w 70809"/>
                <a:gd name="connsiteY0" fmla="*/ 15943 h 70809"/>
                <a:gd name="connsiteX1" fmla="*/ 59845 w 70809"/>
                <a:gd name="connsiteY1" fmla="*/ 40018 h 70809"/>
                <a:gd name="connsiteX2" fmla="*/ 35769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3"/>
                    <a:pt x="59845" y="40018"/>
                  </a:cubicBezTo>
                  <a:cubicBezTo>
                    <a:pt x="58429" y="52764"/>
                    <a:pt x="48515" y="61261"/>
                    <a:pt x="35769" y="59845"/>
                  </a:cubicBezTo>
                  <a:cubicBezTo>
                    <a:pt x="23024" y="58429"/>
                    <a:pt x="14527" y="48516"/>
                    <a:pt x="15943" y="35769"/>
                  </a:cubicBezTo>
                  <a:cubicBezTo>
                    <a:pt x="17359" y="23024"/>
                    <a:pt x="28689" y="14527"/>
                    <a:pt x="40018" y="159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4" name="Freeform: Shape 2503">
              <a:extLst>
                <a:ext uri="{FF2B5EF4-FFF2-40B4-BE49-F238E27FC236}">
                  <a16:creationId xmlns:a16="http://schemas.microsoft.com/office/drawing/2014/main" id="{80A7577B-F200-41FE-AB12-CAD998E535DF}"/>
                </a:ext>
              </a:extLst>
            </p:cNvPr>
            <p:cNvSpPr/>
            <p:nvPr/>
          </p:nvSpPr>
          <p:spPr>
            <a:xfrm>
              <a:off x="3713755" y="4622638"/>
              <a:ext cx="28324" cy="28324"/>
            </a:xfrm>
            <a:custGeom>
              <a:avLst/>
              <a:gdLst>
                <a:gd name="connsiteX0" fmla="*/ 21454 w 28323"/>
                <a:gd name="connsiteY0" fmla="*/ 15789 h 28323"/>
                <a:gd name="connsiteX1" fmla="*/ 25703 w 28323"/>
                <a:gd name="connsiteY1" fmla="*/ 21454 h 28323"/>
                <a:gd name="connsiteX2" fmla="*/ 20038 w 28323"/>
                <a:gd name="connsiteY2" fmla="*/ 25703 h 28323"/>
                <a:gd name="connsiteX3" fmla="*/ 15789 w 28323"/>
                <a:gd name="connsiteY3" fmla="*/ 20038 h 28323"/>
                <a:gd name="connsiteX4" fmla="*/ 21454 w 28323"/>
                <a:gd name="connsiteY4" fmla="*/ 15789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1454" y="15789"/>
                  </a:moveTo>
                  <a:cubicBezTo>
                    <a:pt x="24286" y="15789"/>
                    <a:pt x="25703" y="18622"/>
                    <a:pt x="25703" y="21454"/>
                  </a:cubicBezTo>
                  <a:cubicBezTo>
                    <a:pt x="25703" y="24286"/>
                    <a:pt x="22870" y="25703"/>
                    <a:pt x="20038" y="25703"/>
                  </a:cubicBezTo>
                  <a:cubicBezTo>
                    <a:pt x="17205" y="25703"/>
                    <a:pt x="15789" y="22870"/>
                    <a:pt x="15789" y="20038"/>
                  </a:cubicBezTo>
                  <a:cubicBezTo>
                    <a:pt x="15789" y="17205"/>
                    <a:pt x="18622" y="15789"/>
                    <a:pt x="21454"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5" name="Freeform: Shape 2504">
              <a:extLst>
                <a:ext uri="{FF2B5EF4-FFF2-40B4-BE49-F238E27FC236}">
                  <a16:creationId xmlns:a16="http://schemas.microsoft.com/office/drawing/2014/main" id="{D804F353-F51F-4512-865B-B956416400F7}"/>
                </a:ext>
              </a:extLst>
            </p:cNvPr>
            <p:cNvSpPr/>
            <p:nvPr/>
          </p:nvSpPr>
          <p:spPr>
            <a:xfrm>
              <a:off x="3628784" y="4888611"/>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3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4"/>
                    <a:pt x="31367" y="37303"/>
                    <a:pt x="25703" y="37303"/>
                  </a:cubicBezTo>
                  <a:cubicBezTo>
                    <a:pt x="20038" y="37303"/>
                    <a:pt x="15789" y="31638"/>
                    <a:pt x="15789" y="25973"/>
                  </a:cubicBezTo>
                  <a:cubicBezTo>
                    <a:pt x="15789" y="18893"/>
                    <a:pt x="21454" y="14644"/>
                    <a:pt x="27119"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6" name="Freeform: Shape 2505">
              <a:extLst>
                <a:ext uri="{FF2B5EF4-FFF2-40B4-BE49-F238E27FC236}">
                  <a16:creationId xmlns:a16="http://schemas.microsoft.com/office/drawing/2014/main" id="{DD90D7F5-0EF9-4AF3-8225-C3F28D1AC5D2}"/>
                </a:ext>
              </a:extLst>
            </p:cNvPr>
            <p:cNvSpPr/>
            <p:nvPr/>
          </p:nvSpPr>
          <p:spPr>
            <a:xfrm>
              <a:off x="3441315" y="6199743"/>
              <a:ext cx="42486" cy="42486"/>
            </a:xfrm>
            <a:custGeom>
              <a:avLst/>
              <a:gdLst>
                <a:gd name="connsiteX0" fmla="*/ 29066 w 42485"/>
                <a:gd name="connsiteY0" fmla="*/ 16320 h 42485"/>
                <a:gd name="connsiteX1" fmla="*/ 33314 w 42485"/>
                <a:gd name="connsiteY1" fmla="*/ 29066 h 42485"/>
                <a:gd name="connsiteX2" fmla="*/ 20569 w 42485"/>
                <a:gd name="connsiteY2" fmla="*/ 33314 h 42485"/>
                <a:gd name="connsiteX3" fmla="*/ 16320 w 42485"/>
                <a:gd name="connsiteY3" fmla="*/ 20569 h 42485"/>
                <a:gd name="connsiteX4" fmla="*/ 29066 w 42485"/>
                <a:gd name="connsiteY4" fmla="*/ 1632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066" y="16320"/>
                  </a:moveTo>
                  <a:cubicBezTo>
                    <a:pt x="33314" y="19152"/>
                    <a:pt x="34731" y="24817"/>
                    <a:pt x="33314" y="29066"/>
                  </a:cubicBezTo>
                  <a:cubicBezTo>
                    <a:pt x="30482" y="33314"/>
                    <a:pt x="24817" y="34731"/>
                    <a:pt x="20569" y="33314"/>
                  </a:cubicBezTo>
                  <a:cubicBezTo>
                    <a:pt x="16320" y="30482"/>
                    <a:pt x="14904" y="24817"/>
                    <a:pt x="16320" y="20569"/>
                  </a:cubicBezTo>
                  <a:cubicBezTo>
                    <a:pt x="19152" y="16320"/>
                    <a:pt x="24817" y="14904"/>
                    <a:pt x="29066" y="1632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7" name="Freeform: Shape 2506">
              <a:extLst>
                <a:ext uri="{FF2B5EF4-FFF2-40B4-BE49-F238E27FC236}">
                  <a16:creationId xmlns:a16="http://schemas.microsoft.com/office/drawing/2014/main" id="{9259E0FE-E38A-40CE-B297-01857FA9A5F9}"/>
                </a:ext>
              </a:extLst>
            </p:cNvPr>
            <p:cNvSpPr/>
            <p:nvPr/>
          </p:nvSpPr>
          <p:spPr>
            <a:xfrm>
              <a:off x="3673571" y="6366854"/>
              <a:ext cx="42486" cy="42486"/>
            </a:xfrm>
            <a:custGeom>
              <a:avLst/>
              <a:gdLst>
                <a:gd name="connsiteX0" fmla="*/ 29066 w 42485"/>
                <a:gd name="connsiteY0" fmla="*/ 16320 h 42485"/>
                <a:gd name="connsiteX1" fmla="*/ 33314 w 42485"/>
                <a:gd name="connsiteY1" fmla="*/ 29066 h 42485"/>
                <a:gd name="connsiteX2" fmla="*/ 20569 w 42485"/>
                <a:gd name="connsiteY2" fmla="*/ 33314 h 42485"/>
                <a:gd name="connsiteX3" fmla="*/ 16320 w 42485"/>
                <a:gd name="connsiteY3" fmla="*/ 20569 h 42485"/>
                <a:gd name="connsiteX4" fmla="*/ 29066 w 42485"/>
                <a:gd name="connsiteY4" fmla="*/ 1632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066" y="16320"/>
                  </a:moveTo>
                  <a:cubicBezTo>
                    <a:pt x="33314" y="19152"/>
                    <a:pt x="34730" y="24817"/>
                    <a:pt x="33314" y="29066"/>
                  </a:cubicBezTo>
                  <a:cubicBezTo>
                    <a:pt x="30482" y="33314"/>
                    <a:pt x="24817" y="34730"/>
                    <a:pt x="20569" y="33314"/>
                  </a:cubicBezTo>
                  <a:cubicBezTo>
                    <a:pt x="16320" y="30482"/>
                    <a:pt x="14904" y="24817"/>
                    <a:pt x="16320" y="20569"/>
                  </a:cubicBezTo>
                  <a:cubicBezTo>
                    <a:pt x="19152" y="16320"/>
                    <a:pt x="24817" y="14904"/>
                    <a:pt x="29066" y="1632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8" name="Freeform: Shape 2507">
              <a:extLst>
                <a:ext uri="{FF2B5EF4-FFF2-40B4-BE49-F238E27FC236}">
                  <a16:creationId xmlns:a16="http://schemas.microsoft.com/office/drawing/2014/main" id="{DDD5700B-99D0-4985-9647-0B27E0E5A6AD}"/>
                </a:ext>
              </a:extLst>
            </p:cNvPr>
            <p:cNvSpPr/>
            <p:nvPr/>
          </p:nvSpPr>
          <p:spPr>
            <a:xfrm>
              <a:off x="3875201" y="4748679"/>
              <a:ext cx="42486" cy="42486"/>
            </a:xfrm>
            <a:custGeom>
              <a:avLst/>
              <a:gdLst>
                <a:gd name="connsiteX0" fmla="*/ 27119 w 42485"/>
                <a:gd name="connsiteY0" fmla="*/ 15789 h 42485"/>
                <a:gd name="connsiteX1" fmla="*/ 37032 w 42485"/>
                <a:gd name="connsiteY1" fmla="*/ 27119 h 42485"/>
                <a:gd name="connsiteX2" fmla="*/ 25702 w 42485"/>
                <a:gd name="connsiteY2" fmla="*/ 37032 h 42485"/>
                <a:gd name="connsiteX3" fmla="*/ 15789 w 42485"/>
                <a:gd name="connsiteY3" fmla="*/ 25703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9"/>
                  </a:cubicBezTo>
                  <a:cubicBezTo>
                    <a:pt x="37032" y="32783"/>
                    <a:pt x="31367" y="37032"/>
                    <a:pt x="25702" y="37032"/>
                  </a:cubicBezTo>
                  <a:cubicBezTo>
                    <a:pt x="20038" y="37032"/>
                    <a:pt x="15789" y="31367"/>
                    <a:pt x="15789" y="25703"/>
                  </a:cubicBezTo>
                  <a:cubicBezTo>
                    <a:pt x="15789" y="20038"/>
                    <a:pt x="20038" y="15789"/>
                    <a:pt x="27119"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9" name="Freeform: Shape 2508">
              <a:extLst>
                <a:ext uri="{FF2B5EF4-FFF2-40B4-BE49-F238E27FC236}">
                  <a16:creationId xmlns:a16="http://schemas.microsoft.com/office/drawing/2014/main" id="{62D4B2CD-1E0C-47F5-B16F-147EBC2FB90F}"/>
                </a:ext>
              </a:extLst>
            </p:cNvPr>
            <p:cNvSpPr/>
            <p:nvPr/>
          </p:nvSpPr>
          <p:spPr>
            <a:xfrm>
              <a:off x="3611789" y="6330564"/>
              <a:ext cx="42486" cy="42486"/>
            </a:xfrm>
            <a:custGeom>
              <a:avLst/>
              <a:gdLst>
                <a:gd name="connsiteX0" fmla="*/ 31367 w 42485"/>
                <a:gd name="connsiteY0" fmla="*/ 17205 h 42485"/>
                <a:gd name="connsiteX1" fmla="*/ 35616 w 42485"/>
                <a:gd name="connsiteY1" fmla="*/ 31367 h 42485"/>
                <a:gd name="connsiteX2" fmla="*/ 21454 w 42485"/>
                <a:gd name="connsiteY2" fmla="*/ 35616 h 42485"/>
                <a:gd name="connsiteX3" fmla="*/ 17205 w 42485"/>
                <a:gd name="connsiteY3" fmla="*/ 21454 h 42485"/>
                <a:gd name="connsiteX4" fmla="*/ 31367 w 42485"/>
                <a:gd name="connsiteY4" fmla="*/ 1720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1367" y="17205"/>
                  </a:moveTo>
                  <a:cubicBezTo>
                    <a:pt x="37032" y="20037"/>
                    <a:pt x="38448" y="27118"/>
                    <a:pt x="35616" y="31367"/>
                  </a:cubicBezTo>
                  <a:cubicBezTo>
                    <a:pt x="32783" y="37032"/>
                    <a:pt x="25702" y="38448"/>
                    <a:pt x="21454" y="35616"/>
                  </a:cubicBezTo>
                  <a:cubicBezTo>
                    <a:pt x="15789" y="32783"/>
                    <a:pt x="14373" y="25703"/>
                    <a:pt x="17205" y="21454"/>
                  </a:cubicBezTo>
                  <a:cubicBezTo>
                    <a:pt x="20038" y="15789"/>
                    <a:pt x="25702" y="14373"/>
                    <a:pt x="31367" y="1720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0" name="Freeform: Shape 2509">
              <a:extLst>
                <a:ext uri="{FF2B5EF4-FFF2-40B4-BE49-F238E27FC236}">
                  <a16:creationId xmlns:a16="http://schemas.microsoft.com/office/drawing/2014/main" id="{75F79A8D-C1B5-41CA-9996-AA86B2951308}"/>
                </a:ext>
              </a:extLst>
            </p:cNvPr>
            <p:cNvSpPr/>
            <p:nvPr/>
          </p:nvSpPr>
          <p:spPr>
            <a:xfrm>
              <a:off x="3520071" y="6073152"/>
              <a:ext cx="70810" cy="70810"/>
            </a:xfrm>
            <a:custGeom>
              <a:avLst/>
              <a:gdLst>
                <a:gd name="connsiteX0" fmla="*/ 50860 w 70809"/>
                <a:gd name="connsiteY0" fmla="*/ 18287 h 70809"/>
                <a:gd name="connsiteX1" fmla="*/ 60773 w 70809"/>
                <a:gd name="connsiteY1" fmla="*/ 50859 h 70809"/>
                <a:gd name="connsiteX2" fmla="*/ 28201 w 70809"/>
                <a:gd name="connsiteY2" fmla="*/ 60773 h 70809"/>
                <a:gd name="connsiteX3" fmla="*/ 18287 w 70809"/>
                <a:gd name="connsiteY3" fmla="*/ 28201 h 70809"/>
                <a:gd name="connsiteX4" fmla="*/ 50860 w 70809"/>
                <a:gd name="connsiteY4" fmla="*/ 1828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50860" y="18287"/>
                  </a:moveTo>
                  <a:cubicBezTo>
                    <a:pt x="62189" y="23952"/>
                    <a:pt x="66438" y="39530"/>
                    <a:pt x="60773" y="50859"/>
                  </a:cubicBezTo>
                  <a:cubicBezTo>
                    <a:pt x="55108" y="62189"/>
                    <a:pt x="39530" y="66438"/>
                    <a:pt x="28201" y="60773"/>
                  </a:cubicBezTo>
                  <a:cubicBezTo>
                    <a:pt x="16871" y="55108"/>
                    <a:pt x="12622" y="39530"/>
                    <a:pt x="18287" y="28201"/>
                  </a:cubicBezTo>
                  <a:cubicBezTo>
                    <a:pt x="25368" y="16871"/>
                    <a:pt x="39530" y="12623"/>
                    <a:pt x="50860" y="1828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1" name="Freeform: Shape 2510">
              <a:extLst>
                <a:ext uri="{FF2B5EF4-FFF2-40B4-BE49-F238E27FC236}">
                  <a16:creationId xmlns:a16="http://schemas.microsoft.com/office/drawing/2014/main" id="{841B6E97-7C9F-4FD9-9E4A-25EFE8B522FB}"/>
                </a:ext>
              </a:extLst>
            </p:cNvPr>
            <p:cNvSpPr/>
            <p:nvPr/>
          </p:nvSpPr>
          <p:spPr>
            <a:xfrm>
              <a:off x="3590015" y="5803210"/>
              <a:ext cx="42486" cy="42486"/>
            </a:xfrm>
            <a:custGeom>
              <a:avLst/>
              <a:gdLst>
                <a:gd name="connsiteX0" fmla="*/ 29066 w 42485"/>
                <a:gd name="connsiteY0" fmla="*/ 16320 h 42485"/>
                <a:gd name="connsiteX1" fmla="*/ 33314 w 42485"/>
                <a:gd name="connsiteY1" fmla="*/ 29066 h 42485"/>
                <a:gd name="connsiteX2" fmla="*/ 20569 w 42485"/>
                <a:gd name="connsiteY2" fmla="*/ 33314 h 42485"/>
                <a:gd name="connsiteX3" fmla="*/ 16320 w 42485"/>
                <a:gd name="connsiteY3" fmla="*/ 20569 h 42485"/>
                <a:gd name="connsiteX4" fmla="*/ 29066 w 42485"/>
                <a:gd name="connsiteY4" fmla="*/ 1632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066" y="16320"/>
                  </a:moveTo>
                  <a:cubicBezTo>
                    <a:pt x="33314" y="19152"/>
                    <a:pt x="34731" y="24817"/>
                    <a:pt x="33314" y="29066"/>
                  </a:cubicBezTo>
                  <a:cubicBezTo>
                    <a:pt x="30482" y="33314"/>
                    <a:pt x="24817" y="34731"/>
                    <a:pt x="20569" y="33314"/>
                  </a:cubicBezTo>
                  <a:cubicBezTo>
                    <a:pt x="16320" y="30482"/>
                    <a:pt x="14904" y="24817"/>
                    <a:pt x="16320" y="20569"/>
                  </a:cubicBezTo>
                  <a:cubicBezTo>
                    <a:pt x="17736" y="16320"/>
                    <a:pt x="23401" y="14904"/>
                    <a:pt x="29066" y="1632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2" name="Freeform: Shape 2511">
              <a:extLst>
                <a:ext uri="{FF2B5EF4-FFF2-40B4-BE49-F238E27FC236}">
                  <a16:creationId xmlns:a16="http://schemas.microsoft.com/office/drawing/2014/main" id="{CD466941-3E5B-4DAC-94E4-F4687EF1D7DE}"/>
                </a:ext>
              </a:extLst>
            </p:cNvPr>
            <p:cNvSpPr/>
            <p:nvPr/>
          </p:nvSpPr>
          <p:spPr>
            <a:xfrm>
              <a:off x="3784034" y="5442081"/>
              <a:ext cx="42486" cy="42486"/>
            </a:xfrm>
            <a:custGeom>
              <a:avLst/>
              <a:gdLst>
                <a:gd name="connsiteX0" fmla="*/ 29066 w 42485"/>
                <a:gd name="connsiteY0" fmla="*/ 16320 h 42485"/>
                <a:gd name="connsiteX1" fmla="*/ 33314 w 42485"/>
                <a:gd name="connsiteY1" fmla="*/ 29066 h 42485"/>
                <a:gd name="connsiteX2" fmla="*/ 20569 w 42485"/>
                <a:gd name="connsiteY2" fmla="*/ 33314 h 42485"/>
                <a:gd name="connsiteX3" fmla="*/ 16320 w 42485"/>
                <a:gd name="connsiteY3" fmla="*/ 20569 h 42485"/>
                <a:gd name="connsiteX4" fmla="*/ 29066 w 42485"/>
                <a:gd name="connsiteY4" fmla="*/ 1632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066" y="16320"/>
                  </a:moveTo>
                  <a:cubicBezTo>
                    <a:pt x="33314" y="19152"/>
                    <a:pt x="34731" y="24817"/>
                    <a:pt x="33314" y="29066"/>
                  </a:cubicBezTo>
                  <a:cubicBezTo>
                    <a:pt x="30482" y="33314"/>
                    <a:pt x="24817" y="34731"/>
                    <a:pt x="20569" y="33314"/>
                  </a:cubicBezTo>
                  <a:cubicBezTo>
                    <a:pt x="16320" y="30482"/>
                    <a:pt x="14904" y="24817"/>
                    <a:pt x="16320" y="20569"/>
                  </a:cubicBezTo>
                  <a:cubicBezTo>
                    <a:pt x="19153" y="16320"/>
                    <a:pt x="24817" y="14904"/>
                    <a:pt x="29066" y="1632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3" name="Freeform: Shape 2512">
              <a:extLst>
                <a:ext uri="{FF2B5EF4-FFF2-40B4-BE49-F238E27FC236}">
                  <a16:creationId xmlns:a16="http://schemas.microsoft.com/office/drawing/2014/main" id="{EEC25609-A619-42B1-BDD2-E66F24289E93}"/>
                </a:ext>
              </a:extLst>
            </p:cNvPr>
            <p:cNvSpPr/>
            <p:nvPr/>
          </p:nvSpPr>
          <p:spPr>
            <a:xfrm>
              <a:off x="3775512" y="6138823"/>
              <a:ext cx="42486" cy="42486"/>
            </a:xfrm>
            <a:custGeom>
              <a:avLst/>
              <a:gdLst>
                <a:gd name="connsiteX0" fmla="*/ 24842 w 42485"/>
                <a:gd name="connsiteY0" fmla="*/ 16345 h 42485"/>
                <a:gd name="connsiteX1" fmla="*/ 27674 w 42485"/>
                <a:gd name="connsiteY1" fmla="*/ 24842 h 42485"/>
                <a:gd name="connsiteX2" fmla="*/ 19177 w 42485"/>
                <a:gd name="connsiteY2" fmla="*/ 27674 h 42485"/>
                <a:gd name="connsiteX3" fmla="*/ 16345 w 42485"/>
                <a:gd name="connsiteY3" fmla="*/ 19177 h 42485"/>
                <a:gd name="connsiteX4" fmla="*/ 24842 w 42485"/>
                <a:gd name="connsiteY4" fmla="*/ 1634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6345"/>
                  </a:moveTo>
                  <a:cubicBezTo>
                    <a:pt x="27674" y="17761"/>
                    <a:pt x="29090" y="22009"/>
                    <a:pt x="27674" y="24842"/>
                  </a:cubicBezTo>
                  <a:cubicBezTo>
                    <a:pt x="26258" y="27674"/>
                    <a:pt x="22009" y="29090"/>
                    <a:pt x="19177" y="27674"/>
                  </a:cubicBezTo>
                  <a:cubicBezTo>
                    <a:pt x="16345" y="26258"/>
                    <a:pt x="14928" y="22009"/>
                    <a:pt x="16345" y="19177"/>
                  </a:cubicBezTo>
                  <a:cubicBezTo>
                    <a:pt x="17761" y="16345"/>
                    <a:pt x="22009" y="14928"/>
                    <a:pt x="24842" y="163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4" name="Freeform: Shape 2513">
              <a:extLst>
                <a:ext uri="{FF2B5EF4-FFF2-40B4-BE49-F238E27FC236}">
                  <a16:creationId xmlns:a16="http://schemas.microsoft.com/office/drawing/2014/main" id="{2E11F8D3-6FDC-4FD3-BD75-AC0CCECCD004}"/>
                </a:ext>
              </a:extLst>
            </p:cNvPr>
            <p:cNvSpPr/>
            <p:nvPr/>
          </p:nvSpPr>
          <p:spPr>
            <a:xfrm>
              <a:off x="3599044" y="6220101"/>
              <a:ext cx="42486" cy="42486"/>
            </a:xfrm>
            <a:custGeom>
              <a:avLst/>
              <a:gdLst>
                <a:gd name="connsiteX0" fmla="*/ 31367 w 42485"/>
                <a:gd name="connsiteY0" fmla="*/ 17205 h 42485"/>
                <a:gd name="connsiteX1" fmla="*/ 35616 w 42485"/>
                <a:gd name="connsiteY1" fmla="*/ 31367 h 42485"/>
                <a:gd name="connsiteX2" fmla="*/ 21454 w 42485"/>
                <a:gd name="connsiteY2" fmla="*/ 35616 h 42485"/>
                <a:gd name="connsiteX3" fmla="*/ 17205 w 42485"/>
                <a:gd name="connsiteY3" fmla="*/ 21454 h 42485"/>
                <a:gd name="connsiteX4" fmla="*/ 31367 w 42485"/>
                <a:gd name="connsiteY4" fmla="*/ 1720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1367" y="17205"/>
                  </a:moveTo>
                  <a:cubicBezTo>
                    <a:pt x="37032" y="20038"/>
                    <a:pt x="38448" y="25702"/>
                    <a:pt x="35616" y="31367"/>
                  </a:cubicBezTo>
                  <a:cubicBezTo>
                    <a:pt x="32783" y="37032"/>
                    <a:pt x="27119" y="38448"/>
                    <a:pt x="21454" y="35616"/>
                  </a:cubicBezTo>
                  <a:cubicBezTo>
                    <a:pt x="15789" y="32783"/>
                    <a:pt x="14373" y="27119"/>
                    <a:pt x="17205" y="21454"/>
                  </a:cubicBezTo>
                  <a:cubicBezTo>
                    <a:pt x="21454" y="15789"/>
                    <a:pt x="27119" y="14373"/>
                    <a:pt x="31367" y="1720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5" name="Freeform: Shape 2514">
              <a:extLst>
                <a:ext uri="{FF2B5EF4-FFF2-40B4-BE49-F238E27FC236}">
                  <a16:creationId xmlns:a16="http://schemas.microsoft.com/office/drawing/2014/main" id="{9D65928B-8A8E-4FD2-B90E-03F5A5271596}"/>
                </a:ext>
              </a:extLst>
            </p:cNvPr>
            <p:cNvSpPr/>
            <p:nvPr/>
          </p:nvSpPr>
          <p:spPr>
            <a:xfrm>
              <a:off x="3684015" y="6049037"/>
              <a:ext cx="70810" cy="70810"/>
            </a:xfrm>
            <a:custGeom>
              <a:avLst/>
              <a:gdLst>
                <a:gd name="connsiteX0" fmla="*/ 48361 w 70809"/>
                <a:gd name="connsiteY0" fmla="*/ 18326 h 70809"/>
                <a:gd name="connsiteX1" fmla="*/ 56858 w 70809"/>
                <a:gd name="connsiteY1" fmla="*/ 48066 h 70809"/>
                <a:gd name="connsiteX2" fmla="*/ 27119 w 70809"/>
                <a:gd name="connsiteY2" fmla="*/ 56563 h 70809"/>
                <a:gd name="connsiteX3" fmla="*/ 18621 w 70809"/>
                <a:gd name="connsiteY3" fmla="*/ 26823 h 70809"/>
                <a:gd name="connsiteX4" fmla="*/ 48361 w 70809"/>
                <a:gd name="connsiteY4" fmla="*/ 18326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8361" y="18326"/>
                  </a:moveTo>
                  <a:cubicBezTo>
                    <a:pt x="59691" y="23991"/>
                    <a:pt x="62523" y="38153"/>
                    <a:pt x="56858" y="48066"/>
                  </a:cubicBezTo>
                  <a:cubicBezTo>
                    <a:pt x="51194" y="59396"/>
                    <a:pt x="37032" y="62228"/>
                    <a:pt x="27119" y="56563"/>
                  </a:cubicBezTo>
                  <a:cubicBezTo>
                    <a:pt x="15789" y="50899"/>
                    <a:pt x="12957" y="36737"/>
                    <a:pt x="18621" y="26823"/>
                  </a:cubicBezTo>
                  <a:cubicBezTo>
                    <a:pt x="24286" y="16910"/>
                    <a:pt x="38448" y="12661"/>
                    <a:pt x="48361" y="1832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6" name="Freeform: Shape 2515">
              <a:extLst>
                <a:ext uri="{FF2B5EF4-FFF2-40B4-BE49-F238E27FC236}">
                  <a16:creationId xmlns:a16="http://schemas.microsoft.com/office/drawing/2014/main" id="{C6C2492E-8492-45AF-9C8D-F799E8C630EA}"/>
                </a:ext>
              </a:extLst>
            </p:cNvPr>
            <p:cNvSpPr/>
            <p:nvPr/>
          </p:nvSpPr>
          <p:spPr>
            <a:xfrm>
              <a:off x="3682599" y="6190637"/>
              <a:ext cx="42486" cy="42486"/>
            </a:xfrm>
            <a:custGeom>
              <a:avLst/>
              <a:gdLst>
                <a:gd name="connsiteX0" fmla="*/ 32783 w 42485"/>
                <a:gd name="connsiteY0" fmla="*/ 16929 h 42485"/>
                <a:gd name="connsiteX1" fmla="*/ 37032 w 42485"/>
                <a:gd name="connsiteY1" fmla="*/ 32507 h 42485"/>
                <a:gd name="connsiteX2" fmla="*/ 21454 w 42485"/>
                <a:gd name="connsiteY2" fmla="*/ 36756 h 42485"/>
                <a:gd name="connsiteX3" fmla="*/ 17205 w 42485"/>
                <a:gd name="connsiteY3" fmla="*/ 21178 h 42485"/>
                <a:gd name="connsiteX4" fmla="*/ 32783 w 42485"/>
                <a:gd name="connsiteY4" fmla="*/ 1692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3" y="16929"/>
                  </a:moveTo>
                  <a:cubicBezTo>
                    <a:pt x="38448" y="19761"/>
                    <a:pt x="39864" y="26842"/>
                    <a:pt x="37032" y="32507"/>
                  </a:cubicBezTo>
                  <a:cubicBezTo>
                    <a:pt x="34199" y="38172"/>
                    <a:pt x="27118" y="39588"/>
                    <a:pt x="21454" y="36756"/>
                  </a:cubicBezTo>
                  <a:cubicBezTo>
                    <a:pt x="15789" y="33923"/>
                    <a:pt x="14373" y="26842"/>
                    <a:pt x="17205" y="21178"/>
                  </a:cubicBezTo>
                  <a:cubicBezTo>
                    <a:pt x="20038" y="16929"/>
                    <a:pt x="27118" y="14097"/>
                    <a:pt x="32783" y="1692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7" name="Freeform: Shape 2516">
              <a:extLst>
                <a:ext uri="{FF2B5EF4-FFF2-40B4-BE49-F238E27FC236}">
                  <a16:creationId xmlns:a16="http://schemas.microsoft.com/office/drawing/2014/main" id="{C1A321E3-8765-4482-B2D6-560871D85225}"/>
                </a:ext>
              </a:extLst>
            </p:cNvPr>
            <p:cNvSpPr/>
            <p:nvPr/>
          </p:nvSpPr>
          <p:spPr>
            <a:xfrm>
              <a:off x="4013988" y="4421268"/>
              <a:ext cx="42486" cy="42486"/>
            </a:xfrm>
            <a:custGeom>
              <a:avLst/>
              <a:gdLst>
                <a:gd name="connsiteX0" fmla="*/ 27118 w 42485"/>
                <a:gd name="connsiteY0" fmla="*/ 16060 h 42485"/>
                <a:gd name="connsiteX1" fmla="*/ 37032 w 42485"/>
                <a:gd name="connsiteY1" fmla="*/ 27390 h 42485"/>
                <a:gd name="connsiteX2" fmla="*/ 25702 w 42485"/>
                <a:gd name="connsiteY2" fmla="*/ 37303 h 42485"/>
                <a:gd name="connsiteX3" fmla="*/ 15789 w 42485"/>
                <a:gd name="connsiteY3" fmla="*/ 25973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4"/>
                    <a:pt x="31367" y="37303"/>
                    <a:pt x="25702" y="37303"/>
                  </a:cubicBezTo>
                  <a:cubicBezTo>
                    <a:pt x="20037" y="37303"/>
                    <a:pt x="15789" y="31638"/>
                    <a:pt x="15789" y="25973"/>
                  </a:cubicBezTo>
                  <a:cubicBezTo>
                    <a:pt x="17205" y="18893"/>
                    <a:pt x="21454" y="14644"/>
                    <a:pt x="27118"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8" name="Freeform: Shape 2517">
              <a:extLst>
                <a:ext uri="{FF2B5EF4-FFF2-40B4-BE49-F238E27FC236}">
                  <a16:creationId xmlns:a16="http://schemas.microsoft.com/office/drawing/2014/main" id="{7896EAE2-74BB-4E74-84B7-095DE76FF7D4}"/>
                </a:ext>
              </a:extLst>
            </p:cNvPr>
            <p:cNvSpPr/>
            <p:nvPr/>
          </p:nvSpPr>
          <p:spPr>
            <a:xfrm>
              <a:off x="3598513" y="6407038"/>
              <a:ext cx="42486" cy="42486"/>
            </a:xfrm>
            <a:custGeom>
              <a:avLst/>
              <a:gdLst>
                <a:gd name="connsiteX0" fmla="*/ 29066 w 42485"/>
                <a:gd name="connsiteY0" fmla="*/ 17205 h 42485"/>
                <a:gd name="connsiteX1" fmla="*/ 33314 w 42485"/>
                <a:gd name="connsiteY1" fmla="*/ 29951 h 42485"/>
                <a:gd name="connsiteX2" fmla="*/ 20569 w 42485"/>
                <a:gd name="connsiteY2" fmla="*/ 34200 h 42485"/>
                <a:gd name="connsiteX3" fmla="*/ 16320 w 42485"/>
                <a:gd name="connsiteY3" fmla="*/ 21454 h 42485"/>
                <a:gd name="connsiteX4" fmla="*/ 29066 w 42485"/>
                <a:gd name="connsiteY4" fmla="*/ 1720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066" y="17205"/>
                  </a:moveTo>
                  <a:cubicBezTo>
                    <a:pt x="33314" y="20038"/>
                    <a:pt x="34731" y="25703"/>
                    <a:pt x="33314" y="29951"/>
                  </a:cubicBezTo>
                  <a:cubicBezTo>
                    <a:pt x="30482" y="34200"/>
                    <a:pt x="24817" y="35616"/>
                    <a:pt x="20569" y="34200"/>
                  </a:cubicBezTo>
                  <a:cubicBezTo>
                    <a:pt x="16320" y="31367"/>
                    <a:pt x="14904" y="25703"/>
                    <a:pt x="16320" y="21454"/>
                  </a:cubicBezTo>
                  <a:cubicBezTo>
                    <a:pt x="19152" y="15789"/>
                    <a:pt x="24817" y="14373"/>
                    <a:pt x="29066" y="1720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9" name="Freeform: Shape 2518">
              <a:extLst>
                <a:ext uri="{FF2B5EF4-FFF2-40B4-BE49-F238E27FC236}">
                  <a16:creationId xmlns:a16="http://schemas.microsoft.com/office/drawing/2014/main" id="{F7D7B8EF-3E11-4364-B8B3-F5AC3D1731E7}"/>
                </a:ext>
              </a:extLst>
            </p:cNvPr>
            <p:cNvSpPr/>
            <p:nvPr/>
          </p:nvSpPr>
          <p:spPr>
            <a:xfrm>
              <a:off x="3746328" y="4611037"/>
              <a:ext cx="42486" cy="42486"/>
            </a:xfrm>
            <a:custGeom>
              <a:avLst/>
              <a:gdLst>
                <a:gd name="connsiteX0" fmla="*/ 27119 w 42485"/>
                <a:gd name="connsiteY0" fmla="*/ 16060 h 42485"/>
                <a:gd name="connsiteX1" fmla="*/ 37032 w 42485"/>
                <a:gd name="connsiteY1" fmla="*/ 27390 h 42485"/>
                <a:gd name="connsiteX2" fmla="*/ 25702 w 42485"/>
                <a:gd name="connsiteY2" fmla="*/ 37303 h 42485"/>
                <a:gd name="connsiteX3" fmla="*/ 15789 w 42485"/>
                <a:gd name="connsiteY3" fmla="*/ 25973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4"/>
                    <a:pt x="31367" y="37303"/>
                    <a:pt x="25702" y="37303"/>
                  </a:cubicBezTo>
                  <a:cubicBezTo>
                    <a:pt x="20038" y="37303"/>
                    <a:pt x="15789" y="31639"/>
                    <a:pt x="15789" y="25973"/>
                  </a:cubicBezTo>
                  <a:cubicBezTo>
                    <a:pt x="15789" y="18893"/>
                    <a:pt x="21454" y="14644"/>
                    <a:pt x="27119"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0" name="Freeform: Shape 2519">
              <a:extLst>
                <a:ext uri="{FF2B5EF4-FFF2-40B4-BE49-F238E27FC236}">
                  <a16:creationId xmlns:a16="http://schemas.microsoft.com/office/drawing/2014/main" id="{2ABCBE09-7CC7-4FE0-BD0E-F7A5E8EB3058}"/>
                </a:ext>
              </a:extLst>
            </p:cNvPr>
            <p:cNvSpPr/>
            <p:nvPr/>
          </p:nvSpPr>
          <p:spPr>
            <a:xfrm>
              <a:off x="3662638" y="5174818"/>
              <a:ext cx="70810" cy="70810"/>
            </a:xfrm>
            <a:custGeom>
              <a:avLst/>
              <a:gdLst>
                <a:gd name="connsiteX0" fmla="*/ 44247 w 70809"/>
                <a:gd name="connsiteY0" fmla="*/ 15924 h 70809"/>
                <a:gd name="connsiteX1" fmla="*/ 66906 w 70809"/>
                <a:gd name="connsiteY1" fmla="*/ 44247 h 70809"/>
                <a:gd name="connsiteX2" fmla="*/ 38583 w 70809"/>
                <a:gd name="connsiteY2" fmla="*/ 66907 h 70809"/>
                <a:gd name="connsiteX3" fmla="*/ 15924 w 70809"/>
                <a:gd name="connsiteY3" fmla="*/ 38583 h 70809"/>
                <a:gd name="connsiteX4" fmla="*/ 44247 w 70809"/>
                <a:gd name="connsiteY4" fmla="*/ 15924 h 70809"/>
                <a:gd name="connsiteX5" fmla="*/ 44247 w 70809"/>
                <a:gd name="connsiteY5" fmla="*/ 15924 h 70809"/>
                <a:gd name="connsiteX6" fmla="*/ 42831 w 70809"/>
                <a:gd name="connsiteY6" fmla="*/ 27253 h 70809"/>
                <a:gd name="connsiteX7" fmla="*/ 27253 w 70809"/>
                <a:gd name="connsiteY7" fmla="*/ 39999 h 70809"/>
                <a:gd name="connsiteX8" fmla="*/ 39999 w 70809"/>
                <a:gd name="connsiteY8" fmla="*/ 55577 h 70809"/>
                <a:gd name="connsiteX9" fmla="*/ 55577 w 70809"/>
                <a:gd name="connsiteY9" fmla="*/ 42831 h 70809"/>
                <a:gd name="connsiteX10" fmla="*/ 42831 w 70809"/>
                <a:gd name="connsiteY10" fmla="*/ 27253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247" y="15924"/>
                  </a:moveTo>
                  <a:cubicBezTo>
                    <a:pt x="58409" y="17340"/>
                    <a:pt x="68323" y="30085"/>
                    <a:pt x="66906" y="44247"/>
                  </a:cubicBezTo>
                  <a:cubicBezTo>
                    <a:pt x="65490" y="58409"/>
                    <a:pt x="52744" y="68323"/>
                    <a:pt x="38583" y="66907"/>
                  </a:cubicBezTo>
                  <a:cubicBezTo>
                    <a:pt x="24421" y="65490"/>
                    <a:pt x="14507" y="52745"/>
                    <a:pt x="15924" y="38583"/>
                  </a:cubicBezTo>
                  <a:cubicBezTo>
                    <a:pt x="17340" y="24421"/>
                    <a:pt x="30085" y="14507"/>
                    <a:pt x="44247" y="15924"/>
                  </a:cubicBezTo>
                  <a:lnTo>
                    <a:pt x="44247" y="15924"/>
                  </a:lnTo>
                  <a:close/>
                  <a:moveTo>
                    <a:pt x="42831" y="27253"/>
                  </a:moveTo>
                  <a:cubicBezTo>
                    <a:pt x="34334" y="25837"/>
                    <a:pt x="27253" y="32918"/>
                    <a:pt x="27253" y="39999"/>
                  </a:cubicBezTo>
                  <a:cubicBezTo>
                    <a:pt x="25837" y="48496"/>
                    <a:pt x="32918" y="55577"/>
                    <a:pt x="39999" y="55577"/>
                  </a:cubicBezTo>
                  <a:cubicBezTo>
                    <a:pt x="48496" y="56993"/>
                    <a:pt x="55577" y="49912"/>
                    <a:pt x="55577" y="42831"/>
                  </a:cubicBezTo>
                  <a:cubicBezTo>
                    <a:pt x="56993" y="34334"/>
                    <a:pt x="51328" y="27253"/>
                    <a:pt x="42831" y="2725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1" name="Freeform: Shape 2520">
              <a:extLst>
                <a:ext uri="{FF2B5EF4-FFF2-40B4-BE49-F238E27FC236}">
                  <a16:creationId xmlns:a16="http://schemas.microsoft.com/office/drawing/2014/main" id="{8BB1C21A-935E-4304-9223-648726F48127}"/>
                </a:ext>
              </a:extLst>
            </p:cNvPr>
            <p:cNvSpPr/>
            <p:nvPr/>
          </p:nvSpPr>
          <p:spPr>
            <a:xfrm>
              <a:off x="3828467" y="5231600"/>
              <a:ext cx="56648" cy="56648"/>
            </a:xfrm>
            <a:custGeom>
              <a:avLst/>
              <a:gdLst>
                <a:gd name="connsiteX0" fmla="*/ 31367 w 56647"/>
                <a:gd name="connsiteY0" fmla="*/ 15789 h 56647"/>
                <a:gd name="connsiteX1" fmla="*/ 44113 w 56647"/>
                <a:gd name="connsiteY1" fmla="*/ 31367 h 56647"/>
                <a:gd name="connsiteX2" fmla="*/ 28535 w 56647"/>
                <a:gd name="connsiteY2" fmla="*/ 44113 h 56647"/>
                <a:gd name="connsiteX3" fmla="*/ 15789 w 56647"/>
                <a:gd name="connsiteY3" fmla="*/ 28535 h 56647"/>
                <a:gd name="connsiteX4" fmla="*/ 31367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5789"/>
                  </a:moveTo>
                  <a:cubicBezTo>
                    <a:pt x="38448" y="15789"/>
                    <a:pt x="44113" y="22870"/>
                    <a:pt x="44113" y="31367"/>
                  </a:cubicBezTo>
                  <a:cubicBezTo>
                    <a:pt x="44113" y="38448"/>
                    <a:pt x="37032" y="44113"/>
                    <a:pt x="28535" y="44113"/>
                  </a:cubicBezTo>
                  <a:cubicBezTo>
                    <a:pt x="21454" y="44113"/>
                    <a:pt x="15789" y="37032"/>
                    <a:pt x="15789" y="28535"/>
                  </a:cubicBezTo>
                  <a:cubicBezTo>
                    <a:pt x="17205" y="21454"/>
                    <a:pt x="24286" y="15789"/>
                    <a:pt x="31367"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2" name="Freeform: Shape 2521">
              <a:extLst>
                <a:ext uri="{FF2B5EF4-FFF2-40B4-BE49-F238E27FC236}">
                  <a16:creationId xmlns:a16="http://schemas.microsoft.com/office/drawing/2014/main" id="{5BCB7BC6-856E-49CE-BCB5-A35A2F87C657}"/>
                </a:ext>
              </a:extLst>
            </p:cNvPr>
            <p:cNvSpPr/>
            <p:nvPr/>
          </p:nvSpPr>
          <p:spPr>
            <a:xfrm>
              <a:off x="3722097" y="5050173"/>
              <a:ext cx="56648" cy="56648"/>
            </a:xfrm>
            <a:custGeom>
              <a:avLst/>
              <a:gdLst>
                <a:gd name="connsiteX0" fmla="*/ 35771 w 56647"/>
                <a:gd name="connsiteY0" fmla="*/ 15944 h 56647"/>
                <a:gd name="connsiteX1" fmla="*/ 52765 w 56647"/>
                <a:gd name="connsiteY1" fmla="*/ 35771 h 56647"/>
                <a:gd name="connsiteX2" fmla="*/ 32938 w 56647"/>
                <a:gd name="connsiteY2" fmla="*/ 52765 h 56647"/>
                <a:gd name="connsiteX3" fmla="*/ 15944 w 56647"/>
                <a:gd name="connsiteY3" fmla="*/ 32938 h 56647"/>
                <a:gd name="connsiteX4" fmla="*/ 35771 w 56647"/>
                <a:gd name="connsiteY4" fmla="*/ 1594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44"/>
                  </a:moveTo>
                  <a:cubicBezTo>
                    <a:pt x="45684" y="17360"/>
                    <a:pt x="54181" y="25857"/>
                    <a:pt x="52765" y="35771"/>
                  </a:cubicBezTo>
                  <a:cubicBezTo>
                    <a:pt x="51349" y="45684"/>
                    <a:pt x="42852" y="54181"/>
                    <a:pt x="32938" y="52765"/>
                  </a:cubicBezTo>
                  <a:cubicBezTo>
                    <a:pt x="23025" y="51349"/>
                    <a:pt x="14528" y="42852"/>
                    <a:pt x="15944" y="32938"/>
                  </a:cubicBezTo>
                  <a:cubicBezTo>
                    <a:pt x="15944" y="23025"/>
                    <a:pt x="25857" y="14528"/>
                    <a:pt x="35771" y="1594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3" name="Freeform: Shape 2522">
              <a:extLst>
                <a:ext uri="{FF2B5EF4-FFF2-40B4-BE49-F238E27FC236}">
                  <a16:creationId xmlns:a16="http://schemas.microsoft.com/office/drawing/2014/main" id="{EC0ABB6B-6E33-429E-94A5-B0FCEED66CA9}"/>
                </a:ext>
              </a:extLst>
            </p:cNvPr>
            <p:cNvSpPr/>
            <p:nvPr/>
          </p:nvSpPr>
          <p:spPr>
            <a:xfrm>
              <a:off x="3617454" y="5506341"/>
              <a:ext cx="56648" cy="56648"/>
            </a:xfrm>
            <a:custGeom>
              <a:avLst/>
              <a:gdLst>
                <a:gd name="connsiteX0" fmla="*/ 35616 w 56647"/>
                <a:gd name="connsiteY0" fmla="*/ 15789 h 56647"/>
                <a:gd name="connsiteX1" fmla="*/ 52610 w 56647"/>
                <a:gd name="connsiteY1" fmla="*/ 35616 h 56647"/>
                <a:gd name="connsiteX2" fmla="*/ 32783 w 56647"/>
                <a:gd name="connsiteY2" fmla="*/ 52610 h 56647"/>
                <a:gd name="connsiteX3" fmla="*/ 15789 w 56647"/>
                <a:gd name="connsiteY3" fmla="*/ 32783 h 56647"/>
                <a:gd name="connsiteX4" fmla="*/ 35616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616" y="15789"/>
                  </a:moveTo>
                  <a:cubicBezTo>
                    <a:pt x="45529" y="17205"/>
                    <a:pt x="52610" y="25703"/>
                    <a:pt x="52610" y="35616"/>
                  </a:cubicBezTo>
                  <a:cubicBezTo>
                    <a:pt x="51194" y="45529"/>
                    <a:pt x="42697" y="52610"/>
                    <a:pt x="32783" y="52610"/>
                  </a:cubicBezTo>
                  <a:cubicBezTo>
                    <a:pt x="22870" y="51194"/>
                    <a:pt x="15789" y="42697"/>
                    <a:pt x="15789" y="32783"/>
                  </a:cubicBezTo>
                  <a:cubicBezTo>
                    <a:pt x="17205" y="22870"/>
                    <a:pt x="25702" y="15789"/>
                    <a:pt x="35616"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4" name="Freeform: Shape 2523">
              <a:extLst>
                <a:ext uri="{FF2B5EF4-FFF2-40B4-BE49-F238E27FC236}">
                  <a16:creationId xmlns:a16="http://schemas.microsoft.com/office/drawing/2014/main" id="{63EA29E8-F653-4F19-9CBD-EDE83D93D191}"/>
                </a:ext>
              </a:extLst>
            </p:cNvPr>
            <p:cNvSpPr/>
            <p:nvPr/>
          </p:nvSpPr>
          <p:spPr>
            <a:xfrm>
              <a:off x="3522014" y="5753327"/>
              <a:ext cx="42486" cy="42486"/>
            </a:xfrm>
            <a:custGeom>
              <a:avLst/>
              <a:gdLst>
                <a:gd name="connsiteX0" fmla="*/ 24842 w 42485"/>
                <a:gd name="connsiteY0" fmla="*/ 16636 h 42485"/>
                <a:gd name="connsiteX1" fmla="*/ 27674 w 42485"/>
                <a:gd name="connsiteY1" fmla="*/ 25133 h 42485"/>
                <a:gd name="connsiteX2" fmla="*/ 19177 w 42485"/>
                <a:gd name="connsiteY2" fmla="*/ 27966 h 42485"/>
                <a:gd name="connsiteX3" fmla="*/ 16345 w 42485"/>
                <a:gd name="connsiteY3" fmla="*/ 19468 h 42485"/>
                <a:gd name="connsiteX4" fmla="*/ 24842 w 42485"/>
                <a:gd name="connsiteY4" fmla="*/ 1663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6636"/>
                  </a:moveTo>
                  <a:cubicBezTo>
                    <a:pt x="27674" y="18052"/>
                    <a:pt x="29090" y="22301"/>
                    <a:pt x="27674" y="25133"/>
                  </a:cubicBezTo>
                  <a:cubicBezTo>
                    <a:pt x="26258" y="27966"/>
                    <a:pt x="22009" y="29382"/>
                    <a:pt x="19177" y="27966"/>
                  </a:cubicBezTo>
                  <a:cubicBezTo>
                    <a:pt x="16345" y="26549"/>
                    <a:pt x="14928" y="22301"/>
                    <a:pt x="16345" y="19468"/>
                  </a:cubicBezTo>
                  <a:cubicBezTo>
                    <a:pt x="17761" y="15220"/>
                    <a:pt x="22009" y="15220"/>
                    <a:pt x="24842" y="1663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5" name="Freeform: Shape 2524">
              <a:extLst>
                <a:ext uri="{FF2B5EF4-FFF2-40B4-BE49-F238E27FC236}">
                  <a16:creationId xmlns:a16="http://schemas.microsoft.com/office/drawing/2014/main" id="{C6FE085D-F149-4F92-9312-CD0DFB9ECA4F}"/>
                </a:ext>
              </a:extLst>
            </p:cNvPr>
            <p:cNvSpPr/>
            <p:nvPr/>
          </p:nvSpPr>
          <p:spPr>
            <a:xfrm>
              <a:off x="3764738" y="5410040"/>
              <a:ext cx="42486" cy="42486"/>
            </a:xfrm>
            <a:custGeom>
              <a:avLst/>
              <a:gdLst>
                <a:gd name="connsiteX0" fmla="*/ 27119 w 42485"/>
                <a:gd name="connsiteY0" fmla="*/ 15789 h 42485"/>
                <a:gd name="connsiteX1" fmla="*/ 37032 w 42485"/>
                <a:gd name="connsiteY1" fmla="*/ 27118 h 42485"/>
                <a:gd name="connsiteX2" fmla="*/ 25702 w 42485"/>
                <a:gd name="connsiteY2" fmla="*/ 37032 h 42485"/>
                <a:gd name="connsiteX3" fmla="*/ 15789 w 42485"/>
                <a:gd name="connsiteY3" fmla="*/ 25703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8"/>
                  </a:cubicBezTo>
                  <a:cubicBezTo>
                    <a:pt x="37032" y="32783"/>
                    <a:pt x="31367" y="37032"/>
                    <a:pt x="25702" y="37032"/>
                  </a:cubicBezTo>
                  <a:cubicBezTo>
                    <a:pt x="20038" y="37032"/>
                    <a:pt x="15789" y="31367"/>
                    <a:pt x="15789" y="25703"/>
                  </a:cubicBezTo>
                  <a:cubicBezTo>
                    <a:pt x="15789" y="20037"/>
                    <a:pt x="21454" y="15789"/>
                    <a:pt x="27119"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6" name="Freeform: Shape 2525">
              <a:extLst>
                <a:ext uri="{FF2B5EF4-FFF2-40B4-BE49-F238E27FC236}">
                  <a16:creationId xmlns:a16="http://schemas.microsoft.com/office/drawing/2014/main" id="{ADABC6D3-B737-4187-9AA7-62A267F355D0}"/>
                </a:ext>
              </a:extLst>
            </p:cNvPr>
            <p:cNvSpPr/>
            <p:nvPr/>
          </p:nvSpPr>
          <p:spPr>
            <a:xfrm>
              <a:off x="4246089" y="5020434"/>
              <a:ext cx="70810" cy="70810"/>
            </a:xfrm>
            <a:custGeom>
              <a:avLst/>
              <a:gdLst>
                <a:gd name="connsiteX0" fmla="*/ 40018 w 70809"/>
                <a:gd name="connsiteY0" fmla="*/ 15943 h 70809"/>
                <a:gd name="connsiteX1" fmla="*/ 59845 w 70809"/>
                <a:gd name="connsiteY1" fmla="*/ 40018 h 70809"/>
                <a:gd name="connsiteX2" fmla="*/ 35769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2"/>
                    <a:pt x="59845" y="40018"/>
                  </a:cubicBezTo>
                  <a:cubicBezTo>
                    <a:pt x="58429" y="52764"/>
                    <a:pt x="48515" y="61261"/>
                    <a:pt x="35769" y="59845"/>
                  </a:cubicBezTo>
                  <a:cubicBezTo>
                    <a:pt x="23024" y="58429"/>
                    <a:pt x="14527" y="48515"/>
                    <a:pt x="15943" y="35769"/>
                  </a:cubicBezTo>
                  <a:cubicBezTo>
                    <a:pt x="15943" y="23024"/>
                    <a:pt x="27272" y="14527"/>
                    <a:pt x="40018" y="159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7" name="Freeform: Shape 2526">
              <a:extLst>
                <a:ext uri="{FF2B5EF4-FFF2-40B4-BE49-F238E27FC236}">
                  <a16:creationId xmlns:a16="http://schemas.microsoft.com/office/drawing/2014/main" id="{F6897357-4252-4C4E-9EB9-4E23FBF1ED47}"/>
                </a:ext>
              </a:extLst>
            </p:cNvPr>
            <p:cNvSpPr/>
            <p:nvPr/>
          </p:nvSpPr>
          <p:spPr>
            <a:xfrm>
              <a:off x="4093076" y="5347456"/>
              <a:ext cx="42486" cy="42486"/>
            </a:xfrm>
            <a:custGeom>
              <a:avLst/>
              <a:gdLst>
                <a:gd name="connsiteX0" fmla="*/ 27337 w 42485"/>
                <a:gd name="connsiteY0" fmla="*/ 16060 h 42485"/>
                <a:gd name="connsiteX1" fmla="*/ 37250 w 42485"/>
                <a:gd name="connsiteY1" fmla="*/ 27390 h 42485"/>
                <a:gd name="connsiteX2" fmla="*/ 25921 w 42485"/>
                <a:gd name="connsiteY2" fmla="*/ 37303 h 42485"/>
                <a:gd name="connsiteX3" fmla="*/ 16007 w 42485"/>
                <a:gd name="connsiteY3" fmla="*/ 25973 h 42485"/>
                <a:gd name="connsiteX4" fmla="*/ 27337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16060"/>
                  </a:moveTo>
                  <a:cubicBezTo>
                    <a:pt x="33002" y="16060"/>
                    <a:pt x="37250" y="21725"/>
                    <a:pt x="37250" y="27390"/>
                  </a:cubicBezTo>
                  <a:cubicBezTo>
                    <a:pt x="37250" y="33054"/>
                    <a:pt x="31586" y="37303"/>
                    <a:pt x="25921" y="37303"/>
                  </a:cubicBezTo>
                  <a:cubicBezTo>
                    <a:pt x="20256" y="37303"/>
                    <a:pt x="16007" y="31639"/>
                    <a:pt x="16007" y="25973"/>
                  </a:cubicBezTo>
                  <a:cubicBezTo>
                    <a:pt x="14591" y="18893"/>
                    <a:pt x="20256" y="14644"/>
                    <a:pt x="27337"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8" name="Freeform: Shape 2527">
              <a:extLst>
                <a:ext uri="{FF2B5EF4-FFF2-40B4-BE49-F238E27FC236}">
                  <a16:creationId xmlns:a16="http://schemas.microsoft.com/office/drawing/2014/main" id="{2439DA0A-B317-4B91-96A9-0B122C3095EA}"/>
                </a:ext>
              </a:extLst>
            </p:cNvPr>
            <p:cNvSpPr/>
            <p:nvPr/>
          </p:nvSpPr>
          <p:spPr>
            <a:xfrm>
              <a:off x="4222168" y="5239826"/>
              <a:ext cx="42486" cy="42486"/>
            </a:xfrm>
            <a:custGeom>
              <a:avLst/>
              <a:gdLst>
                <a:gd name="connsiteX0" fmla="*/ 27119 w 42485"/>
                <a:gd name="connsiteY0" fmla="*/ 16060 h 42485"/>
                <a:gd name="connsiteX1" fmla="*/ 37032 w 42485"/>
                <a:gd name="connsiteY1" fmla="*/ 27390 h 42485"/>
                <a:gd name="connsiteX2" fmla="*/ 25702 w 42485"/>
                <a:gd name="connsiteY2" fmla="*/ 37303 h 42485"/>
                <a:gd name="connsiteX3" fmla="*/ 15789 w 42485"/>
                <a:gd name="connsiteY3" fmla="*/ 25974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5"/>
                    <a:pt x="31367" y="37303"/>
                    <a:pt x="25702" y="37303"/>
                  </a:cubicBezTo>
                  <a:cubicBezTo>
                    <a:pt x="20038" y="37303"/>
                    <a:pt x="15789" y="31639"/>
                    <a:pt x="15789" y="25974"/>
                  </a:cubicBezTo>
                  <a:cubicBezTo>
                    <a:pt x="15789" y="18893"/>
                    <a:pt x="21454" y="14644"/>
                    <a:pt x="27119"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9" name="Freeform: Shape 2528">
              <a:extLst>
                <a:ext uri="{FF2B5EF4-FFF2-40B4-BE49-F238E27FC236}">
                  <a16:creationId xmlns:a16="http://schemas.microsoft.com/office/drawing/2014/main" id="{0E49144F-A6D3-4B37-8970-303E1A6632EE}"/>
                </a:ext>
              </a:extLst>
            </p:cNvPr>
            <p:cNvSpPr/>
            <p:nvPr/>
          </p:nvSpPr>
          <p:spPr>
            <a:xfrm>
              <a:off x="4138458" y="5140784"/>
              <a:ext cx="56648" cy="56648"/>
            </a:xfrm>
            <a:custGeom>
              <a:avLst/>
              <a:gdLst>
                <a:gd name="connsiteX0" fmla="*/ 35771 w 56647"/>
                <a:gd name="connsiteY0" fmla="*/ 15969 h 56647"/>
                <a:gd name="connsiteX1" fmla="*/ 52765 w 56647"/>
                <a:gd name="connsiteY1" fmla="*/ 35795 h 56647"/>
                <a:gd name="connsiteX2" fmla="*/ 32938 w 56647"/>
                <a:gd name="connsiteY2" fmla="*/ 52790 h 56647"/>
                <a:gd name="connsiteX3" fmla="*/ 15944 w 56647"/>
                <a:gd name="connsiteY3" fmla="*/ 32963 h 56647"/>
                <a:gd name="connsiteX4" fmla="*/ 35771 w 56647"/>
                <a:gd name="connsiteY4" fmla="*/ 1596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69"/>
                  </a:moveTo>
                  <a:cubicBezTo>
                    <a:pt x="45684" y="17385"/>
                    <a:pt x="54181" y="25882"/>
                    <a:pt x="52765" y="35795"/>
                  </a:cubicBezTo>
                  <a:cubicBezTo>
                    <a:pt x="51349" y="45709"/>
                    <a:pt x="42852" y="54206"/>
                    <a:pt x="32938" y="52790"/>
                  </a:cubicBezTo>
                  <a:cubicBezTo>
                    <a:pt x="23025" y="51373"/>
                    <a:pt x="14528" y="42876"/>
                    <a:pt x="15944" y="32963"/>
                  </a:cubicBezTo>
                  <a:cubicBezTo>
                    <a:pt x="17360" y="21633"/>
                    <a:pt x="25857" y="14552"/>
                    <a:pt x="35771" y="159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0" name="Freeform: Shape 2529">
              <a:extLst>
                <a:ext uri="{FF2B5EF4-FFF2-40B4-BE49-F238E27FC236}">
                  <a16:creationId xmlns:a16="http://schemas.microsoft.com/office/drawing/2014/main" id="{F6DD4CB5-87CD-4696-9A4C-8B7F7FFDEA4B}"/>
                </a:ext>
              </a:extLst>
            </p:cNvPr>
            <p:cNvSpPr/>
            <p:nvPr/>
          </p:nvSpPr>
          <p:spPr>
            <a:xfrm>
              <a:off x="4154036" y="5404196"/>
              <a:ext cx="56648" cy="56648"/>
            </a:xfrm>
            <a:custGeom>
              <a:avLst/>
              <a:gdLst>
                <a:gd name="connsiteX0" fmla="*/ 35771 w 56647"/>
                <a:gd name="connsiteY0" fmla="*/ 15969 h 56647"/>
                <a:gd name="connsiteX1" fmla="*/ 52765 w 56647"/>
                <a:gd name="connsiteY1" fmla="*/ 35795 h 56647"/>
                <a:gd name="connsiteX2" fmla="*/ 32938 w 56647"/>
                <a:gd name="connsiteY2" fmla="*/ 52790 h 56647"/>
                <a:gd name="connsiteX3" fmla="*/ 15944 w 56647"/>
                <a:gd name="connsiteY3" fmla="*/ 32963 h 56647"/>
                <a:gd name="connsiteX4" fmla="*/ 35771 w 56647"/>
                <a:gd name="connsiteY4" fmla="*/ 1596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69"/>
                  </a:moveTo>
                  <a:cubicBezTo>
                    <a:pt x="45684" y="17385"/>
                    <a:pt x="54181" y="25882"/>
                    <a:pt x="52765" y="35795"/>
                  </a:cubicBezTo>
                  <a:cubicBezTo>
                    <a:pt x="51349" y="45709"/>
                    <a:pt x="42852" y="54205"/>
                    <a:pt x="32938" y="52790"/>
                  </a:cubicBezTo>
                  <a:cubicBezTo>
                    <a:pt x="23025" y="51373"/>
                    <a:pt x="14528" y="42876"/>
                    <a:pt x="15944" y="32963"/>
                  </a:cubicBezTo>
                  <a:cubicBezTo>
                    <a:pt x="15944" y="21633"/>
                    <a:pt x="25857" y="14552"/>
                    <a:pt x="35771" y="159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1" name="Freeform: Shape 2530">
              <a:extLst>
                <a:ext uri="{FF2B5EF4-FFF2-40B4-BE49-F238E27FC236}">
                  <a16:creationId xmlns:a16="http://schemas.microsoft.com/office/drawing/2014/main" id="{6ACE3D7D-978B-4443-8079-497887C95447}"/>
                </a:ext>
              </a:extLst>
            </p:cNvPr>
            <p:cNvSpPr/>
            <p:nvPr/>
          </p:nvSpPr>
          <p:spPr>
            <a:xfrm>
              <a:off x="4131532" y="5342063"/>
              <a:ext cx="56648" cy="56648"/>
            </a:xfrm>
            <a:custGeom>
              <a:avLst/>
              <a:gdLst>
                <a:gd name="connsiteX0" fmla="*/ 31367 w 56647"/>
                <a:gd name="connsiteY0" fmla="*/ 15789 h 56647"/>
                <a:gd name="connsiteX1" fmla="*/ 44113 w 56647"/>
                <a:gd name="connsiteY1" fmla="*/ 31367 h 56647"/>
                <a:gd name="connsiteX2" fmla="*/ 28535 w 56647"/>
                <a:gd name="connsiteY2" fmla="*/ 44113 h 56647"/>
                <a:gd name="connsiteX3" fmla="*/ 15789 w 56647"/>
                <a:gd name="connsiteY3" fmla="*/ 28535 h 56647"/>
                <a:gd name="connsiteX4" fmla="*/ 31367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5789"/>
                  </a:moveTo>
                  <a:cubicBezTo>
                    <a:pt x="38448" y="17205"/>
                    <a:pt x="44113" y="22870"/>
                    <a:pt x="44113" y="31367"/>
                  </a:cubicBezTo>
                  <a:cubicBezTo>
                    <a:pt x="42697" y="38448"/>
                    <a:pt x="37032" y="44113"/>
                    <a:pt x="28535" y="44113"/>
                  </a:cubicBezTo>
                  <a:cubicBezTo>
                    <a:pt x="21454" y="42697"/>
                    <a:pt x="15789" y="37032"/>
                    <a:pt x="15789" y="28535"/>
                  </a:cubicBezTo>
                  <a:cubicBezTo>
                    <a:pt x="15789" y="21454"/>
                    <a:pt x="22870" y="15789"/>
                    <a:pt x="31367"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2" name="Freeform: Shape 2531">
              <a:extLst>
                <a:ext uri="{FF2B5EF4-FFF2-40B4-BE49-F238E27FC236}">
                  <a16:creationId xmlns:a16="http://schemas.microsoft.com/office/drawing/2014/main" id="{DDBFB66A-D81E-44DC-849A-A962BA06AE8C}"/>
                </a:ext>
              </a:extLst>
            </p:cNvPr>
            <p:cNvSpPr/>
            <p:nvPr/>
          </p:nvSpPr>
          <p:spPr>
            <a:xfrm>
              <a:off x="3788679" y="4274135"/>
              <a:ext cx="70810" cy="70810"/>
            </a:xfrm>
            <a:custGeom>
              <a:avLst/>
              <a:gdLst>
                <a:gd name="connsiteX0" fmla="*/ 44247 w 70809"/>
                <a:gd name="connsiteY0" fmla="*/ 15909 h 70809"/>
                <a:gd name="connsiteX1" fmla="*/ 66907 w 70809"/>
                <a:gd name="connsiteY1" fmla="*/ 44233 h 70809"/>
                <a:gd name="connsiteX2" fmla="*/ 38583 w 70809"/>
                <a:gd name="connsiteY2" fmla="*/ 66892 h 70809"/>
                <a:gd name="connsiteX3" fmla="*/ 15924 w 70809"/>
                <a:gd name="connsiteY3" fmla="*/ 38568 h 70809"/>
                <a:gd name="connsiteX4" fmla="*/ 44247 w 70809"/>
                <a:gd name="connsiteY4" fmla="*/ 15909 h 70809"/>
                <a:gd name="connsiteX5" fmla="*/ 44247 w 70809"/>
                <a:gd name="connsiteY5" fmla="*/ 15909 h 70809"/>
                <a:gd name="connsiteX6" fmla="*/ 42831 w 70809"/>
                <a:gd name="connsiteY6" fmla="*/ 27239 h 70809"/>
                <a:gd name="connsiteX7" fmla="*/ 27253 w 70809"/>
                <a:gd name="connsiteY7" fmla="*/ 39984 h 70809"/>
                <a:gd name="connsiteX8" fmla="*/ 39999 w 70809"/>
                <a:gd name="connsiteY8" fmla="*/ 55563 h 70809"/>
                <a:gd name="connsiteX9" fmla="*/ 55577 w 70809"/>
                <a:gd name="connsiteY9" fmla="*/ 42817 h 70809"/>
                <a:gd name="connsiteX10" fmla="*/ 42831 w 70809"/>
                <a:gd name="connsiteY10" fmla="*/ 27239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247" y="15909"/>
                  </a:moveTo>
                  <a:cubicBezTo>
                    <a:pt x="58409" y="17325"/>
                    <a:pt x="68323" y="30071"/>
                    <a:pt x="66907" y="44233"/>
                  </a:cubicBezTo>
                  <a:cubicBezTo>
                    <a:pt x="65490" y="58395"/>
                    <a:pt x="52745" y="68308"/>
                    <a:pt x="38583" y="66892"/>
                  </a:cubicBezTo>
                  <a:cubicBezTo>
                    <a:pt x="24421" y="65476"/>
                    <a:pt x="14507" y="52730"/>
                    <a:pt x="15924" y="38568"/>
                  </a:cubicBezTo>
                  <a:cubicBezTo>
                    <a:pt x="17340" y="25822"/>
                    <a:pt x="30085" y="14493"/>
                    <a:pt x="44247" y="15909"/>
                  </a:cubicBezTo>
                  <a:lnTo>
                    <a:pt x="44247" y="15909"/>
                  </a:lnTo>
                  <a:close/>
                  <a:moveTo>
                    <a:pt x="42831" y="27239"/>
                  </a:moveTo>
                  <a:cubicBezTo>
                    <a:pt x="34334" y="25822"/>
                    <a:pt x="27253" y="32903"/>
                    <a:pt x="27253" y="39984"/>
                  </a:cubicBezTo>
                  <a:cubicBezTo>
                    <a:pt x="25837" y="48482"/>
                    <a:pt x="32918" y="55563"/>
                    <a:pt x="39999" y="55563"/>
                  </a:cubicBezTo>
                  <a:cubicBezTo>
                    <a:pt x="48496" y="56979"/>
                    <a:pt x="55577" y="49898"/>
                    <a:pt x="55577" y="42817"/>
                  </a:cubicBezTo>
                  <a:cubicBezTo>
                    <a:pt x="56993" y="35736"/>
                    <a:pt x="49912" y="28655"/>
                    <a:pt x="42831" y="272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3" name="Freeform: Shape 2532">
              <a:extLst>
                <a:ext uri="{FF2B5EF4-FFF2-40B4-BE49-F238E27FC236}">
                  <a16:creationId xmlns:a16="http://schemas.microsoft.com/office/drawing/2014/main" id="{DB1E1331-FAA7-4983-9D54-84C9BF849129}"/>
                </a:ext>
              </a:extLst>
            </p:cNvPr>
            <p:cNvSpPr/>
            <p:nvPr/>
          </p:nvSpPr>
          <p:spPr>
            <a:xfrm>
              <a:off x="3756087" y="3968358"/>
              <a:ext cx="70810" cy="70810"/>
            </a:xfrm>
            <a:custGeom>
              <a:avLst/>
              <a:gdLst>
                <a:gd name="connsiteX0" fmla="*/ 40018 w 70809"/>
                <a:gd name="connsiteY0" fmla="*/ 15789 h 70809"/>
                <a:gd name="connsiteX1" fmla="*/ 59845 w 70809"/>
                <a:gd name="connsiteY1" fmla="*/ 39864 h 70809"/>
                <a:gd name="connsiteX2" fmla="*/ 35770 w 70809"/>
                <a:gd name="connsiteY2" fmla="*/ 59691 h 70809"/>
                <a:gd name="connsiteX3" fmla="*/ 15943 w 70809"/>
                <a:gd name="connsiteY3" fmla="*/ 35616 h 70809"/>
                <a:gd name="connsiteX4" fmla="*/ 40018 w 70809"/>
                <a:gd name="connsiteY4" fmla="*/ 1578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789"/>
                  </a:moveTo>
                  <a:cubicBezTo>
                    <a:pt x="52764" y="17205"/>
                    <a:pt x="61261" y="27118"/>
                    <a:pt x="59845" y="39864"/>
                  </a:cubicBezTo>
                  <a:cubicBezTo>
                    <a:pt x="58429" y="52610"/>
                    <a:pt x="48515" y="61107"/>
                    <a:pt x="35770" y="59691"/>
                  </a:cubicBezTo>
                  <a:cubicBezTo>
                    <a:pt x="23024" y="58275"/>
                    <a:pt x="14527" y="48361"/>
                    <a:pt x="15943" y="35616"/>
                  </a:cubicBezTo>
                  <a:cubicBezTo>
                    <a:pt x="17359" y="24286"/>
                    <a:pt x="28689" y="15789"/>
                    <a:pt x="4001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4" name="Freeform: Shape 2533">
              <a:extLst>
                <a:ext uri="{FF2B5EF4-FFF2-40B4-BE49-F238E27FC236}">
                  <a16:creationId xmlns:a16="http://schemas.microsoft.com/office/drawing/2014/main" id="{F98DB794-2257-43C9-B47D-6CE71134E77C}"/>
                </a:ext>
              </a:extLst>
            </p:cNvPr>
            <p:cNvSpPr/>
            <p:nvPr/>
          </p:nvSpPr>
          <p:spPr>
            <a:xfrm>
              <a:off x="4066206" y="4060410"/>
              <a:ext cx="56648" cy="56648"/>
            </a:xfrm>
            <a:custGeom>
              <a:avLst/>
              <a:gdLst>
                <a:gd name="connsiteX0" fmla="*/ 32965 w 56647"/>
                <a:gd name="connsiteY0" fmla="*/ 15789 h 56647"/>
                <a:gd name="connsiteX1" fmla="*/ 47127 w 56647"/>
                <a:gd name="connsiteY1" fmla="*/ 32783 h 56647"/>
                <a:gd name="connsiteX2" fmla="*/ 30132 w 56647"/>
                <a:gd name="connsiteY2" fmla="*/ 46945 h 56647"/>
                <a:gd name="connsiteX3" fmla="*/ 15970 w 56647"/>
                <a:gd name="connsiteY3" fmla="*/ 29951 h 56647"/>
                <a:gd name="connsiteX4" fmla="*/ 32965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789"/>
                  </a:moveTo>
                  <a:cubicBezTo>
                    <a:pt x="41462" y="17205"/>
                    <a:pt x="48543" y="24286"/>
                    <a:pt x="47127" y="32783"/>
                  </a:cubicBezTo>
                  <a:cubicBezTo>
                    <a:pt x="45710" y="41280"/>
                    <a:pt x="38629" y="48361"/>
                    <a:pt x="30132" y="46945"/>
                  </a:cubicBezTo>
                  <a:cubicBezTo>
                    <a:pt x="21635" y="45529"/>
                    <a:pt x="14554" y="38448"/>
                    <a:pt x="15970" y="29951"/>
                  </a:cubicBezTo>
                  <a:cubicBezTo>
                    <a:pt x="15970" y="21454"/>
                    <a:pt x="24467" y="15789"/>
                    <a:pt x="32965"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5" name="Freeform: Shape 2534">
              <a:extLst>
                <a:ext uri="{FF2B5EF4-FFF2-40B4-BE49-F238E27FC236}">
                  <a16:creationId xmlns:a16="http://schemas.microsoft.com/office/drawing/2014/main" id="{D907BCF6-64AE-42C0-BD8D-FDE480066882}"/>
                </a:ext>
              </a:extLst>
            </p:cNvPr>
            <p:cNvSpPr/>
            <p:nvPr/>
          </p:nvSpPr>
          <p:spPr>
            <a:xfrm>
              <a:off x="3671269" y="4312492"/>
              <a:ext cx="42486" cy="42486"/>
            </a:xfrm>
            <a:custGeom>
              <a:avLst/>
              <a:gdLst>
                <a:gd name="connsiteX0" fmla="*/ 25703 w 42485"/>
                <a:gd name="connsiteY0" fmla="*/ 15789 h 42485"/>
                <a:gd name="connsiteX1" fmla="*/ 34200 w 42485"/>
                <a:gd name="connsiteY1" fmla="*/ 25703 h 42485"/>
                <a:gd name="connsiteX2" fmla="*/ 24286 w 42485"/>
                <a:gd name="connsiteY2" fmla="*/ 34199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31367" y="15789"/>
                    <a:pt x="34200" y="21454"/>
                    <a:pt x="34200" y="25703"/>
                  </a:cubicBezTo>
                  <a:cubicBezTo>
                    <a:pt x="34200" y="31367"/>
                    <a:pt x="28535" y="34199"/>
                    <a:pt x="24286" y="34199"/>
                  </a:cubicBezTo>
                  <a:cubicBezTo>
                    <a:pt x="18622" y="34199"/>
                    <a:pt x="15789" y="28535"/>
                    <a:pt x="15789" y="24286"/>
                  </a:cubicBezTo>
                  <a:cubicBezTo>
                    <a:pt x="15789" y="20037"/>
                    <a:pt x="20038" y="15789"/>
                    <a:pt x="25703"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6" name="Freeform: Shape 2535">
              <a:extLst>
                <a:ext uri="{FF2B5EF4-FFF2-40B4-BE49-F238E27FC236}">
                  <a16:creationId xmlns:a16="http://schemas.microsoft.com/office/drawing/2014/main" id="{725704E8-A583-4906-91D3-6AF67EE9AD42}"/>
                </a:ext>
              </a:extLst>
            </p:cNvPr>
            <p:cNvSpPr/>
            <p:nvPr/>
          </p:nvSpPr>
          <p:spPr>
            <a:xfrm>
              <a:off x="3879450" y="4068907"/>
              <a:ext cx="42486" cy="42486"/>
            </a:xfrm>
            <a:custGeom>
              <a:avLst/>
              <a:gdLst>
                <a:gd name="connsiteX0" fmla="*/ 25702 w 42485"/>
                <a:gd name="connsiteY0" fmla="*/ 15789 h 42485"/>
                <a:gd name="connsiteX1" fmla="*/ 34199 w 42485"/>
                <a:gd name="connsiteY1" fmla="*/ 25703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0038"/>
                    <a:pt x="34199" y="25703"/>
                  </a:cubicBezTo>
                  <a:cubicBezTo>
                    <a:pt x="34199" y="31367"/>
                    <a:pt x="28535" y="34200"/>
                    <a:pt x="24286" y="34200"/>
                  </a:cubicBezTo>
                  <a:cubicBezTo>
                    <a:pt x="18621" y="34200"/>
                    <a:pt x="15789" y="29951"/>
                    <a:pt x="15789" y="24286"/>
                  </a:cubicBezTo>
                  <a:cubicBezTo>
                    <a:pt x="15789" y="18622"/>
                    <a:pt x="20037"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7" name="Freeform: Shape 2536">
              <a:extLst>
                <a:ext uri="{FF2B5EF4-FFF2-40B4-BE49-F238E27FC236}">
                  <a16:creationId xmlns:a16="http://schemas.microsoft.com/office/drawing/2014/main" id="{71096569-4CF9-44EB-98C7-2848F05F84DB}"/>
                </a:ext>
              </a:extLst>
            </p:cNvPr>
            <p:cNvSpPr/>
            <p:nvPr/>
          </p:nvSpPr>
          <p:spPr>
            <a:xfrm>
              <a:off x="3668330" y="4096869"/>
              <a:ext cx="84971" cy="84971"/>
            </a:xfrm>
            <a:custGeom>
              <a:avLst/>
              <a:gdLst>
                <a:gd name="connsiteX0" fmla="*/ 51301 w 84971"/>
                <a:gd name="connsiteY0" fmla="*/ 16151 h 84971"/>
                <a:gd name="connsiteX1" fmla="*/ 81041 w 84971"/>
                <a:gd name="connsiteY1" fmla="*/ 51556 h 84971"/>
                <a:gd name="connsiteX2" fmla="*/ 45636 w 84971"/>
                <a:gd name="connsiteY2" fmla="*/ 81296 h 84971"/>
                <a:gd name="connsiteX3" fmla="*/ 15896 w 84971"/>
                <a:gd name="connsiteY3" fmla="*/ 45891 h 84971"/>
                <a:gd name="connsiteX4" fmla="*/ 51301 w 84971"/>
                <a:gd name="connsiteY4" fmla="*/ 16151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51301" y="16151"/>
                  </a:moveTo>
                  <a:cubicBezTo>
                    <a:pt x="69712" y="17567"/>
                    <a:pt x="82457" y="33145"/>
                    <a:pt x="81041" y="51556"/>
                  </a:cubicBezTo>
                  <a:cubicBezTo>
                    <a:pt x="79625" y="69966"/>
                    <a:pt x="62631" y="82712"/>
                    <a:pt x="45636" y="81296"/>
                  </a:cubicBezTo>
                  <a:cubicBezTo>
                    <a:pt x="27226" y="79879"/>
                    <a:pt x="14480" y="62885"/>
                    <a:pt x="15896" y="45891"/>
                  </a:cubicBezTo>
                  <a:cubicBezTo>
                    <a:pt x="17313" y="27481"/>
                    <a:pt x="34307" y="13319"/>
                    <a:pt x="51301" y="161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8" name="Freeform: Shape 2537">
              <a:extLst>
                <a:ext uri="{FF2B5EF4-FFF2-40B4-BE49-F238E27FC236}">
                  <a16:creationId xmlns:a16="http://schemas.microsoft.com/office/drawing/2014/main" id="{6FFE5B35-2591-4DDF-8D19-9B5387B3B4E9}"/>
                </a:ext>
              </a:extLst>
            </p:cNvPr>
            <p:cNvSpPr/>
            <p:nvPr/>
          </p:nvSpPr>
          <p:spPr>
            <a:xfrm>
              <a:off x="4225000" y="4136610"/>
              <a:ext cx="42486" cy="42486"/>
            </a:xfrm>
            <a:custGeom>
              <a:avLst/>
              <a:gdLst>
                <a:gd name="connsiteX0" fmla="*/ 25702 w 42485"/>
                <a:gd name="connsiteY0" fmla="*/ 16064 h 42485"/>
                <a:gd name="connsiteX1" fmla="*/ 34200 w 42485"/>
                <a:gd name="connsiteY1" fmla="*/ 25977 h 42485"/>
                <a:gd name="connsiteX2" fmla="*/ 24286 w 42485"/>
                <a:gd name="connsiteY2" fmla="*/ 34474 h 42485"/>
                <a:gd name="connsiteX3" fmla="*/ 15789 w 42485"/>
                <a:gd name="connsiteY3" fmla="*/ 24561 h 42485"/>
                <a:gd name="connsiteX4" fmla="*/ 25702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6064"/>
                  </a:moveTo>
                  <a:cubicBezTo>
                    <a:pt x="29951" y="16064"/>
                    <a:pt x="34200" y="20312"/>
                    <a:pt x="34200" y="25977"/>
                  </a:cubicBezTo>
                  <a:cubicBezTo>
                    <a:pt x="34200" y="30225"/>
                    <a:pt x="29951" y="34474"/>
                    <a:pt x="24286" y="34474"/>
                  </a:cubicBezTo>
                  <a:cubicBezTo>
                    <a:pt x="20038" y="34474"/>
                    <a:pt x="15789" y="30225"/>
                    <a:pt x="15789" y="24561"/>
                  </a:cubicBezTo>
                  <a:cubicBezTo>
                    <a:pt x="15789" y="18896"/>
                    <a:pt x="20038" y="14647"/>
                    <a:pt x="25702" y="160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9" name="Freeform: Shape 2538">
              <a:extLst>
                <a:ext uri="{FF2B5EF4-FFF2-40B4-BE49-F238E27FC236}">
                  <a16:creationId xmlns:a16="http://schemas.microsoft.com/office/drawing/2014/main" id="{30E1128A-C8E5-42E4-B92F-BF5F12BE4646}"/>
                </a:ext>
              </a:extLst>
            </p:cNvPr>
            <p:cNvSpPr/>
            <p:nvPr/>
          </p:nvSpPr>
          <p:spPr>
            <a:xfrm>
              <a:off x="3968670" y="4020482"/>
              <a:ext cx="42486" cy="42486"/>
            </a:xfrm>
            <a:custGeom>
              <a:avLst/>
              <a:gdLst>
                <a:gd name="connsiteX0" fmla="*/ 25703 w 42485"/>
                <a:gd name="connsiteY0" fmla="*/ 16063 h 42485"/>
                <a:gd name="connsiteX1" fmla="*/ 34200 w 42485"/>
                <a:gd name="connsiteY1" fmla="*/ 25977 h 42485"/>
                <a:gd name="connsiteX2" fmla="*/ 24286 w 42485"/>
                <a:gd name="connsiteY2" fmla="*/ 34474 h 42485"/>
                <a:gd name="connsiteX3" fmla="*/ 15789 w 42485"/>
                <a:gd name="connsiteY3" fmla="*/ 24561 h 42485"/>
                <a:gd name="connsiteX4" fmla="*/ 25703 w 42485"/>
                <a:gd name="connsiteY4" fmla="*/ 1606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3"/>
                  </a:moveTo>
                  <a:cubicBezTo>
                    <a:pt x="29951" y="16063"/>
                    <a:pt x="34200" y="20312"/>
                    <a:pt x="34200" y="25977"/>
                  </a:cubicBezTo>
                  <a:cubicBezTo>
                    <a:pt x="34200" y="30225"/>
                    <a:pt x="29951" y="34474"/>
                    <a:pt x="24286" y="34474"/>
                  </a:cubicBezTo>
                  <a:cubicBezTo>
                    <a:pt x="20038" y="34474"/>
                    <a:pt x="15789" y="30225"/>
                    <a:pt x="15789" y="24561"/>
                  </a:cubicBezTo>
                  <a:cubicBezTo>
                    <a:pt x="17205" y="18896"/>
                    <a:pt x="21454" y="14647"/>
                    <a:pt x="25703" y="1606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0" name="Freeform: Shape 2539">
              <a:extLst>
                <a:ext uri="{FF2B5EF4-FFF2-40B4-BE49-F238E27FC236}">
                  <a16:creationId xmlns:a16="http://schemas.microsoft.com/office/drawing/2014/main" id="{09B3CCE1-ADF0-42BC-A83E-F47F6DEFE287}"/>
                </a:ext>
              </a:extLst>
            </p:cNvPr>
            <p:cNvSpPr/>
            <p:nvPr/>
          </p:nvSpPr>
          <p:spPr>
            <a:xfrm>
              <a:off x="3642946" y="4002072"/>
              <a:ext cx="42486" cy="42486"/>
            </a:xfrm>
            <a:custGeom>
              <a:avLst/>
              <a:gdLst>
                <a:gd name="connsiteX0" fmla="*/ 25703 w 42485"/>
                <a:gd name="connsiteY0" fmla="*/ 16064 h 42485"/>
                <a:gd name="connsiteX1" fmla="*/ 34200 w 42485"/>
                <a:gd name="connsiteY1" fmla="*/ 25977 h 42485"/>
                <a:gd name="connsiteX2" fmla="*/ 24286 w 42485"/>
                <a:gd name="connsiteY2" fmla="*/ 34474 h 42485"/>
                <a:gd name="connsiteX3" fmla="*/ 15789 w 42485"/>
                <a:gd name="connsiteY3" fmla="*/ 24561 h 42485"/>
                <a:gd name="connsiteX4" fmla="*/ 25703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4"/>
                  </a:moveTo>
                  <a:cubicBezTo>
                    <a:pt x="29951" y="16064"/>
                    <a:pt x="34200" y="20312"/>
                    <a:pt x="34200" y="25977"/>
                  </a:cubicBezTo>
                  <a:cubicBezTo>
                    <a:pt x="34200" y="30225"/>
                    <a:pt x="29951" y="34474"/>
                    <a:pt x="24286" y="34474"/>
                  </a:cubicBezTo>
                  <a:cubicBezTo>
                    <a:pt x="20038" y="34474"/>
                    <a:pt x="15789" y="30225"/>
                    <a:pt x="15789" y="24561"/>
                  </a:cubicBezTo>
                  <a:cubicBezTo>
                    <a:pt x="15789" y="18896"/>
                    <a:pt x="20038" y="14647"/>
                    <a:pt x="25703" y="160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1" name="Freeform: Shape 2540">
              <a:extLst>
                <a:ext uri="{FF2B5EF4-FFF2-40B4-BE49-F238E27FC236}">
                  <a16:creationId xmlns:a16="http://schemas.microsoft.com/office/drawing/2014/main" id="{5D0C9687-DD11-497B-8057-62988B1D92E5}"/>
                </a:ext>
              </a:extLst>
            </p:cNvPr>
            <p:cNvSpPr/>
            <p:nvPr/>
          </p:nvSpPr>
          <p:spPr>
            <a:xfrm>
              <a:off x="3686848" y="4183619"/>
              <a:ext cx="42486" cy="42486"/>
            </a:xfrm>
            <a:custGeom>
              <a:avLst/>
              <a:gdLst>
                <a:gd name="connsiteX0" fmla="*/ 25702 w 42485"/>
                <a:gd name="connsiteY0" fmla="*/ 15789 h 42485"/>
                <a:gd name="connsiteX1" fmla="*/ 34200 w 42485"/>
                <a:gd name="connsiteY1" fmla="*/ 25703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29951" y="15789"/>
                    <a:pt x="34200" y="20038"/>
                    <a:pt x="34200" y="25703"/>
                  </a:cubicBezTo>
                  <a:cubicBezTo>
                    <a:pt x="34200" y="29951"/>
                    <a:pt x="29951" y="34200"/>
                    <a:pt x="24286" y="34200"/>
                  </a:cubicBezTo>
                  <a:cubicBezTo>
                    <a:pt x="20038" y="34200"/>
                    <a:pt x="15789" y="29951"/>
                    <a:pt x="15789" y="24286"/>
                  </a:cubicBezTo>
                  <a:cubicBezTo>
                    <a:pt x="17205" y="18622"/>
                    <a:pt x="21454"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2" name="Freeform: Shape 2541">
              <a:extLst>
                <a:ext uri="{FF2B5EF4-FFF2-40B4-BE49-F238E27FC236}">
                  <a16:creationId xmlns:a16="http://schemas.microsoft.com/office/drawing/2014/main" id="{313B34B9-E5F2-4DCE-89C8-E373526B4F57}"/>
                </a:ext>
              </a:extLst>
            </p:cNvPr>
            <p:cNvSpPr/>
            <p:nvPr/>
          </p:nvSpPr>
          <p:spPr>
            <a:xfrm>
              <a:off x="4080180" y="4180787"/>
              <a:ext cx="42486" cy="42486"/>
            </a:xfrm>
            <a:custGeom>
              <a:avLst/>
              <a:gdLst>
                <a:gd name="connsiteX0" fmla="*/ 23238 w 42485"/>
                <a:gd name="connsiteY0" fmla="*/ 15789 h 42485"/>
                <a:gd name="connsiteX1" fmla="*/ 28903 w 42485"/>
                <a:gd name="connsiteY1" fmla="*/ 22870 h 42485"/>
                <a:gd name="connsiteX2" fmla="*/ 21822 w 42485"/>
                <a:gd name="connsiteY2" fmla="*/ 28535 h 42485"/>
                <a:gd name="connsiteX3" fmla="*/ 16157 w 42485"/>
                <a:gd name="connsiteY3" fmla="*/ 21454 h 42485"/>
                <a:gd name="connsiteX4" fmla="*/ 2323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5789"/>
                  </a:moveTo>
                  <a:cubicBezTo>
                    <a:pt x="27487" y="15789"/>
                    <a:pt x="30319" y="20037"/>
                    <a:pt x="28903" y="22870"/>
                  </a:cubicBezTo>
                  <a:cubicBezTo>
                    <a:pt x="28903" y="27118"/>
                    <a:pt x="24654" y="29951"/>
                    <a:pt x="21822" y="28535"/>
                  </a:cubicBezTo>
                  <a:cubicBezTo>
                    <a:pt x="17574" y="28535"/>
                    <a:pt x="14741" y="24286"/>
                    <a:pt x="16157" y="21454"/>
                  </a:cubicBezTo>
                  <a:cubicBezTo>
                    <a:pt x="16157" y="18621"/>
                    <a:pt x="18990" y="15789"/>
                    <a:pt x="2323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3" name="Freeform: Shape 2542">
              <a:extLst>
                <a:ext uri="{FF2B5EF4-FFF2-40B4-BE49-F238E27FC236}">
                  <a16:creationId xmlns:a16="http://schemas.microsoft.com/office/drawing/2014/main" id="{587408DA-A476-4B32-88D0-197CCB15A7CF}"/>
                </a:ext>
              </a:extLst>
            </p:cNvPr>
            <p:cNvSpPr/>
            <p:nvPr/>
          </p:nvSpPr>
          <p:spPr>
            <a:xfrm>
              <a:off x="3465922" y="4659459"/>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7205" y="46945"/>
                    <a:pt x="25703"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4" name="Freeform: Shape 2543">
              <a:extLst>
                <a:ext uri="{FF2B5EF4-FFF2-40B4-BE49-F238E27FC236}">
                  <a16:creationId xmlns:a16="http://schemas.microsoft.com/office/drawing/2014/main" id="{104756DD-12C6-4BA8-88C4-BF6C354F5501}"/>
                </a:ext>
              </a:extLst>
            </p:cNvPr>
            <p:cNvSpPr/>
            <p:nvPr/>
          </p:nvSpPr>
          <p:spPr>
            <a:xfrm>
              <a:off x="4595935" y="4407377"/>
              <a:ext cx="70810" cy="70810"/>
            </a:xfrm>
            <a:custGeom>
              <a:avLst/>
              <a:gdLst>
                <a:gd name="connsiteX0" fmla="*/ 41388 w 70809"/>
                <a:gd name="connsiteY0" fmla="*/ 66772 h 70809"/>
                <a:gd name="connsiteX1" fmla="*/ 66879 w 70809"/>
                <a:gd name="connsiteY1" fmla="*/ 41280 h 70809"/>
                <a:gd name="connsiteX2" fmla="*/ 41388 w 70809"/>
                <a:gd name="connsiteY2" fmla="*/ 15789 h 70809"/>
                <a:gd name="connsiteX3" fmla="*/ 15897 w 70809"/>
                <a:gd name="connsiteY3" fmla="*/ 41280 h 70809"/>
                <a:gd name="connsiteX4" fmla="*/ 41388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388" y="66772"/>
                  </a:moveTo>
                  <a:cubicBezTo>
                    <a:pt x="55550" y="66772"/>
                    <a:pt x="66879" y="55442"/>
                    <a:pt x="66879" y="41280"/>
                  </a:cubicBezTo>
                  <a:cubicBezTo>
                    <a:pt x="66879" y="27118"/>
                    <a:pt x="55550" y="15789"/>
                    <a:pt x="41388" y="15789"/>
                  </a:cubicBezTo>
                  <a:cubicBezTo>
                    <a:pt x="27226" y="15789"/>
                    <a:pt x="15897" y="27118"/>
                    <a:pt x="15897" y="41280"/>
                  </a:cubicBezTo>
                  <a:cubicBezTo>
                    <a:pt x="14481" y="54026"/>
                    <a:pt x="27226" y="66772"/>
                    <a:pt x="41388"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5" name="Freeform: Shape 2544">
              <a:extLst>
                <a:ext uri="{FF2B5EF4-FFF2-40B4-BE49-F238E27FC236}">
                  <a16:creationId xmlns:a16="http://schemas.microsoft.com/office/drawing/2014/main" id="{AAFC6ECF-B542-4997-9A58-29D631809D56}"/>
                </a:ext>
              </a:extLst>
            </p:cNvPr>
            <p:cNvSpPr/>
            <p:nvPr/>
          </p:nvSpPr>
          <p:spPr>
            <a:xfrm>
              <a:off x="3849710" y="3829571"/>
              <a:ext cx="42486" cy="42486"/>
            </a:xfrm>
            <a:custGeom>
              <a:avLst/>
              <a:gdLst>
                <a:gd name="connsiteX0" fmla="*/ 25702 w 42485"/>
                <a:gd name="connsiteY0" fmla="*/ 15789 h 42485"/>
                <a:gd name="connsiteX1" fmla="*/ 34200 w 42485"/>
                <a:gd name="connsiteY1" fmla="*/ 25703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29951" y="15789"/>
                    <a:pt x="34200" y="20038"/>
                    <a:pt x="34200" y="25703"/>
                  </a:cubicBezTo>
                  <a:cubicBezTo>
                    <a:pt x="34200" y="29951"/>
                    <a:pt x="29951" y="34200"/>
                    <a:pt x="24286" y="34200"/>
                  </a:cubicBezTo>
                  <a:cubicBezTo>
                    <a:pt x="20038" y="34200"/>
                    <a:pt x="15789" y="29951"/>
                    <a:pt x="15789" y="24286"/>
                  </a:cubicBezTo>
                  <a:cubicBezTo>
                    <a:pt x="15789" y="20038"/>
                    <a:pt x="20038"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6" name="Freeform: Shape 2545">
              <a:extLst>
                <a:ext uri="{FF2B5EF4-FFF2-40B4-BE49-F238E27FC236}">
                  <a16:creationId xmlns:a16="http://schemas.microsoft.com/office/drawing/2014/main" id="{858E4BEB-0C0D-47C4-A172-67FFFB736CF1}"/>
                </a:ext>
              </a:extLst>
            </p:cNvPr>
            <p:cNvSpPr/>
            <p:nvPr/>
          </p:nvSpPr>
          <p:spPr>
            <a:xfrm>
              <a:off x="3406442" y="4030670"/>
              <a:ext cx="42486" cy="42486"/>
            </a:xfrm>
            <a:custGeom>
              <a:avLst/>
              <a:gdLst>
                <a:gd name="connsiteX0" fmla="*/ 25702 w 42485"/>
                <a:gd name="connsiteY0" fmla="*/ 15789 h 42485"/>
                <a:gd name="connsiteX1" fmla="*/ 34200 w 42485"/>
                <a:gd name="connsiteY1" fmla="*/ 25702 h 42485"/>
                <a:gd name="connsiteX2" fmla="*/ 24286 w 42485"/>
                <a:gd name="connsiteY2" fmla="*/ 34199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29951" y="15789"/>
                    <a:pt x="34200" y="20037"/>
                    <a:pt x="34200" y="25702"/>
                  </a:cubicBezTo>
                  <a:cubicBezTo>
                    <a:pt x="34200" y="29951"/>
                    <a:pt x="29951" y="34199"/>
                    <a:pt x="24286" y="34199"/>
                  </a:cubicBezTo>
                  <a:cubicBezTo>
                    <a:pt x="20038" y="34199"/>
                    <a:pt x="15789" y="29951"/>
                    <a:pt x="15789" y="24286"/>
                  </a:cubicBezTo>
                  <a:cubicBezTo>
                    <a:pt x="15789" y="18621"/>
                    <a:pt x="20038"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7" name="Freeform: Shape 2546">
              <a:extLst>
                <a:ext uri="{FF2B5EF4-FFF2-40B4-BE49-F238E27FC236}">
                  <a16:creationId xmlns:a16="http://schemas.microsoft.com/office/drawing/2014/main" id="{DF76F185-55DB-485F-B751-8E2AD440D31B}"/>
                </a:ext>
              </a:extLst>
            </p:cNvPr>
            <p:cNvSpPr/>
            <p:nvPr/>
          </p:nvSpPr>
          <p:spPr>
            <a:xfrm>
              <a:off x="3291730" y="4390383"/>
              <a:ext cx="42486" cy="42486"/>
            </a:xfrm>
            <a:custGeom>
              <a:avLst/>
              <a:gdLst>
                <a:gd name="connsiteX0" fmla="*/ 25702 w 42485"/>
                <a:gd name="connsiteY0" fmla="*/ 15789 h 42485"/>
                <a:gd name="connsiteX1" fmla="*/ 34199 w 42485"/>
                <a:gd name="connsiteY1" fmla="*/ 25703 h 42485"/>
                <a:gd name="connsiteX2" fmla="*/ 24286 w 42485"/>
                <a:gd name="connsiteY2" fmla="*/ 34199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29951" y="15789"/>
                    <a:pt x="34199" y="20037"/>
                    <a:pt x="34199" y="25703"/>
                  </a:cubicBezTo>
                  <a:cubicBezTo>
                    <a:pt x="34199" y="29951"/>
                    <a:pt x="29951" y="34199"/>
                    <a:pt x="24286" y="34199"/>
                  </a:cubicBezTo>
                  <a:cubicBezTo>
                    <a:pt x="20037" y="34199"/>
                    <a:pt x="15789" y="29951"/>
                    <a:pt x="15789" y="24286"/>
                  </a:cubicBezTo>
                  <a:cubicBezTo>
                    <a:pt x="17205" y="18622"/>
                    <a:pt x="21454"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8" name="Freeform: Shape 2547">
              <a:extLst>
                <a:ext uri="{FF2B5EF4-FFF2-40B4-BE49-F238E27FC236}">
                  <a16:creationId xmlns:a16="http://schemas.microsoft.com/office/drawing/2014/main" id="{316ECB3D-6B4F-4D0D-83D1-3F9B2B248915}"/>
                </a:ext>
              </a:extLst>
            </p:cNvPr>
            <p:cNvSpPr/>
            <p:nvPr/>
          </p:nvSpPr>
          <p:spPr>
            <a:xfrm>
              <a:off x="4189227" y="4054745"/>
              <a:ext cx="42486" cy="42486"/>
            </a:xfrm>
            <a:custGeom>
              <a:avLst/>
              <a:gdLst>
                <a:gd name="connsiteX0" fmla="*/ 23238 w 42485"/>
                <a:gd name="connsiteY0" fmla="*/ 15789 h 42485"/>
                <a:gd name="connsiteX1" fmla="*/ 28903 w 42485"/>
                <a:gd name="connsiteY1" fmla="*/ 22870 h 42485"/>
                <a:gd name="connsiteX2" fmla="*/ 21822 w 42485"/>
                <a:gd name="connsiteY2" fmla="*/ 28535 h 42485"/>
                <a:gd name="connsiteX3" fmla="*/ 16157 w 42485"/>
                <a:gd name="connsiteY3" fmla="*/ 21454 h 42485"/>
                <a:gd name="connsiteX4" fmla="*/ 2323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5789"/>
                  </a:moveTo>
                  <a:cubicBezTo>
                    <a:pt x="27487" y="15789"/>
                    <a:pt x="30319" y="20038"/>
                    <a:pt x="28903" y="22870"/>
                  </a:cubicBezTo>
                  <a:cubicBezTo>
                    <a:pt x="28903" y="27119"/>
                    <a:pt x="24655" y="29951"/>
                    <a:pt x="21822" y="28535"/>
                  </a:cubicBezTo>
                  <a:cubicBezTo>
                    <a:pt x="17574" y="28535"/>
                    <a:pt x="14741" y="24286"/>
                    <a:pt x="16157" y="21454"/>
                  </a:cubicBezTo>
                  <a:cubicBezTo>
                    <a:pt x="16157" y="18622"/>
                    <a:pt x="20406" y="15789"/>
                    <a:pt x="2323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9" name="Freeform: Shape 2548">
              <a:extLst>
                <a:ext uri="{FF2B5EF4-FFF2-40B4-BE49-F238E27FC236}">
                  <a16:creationId xmlns:a16="http://schemas.microsoft.com/office/drawing/2014/main" id="{FE7E787C-F8C3-45A3-A491-A2D465CE74CB}"/>
                </a:ext>
              </a:extLst>
            </p:cNvPr>
            <p:cNvSpPr/>
            <p:nvPr/>
          </p:nvSpPr>
          <p:spPr>
            <a:xfrm>
              <a:off x="3371037" y="4135468"/>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29" y="55442"/>
                    <a:pt x="55442" y="46945"/>
                    <a:pt x="55442" y="35616"/>
                  </a:cubicBezTo>
                  <a:cubicBezTo>
                    <a:pt x="55442" y="25703"/>
                    <a:pt x="46945" y="15789"/>
                    <a:pt x="35616" y="15789"/>
                  </a:cubicBezTo>
                  <a:cubicBezTo>
                    <a:pt x="25702" y="15789"/>
                    <a:pt x="15789" y="24286"/>
                    <a:pt x="15789" y="35616"/>
                  </a:cubicBezTo>
                  <a:cubicBezTo>
                    <a:pt x="15789" y="46945"/>
                    <a:pt x="24286"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0" name="Freeform: Shape 2549">
              <a:extLst>
                <a:ext uri="{FF2B5EF4-FFF2-40B4-BE49-F238E27FC236}">
                  <a16:creationId xmlns:a16="http://schemas.microsoft.com/office/drawing/2014/main" id="{C5C73519-3AF0-46A9-AFA2-5590D9FDD6A4}"/>
                </a:ext>
              </a:extLst>
            </p:cNvPr>
            <p:cNvSpPr/>
            <p:nvPr/>
          </p:nvSpPr>
          <p:spPr>
            <a:xfrm>
              <a:off x="3429101" y="3900381"/>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29" y="55442"/>
                    <a:pt x="55442" y="46945"/>
                    <a:pt x="55442" y="35616"/>
                  </a:cubicBezTo>
                  <a:cubicBezTo>
                    <a:pt x="55442" y="25703"/>
                    <a:pt x="46945" y="15789"/>
                    <a:pt x="35616" y="15789"/>
                  </a:cubicBezTo>
                  <a:cubicBezTo>
                    <a:pt x="25702" y="15789"/>
                    <a:pt x="15789" y="24286"/>
                    <a:pt x="15789" y="35616"/>
                  </a:cubicBezTo>
                  <a:cubicBezTo>
                    <a:pt x="15789" y="46945"/>
                    <a:pt x="25702"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1" name="Freeform: Shape 2550">
              <a:extLst>
                <a:ext uri="{FF2B5EF4-FFF2-40B4-BE49-F238E27FC236}">
                  <a16:creationId xmlns:a16="http://schemas.microsoft.com/office/drawing/2014/main" id="{11D267A9-7863-4AFE-89E2-60828B381BE2}"/>
                </a:ext>
              </a:extLst>
            </p:cNvPr>
            <p:cNvSpPr/>
            <p:nvPr/>
          </p:nvSpPr>
          <p:spPr>
            <a:xfrm>
              <a:off x="4475511" y="5029085"/>
              <a:ext cx="56648" cy="56648"/>
            </a:xfrm>
            <a:custGeom>
              <a:avLst/>
              <a:gdLst>
                <a:gd name="connsiteX0" fmla="*/ 32938 w 56647"/>
                <a:gd name="connsiteY0" fmla="*/ 49777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7"/>
                  </a:moveTo>
                  <a:cubicBezTo>
                    <a:pt x="42852" y="49777"/>
                    <a:pt x="49933" y="41280"/>
                    <a:pt x="49933" y="32783"/>
                  </a:cubicBezTo>
                  <a:cubicBezTo>
                    <a:pt x="49933" y="22870"/>
                    <a:pt x="41435" y="15789"/>
                    <a:pt x="32938" y="15789"/>
                  </a:cubicBezTo>
                  <a:cubicBezTo>
                    <a:pt x="23025" y="15789"/>
                    <a:pt x="15944" y="24286"/>
                    <a:pt x="15944" y="32783"/>
                  </a:cubicBezTo>
                  <a:cubicBezTo>
                    <a:pt x="14528" y="41280"/>
                    <a:pt x="23025" y="49777"/>
                    <a:pt x="32938"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2" name="Freeform: Shape 2551">
              <a:extLst>
                <a:ext uri="{FF2B5EF4-FFF2-40B4-BE49-F238E27FC236}">
                  <a16:creationId xmlns:a16="http://schemas.microsoft.com/office/drawing/2014/main" id="{36AFD172-85C5-45B1-9C78-480BBF37B74C}"/>
                </a:ext>
              </a:extLst>
            </p:cNvPr>
            <p:cNvSpPr/>
            <p:nvPr/>
          </p:nvSpPr>
          <p:spPr>
            <a:xfrm>
              <a:off x="4698008" y="4522088"/>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8" y="15789"/>
                    <a:pt x="15789" y="20038"/>
                    <a:pt x="15789" y="25703"/>
                  </a:cubicBezTo>
                  <a:cubicBezTo>
                    <a:pt x="17205" y="31367"/>
                    <a:pt x="21454"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3" name="Freeform: Shape 2552">
              <a:extLst>
                <a:ext uri="{FF2B5EF4-FFF2-40B4-BE49-F238E27FC236}">
                  <a16:creationId xmlns:a16="http://schemas.microsoft.com/office/drawing/2014/main" id="{A3E1C295-F27F-4F1D-A991-C230B976913A}"/>
                </a:ext>
              </a:extLst>
            </p:cNvPr>
            <p:cNvSpPr/>
            <p:nvPr/>
          </p:nvSpPr>
          <p:spPr>
            <a:xfrm>
              <a:off x="4399192" y="4308244"/>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7"/>
                    <a:pt x="31367" y="15789"/>
                    <a:pt x="25702" y="15789"/>
                  </a:cubicBezTo>
                  <a:cubicBezTo>
                    <a:pt x="20038" y="15789"/>
                    <a:pt x="15789" y="20037"/>
                    <a:pt x="15789" y="25702"/>
                  </a:cubicBezTo>
                  <a:cubicBezTo>
                    <a:pt x="15789" y="31367"/>
                    <a:pt x="20038"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4" name="Freeform: Shape 2553">
              <a:extLst>
                <a:ext uri="{FF2B5EF4-FFF2-40B4-BE49-F238E27FC236}">
                  <a16:creationId xmlns:a16="http://schemas.microsoft.com/office/drawing/2014/main" id="{433B18EB-349D-4549-B27B-90BE8CF98816}"/>
                </a:ext>
              </a:extLst>
            </p:cNvPr>
            <p:cNvSpPr/>
            <p:nvPr/>
          </p:nvSpPr>
          <p:spPr>
            <a:xfrm>
              <a:off x="3518321" y="4796830"/>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7"/>
                    <a:pt x="31367" y="15789"/>
                    <a:pt x="25702" y="15789"/>
                  </a:cubicBezTo>
                  <a:cubicBezTo>
                    <a:pt x="20037" y="15789"/>
                    <a:pt x="15789" y="20037"/>
                    <a:pt x="15789" y="25702"/>
                  </a:cubicBezTo>
                  <a:cubicBezTo>
                    <a:pt x="17205" y="31367"/>
                    <a:pt x="21454"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5" name="Freeform: Shape 2554">
              <a:extLst>
                <a:ext uri="{FF2B5EF4-FFF2-40B4-BE49-F238E27FC236}">
                  <a16:creationId xmlns:a16="http://schemas.microsoft.com/office/drawing/2014/main" id="{1B66F26D-BE13-4E8F-9897-83B806CE9F22}"/>
                </a:ext>
              </a:extLst>
            </p:cNvPr>
            <p:cNvSpPr/>
            <p:nvPr/>
          </p:nvSpPr>
          <p:spPr>
            <a:xfrm>
              <a:off x="3637281" y="4966772"/>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7"/>
                    <a:pt x="31367" y="15789"/>
                    <a:pt x="25702" y="15789"/>
                  </a:cubicBezTo>
                  <a:cubicBezTo>
                    <a:pt x="20038" y="15789"/>
                    <a:pt x="15789" y="20037"/>
                    <a:pt x="15789" y="25702"/>
                  </a:cubicBezTo>
                  <a:cubicBezTo>
                    <a:pt x="17205" y="31367"/>
                    <a:pt x="21454"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6" name="Freeform: Shape 2555">
              <a:extLst>
                <a:ext uri="{FF2B5EF4-FFF2-40B4-BE49-F238E27FC236}">
                  <a16:creationId xmlns:a16="http://schemas.microsoft.com/office/drawing/2014/main" id="{745590C6-29DD-4A06-A417-67F3411DDD68}"/>
                </a:ext>
              </a:extLst>
            </p:cNvPr>
            <p:cNvSpPr/>
            <p:nvPr/>
          </p:nvSpPr>
          <p:spPr>
            <a:xfrm>
              <a:off x="3967254" y="5704608"/>
              <a:ext cx="56648" cy="56648"/>
            </a:xfrm>
            <a:custGeom>
              <a:avLst/>
              <a:gdLst>
                <a:gd name="connsiteX0" fmla="*/ 32783 w 56647"/>
                <a:gd name="connsiteY0" fmla="*/ 15789 h 56647"/>
                <a:gd name="connsiteX1" fmla="*/ 46945 w 56647"/>
                <a:gd name="connsiteY1" fmla="*/ 32783 h 56647"/>
                <a:gd name="connsiteX2" fmla="*/ 29951 w 56647"/>
                <a:gd name="connsiteY2" fmla="*/ 46945 h 56647"/>
                <a:gd name="connsiteX3" fmla="*/ 15789 w 56647"/>
                <a:gd name="connsiteY3" fmla="*/ 29951 h 56647"/>
                <a:gd name="connsiteX4" fmla="*/ 32783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15789"/>
                  </a:moveTo>
                  <a:cubicBezTo>
                    <a:pt x="41280" y="17205"/>
                    <a:pt x="48361" y="24286"/>
                    <a:pt x="46945" y="32783"/>
                  </a:cubicBezTo>
                  <a:cubicBezTo>
                    <a:pt x="45529" y="41281"/>
                    <a:pt x="38448" y="48362"/>
                    <a:pt x="29951" y="46945"/>
                  </a:cubicBezTo>
                  <a:cubicBezTo>
                    <a:pt x="21454" y="45529"/>
                    <a:pt x="15789" y="38448"/>
                    <a:pt x="15789" y="29951"/>
                  </a:cubicBezTo>
                  <a:cubicBezTo>
                    <a:pt x="17205" y="21454"/>
                    <a:pt x="24286" y="15789"/>
                    <a:pt x="32783"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7" name="Freeform: Shape 2556">
              <a:extLst>
                <a:ext uri="{FF2B5EF4-FFF2-40B4-BE49-F238E27FC236}">
                  <a16:creationId xmlns:a16="http://schemas.microsoft.com/office/drawing/2014/main" id="{83CEFBDD-6FA2-4E8B-87E8-D7829A4E9E32}"/>
                </a:ext>
              </a:extLst>
            </p:cNvPr>
            <p:cNvSpPr/>
            <p:nvPr/>
          </p:nvSpPr>
          <p:spPr>
            <a:xfrm>
              <a:off x="3601695" y="5342063"/>
              <a:ext cx="56648" cy="56648"/>
            </a:xfrm>
            <a:custGeom>
              <a:avLst/>
              <a:gdLst>
                <a:gd name="connsiteX0" fmla="*/ 32965 w 56647"/>
                <a:gd name="connsiteY0" fmla="*/ 15789 h 56647"/>
                <a:gd name="connsiteX1" fmla="*/ 47127 w 56647"/>
                <a:gd name="connsiteY1" fmla="*/ 32783 h 56647"/>
                <a:gd name="connsiteX2" fmla="*/ 30132 w 56647"/>
                <a:gd name="connsiteY2" fmla="*/ 46945 h 56647"/>
                <a:gd name="connsiteX3" fmla="*/ 15970 w 56647"/>
                <a:gd name="connsiteY3" fmla="*/ 29951 h 56647"/>
                <a:gd name="connsiteX4" fmla="*/ 32965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789"/>
                  </a:moveTo>
                  <a:cubicBezTo>
                    <a:pt x="41462" y="17205"/>
                    <a:pt x="48543" y="24286"/>
                    <a:pt x="47127" y="32783"/>
                  </a:cubicBezTo>
                  <a:cubicBezTo>
                    <a:pt x="45710" y="41280"/>
                    <a:pt x="38630" y="46945"/>
                    <a:pt x="30132" y="46945"/>
                  </a:cubicBezTo>
                  <a:cubicBezTo>
                    <a:pt x="21635" y="45529"/>
                    <a:pt x="14554" y="38448"/>
                    <a:pt x="15970" y="29951"/>
                  </a:cubicBezTo>
                  <a:cubicBezTo>
                    <a:pt x="15970" y="21454"/>
                    <a:pt x="24468" y="15789"/>
                    <a:pt x="32965"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8" name="Freeform: Shape 2557">
              <a:extLst>
                <a:ext uri="{FF2B5EF4-FFF2-40B4-BE49-F238E27FC236}">
                  <a16:creationId xmlns:a16="http://schemas.microsoft.com/office/drawing/2014/main" id="{E2A378C6-A8D8-41C8-8BC3-36657F7F576D}"/>
                </a:ext>
              </a:extLst>
            </p:cNvPr>
            <p:cNvSpPr/>
            <p:nvPr/>
          </p:nvSpPr>
          <p:spPr>
            <a:xfrm>
              <a:off x="3637099" y="5087149"/>
              <a:ext cx="56648" cy="56648"/>
            </a:xfrm>
            <a:custGeom>
              <a:avLst/>
              <a:gdLst>
                <a:gd name="connsiteX0" fmla="*/ 32965 w 56647"/>
                <a:gd name="connsiteY0" fmla="*/ 15789 h 56647"/>
                <a:gd name="connsiteX1" fmla="*/ 47127 w 56647"/>
                <a:gd name="connsiteY1" fmla="*/ 32783 h 56647"/>
                <a:gd name="connsiteX2" fmla="*/ 30132 w 56647"/>
                <a:gd name="connsiteY2" fmla="*/ 46945 h 56647"/>
                <a:gd name="connsiteX3" fmla="*/ 15970 w 56647"/>
                <a:gd name="connsiteY3" fmla="*/ 29951 h 56647"/>
                <a:gd name="connsiteX4" fmla="*/ 32965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789"/>
                  </a:moveTo>
                  <a:cubicBezTo>
                    <a:pt x="41462" y="17205"/>
                    <a:pt x="47127" y="24286"/>
                    <a:pt x="47127" y="32783"/>
                  </a:cubicBezTo>
                  <a:cubicBezTo>
                    <a:pt x="45710" y="41280"/>
                    <a:pt x="38630" y="46945"/>
                    <a:pt x="30132" y="46945"/>
                  </a:cubicBezTo>
                  <a:cubicBezTo>
                    <a:pt x="21635" y="45529"/>
                    <a:pt x="14554" y="38448"/>
                    <a:pt x="15970" y="29951"/>
                  </a:cubicBezTo>
                  <a:cubicBezTo>
                    <a:pt x="17387" y="21454"/>
                    <a:pt x="24468" y="15789"/>
                    <a:pt x="32965"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9" name="Freeform: Shape 2558">
              <a:extLst>
                <a:ext uri="{FF2B5EF4-FFF2-40B4-BE49-F238E27FC236}">
                  <a16:creationId xmlns:a16="http://schemas.microsoft.com/office/drawing/2014/main" id="{E211A09A-1663-4E52-B4D8-91FBF56D0EA1}"/>
                </a:ext>
              </a:extLst>
            </p:cNvPr>
            <p:cNvSpPr/>
            <p:nvPr/>
          </p:nvSpPr>
          <p:spPr>
            <a:xfrm>
              <a:off x="3610373" y="5224519"/>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8"/>
                    <a:pt x="31367" y="15789"/>
                    <a:pt x="25702" y="15789"/>
                  </a:cubicBezTo>
                  <a:cubicBezTo>
                    <a:pt x="20037" y="15789"/>
                    <a:pt x="15789" y="20038"/>
                    <a:pt x="15789" y="25703"/>
                  </a:cubicBezTo>
                  <a:cubicBezTo>
                    <a:pt x="15789" y="31367"/>
                    <a:pt x="21454"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0" name="Freeform: Shape 2559">
              <a:extLst>
                <a:ext uri="{FF2B5EF4-FFF2-40B4-BE49-F238E27FC236}">
                  <a16:creationId xmlns:a16="http://schemas.microsoft.com/office/drawing/2014/main" id="{2E287B20-8B73-4D4E-B928-3B5A12CDA7A3}"/>
                </a:ext>
              </a:extLst>
            </p:cNvPr>
            <p:cNvSpPr/>
            <p:nvPr/>
          </p:nvSpPr>
          <p:spPr>
            <a:xfrm>
              <a:off x="4053641" y="5560156"/>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8" y="15789"/>
                    <a:pt x="15789" y="20037"/>
                    <a:pt x="15789" y="25702"/>
                  </a:cubicBezTo>
                  <a:cubicBezTo>
                    <a:pt x="17205" y="31367"/>
                    <a:pt x="21454"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1" name="Freeform: Shape 2560">
              <a:extLst>
                <a:ext uri="{FF2B5EF4-FFF2-40B4-BE49-F238E27FC236}">
                  <a16:creationId xmlns:a16="http://schemas.microsoft.com/office/drawing/2014/main" id="{9110DDF8-E53F-4C57-973D-4DFAD545B6CC}"/>
                </a:ext>
              </a:extLst>
            </p:cNvPr>
            <p:cNvSpPr/>
            <p:nvPr/>
          </p:nvSpPr>
          <p:spPr>
            <a:xfrm>
              <a:off x="3988496" y="5605474"/>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8"/>
                    <a:pt x="31367" y="15789"/>
                    <a:pt x="25702" y="15789"/>
                  </a:cubicBezTo>
                  <a:cubicBezTo>
                    <a:pt x="20038" y="15789"/>
                    <a:pt x="15789" y="20038"/>
                    <a:pt x="15789" y="25703"/>
                  </a:cubicBezTo>
                  <a:cubicBezTo>
                    <a:pt x="15789" y="31367"/>
                    <a:pt x="20038"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2" name="Freeform: Shape 2561">
              <a:extLst>
                <a:ext uri="{FF2B5EF4-FFF2-40B4-BE49-F238E27FC236}">
                  <a16:creationId xmlns:a16="http://schemas.microsoft.com/office/drawing/2014/main" id="{D154688B-66C0-4DF3-918F-08841E919870}"/>
                </a:ext>
              </a:extLst>
            </p:cNvPr>
            <p:cNvSpPr/>
            <p:nvPr/>
          </p:nvSpPr>
          <p:spPr>
            <a:xfrm>
              <a:off x="4311388" y="5176369"/>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7"/>
                    <a:pt x="31367" y="15789"/>
                    <a:pt x="25702" y="15789"/>
                  </a:cubicBezTo>
                  <a:cubicBezTo>
                    <a:pt x="20037" y="15789"/>
                    <a:pt x="15789" y="20037"/>
                    <a:pt x="15789" y="25703"/>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3" name="Freeform: Shape 2562">
              <a:extLst>
                <a:ext uri="{FF2B5EF4-FFF2-40B4-BE49-F238E27FC236}">
                  <a16:creationId xmlns:a16="http://schemas.microsoft.com/office/drawing/2014/main" id="{3F2C5A06-9428-4F8D-A36B-DC767B5549B9}"/>
                </a:ext>
              </a:extLst>
            </p:cNvPr>
            <p:cNvSpPr/>
            <p:nvPr/>
          </p:nvSpPr>
          <p:spPr>
            <a:xfrm>
              <a:off x="3897860" y="5686197"/>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5789" y="46945"/>
                    <a:pt x="25703"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4" name="Freeform: Shape 2563">
              <a:extLst>
                <a:ext uri="{FF2B5EF4-FFF2-40B4-BE49-F238E27FC236}">
                  <a16:creationId xmlns:a16="http://schemas.microsoft.com/office/drawing/2014/main" id="{76DA7FAA-E17B-40FE-896F-0A2A7E82ECBC}"/>
                </a:ext>
              </a:extLst>
            </p:cNvPr>
            <p:cNvSpPr/>
            <p:nvPr/>
          </p:nvSpPr>
          <p:spPr>
            <a:xfrm>
              <a:off x="3947427" y="3917375"/>
              <a:ext cx="42486" cy="42486"/>
            </a:xfrm>
            <a:custGeom>
              <a:avLst/>
              <a:gdLst>
                <a:gd name="connsiteX0" fmla="*/ 24286 w 42485"/>
                <a:gd name="connsiteY0" fmla="*/ 15789 h 42485"/>
                <a:gd name="connsiteX1" fmla="*/ 31367 w 42485"/>
                <a:gd name="connsiteY1" fmla="*/ 24286 h 42485"/>
                <a:gd name="connsiteX2" fmla="*/ 22870 w 42485"/>
                <a:gd name="connsiteY2" fmla="*/ 31367 h 42485"/>
                <a:gd name="connsiteX3" fmla="*/ 15789 w 42485"/>
                <a:gd name="connsiteY3" fmla="*/ 22870 h 42485"/>
                <a:gd name="connsiteX4" fmla="*/ 24286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15789"/>
                  </a:moveTo>
                  <a:cubicBezTo>
                    <a:pt x="28535" y="15789"/>
                    <a:pt x="31367" y="20037"/>
                    <a:pt x="31367" y="24286"/>
                  </a:cubicBezTo>
                  <a:cubicBezTo>
                    <a:pt x="31367" y="28535"/>
                    <a:pt x="27119" y="31367"/>
                    <a:pt x="22870" y="31367"/>
                  </a:cubicBezTo>
                  <a:cubicBezTo>
                    <a:pt x="18622" y="31367"/>
                    <a:pt x="15789" y="27118"/>
                    <a:pt x="15789" y="22870"/>
                  </a:cubicBezTo>
                  <a:cubicBezTo>
                    <a:pt x="17205" y="18621"/>
                    <a:pt x="20038" y="15789"/>
                    <a:pt x="24286"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5" name="Freeform: Shape 2564">
              <a:extLst>
                <a:ext uri="{FF2B5EF4-FFF2-40B4-BE49-F238E27FC236}">
                  <a16:creationId xmlns:a16="http://schemas.microsoft.com/office/drawing/2014/main" id="{971A2292-907A-4FEE-B237-33544A4F9AD4}"/>
                </a:ext>
              </a:extLst>
            </p:cNvPr>
            <p:cNvSpPr/>
            <p:nvPr/>
          </p:nvSpPr>
          <p:spPr>
            <a:xfrm>
              <a:off x="3485748" y="3830987"/>
              <a:ext cx="42486" cy="42486"/>
            </a:xfrm>
            <a:custGeom>
              <a:avLst/>
              <a:gdLst>
                <a:gd name="connsiteX0" fmla="*/ 24286 w 42485"/>
                <a:gd name="connsiteY0" fmla="*/ 15789 h 42485"/>
                <a:gd name="connsiteX1" fmla="*/ 31367 w 42485"/>
                <a:gd name="connsiteY1" fmla="*/ 24286 h 42485"/>
                <a:gd name="connsiteX2" fmla="*/ 22870 w 42485"/>
                <a:gd name="connsiteY2" fmla="*/ 31367 h 42485"/>
                <a:gd name="connsiteX3" fmla="*/ 15789 w 42485"/>
                <a:gd name="connsiteY3" fmla="*/ 22870 h 42485"/>
                <a:gd name="connsiteX4" fmla="*/ 24286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15789"/>
                  </a:moveTo>
                  <a:cubicBezTo>
                    <a:pt x="28535" y="15789"/>
                    <a:pt x="31367" y="20038"/>
                    <a:pt x="31367" y="24286"/>
                  </a:cubicBezTo>
                  <a:cubicBezTo>
                    <a:pt x="31367" y="28535"/>
                    <a:pt x="27119" y="31367"/>
                    <a:pt x="22870" y="31367"/>
                  </a:cubicBezTo>
                  <a:cubicBezTo>
                    <a:pt x="18621" y="31367"/>
                    <a:pt x="15789" y="27119"/>
                    <a:pt x="15789" y="22870"/>
                  </a:cubicBezTo>
                  <a:cubicBezTo>
                    <a:pt x="17205" y="18621"/>
                    <a:pt x="20038" y="15789"/>
                    <a:pt x="24286"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6" name="Freeform: Shape 2565">
              <a:extLst>
                <a:ext uri="{FF2B5EF4-FFF2-40B4-BE49-F238E27FC236}">
                  <a16:creationId xmlns:a16="http://schemas.microsoft.com/office/drawing/2014/main" id="{4A18F385-2368-47B8-AD52-7D5283BFD7B1}"/>
                </a:ext>
              </a:extLst>
            </p:cNvPr>
            <p:cNvSpPr/>
            <p:nvPr/>
          </p:nvSpPr>
          <p:spPr>
            <a:xfrm>
              <a:off x="3631616" y="3775756"/>
              <a:ext cx="42486" cy="42486"/>
            </a:xfrm>
            <a:custGeom>
              <a:avLst/>
              <a:gdLst>
                <a:gd name="connsiteX0" fmla="*/ 24286 w 42485"/>
                <a:gd name="connsiteY0" fmla="*/ 15789 h 42485"/>
                <a:gd name="connsiteX1" fmla="*/ 31367 w 42485"/>
                <a:gd name="connsiteY1" fmla="*/ 24286 h 42485"/>
                <a:gd name="connsiteX2" fmla="*/ 22870 w 42485"/>
                <a:gd name="connsiteY2" fmla="*/ 31367 h 42485"/>
                <a:gd name="connsiteX3" fmla="*/ 15789 w 42485"/>
                <a:gd name="connsiteY3" fmla="*/ 22870 h 42485"/>
                <a:gd name="connsiteX4" fmla="*/ 24286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15789"/>
                  </a:moveTo>
                  <a:cubicBezTo>
                    <a:pt x="28535" y="15789"/>
                    <a:pt x="31367" y="20037"/>
                    <a:pt x="31367" y="24286"/>
                  </a:cubicBezTo>
                  <a:cubicBezTo>
                    <a:pt x="31367" y="28535"/>
                    <a:pt x="27118" y="31367"/>
                    <a:pt x="22870" y="31367"/>
                  </a:cubicBezTo>
                  <a:cubicBezTo>
                    <a:pt x="18621" y="31367"/>
                    <a:pt x="15789" y="27118"/>
                    <a:pt x="15789" y="22870"/>
                  </a:cubicBezTo>
                  <a:cubicBezTo>
                    <a:pt x="15789" y="18621"/>
                    <a:pt x="20037" y="15789"/>
                    <a:pt x="24286"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7" name="Freeform: Shape 2566">
              <a:extLst>
                <a:ext uri="{FF2B5EF4-FFF2-40B4-BE49-F238E27FC236}">
                  <a16:creationId xmlns:a16="http://schemas.microsoft.com/office/drawing/2014/main" id="{18464B21-43F1-477D-B2AE-AB84AFF24B53}"/>
                </a:ext>
              </a:extLst>
            </p:cNvPr>
            <p:cNvSpPr/>
            <p:nvPr/>
          </p:nvSpPr>
          <p:spPr>
            <a:xfrm>
              <a:off x="3539382" y="5671854"/>
              <a:ext cx="56648" cy="56648"/>
            </a:xfrm>
            <a:custGeom>
              <a:avLst/>
              <a:gdLst>
                <a:gd name="connsiteX0" fmla="*/ 32965 w 56647"/>
                <a:gd name="connsiteY0" fmla="*/ 15970 h 56647"/>
                <a:gd name="connsiteX1" fmla="*/ 47127 w 56647"/>
                <a:gd name="connsiteY1" fmla="*/ 32965 h 56647"/>
                <a:gd name="connsiteX2" fmla="*/ 30132 w 56647"/>
                <a:gd name="connsiteY2" fmla="*/ 47127 h 56647"/>
                <a:gd name="connsiteX3" fmla="*/ 15970 w 56647"/>
                <a:gd name="connsiteY3" fmla="*/ 30132 h 56647"/>
                <a:gd name="connsiteX4" fmla="*/ 32965 w 56647"/>
                <a:gd name="connsiteY4" fmla="*/ 1597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970"/>
                  </a:moveTo>
                  <a:cubicBezTo>
                    <a:pt x="41462" y="17387"/>
                    <a:pt x="47127" y="24468"/>
                    <a:pt x="47127" y="32965"/>
                  </a:cubicBezTo>
                  <a:cubicBezTo>
                    <a:pt x="45710" y="41462"/>
                    <a:pt x="38629" y="47127"/>
                    <a:pt x="30132" y="47127"/>
                  </a:cubicBezTo>
                  <a:cubicBezTo>
                    <a:pt x="21635" y="45710"/>
                    <a:pt x="14554" y="38630"/>
                    <a:pt x="15970" y="30132"/>
                  </a:cubicBezTo>
                  <a:cubicBezTo>
                    <a:pt x="17386" y="21635"/>
                    <a:pt x="24467" y="14554"/>
                    <a:pt x="32965" y="1597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8" name="Freeform: Shape 2567">
              <a:extLst>
                <a:ext uri="{FF2B5EF4-FFF2-40B4-BE49-F238E27FC236}">
                  <a16:creationId xmlns:a16="http://schemas.microsoft.com/office/drawing/2014/main" id="{8180AA17-2785-4257-A977-2E289CCA1F22}"/>
                </a:ext>
              </a:extLst>
            </p:cNvPr>
            <p:cNvSpPr/>
            <p:nvPr/>
          </p:nvSpPr>
          <p:spPr>
            <a:xfrm>
              <a:off x="3613206" y="5453942"/>
              <a:ext cx="56648" cy="56648"/>
            </a:xfrm>
            <a:custGeom>
              <a:avLst/>
              <a:gdLst>
                <a:gd name="connsiteX0" fmla="*/ 32783 w 56647"/>
                <a:gd name="connsiteY0" fmla="*/ 15789 h 56647"/>
                <a:gd name="connsiteX1" fmla="*/ 46945 w 56647"/>
                <a:gd name="connsiteY1" fmla="*/ 32783 h 56647"/>
                <a:gd name="connsiteX2" fmla="*/ 29951 w 56647"/>
                <a:gd name="connsiteY2" fmla="*/ 46945 h 56647"/>
                <a:gd name="connsiteX3" fmla="*/ 15789 w 56647"/>
                <a:gd name="connsiteY3" fmla="*/ 29951 h 56647"/>
                <a:gd name="connsiteX4" fmla="*/ 32783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15789"/>
                  </a:moveTo>
                  <a:cubicBezTo>
                    <a:pt x="41280" y="17205"/>
                    <a:pt x="48361" y="24286"/>
                    <a:pt x="46945" y="32783"/>
                  </a:cubicBezTo>
                  <a:cubicBezTo>
                    <a:pt x="45529" y="41280"/>
                    <a:pt x="38448" y="46945"/>
                    <a:pt x="29951" y="46945"/>
                  </a:cubicBezTo>
                  <a:cubicBezTo>
                    <a:pt x="21454" y="45529"/>
                    <a:pt x="15789" y="38448"/>
                    <a:pt x="15789" y="29951"/>
                  </a:cubicBezTo>
                  <a:cubicBezTo>
                    <a:pt x="15789" y="21454"/>
                    <a:pt x="24286" y="15789"/>
                    <a:pt x="32783"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9" name="Freeform: Shape 2568">
              <a:extLst>
                <a:ext uri="{FF2B5EF4-FFF2-40B4-BE49-F238E27FC236}">
                  <a16:creationId xmlns:a16="http://schemas.microsoft.com/office/drawing/2014/main" id="{B2AC2893-C5C9-4925-96AF-D3F8A5A78344}"/>
                </a:ext>
              </a:extLst>
            </p:cNvPr>
            <p:cNvSpPr/>
            <p:nvPr/>
          </p:nvSpPr>
          <p:spPr>
            <a:xfrm>
              <a:off x="3539564" y="5990678"/>
              <a:ext cx="42486" cy="42486"/>
            </a:xfrm>
            <a:custGeom>
              <a:avLst/>
              <a:gdLst>
                <a:gd name="connsiteX0" fmla="*/ 27118 w 42485"/>
                <a:gd name="connsiteY0" fmla="*/ 15789 h 42485"/>
                <a:gd name="connsiteX1" fmla="*/ 37032 w 42485"/>
                <a:gd name="connsiteY1" fmla="*/ 27118 h 42485"/>
                <a:gd name="connsiteX2" fmla="*/ 25702 w 42485"/>
                <a:gd name="connsiteY2" fmla="*/ 37032 h 42485"/>
                <a:gd name="connsiteX3" fmla="*/ 15789 w 42485"/>
                <a:gd name="connsiteY3" fmla="*/ 25703 h 42485"/>
                <a:gd name="connsiteX4" fmla="*/ 2711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5789"/>
                  </a:moveTo>
                  <a:cubicBezTo>
                    <a:pt x="32783" y="15789"/>
                    <a:pt x="37032" y="21454"/>
                    <a:pt x="37032" y="27118"/>
                  </a:cubicBezTo>
                  <a:cubicBezTo>
                    <a:pt x="37032" y="32783"/>
                    <a:pt x="31367" y="37032"/>
                    <a:pt x="25702" y="37032"/>
                  </a:cubicBezTo>
                  <a:cubicBezTo>
                    <a:pt x="20037" y="37032"/>
                    <a:pt x="15789" y="31367"/>
                    <a:pt x="15789" y="25703"/>
                  </a:cubicBezTo>
                  <a:cubicBezTo>
                    <a:pt x="15789" y="20037"/>
                    <a:pt x="21454" y="15789"/>
                    <a:pt x="2711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0" name="Freeform: Shape 2569">
              <a:extLst>
                <a:ext uri="{FF2B5EF4-FFF2-40B4-BE49-F238E27FC236}">
                  <a16:creationId xmlns:a16="http://schemas.microsoft.com/office/drawing/2014/main" id="{CE2E622B-28CF-4A42-99A3-B6972988E1CC}"/>
                </a:ext>
              </a:extLst>
            </p:cNvPr>
            <p:cNvSpPr/>
            <p:nvPr/>
          </p:nvSpPr>
          <p:spPr>
            <a:xfrm>
              <a:off x="3492829" y="6262587"/>
              <a:ext cx="42486" cy="42486"/>
            </a:xfrm>
            <a:custGeom>
              <a:avLst/>
              <a:gdLst>
                <a:gd name="connsiteX0" fmla="*/ 27119 w 42485"/>
                <a:gd name="connsiteY0" fmla="*/ 15789 h 42485"/>
                <a:gd name="connsiteX1" fmla="*/ 37032 w 42485"/>
                <a:gd name="connsiteY1" fmla="*/ 27118 h 42485"/>
                <a:gd name="connsiteX2" fmla="*/ 25702 w 42485"/>
                <a:gd name="connsiteY2" fmla="*/ 37032 h 42485"/>
                <a:gd name="connsiteX3" fmla="*/ 15789 w 42485"/>
                <a:gd name="connsiteY3" fmla="*/ 25702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8"/>
                  </a:cubicBezTo>
                  <a:cubicBezTo>
                    <a:pt x="37032" y="32783"/>
                    <a:pt x="31367" y="37032"/>
                    <a:pt x="25702" y="37032"/>
                  </a:cubicBezTo>
                  <a:cubicBezTo>
                    <a:pt x="20038" y="37032"/>
                    <a:pt x="15789" y="31367"/>
                    <a:pt x="15789" y="25702"/>
                  </a:cubicBezTo>
                  <a:cubicBezTo>
                    <a:pt x="15789" y="20037"/>
                    <a:pt x="20038" y="15789"/>
                    <a:pt x="27119"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1" name="Freeform: Shape 2570">
              <a:extLst>
                <a:ext uri="{FF2B5EF4-FFF2-40B4-BE49-F238E27FC236}">
                  <a16:creationId xmlns:a16="http://schemas.microsoft.com/office/drawing/2014/main" id="{FA8E4052-641A-4D79-B3BA-BD6642B2A03B}"/>
                </a:ext>
              </a:extLst>
            </p:cNvPr>
            <p:cNvSpPr/>
            <p:nvPr/>
          </p:nvSpPr>
          <p:spPr>
            <a:xfrm>
              <a:off x="3732166" y="6448108"/>
              <a:ext cx="42486" cy="42486"/>
            </a:xfrm>
            <a:custGeom>
              <a:avLst/>
              <a:gdLst>
                <a:gd name="connsiteX0" fmla="*/ 31367 w 42485"/>
                <a:gd name="connsiteY0" fmla="*/ 17205 h 42485"/>
                <a:gd name="connsiteX1" fmla="*/ 35616 w 42485"/>
                <a:gd name="connsiteY1" fmla="*/ 31367 h 42485"/>
                <a:gd name="connsiteX2" fmla="*/ 21454 w 42485"/>
                <a:gd name="connsiteY2" fmla="*/ 35616 h 42485"/>
                <a:gd name="connsiteX3" fmla="*/ 17205 w 42485"/>
                <a:gd name="connsiteY3" fmla="*/ 21454 h 42485"/>
                <a:gd name="connsiteX4" fmla="*/ 31367 w 42485"/>
                <a:gd name="connsiteY4" fmla="*/ 1720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1367" y="17205"/>
                  </a:moveTo>
                  <a:cubicBezTo>
                    <a:pt x="37032" y="20038"/>
                    <a:pt x="38448" y="27119"/>
                    <a:pt x="35616" y="31367"/>
                  </a:cubicBezTo>
                  <a:cubicBezTo>
                    <a:pt x="32783" y="37032"/>
                    <a:pt x="25702" y="38448"/>
                    <a:pt x="21454" y="35616"/>
                  </a:cubicBezTo>
                  <a:cubicBezTo>
                    <a:pt x="15789" y="32783"/>
                    <a:pt x="14373" y="25702"/>
                    <a:pt x="17205" y="21454"/>
                  </a:cubicBezTo>
                  <a:cubicBezTo>
                    <a:pt x="18621" y="15789"/>
                    <a:pt x="25702" y="14373"/>
                    <a:pt x="31367" y="1720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2" name="Freeform: Shape 2571">
              <a:extLst>
                <a:ext uri="{FF2B5EF4-FFF2-40B4-BE49-F238E27FC236}">
                  <a16:creationId xmlns:a16="http://schemas.microsoft.com/office/drawing/2014/main" id="{C60869E5-6BAD-468F-949E-BCAB49EF5972}"/>
                </a:ext>
              </a:extLst>
            </p:cNvPr>
            <p:cNvSpPr/>
            <p:nvPr/>
          </p:nvSpPr>
          <p:spPr>
            <a:xfrm>
              <a:off x="3647194" y="6466518"/>
              <a:ext cx="42486" cy="42486"/>
            </a:xfrm>
            <a:custGeom>
              <a:avLst/>
              <a:gdLst>
                <a:gd name="connsiteX0" fmla="*/ 31367 w 42485"/>
                <a:gd name="connsiteY0" fmla="*/ 17205 h 42485"/>
                <a:gd name="connsiteX1" fmla="*/ 35616 w 42485"/>
                <a:gd name="connsiteY1" fmla="*/ 31367 h 42485"/>
                <a:gd name="connsiteX2" fmla="*/ 21454 w 42485"/>
                <a:gd name="connsiteY2" fmla="*/ 35616 h 42485"/>
                <a:gd name="connsiteX3" fmla="*/ 17205 w 42485"/>
                <a:gd name="connsiteY3" fmla="*/ 21454 h 42485"/>
                <a:gd name="connsiteX4" fmla="*/ 31367 w 42485"/>
                <a:gd name="connsiteY4" fmla="*/ 1720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1367" y="17205"/>
                  </a:moveTo>
                  <a:cubicBezTo>
                    <a:pt x="37032" y="20037"/>
                    <a:pt x="38448" y="27118"/>
                    <a:pt x="35616" y="31367"/>
                  </a:cubicBezTo>
                  <a:cubicBezTo>
                    <a:pt x="32783" y="37032"/>
                    <a:pt x="25702" y="38448"/>
                    <a:pt x="21454" y="35616"/>
                  </a:cubicBezTo>
                  <a:cubicBezTo>
                    <a:pt x="15789" y="32783"/>
                    <a:pt x="14373" y="25702"/>
                    <a:pt x="17205" y="21454"/>
                  </a:cubicBezTo>
                  <a:cubicBezTo>
                    <a:pt x="18621" y="15789"/>
                    <a:pt x="25702" y="14373"/>
                    <a:pt x="31367" y="1720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3" name="Freeform: Shape 2572">
              <a:extLst>
                <a:ext uri="{FF2B5EF4-FFF2-40B4-BE49-F238E27FC236}">
                  <a16:creationId xmlns:a16="http://schemas.microsoft.com/office/drawing/2014/main" id="{B7FE1F14-75D1-4EE7-9001-33E332832850}"/>
                </a:ext>
              </a:extLst>
            </p:cNvPr>
            <p:cNvSpPr/>
            <p:nvPr/>
          </p:nvSpPr>
          <p:spPr>
            <a:xfrm>
              <a:off x="3944594" y="6314986"/>
              <a:ext cx="42486" cy="42486"/>
            </a:xfrm>
            <a:custGeom>
              <a:avLst/>
              <a:gdLst>
                <a:gd name="connsiteX0" fmla="*/ 31367 w 42485"/>
                <a:gd name="connsiteY0" fmla="*/ 17205 h 42485"/>
                <a:gd name="connsiteX1" fmla="*/ 35616 w 42485"/>
                <a:gd name="connsiteY1" fmla="*/ 31367 h 42485"/>
                <a:gd name="connsiteX2" fmla="*/ 21454 w 42485"/>
                <a:gd name="connsiteY2" fmla="*/ 35616 h 42485"/>
                <a:gd name="connsiteX3" fmla="*/ 17205 w 42485"/>
                <a:gd name="connsiteY3" fmla="*/ 21454 h 42485"/>
                <a:gd name="connsiteX4" fmla="*/ 31367 w 42485"/>
                <a:gd name="connsiteY4" fmla="*/ 1720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1367" y="17205"/>
                  </a:moveTo>
                  <a:cubicBezTo>
                    <a:pt x="37032" y="20038"/>
                    <a:pt x="38448" y="27119"/>
                    <a:pt x="35616" y="31367"/>
                  </a:cubicBezTo>
                  <a:cubicBezTo>
                    <a:pt x="32783" y="37032"/>
                    <a:pt x="25702" y="38448"/>
                    <a:pt x="21454" y="35616"/>
                  </a:cubicBezTo>
                  <a:cubicBezTo>
                    <a:pt x="15789" y="32783"/>
                    <a:pt x="14373" y="25703"/>
                    <a:pt x="17205" y="21454"/>
                  </a:cubicBezTo>
                  <a:cubicBezTo>
                    <a:pt x="18621" y="15789"/>
                    <a:pt x="25702" y="14373"/>
                    <a:pt x="31367" y="1720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4" name="Freeform: Shape 2573">
              <a:extLst>
                <a:ext uri="{FF2B5EF4-FFF2-40B4-BE49-F238E27FC236}">
                  <a16:creationId xmlns:a16="http://schemas.microsoft.com/office/drawing/2014/main" id="{CF761472-8B0E-4483-A47F-70D70E810F7A}"/>
                </a:ext>
              </a:extLst>
            </p:cNvPr>
            <p:cNvSpPr/>
            <p:nvPr/>
          </p:nvSpPr>
          <p:spPr>
            <a:xfrm>
              <a:off x="3750021" y="5983042"/>
              <a:ext cx="42486" cy="42486"/>
            </a:xfrm>
            <a:custGeom>
              <a:avLst/>
              <a:gdLst>
                <a:gd name="connsiteX0" fmla="*/ 24842 w 42485"/>
                <a:gd name="connsiteY0" fmla="*/ 16345 h 42485"/>
                <a:gd name="connsiteX1" fmla="*/ 27674 w 42485"/>
                <a:gd name="connsiteY1" fmla="*/ 24842 h 42485"/>
                <a:gd name="connsiteX2" fmla="*/ 19177 w 42485"/>
                <a:gd name="connsiteY2" fmla="*/ 27674 h 42485"/>
                <a:gd name="connsiteX3" fmla="*/ 16345 w 42485"/>
                <a:gd name="connsiteY3" fmla="*/ 19177 h 42485"/>
                <a:gd name="connsiteX4" fmla="*/ 24842 w 42485"/>
                <a:gd name="connsiteY4" fmla="*/ 1634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6345"/>
                  </a:moveTo>
                  <a:cubicBezTo>
                    <a:pt x="27674" y="17761"/>
                    <a:pt x="29090" y="22009"/>
                    <a:pt x="27674" y="24842"/>
                  </a:cubicBezTo>
                  <a:cubicBezTo>
                    <a:pt x="26258" y="27674"/>
                    <a:pt x="22009" y="29090"/>
                    <a:pt x="19177" y="27674"/>
                  </a:cubicBezTo>
                  <a:cubicBezTo>
                    <a:pt x="16345" y="26258"/>
                    <a:pt x="14928" y="22009"/>
                    <a:pt x="16345" y="19177"/>
                  </a:cubicBezTo>
                  <a:cubicBezTo>
                    <a:pt x="17761" y="16345"/>
                    <a:pt x="22009" y="14928"/>
                    <a:pt x="24842" y="163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5" name="Freeform: Shape 2574">
              <a:extLst>
                <a:ext uri="{FF2B5EF4-FFF2-40B4-BE49-F238E27FC236}">
                  <a16:creationId xmlns:a16="http://schemas.microsoft.com/office/drawing/2014/main" id="{5FEE86C6-8F77-4579-A2E3-411DB1666278}"/>
                </a:ext>
              </a:extLst>
            </p:cNvPr>
            <p:cNvSpPr/>
            <p:nvPr/>
          </p:nvSpPr>
          <p:spPr>
            <a:xfrm>
              <a:off x="3686292" y="5709717"/>
              <a:ext cx="42486" cy="42486"/>
            </a:xfrm>
            <a:custGeom>
              <a:avLst/>
              <a:gdLst>
                <a:gd name="connsiteX0" fmla="*/ 24842 w 42485"/>
                <a:gd name="connsiteY0" fmla="*/ 16345 h 42485"/>
                <a:gd name="connsiteX1" fmla="*/ 27674 w 42485"/>
                <a:gd name="connsiteY1" fmla="*/ 24841 h 42485"/>
                <a:gd name="connsiteX2" fmla="*/ 19177 w 42485"/>
                <a:gd name="connsiteY2" fmla="*/ 27674 h 42485"/>
                <a:gd name="connsiteX3" fmla="*/ 16345 w 42485"/>
                <a:gd name="connsiteY3" fmla="*/ 19177 h 42485"/>
                <a:gd name="connsiteX4" fmla="*/ 24842 w 42485"/>
                <a:gd name="connsiteY4" fmla="*/ 1634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6345"/>
                  </a:moveTo>
                  <a:cubicBezTo>
                    <a:pt x="27674" y="17760"/>
                    <a:pt x="29090" y="22009"/>
                    <a:pt x="27674" y="24841"/>
                  </a:cubicBezTo>
                  <a:cubicBezTo>
                    <a:pt x="26258" y="27674"/>
                    <a:pt x="22009" y="29090"/>
                    <a:pt x="19177" y="27674"/>
                  </a:cubicBezTo>
                  <a:cubicBezTo>
                    <a:pt x="16345" y="26258"/>
                    <a:pt x="14928" y="22009"/>
                    <a:pt x="16345" y="19177"/>
                  </a:cubicBezTo>
                  <a:cubicBezTo>
                    <a:pt x="17761" y="16345"/>
                    <a:pt x="22009" y="14928"/>
                    <a:pt x="24842" y="163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6" name="Freeform: Shape 2575">
              <a:extLst>
                <a:ext uri="{FF2B5EF4-FFF2-40B4-BE49-F238E27FC236}">
                  <a16:creationId xmlns:a16="http://schemas.microsoft.com/office/drawing/2014/main" id="{0BA9312A-E479-4891-AB91-6F2987ACB96B}"/>
                </a:ext>
              </a:extLst>
            </p:cNvPr>
            <p:cNvSpPr/>
            <p:nvPr/>
          </p:nvSpPr>
          <p:spPr>
            <a:xfrm>
              <a:off x="4400608" y="5108120"/>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3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4"/>
                    <a:pt x="31367" y="37303"/>
                    <a:pt x="25703" y="37303"/>
                  </a:cubicBezTo>
                  <a:cubicBezTo>
                    <a:pt x="20038" y="37303"/>
                    <a:pt x="15789" y="31638"/>
                    <a:pt x="15789" y="25973"/>
                  </a:cubicBezTo>
                  <a:cubicBezTo>
                    <a:pt x="15789" y="18893"/>
                    <a:pt x="21454" y="14644"/>
                    <a:pt x="27119"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7" name="Freeform: Shape 2576">
              <a:extLst>
                <a:ext uri="{FF2B5EF4-FFF2-40B4-BE49-F238E27FC236}">
                  <a16:creationId xmlns:a16="http://schemas.microsoft.com/office/drawing/2014/main" id="{98BE628C-FBE8-4B98-A9B3-D1B01CE8BB78}"/>
                </a:ext>
              </a:extLst>
            </p:cNvPr>
            <p:cNvSpPr/>
            <p:nvPr/>
          </p:nvSpPr>
          <p:spPr>
            <a:xfrm>
              <a:off x="5438542" y="3523554"/>
              <a:ext cx="70810" cy="70810"/>
            </a:xfrm>
            <a:custGeom>
              <a:avLst/>
              <a:gdLst>
                <a:gd name="connsiteX0" fmla="*/ 44247 w 70809"/>
                <a:gd name="connsiteY0" fmla="*/ 15909 h 70809"/>
                <a:gd name="connsiteX1" fmla="*/ 66906 w 70809"/>
                <a:gd name="connsiteY1" fmla="*/ 44233 h 70809"/>
                <a:gd name="connsiteX2" fmla="*/ 38582 w 70809"/>
                <a:gd name="connsiteY2" fmla="*/ 66892 h 70809"/>
                <a:gd name="connsiteX3" fmla="*/ 15924 w 70809"/>
                <a:gd name="connsiteY3" fmla="*/ 38568 h 70809"/>
                <a:gd name="connsiteX4" fmla="*/ 44247 w 70809"/>
                <a:gd name="connsiteY4" fmla="*/ 15909 h 70809"/>
                <a:gd name="connsiteX5" fmla="*/ 44247 w 70809"/>
                <a:gd name="connsiteY5" fmla="*/ 15909 h 70809"/>
                <a:gd name="connsiteX6" fmla="*/ 42831 w 70809"/>
                <a:gd name="connsiteY6" fmla="*/ 27239 h 70809"/>
                <a:gd name="connsiteX7" fmla="*/ 27253 w 70809"/>
                <a:gd name="connsiteY7" fmla="*/ 39984 h 70809"/>
                <a:gd name="connsiteX8" fmla="*/ 39999 w 70809"/>
                <a:gd name="connsiteY8" fmla="*/ 55562 h 70809"/>
                <a:gd name="connsiteX9" fmla="*/ 55577 w 70809"/>
                <a:gd name="connsiteY9" fmla="*/ 42817 h 70809"/>
                <a:gd name="connsiteX10" fmla="*/ 42831 w 70809"/>
                <a:gd name="connsiteY10" fmla="*/ 27239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247" y="15909"/>
                  </a:moveTo>
                  <a:cubicBezTo>
                    <a:pt x="58409" y="17325"/>
                    <a:pt x="68322" y="30071"/>
                    <a:pt x="66906" y="44233"/>
                  </a:cubicBezTo>
                  <a:cubicBezTo>
                    <a:pt x="65490" y="58395"/>
                    <a:pt x="52744" y="68308"/>
                    <a:pt x="38582" y="66892"/>
                  </a:cubicBezTo>
                  <a:cubicBezTo>
                    <a:pt x="24420" y="65476"/>
                    <a:pt x="14507" y="52730"/>
                    <a:pt x="15924" y="38568"/>
                  </a:cubicBezTo>
                  <a:cubicBezTo>
                    <a:pt x="17339" y="25822"/>
                    <a:pt x="30085" y="14493"/>
                    <a:pt x="44247" y="15909"/>
                  </a:cubicBezTo>
                  <a:lnTo>
                    <a:pt x="44247" y="15909"/>
                  </a:lnTo>
                  <a:close/>
                  <a:moveTo>
                    <a:pt x="42831" y="27239"/>
                  </a:moveTo>
                  <a:cubicBezTo>
                    <a:pt x="34334" y="25822"/>
                    <a:pt x="27253" y="32903"/>
                    <a:pt x="27253" y="39984"/>
                  </a:cubicBezTo>
                  <a:cubicBezTo>
                    <a:pt x="25837" y="48481"/>
                    <a:pt x="32918" y="55562"/>
                    <a:pt x="39999" y="55562"/>
                  </a:cubicBezTo>
                  <a:cubicBezTo>
                    <a:pt x="48496" y="56978"/>
                    <a:pt x="55577" y="49898"/>
                    <a:pt x="55577" y="42817"/>
                  </a:cubicBezTo>
                  <a:cubicBezTo>
                    <a:pt x="56993" y="35736"/>
                    <a:pt x="51328" y="28655"/>
                    <a:pt x="42831" y="272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8" name="Freeform: Shape 2577">
              <a:extLst>
                <a:ext uri="{FF2B5EF4-FFF2-40B4-BE49-F238E27FC236}">
                  <a16:creationId xmlns:a16="http://schemas.microsoft.com/office/drawing/2014/main" id="{C8692B2F-1FA6-4942-9042-723B32B9B686}"/>
                </a:ext>
              </a:extLst>
            </p:cNvPr>
            <p:cNvSpPr/>
            <p:nvPr/>
          </p:nvSpPr>
          <p:spPr>
            <a:xfrm>
              <a:off x="5665147" y="3632601"/>
              <a:ext cx="84971" cy="84971"/>
            </a:xfrm>
            <a:custGeom>
              <a:avLst/>
              <a:gdLst>
                <a:gd name="connsiteX0" fmla="*/ 45648 w 84971"/>
                <a:gd name="connsiteY0" fmla="*/ 15909 h 84971"/>
                <a:gd name="connsiteX1" fmla="*/ 69724 w 84971"/>
                <a:gd name="connsiteY1" fmla="*/ 45649 h 84971"/>
                <a:gd name="connsiteX2" fmla="*/ 39984 w 84971"/>
                <a:gd name="connsiteY2" fmla="*/ 69724 h 84971"/>
                <a:gd name="connsiteX3" fmla="*/ 15909 w 84971"/>
                <a:gd name="connsiteY3" fmla="*/ 39984 h 84971"/>
                <a:gd name="connsiteX4" fmla="*/ 45648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8" y="15909"/>
                  </a:moveTo>
                  <a:cubicBezTo>
                    <a:pt x="59810" y="17325"/>
                    <a:pt x="71140" y="30071"/>
                    <a:pt x="69724" y="45649"/>
                  </a:cubicBezTo>
                  <a:cubicBezTo>
                    <a:pt x="68308" y="59811"/>
                    <a:pt x="55562" y="71140"/>
                    <a:pt x="39984" y="69724"/>
                  </a:cubicBezTo>
                  <a:cubicBezTo>
                    <a:pt x="25822" y="68308"/>
                    <a:pt x="14493" y="55562"/>
                    <a:pt x="15909" y="39984"/>
                  </a:cubicBezTo>
                  <a:cubicBezTo>
                    <a:pt x="18741" y="25822"/>
                    <a:pt x="31487" y="14493"/>
                    <a:pt x="45648" y="1590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9" name="Freeform: Shape 2578">
              <a:extLst>
                <a:ext uri="{FF2B5EF4-FFF2-40B4-BE49-F238E27FC236}">
                  <a16:creationId xmlns:a16="http://schemas.microsoft.com/office/drawing/2014/main" id="{C0CF7110-0A6E-419B-848D-D8E4E8EDA573}"/>
                </a:ext>
              </a:extLst>
            </p:cNvPr>
            <p:cNvSpPr/>
            <p:nvPr/>
          </p:nvSpPr>
          <p:spPr>
            <a:xfrm>
              <a:off x="5717485" y="3309829"/>
              <a:ext cx="56648" cy="56648"/>
            </a:xfrm>
            <a:custGeom>
              <a:avLst/>
              <a:gdLst>
                <a:gd name="connsiteX0" fmla="*/ 32965 w 56647"/>
                <a:gd name="connsiteY0" fmla="*/ 15789 h 56647"/>
                <a:gd name="connsiteX1" fmla="*/ 47127 w 56647"/>
                <a:gd name="connsiteY1" fmla="*/ 32783 h 56647"/>
                <a:gd name="connsiteX2" fmla="*/ 30132 w 56647"/>
                <a:gd name="connsiteY2" fmla="*/ 46945 h 56647"/>
                <a:gd name="connsiteX3" fmla="*/ 15970 w 56647"/>
                <a:gd name="connsiteY3" fmla="*/ 29951 h 56647"/>
                <a:gd name="connsiteX4" fmla="*/ 32965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789"/>
                  </a:moveTo>
                  <a:cubicBezTo>
                    <a:pt x="41462" y="17205"/>
                    <a:pt x="48543" y="24286"/>
                    <a:pt x="47127" y="32783"/>
                  </a:cubicBezTo>
                  <a:cubicBezTo>
                    <a:pt x="45710" y="41280"/>
                    <a:pt x="38630" y="48361"/>
                    <a:pt x="30132" y="46945"/>
                  </a:cubicBezTo>
                  <a:cubicBezTo>
                    <a:pt x="21635" y="45529"/>
                    <a:pt x="14554" y="38448"/>
                    <a:pt x="15970" y="29951"/>
                  </a:cubicBezTo>
                  <a:cubicBezTo>
                    <a:pt x="15970" y="21454"/>
                    <a:pt x="23051" y="15789"/>
                    <a:pt x="32965"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0" name="Freeform: Shape 2579">
              <a:extLst>
                <a:ext uri="{FF2B5EF4-FFF2-40B4-BE49-F238E27FC236}">
                  <a16:creationId xmlns:a16="http://schemas.microsoft.com/office/drawing/2014/main" id="{D4793AE3-2A1C-4703-B361-37D603219BFC}"/>
                </a:ext>
              </a:extLst>
            </p:cNvPr>
            <p:cNvSpPr/>
            <p:nvPr/>
          </p:nvSpPr>
          <p:spPr>
            <a:xfrm>
              <a:off x="5394593" y="3714678"/>
              <a:ext cx="56648" cy="56648"/>
            </a:xfrm>
            <a:custGeom>
              <a:avLst/>
              <a:gdLst>
                <a:gd name="connsiteX0" fmla="*/ 32964 w 56647"/>
                <a:gd name="connsiteY0" fmla="*/ 15970 h 56647"/>
                <a:gd name="connsiteX1" fmla="*/ 47126 w 56647"/>
                <a:gd name="connsiteY1" fmla="*/ 32965 h 56647"/>
                <a:gd name="connsiteX2" fmla="*/ 30132 w 56647"/>
                <a:gd name="connsiteY2" fmla="*/ 47127 h 56647"/>
                <a:gd name="connsiteX3" fmla="*/ 15970 w 56647"/>
                <a:gd name="connsiteY3" fmla="*/ 30132 h 56647"/>
                <a:gd name="connsiteX4" fmla="*/ 32964 w 56647"/>
                <a:gd name="connsiteY4" fmla="*/ 1597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4" y="15970"/>
                  </a:moveTo>
                  <a:cubicBezTo>
                    <a:pt x="41462" y="17386"/>
                    <a:pt x="48543" y="24467"/>
                    <a:pt x="47126" y="32965"/>
                  </a:cubicBezTo>
                  <a:cubicBezTo>
                    <a:pt x="45710" y="41462"/>
                    <a:pt x="38630" y="48543"/>
                    <a:pt x="30132" y="47127"/>
                  </a:cubicBezTo>
                  <a:cubicBezTo>
                    <a:pt x="21635" y="45710"/>
                    <a:pt x="14554" y="38629"/>
                    <a:pt x="15970" y="30132"/>
                  </a:cubicBezTo>
                  <a:cubicBezTo>
                    <a:pt x="15970" y="21635"/>
                    <a:pt x="24468" y="14554"/>
                    <a:pt x="32964" y="1597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1" name="Freeform: Shape 2580">
              <a:extLst>
                <a:ext uri="{FF2B5EF4-FFF2-40B4-BE49-F238E27FC236}">
                  <a16:creationId xmlns:a16="http://schemas.microsoft.com/office/drawing/2014/main" id="{516D49FA-9E1A-4D55-BDD0-AEDB5803D8A5}"/>
                </a:ext>
              </a:extLst>
            </p:cNvPr>
            <p:cNvSpPr/>
            <p:nvPr/>
          </p:nvSpPr>
          <p:spPr>
            <a:xfrm>
              <a:off x="5321132" y="3561911"/>
              <a:ext cx="42486" cy="42486"/>
            </a:xfrm>
            <a:custGeom>
              <a:avLst/>
              <a:gdLst>
                <a:gd name="connsiteX0" fmla="*/ 25703 w 42485"/>
                <a:gd name="connsiteY0" fmla="*/ 15789 h 42485"/>
                <a:gd name="connsiteX1" fmla="*/ 34200 w 42485"/>
                <a:gd name="connsiteY1" fmla="*/ 25702 h 42485"/>
                <a:gd name="connsiteX2" fmla="*/ 24286 w 42485"/>
                <a:gd name="connsiteY2" fmla="*/ 34200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31367" y="15789"/>
                    <a:pt x="34200" y="21454"/>
                    <a:pt x="34200" y="25702"/>
                  </a:cubicBezTo>
                  <a:cubicBezTo>
                    <a:pt x="34200" y="31367"/>
                    <a:pt x="29951" y="34200"/>
                    <a:pt x="24286" y="34200"/>
                  </a:cubicBezTo>
                  <a:cubicBezTo>
                    <a:pt x="18622" y="34200"/>
                    <a:pt x="15789" y="28535"/>
                    <a:pt x="15789" y="24286"/>
                  </a:cubicBezTo>
                  <a:cubicBezTo>
                    <a:pt x="15789" y="20038"/>
                    <a:pt x="21454" y="15789"/>
                    <a:pt x="25703"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2" name="Freeform: Shape 2581">
              <a:extLst>
                <a:ext uri="{FF2B5EF4-FFF2-40B4-BE49-F238E27FC236}">
                  <a16:creationId xmlns:a16="http://schemas.microsoft.com/office/drawing/2014/main" id="{F91F31B4-C822-45EB-8436-F2FFA1BC46F8}"/>
                </a:ext>
              </a:extLst>
            </p:cNvPr>
            <p:cNvSpPr/>
            <p:nvPr/>
          </p:nvSpPr>
          <p:spPr>
            <a:xfrm>
              <a:off x="5874863" y="3386029"/>
              <a:ext cx="42486" cy="42486"/>
            </a:xfrm>
            <a:custGeom>
              <a:avLst/>
              <a:gdLst>
                <a:gd name="connsiteX0" fmla="*/ 25703 w 42485"/>
                <a:gd name="connsiteY0" fmla="*/ 16064 h 42485"/>
                <a:gd name="connsiteX1" fmla="*/ 34199 w 42485"/>
                <a:gd name="connsiteY1" fmla="*/ 25977 h 42485"/>
                <a:gd name="connsiteX2" fmla="*/ 24286 w 42485"/>
                <a:gd name="connsiteY2" fmla="*/ 34474 h 42485"/>
                <a:gd name="connsiteX3" fmla="*/ 15789 w 42485"/>
                <a:gd name="connsiteY3" fmla="*/ 24561 h 42485"/>
                <a:gd name="connsiteX4" fmla="*/ 25703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4"/>
                  </a:moveTo>
                  <a:cubicBezTo>
                    <a:pt x="29951" y="16064"/>
                    <a:pt x="34199" y="20312"/>
                    <a:pt x="34199" y="25977"/>
                  </a:cubicBezTo>
                  <a:cubicBezTo>
                    <a:pt x="34199" y="30225"/>
                    <a:pt x="29951" y="34474"/>
                    <a:pt x="24286" y="34474"/>
                  </a:cubicBezTo>
                  <a:cubicBezTo>
                    <a:pt x="20037" y="34474"/>
                    <a:pt x="15789" y="30225"/>
                    <a:pt x="15789" y="24561"/>
                  </a:cubicBezTo>
                  <a:cubicBezTo>
                    <a:pt x="17205" y="18896"/>
                    <a:pt x="21454" y="14647"/>
                    <a:pt x="25703" y="160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3" name="Freeform: Shape 2582">
              <a:extLst>
                <a:ext uri="{FF2B5EF4-FFF2-40B4-BE49-F238E27FC236}">
                  <a16:creationId xmlns:a16="http://schemas.microsoft.com/office/drawing/2014/main" id="{A8E3D48E-D637-4730-90DF-3B3C0400600B}"/>
                </a:ext>
              </a:extLst>
            </p:cNvPr>
            <p:cNvSpPr/>
            <p:nvPr/>
          </p:nvSpPr>
          <p:spPr>
            <a:xfrm>
              <a:off x="6062998" y="3354929"/>
              <a:ext cx="56648" cy="56648"/>
            </a:xfrm>
            <a:custGeom>
              <a:avLst/>
              <a:gdLst>
                <a:gd name="connsiteX0" fmla="*/ 30169 w 56647"/>
                <a:gd name="connsiteY0" fmla="*/ 16007 h 56647"/>
                <a:gd name="connsiteX1" fmla="*/ 41499 w 56647"/>
                <a:gd name="connsiteY1" fmla="*/ 30169 h 56647"/>
                <a:gd name="connsiteX2" fmla="*/ 27337 w 56647"/>
                <a:gd name="connsiteY2" fmla="*/ 41499 h 56647"/>
                <a:gd name="connsiteX3" fmla="*/ 16007 w 56647"/>
                <a:gd name="connsiteY3" fmla="*/ 27337 h 56647"/>
                <a:gd name="connsiteX4" fmla="*/ 30169 w 56647"/>
                <a:gd name="connsiteY4" fmla="*/ 1600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0169" y="16007"/>
                  </a:moveTo>
                  <a:cubicBezTo>
                    <a:pt x="37250" y="16007"/>
                    <a:pt x="42915" y="23088"/>
                    <a:pt x="41499" y="30169"/>
                  </a:cubicBezTo>
                  <a:cubicBezTo>
                    <a:pt x="41499" y="37250"/>
                    <a:pt x="34418" y="42915"/>
                    <a:pt x="27337" y="41499"/>
                  </a:cubicBezTo>
                  <a:cubicBezTo>
                    <a:pt x="20256" y="41499"/>
                    <a:pt x="14592" y="34418"/>
                    <a:pt x="16007" y="27337"/>
                  </a:cubicBezTo>
                  <a:cubicBezTo>
                    <a:pt x="16007" y="20256"/>
                    <a:pt x="23088" y="14591"/>
                    <a:pt x="30169" y="160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4" name="Freeform: Shape 2583">
              <a:extLst>
                <a:ext uri="{FF2B5EF4-FFF2-40B4-BE49-F238E27FC236}">
                  <a16:creationId xmlns:a16="http://schemas.microsoft.com/office/drawing/2014/main" id="{0F5B9344-B73C-4194-884F-0DB41A34849A}"/>
                </a:ext>
              </a:extLst>
            </p:cNvPr>
            <p:cNvSpPr/>
            <p:nvPr/>
          </p:nvSpPr>
          <p:spPr>
            <a:xfrm>
              <a:off x="5900235" y="3481069"/>
              <a:ext cx="84971" cy="84971"/>
            </a:xfrm>
            <a:custGeom>
              <a:avLst/>
              <a:gdLst>
                <a:gd name="connsiteX0" fmla="*/ 45649 w 84971"/>
                <a:gd name="connsiteY0" fmla="*/ 15909 h 84971"/>
                <a:gd name="connsiteX1" fmla="*/ 71140 w 84971"/>
                <a:gd name="connsiteY1" fmla="*/ 45648 h 84971"/>
                <a:gd name="connsiteX2" fmla="*/ 41400 w 84971"/>
                <a:gd name="connsiteY2" fmla="*/ 71140 h 84971"/>
                <a:gd name="connsiteX3" fmla="*/ 15908 w 84971"/>
                <a:gd name="connsiteY3" fmla="*/ 41400 h 84971"/>
                <a:gd name="connsiteX4" fmla="*/ 45649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9" y="15909"/>
                  </a:moveTo>
                  <a:cubicBezTo>
                    <a:pt x="61227" y="17325"/>
                    <a:pt x="72556" y="30070"/>
                    <a:pt x="71140" y="45648"/>
                  </a:cubicBezTo>
                  <a:cubicBezTo>
                    <a:pt x="69724" y="61227"/>
                    <a:pt x="56978" y="72556"/>
                    <a:pt x="41400" y="71140"/>
                  </a:cubicBezTo>
                  <a:cubicBezTo>
                    <a:pt x="25822" y="69724"/>
                    <a:pt x="14493" y="56978"/>
                    <a:pt x="15908" y="41400"/>
                  </a:cubicBezTo>
                  <a:cubicBezTo>
                    <a:pt x="15908" y="25822"/>
                    <a:pt x="30070" y="14492"/>
                    <a:pt x="45649" y="1590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5" name="Freeform: Shape 2584">
              <a:extLst>
                <a:ext uri="{FF2B5EF4-FFF2-40B4-BE49-F238E27FC236}">
                  <a16:creationId xmlns:a16="http://schemas.microsoft.com/office/drawing/2014/main" id="{6BD214FB-9D68-4A75-83F2-31D9991A093C}"/>
                </a:ext>
              </a:extLst>
            </p:cNvPr>
            <p:cNvSpPr/>
            <p:nvPr/>
          </p:nvSpPr>
          <p:spPr>
            <a:xfrm>
              <a:off x="5767233" y="3709195"/>
              <a:ext cx="42486" cy="42486"/>
            </a:xfrm>
            <a:custGeom>
              <a:avLst/>
              <a:gdLst>
                <a:gd name="connsiteX0" fmla="*/ 25703 w 42485"/>
                <a:gd name="connsiteY0" fmla="*/ 15789 h 42485"/>
                <a:gd name="connsiteX1" fmla="*/ 34200 w 42485"/>
                <a:gd name="connsiteY1" fmla="*/ 25703 h 42485"/>
                <a:gd name="connsiteX2" fmla="*/ 24286 w 42485"/>
                <a:gd name="connsiteY2" fmla="*/ 34200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29951" y="15789"/>
                    <a:pt x="34200" y="20038"/>
                    <a:pt x="34200" y="25703"/>
                  </a:cubicBezTo>
                  <a:cubicBezTo>
                    <a:pt x="34200" y="29951"/>
                    <a:pt x="29951" y="34200"/>
                    <a:pt x="24286" y="34200"/>
                  </a:cubicBezTo>
                  <a:cubicBezTo>
                    <a:pt x="20038" y="34200"/>
                    <a:pt x="15789" y="29951"/>
                    <a:pt x="15789" y="24286"/>
                  </a:cubicBezTo>
                  <a:cubicBezTo>
                    <a:pt x="17205" y="20038"/>
                    <a:pt x="21454" y="15789"/>
                    <a:pt x="25703"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6" name="Freeform: Shape 2585">
              <a:extLst>
                <a:ext uri="{FF2B5EF4-FFF2-40B4-BE49-F238E27FC236}">
                  <a16:creationId xmlns:a16="http://schemas.microsoft.com/office/drawing/2014/main" id="{8AF083D4-5F56-4509-A8FC-2966386EF324}"/>
                </a:ext>
              </a:extLst>
            </p:cNvPr>
            <p:cNvSpPr/>
            <p:nvPr/>
          </p:nvSpPr>
          <p:spPr>
            <a:xfrm>
              <a:off x="5619949" y="3269901"/>
              <a:ext cx="42486" cy="42486"/>
            </a:xfrm>
            <a:custGeom>
              <a:avLst/>
              <a:gdLst>
                <a:gd name="connsiteX0" fmla="*/ 25703 w 42485"/>
                <a:gd name="connsiteY0" fmla="*/ 16063 h 42485"/>
                <a:gd name="connsiteX1" fmla="*/ 34199 w 42485"/>
                <a:gd name="connsiteY1" fmla="*/ 25977 h 42485"/>
                <a:gd name="connsiteX2" fmla="*/ 24286 w 42485"/>
                <a:gd name="connsiteY2" fmla="*/ 34474 h 42485"/>
                <a:gd name="connsiteX3" fmla="*/ 15789 w 42485"/>
                <a:gd name="connsiteY3" fmla="*/ 24561 h 42485"/>
                <a:gd name="connsiteX4" fmla="*/ 25703 w 42485"/>
                <a:gd name="connsiteY4" fmla="*/ 1606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3"/>
                  </a:moveTo>
                  <a:cubicBezTo>
                    <a:pt x="29951" y="16063"/>
                    <a:pt x="34199" y="20312"/>
                    <a:pt x="34199" y="25977"/>
                  </a:cubicBezTo>
                  <a:cubicBezTo>
                    <a:pt x="34199" y="30225"/>
                    <a:pt x="29951" y="34474"/>
                    <a:pt x="24286" y="34474"/>
                  </a:cubicBezTo>
                  <a:cubicBezTo>
                    <a:pt x="20037" y="34474"/>
                    <a:pt x="15789" y="30225"/>
                    <a:pt x="15789" y="24561"/>
                  </a:cubicBezTo>
                  <a:cubicBezTo>
                    <a:pt x="15789" y="18896"/>
                    <a:pt x="20037" y="14647"/>
                    <a:pt x="25703" y="1606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7" name="Freeform: Shape 2586">
              <a:extLst>
                <a:ext uri="{FF2B5EF4-FFF2-40B4-BE49-F238E27FC236}">
                  <a16:creationId xmlns:a16="http://schemas.microsoft.com/office/drawing/2014/main" id="{6D1FED2A-5220-481E-873F-EBBA4F6A036A}"/>
                </a:ext>
              </a:extLst>
            </p:cNvPr>
            <p:cNvSpPr/>
            <p:nvPr/>
          </p:nvSpPr>
          <p:spPr>
            <a:xfrm>
              <a:off x="5761568" y="2873642"/>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9"/>
                    <a:pt x="55442" y="15789"/>
                    <a:pt x="41280" y="15789"/>
                  </a:cubicBezTo>
                  <a:cubicBezTo>
                    <a:pt x="27118" y="15789"/>
                    <a:pt x="15789" y="27119"/>
                    <a:pt x="15789" y="41280"/>
                  </a:cubicBezTo>
                  <a:cubicBezTo>
                    <a:pt x="15789" y="55442"/>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8" name="Freeform: Shape 2587">
              <a:extLst>
                <a:ext uri="{FF2B5EF4-FFF2-40B4-BE49-F238E27FC236}">
                  <a16:creationId xmlns:a16="http://schemas.microsoft.com/office/drawing/2014/main" id="{A9E3AF15-C098-45CA-8E46-AA7A0AB5700D}"/>
                </a:ext>
              </a:extLst>
            </p:cNvPr>
            <p:cNvSpPr/>
            <p:nvPr/>
          </p:nvSpPr>
          <p:spPr>
            <a:xfrm>
              <a:off x="5543474" y="2642803"/>
              <a:ext cx="56648" cy="56648"/>
            </a:xfrm>
            <a:custGeom>
              <a:avLst/>
              <a:gdLst>
                <a:gd name="connsiteX0" fmla="*/ 46945 w 56647"/>
                <a:gd name="connsiteY0" fmla="*/ 31367 h 56647"/>
                <a:gd name="connsiteX1" fmla="*/ 31367 w 56647"/>
                <a:gd name="connsiteY1" fmla="*/ 46945 h 56647"/>
                <a:gd name="connsiteX2" fmla="*/ 15789 w 56647"/>
                <a:gd name="connsiteY2" fmla="*/ 31367 h 56647"/>
                <a:gd name="connsiteX3" fmla="*/ 31367 w 56647"/>
                <a:gd name="connsiteY3" fmla="*/ 15789 h 56647"/>
                <a:gd name="connsiteX4" fmla="*/ 46945 w 56647"/>
                <a:gd name="connsiteY4" fmla="*/ 3136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46945" y="31367"/>
                  </a:moveTo>
                  <a:cubicBezTo>
                    <a:pt x="46945" y="39971"/>
                    <a:pt x="39970" y="46945"/>
                    <a:pt x="31367" y="46945"/>
                  </a:cubicBezTo>
                  <a:cubicBezTo>
                    <a:pt x="22763" y="46945"/>
                    <a:pt x="15789" y="39971"/>
                    <a:pt x="15789" y="31367"/>
                  </a:cubicBezTo>
                  <a:cubicBezTo>
                    <a:pt x="15789" y="22764"/>
                    <a:pt x="22763" y="15789"/>
                    <a:pt x="31367" y="15789"/>
                  </a:cubicBezTo>
                  <a:cubicBezTo>
                    <a:pt x="39970" y="15789"/>
                    <a:pt x="46945" y="22764"/>
                    <a:pt x="46945" y="3136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9" name="Freeform: Shape 2588">
              <a:extLst>
                <a:ext uri="{FF2B5EF4-FFF2-40B4-BE49-F238E27FC236}">
                  <a16:creationId xmlns:a16="http://schemas.microsoft.com/office/drawing/2014/main" id="{DDE95BAE-8FE3-42CE-A731-112FFEAE7B29}"/>
                </a:ext>
              </a:extLst>
            </p:cNvPr>
            <p:cNvSpPr/>
            <p:nvPr/>
          </p:nvSpPr>
          <p:spPr>
            <a:xfrm>
              <a:off x="5525064" y="2719278"/>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1" y="86599"/>
                    <a:pt x="86599" y="71020"/>
                    <a:pt x="86599" y="51194"/>
                  </a:cubicBezTo>
                  <a:cubicBezTo>
                    <a:pt x="86599" y="31367"/>
                    <a:pt x="71021" y="15789"/>
                    <a:pt x="51194" y="15789"/>
                  </a:cubicBezTo>
                  <a:cubicBezTo>
                    <a:pt x="31367" y="15789"/>
                    <a:pt x="15789" y="31367"/>
                    <a:pt x="15789" y="51194"/>
                  </a:cubicBezTo>
                  <a:cubicBezTo>
                    <a:pt x="15789" y="71020"/>
                    <a:pt x="31367"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0" name="Freeform: Shape 2589">
              <a:extLst>
                <a:ext uri="{FF2B5EF4-FFF2-40B4-BE49-F238E27FC236}">
                  <a16:creationId xmlns:a16="http://schemas.microsoft.com/office/drawing/2014/main" id="{2AC3196F-20E2-4804-B7EE-0A5FAB995E1D}"/>
                </a:ext>
              </a:extLst>
            </p:cNvPr>
            <p:cNvSpPr/>
            <p:nvPr/>
          </p:nvSpPr>
          <p:spPr>
            <a:xfrm>
              <a:off x="5505237" y="2521011"/>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1" y="49777"/>
                    <a:pt x="49778" y="42697"/>
                    <a:pt x="49778" y="32783"/>
                  </a:cubicBezTo>
                  <a:cubicBezTo>
                    <a:pt x="49778" y="24286"/>
                    <a:pt x="42697" y="15789"/>
                    <a:pt x="32783" y="15789"/>
                  </a:cubicBezTo>
                  <a:cubicBezTo>
                    <a:pt x="22870" y="15789"/>
                    <a:pt x="15789" y="22870"/>
                    <a:pt x="15789" y="32783"/>
                  </a:cubicBezTo>
                  <a:cubicBezTo>
                    <a:pt x="17205" y="42697"/>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1" name="Freeform: Shape 2590">
              <a:extLst>
                <a:ext uri="{FF2B5EF4-FFF2-40B4-BE49-F238E27FC236}">
                  <a16:creationId xmlns:a16="http://schemas.microsoft.com/office/drawing/2014/main" id="{C667F9E1-F5B0-4F63-909D-AF82A6654798}"/>
                </a:ext>
              </a:extLst>
            </p:cNvPr>
            <p:cNvSpPr/>
            <p:nvPr/>
          </p:nvSpPr>
          <p:spPr>
            <a:xfrm>
              <a:off x="5628446" y="2750434"/>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2" name="Freeform: Shape 2591">
              <a:extLst>
                <a:ext uri="{FF2B5EF4-FFF2-40B4-BE49-F238E27FC236}">
                  <a16:creationId xmlns:a16="http://schemas.microsoft.com/office/drawing/2014/main" id="{3B5B411B-9D4C-498F-A3D0-7F0A573BE2A0}"/>
                </a:ext>
              </a:extLst>
            </p:cNvPr>
            <p:cNvSpPr/>
            <p:nvPr/>
          </p:nvSpPr>
          <p:spPr>
            <a:xfrm>
              <a:off x="5728996" y="2504017"/>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1280"/>
                    <a:pt x="49778" y="32783"/>
                  </a:cubicBezTo>
                  <a:cubicBezTo>
                    <a:pt x="49778" y="22870"/>
                    <a:pt x="41280" y="15789"/>
                    <a:pt x="32783" y="15789"/>
                  </a:cubicBezTo>
                  <a:cubicBezTo>
                    <a:pt x="22870" y="15789"/>
                    <a:pt x="15789" y="24286"/>
                    <a:pt x="15789" y="32783"/>
                  </a:cubicBezTo>
                  <a:cubicBezTo>
                    <a:pt x="15789" y="41280"/>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3" name="Freeform: Shape 2592">
              <a:extLst>
                <a:ext uri="{FF2B5EF4-FFF2-40B4-BE49-F238E27FC236}">
                  <a16:creationId xmlns:a16="http://schemas.microsoft.com/office/drawing/2014/main" id="{DD6BB834-E744-4454-83D8-F46B03A48B24}"/>
                </a:ext>
              </a:extLst>
            </p:cNvPr>
            <p:cNvSpPr/>
            <p:nvPr/>
          </p:nvSpPr>
          <p:spPr>
            <a:xfrm>
              <a:off x="5736077" y="2679624"/>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4" name="Freeform: Shape 2593">
              <a:extLst>
                <a:ext uri="{FF2B5EF4-FFF2-40B4-BE49-F238E27FC236}">
                  <a16:creationId xmlns:a16="http://schemas.microsoft.com/office/drawing/2014/main" id="{A3A982F5-CD59-4FE6-86EE-69346CFA3775}"/>
                </a:ext>
              </a:extLst>
            </p:cNvPr>
            <p:cNvSpPr/>
            <p:nvPr/>
          </p:nvSpPr>
          <p:spPr>
            <a:xfrm>
              <a:off x="5561885" y="2556416"/>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1454"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5" name="Freeform: Shape 2594">
              <a:extLst>
                <a:ext uri="{FF2B5EF4-FFF2-40B4-BE49-F238E27FC236}">
                  <a16:creationId xmlns:a16="http://schemas.microsoft.com/office/drawing/2014/main" id="{277A144D-80FF-4FBE-AA45-A7CBBCB7456E}"/>
                </a:ext>
              </a:extLst>
            </p:cNvPr>
            <p:cNvSpPr/>
            <p:nvPr/>
          </p:nvSpPr>
          <p:spPr>
            <a:xfrm>
              <a:off x="5821048" y="2573410"/>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1454"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6" name="Freeform: Shape 2595">
              <a:extLst>
                <a:ext uri="{FF2B5EF4-FFF2-40B4-BE49-F238E27FC236}">
                  <a16:creationId xmlns:a16="http://schemas.microsoft.com/office/drawing/2014/main" id="{31D990F4-42D9-4357-B857-A3FB97885F60}"/>
                </a:ext>
              </a:extLst>
            </p:cNvPr>
            <p:cNvSpPr/>
            <p:nvPr/>
          </p:nvSpPr>
          <p:spPr>
            <a:xfrm>
              <a:off x="5651105" y="2723526"/>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7" name="Freeform: Shape 2596">
              <a:extLst>
                <a:ext uri="{FF2B5EF4-FFF2-40B4-BE49-F238E27FC236}">
                  <a16:creationId xmlns:a16="http://schemas.microsoft.com/office/drawing/2014/main" id="{EB75D140-9726-4B15-8EDA-E187F84D7D3D}"/>
                </a:ext>
              </a:extLst>
            </p:cNvPr>
            <p:cNvSpPr/>
            <p:nvPr/>
          </p:nvSpPr>
          <p:spPr>
            <a:xfrm>
              <a:off x="5407366" y="3217777"/>
              <a:ext cx="70810" cy="70810"/>
            </a:xfrm>
            <a:custGeom>
              <a:avLst/>
              <a:gdLst>
                <a:gd name="connsiteX0" fmla="*/ 40018 w 70809"/>
                <a:gd name="connsiteY0" fmla="*/ 15789 h 70809"/>
                <a:gd name="connsiteX1" fmla="*/ 59845 w 70809"/>
                <a:gd name="connsiteY1" fmla="*/ 39864 h 70809"/>
                <a:gd name="connsiteX2" fmla="*/ 35769 w 70809"/>
                <a:gd name="connsiteY2" fmla="*/ 59691 h 70809"/>
                <a:gd name="connsiteX3" fmla="*/ 15943 w 70809"/>
                <a:gd name="connsiteY3" fmla="*/ 35616 h 70809"/>
                <a:gd name="connsiteX4" fmla="*/ 40018 w 70809"/>
                <a:gd name="connsiteY4" fmla="*/ 1578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789"/>
                  </a:moveTo>
                  <a:cubicBezTo>
                    <a:pt x="52764" y="17205"/>
                    <a:pt x="61261" y="27119"/>
                    <a:pt x="59845" y="39864"/>
                  </a:cubicBezTo>
                  <a:cubicBezTo>
                    <a:pt x="58429" y="52610"/>
                    <a:pt x="48515" y="61107"/>
                    <a:pt x="35769" y="59691"/>
                  </a:cubicBezTo>
                  <a:cubicBezTo>
                    <a:pt x="23024" y="58275"/>
                    <a:pt x="14527" y="48361"/>
                    <a:pt x="15943" y="35616"/>
                  </a:cubicBezTo>
                  <a:cubicBezTo>
                    <a:pt x="15943" y="24286"/>
                    <a:pt x="27272" y="15789"/>
                    <a:pt x="4001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8" name="Freeform: Shape 2597">
              <a:extLst>
                <a:ext uri="{FF2B5EF4-FFF2-40B4-BE49-F238E27FC236}">
                  <a16:creationId xmlns:a16="http://schemas.microsoft.com/office/drawing/2014/main" id="{EA550274-6A4E-4631-AB0D-29049CFC64B0}"/>
                </a:ext>
              </a:extLst>
            </p:cNvPr>
            <p:cNvSpPr/>
            <p:nvPr/>
          </p:nvSpPr>
          <p:spPr>
            <a:xfrm>
              <a:off x="5529313" y="3318326"/>
              <a:ext cx="42486" cy="42486"/>
            </a:xfrm>
            <a:custGeom>
              <a:avLst/>
              <a:gdLst>
                <a:gd name="connsiteX0" fmla="*/ 25702 w 42485"/>
                <a:gd name="connsiteY0" fmla="*/ 15789 h 42485"/>
                <a:gd name="connsiteX1" fmla="*/ 34199 w 42485"/>
                <a:gd name="connsiteY1" fmla="*/ 25702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1454"/>
                    <a:pt x="34199" y="25702"/>
                  </a:cubicBezTo>
                  <a:cubicBezTo>
                    <a:pt x="34199" y="31367"/>
                    <a:pt x="29951" y="34200"/>
                    <a:pt x="24286" y="34200"/>
                  </a:cubicBezTo>
                  <a:cubicBezTo>
                    <a:pt x="18621" y="34200"/>
                    <a:pt x="15789" y="28535"/>
                    <a:pt x="15789" y="24286"/>
                  </a:cubicBezTo>
                  <a:cubicBezTo>
                    <a:pt x="15789" y="20038"/>
                    <a:pt x="21454"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9" name="Freeform: Shape 2598">
              <a:extLst>
                <a:ext uri="{FF2B5EF4-FFF2-40B4-BE49-F238E27FC236}">
                  <a16:creationId xmlns:a16="http://schemas.microsoft.com/office/drawing/2014/main" id="{9E080557-A832-409F-8077-730774942C01}"/>
                </a:ext>
              </a:extLst>
            </p:cNvPr>
            <p:cNvSpPr/>
            <p:nvPr/>
          </p:nvSpPr>
          <p:spPr>
            <a:xfrm>
              <a:off x="5319609" y="3346288"/>
              <a:ext cx="84971" cy="84971"/>
            </a:xfrm>
            <a:custGeom>
              <a:avLst/>
              <a:gdLst>
                <a:gd name="connsiteX0" fmla="*/ 51301 w 84971"/>
                <a:gd name="connsiteY0" fmla="*/ 16151 h 84971"/>
                <a:gd name="connsiteX1" fmla="*/ 81041 w 84971"/>
                <a:gd name="connsiteY1" fmla="*/ 51556 h 84971"/>
                <a:gd name="connsiteX2" fmla="*/ 45636 w 84971"/>
                <a:gd name="connsiteY2" fmla="*/ 81295 h 84971"/>
                <a:gd name="connsiteX3" fmla="*/ 15896 w 84971"/>
                <a:gd name="connsiteY3" fmla="*/ 45891 h 84971"/>
                <a:gd name="connsiteX4" fmla="*/ 51301 w 84971"/>
                <a:gd name="connsiteY4" fmla="*/ 16151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51301" y="16151"/>
                  </a:moveTo>
                  <a:cubicBezTo>
                    <a:pt x="69712" y="17567"/>
                    <a:pt x="82457" y="34561"/>
                    <a:pt x="81041" y="51556"/>
                  </a:cubicBezTo>
                  <a:cubicBezTo>
                    <a:pt x="79625" y="69966"/>
                    <a:pt x="62631" y="82712"/>
                    <a:pt x="45636" y="81295"/>
                  </a:cubicBezTo>
                  <a:cubicBezTo>
                    <a:pt x="27226" y="79879"/>
                    <a:pt x="14480" y="64301"/>
                    <a:pt x="15896" y="45891"/>
                  </a:cubicBezTo>
                  <a:cubicBezTo>
                    <a:pt x="17313" y="27480"/>
                    <a:pt x="32891" y="13318"/>
                    <a:pt x="51301" y="161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0" name="Freeform: Shape 2599">
              <a:extLst>
                <a:ext uri="{FF2B5EF4-FFF2-40B4-BE49-F238E27FC236}">
                  <a16:creationId xmlns:a16="http://schemas.microsoft.com/office/drawing/2014/main" id="{E8500CE6-2AA7-40C2-9182-FB8C29C25AD3}"/>
                </a:ext>
              </a:extLst>
            </p:cNvPr>
            <p:cNvSpPr/>
            <p:nvPr/>
          </p:nvSpPr>
          <p:spPr>
            <a:xfrm>
              <a:off x="5292809" y="3251491"/>
              <a:ext cx="42486" cy="42486"/>
            </a:xfrm>
            <a:custGeom>
              <a:avLst/>
              <a:gdLst>
                <a:gd name="connsiteX0" fmla="*/ 25703 w 42485"/>
                <a:gd name="connsiteY0" fmla="*/ 16064 h 42485"/>
                <a:gd name="connsiteX1" fmla="*/ 34200 w 42485"/>
                <a:gd name="connsiteY1" fmla="*/ 25977 h 42485"/>
                <a:gd name="connsiteX2" fmla="*/ 24286 w 42485"/>
                <a:gd name="connsiteY2" fmla="*/ 34474 h 42485"/>
                <a:gd name="connsiteX3" fmla="*/ 15789 w 42485"/>
                <a:gd name="connsiteY3" fmla="*/ 24561 h 42485"/>
                <a:gd name="connsiteX4" fmla="*/ 25703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4"/>
                  </a:moveTo>
                  <a:cubicBezTo>
                    <a:pt x="29951" y="16064"/>
                    <a:pt x="34200" y="20312"/>
                    <a:pt x="34200" y="25977"/>
                  </a:cubicBezTo>
                  <a:cubicBezTo>
                    <a:pt x="34200" y="30225"/>
                    <a:pt x="29951" y="34474"/>
                    <a:pt x="24286" y="34474"/>
                  </a:cubicBezTo>
                  <a:cubicBezTo>
                    <a:pt x="20038" y="34474"/>
                    <a:pt x="15789" y="30225"/>
                    <a:pt x="15789" y="24561"/>
                  </a:cubicBezTo>
                  <a:cubicBezTo>
                    <a:pt x="17205" y="18896"/>
                    <a:pt x="21454" y="14647"/>
                    <a:pt x="25703" y="160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1" name="Freeform: Shape 2600">
              <a:extLst>
                <a:ext uri="{FF2B5EF4-FFF2-40B4-BE49-F238E27FC236}">
                  <a16:creationId xmlns:a16="http://schemas.microsoft.com/office/drawing/2014/main" id="{463C66F1-A760-4B77-963F-256750A4775A}"/>
                </a:ext>
              </a:extLst>
            </p:cNvPr>
            <p:cNvSpPr/>
            <p:nvPr/>
          </p:nvSpPr>
          <p:spPr>
            <a:xfrm>
              <a:off x="5338127" y="3433038"/>
              <a:ext cx="42486" cy="42486"/>
            </a:xfrm>
            <a:custGeom>
              <a:avLst/>
              <a:gdLst>
                <a:gd name="connsiteX0" fmla="*/ 25702 w 42485"/>
                <a:gd name="connsiteY0" fmla="*/ 15789 h 42485"/>
                <a:gd name="connsiteX1" fmla="*/ 34199 w 42485"/>
                <a:gd name="connsiteY1" fmla="*/ 25703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29951" y="15789"/>
                    <a:pt x="34199" y="20038"/>
                    <a:pt x="34199" y="25703"/>
                  </a:cubicBezTo>
                  <a:cubicBezTo>
                    <a:pt x="34199" y="29951"/>
                    <a:pt x="29951" y="34200"/>
                    <a:pt x="24286" y="34200"/>
                  </a:cubicBezTo>
                  <a:cubicBezTo>
                    <a:pt x="20037" y="34200"/>
                    <a:pt x="15789" y="29951"/>
                    <a:pt x="15789" y="24286"/>
                  </a:cubicBezTo>
                  <a:cubicBezTo>
                    <a:pt x="15789" y="20038"/>
                    <a:pt x="20037"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2" name="Freeform: Shape 2601">
              <a:extLst>
                <a:ext uri="{FF2B5EF4-FFF2-40B4-BE49-F238E27FC236}">
                  <a16:creationId xmlns:a16="http://schemas.microsoft.com/office/drawing/2014/main" id="{4A8E70D9-C64C-43B1-8613-6D4FF177DF23}"/>
                </a:ext>
              </a:extLst>
            </p:cNvPr>
            <p:cNvSpPr/>
            <p:nvPr/>
          </p:nvSpPr>
          <p:spPr>
            <a:xfrm>
              <a:off x="5641192" y="2839654"/>
              <a:ext cx="70810" cy="70810"/>
            </a:xfrm>
            <a:custGeom>
              <a:avLst/>
              <a:gdLst>
                <a:gd name="connsiteX0" fmla="*/ 55442 w 70809"/>
                <a:gd name="connsiteY0" fmla="*/ 35616 h 70809"/>
                <a:gd name="connsiteX1" fmla="*/ 35616 w 70809"/>
                <a:gd name="connsiteY1" fmla="*/ 55442 h 70809"/>
                <a:gd name="connsiteX2" fmla="*/ 15789 w 70809"/>
                <a:gd name="connsiteY2" fmla="*/ 35616 h 70809"/>
                <a:gd name="connsiteX3" fmla="*/ 35616 w 70809"/>
                <a:gd name="connsiteY3" fmla="*/ 15789 h 70809"/>
                <a:gd name="connsiteX4" fmla="*/ 55442 w 70809"/>
                <a:gd name="connsiteY4" fmla="*/ 35616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55442" y="35616"/>
                  </a:moveTo>
                  <a:cubicBezTo>
                    <a:pt x="55442" y="46565"/>
                    <a:pt x="46566" y="55442"/>
                    <a:pt x="35616" y="55442"/>
                  </a:cubicBezTo>
                  <a:cubicBezTo>
                    <a:pt x="24666" y="55442"/>
                    <a:pt x="15789" y="46565"/>
                    <a:pt x="15789" y="35616"/>
                  </a:cubicBezTo>
                  <a:cubicBezTo>
                    <a:pt x="15789" y="24666"/>
                    <a:pt x="24666" y="15789"/>
                    <a:pt x="35616" y="15789"/>
                  </a:cubicBezTo>
                  <a:cubicBezTo>
                    <a:pt x="46566" y="15789"/>
                    <a:pt x="55442" y="24666"/>
                    <a:pt x="5544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3" name="Freeform: Shape 2602">
              <a:extLst>
                <a:ext uri="{FF2B5EF4-FFF2-40B4-BE49-F238E27FC236}">
                  <a16:creationId xmlns:a16="http://schemas.microsoft.com/office/drawing/2014/main" id="{EA0A0BD7-0A24-48A8-ADC8-6DC83B54611B}"/>
                </a:ext>
              </a:extLst>
            </p:cNvPr>
            <p:cNvSpPr/>
            <p:nvPr/>
          </p:nvSpPr>
          <p:spPr>
            <a:xfrm>
              <a:off x="5523648" y="2947284"/>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8" y="29951"/>
                    <a:pt x="29951" y="27118"/>
                    <a:pt x="29951" y="22870"/>
                  </a:cubicBezTo>
                  <a:cubicBezTo>
                    <a:pt x="29951" y="18621"/>
                    <a:pt x="27118" y="15789"/>
                    <a:pt x="22870" y="15789"/>
                  </a:cubicBezTo>
                  <a:cubicBezTo>
                    <a:pt x="18621" y="15789"/>
                    <a:pt x="15789" y="18621"/>
                    <a:pt x="15789" y="22870"/>
                  </a:cubicBezTo>
                  <a:cubicBezTo>
                    <a:pt x="15789" y="27118"/>
                    <a:pt x="20037" y="29951"/>
                    <a:pt x="22870"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4" name="Freeform: Shape 2603">
              <a:extLst>
                <a:ext uri="{FF2B5EF4-FFF2-40B4-BE49-F238E27FC236}">
                  <a16:creationId xmlns:a16="http://schemas.microsoft.com/office/drawing/2014/main" id="{4142F0B7-BF0F-4B93-B619-396DCF584189}"/>
                </a:ext>
              </a:extLst>
            </p:cNvPr>
            <p:cNvSpPr/>
            <p:nvPr/>
          </p:nvSpPr>
          <p:spPr>
            <a:xfrm>
              <a:off x="6153853" y="2960030"/>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5789" y="37032"/>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5" name="Freeform: Shape 2604">
              <a:extLst>
                <a:ext uri="{FF2B5EF4-FFF2-40B4-BE49-F238E27FC236}">
                  <a16:creationId xmlns:a16="http://schemas.microsoft.com/office/drawing/2014/main" id="{66248DA3-7D12-4FE2-8404-95C223717AD0}"/>
                </a:ext>
              </a:extLst>
            </p:cNvPr>
            <p:cNvSpPr/>
            <p:nvPr/>
          </p:nvSpPr>
          <p:spPr>
            <a:xfrm>
              <a:off x="6050336" y="2764596"/>
              <a:ext cx="70810" cy="70810"/>
            </a:xfrm>
            <a:custGeom>
              <a:avLst/>
              <a:gdLst>
                <a:gd name="connsiteX0" fmla="*/ 37167 w 70809"/>
                <a:gd name="connsiteY0" fmla="*/ 58275 h 70809"/>
                <a:gd name="connsiteX1" fmla="*/ 58410 w 70809"/>
                <a:gd name="connsiteY1" fmla="*/ 37032 h 70809"/>
                <a:gd name="connsiteX2" fmla="*/ 37167 w 70809"/>
                <a:gd name="connsiteY2" fmla="*/ 15789 h 70809"/>
                <a:gd name="connsiteX3" fmla="*/ 15924 w 70809"/>
                <a:gd name="connsiteY3" fmla="*/ 37032 h 70809"/>
                <a:gd name="connsiteX4" fmla="*/ 37167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167" y="58275"/>
                  </a:moveTo>
                  <a:cubicBezTo>
                    <a:pt x="48497" y="58275"/>
                    <a:pt x="58410" y="48361"/>
                    <a:pt x="58410" y="37032"/>
                  </a:cubicBezTo>
                  <a:cubicBezTo>
                    <a:pt x="58410" y="25702"/>
                    <a:pt x="48497" y="15789"/>
                    <a:pt x="37167" y="15789"/>
                  </a:cubicBezTo>
                  <a:cubicBezTo>
                    <a:pt x="25837" y="15789"/>
                    <a:pt x="15924" y="25702"/>
                    <a:pt x="15924" y="37032"/>
                  </a:cubicBezTo>
                  <a:cubicBezTo>
                    <a:pt x="14508" y="48361"/>
                    <a:pt x="24421" y="58275"/>
                    <a:pt x="37167"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6" name="Freeform: Shape 2605">
              <a:extLst>
                <a:ext uri="{FF2B5EF4-FFF2-40B4-BE49-F238E27FC236}">
                  <a16:creationId xmlns:a16="http://schemas.microsoft.com/office/drawing/2014/main" id="{D8169657-02DD-4D1F-A303-636BFA423BCD}"/>
                </a:ext>
              </a:extLst>
            </p:cNvPr>
            <p:cNvSpPr/>
            <p:nvPr/>
          </p:nvSpPr>
          <p:spPr>
            <a:xfrm>
              <a:off x="5445622" y="3046418"/>
              <a:ext cx="70810" cy="70810"/>
            </a:xfrm>
            <a:custGeom>
              <a:avLst/>
              <a:gdLst>
                <a:gd name="connsiteX0" fmla="*/ 37167 w 70809"/>
                <a:gd name="connsiteY0" fmla="*/ 58275 h 70809"/>
                <a:gd name="connsiteX1" fmla="*/ 58410 w 70809"/>
                <a:gd name="connsiteY1" fmla="*/ 37032 h 70809"/>
                <a:gd name="connsiteX2" fmla="*/ 37167 w 70809"/>
                <a:gd name="connsiteY2" fmla="*/ 15789 h 70809"/>
                <a:gd name="connsiteX3" fmla="*/ 15924 w 70809"/>
                <a:gd name="connsiteY3" fmla="*/ 37032 h 70809"/>
                <a:gd name="connsiteX4" fmla="*/ 37167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167" y="58275"/>
                  </a:moveTo>
                  <a:cubicBezTo>
                    <a:pt x="48496" y="58275"/>
                    <a:pt x="58410" y="48361"/>
                    <a:pt x="58410" y="37032"/>
                  </a:cubicBezTo>
                  <a:cubicBezTo>
                    <a:pt x="58410" y="25702"/>
                    <a:pt x="48496" y="15789"/>
                    <a:pt x="37167" y="15789"/>
                  </a:cubicBezTo>
                  <a:cubicBezTo>
                    <a:pt x="25837" y="15789"/>
                    <a:pt x="15924" y="25702"/>
                    <a:pt x="15924" y="37032"/>
                  </a:cubicBezTo>
                  <a:cubicBezTo>
                    <a:pt x="14508" y="48361"/>
                    <a:pt x="24421" y="58275"/>
                    <a:pt x="37167"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7" name="Freeform: Shape 2606">
              <a:extLst>
                <a:ext uri="{FF2B5EF4-FFF2-40B4-BE49-F238E27FC236}">
                  <a16:creationId xmlns:a16="http://schemas.microsoft.com/office/drawing/2014/main" id="{3F3383D9-3329-419A-BF0B-E2F48167604B}"/>
                </a:ext>
              </a:extLst>
            </p:cNvPr>
            <p:cNvSpPr/>
            <p:nvPr/>
          </p:nvSpPr>
          <p:spPr>
            <a:xfrm>
              <a:off x="5458322" y="2967111"/>
              <a:ext cx="56648" cy="56648"/>
            </a:xfrm>
            <a:custGeom>
              <a:avLst/>
              <a:gdLst>
                <a:gd name="connsiteX0" fmla="*/ 32964 w 56647"/>
                <a:gd name="connsiteY0" fmla="*/ 15789 h 56647"/>
                <a:gd name="connsiteX1" fmla="*/ 47126 w 56647"/>
                <a:gd name="connsiteY1" fmla="*/ 32783 h 56647"/>
                <a:gd name="connsiteX2" fmla="*/ 30132 w 56647"/>
                <a:gd name="connsiteY2" fmla="*/ 46945 h 56647"/>
                <a:gd name="connsiteX3" fmla="*/ 15970 w 56647"/>
                <a:gd name="connsiteY3" fmla="*/ 29951 h 56647"/>
                <a:gd name="connsiteX4" fmla="*/ 32964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4" y="15789"/>
                  </a:moveTo>
                  <a:cubicBezTo>
                    <a:pt x="41462" y="17205"/>
                    <a:pt x="48543" y="24286"/>
                    <a:pt x="47126" y="32783"/>
                  </a:cubicBezTo>
                  <a:cubicBezTo>
                    <a:pt x="45710" y="41280"/>
                    <a:pt x="38630" y="48361"/>
                    <a:pt x="30132" y="46945"/>
                  </a:cubicBezTo>
                  <a:cubicBezTo>
                    <a:pt x="21635" y="45529"/>
                    <a:pt x="14554" y="38448"/>
                    <a:pt x="15970" y="29951"/>
                  </a:cubicBezTo>
                  <a:cubicBezTo>
                    <a:pt x="15970" y="21454"/>
                    <a:pt x="23051" y="15789"/>
                    <a:pt x="32964"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8" name="Freeform: Shape 2607">
              <a:extLst>
                <a:ext uri="{FF2B5EF4-FFF2-40B4-BE49-F238E27FC236}">
                  <a16:creationId xmlns:a16="http://schemas.microsoft.com/office/drawing/2014/main" id="{91C963A3-E9DF-4B74-AFB0-75F6AD2AAE46}"/>
                </a:ext>
              </a:extLst>
            </p:cNvPr>
            <p:cNvSpPr/>
            <p:nvPr/>
          </p:nvSpPr>
          <p:spPr>
            <a:xfrm>
              <a:off x="5744466" y="3969379"/>
              <a:ext cx="84971" cy="84971"/>
            </a:xfrm>
            <a:custGeom>
              <a:avLst/>
              <a:gdLst>
                <a:gd name="connsiteX0" fmla="*/ 48469 w 84971"/>
                <a:gd name="connsiteY0" fmla="*/ 16184 h 84971"/>
                <a:gd name="connsiteX1" fmla="*/ 75377 w 84971"/>
                <a:gd name="connsiteY1" fmla="*/ 48757 h 84971"/>
                <a:gd name="connsiteX2" fmla="*/ 42805 w 84971"/>
                <a:gd name="connsiteY2" fmla="*/ 75664 h 84971"/>
                <a:gd name="connsiteX3" fmla="*/ 15897 w 84971"/>
                <a:gd name="connsiteY3" fmla="*/ 43092 h 84971"/>
                <a:gd name="connsiteX4" fmla="*/ 48469 w 84971"/>
                <a:gd name="connsiteY4" fmla="*/ 1618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8469" y="16184"/>
                  </a:moveTo>
                  <a:cubicBezTo>
                    <a:pt x="64047" y="17600"/>
                    <a:pt x="76793" y="31762"/>
                    <a:pt x="75377" y="48757"/>
                  </a:cubicBezTo>
                  <a:cubicBezTo>
                    <a:pt x="73961" y="64335"/>
                    <a:pt x="59799" y="77081"/>
                    <a:pt x="42805" y="75664"/>
                  </a:cubicBezTo>
                  <a:cubicBezTo>
                    <a:pt x="27226" y="74248"/>
                    <a:pt x="14481" y="60086"/>
                    <a:pt x="15897" y="43092"/>
                  </a:cubicBezTo>
                  <a:cubicBezTo>
                    <a:pt x="18729" y="26098"/>
                    <a:pt x="32891" y="13352"/>
                    <a:pt x="48469" y="1618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9" name="Freeform: Shape 2608">
              <a:extLst>
                <a:ext uri="{FF2B5EF4-FFF2-40B4-BE49-F238E27FC236}">
                  <a16:creationId xmlns:a16="http://schemas.microsoft.com/office/drawing/2014/main" id="{E38706B4-FC2A-4A18-B0FB-2B23D26A5744}"/>
                </a:ext>
              </a:extLst>
            </p:cNvPr>
            <p:cNvSpPr/>
            <p:nvPr/>
          </p:nvSpPr>
          <p:spPr>
            <a:xfrm>
              <a:off x="5686510" y="3772923"/>
              <a:ext cx="56648" cy="56648"/>
            </a:xfrm>
            <a:custGeom>
              <a:avLst/>
              <a:gdLst>
                <a:gd name="connsiteX0" fmla="*/ 29951 w 56647"/>
                <a:gd name="connsiteY0" fmla="*/ 15789 h 56647"/>
                <a:gd name="connsiteX1" fmla="*/ 42697 w 56647"/>
                <a:gd name="connsiteY1" fmla="*/ 29951 h 56647"/>
                <a:gd name="connsiteX2" fmla="*/ 28535 w 56647"/>
                <a:gd name="connsiteY2" fmla="*/ 42697 h 56647"/>
                <a:gd name="connsiteX3" fmla="*/ 15789 w 56647"/>
                <a:gd name="connsiteY3" fmla="*/ 28535 h 56647"/>
                <a:gd name="connsiteX4" fmla="*/ 29951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5789"/>
                  </a:moveTo>
                  <a:cubicBezTo>
                    <a:pt x="37032" y="15789"/>
                    <a:pt x="42697" y="22870"/>
                    <a:pt x="42697" y="29951"/>
                  </a:cubicBezTo>
                  <a:cubicBezTo>
                    <a:pt x="42697" y="37032"/>
                    <a:pt x="35616" y="42697"/>
                    <a:pt x="28535" y="42697"/>
                  </a:cubicBezTo>
                  <a:cubicBezTo>
                    <a:pt x="21454" y="42697"/>
                    <a:pt x="15789" y="35616"/>
                    <a:pt x="15789" y="28535"/>
                  </a:cubicBezTo>
                  <a:cubicBezTo>
                    <a:pt x="15789" y="20038"/>
                    <a:pt x="21454" y="15789"/>
                    <a:pt x="29951"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0" name="Freeform: Shape 2609">
              <a:extLst>
                <a:ext uri="{FF2B5EF4-FFF2-40B4-BE49-F238E27FC236}">
                  <a16:creationId xmlns:a16="http://schemas.microsoft.com/office/drawing/2014/main" id="{96F6C9BD-5BCC-412A-A4B6-2EC0E2E98227}"/>
                </a:ext>
              </a:extLst>
            </p:cNvPr>
            <p:cNvSpPr/>
            <p:nvPr/>
          </p:nvSpPr>
          <p:spPr>
            <a:xfrm>
              <a:off x="5499573" y="4051696"/>
              <a:ext cx="56648" cy="56648"/>
            </a:xfrm>
            <a:custGeom>
              <a:avLst/>
              <a:gdLst>
                <a:gd name="connsiteX0" fmla="*/ 29951 w 56647"/>
                <a:gd name="connsiteY0" fmla="*/ 16006 h 56647"/>
                <a:gd name="connsiteX1" fmla="*/ 42697 w 56647"/>
                <a:gd name="connsiteY1" fmla="*/ 30168 h 56647"/>
                <a:gd name="connsiteX2" fmla="*/ 28535 w 56647"/>
                <a:gd name="connsiteY2" fmla="*/ 42913 h 56647"/>
                <a:gd name="connsiteX3" fmla="*/ 15789 w 56647"/>
                <a:gd name="connsiteY3" fmla="*/ 28752 h 56647"/>
                <a:gd name="connsiteX4" fmla="*/ 29951 w 56647"/>
                <a:gd name="connsiteY4" fmla="*/ 16006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6006"/>
                  </a:moveTo>
                  <a:cubicBezTo>
                    <a:pt x="37032" y="16006"/>
                    <a:pt x="42697" y="23087"/>
                    <a:pt x="42697" y="30168"/>
                  </a:cubicBezTo>
                  <a:cubicBezTo>
                    <a:pt x="42697" y="37249"/>
                    <a:pt x="35616" y="42913"/>
                    <a:pt x="28535" y="42913"/>
                  </a:cubicBezTo>
                  <a:cubicBezTo>
                    <a:pt x="21454" y="42913"/>
                    <a:pt x="15789" y="35832"/>
                    <a:pt x="15789" y="28752"/>
                  </a:cubicBezTo>
                  <a:cubicBezTo>
                    <a:pt x="15789" y="20254"/>
                    <a:pt x="21454" y="14590"/>
                    <a:pt x="29951" y="1600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1" name="Freeform: Shape 2610">
              <a:extLst>
                <a:ext uri="{FF2B5EF4-FFF2-40B4-BE49-F238E27FC236}">
                  <a16:creationId xmlns:a16="http://schemas.microsoft.com/office/drawing/2014/main" id="{45C75F53-9FBA-4E1D-93D8-D7F935A7A129}"/>
                </a:ext>
              </a:extLst>
            </p:cNvPr>
            <p:cNvSpPr/>
            <p:nvPr/>
          </p:nvSpPr>
          <p:spPr>
            <a:xfrm>
              <a:off x="5313870" y="3840901"/>
              <a:ext cx="56648" cy="56648"/>
            </a:xfrm>
            <a:custGeom>
              <a:avLst/>
              <a:gdLst>
                <a:gd name="connsiteX0" fmla="*/ 32965 w 56647"/>
                <a:gd name="connsiteY0" fmla="*/ 15789 h 56647"/>
                <a:gd name="connsiteX1" fmla="*/ 47127 w 56647"/>
                <a:gd name="connsiteY1" fmla="*/ 32783 h 56647"/>
                <a:gd name="connsiteX2" fmla="*/ 30132 w 56647"/>
                <a:gd name="connsiteY2" fmla="*/ 46945 h 56647"/>
                <a:gd name="connsiteX3" fmla="*/ 15970 w 56647"/>
                <a:gd name="connsiteY3" fmla="*/ 29951 h 56647"/>
                <a:gd name="connsiteX4" fmla="*/ 32965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789"/>
                  </a:moveTo>
                  <a:cubicBezTo>
                    <a:pt x="41462" y="17205"/>
                    <a:pt x="48543" y="24286"/>
                    <a:pt x="47127" y="32783"/>
                  </a:cubicBezTo>
                  <a:cubicBezTo>
                    <a:pt x="45710" y="41280"/>
                    <a:pt x="38630" y="48361"/>
                    <a:pt x="30132" y="46945"/>
                  </a:cubicBezTo>
                  <a:cubicBezTo>
                    <a:pt x="21635" y="45529"/>
                    <a:pt x="14554" y="38448"/>
                    <a:pt x="15970" y="29951"/>
                  </a:cubicBezTo>
                  <a:cubicBezTo>
                    <a:pt x="15970" y="22870"/>
                    <a:pt x="23051" y="15789"/>
                    <a:pt x="32965"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2" name="Freeform: Shape 2611">
              <a:extLst>
                <a:ext uri="{FF2B5EF4-FFF2-40B4-BE49-F238E27FC236}">
                  <a16:creationId xmlns:a16="http://schemas.microsoft.com/office/drawing/2014/main" id="{BE6E7385-D69F-4261-AC8A-2C13AAB81F19}"/>
                </a:ext>
              </a:extLst>
            </p:cNvPr>
            <p:cNvSpPr/>
            <p:nvPr/>
          </p:nvSpPr>
          <p:spPr>
            <a:xfrm>
              <a:off x="5554804" y="3838068"/>
              <a:ext cx="56648" cy="56648"/>
            </a:xfrm>
            <a:custGeom>
              <a:avLst/>
              <a:gdLst>
                <a:gd name="connsiteX0" fmla="*/ 29951 w 56647"/>
                <a:gd name="connsiteY0" fmla="*/ 15789 h 56647"/>
                <a:gd name="connsiteX1" fmla="*/ 41281 w 56647"/>
                <a:gd name="connsiteY1" fmla="*/ 29951 h 56647"/>
                <a:gd name="connsiteX2" fmla="*/ 27119 w 56647"/>
                <a:gd name="connsiteY2" fmla="*/ 41280 h 56647"/>
                <a:gd name="connsiteX3" fmla="*/ 15789 w 56647"/>
                <a:gd name="connsiteY3" fmla="*/ 27119 h 56647"/>
                <a:gd name="connsiteX4" fmla="*/ 29951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5789"/>
                  </a:moveTo>
                  <a:cubicBezTo>
                    <a:pt x="37032" y="15789"/>
                    <a:pt x="41281" y="22870"/>
                    <a:pt x="41281" y="29951"/>
                  </a:cubicBezTo>
                  <a:cubicBezTo>
                    <a:pt x="41281" y="37032"/>
                    <a:pt x="34200" y="41280"/>
                    <a:pt x="27119" y="41280"/>
                  </a:cubicBezTo>
                  <a:cubicBezTo>
                    <a:pt x="20038" y="41280"/>
                    <a:pt x="15789" y="34200"/>
                    <a:pt x="15789" y="27119"/>
                  </a:cubicBezTo>
                  <a:cubicBezTo>
                    <a:pt x="17205" y="20038"/>
                    <a:pt x="22870" y="15789"/>
                    <a:pt x="29951"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3" name="Freeform: Shape 2612">
              <a:extLst>
                <a:ext uri="{FF2B5EF4-FFF2-40B4-BE49-F238E27FC236}">
                  <a16:creationId xmlns:a16="http://schemas.microsoft.com/office/drawing/2014/main" id="{930A8C2C-B8D6-4C04-B574-07C852C903F2}"/>
                </a:ext>
              </a:extLst>
            </p:cNvPr>
            <p:cNvSpPr/>
            <p:nvPr/>
          </p:nvSpPr>
          <p:spPr>
            <a:xfrm>
              <a:off x="5244658" y="3748630"/>
              <a:ext cx="56648" cy="56648"/>
            </a:xfrm>
            <a:custGeom>
              <a:avLst/>
              <a:gdLst>
                <a:gd name="connsiteX0" fmla="*/ 29951 w 56647"/>
                <a:gd name="connsiteY0" fmla="*/ 16007 h 56647"/>
                <a:gd name="connsiteX1" fmla="*/ 41280 w 56647"/>
                <a:gd name="connsiteY1" fmla="*/ 30169 h 56647"/>
                <a:gd name="connsiteX2" fmla="*/ 27118 w 56647"/>
                <a:gd name="connsiteY2" fmla="*/ 41499 h 56647"/>
                <a:gd name="connsiteX3" fmla="*/ 15789 w 56647"/>
                <a:gd name="connsiteY3" fmla="*/ 27337 h 56647"/>
                <a:gd name="connsiteX4" fmla="*/ 29951 w 56647"/>
                <a:gd name="connsiteY4" fmla="*/ 1600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6007"/>
                  </a:moveTo>
                  <a:cubicBezTo>
                    <a:pt x="37032" y="16007"/>
                    <a:pt x="41280" y="23088"/>
                    <a:pt x="41280" y="30169"/>
                  </a:cubicBezTo>
                  <a:cubicBezTo>
                    <a:pt x="41280" y="37250"/>
                    <a:pt x="34199" y="41499"/>
                    <a:pt x="27118" y="41499"/>
                  </a:cubicBezTo>
                  <a:cubicBezTo>
                    <a:pt x="20037" y="41499"/>
                    <a:pt x="15789" y="34418"/>
                    <a:pt x="15789" y="27337"/>
                  </a:cubicBezTo>
                  <a:cubicBezTo>
                    <a:pt x="15789" y="20256"/>
                    <a:pt x="22870" y="14591"/>
                    <a:pt x="29951" y="160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4" name="Freeform: Shape 2613">
              <a:extLst>
                <a:ext uri="{FF2B5EF4-FFF2-40B4-BE49-F238E27FC236}">
                  <a16:creationId xmlns:a16="http://schemas.microsoft.com/office/drawing/2014/main" id="{ABF0D657-39F2-4FA3-A45C-E3C4D30D3F99}"/>
                </a:ext>
              </a:extLst>
            </p:cNvPr>
            <p:cNvSpPr/>
            <p:nvPr/>
          </p:nvSpPr>
          <p:spPr>
            <a:xfrm>
              <a:off x="5587377" y="4031868"/>
              <a:ext cx="56648" cy="56648"/>
            </a:xfrm>
            <a:custGeom>
              <a:avLst/>
              <a:gdLst>
                <a:gd name="connsiteX0" fmla="*/ 29951 w 56647"/>
                <a:gd name="connsiteY0" fmla="*/ 16007 h 56647"/>
                <a:gd name="connsiteX1" fmla="*/ 41280 w 56647"/>
                <a:gd name="connsiteY1" fmla="*/ 30169 h 56647"/>
                <a:gd name="connsiteX2" fmla="*/ 27118 w 56647"/>
                <a:gd name="connsiteY2" fmla="*/ 41499 h 56647"/>
                <a:gd name="connsiteX3" fmla="*/ 15789 w 56647"/>
                <a:gd name="connsiteY3" fmla="*/ 27337 h 56647"/>
                <a:gd name="connsiteX4" fmla="*/ 29951 w 56647"/>
                <a:gd name="connsiteY4" fmla="*/ 1600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6007"/>
                  </a:moveTo>
                  <a:cubicBezTo>
                    <a:pt x="37032" y="16007"/>
                    <a:pt x="41280" y="23088"/>
                    <a:pt x="41280" y="30169"/>
                  </a:cubicBezTo>
                  <a:cubicBezTo>
                    <a:pt x="41280" y="37250"/>
                    <a:pt x="34199" y="41499"/>
                    <a:pt x="27118" y="41499"/>
                  </a:cubicBezTo>
                  <a:cubicBezTo>
                    <a:pt x="20037" y="41499"/>
                    <a:pt x="15789" y="34418"/>
                    <a:pt x="15789" y="27337"/>
                  </a:cubicBezTo>
                  <a:cubicBezTo>
                    <a:pt x="17205" y="20256"/>
                    <a:pt x="22870" y="14591"/>
                    <a:pt x="29951" y="160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5" name="Freeform: Shape 2614">
              <a:extLst>
                <a:ext uri="{FF2B5EF4-FFF2-40B4-BE49-F238E27FC236}">
                  <a16:creationId xmlns:a16="http://schemas.microsoft.com/office/drawing/2014/main" id="{9FA37D0C-7E0B-497E-9DC9-9BD170F66EE6}"/>
                </a:ext>
              </a:extLst>
            </p:cNvPr>
            <p:cNvSpPr/>
            <p:nvPr/>
          </p:nvSpPr>
          <p:spPr>
            <a:xfrm>
              <a:off x="7170559" y="3675206"/>
              <a:ext cx="70810" cy="70810"/>
            </a:xfrm>
            <a:custGeom>
              <a:avLst/>
              <a:gdLst>
                <a:gd name="connsiteX0" fmla="*/ 41400 w 70809"/>
                <a:gd name="connsiteY0" fmla="*/ 66772 h 70809"/>
                <a:gd name="connsiteX1" fmla="*/ 66892 w 70809"/>
                <a:gd name="connsiteY1" fmla="*/ 41280 h 70809"/>
                <a:gd name="connsiteX2" fmla="*/ 41400 w 70809"/>
                <a:gd name="connsiteY2" fmla="*/ 15789 h 70809"/>
                <a:gd name="connsiteX3" fmla="*/ 15909 w 70809"/>
                <a:gd name="connsiteY3" fmla="*/ 41280 h 70809"/>
                <a:gd name="connsiteX4" fmla="*/ 4140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400" y="66772"/>
                  </a:moveTo>
                  <a:cubicBezTo>
                    <a:pt x="55562" y="66772"/>
                    <a:pt x="66892" y="55442"/>
                    <a:pt x="66892" y="41280"/>
                  </a:cubicBezTo>
                  <a:cubicBezTo>
                    <a:pt x="66892" y="27119"/>
                    <a:pt x="55562" y="15789"/>
                    <a:pt x="41400" y="15789"/>
                  </a:cubicBezTo>
                  <a:cubicBezTo>
                    <a:pt x="27238" y="15789"/>
                    <a:pt x="15909" y="27119"/>
                    <a:pt x="15909" y="41280"/>
                  </a:cubicBezTo>
                  <a:cubicBezTo>
                    <a:pt x="14492" y="55442"/>
                    <a:pt x="25822" y="66772"/>
                    <a:pt x="4140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6" name="Freeform: Shape 2615">
              <a:extLst>
                <a:ext uri="{FF2B5EF4-FFF2-40B4-BE49-F238E27FC236}">
                  <a16:creationId xmlns:a16="http://schemas.microsoft.com/office/drawing/2014/main" id="{A5A3D542-76A3-46BA-8384-CCA1F3630562}"/>
                </a:ext>
              </a:extLst>
            </p:cNvPr>
            <p:cNvSpPr/>
            <p:nvPr/>
          </p:nvSpPr>
          <p:spPr>
            <a:xfrm>
              <a:off x="6068882" y="4268590"/>
              <a:ext cx="70810" cy="70810"/>
            </a:xfrm>
            <a:custGeom>
              <a:avLst/>
              <a:gdLst>
                <a:gd name="connsiteX0" fmla="*/ 41280 w 70809"/>
                <a:gd name="connsiteY0" fmla="*/ 66772 h 70809"/>
                <a:gd name="connsiteX1" fmla="*/ 66772 w 70809"/>
                <a:gd name="connsiteY1" fmla="*/ 41281 h 70809"/>
                <a:gd name="connsiteX2" fmla="*/ 41280 w 70809"/>
                <a:gd name="connsiteY2" fmla="*/ 15789 h 70809"/>
                <a:gd name="connsiteX3" fmla="*/ 15789 w 70809"/>
                <a:gd name="connsiteY3" fmla="*/ 41281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3"/>
                    <a:pt x="66772" y="41281"/>
                  </a:cubicBezTo>
                  <a:cubicBezTo>
                    <a:pt x="66772" y="27119"/>
                    <a:pt x="55442" y="15789"/>
                    <a:pt x="41280" y="15789"/>
                  </a:cubicBezTo>
                  <a:cubicBezTo>
                    <a:pt x="27118" y="15789"/>
                    <a:pt x="15789" y="27119"/>
                    <a:pt x="15789" y="41281"/>
                  </a:cubicBezTo>
                  <a:cubicBezTo>
                    <a:pt x="15789" y="55443"/>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7" name="Freeform: Shape 2616">
              <a:extLst>
                <a:ext uri="{FF2B5EF4-FFF2-40B4-BE49-F238E27FC236}">
                  <a16:creationId xmlns:a16="http://schemas.microsoft.com/office/drawing/2014/main" id="{A12C6EFB-C658-4312-A38B-148B9DE0C726}"/>
                </a:ext>
              </a:extLst>
            </p:cNvPr>
            <p:cNvSpPr/>
            <p:nvPr/>
          </p:nvSpPr>
          <p:spPr>
            <a:xfrm>
              <a:off x="6499404" y="3669542"/>
              <a:ext cx="42486" cy="42486"/>
            </a:xfrm>
            <a:custGeom>
              <a:avLst/>
              <a:gdLst>
                <a:gd name="connsiteX0" fmla="*/ 27118 w 42485"/>
                <a:gd name="connsiteY0" fmla="*/ 15789 h 42485"/>
                <a:gd name="connsiteX1" fmla="*/ 37032 w 42485"/>
                <a:gd name="connsiteY1" fmla="*/ 27118 h 42485"/>
                <a:gd name="connsiteX2" fmla="*/ 25702 w 42485"/>
                <a:gd name="connsiteY2" fmla="*/ 37032 h 42485"/>
                <a:gd name="connsiteX3" fmla="*/ 15789 w 42485"/>
                <a:gd name="connsiteY3" fmla="*/ 25702 h 42485"/>
                <a:gd name="connsiteX4" fmla="*/ 2711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5789"/>
                  </a:moveTo>
                  <a:cubicBezTo>
                    <a:pt x="32783" y="15789"/>
                    <a:pt x="37032" y="21454"/>
                    <a:pt x="37032" y="27118"/>
                  </a:cubicBezTo>
                  <a:cubicBezTo>
                    <a:pt x="37032" y="32783"/>
                    <a:pt x="31367" y="37032"/>
                    <a:pt x="25702" y="37032"/>
                  </a:cubicBezTo>
                  <a:cubicBezTo>
                    <a:pt x="20037" y="37032"/>
                    <a:pt x="15789" y="31367"/>
                    <a:pt x="15789" y="25702"/>
                  </a:cubicBezTo>
                  <a:cubicBezTo>
                    <a:pt x="15789" y="20037"/>
                    <a:pt x="21454" y="15789"/>
                    <a:pt x="2711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8" name="Freeform: Shape 2617">
              <a:extLst>
                <a:ext uri="{FF2B5EF4-FFF2-40B4-BE49-F238E27FC236}">
                  <a16:creationId xmlns:a16="http://schemas.microsoft.com/office/drawing/2014/main" id="{3F29DC38-0D35-4CF8-B57A-35D6E22A45C9}"/>
                </a:ext>
              </a:extLst>
            </p:cNvPr>
            <p:cNvSpPr/>
            <p:nvPr/>
          </p:nvSpPr>
          <p:spPr>
            <a:xfrm>
              <a:off x="6499250" y="4410055"/>
              <a:ext cx="70810" cy="70810"/>
            </a:xfrm>
            <a:custGeom>
              <a:avLst/>
              <a:gdLst>
                <a:gd name="connsiteX0" fmla="*/ 40018 w 70809"/>
                <a:gd name="connsiteY0" fmla="*/ 15943 h 70809"/>
                <a:gd name="connsiteX1" fmla="*/ 59845 w 70809"/>
                <a:gd name="connsiteY1" fmla="*/ 40018 h 70809"/>
                <a:gd name="connsiteX2" fmla="*/ 35769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3"/>
                    <a:pt x="59845" y="40018"/>
                  </a:cubicBezTo>
                  <a:cubicBezTo>
                    <a:pt x="58429" y="52764"/>
                    <a:pt x="48515" y="61261"/>
                    <a:pt x="35769" y="59845"/>
                  </a:cubicBezTo>
                  <a:cubicBezTo>
                    <a:pt x="23024" y="58429"/>
                    <a:pt x="14527" y="48516"/>
                    <a:pt x="15943" y="35769"/>
                  </a:cubicBezTo>
                  <a:cubicBezTo>
                    <a:pt x="17359" y="23024"/>
                    <a:pt x="27272" y="14527"/>
                    <a:pt x="40018" y="159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9" name="Freeform: Shape 2618">
              <a:extLst>
                <a:ext uri="{FF2B5EF4-FFF2-40B4-BE49-F238E27FC236}">
                  <a16:creationId xmlns:a16="http://schemas.microsoft.com/office/drawing/2014/main" id="{7D24F335-1A61-4415-92AF-ADC2A67EB230}"/>
                </a:ext>
              </a:extLst>
            </p:cNvPr>
            <p:cNvSpPr/>
            <p:nvPr/>
          </p:nvSpPr>
          <p:spPr>
            <a:xfrm>
              <a:off x="6615377" y="4057424"/>
              <a:ext cx="70810" cy="70810"/>
            </a:xfrm>
            <a:custGeom>
              <a:avLst/>
              <a:gdLst>
                <a:gd name="connsiteX0" fmla="*/ 40018 w 70809"/>
                <a:gd name="connsiteY0" fmla="*/ 15943 h 70809"/>
                <a:gd name="connsiteX1" fmla="*/ 59845 w 70809"/>
                <a:gd name="connsiteY1" fmla="*/ 40018 h 70809"/>
                <a:gd name="connsiteX2" fmla="*/ 35770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2"/>
                    <a:pt x="59845" y="40018"/>
                  </a:cubicBezTo>
                  <a:cubicBezTo>
                    <a:pt x="58429" y="52764"/>
                    <a:pt x="48515" y="61261"/>
                    <a:pt x="35770" y="59845"/>
                  </a:cubicBezTo>
                  <a:cubicBezTo>
                    <a:pt x="23024" y="58429"/>
                    <a:pt x="14527" y="48515"/>
                    <a:pt x="15943" y="35769"/>
                  </a:cubicBezTo>
                  <a:cubicBezTo>
                    <a:pt x="17359" y="23024"/>
                    <a:pt x="28689" y="14527"/>
                    <a:pt x="40018" y="159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0" name="Freeform: Shape 2619">
              <a:extLst>
                <a:ext uri="{FF2B5EF4-FFF2-40B4-BE49-F238E27FC236}">
                  <a16:creationId xmlns:a16="http://schemas.microsoft.com/office/drawing/2014/main" id="{FF1CA900-3D52-4945-8E53-5EF697061DAA}"/>
                </a:ext>
              </a:extLst>
            </p:cNvPr>
            <p:cNvSpPr/>
            <p:nvPr/>
          </p:nvSpPr>
          <p:spPr>
            <a:xfrm>
              <a:off x="6898662" y="4418599"/>
              <a:ext cx="84971" cy="84971"/>
            </a:xfrm>
            <a:custGeom>
              <a:avLst/>
              <a:gdLst>
                <a:gd name="connsiteX0" fmla="*/ 49885 w 84971"/>
                <a:gd name="connsiteY0" fmla="*/ 15897 h 84971"/>
                <a:gd name="connsiteX1" fmla="*/ 78209 w 84971"/>
                <a:gd name="connsiteY1" fmla="*/ 49885 h 84971"/>
                <a:gd name="connsiteX2" fmla="*/ 44220 w 84971"/>
                <a:gd name="connsiteY2" fmla="*/ 78209 h 84971"/>
                <a:gd name="connsiteX3" fmla="*/ 15896 w 84971"/>
                <a:gd name="connsiteY3" fmla="*/ 44220 h 84971"/>
                <a:gd name="connsiteX4" fmla="*/ 49885 w 84971"/>
                <a:gd name="connsiteY4" fmla="*/ 1589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9885" y="15897"/>
                  </a:moveTo>
                  <a:cubicBezTo>
                    <a:pt x="66879" y="17313"/>
                    <a:pt x="79625" y="32891"/>
                    <a:pt x="78209" y="49885"/>
                  </a:cubicBezTo>
                  <a:cubicBezTo>
                    <a:pt x="76793" y="66879"/>
                    <a:pt x="61215" y="79625"/>
                    <a:pt x="44220" y="78209"/>
                  </a:cubicBezTo>
                  <a:cubicBezTo>
                    <a:pt x="27226" y="76793"/>
                    <a:pt x="14481" y="61215"/>
                    <a:pt x="15896" y="44220"/>
                  </a:cubicBezTo>
                  <a:cubicBezTo>
                    <a:pt x="17313" y="27226"/>
                    <a:pt x="32891" y="14480"/>
                    <a:pt x="49885" y="1589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1" name="Freeform: Shape 2620">
              <a:extLst>
                <a:ext uri="{FF2B5EF4-FFF2-40B4-BE49-F238E27FC236}">
                  <a16:creationId xmlns:a16="http://schemas.microsoft.com/office/drawing/2014/main" id="{CA28E708-25E7-4C7E-8CFD-9D5E894D741F}"/>
                </a:ext>
              </a:extLst>
            </p:cNvPr>
            <p:cNvSpPr/>
            <p:nvPr/>
          </p:nvSpPr>
          <p:spPr>
            <a:xfrm>
              <a:off x="6238825" y="4687603"/>
              <a:ext cx="56648" cy="56648"/>
            </a:xfrm>
            <a:custGeom>
              <a:avLst/>
              <a:gdLst>
                <a:gd name="connsiteX0" fmla="*/ 35616 w 56647"/>
                <a:gd name="connsiteY0" fmla="*/ 15969 h 56647"/>
                <a:gd name="connsiteX1" fmla="*/ 52610 w 56647"/>
                <a:gd name="connsiteY1" fmla="*/ 35795 h 56647"/>
                <a:gd name="connsiteX2" fmla="*/ 32783 w 56647"/>
                <a:gd name="connsiteY2" fmla="*/ 52790 h 56647"/>
                <a:gd name="connsiteX3" fmla="*/ 15789 w 56647"/>
                <a:gd name="connsiteY3" fmla="*/ 32963 h 56647"/>
                <a:gd name="connsiteX4" fmla="*/ 35616 w 56647"/>
                <a:gd name="connsiteY4" fmla="*/ 1596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616" y="15969"/>
                  </a:moveTo>
                  <a:cubicBezTo>
                    <a:pt x="45529" y="17385"/>
                    <a:pt x="52610" y="25882"/>
                    <a:pt x="52610" y="35795"/>
                  </a:cubicBezTo>
                  <a:cubicBezTo>
                    <a:pt x="51194" y="45709"/>
                    <a:pt x="42697" y="52790"/>
                    <a:pt x="32783" y="52790"/>
                  </a:cubicBezTo>
                  <a:cubicBezTo>
                    <a:pt x="22870" y="51373"/>
                    <a:pt x="15789" y="42876"/>
                    <a:pt x="15789" y="32963"/>
                  </a:cubicBezTo>
                  <a:cubicBezTo>
                    <a:pt x="15789" y="21633"/>
                    <a:pt x="25702" y="14552"/>
                    <a:pt x="35616" y="159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2" name="Freeform: Shape 2621">
              <a:extLst>
                <a:ext uri="{FF2B5EF4-FFF2-40B4-BE49-F238E27FC236}">
                  <a16:creationId xmlns:a16="http://schemas.microsoft.com/office/drawing/2014/main" id="{CA0DE10A-1311-4090-9CC9-2E024D68EE24}"/>
                </a:ext>
              </a:extLst>
            </p:cNvPr>
            <p:cNvSpPr/>
            <p:nvPr/>
          </p:nvSpPr>
          <p:spPr>
            <a:xfrm>
              <a:off x="6196204" y="4428485"/>
              <a:ext cx="70810" cy="70810"/>
            </a:xfrm>
            <a:custGeom>
              <a:avLst/>
              <a:gdLst>
                <a:gd name="connsiteX0" fmla="*/ 44247 w 70809"/>
                <a:gd name="connsiteY0" fmla="*/ 15924 h 70809"/>
                <a:gd name="connsiteX1" fmla="*/ 66906 w 70809"/>
                <a:gd name="connsiteY1" fmla="*/ 44247 h 70809"/>
                <a:gd name="connsiteX2" fmla="*/ 38582 w 70809"/>
                <a:gd name="connsiteY2" fmla="*/ 66906 h 70809"/>
                <a:gd name="connsiteX3" fmla="*/ 15924 w 70809"/>
                <a:gd name="connsiteY3" fmla="*/ 38582 h 70809"/>
                <a:gd name="connsiteX4" fmla="*/ 44247 w 70809"/>
                <a:gd name="connsiteY4" fmla="*/ 15924 h 70809"/>
                <a:gd name="connsiteX5" fmla="*/ 44247 w 70809"/>
                <a:gd name="connsiteY5" fmla="*/ 15924 h 70809"/>
                <a:gd name="connsiteX6" fmla="*/ 44247 w 70809"/>
                <a:gd name="connsiteY6" fmla="*/ 27253 h 70809"/>
                <a:gd name="connsiteX7" fmla="*/ 28669 w 70809"/>
                <a:gd name="connsiteY7" fmla="*/ 39999 h 70809"/>
                <a:gd name="connsiteX8" fmla="*/ 41415 w 70809"/>
                <a:gd name="connsiteY8" fmla="*/ 55577 h 70809"/>
                <a:gd name="connsiteX9" fmla="*/ 56993 w 70809"/>
                <a:gd name="connsiteY9" fmla="*/ 42831 h 70809"/>
                <a:gd name="connsiteX10" fmla="*/ 44247 w 70809"/>
                <a:gd name="connsiteY10" fmla="*/ 27253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247" y="15924"/>
                  </a:moveTo>
                  <a:cubicBezTo>
                    <a:pt x="58409" y="17339"/>
                    <a:pt x="68322" y="30085"/>
                    <a:pt x="66906" y="44247"/>
                  </a:cubicBezTo>
                  <a:cubicBezTo>
                    <a:pt x="65490" y="58409"/>
                    <a:pt x="52744" y="68322"/>
                    <a:pt x="38582" y="66906"/>
                  </a:cubicBezTo>
                  <a:cubicBezTo>
                    <a:pt x="24420" y="65490"/>
                    <a:pt x="14507" y="52744"/>
                    <a:pt x="15924" y="38582"/>
                  </a:cubicBezTo>
                  <a:cubicBezTo>
                    <a:pt x="17339" y="24420"/>
                    <a:pt x="30085" y="14507"/>
                    <a:pt x="44247" y="15924"/>
                  </a:cubicBezTo>
                  <a:lnTo>
                    <a:pt x="44247" y="15924"/>
                  </a:lnTo>
                  <a:close/>
                  <a:moveTo>
                    <a:pt x="44247" y="27253"/>
                  </a:moveTo>
                  <a:cubicBezTo>
                    <a:pt x="35750" y="25837"/>
                    <a:pt x="28669" y="32918"/>
                    <a:pt x="28669" y="39999"/>
                  </a:cubicBezTo>
                  <a:cubicBezTo>
                    <a:pt x="27253" y="48496"/>
                    <a:pt x="34334" y="55577"/>
                    <a:pt x="41415" y="55577"/>
                  </a:cubicBezTo>
                  <a:cubicBezTo>
                    <a:pt x="49912" y="56993"/>
                    <a:pt x="56993" y="49912"/>
                    <a:pt x="56993" y="42831"/>
                  </a:cubicBezTo>
                  <a:cubicBezTo>
                    <a:pt x="56993" y="34334"/>
                    <a:pt x="51328" y="27253"/>
                    <a:pt x="44247" y="2725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3" name="Freeform: Shape 2622">
              <a:extLst>
                <a:ext uri="{FF2B5EF4-FFF2-40B4-BE49-F238E27FC236}">
                  <a16:creationId xmlns:a16="http://schemas.microsoft.com/office/drawing/2014/main" id="{CF6F5222-8B8D-4D54-B7DE-E612A87E67D8}"/>
                </a:ext>
              </a:extLst>
            </p:cNvPr>
            <p:cNvSpPr/>
            <p:nvPr/>
          </p:nvSpPr>
          <p:spPr>
            <a:xfrm>
              <a:off x="6152347" y="4095482"/>
              <a:ext cx="99133" cy="99133"/>
            </a:xfrm>
            <a:custGeom>
              <a:avLst/>
              <a:gdLst>
                <a:gd name="connsiteX0" fmla="*/ 55532 w 99133"/>
                <a:gd name="connsiteY0" fmla="*/ 16122 h 99133"/>
                <a:gd name="connsiteX1" fmla="*/ 89520 w 99133"/>
                <a:gd name="connsiteY1" fmla="*/ 55775 h 99133"/>
                <a:gd name="connsiteX2" fmla="*/ 49867 w 99133"/>
                <a:gd name="connsiteY2" fmla="*/ 89764 h 99133"/>
                <a:gd name="connsiteX3" fmla="*/ 15878 w 99133"/>
                <a:gd name="connsiteY3" fmla="*/ 50110 h 99133"/>
                <a:gd name="connsiteX4" fmla="*/ 55532 w 99133"/>
                <a:gd name="connsiteY4" fmla="*/ 16122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532" y="16122"/>
                  </a:moveTo>
                  <a:cubicBezTo>
                    <a:pt x="75358" y="17538"/>
                    <a:pt x="90936" y="35948"/>
                    <a:pt x="89520" y="55775"/>
                  </a:cubicBezTo>
                  <a:cubicBezTo>
                    <a:pt x="88104" y="75602"/>
                    <a:pt x="69694" y="91180"/>
                    <a:pt x="49867" y="89764"/>
                  </a:cubicBezTo>
                  <a:cubicBezTo>
                    <a:pt x="30040" y="88347"/>
                    <a:pt x="14462" y="69937"/>
                    <a:pt x="15878" y="50110"/>
                  </a:cubicBezTo>
                  <a:cubicBezTo>
                    <a:pt x="17295" y="28868"/>
                    <a:pt x="35705" y="13289"/>
                    <a:pt x="55532" y="1612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4" name="Freeform: Shape 2623">
              <a:extLst>
                <a:ext uri="{FF2B5EF4-FFF2-40B4-BE49-F238E27FC236}">
                  <a16:creationId xmlns:a16="http://schemas.microsoft.com/office/drawing/2014/main" id="{E4CA04E9-C826-442A-87FC-9744082DB924}"/>
                </a:ext>
              </a:extLst>
            </p:cNvPr>
            <p:cNvSpPr/>
            <p:nvPr/>
          </p:nvSpPr>
          <p:spPr>
            <a:xfrm>
              <a:off x="6810812" y="3955477"/>
              <a:ext cx="70810" cy="70810"/>
            </a:xfrm>
            <a:custGeom>
              <a:avLst/>
              <a:gdLst>
                <a:gd name="connsiteX0" fmla="*/ 40018 w 70809"/>
                <a:gd name="connsiteY0" fmla="*/ 15924 h 70809"/>
                <a:gd name="connsiteX1" fmla="*/ 59845 w 70809"/>
                <a:gd name="connsiteY1" fmla="*/ 40000 h 70809"/>
                <a:gd name="connsiteX2" fmla="*/ 35769 w 70809"/>
                <a:gd name="connsiteY2" fmla="*/ 59826 h 70809"/>
                <a:gd name="connsiteX3" fmla="*/ 15943 w 70809"/>
                <a:gd name="connsiteY3" fmla="*/ 35751 h 70809"/>
                <a:gd name="connsiteX4" fmla="*/ 40018 w 70809"/>
                <a:gd name="connsiteY4" fmla="*/ 1592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24"/>
                  </a:moveTo>
                  <a:cubicBezTo>
                    <a:pt x="52764" y="17340"/>
                    <a:pt x="61261" y="27254"/>
                    <a:pt x="59845" y="40000"/>
                  </a:cubicBezTo>
                  <a:cubicBezTo>
                    <a:pt x="58429" y="52745"/>
                    <a:pt x="48515" y="61242"/>
                    <a:pt x="35769" y="59826"/>
                  </a:cubicBezTo>
                  <a:cubicBezTo>
                    <a:pt x="23024" y="58410"/>
                    <a:pt x="14527" y="48497"/>
                    <a:pt x="15943" y="35751"/>
                  </a:cubicBezTo>
                  <a:cubicBezTo>
                    <a:pt x="17359" y="24421"/>
                    <a:pt x="28689" y="14508"/>
                    <a:pt x="40018" y="1592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5" name="Freeform: Shape 2624">
              <a:extLst>
                <a:ext uri="{FF2B5EF4-FFF2-40B4-BE49-F238E27FC236}">
                  <a16:creationId xmlns:a16="http://schemas.microsoft.com/office/drawing/2014/main" id="{8C88A447-1238-4A4A-A01C-71FFF59961CA}"/>
                </a:ext>
              </a:extLst>
            </p:cNvPr>
            <p:cNvSpPr/>
            <p:nvPr/>
          </p:nvSpPr>
          <p:spPr>
            <a:xfrm>
              <a:off x="6640933" y="4375888"/>
              <a:ext cx="99133" cy="99133"/>
            </a:xfrm>
            <a:custGeom>
              <a:avLst/>
              <a:gdLst>
                <a:gd name="connsiteX0" fmla="*/ 55532 w 99133"/>
                <a:gd name="connsiteY0" fmla="*/ 16122 h 99133"/>
                <a:gd name="connsiteX1" fmla="*/ 89520 w 99133"/>
                <a:gd name="connsiteY1" fmla="*/ 55775 h 99133"/>
                <a:gd name="connsiteX2" fmla="*/ 49867 w 99133"/>
                <a:gd name="connsiteY2" fmla="*/ 89764 h 99133"/>
                <a:gd name="connsiteX3" fmla="*/ 15878 w 99133"/>
                <a:gd name="connsiteY3" fmla="*/ 50110 h 99133"/>
                <a:gd name="connsiteX4" fmla="*/ 55532 w 99133"/>
                <a:gd name="connsiteY4" fmla="*/ 16122 h 99133"/>
                <a:gd name="connsiteX5" fmla="*/ 55532 w 99133"/>
                <a:gd name="connsiteY5" fmla="*/ 16122 h 99133"/>
                <a:gd name="connsiteX6" fmla="*/ 54115 w 99133"/>
                <a:gd name="connsiteY6" fmla="*/ 31700 h 99133"/>
                <a:gd name="connsiteX7" fmla="*/ 31457 w 99133"/>
                <a:gd name="connsiteY7" fmla="*/ 50110 h 99133"/>
                <a:gd name="connsiteX8" fmla="*/ 49867 w 99133"/>
                <a:gd name="connsiteY8" fmla="*/ 72770 h 99133"/>
                <a:gd name="connsiteX9" fmla="*/ 72526 w 99133"/>
                <a:gd name="connsiteY9" fmla="*/ 54359 h 99133"/>
                <a:gd name="connsiteX10" fmla="*/ 54115 w 99133"/>
                <a:gd name="connsiteY10" fmla="*/ 31700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55532" y="16122"/>
                  </a:moveTo>
                  <a:cubicBezTo>
                    <a:pt x="75358" y="17538"/>
                    <a:pt x="90936" y="35948"/>
                    <a:pt x="89520" y="55775"/>
                  </a:cubicBezTo>
                  <a:cubicBezTo>
                    <a:pt x="88104" y="75602"/>
                    <a:pt x="69694" y="91180"/>
                    <a:pt x="49867" y="89764"/>
                  </a:cubicBezTo>
                  <a:cubicBezTo>
                    <a:pt x="30040" y="88348"/>
                    <a:pt x="14462" y="69937"/>
                    <a:pt x="15878" y="50110"/>
                  </a:cubicBezTo>
                  <a:cubicBezTo>
                    <a:pt x="17295" y="28868"/>
                    <a:pt x="35705" y="13289"/>
                    <a:pt x="55532" y="16122"/>
                  </a:cubicBezTo>
                  <a:lnTo>
                    <a:pt x="55532" y="16122"/>
                  </a:lnTo>
                  <a:close/>
                  <a:moveTo>
                    <a:pt x="54115" y="31700"/>
                  </a:moveTo>
                  <a:cubicBezTo>
                    <a:pt x="42786" y="30284"/>
                    <a:pt x="32873" y="38781"/>
                    <a:pt x="31457" y="50110"/>
                  </a:cubicBezTo>
                  <a:cubicBezTo>
                    <a:pt x="30040" y="61440"/>
                    <a:pt x="38538" y="71353"/>
                    <a:pt x="49867" y="72770"/>
                  </a:cubicBezTo>
                  <a:cubicBezTo>
                    <a:pt x="61196" y="74186"/>
                    <a:pt x="71110" y="65689"/>
                    <a:pt x="72526" y="54359"/>
                  </a:cubicBezTo>
                  <a:cubicBezTo>
                    <a:pt x="73942" y="43029"/>
                    <a:pt x="65445" y="33116"/>
                    <a:pt x="54115" y="3170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6" name="Freeform: Shape 2625">
              <a:extLst>
                <a:ext uri="{FF2B5EF4-FFF2-40B4-BE49-F238E27FC236}">
                  <a16:creationId xmlns:a16="http://schemas.microsoft.com/office/drawing/2014/main" id="{9DB682E7-82AA-4556-B065-B54F77178250}"/>
                </a:ext>
              </a:extLst>
            </p:cNvPr>
            <p:cNvSpPr/>
            <p:nvPr/>
          </p:nvSpPr>
          <p:spPr>
            <a:xfrm>
              <a:off x="6292640" y="4534834"/>
              <a:ext cx="42486" cy="42486"/>
            </a:xfrm>
            <a:custGeom>
              <a:avLst/>
              <a:gdLst>
                <a:gd name="connsiteX0" fmla="*/ 25703 w 42485"/>
                <a:gd name="connsiteY0" fmla="*/ 15789 h 42485"/>
                <a:gd name="connsiteX1" fmla="*/ 34199 w 42485"/>
                <a:gd name="connsiteY1" fmla="*/ 25702 h 42485"/>
                <a:gd name="connsiteX2" fmla="*/ 24286 w 42485"/>
                <a:gd name="connsiteY2" fmla="*/ 34199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31367" y="15789"/>
                    <a:pt x="34199" y="20037"/>
                    <a:pt x="34199" y="25702"/>
                  </a:cubicBezTo>
                  <a:cubicBezTo>
                    <a:pt x="34199" y="31367"/>
                    <a:pt x="28535" y="34199"/>
                    <a:pt x="24286" y="34199"/>
                  </a:cubicBezTo>
                  <a:cubicBezTo>
                    <a:pt x="18622" y="34199"/>
                    <a:pt x="15789" y="28535"/>
                    <a:pt x="15789" y="24286"/>
                  </a:cubicBezTo>
                  <a:cubicBezTo>
                    <a:pt x="15789" y="18621"/>
                    <a:pt x="20037" y="15789"/>
                    <a:pt x="25703"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7" name="Freeform: Shape 2626">
              <a:extLst>
                <a:ext uri="{FF2B5EF4-FFF2-40B4-BE49-F238E27FC236}">
                  <a16:creationId xmlns:a16="http://schemas.microsoft.com/office/drawing/2014/main" id="{4D87BEFA-90BC-45C4-A174-36B16C788D4E}"/>
                </a:ext>
              </a:extLst>
            </p:cNvPr>
            <p:cNvSpPr/>
            <p:nvPr/>
          </p:nvSpPr>
          <p:spPr>
            <a:xfrm>
              <a:off x="6432843" y="3891609"/>
              <a:ext cx="42486" cy="42486"/>
            </a:xfrm>
            <a:custGeom>
              <a:avLst/>
              <a:gdLst>
                <a:gd name="connsiteX0" fmla="*/ 25703 w 42485"/>
                <a:gd name="connsiteY0" fmla="*/ 16064 h 42485"/>
                <a:gd name="connsiteX1" fmla="*/ 34200 w 42485"/>
                <a:gd name="connsiteY1" fmla="*/ 25977 h 42485"/>
                <a:gd name="connsiteX2" fmla="*/ 24286 w 42485"/>
                <a:gd name="connsiteY2" fmla="*/ 34474 h 42485"/>
                <a:gd name="connsiteX3" fmla="*/ 15789 w 42485"/>
                <a:gd name="connsiteY3" fmla="*/ 24561 h 42485"/>
                <a:gd name="connsiteX4" fmla="*/ 25703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4"/>
                  </a:moveTo>
                  <a:cubicBezTo>
                    <a:pt x="31367" y="16064"/>
                    <a:pt x="34200" y="21728"/>
                    <a:pt x="34200" y="25977"/>
                  </a:cubicBezTo>
                  <a:cubicBezTo>
                    <a:pt x="34200" y="31641"/>
                    <a:pt x="28535" y="34474"/>
                    <a:pt x="24286" y="34474"/>
                  </a:cubicBezTo>
                  <a:cubicBezTo>
                    <a:pt x="18622" y="34474"/>
                    <a:pt x="15789" y="28809"/>
                    <a:pt x="15789" y="24561"/>
                  </a:cubicBezTo>
                  <a:cubicBezTo>
                    <a:pt x="15789" y="18896"/>
                    <a:pt x="20038" y="14647"/>
                    <a:pt x="25703" y="160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8" name="Freeform: Shape 2627">
              <a:extLst>
                <a:ext uri="{FF2B5EF4-FFF2-40B4-BE49-F238E27FC236}">
                  <a16:creationId xmlns:a16="http://schemas.microsoft.com/office/drawing/2014/main" id="{44DAA6F5-A75D-48A7-B6D7-65A5C0344B2D}"/>
                </a:ext>
              </a:extLst>
            </p:cNvPr>
            <p:cNvSpPr/>
            <p:nvPr/>
          </p:nvSpPr>
          <p:spPr>
            <a:xfrm>
              <a:off x="6890118" y="4564419"/>
              <a:ext cx="56648" cy="56648"/>
            </a:xfrm>
            <a:custGeom>
              <a:avLst/>
              <a:gdLst>
                <a:gd name="connsiteX0" fmla="*/ 35771 w 56647"/>
                <a:gd name="connsiteY0" fmla="*/ 15944 h 56647"/>
                <a:gd name="connsiteX1" fmla="*/ 52765 w 56647"/>
                <a:gd name="connsiteY1" fmla="*/ 35771 h 56647"/>
                <a:gd name="connsiteX2" fmla="*/ 32938 w 56647"/>
                <a:gd name="connsiteY2" fmla="*/ 52765 h 56647"/>
                <a:gd name="connsiteX3" fmla="*/ 15944 w 56647"/>
                <a:gd name="connsiteY3" fmla="*/ 32938 h 56647"/>
                <a:gd name="connsiteX4" fmla="*/ 35771 w 56647"/>
                <a:gd name="connsiteY4" fmla="*/ 1594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44"/>
                  </a:moveTo>
                  <a:cubicBezTo>
                    <a:pt x="45684" y="17360"/>
                    <a:pt x="54181" y="25857"/>
                    <a:pt x="52765" y="35771"/>
                  </a:cubicBezTo>
                  <a:cubicBezTo>
                    <a:pt x="51349" y="45684"/>
                    <a:pt x="42852" y="54181"/>
                    <a:pt x="32938" y="52765"/>
                  </a:cubicBezTo>
                  <a:cubicBezTo>
                    <a:pt x="23025" y="51349"/>
                    <a:pt x="14528" y="42852"/>
                    <a:pt x="15944" y="32938"/>
                  </a:cubicBezTo>
                  <a:cubicBezTo>
                    <a:pt x="15944" y="23025"/>
                    <a:pt x="24441" y="14528"/>
                    <a:pt x="35771" y="1594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9" name="Freeform: Shape 2628">
              <a:extLst>
                <a:ext uri="{FF2B5EF4-FFF2-40B4-BE49-F238E27FC236}">
                  <a16:creationId xmlns:a16="http://schemas.microsoft.com/office/drawing/2014/main" id="{7D15DA89-B92A-41F7-85D9-241FDB6D8F5C}"/>
                </a:ext>
              </a:extLst>
            </p:cNvPr>
            <p:cNvSpPr/>
            <p:nvPr/>
          </p:nvSpPr>
          <p:spPr>
            <a:xfrm>
              <a:off x="6235872" y="3761474"/>
              <a:ext cx="84971" cy="84971"/>
            </a:xfrm>
            <a:custGeom>
              <a:avLst/>
              <a:gdLst>
                <a:gd name="connsiteX0" fmla="*/ 45649 w 84971"/>
                <a:gd name="connsiteY0" fmla="*/ 15909 h 84971"/>
                <a:gd name="connsiteX1" fmla="*/ 69724 w 84971"/>
                <a:gd name="connsiteY1" fmla="*/ 45649 h 84971"/>
                <a:gd name="connsiteX2" fmla="*/ 39984 w 84971"/>
                <a:gd name="connsiteY2" fmla="*/ 69724 h 84971"/>
                <a:gd name="connsiteX3" fmla="*/ 15909 w 84971"/>
                <a:gd name="connsiteY3" fmla="*/ 39984 h 84971"/>
                <a:gd name="connsiteX4" fmla="*/ 45649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9" y="15909"/>
                  </a:moveTo>
                  <a:cubicBezTo>
                    <a:pt x="59811" y="17325"/>
                    <a:pt x="71140" y="30071"/>
                    <a:pt x="69724" y="45649"/>
                  </a:cubicBezTo>
                  <a:cubicBezTo>
                    <a:pt x="68308" y="59811"/>
                    <a:pt x="55562" y="71140"/>
                    <a:pt x="39984" y="69724"/>
                  </a:cubicBezTo>
                  <a:cubicBezTo>
                    <a:pt x="25822" y="68308"/>
                    <a:pt x="14493" y="55562"/>
                    <a:pt x="15909" y="39984"/>
                  </a:cubicBezTo>
                  <a:cubicBezTo>
                    <a:pt x="17325" y="25822"/>
                    <a:pt x="30071" y="14493"/>
                    <a:pt x="45649" y="1590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0" name="Freeform: Shape 2629">
              <a:extLst>
                <a:ext uri="{FF2B5EF4-FFF2-40B4-BE49-F238E27FC236}">
                  <a16:creationId xmlns:a16="http://schemas.microsoft.com/office/drawing/2014/main" id="{7CA3AEEE-EAC3-4575-8DC6-FF8CFF2F14F3}"/>
                </a:ext>
              </a:extLst>
            </p:cNvPr>
            <p:cNvSpPr/>
            <p:nvPr/>
          </p:nvSpPr>
          <p:spPr>
            <a:xfrm>
              <a:off x="6240240" y="4160685"/>
              <a:ext cx="42486" cy="42486"/>
            </a:xfrm>
            <a:custGeom>
              <a:avLst/>
              <a:gdLst>
                <a:gd name="connsiteX0" fmla="*/ 25703 w 42485"/>
                <a:gd name="connsiteY0" fmla="*/ 16063 h 42485"/>
                <a:gd name="connsiteX1" fmla="*/ 34200 w 42485"/>
                <a:gd name="connsiteY1" fmla="*/ 25977 h 42485"/>
                <a:gd name="connsiteX2" fmla="*/ 24286 w 42485"/>
                <a:gd name="connsiteY2" fmla="*/ 34474 h 42485"/>
                <a:gd name="connsiteX3" fmla="*/ 15789 w 42485"/>
                <a:gd name="connsiteY3" fmla="*/ 24561 h 42485"/>
                <a:gd name="connsiteX4" fmla="*/ 25703 w 42485"/>
                <a:gd name="connsiteY4" fmla="*/ 1606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3"/>
                  </a:moveTo>
                  <a:cubicBezTo>
                    <a:pt x="31367" y="16063"/>
                    <a:pt x="34200" y="21728"/>
                    <a:pt x="34200" y="25977"/>
                  </a:cubicBezTo>
                  <a:cubicBezTo>
                    <a:pt x="34200" y="31642"/>
                    <a:pt x="28535" y="34474"/>
                    <a:pt x="24286" y="34474"/>
                  </a:cubicBezTo>
                  <a:cubicBezTo>
                    <a:pt x="20038" y="34474"/>
                    <a:pt x="15789" y="28809"/>
                    <a:pt x="15789" y="24561"/>
                  </a:cubicBezTo>
                  <a:cubicBezTo>
                    <a:pt x="17205" y="18896"/>
                    <a:pt x="21454" y="14648"/>
                    <a:pt x="25703" y="1606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1" name="Freeform: Shape 2630">
              <a:extLst>
                <a:ext uri="{FF2B5EF4-FFF2-40B4-BE49-F238E27FC236}">
                  <a16:creationId xmlns:a16="http://schemas.microsoft.com/office/drawing/2014/main" id="{7D04A7A6-D743-40B6-8280-B724C70720A1}"/>
                </a:ext>
              </a:extLst>
            </p:cNvPr>
            <p:cNvSpPr/>
            <p:nvPr/>
          </p:nvSpPr>
          <p:spPr>
            <a:xfrm>
              <a:off x="6608296" y="4337830"/>
              <a:ext cx="70810" cy="70810"/>
            </a:xfrm>
            <a:custGeom>
              <a:avLst/>
              <a:gdLst>
                <a:gd name="connsiteX0" fmla="*/ 40018 w 70809"/>
                <a:gd name="connsiteY0" fmla="*/ 15943 h 70809"/>
                <a:gd name="connsiteX1" fmla="*/ 59845 w 70809"/>
                <a:gd name="connsiteY1" fmla="*/ 40018 h 70809"/>
                <a:gd name="connsiteX2" fmla="*/ 35770 w 70809"/>
                <a:gd name="connsiteY2" fmla="*/ 59845 h 70809"/>
                <a:gd name="connsiteX3" fmla="*/ 15943 w 70809"/>
                <a:gd name="connsiteY3" fmla="*/ 35770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3"/>
                    <a:pt x="59845" y="40018"/>
                  </a:cubicBezTo>
                  <a:cubicBezTo>
                    <a:pt x="58429" y="52764"/>
                    <a:pt x="48515" y="61261"/>
                    <a:pt x="35770" y="59845"/>
                  </a:cubicBezTo>
                  <a:cubicBezTo>
                    <a:pt x="23024" y="58429"/>
                    <a:pt x="14527" y="48515"/>
                    <a:pt x="15943" y="35770"/>
                  </a:cubicBezTo>
                  <a:cubicBezTo>
                    <a:pt x="17359" y="23024"/>
                    <a:pt x="27273" y="14527"/>
                    <a:pt x="40018" y="159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2" name="Freeform: Shape 2631">
              <a:extLst>
                <a:ext uri="{FF2B5EF4-FFF2-40B4-BE49-F238E27FC236}">
                  <a16:creationId xmlns:a16="http://schemas.microsoft.com/office/drawing/2014/main" id="{96CB61AC-F805-461F-97CE-9FE744506E09}"/>
                </a:ext>
              </a:extLst>
            </p:cNvPr>
            <p:cNvSpPr/>
            <p:nvPr/>
          </p:nvSpPr>
          <p:spPr>
            <a:xfrm>
              <a:off x="6516217" y="3733270"/>
              <a:ext cx="56648" cy="56648"/>
            </a:xfrm>
            <a:custGeom>
              <a:avLst/>
              <a:gdLst>
                <a:gd name="connsiteX0" fmla="*/ 35796 w 56647"/>
                <a:gd name="connsiteY0" fmla="*/ 15789 h 56647"/>
                <a:gd name="connsiteX1" fmla="*/ 51374 w 56647"/>
                <a:gd name="connsiteY1" fmla="*/ 35616 h 56647"/>
                <a:gd name="connsiteX2" fmla="*/ 31548 w 56647"/>
                <a:gd name="connsiteY2" fmla="*/ 51194 h 56647"/>
                <a:gd name="connsiteX3" fmla="*/ 15969 w 56647"/>
                <a:gd name="connsiteY3" fmla="*/ 31367 h 56647"/>
                <a:gd name="connsiteX4" fmla="*/ 35796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96" y="15789"/>
                  </a:moveTo>
                  <a:cubicBezTo>
                    <a:pt x="45709" y="17205"/>
                    <a:pt x="52790" y="25702"/>
                    <a:pt x="51374" y="35616"/>
                  </a:cubicBezTo>
                  <a:cubicBezTo>
                    <a:pt x="49958" y="45529"/>
                    <a:pt x="41461" y="52610"/>
                    <a:pt x="31548" y="51194"/>
                  </a:cubicBezTo>
                  <a:cubicBezTo>
                    <a:pt x="21634" y="49777"/>
                    <a:pt x="14554" y="41280"/>
                    <a:pt x="15969" y="31367"/>
                  </a:cubicBezTo>
                  <a:cubicBezTo>
                    <a:pt x="18802" y="22870"/>
                    <a:pt x="27299" y="15789"/>
                    <a:pt x="35796"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3" name="Freeform: Shape 2632">
              <a:extLst>
                <a:ext uri="{FF2B5EF4-FFF2-40B4-BE49-F238E27FC236}">
                  <a16:creationId xmlns:a16="http://schemas.microsoft.com/office/drawing/2014/main" id="{3BAE7CBA-4C1A-4D74-B084-9BDFBA937E2E}"/>
                </a:ext>
              </a:extLst>
            </p:cNvPr>
            <p:cNvSpPr/>
            <p:nvPr/>
          </p:nvSpPr>
          <p:spPr>
            <a:xfrm>
              <a:off x="6149604" y="4286726"/>
              <a:ext cx="42486" cy="42486"/>
            </a:xfrm>
            <a:custGeom>
              <a:avLst/>
              <a:gdLst>
                <a:gd name="connsiteX0" fmla="*/ 25703 w 42485"/>
                <a:gd name="connsiteY0" fmla="*/ 16064 h 42485"/>
                <a:gd name="connsiteX1" fmla="*/ 34200 w 42485"/>
                <a:gd name="connsiteY1" fmla="*/ 25977 h 42485"/>
                <a:gd name="connsiteX2" fmla="*/ 24286 w 42485"/>
                <a:gd name="connsiteY2" fmla="*/ 34474 h 42485"/>
                <a:gd name="connsiteX3" fmla="*/ 15789 w 42485"/>
                <a:gd name="connsiteY3" fmla="*/ 24560 h 42485"/>
                <a:gd name="connsiteX4" fmla="*/ 25703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4"/>
                  </a:moveTo>
                  <a:cubicBezTo>
                    <a:pt x="31367" y="16064"/>
                    <a:pt x="34200" y="20312"/>
                    <a:pt x="34200" y="25977"/>
                  </a:cubicBezTo>
                  <a:cubicBezTo>
                    <a:pt x="34200" y="31641"/>
                    <a:pt x="28535" y="34474"/>
                    <a:pt x="24286" y="34474"/>
                  </a:cubicBezTo>
                  <a:cubicBezTo>
                    <a:pt x="18622" y="34474"/>
                    <a:pt x="15789" y="28809"/>
                    <a:pt x="15789" y="24560"/>
                  </a:cubicBezTo>
                  <a:cubicBezTo>
                    <a:pt x="15789" y="18896"/>
                    <a:pt x="20038" y="14647"/>
                    <a:pt x="25703" y="160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4" name="Freeform: Shape 2633">
              <a:extLst>
                <a:ext uri="{FF2B5EF4-FFF2-40B4-BE49-F238E27FC236}">
                  <a16:creationId xmlns:a16="http://schemas.microsoft.com/office/drawing/2014/main" id="{CC9D170D-61F5-410E-BEFE-E6D7ADA9FAAF}"/>
                </a:ext>
              </a:extLst>
            </p:cNvPr>
            <p:cNvSpPr/>
            <p:nvPr/>
          </p:nvSpPr>
          <p:spPr>
            <a:xfrm>
              <a:off x="6202004" y="3959861"/>
              <a:ext cx="28324" cy="28324"/>
            </a:xfrm>
            <a:custGeom>
              <a:avLst/>
              <a:gdLst>
                <a:gd name="connsiteX0" fmla="*/ 21454 w 28323"/>
                <a:gd name="connsiteY0" fmla="*/ 15789 h 28323"/>
                <a:gd name="connsiteX1" fmla="*/ 25702 w 28323"/>
                <a:gd name="connsiteY1" fmla="*/ 21454 h 28323"/>
                <a:gd name="connsiteX2" fmla="*/ 20037 w 28323"/>
                <a:gd name="connsiteY2" fmla="*/ 25702 h 28323"/>
                <a:gd name="connsiteX3" fmla="*/ 15789 w 28323"/>
                <a:gd name="connsiteY3" fmla="*/ 20037 h 28323"/>
                <a:gd name="connsiteX4" fmla="*/ 21454 w 28323"/>
                <a:gd name="connsiteY4" fmla="*/ 15789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1454" y="15789"/>
                  </a:moveTo>
                  <a:cubicBezTo>
                    <a:pt x="24286" y="15789"/>
                    <a:pt x="25702" y="18621"/>
                    <a:pt x="25702" y="21454"/>
                  </a:cubicBezTo>
                  <a:cubicBezTo>
                    <a:pt x="25702" y="24286"/>
                    <a:pt x="22870" y="25702"/>
                    <a:pt x="20037" y="25702"/>
                  </a:cubicBezTo>
                  <a:cubicBezTo>
                    <a:pt x="17205" y="25702"/>
                    <a:pt x="15789" y="22870"/>
                    <a:pt x="15789" y="20037"/>
                  </a:cubicBezTo>
                  <a:cubicBezTo>
                    <a:pt x="15789" y="17205"/>
                    <a:pt x="18621" y="15789"/>
                    <a:pt x="21454"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5" name="Freeform: Shape 2634">
              <a:extLst>
                <a:ext uri="{FF2B5EF4-FFF2-40B4-BE49-F238E27FC236}">
                  <a16:creationId xmlns:a16="http://schemas.microsoft.com/office/drawing/2014/main" id="{63F928D6-08D4-45FE-8B24-26B843586A12}"/>
                </a:ext>
              </a:extLst>
            </p:cNvPr>
            <p:cNvSpPr/>
            <p:nvPr/>
          </p:nvSpPr>
          <p:spPr>
            <a:xfrm>
              <a:off x="6710416" y="4224688"/>
              <a:ext cx="28324" cy="28324"/>
            </a:xfrm>
            <a:custGeom>
              <a:avLst/>
              <a:gdLst>
                <a:gd name="connsiteX0" fmla="*/ 21454 w 28323"/>
                <a:gd name="connsiteY0" fmla="*/ 15789 h 28323"/>
                <a:gd name="connsiteX1" fmla="*/ 25703 w 28323"/>
                <a:gd name="connsiteY1" fmla="*/ 21454 h 28323"/>
                <a:gd name="connsiteX2" fmla="*/ 20037 w 28323"/>
                <a:gd name="connsiteY2" fmla="*/ 25703 h 28323"/>
                <a:gd name="connsiteX3" fmla="*/ 15789 w 28323"/>
                <a:gd name="connsiteY3" fmla="*/ 20038 h 28323"/>
                <a:gd name="connsiteX4" fmla="*/ 21454 w 28323"/>
                <a:gd name="connsiteY4" fmla="*/ 15789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1454" y="15789"/>
                  </a:moveTo>
                  <a:cubicBezTo>
                    <a:pt x="24286" y="15789"/>
                    <a:pt x="25703" y="18622"/>
                    <a:pt x="25703" y="21454"/>
                  </a:cubicBezTo>
                  <a:cubicBezTo>
                    <a:pt x="25703" y="24286"/>
                    <a:pt x="22870" y="25703"/>
                    <a:pt x="20037" y="25703"/>
                  </a:cubicBezTo>
                  <a:cubicBezTo>
                    <a:pt x="17205" y="25703"/>
                    <a:pt x="15789" y="22870"/>
                    <a:pt x="15789" y="20038"/>
                  </a:cubicBezTo>
                  <a:cubicBezTo>
                    <a:pt x="17205" y="17205"/>
                    <a:pt x="18622" y="15789"/>
                    <a:pt x="21454"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6" name="Freeform: Shape 2635">
              <a:extLst>
                <a:ext uri="{FF2B5EF4-FFF2-40B4-BE49-F238E27FC236}">
                  <a16:creationId xmlns:a16="http://schemas.microsoft.com/office/drawing/2014/main" id="{A3182B61-E041-4AF7-9DBA-E1865795A369}"/>
                </a:ext>
              </a:extLst>
            </p:cNvPr>
            <p:cNvSpPr/>
            <p:nvPr/>
          </p:nvSpPr>
          <p:spPr>
            <a:xfrm>
              <a:off x="6626861" y="4490661"/>
              <a:ext cx="42486" cy="42486"/>
            </a:xfrm>
            <a:custGeom>
              <a:avLst/>
              <a:gdLst>
                <a:gd name="connsiteX0" fmla="*/ 27118 w 42485"/>
                <a:gd name="connsiteY0" fmla="*/ 16060 h 42485"/>
                <a:gd name="connsiteX1" fmla="*/ 37032 w 42485"/>
                <a:gd name="connsiteY1" fmla="*/ 27390 h 42485"/>
                <a:gd name="connsiteX2" fmla="*/ 25702 w 42485"/>
                <a:gd name="connsiteY2" fmla="*/ 37303 h 42485"/>
                <a:gd name="connsiteX3" fmla="*/ 15789 w 42485"/>
                <a:gd name="connsiteY3" fmla="*/ 25973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4"/>
                    <a:pt x="31367" y="37303"/>
                    <a:pt x="25702" y="37303"/>
                  </a:cubicBezTo>
                  <a:cubicBezTo>
                    <a:pt x="20037" y="37303"/>
                    <a:pt x="15789" y="31639"/>
                    <a:pt x="15789" y="25973"/>
                  </a:cubicBezTo>
                  <a:cubicBezTo>
                    <a:pt x="15789" y="18893"/>
                    <a:pt x="20037" y="14644"/>
                    <a:pt x="27118"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7" name="Freeform: Shape 2636">
              <a:extLst>
                <a:ext uri="{FF2B5EF4-FFF2-40B4-BE49-F238E27FC236}">
                  <a16:creationId xmlns:a16="http://schemas.microsoft.com/office/drawing/2014/main" id="{5F470E7D-0E91-4B3A-B779-3B68AC62F448}"/>
                </a:ext>
              </a:extLst>
            </p:cNvPr>
            <p:cNvSpPr/>
            <p:nvPr/>
          </p:nvSpPr>
          <p:spPr>
            <a:xfrm>
              <a:off x="6090125" y="4490932"/>
              <a:ext cx="42486" cy="42486"/>
            </a:xfrm>
            <a:custGeom>
              <a:avLst/>
              <a:gdLst>
                <a:gd name="connsiteX0" fmla="*/ 27118 w 42485"/>
                <a:gd name="connsiteY0" fmla="*/ 15789 h 42485"/>
                <a:gd name="connsiteX1" fmla="*/ 37032 w 42485"/>
                <a:gd name="connsiteY1" fmla="*/ 27118 h 42485"/>
                <a:gd name="connsiteX2" fmla="*/ 25702 w 42485"/>
                <a:gd name="connsiteY2" fmla="*/ 37032 h 42485"/>
                <a:gd name="connsiteX3" fmla="*/ 15789 w 42485"/>
                <a:gd name="connsiteY3" fmla="*/ 25702 h 42485"/>
                <a:gd name="connsiteX4" fmla="*/ 2711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5789"/>
                  </a:moveTo>
                  <a:cubicBezTo>
                    <a:pt x="32783" y="15789"/>
                    <a:pt x="37032" y="21454"/>
                    <a:pt x="37032" y="27118"/>
                  </a:cubicBezTo>
                  <a:cubicBezTo>
                    <a:pt x="37032" y="32783"/>
                    <a:pt x="31367" y="37032"/>
                    <a:pt x="25702" y="37032"/>
                  </a:cubicBezTo>
                  <a:cubicBezTo>
                    <a:pt x="20037" y="37032"/>
                    <a:pt x="15789" y="31367"/>
                    <a:pt x="15789" y="25702"/>
                  </a:cubicBezTo>
                  <a:cubicBezTo>
                    <a:pt x="15789" y="20037"/>
                    <a:pt x="20037" y="15789"/>
                    <a:pt x="2711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8" name="Freeform: Shape 2637">
              <a:extLst>
                <a:ext uri="{FF2B5EF4-FFF2-40B4-BE49-F238E27FC236}">
                  <a16:creationId xmlns:a16="http://schemas.microsoft.com/office/drawing/2014/main" id="{58B36DFC-91C6-4063-B609-3775FB7BA0E3}"/>
                </a:ext>
              </a:extLst>
            </p:cNvPr>
            <p:cNvSpPr/>
            <p:nvPr/>
          </p:nvSpPr>
          <p:spPr>
            <a:xfrm>
              <a:off x="6554635" y="4190428"/>
              <a:ext cx="42486" cy="42486"/>
            </a:xfrm>
            <a:custGeom>
              <a:avLst/>
              <a:gdLst>
                <a:gd name="connsiteX0" fmla="*/ 27118 w 42485"/>
                <a:gd name="connsiteY0" fmla="*/ 16060 h 42485"/>
                <a:gd name="connsiteX1" fmla="*/ 37032 w 42485"/>
                <a:gd name="connsiteY1" fmla="*/ 27390 h 42485"/>
                <a:gd name="connsiteX2" fmla="*/ 25703 w 42485"/>
                <a:gd name="connsiteY2" fmla="*/ 37303 h 42485"/>
                <a:gd name="connsiteX3" fmla="*/ 15789 w 42485"/>
                <a:gd name="connsiteY3" fmla="*/ 25974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5"/>
                    <a:pt x="31367" y="37303"/>
                    <a:pt x="25703" y="37303"/>
                  </a:cubicBezTo>
                  <a:cubicBezTo>
                    <a:pt x="20037" y="37303"/>
                    <a:pt x="15789" y="31639"/>
                    <a:pt x="15789" y="25974"/>
                  </a:cubicBezTo>
                  <a:cubicBezTo>
                    <a:pt x="15789" y="18893"/>
                    <a:pt x="21454" y="14644"/>
                    <a:pt x="27118"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9" name="Freeform: Shape 2638">
              <a:extLst>
                <a:ext uri="{FF2B5EF4-FFF2-40B4-BE49-F238E27FC236}">
                  <a16:creationId xmlns:a16="http://schemas.microsoft.com/office/drawing/2014/main" id="{2EA11A7E-C5D0-41D8-94E0-6615A6F72072}"/>
                </a:ext>
              </a:extLst>
            </p:cNvPr>
            <p:cNvSpPr/>
            <p:nvPr/>
          </p:nvSpPr>
          <p:spPr>
            <a:xfrm>
              <a:off x="6234576" y="3939763"/>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4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5"/>
                    <a:pt x="31367" y="37303"/>
                    <a:pt x="25703" y="37303"/>
                  </a:cubicBezTo>
                  <a:cubicBezTo>
                    <a:pt x="20038" y="37303"/>
                    <a:pt x="15789" y="31638"/>
                    <a:pt x="15789" y="25974"/>
                  </a:cubicBezTo>
                  <a:cubicBezTo>
                    <a:pt x="15789" y="18893"/>
                    <a:pt x="21454" y="14644"/>
                    <a:pt x="27119"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0" name="Freeform: Shape 2639">
              <a:extLst>
                <a:ext uri="{FF2B5EF4-FFF2-40B4-BE49-F238E27FC236}">
                  <a16:creationId xmlns:a16="http://schemas.microsoft.com/office/drawing/2014/main" id="{E3744CE5-B57F-4230-82B3-91FE5887CAB4}"/>
                </a:ext>
              </a:extLst>
            </p:cNvPr>
            <p:cNvSpPr/>
            <p:nvPr/>
          </p:nvSpPr>
          <p:spPr>
            <a:xfrm>
              <a:off x="6689173" y="3809744"/>
              <a:ext cx="42486" cy="42486"/>
            </a:xfrm>
            <a:custGeom>
              <a:avLst/>
              <a:gdLst>
                <a:gd name="connsiteX0" fmla="*/ 25703 w 42485"/>
                <a:gd name="connsiteY0" fmla="*/ 15789 h 42485"/>
                <a:gd name="connsiteX1" fmla="*/ 34199 w 42485"/>
                <a:gd name="connsiteY1" fmla="*/ 25702 h 42485"/>
                <a:gd name="connsiteX2" fmla="*/ 24286 w 42485"/>
                <a:gd name="connsiteY2" fmla="*/ 34200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31367" y="15789"/>
                    <a:pt x="34199" y="21454"/>
                    <a:pt x="34199" y="25702"/>
                  </a:cubicBezTo>
                  <a:cubicBezTo>
                    <a:pt x="34199" y="31367"/>
                    <a:pt x="28535" y="34200"/>
                    <a:pt x="24286" y="34200"/>
                  </a:cubicBezTo>
                  <a:cubicBezTo>
                    <a:pt x="18622" y="34200"/>
                    <a:pt x="15789" y="29951"/>
                    <a:pt x="15789" y="24286"/>
                  </a:cubicBezTo>
                  <a:cubicBezTo>
                    <a:pt x="15789" y="18621"/>
                    <a:pt x="20037" y="15789"/>
                    <a:pt x="25703"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1" name="Freeform: Shape 2640">
              <a:extLst>
                <a:ext uri="{FF2B5EF4-FFF2-40B4-BE49-F238E27FC236}">
                  <a16:creationId xmlns:a16="http://schemas.microsoft.com/office/drawing/2014/main" id="{81F496E8-3E69-4353-90FD-AE1F34257FE7}"/>
                </a:ext>
              </a:extLst>
            </p:cNvPr>
            <p:cNvSpPr/>
            <p:nvPr/>
          </p:nvSpPr>
          <p:spPr>
            <a:xfrm>
              <a:off x="6966747" y="3873473"/>
              <a:ext cx="42486" cy="42486"/>
            </a:xfrm>
            <a:custGeom>
              <a:avLst/>
              <a:gdLst>
                <a:gd name="connsiteX0" fmla="*/ 25702 w 42485"/>
                <a:gd name="connsiteY0" fmla="*/ 15789 h 42485"/>
                <a:gd name="connsiteX1" fmla="*/ 34199 w 42485"/>
                <a:gd name="connsiteY1" fmla="*/ 25702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1454"/>
                    <a:pt x="34199" y="25702"/>
                  </a:cubicBezTo>
                  <a:cubicBezTo>
                    <a:pt x="34199" y="31367"/>
                    <a:pt x="29951" y="34200"/>
                    <a:pt x="24286" y="34200"/>
                  </a:cubicBezTo>
                  <a:cubicBezTo>
                    <a:pt x="18621" y="34200"/>
                    <a:pt x="15789" y="28535"/>
                    <a:pt x="15789" y="24286"/>
                  </a:cubicBezTo>
                  <a:cubicBezTo>
                    <a:pt x="17205" y="18621"/>
                    <a:pt x="21454"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2" name="Freeform: Shape 2641">
              <a:extLst>
                <a:ext uri="{FF2B5EF4-FFF2-40B4-BE49-F238E27FC236}">
                  <a16:creationId xmlns:a16="http://schemas.microsoft.com/office/drawing/2014/main" id="{7FE5B556-C953-48E7-9D9A-1C8F674D6A14}"/>
                </a:ext>
              </a:extLst>
            </p:cNvPr>
            <p:cNvSpPr/>
            <p:nvPr/>
          </p:nvSpPr>
          <p:spPr>
            <a:xfrm>
              <a:off x="6871862" y="4350729"/>
              <a:ext cx="42486" cy="42486"/>
            </a:xfrm>
            <a:custGeom>
              <a:avLst/>
              <a:gdLst>
                <a:gd name="connsiteX0" fmla="*/ 27119 w 42485"/>
                <a:gd name="connsiteY0" fmla="*/ 15789 h 42485"/>
                <a:gd name="connsiteX1" fmla="*/ 37032 w 42485"/>
                <a:gd name="connsiteY1" fmla="*/ 27118 h 42485"/>
                <a:gd name="connsiteX2" fmla="*/ 25703 w 42485"/>
                <a:gd name="connsiteY2" fmla="*/ 37032 h 42485"/>
                <a:gd name="connsiteX3" fmla="*/ 15789 w 42485"/>
                <a:gd name="connsiteY3" fmla="*/ 25702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8"/>
                  </a:cubicBezTo>
                  <a:cubicBezTo>
                    <a:pt x="37032" y="32783"/>
                    <a:pt x="31367" y="37032"/>
                    <a:pt x="25703" y="37032"/>
                  </a:cubicBezTo>
                  <a:cubicBezTo>
                    <a:pt x="20038" y="37032"/>
                    <a:pt x="15789" y="31367"/>
                    <a:pt x="15789" y="25702"/>
                  </a:cubicBezTo>
                  <a:cubicBezTo>
                    <a:pt x="15789" y="20037"/>
                    <a:pt x="21454" y="15789"/>
                    <a:pt x="27119"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3" name="Freeform: Shape 2642">
              <a:extLst>
                <a:ext uri="{FF2B5EF4-FFF2-40B4-BE49-F238E27FC236}">
                  <a16:creationId xmlns:a16="http://schemas.microsoft.com/office/drawing/2014/main" id="{EFE278B9-33B8-4982-BC78-C44C16787EDF}"/>
                </a:ext>
              </a:extLst>
            </p:cNvPr>
            <p:cNvSpPr/>
            <p:nvPr/>
          </p:nvSpPr>
          <p:spPr>
            <a:xfrm>
              <a:off x="6487939" y="3992298"/>
              <a:ext cx="70810" cy="70810"/>
            </a:xfrm>
            <a:custGeom>
              <a:avLst/>
              <a:gdLst>
                <a:gd name="connsiteX0" fmla="*/ 41416 w 70809"/>
                <a:gd name="connsiteY0" fmla="*/ 15924 h 70809"/>
                <a:gd name="connsiteX1" fmla="*/ 62658 w 70809"/>
                <a:gd name="connsiteY1" fmla="*/ 41416 h 70809"/>
                <a:gd name="connsiteX2" fmla="*/ 37167 w 70809"/>
                <a:gd name="connsiteY2" fmla="*/ 62658 h 70809"/>
                <a:gd name="connsiteX3" fmla="*/ 15924 w 70809"/>
                <a:gd name="connsiteY3" fmla="*/ 37167 h 70809"/>
                <a:gd name="connsiteX4" fmla="*/ 41416 w 70809"/>
                <a:gd name="connsiteY4" fmla="*/ 1592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416" y="15924"/>
                  </a:moveTo>
                  <a:cubicBezTo>
                    <a:pt x="54161" y="17340"/>
                    <a:pt x="64075" y="28670"/>
                    <a:pt x="62658" y="41416"/>
                  </a:cubicBezTo>
                  <a:cubicBezTo>
                    <a:pt x="61242" y="54161"/>
                    <a:pt x="49913" y="64074"/>
                    <a:pt x="37167" y="62658"/>
                  </a:cubicBezTo>
                  <a:cubicBezTo>
                    <a:pt x="24421" y="61242"/>
                    <a:pt x="14508" y="49912"/>
                    <a:pt x="15924" y="37167"/>
                  </a:cubicBezTo>
                  <a:cubicBezTo>
                    <a:pt x="17340" y="24421"/>
                    <a:pt x="28670" y="14508"/>
                    <a:pt x="41416" y="1592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4" name="Freeform: Shape 2643">
              <a:extLst>
                <a:ext uri="{FF2B5EF4-FFF2-40B4-BE49-F238E27FC236}">
                  <a16:creationId xmlns:a16="http://schemas.microsoft.com/office/drawing/2014/main" id="{D28BBE4E-8126-4BE7-AB7A-4A0B4E909387}"/>
                </a:ext>
              </a:extLst>
            </p:cNvPr>
            <p:cNvSpPr/>
            <p:nvPr/>
          </p:nvSpPr>
          <p:spPr>
            <a:xfrm>
              <a:off x="6234576" y="4513375"/>
              <a:ext cx="56648" cy="56648"/>
            </a:xfrm>
            <a:custGeom>
              <a:avLst/>
              <a:gdLst>
                <a:gd name="connsiteX0" fmla="*/ 31367 w 56647"/>
                <a:gd name="connsiteY0" fmla="*/ 16006 h 56647"/>
                <a:gd name="connsiteX1" fmla="*/ 44113 w 56647"/>
                <a:gd name="connsiteY1" fmla="*/ 31584 h 56647"/>
                <a:gd name="connsiteX2" fmla="*/ 28535 w 56647"/>
                <a:gd name="connsiteY2" fmla="*/ 44330 h 56647"/>
                <a:gd name="connsiteX3" fmla="*/ 15789 w 56647"/>
                <a:gd name="connsiteY3" fmla="*/ 28752 h 56647"/>
                <a:gd name="connsiteX4" fmla="*/ 31367 w 56647"/>
                <a:gd name="connsiteY4" fmla="*/ 16006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6006"/>
                  </a:moveTo>
                  <a:cubicBezTo>
                    <a:pt x="38448" y="17422"/>
                    <a:pt x="44113" y="23087"/>
                    <a:pt x="44113" y="31584"/>
                  </a:cubicBezTo>
                  <a:cubicBezTo>
                    <a:pt x="42697" y="38665"/>
                    <a:pt x="37032" y="44330"/>
                    <a:pt x="28535" y="44330"/>
                  </a:cubicBezTo>
                  <a:cubicBezTo>
                    <a:pt x="21454" y="44330"/>
                    <a:pt x="15789" y="37249"/>
                    <a:pt x="15789" y="28752"/>
                  </a:cubicBezTo>
                  <a:cubicBezTo>
                    <a:pt x="17205" y="20254"/>
                    <a:pt x="24286" y="14590"/>
                    <a:pt x="31367" y="1600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5" name="Freeform: Shape 2644">
              <a:extLst>
                <a:ext uri="{FF2B5EF4-FFF2-40B4-BE49-F238E27FC236}">
                  <a16:creationId xmlns:a16="http://schemas.microsoft.com/office/drawing/2014/main" id="{A59B9F49-8B5A-4E9C-A8A5-94DDE43445D5}"/>
                </a:ext>
              </a:extLst>
            </p:cNvPr>
            <p:cNvSpPr/>
            <p:nvPr/>
          </p:nvSpPr>
          <p:spPr>
            <a:xfrm>
              <a:off x="6234576" y="4081379"/>
              <a:ext cx="42486" cy="42486"/>
            </a:xfrm>
            <a:custGeom>
              <a:avLst/>
              <a:gdLst>
                <a:gd name="connsiteX0" fmla="*/ 25703 w 42485"/>
                <a:gd name="connsiteY0" fmla="*/ 16064 h 42485"/>
                <a:gd name="connsiteX1" fmla="*/ 34200 w 42485"/>
                <a:gd name="connsiteY1" fmla="*/ 25977 h 42485"/>
                <a:gd name="connsiteX2" fmla="*/ 24286 w 42485"/>
                <a:gd name="connsiteY2" fmla="*/ 34474 h 42485"/>
                <a:gd name="connsiteX3" fmla="*/ 15789 w 42485"/>
                <a:gd name="connsiteY3" fmla="*/ 24560 h 42485"/>
                <a:gd name="connsiteX4" fmla="*/ 25703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4"/>
                  </a:moveTo>
                  <a:cubicBezTo>
                    <a:pt x="31367" y="16064"/>
                    <a:pt x="34200" y="20312"/>
                    <a:pt x="34200" y="25977"/>
                  </a:cubicBezTo>
                  <a:cubicBezTo>
                    <a:pt x="34200" y="31641"/>
                    <a:pt x="28535" y="34474"/>
                    <a:pt x="24286" y="34474"/>
                  </a:cubicBezTo>
                  <a:cubicBezTo>
                    <a:pt x="18622" y="34474"/>
                    <a:pt x="15789" y="30225"/>
                    <a:pt x="15789" y="24560"/>
                  </a:cubicBezTo>
                  <a:cubicBezTo>
                    <a:pt x="17205" y="18896"/>
                    <a:pt x="21454" y="14647"/>
                    <a:pt x="25703" y="160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6" name="Freeform: Shape 2645">
              <a:extLst>
                <a:ext uri="{FF2B5EF4-FFF2-40B4-BE49-F238E27FC236}">
                  <a16:creationId xmlns:a16="http://schemas.microsoft.com/office/drawing/2014/main" id="{C882C6AA-1C2E-47AE-A5FE-BFB08C2254E6}"/>
                </a:ext>
              </a:extLst>
            </p:cNvPr>
            <p:cNvSpPr/>
            <p:nvPr/>
          </p:nvSpPr>
          <p:spPr>
            <a:xfrm>
              <a:off x="6182177" y="3651131"/>
              <a:ext cx="42486" cy="42486"/>
            </a:xfrm>
            <a:custGeom>
              <a:avLst/>
              <a:gdLst>
                <a:gd name="connsiteX0" fmla="*/ 25702 w 42485"/>
                <a:gd name="connsiteY0" fmla="*/ 15789 h 42485"/>
                <a:gd name="connsiteX1" fmla="*/ 34199 w 42485"/>
                <a:gd name="connsiteY1" fmla="*/ 25702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1454"/>
                    <a:pt x="34199" y="25702"/>
                  </a:cubicBezTo>
                  <a:cubicBezTo>
                    <a:pt x="34199" y="29951"/>
                    <a:pt x="28535" y="34200"/>
                    <a:pt x="24286" y="34200"/>
                  </a:cubicBezTo>
                  <a:cubicBezTo>
                    <a:pt x="18621" y="34200"/>
                    <a:pt x="15789" y="28535"/>
                    <a:pt x="15789" y="24286"/>
                  </a:cubicBezTo>
                  <a:cubicBezTo>
                    <a:pt x="15789" y="18621"/>
                    <a:pt x="21454"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7" name="Freeform: Shape 2646">
              <a:extLst>
                <a:ext uri="{FF2B5EF4-FFF2-40B4-BE49-F238E27FC236}">
                  <a16:creationId xmlns:a16="http://schemas.microsoft.com/office/drawing/2014/main" id="{99AD87C3-6690-4124-8DCD-FCD9DF0B8F86}"/>
                </a:ext>
              </a:extLst>
            </p:cNvPr>
            <p:cNvSpPr/>
            <p:nvPr/>
          </p:nvSpPr>
          <p:spPr>
            <a:xfrm>
              <a:off x="6897354" y="3863288"/>
              <a:ext cx="42486" cy="42486"/>
            </a:xfrm>
            <a:custGeom>
              <a:avLst/>
              <a:gdLst>
                <a:gd name="connsiteX0" fmla="*/ 27118 w 42485"/>
                <a:gd name="connsiteY0" fmla="*/ 16060 h 42485"/>
                <a:gd name="connsiteX1" fmla="*/ 37032 w 42485"/>
                <a:gd name="connsiteY1" fmla="*/ 27390 h 42485"/>
                <a:gd name="connsiteX2" fmla="*/ 25702 w 42485"/>
                <a:gd name="connsiteY2" fmla="*/ 37303 h 42485"/>
                <a:gd name="connsiteX3" fmla="*/ 15789 w 42485"/>
                <a:gd name="connsiteY3" fmla="*/ 25974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5"/>
                    <a:pt x="31367" y="37303"/>
                    <a:pt x="25702" y="37303"/>
                  </a:cubicBezTo>
                  <a:cubicBezTo>
                    <a:pt x="20037" y="37303"/>
                    <a:pt x="15789" y="31638"/>
                    <a:pt x="15789" y="25974"/>
                  </a:cubicBezTo>
                  <a:cubicBezTo>
                    <a:pt x="15789" y="18893"/>
                    <a:pt x="21454" y="14644"/>
                    <a:pt x="27118"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8" name="Freeform: Shape 2647">
              <a:extLst>
                <a:ext uri="{FF2B5EF4-FFF2-40B4-BE49-F238E27FC236}">
                  <a16:creationId xmlns:a16="http://schemas.microsoft.com/office/drawing/2014/main" id="{631805E4-51F7-44E8-A79F-FF86C73BB457}"/>
                </a:ext>
              </a:extLst>
            </p:cNvPr>
            <p:cNvSpPr/>
            <p:nvPr/>
          </p:nvSpPr>
          <p:spPr>
            <a:xfrm>
              <a:off x="5918765" y="3846565"/>
              <a:ext cx="56648" cy="56648"/>
            </a:xfrm>
            <a:custGeom>
              <a:avLst/>
              <a:gdLst>
                <a:gd name="connsiteX0" fmla="*/ 35616 w 56647"/>
                <a:gd name="connsiteY0" fmla="*/ 15789 h 56647"/>
                <a:gd name="connsiteX1" fmla="*/ 52610 w 56647"/>
                <a:gd name="connsiteY1" fmla="*/ 35616 h 56647"/>
                <a:gd name="connsiteX2" fmla="*/ 32783 w 56647"/>
                <a:gd name="connsiteY2" fmla="*/ 52610 h 56647"/>
                <a:gd name="connsiteX3" fmla="*/ 15789 w 56647"/>
                <a:gd name="connsiteY3" fmla="*/ 32783 h 56647"/>
                <a:gd name="connsiteX4" fmla="*/ 35616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616" y="15789"/>
                  </a:moveTo>
                  <a:cubicBezTo>
                    <a:pt x="45529" y="17205"/>
                    <a:pt x="52610" y="25702"/>
                    <a:pt x="52610" y="35616"/>
                  </a:cubicBezTo>
                  <a:cubicBezTo>
                    <a:pt x="51194" y="45529"/>
                    <a:pt x="42697" y="52610"/>
                    <a:pt x="32783" y="52610"/>
                  </a:cubicBezTo>
                  <a:cubicBezTo>
                    <a:pt x="22870" y="51194"/>
                    <a:pt x="15789" y="42697"/>
                    <a:pt x="15789" y="32783"/>
                  </a:cubicBezTo>
                  <a:cubicBezTo>
                    <a:pt x="15789" y="22870"/>
                    <a:pt x="24286" y="15789"/>
                    <a:pt x="35616"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9" name="Freeform: Shape 2648">
              <a:extLst>
                <a:ext uri="{FF2B5EF4-FFF2-40B4-BE49-F238E27FC236}">
                  <a16:creationId xmlns:a16="http://schemas.microsoft.com/office/drawing/2014/main" id="{260F6C38-4768-4A7F-AB57-6F98D6D77D3C}"/>
                </a:ext>
              </a:extLst>
            </p:cNvPr>
            <p:cNvSpPr/>
            <p:nvPr/>
          </p:nvSpPr>
          <p:spPr>
            <a:xfrm>
              <a:off x="6166599" y="4643881"/>
              <a:ext cx="56648" cy="56648"/>
            </a:xfrm>
            <a:custGeom>
              <a:avLst/>
              <a:gdLst>
                <a:gd name="connsiteX0" fmla="*/ 31367 w 56647"/>
                <a:gd name="connsiteY0" fmla="*/ 15789 h 56647"/>
                <a:gd name="connsiteX1" fmla="*/ 44113 w 56647"/>
                <a:gd name="connsiteY1" fmla="*/ 31367 h 56647"/>
                <a:gd name="connsiteX2" fmla="*/ 28535 w 56647"/>
                <a:gd name="connsiteY2" fmla="*/ 44113 h 56647"/>
                <a:gd name="connsiteX3" fmla="*/ 15789 w 56647"/>
                <a:gd name="connsiteY3" fmla="*/ 28535 h 56647"/>
                <a:gd name="connsiteX4" fmla="*/ 31367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5789"/>
                  </a:moveTo>
                  <a:cubicBezTo>
                    <a:pt x="38448" y="17205"/>
                    <a:pt x="44113" y="22870"/>
                    <a:pt x="44113" y="31367"/>
                  </a:cubicBezTo>
                  <a:cubicBezTo>
                    <a:pt x="42697" y="38448"/>
                    <a:pt x="37032" y="44113"/>
                    <a:pt x="28535" y="44113"/>
                  </a:cubicBezTo>
                  <a:cubicBezTo>
                    <a:pt x="21454" y="44113"/>
                    <a:pt x="15789" y="37032"/>
                    <a:pt x="15789" y="28535"/>
                  </a:cubicBezTo>
                  <a:cubicBezTo>
                    <a:pt x="15789" y="21454"/>
                    <a:pt x="22870" y="15789"/>
                    <a:pt x="31367"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0" name="Freeform: Shape 2649">
              <a:extLst>
                <a:ext uri="{FF2B5EF4-FFF2-40B4-BE49-F238E27FC236}">
                  <a16:creationId xmlns:a16="http://schemas.microsoft.com/office/drawing/2014/main" id="{EFF98CA4-0DC0-44F3-A66C-38F52F99CC10}"/>
                </a:ext>
              </a:extLst>
            </p:cNvPr>
            <p:cNvSpPr/>
            <p:nvPr/>
          </p:nvSpPr>
          <p:spPr>
            <a:xfrm>
              <a:off x="6717362" y="3655245"/>
              <a:ext cx="70810" cy="70810"/>
            </a:xfrm>
            <a:custGeom>
              <a:avLst/>
              <a:gdLst>
                <a:gd name="connsiteX0" fmla="*/ 41415 w 70809"/>
                <a:gd name="connsiteY0" fmla="*/ 15924 h 70809"/>
                <a:gd name="connsiteX1" fmla="*/ 62658 w 70809"/>
                <a:gd name="connsiteY1" fmla="*/ 41415 h 70809"/>
                <a:gd name="connsiteX2" fmla="*/ 37167 w 70809"/>
                <a:gd name="connsiteY2" fmla="*/ 62658 h 70809"/>
                <a:gd name="connsiteX3" fmla="*/ 15924 w 70809"/>
                <a:gd name="connsiteY3" fmla="*/ 37167 h 70809"/>
                <a:gd name="connsiteX4" fmla="*/ 41415 w 70809"/>
                <a:gd name="connsiteY4" fmla="*/ 1592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415" y="15924"/>
                  </a:moveTo>
                  <a:cubicBezTo>
                    <a:pt x="54161" y="17340"/>
                    <a:pt x="64074" y="28670"/>
                    <a:pt x="62658" y="41415"/>
                  </a:cubicBezTo>
                  <a:cubicBezTo>
                    <a:pt x="61242" y="54161"/>
                    <a:pt x="49912" y="64074"/>
                    <a:pt x="37167" y="62658"/>
                  </a:cubicBezTo>
                  <a:cubicBezTo>
                    <a:pt x="24421" y="61242"/>
                    <a:pt x="14508" y="49912"/>
                    <a:pt x="15924" y="37167"/>
                  </a:cubicBezTo>
                  <a:cubicBezTo>
                    <a:pt x="17340" y="24421"/>
                    <a:pt x="28670" y="14508"/>
                    <a:pt x="41415" y="1592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1" name="Freeform: Shape 2650">
              <a:extLst>
                <a:ext uri="{FF2B5EF4-FFF2-40B4-BE49-F238E27FC236}">
                  <a16:creationId xmlns:a16="http://schemas.microsoft.com/office/drawing/2014/main" id="{53808FD6-40F8-4D97-BF5C-B4987B004142}"/>
                </a:ext>
              </a:extLst>
            </p:cNvPr>
            <p:cNvSpPr/>
            <p:nvPr/>
          </p:nvSpPr>
          <p:spPr>
            <a:xfrm>
              <a:off x="6843538" y="3765842"/>
              <a:ext cx="42486" cy="42486"/>
            </a:xfrm>
            <a:custGeom>
              <a:avLst/>
              <a:gdLst>
                <a:gd name="connsiteX0" fmla="*/ 27119 w 42485"/>
                <a:gd name="connsiteY0" fmla="*/ 15789 h 42485"/>
                <a:gd name="connsiteX1" fmla="*/ 37032 w 42485"/>
                <a:gd name="connsiteY1" fmla="*/ 27119 h 42485"/>
                <a:gd name="connsiteX2" fmla="*/ 25703 w 42485"/>
                <a:gd name="connsiteY2" fmla="*/ 37032 h 42485"/>
                <a:gd name="connsiteX3" fmla="*/ 15789 w 42485"/>
                <a:gd name="connsiteY3" fmla="*/ 25703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9"/>
                  </a:cubicBezTo>
                  <a:cubicBezTo>
                    <a:pt x="37032" y="32783"/>
                    <a:pt x="31367" y="37032"/>
                    <a:pt x="25703" y="37032"/>
                  </a:cubicBezTo>
                  <a:cubicBezTo>
                    <a:pt x="20038" y="37032"/>
                    <a:pt x="15789" y="31367"/>
                    <a:pt x="15789" y="25703"/>
                  </a:cubicBezTo>
                  <a:cubicBezTo>
                    <a:pt x="15789" y="18622"/>
                    <a:pt x="21454" y="15789"/>
                    <a:pt x="27119"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2" name="Freeform: Shape 2651">
              <a:extLst>
                <a:ext uri="{FF2B5EF4-FFF2-40B4-BE49-F238E27FC236}">
                  <a16:creationId xmlns:a16="http://schemas.microsoft.com/office/drawing/2014/main" id="{9FAC87C8-49D0-4441-AB97-91BB5C2F9B8B}"/>
                </a:ext>
              </a:extLst>
            </p:cNvPr>
            <p:cNvSpPr/>
            <p:nvPr/>
          </p:nvSpPr>
          <p:spPr>
            <a:xfrm>
              <a:off x="5918547" y="3648080"/>
              <a:ext cx="56648" cy="56648"/>
            </a:xfrm>
            <a:custGeom>
              <a:avLst/>
              <a:gdLst>
                <a:gd name="connsiteX0" fmla="*/ 30169 w 56647"/>
                <a:gd name="connsiteY0" fmla="*/ 16007 h 56647"/>
                <a:gd name="connsiteX1" fmla="*/ 41499 w 56647"/>
                <a:gd name="connsiteY1" fmla="*/ 30169 h 56647"/>
                <a:gd name="connsiteX2" fmla="*/ 27337 w 56647"/>
                <a:gd name="connsiteY2" fmla="*/ 41499 h 56647"/>
                <a:gd name="connsiteX3" fmla="*/ 16007 w 56647"/>
                <a:gd name="connsiteY3" fmla="*/ 27337 h 56647"/>
                <a:gd name="connsiteX4" fmla="*/ 30169 w 56647"/>
                <a:gd name="connsiteY4" fmla="*/ 1600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0169" y="16007"/>
                  </a:moveTo>
                  <a:cubicBezTo>
                    <a:pt x="37250" y="16007"/>
                    <a:pt x="42915" y="23088"/>
                    <a:pt x="41499" y="30169"/>
                  </a:cubicBezTo>
                  <a:cubicBezTo>
                    <a:pt x="41499" y="37250"/>
                    <a:pt x="34418" y="42915"/>
                    <a:pt x="27337" y="41499"/>
                  </a:cubicBezTo>
                  <a:cubicBezTo>
                    <a:pt x="20256" y="41499"/>
                    <a:pt x="14591" y="34418"/>
                    <a:pt x="16007" y="27337"/>
                  </a:cubicBezTo>
                  <a:cubicBezTo>
                    <a:pt x="16007" y="20256"/>
                    <a:pt x="23088" y="14591"/>
                    <a:pt x="30169" y="160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3" name="Freeform: Shape 2652">
              <a:extLst>
                <a:ext uri="{FF2B5EF4-FFF2-40B4-BE49-F238E27FC236}">
                  <a16:creationId xmlns:a16="http://schemas.microsoft.com/office/drawing/2014/main" id="{6CFCA81B-E273-4320-9977-95A3DAEB2F8F}"/>
                </a:ext>
              </a:extLst>
            </p:cNvPr>
            <p:cNvSpPr/>
            <p:nvPr/>
          </p:nvSpPr>
          <p:spPr>
            <a:xfrm>
              <a:off x="5920000" y="3686536"/>
              <a:ext cx="56648" cy="56648"/>
            </a:xfrm>
            <a:custGeom>
              <a:avLst/>
              <a:gdLst>
                <a:gd name="connsiteX0" fmla="*/ 32964 w 56647"/>
                <a:gd name="connsiteY0" fmla="*/ 15789 h 56647"/>
                <a:gd name="connsiteX1" fmla="*/ 47126 w 56647"/>
                <a:gd name="connsiteY1" fmla="*/ 32783 h 56647"/>
                <a:gd name="connsiteX2" fmla="*/ 30132 w 56647"/>
                <a:gd name="connsiteY2" fmla="*/ 46945 h 56647"/>
                <a:gd name="connsiteX3" fmla="*/ 15970 w 56647"/>
                <a:gd name="connsiteY3" fmla="*/ 29951 h 56647"/>
                <a:gd name="connsiteX4" fmla="*/ 32964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4" y="15789"/>
                  </a:moveTo>
                  <a:cubicBezTo>
                    <a:pt x="41462" y="17205"/>
                    <a:pt x="48543" y="24286"/>
                    <a:pt x="47126" y="32783"/>
                  </a:cubicBezTo>
                  <a:cubicBezTo>
                    <a:pt x="45710" y="41280"/>
                    <a:pt x="38629" y="48361"/>
                    <a:pt x="30132" y="46945"/>
                  </a:cubicBezTo>
                  <a:cubicBezTo>
                    <a:pt x="21635" y="45529"/>
                    <a:pt x="14554" y="38448"/>
                    <a:pt x="15970" y="29951"/>
                  </a:cubicBezTo>
                  <a:cubicBezTo>
                    <a:pt x="15970" y="21454"/>
                    <a:pt x="23051" y="15789"/>
                    <a:pt x="32964"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4" name="Freeform: Shape 2653">
              <a:extLst>
                <a:ext uri="{FF2B5EF4-FFF2-40B4-BE49-F238E27FC236}">
                  <a16:creationId xmlns:a16="http://schemas.microsoft.com/office/drawing/2014/main" id="{6BFE093C-06DF-4BC6-8FEF-159504FCF1B3}"/>
                </a:ext>
              </a:extLst>
            </p:cNvPr>
            <p:cNvSpPr/>
            <p:nvPr/>
          </p:nvSpPr>
          <p:spPr>
            <a:xfrm>
              <a:off x="6058814" y="3941296"/>
              <a:ext cx="70810" cy="70810"/>
            </a:xfrm>
            <a:custGeom>
              <a:avLst/>
              <a:gdLst>
                <a:gd name="connsiteX0" fmla="*/ 38603 w 70809"/>
                <a:gd name="connsiteY0" fmla="*/ 15943 h 70809"/>
                <a:gd name="connsiteX1" fmla="*/ 57013 w 70809"/>
                <a:gd name="connsiteY1" fmla="*/ 38602 h 70809"/>
                <a:gd name="connsiteX2" fmla="*/ 34354 w 70809"/>
                <a:gd name="connsiteY2" fmla="*/ 57013 h 70809"/>
                <a:gd name="connsiteX3" fmla="*/ 15943 w 70809"/>
                <a:gd name="connsiteY3" fmla="*/ 34354 h 70809"/>
                <a:gd name="connsiteX4" fmla="*/ 38603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603" y="15943"/>
                  </a:moveTo>
                  <a:cubicBezTo>
                    <a:pt x="49932" y="17359"/>
                    <a:pt x="58429" y="27273"/>
                    <a:pt x="57013" y="38602"/>
                  </a:cubicBezTo>
                  <a:cubicBezTo>
                    <a:pt x="55597" y="49932"/>
                    <a:pt x="45684" y="58429"/>
                    <a:pt x="34354" y="57013"/>
                  </a:cubicBezTo>
                  <a:cubicBezTo>
                    <a:pt x="23024" y="55597"/>
                    <a:pt x="14527" y="45683"/>
                    <a:pt x="15943" y="34354"/>
                  </a:cubicBezTo>
                  <a:cubicBezTo>
                    <a:pt x="17360" y="23024"/>
                    <a:pt x="27273" y="14527"/>
                    <a:pt x="38603" y="159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5" name="Freeform: Shape 2654">
              <a:extLst>
                <a:ext uri="{FF2B5EF4-FFF2-40B4-BE49-F238E27FC236}">
                  <a16:creationId xmlns:a16="http://schemas.microsoft.com/office/drawing/2014/main" id="{0E24A5A5-C58C-4DA6-883B-64B1016520A3}"/>
                </a:ext>
              </a:extLst>
            </p:cNvPr>
            <p:cNvSpPr/>
            <p:nvPr/>
          </p:nvSpPr>
          <p:spPr>
            <a:xfrm>
              <a:off x="7012065" y="4023318"/>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3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4"/>
                    <a:pt x="31367" y="37303"/>
                    <a:pt x="25703" y="37303"/>
                  </a:cubicBezTo>
                  <a:cubicBezTo>
                    <a:pt x="20038" y="37303"/>
                    <a:pt x="15789" y="31639"/>
                    <a:pt x="15789" y="25973"/>
                  </a:cubicBezTo>
                  <a:cubicBezTo>
                    <a:pt x="15789" y="18893"/>
                    <a:pt x="21454" y="14644"/>
                    <a:pt x="27119"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6" name="Freeform: Shape 2655">
              <a:extLst>
                <a:ext uri="{FF2B5EF4-FFF2-40B4-BE49-F238E27FC236}">
                  <a16:creationId xmlns:a16="http://schemas.microsoft.com/office/drawing/2014/main" id="{9044180A-BC76-4F6A-AC8F-44392822A507}"/>
                </a:ext>
              </a:extLst>
            </p:cNvPr>
            <p:cNvSpPr/>
            <p:nvPr/>
          </p:nvSpPr>
          <p:spPr>
            <a:xfrm>
              <a:off x="6914348" y="3939759"/>
              <a:ext cx="42486" cy="42486"/>
            </a:xfrm>
            <a:custGeom>
              <a:avLst/>
              <a:gdLst>
                <a:gd name="connsiteX0" fmla="*/ 25703 w 42485"/>
                <a:gd name="connsiteY0" fmla="*/ 16063 h 42485"/>
                <a:gd name="connsiteX1" fmla="*/ 34200 w 42485"/>
                <a:gd name="connsiteY1" fmla="*/ 25977 h 42485"/>
                <a:gd name="connsiteX2" fmla="*/ 24286 w 42485"/>
                <a:gd name="connsiteY2" fmla="*/ 34474 h 42485"/>
                <a:gd name="connsiteX3" fmla="*/ 15789 w 42485"/>
                <a:gd name="connsiteY3" fmla="*/ 24561 h 42485"/>
                <a:gd name="connsiteX4" fmla="*/ 25703 w 42485"/>
                <a:gd name="connsiteY4" fmla="*/ 1606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3"/>
                  </a:moveTo>
                  <a:cubicBezTo>
                    <a:pt x="31367" y="16063"/>
                    <a:pt x="34200" y="20312"/>
                    <a:pt x="34200" y="25977"/>
                  </a:cubicBezTo>
                  <a:cubicBezTo>
                    <a:pt x="34200" y="31642"/>
                    <a:pt x="29951" y="34474"/>
                    <a:pt x="24286" y="34474"/>
                  </a:cubicBezTo>
                  <a:cubicBezTo>
                    <a:pt x="18622" y="34474"/>
                    <a:pt x="15789" y="30225"/>
                    <a:pt x="15789" y="24561"/>
                  </a:cubicBezTo>
                  <a:cubicBezTo>
                    <a:pt x="17205" y="18896"/>
                    <a:pt x="21454" y="14647"/>
                    <a:pt x="25703" y="1606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7" name="Freeform: Shape 2656">
              <a:extLst>
                <a:ext uri="{FF2B5EF4-FFF2-40B4-BE49-F238E27FC236}">
                  <a16:creationId xmlns:a16="http://schemas.microsoft.com/office/drawing/2014/main" id="{BAA19C26-AD5F-489A-B06F-9825ECC430B5}"/>
                </a:ext>
              </a:extLst>
            </p:cNvPr>
            <p:cNvSpPr/>
            <p:nvPr/>
          </p:nvSpPr>
          <p:spPr>
            <a:xfrm>
              <a:off x="6744405" y="4213139"/>
              <a:ext cx="42486" cy="42486"/>
            </a:xfrm>
            <a:custGeom>
              <a:avLst/>
              <a:gdLst>
                <a:gd name="connsiteX0" fmla="*/ 27119 w 42485"/>
                <a:gd name="connsiteY0" fmla="*/ 16009 h 42485"/>
                <a:gd name="connsiteX1" fmla="*/ 37032 w 42485"/>
                <a:gd name="connsiteY1" fmla="*/ 27338 h 42485"/>
                <a:gd name="connsiteX2" fmla="*/ 25703 w 42485"/>
                <a:gd name="connsiteY2" fmla="*/ 37252 h 42485"/>
                <a:gd name="connsiteX3" fmla="*/ 15789 w 42485"/>
                <a:gd name="connsiteY3" fmla="*/ 25923 h 42485"/>
                <a:gd name="connsiteX4" fmla="*/ 27119 w 42485"/>
                <a:gd name="connsiteY4" fmla="*/ 1600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09"/>
                  </a:moveTo>
                  <a:cubicBezTo>
                    <a:pt x="32783" y="16009"/>
                    <a:pt x="37032" y="21674"/>
                    <a:pt x="37032" y="27338"/>
                  </a:cubicBezTo>
                  <a:cubicBezTo>
                    <a:pt x="37032" y="33004"/>
                    <a:pt x="31367" y="37252"/>
                    <a:pt x="25703" y="37252"/>
                  </a:cubicBezTo>
                  <a:cubicBezTo>
                    <a:pt x="20038" y="37252"/>
                    <a:pt x="15789" y="31587"/>
                    <a:pt x="15789" y="25923"/>
                  </a:cubicBezTo>
                  <a:cubicBezTo>
                    <a:pt x="15789" y="20258"/>
                    <a:pt x="21454" y="14593"/>
                    <a:pt x="27119" y="1600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8" name="Freeform: Shape 2657">
              <a:extLst>
                <a:ext uri="{FF2B5EF4-FFF2-40B4-BE49-F238E27FC236}">
                  <a16:creationId xmlns:a16="http://schemas.microsoft.com/office/drawing/2014/main" id="{23177C6A-9035-4ACA-876E-C2987C040ED4}"/>
                </a:ext>
              </a:extLst>
            </p:cNvPr>
            <p:cNvSpPr/>
            <p:nvPr/>
          </p:nvSpPr>
          <p:spPr>
            <a:xfrm>
              <a:off x="6659299" y="4776868"/>
              <a:ext cx="70810" cy="70810"/>
            </a:xfrm>
            <a:custGeom>
              <a:avLst/>
              <a:gdLst>
                <a:gd name="connsiteX0" fmla="*/ 44247 w 70809"/>
                <a:gd name="connsiteY0" fmla="*/ 15923 h 70809"/>
                <a:gd name="connsiteX1" fmla="*/ 66907 w 70809"/>
                <a:gd name="connsiteY1" fmla="*/ 44247 h 70809"/>
                <a:gd name="connsiteX2" fmla="*/ 38583 w 70809"/>
                <a:gd name="connsiteY2" fmla="*/ 66906 h 70809"/>
                <a:gd name="connsiteX3" fmla="*/ 15924 w 70809"/>
                <a:gd name="connsiteY3" fmla="*/ 38583 h 70809"/>
                <a:gd name="connsiteX4" fmla="*/ 44247 w 70809"/>
                <a:gd name="connsiteY4" fmla="*/ 15923 h 70809"/>
                <a:gd name="connsiteX5" fmla="*/ 44247 w 70809"/>
                <a:gd name="connsiteY5" fmla="*/ 15923 h 70809"/>
                <a:gd name="connsiteX6" fmla="*/ 44247 w 70809"/>
                <a:gd name="connsiteY6" fmla="*/ 27253 h 70809"/>
                <a:gd name="connsiteX7" fmla="*/ 28669 w 70809"/>
                <a:gd name="connsiteY7" fmla="*/ 39999 h 70809"/>
                <a:gd name="connsiteX8" fmla="*/ 41415 w 70809"/>
                <a:gd name="connsiteY8" fmla="*/ 55577 h 70809"/>
                <a:gd name="connsiteX9" fmla="*/ 56993 w 70809"/>
                <a:gd name="connsiteY9" fmla="*/ 42831 h 70809"/>
                <a:gd name="connsiteX10" fmla="*/ 44247 w 70809"/>
                <a:gd name="connsiteY10" fmla="*/ 27253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247" y="15923"/>
                  </a:moveTo>
                  <a:cubicBezTo>
                    <a:pt x="58409" y="17340"/>
                    <a:pt x="68323" y="30085"/>
                    <a:pt x="66907" y="44247"/>
                  </a:cubicBezTo>
                  <a:cubicBezTo>
                    <a:pt x="65490" y="58409"/>
                    <a:pt x="52745" y="68323"/>
                    <a:pt x="38583" y="66906"/>
                  </a:cubicBezTo>
                  <a:cubicBezTo>
                    <a:pt x="24421" y="65490"/>
                    <a:pt x="14507" y="52745"/>
                    <a:pt x="15924" y="38583"/>
                  </a:cubicBezTo>
                  <a:cubicBezTo>
                    <a:pt x="17340" y="24421"/>
                    <a:pt x="30085" y="14508"/>
                    <a:pt x="44247" y="15923"/>
                  </a:cubicBezTo>
                  <a:lnTo>
                    <a:pt x="44247" y="15923"/>
                  </a:lnTo>
                  <a:close/>
                  <a:moveTo>
                    <a:pt x="44247" y="27253"/>
                  </a:moveTo>
                  <a:cubicBezTo>
                    <a:pt x="35750" y="25837"/>
                    <a:pt x="28669" y="32918"/>
                    <a:pt x="28669" y="39999"/>
                  </a:cubicBezTo>
                  <a:cubicBezTo>
                    <a:pt x="27253" y="48496"/>
                    <a:pt x="34334" y="55577"/>
                    <a:pt x="41415" y="55577"/>
                  </a:cubicBezTo>
                  <a:cubicBezTo>
                    <a:pt x="49912" y="56993"/>
                    <a:pt x="56993" y="49912"/>
                    <a:pt x="56993" y="42831"/>
                  </a:cubicBezTo>
                  <a:cubicBezTo>
                    <a:pt x="56993" y="34334"/>
                    <a:pt x="51328" y="27253"/>
                    <a:pt x="44247" y="2725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9" name="Freeform: Shape 2658">
              <a:extLst>
                <a:ext uri="{FF2B5EF4-FFF2-40B4-BE49-F238E27FC236}">
                  <a16:creationId xmlns:a16="http://schemas.microsoft.com/office/drawing/2014/main" id="{F39161A8-FC94-4815-A761-EAEC46806685}"/>
                </a:ext>
              </a:extLst>
            </p:cNvPr>
            <p:cNvSpPr/>
            <p:nvPr/>
          </p:nvSpPr>
          <p:spPr>
            <a:xfrm>
              <a:off x="6400151" y="4902924"/>
              <a:ext cx="84971" cy="84971"/>
            </a:xfrm>
            <a:custGeom>
              <a:avLst/>
              <a:gdLst>
                <a:gd name="connsiteX0" fmla="*/ 45649 w 84971"/>
                <a:gd name="connsiteY0" fmla="*/ 15909 h 84971"/>
                <a:gd name="connsiteX1" fmla="*/ 71140 w 84971"/>
                <a:gd name="connsiteY1" fmla="*/ 45648 h 84971"/>
                <a:gd name="connsiteX2" fmla="*/ 41400 w 84971"/>
                <a:gd name="connsiteY2" fmla="*/ 71140 h 84971"/>
                <a:gd name="connsiteX3" fmla="*/ 15909 w 84971"/>
                <a:gd name="connsiteY3" fmla="*/ 41400 h 84971"/>
                <a:gd name="connsiteX4" fmla="*/ 45649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9" y="15909"/>
                  </a:moveTo>
                  <a:cubicBezTo>
                    <a:pt x="61226" y="17324"/>
                    <a:pt x="72556" y="30070"/>
                    <a:pt x="71140" y="45648"/>
                  </a:cubicBezTo>
                  <a:cubicBezTo>
                    <a:pt x="69724" y="61226"/>
                    <a:pt x="56978" y="72556"/>
                    <a:pt x="41400" y="71140"/>
                  </a:cubicBezTo>
                  <a:cubicBezTo>
                    <a:pt x="25822" y="69724"/>
                    <a:pt x="14492" y="56978"/>
                    <a:pt x="15909" y="41400"/>
                  </a:cubicBezTo>
                  <a:cubicBezTo>
                    <a:pt x="17325" y="25822"/>
                    <a:pt x="31487" y="14492"/>
                    <a:pt x="45649" y="1590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0" name="Freeform: Shape 2659">
              <a:extLst>
                <a:ext uri="{FF2B5EF4-FFF2-40B4-BE49-F238E27FC236}">
                  <a16:creationId xmlns:a16="http://schemas.microsoft.com/office/drawing/2014/main" id="{06091AD0-DE0C-4507-89E8-A7522B6F5583}"/>
                </a:ext>
              </a:extLst>
            </p:cNvPr>
            <p:cNvSpPr/>
            <p:nvPr/>
          </p:nvSpPr>
          <p:spPr>
            <a:xfrm>
              <a:off x="6513566" y="5057409"/>
              <a:ext cx="56648" cy="56648"/>
            </a:xfrm>
            <a:custGeom>
              <a:avLst/>
              <a:gdLst>
                <a:gd name="connsiteX0" fmla="*/ 35616 w 56647"/>
                <a:gd name="connsiteY0" fmla="*/ 15789 h 56647"/>
                <a:gd name="connsiteX1" fmla="*/ 52610 w 56647"/>
                <a:gd name="connsiteY1" fmla="*/ 35616 h 56647"/>
                <a:gd name="connsiteX2" fmla="*/ 32783 w 56647"/>
                <a:gd name="connsiteY2" fmla="*/ 52610 h 56647"/>
                <a:gd name="connsiteX3" fmla="*/ 15789 w 56647"/>
                <a:gd name="connsiteY3" fmla="*/ 32783 h 56647"/>
                <a:gd name="connsiteX4" fmla="*/ 35616 w 56647"/>
                <a:gd name="connsiteY4" fmla="*/ 15789 h 56647"/>
                <a:gd name="connsiteX5" fmla="*/ 35616 w 56647"/>
                <a:gd name="connsiteY5" fmla="*/ 15789 h 56647"/>
                <a:gd name="connsiteX6" fmla="*/ 35616 w 56647"/>
                <a:gd name="connsiteY6" fmla="*/ 24286 h 56647"/>
                <a:gd name="connsiteX7" fmla="*/ 24286 w 56647"/>
                <a:gd name="connsiteY7" fmla="*/ 34199 h 56647"/>
                <a:gd name="connsiteX8" fmla="*/ 34199 w 56647"/>
                <a:gd name="connsiteY8" fmla="*/ 45529 h 56647"/>
                <a:gd name="connsiteX9" fmla="*/ 45529 w 56647"/>
                <a:gd name="connsiteY9" fmla="*/ 35616 h 56647"/>
                <a:gd name="connsiteX10" fmla="*/ 35616 w 56647"/>
                <a:gd name="connsiteY10" fmla="*/ 24286 h 5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647" h="56647">
                  <a:moveTo>
                    <a:pt x="35616" y="15789"/>
                  </a:moveTo>
                  <a:cubicBezTo>
                    <a:pt x="45529" y="17205"/>
                    <a:pt x="52610" y="25702"/>
                    <a:pt x="52610" y="35616"/>
                  </a:cubicBezTo>
                  <a:cubicBezTo>
                    <a:pt x="51194" y="45529"/>
                    <a:pt x="42697" y="52610"/>
                    <a:pt x="32783" y="52610"/>
                  </a:cubicBezTo>
                  <a:cubicBezTo>
                    <a:pt x="22870" y="51194"/>
                    <a:pt x="15789" y="42697"/>
                    <a:pt x="15789" y="32783"/>
                  </a:cubicBezTo>
                  <a:cubicBezTo>
                    <a:pt x="17205" y="22870"/>
                    <a:pt x="25702" y="15789"/>
                    <a:pt x="35616" y="15789"/>
                  </a:cubicBezTo>
                  <a:lnTo>
                    <a:pt x="35616" y="15789"/>
                  </a:lnTo>
                  <a:close/>
                  <a:moveTo>
                    <a:pt x="35616" y="24286"/>
                  </a:moveTo>
                  <a:cubicBezTo>
                    <a:pt x="29951" y="24286"/>
                    <a:pt x="24286" y="28535"/>
                    <a:pt x="24286" y="34199"/>
                  </a:cubicBezTo>
                  <a:cubicBezTo>
                    <a:pt x="24286" y="39864"/>
                    <a:pt x="28535" y="45529"/>
                    <a:pt x="34199" y="45529"/>
                  </a:cubicBezTo>
                  <a:cubicBezTo>
                    <a:pt x="39864" y="45529"/>
                    <a:pt x="45529" y="41280"/>
                    <a:pt x="45529" y="35616"/>
                  </a:cubicBezTo>
                  <a:cubicBezTo>
                    <a:pt x="45529" y="29951"/>
                    <a:pt x="41280" y="24286"/>
                    <a:pt x="35616"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1" name="Freeform: Shape 2660">
              <a:extLst>
                <a:ext uri="{FF2B5EF4-FFF2-40B4-BE49-F238E27FC236}">
                  <a16:creationId xmlns:a16="http://schemas.microsoft.com/office/drawing/2014/main" id="{C5B5CA0D-E180-41BB-8DA3-F78391BC7C1C}"/>
                </a:ext>
              </a:extLst>
            </p:cNvPr>
            <p:cNvSpPr/>
            <p:nvPr/>
          </p:nvSpPr>
          <p:spPr>
            <a:xfrm>
              <a:off x="6563132" y="4643881"/>
              <a:ext cx="56648" cy="56648"/>
            </a:xfrm>
            <a:custGeom>
              <a:avLst/>
              <a:gdLst>
                <a:gd name="connsiteX0" fmla="*/ 31367 w 56647"/>
                <a:gd name="connsiteY0" fmla="*/ 15789 h 56647"/>
                <a:gd name="connsiteX1" fmla="*/ 44113 w 56647"/>
                <a:gd name="connsiteY1" fmla="*/ 31367 h 56647"/>
                <a:gd name="connsiteX2" fmla="*/ 28535 w 56647"/>
                <a:gd name="connsiteY2" fmla="*/ 44113 h 56647"/>
                <a:gd name="connsiteX3" fmla="*/ 15789 w 56647"/>
                <a:gd name="connsiteY3" fmla="*/ 28535 h 56647"/>
                <a:gd name="connsiteX4" fmla="*/ 31367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5789"/>
                  </a:moveTo>
                  <a:cubicBezTo>
                    <a:pt x="38448" y="15789"/>
                    <a:pt x="44113" y="22870"/>
                    <a:pt x="44113" y="31367"/>
                  </a:cubicBezTo>
                  <a:cubicBezTo>
                    <a:pt x="44113" y="39864"/>
                    <a:pt x="37032" y="44113"/>
                    <a:pt x="28535" y="44113"/>
                  </a:cubicBezTo>
                  <a:cubicBezTo>
                    <a:pt x="21454" y="44113"/>
                    <a:pt x="15789" y="37032"/>
                    <a:pt x="15789" y="28535"/>
                  </a:cubicBezTo>
                  <a:cubicBezTo>
                    <a:pt x="17205" y="21454"/>
                    <a:pt x="24286" y="15789"/>
                    <a:pt x="31367"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2" name="Freeform: Shape 2661">
              <a:extLst>
                <a:ext uri="{FF2B5EF4-FFF2-40B4-BE49-F238E27FC236}">
                  <a16:creationId xmlns:a16="http://schemas.microsoft.com/office/drawing/2014/main" id="{AF2502E6-0F18-4526-96FE-878B521DB7D7}"/>
                </a:ext>
              </a:extLst>
            </p:cNvPr>
            <p:cNvSpPr/>
            <p:nvPr/>
          </p:nvSpPr>
          <p:spPr>
            <a:xfrm>
              <a:off x="6826544" y="4834850"/>
              <a:ext cx="56648" cy="56648"/>
            </a:xfrm>
            <a:custGeom>
              <a:avLst/>
              <a:gdLst>
                <a:gd name="connsiteX0" fmla="*/ 31367 w 56647"/>
                <a:gd name="connsiteY0" fmla="*/ 16006 h 56647"/>
                <a:gd name="connsiteX1" fmla="*/ 44113 w 56647"/>
                <a:gd name="connsiteY1" fmla="*/ 31584 h 56647"/>
                <a:gd name="connsiteX2" fmla="*/ 28535 w 56647"/>
                <a:gd name="connsiteY2" fmla="*/ 44330 h 56647"/>
                <a:gd name="connsiteX3" fmla="*/ 15789 w 56647"/>
                <a:gd name="connsiteY3" fmla="*/ 28752 h 56647"/>
                <a:gd name="connsiteX4" fmla="*/ 31367 w 56647"/>
                <a:gd name="connsiteY4" fmla="*/ 16006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6006"/>
                  </a:moveTo>
                  <a:cubicBezTo>
                    <a:pt x="38448" y="16006"/>
                    <a:pt x="44113" y="23087"/>
                    <a:pt x="44113" y="31584"/>
                  </a:cubicBezTo>
                  <a:cubicBezTo>
                    <a:pt x="42697" y="38665"/>
                    <a:pt x="37032" y="44330"/>
                    <a:pt x="28535" y="44330"/>
                  </a:cubicBezTo>
                  <a:cubicBezTo>
                    <a:pt x="21454" y="44330"/>
                    <a:pt x="15789" y="37249"/>
                    <a:pt x="15789" y="28752"/>
                  </a:cubicBezTo>
                  <a:cubicBezTo>
                    <a:pt x="17205" y="20255"/>
                    <a:pt x="24286" y="14590"/>
                    <a:pt x="31367" y="1600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3" name="Freeform: Shape 2662">
              <a:extLst>
                <a:ext uri="{FF2B5EF4-FFF2-40B4-BE49-F238E27FC236}">
                  <a16:creationId xmlns:a16="http://schemas.microsoft.com/office/drawing/2014/main" id="{344A3CFA-9A5B-417E-9EDB-6EEDD5A7FB53}"/>
                </a:ext>
              </a:extLst>
            </p:cNvPr>
            <p:cNvSpPr/>
            <p:nvPr/>
          </p:nvSpPr>
          <p:spPr>
            <a:xfrm>
              <a:off x="6720175" y="4652223"/>
              <a:ext cx="56648" cy="56648"/>
            </a:xfrm>
            <a:custGeom>
              <a:avLst/>
              <a:gdLst>
                <a:gd name="connsiteX0" fmla="*/ 35771 w 56647"/>
                <a:gd name="connsiteY0" fmla="*/ 15944 h 56647"/>
                <a:gd name="connsiteX1" fmla="*/ 52765 w 56647"/>
                <a:gd name="connsiteY1" fmla="*/ 35771 h 56647"/>
                <a:gd name="connsiteX2" fmla="*/ 32938 w 56647"/>
                <a:gd name="connsiteY2" fmla="*/ 52765 h 56647"/>
                <a:gd name="connsiteX3" fmla="*/ 15944 w 56647"/>
                <a:gd name="connsiteY3" fmla="*/ 32938 h 56647"/>
                <a:gd name="connsiteX4" fmla="*/ 35771 w 56647"/>
                <a:gd name="connsiteY4" fmla="*/ 1594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44"/>
                  </a:moveTo>
                  <a:cubicBezTo>
                    <a:pt x="45684" y="17360"/>
                    <a:pt x="54181" y="25858"/>
                    <a:pt x="52765" y="35771"/>
                  </a:cubicBezTo>
                  <a:cubicBezTo>
                    <a:pt x="51349" y="45684"/>
                    <a:pt x="42852" y="54181"/>
                    <a:pt x="32938" y="52765"/>
                  </a:cubicBezTo>
                  <a:cubicBezTo>
                    <a:pt x="23025" y="51349"/>
                    <a:pt x="14528" y="42852"/>
                    <a:pt x="15944" y="32938"/>
                  </a:cubicBezTo>
                  <a:cubicBezTo>
                    <a:pt x="15944" y="23025"/>
                    <a:pt x="24441" y="14528"/>
                    <a:pt x="35771" y="1594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4" name="Freeform: Shape 2663">
              <a:extLst>
                <a:ext uri="{FF2B5EF4-FFF2-40B4-BE49-F238E27FC236}">
                  <a16:creationId xmlns:a16="http://schemas.microsoft.com/office/drawing/2014/main" id="{BA9B0313-7AC3-405A-B091-F3CF90948D1B}"/>
                </a:ext>
              </a:extLst>
            </p:cNvPr>
            <p:cNvSpPr/>
            <p:nvPr/>
          </p:nvSpPr>
          <p:spPr>
            <a:xfrm>
              <a:off x="6393034" y="5315000"/>
              <a:ext cx="56648" cy="56648"/>
            </a:xfrm>
            <a:custGeom>
              <a:avLst/>
              <a:gdLst>
                <a:gd name="connsiteX0" fmla="*/ 35771 w 56647"/>
                <a:gd name="connsiteY0" fmla="*/ 15944 h 56647"/>
                <a:gd name="connsiteX1" fmla="*/ 52765 w 56647"/>
                <a:gd name="connsiteY1" fmla="*/ 35771 h 56647"/>
                <a:gd name="connsiteX2" fmla="*/ 32938 w 56647"/>
                <a:gd name="connsiteY2" fmla="*/ 52765 h 56647"/>
                <a:gd name="connsiteX3" fmla="*/ 15944 w 56647"/>
                <a:gd name="connsiteY3" fmla="*/ 32938 h 56647"/>
                <a:gd name="connsiteX4" fmla="*/ 35771 w 56647"/>
                <a:gd name="connsiteY4" fmla="*/ 1594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44"/>
                  </a:moveTo>
                  <a:cubicBezTo>
                    <a:pt x="45684" y="17360"/>
                    <a:pt x="54181" y="25857"/>
                    <a:pt x="52765" y="35771"/>
                  </a:cubicBezTo>
                  <a:cubicBezTo>
                    <a:pt x="51349" y="45684"/>
                    <a:pt x="42852" y="54181"/>
                    <a:pt x="32938" y="52765"/>
                  </a:cubicBezTo>
                  <a:cubicBezTo>
                    <a:pt x="23025" y="51349"/>
                    <a:pt x="14528" y="42852"/>
                    <a:pt x="15944" y="32938"/>
                  </a:cubicBezTo>
                  <a:cubicBezTo>
                    <a:pt x="15944" y="23025"/>
                    <a:pt x="24441" y="14528"/>
                    <a:pt x="35771" y="1594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5" name="Freeform: Shape 2664">
              <a:extLst>
                <a:ext uri="{FF2B5EF4-FFF2-40B4-BE49-F238E27FC236}">
                  <a16:creationId xmlns:a16="http://schemas.microsoft.com/office/drawing/2014/main" id="{698F93C7-B603-40C6-906A-EC12C4CC872F}"/>
                </a:ext>
              </a:extLst>
            </p:cNvPr>
            <p:cNvSpPr/>
            <p:nvPr/>
          </p:nvSpPr>
          <p:spPr>
            <a:xfrm>
              <a:off x="6337958" y="5203005"/>
              <a:ext cx="42486" cy="42486"/>
            </a:xfrm>
            <a:custGeom>
              <a:avLst/>
              <a:gdLst>
                <a:gd name="connsiteX0" fmla="*/ 27118 w 42485"/>
                <a:gd name="connsiteY0" fmla="*/ 16060 h 42485"/>
                <a:gd name="connsiteX1" fmla="*/ 37032 w 42485"/>
                <a:gd name="connsiteY1" fmla="*/ 27390 h 42485"/>
                <a:gd name="connsiteX2" fmla="*/ 25702 w 42485"/>
                <a:gd name="connsiteY2" fmla="*/ 37303 h 42485"/>
                <a:gd name="connsiteX3" fmla="*/ 15789 w 42485"/>
                <a:gd name="connsiteY3" fmla="*/ 25974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5"/>
                    <a:pt x="31367" y="37303"/>
                    <a:pt x="25702" y="37303"/>
                  </a:cubicBezTo>
                  <a:cubicBezTo>
                    <a:pt x="20037" y="37303"/>
                    <a:pt x="15789" y="31639"/>
                    <a:pt x="15789" y="25974"/>
                  </a:cubicBezTo>
                  <a:cubicBezTo>
                    <a:pt x="17205" y="18893"/>
                    <a:pt x="21454" y="14644"/>
                    <a:pt x="27118"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6" name="Freeform: Shape 2665">
              <a:extLst>
                <a:ext uri="{FF2B5EF4-FFF2-40B4-BE49-F238E27FC236}">
                  <a16:creationId xmlns:a16="http://schemas.microsoft.com/office/drawing/2014/main" id="{EECF00D8-79D0-4452-8755-EE3F552A874E}"/>
                </a:ext>
              </a:extLst>
            </p:cNvPr>
            <p:cNvSpPr/>
            <p:nvPr/>
          </p:nvSpPr>
          <p:spPr>
            <a:xfrm>
              <a:off x="6615531" y="5108392"/>
              <a:ext cx="56648" cy="56648"/>
            </a:xfrm>
            <a:custGeom>
              <a:avLst/>
              <a:gdLst>
                <a:gd name="connsiteX0" fmla="*/ 35616 w 56647"/>
                <a:gd name="connsiteY0" fmla="*/ 15789 h 56647"/>
                <a:gd name="connsiteX1" fmla="*/ 52610 w 56647"/>
                <a:gd name="connsiteY1" fmla="*/ 35616 h 56647"/>
                <a:gd name="connsiteX2" fmla="*/ 32783 w 56647"/>
                <a:gd name="connsiteY2" fmla="*/ 52610 h 56647"/>
                <a:gd name="connsiteX3" fmla="*/ 15789 w 56647"/>
                <a:gd name="connsiteY3" fmla="*/ 32783 h 56647"/>
                <a:gd name="connsiteX4" fmla="*/ 35616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616" y="15789"/>
                  </a:moveTo>
                  <a:cubicBezTo>
                    <a:pt x="45529" y="17205"/>
                    <a:pt x="52610" y="25702"/>
                    <a:pt x="52610" y="35616"/>
                  </a:cubicBezTo>
                  <a:cubicBezTo>
                    <a:pt x="51194" y="45529"/>
                    <a:pt x="42697" y="52610"/>
                    <a:pt x="32783" y="52610"/>
                  </a:cubicBezTo>
                  <a:cubicBezTo>
                    <a:pt x="22870" y="51194"/>
                    <a:pt x="15789" y="42697"/>
                    <a:pt x="15789" y="32783"/>
                  </a:cubicBezTo>
                  <a:cubicBezTo>
                    <a:pt x="17205" y="22870"/>
                    <a:pt x="25703" y="15789"/>
                    <a:pt x="35616"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7" name="Freeform: Shape 2666">
              <a:extLst>
                <a:ext uri="{FF2B5EF4-FFF2-40B4-BE49-F238E27FC236}">
                  <a16:creationId xmlns:a16="http://schemas.microsoft.com/office/drawing/2014/main" id="{B065CE73-052A-43D9-BA15-F37792B947F9}"/>
                </a:ext>
              </a:extLst>
            </p:cNvPr>
            <p:cNvSpPr/>
            <p:nvPr/>
          </p:nvSpPr>
          <p:spPr>
            <a:xfrm>
              <a:off x="6295338" y="4939730"/>
              <a:ext cx="70810" cy="70810"/>
            </a:xfrm>
            <a:custGeom>
              <a:avLst/>
              <a:gdLst>
                <a:gd name="connsiteX0" fmla="*/ 44247 w 70809"/>
                <a:gd name="connsiteY0" fmla="*/ 15923 h 70809"/>
                <a:gd name="connsiteX1" fmla="*/ 66906 w 70809"/>
                <a:gd name="connsiteY1" fmla="*/ 44247 h 70809"/>
                <a:gd name="connsiteX2" fmla="*/ 38582 w 70809"/>
                <a:gd name="connsiteY2" fmla="*/ 66906 h 70809"/>
                <a:gd name="connsiteX3" fmla="*/ 15924 w 70809"/>
                <a:gd name="connsiteY3" fmla="*/ 38583 h 70809"/>
                <a:gd name="connsiteX4" fmla="*/ 44247 w 70809"/>
                <a:gd name="connsiteY4" fmla="*/ 15923 h 70809"/>
                <a:gd name="connsiteX5" fmla="*/ 44247 w 70809"/>
                <a:gd name="connsiteY5" fmla="*/ 15923 h 70809"/>
                <a:gd name="connsiteX6" fmla="*/ 42831 w 70809"/>
                <a:gd name="connsiteY6" fmla="*/ 27253 h 70809"/>
                <a:gd name="connsiteX7" fmla="*/ 27253 w 70809"/>
                <a:gd name="connsiteY7" fmla="*/ 39999 h 70809"/>
                <a:gd name="connsiteX8" fmla="*/ 39999 w 70809"/>
                <a:gd name="connsiteY8" fmla="*/ 55577 h 70809"/>
                <a:gd name="connsiteX9" fmla="*/ 55577 w 70809"/>
                <a:gd name="connsiteY9" fmla="*/ 42831 h 70809"/>
                <a:gd name="connsiteX10" fmla="*/ 42831 w 70809"/>
                <a:gd name="connsiteY10" fmla="*/ 27253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247" y="15923"/>
                  </a:moveTo>
                  <a:cubicBezTo>
                    <a:pt x="58409" y="17340"/>
                    <a:pt x="68322" y="30085"/>
                    <a:pt x="66906" y="44247"/>
                  </a:cubicBezTo>
                  <a:cubicBezTo>
                    <a:pt x="65490" y="58409"/>
                    <a:pt x="52744" y="68323"/>
                    <a:pt x="38582" y="66906"/>
                  </a:cubicBezTo>
                  <a:cubicBezTo>
                    <a:pt x="24420" y="65490"/>
                    <a:pt x="14507" y="52745"/>
                    <a:pt x="15924" y="38583"/>
                  </a:cubicBezTo>
                  <a:cubicBezTo>
                    <a:pt x="17339" y="24421"/>
                    <a:pt x="30085" y="14508"/>
                    <a:pt x="44247" y="15923"/>
                  </a:cubicBezTo>
                  <a:lnTo>
                    <a:pt x="44247" y="15923"/>
                  </a:lnTo>
                  <a:close/>
                  <a:moveTo>
                    <a:pt x="42831" y="27253"/>
                  </a:moveTo>
                  <a:cubicBezTo>
                    <a:pt x="34334" y="25837"/>
                    <a:pt x="27253" y="32918"/>
                    <a:pt x="27253" y="39999"/>
                  </a:cubicBezTo>
                  <a:cubicBezTo>
                    <a:pt x="25837" y="48496"/>
                    <a:pt x="32918" y="55577"/>
                    <a:pt x="39999" y="55577"/>
                  </a:cubicBezTo>
                  <a:cubicBezTo>
                    <a:pt x="48496" y="56993"/>
                    <a:pt x="55577" y="49912"/>
                    <a:pt x="55577" y="42831"/>
                  </a:cubicBezTo>
                  <a:cubicBezTo>
                    <a:pt x="56993" y="34334"/>
                    <a:pt x="51328" y="27253"/>
                    <a:pt x="42831" y="2725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8" name="Freeform: Shape 2667">
              <a:extLst>
                <a:ext uri="{FF2B5EF4-FFF2-40B4-BE49-F238E27FC236}">
                  <a16:creationId xmlns:a16="http://schemas.microsoft.com/office/drawing/2014/main" id="{3F78315D-8996-43E6-B0CB-4664630A6CB6}"/>
                </a:ext>
              </a:extLst>
            </p:cNvPr>
            <p:cNvSpPr/>
            <p:nvPr/>
          </p:nvSpPr>
          <p:spPr>
            <a:xfrm>
              <a:off x="6551803" y="4888882"/>
              <a:ext cx="56648" cy="56648"/>
            </a:xfrm>
            <a:custGeom>
              <a:avLst/>
              <a:gdLst>
                <a:gd name="connsiteX0" fmla="*/ 31367 w 56647"/>
                <a:gd name="connsiteY0" fmla="*/ 15789 h 56647"/>
                <a:gd name="connsiteX1" fmla="*/ 44113 w 56647"/>
                <a:gd name="connsiteY1" fmla="*/ 31367 h 56647"/>
                <a:gd name="connsiteX2" fmla="*/ 28535 w 56647"/>
                <a:gd name="connsiteY2" fmla="*/ 44113 h 56647"/>
                <a:gd name="connsiteX3" fmla="*/ 15789 w 56647"/>
                <a:gd name="connsiteY3" fmla="*/ 28535 h 56647"/>
                <a:gd name="connsiteX4" fmla="*/ 31367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5789"/>
                  </a:moveTo>
                  <a:cubicBezTo>
                    <a:pt x="38448" y="15789"/>
                    <a:pt x="44113" y="22870"/>
                    <a:pt x="44113" y="31367"/>
                  </a:cubicBezTo>
                  <a:cubicBezTo>
                    <a:pt x="44113" y="38448"/>
                    <a:pt x="37032" y="44113"/>
                    <a:pt x="28535" y="44113"/>
                  </a:cubicBezTo>
                  <a:cubicBezTo>
                    <a:pt x="21454" y="44113"/>
                    <a:pt x="15789" y="37032"/>
                    <a:pt x="15789" y="28535"/>
                  </a:cubicBezTo>
                  <a:cubicBezTo>
                    <a:pt x="17205" y="21454"/>
                    <a:pt x="24286" y="15789"/>
                    <a:pt x="31367"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9" name="Freeform: Shape 2668">
              <a:extLst>
                <a:ext uri="{FF2B5EF4-FFF2-40B4-BE49-F238E27FC236}">
                  <a16:creationId xmlns:a16="http://schemas.microsoft.com/office/drawing/2014/main" id="{0EDEB90E-3398-44F4-97D5-72D29B619EEC}"/>
                </a:ext>
              </a:extLst>
            </p:cNvPr>
            <p:cNvSpPr/>
            <p:nvPr/>
          </p:nvSpPr>
          <p:spPr>
            <a:xfrm>
              <a:off x="6527608" y="5176235"/>
              <a:ext cx="84971" cy="84971"/>
            </a:xfrm>
            <a:custGeom>
              <a:avLst/>
              <a:gdLst>
                <a:gd name="connsiteX0" fmla="*/ 45649 w 84971"/>
                <a:gd name="connsiteY0" fmla="*/ 15923 h 84971"/>
                <a:gd name="connsiteX1" fmla="*/ 71140 w 84971"/>
                <a:gd name="connsiteY1" fmla="*/ 45663 h 84971"/>
                <a:gd name="connsiteX2" fmla="*/ 41400 w 84971"/>
                <a:gd name="connsiteY2" fmla="*/ 71154 h 84971"/>
                <a:gd name="connsiteX3" fmla="*/ 15909 w 84971"/>
                <a:gd name="connsiteY3" fmla="*/ 41414 h 84971"/>
                <a:gd name="connsiteX4" fmla="*/ 45649 w 84971"/>
                <a:gd name="connsiteY4" fmla="*/ 15923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9" y="15923"/>
                  </a:moveTo>
                  <a:cubicBezTo>
                    <a:pt x="61226" y="17339"/>
                    <a:pt x="72556" y="30085"/>
                    <a:pt x="71140" y="45663"/>
                  </a:cubicBezTo>
                  <a:cubicBezTo>
                    <a:pt x="69724" y="61241"/>
                    <a:pt x="56978" y="72570"/>
                    <a:pt x="41400" y="71154"/>
                  </a:cubicBezTo>
                  <a:cubicBezTo>
                    <a:pt x="25822" y="69738"/>
                    <a:pt x="14492" y="56992"/>
                    <a:pt x="15909" y="41414"/>
                  </a:cubicBezTo>
                  <a:cubicBezTo>
                    <a:pt x="17325" y="24420"/>
                    <a:pt x="31487" y="14507"/>
                    <a:pt x="45649" y="1592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0" name="Freeform: Shape 2669">
              <a:extLst>
                <a:ext uri="{FF2B5EF4-FFF2-40B4-BE49-F238E27FC236}">
                  <a16:creationId xmlns:a16="http://schemas.microsoft.com/office/drawing/2014/main" id="{4A5463FA-C262-49DA-804A-0B4DD7DFB4FF}"/>
                </a:ext>
              </a:extLst>
            </p:cNvPr>
            <p:cNvSpPr/>
            <p:nvPr/>
          </p:nvSpPr>
          <p:spPr>
            <a:xfrm>
              <a:off x="6259948" y="5041711"/>
              <a:ext cx="84971" cy="84971"/>
            </a:xfrm>
            <a:custGeom>
              <a:avLst/>
              <a:gdLst>
                <a:gd name="connsiteX0" fmla="*/ 45648 w 84971"/>
                <a:gd name="connsiteY0" fmla="*/ 15909 h 84971"/>
                <a:gd name="connsiteX1" fmla="*/ 71140 w 84971"/>
                <a:gd name="connsiteY1" fmla="*/ 45649 h 84971"/>
                <a:gd name="connsiteX2" fmla="*/ 41400 w 84971"/>
                <a:gd name="connsiteY2" fmla="*/ 71140 h 84971"/>
                <a:gd name="connsiteX3" fmla="*/ 15909 w 84971"/>
                <a:gd name="connsiteY3" fmla="*/ 41400 h 84971"/>
                <a:gd name="connsiteX4" fmla="*/ 45648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8" y="15909"/>
                  </a:moveTo>
                  <a:cubicBezTo>
                    <a:pt x="61226" y="17325"/>
                    <a:pt x="72556" y="30070"/>
                    <a:pt x="71140" y="45649"/>
                  </a:cubicBezTo>
                  <a:cubicBezTo>
                    <a:pt x="69724" y="61227"/>
                    <a:pt x="56978" y="72556"/>
                    <a:pt x="41400" y="71140"/>
                  </a:cubicBezTo>
                  <a:cubicBezTo>
                    <a:pt x="25822" y="69724"/>
                    <a:pt x="14492" y="56978"/>
                    <a:pt x="15909" y="41400"/>
                  </a:cubicBezTo>
                  <a:cubicBezTo>
                    <a:pt x="15909" y="25822"/>
                    <a:pt x="30070" y="14492"/>
                    <a:pt x="45648" y="1590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1" name="Freeform: Shape 2670">
              <a:extLst>
                <a:ext uri="{FF2B5EF4-FFF2-40B4-BE49-F238E27FC236}">
                  <a16:creationId xmlns:a16="http://schemas.microsoft.com/office/drawing/2014/main" id="{F098095B-FCEA-441D-B435-05A6B93D9DDD}"/>
                </a:ext>
              </a:extLst>
            </p:cNvPr>
            <p:cNvSpPr/>
            <p:nvPr/>
          </p:nvSpPr>
          <p:spPr>
            <a:xfrm>
              <a:off x="6762815" y="5012090"/>
              <a:ext cx="42486" cy="42486"/>
            </a:xfrm>
            <a:custGeom>
              <a:avLst/>
              <a:gdLst>
                <a:gd name="connsiteX0" fmla="*/ 27118 w 42485"/>
                <a:gd name="connsiteY0" fmla="*/ 15789 h 42485"/>
                <a:gd name="connsiteX1" fmla="*/ 37032 w 42485"/>
                <a:gd name="connsiteY1" fmla="*/ 27119 h 42485"/>
                <a:gd name="connsiteX2" fmla="*/ 25702 w 42485"/>
                <a:gd name="connsiteY2" fmla="*/ 37032 h 42485"/>
                <a:gd name="connsiteX3" fmla="*/ 15789 w 42485"/>
                <a:gd name="connsiteY3" fmla="*/ 25703 h 42485"/>
                <a:gd name="connsiteX4" fmla="*/ 2711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5789"/>
                  </a:moveTo>
                  <a:cubicBezTo>
                    <a:pt x="32783" y="15789"/>
                    <a:pt x="37032" y="21454"/>
                    <a:pt x="37032" y="27119"/>
                  </a:cubicBezTo>
                  <a:cubicBezTo>
                    <a:pt x="37032" y="32783"/>
                    <a:pt x="31367" y="37032"/>
                    <a:pt x="25702" y="37032"/>
                  </a:cubicBezTo>
                  <a:cubicBezTo>
                    <a:pt x="20037" y="37032"/>
                    <a:pt x="15789" y="31367"/>
                    <a:pt x="15789" y="25703"/>
                  </a:cubicBezTo>
                  <a:cubicBezTo>
                    <a:pt x="15789" y="20038"/>
                    <a:pt x="20037" y="15789"/>
                    <a:pt x="2711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2" name="Freeform: Shape 2671">
              <a:extLst>
                <a:ext uri="{FF2B5EF4-FFF2-40B4-BE49-F238E27FC236}">
                  <a16:creationId xmlns:a16="http://schemas.microsoft.com/office/drawing/2014/main" id="{CF42C029-5A57-4A0D-9183-C6573E47595A}"/>
                </a:ext>
              </a:extLst>
            </p:cNvPr>
            <p:cNvSpPr/>
            <p:nvPr/>
          </p:nvSpPr>
          <p:spPr>
            <a:xfrm>
              <a:off x="7242750" y="4622484"/>
              <a:ext cx="70810" cy="70810"/>
            </a:xfrm>
            <a:custGeom>
              <a:avLst/>
              <a:gdLst>
                <a:gd name="connsiteX0" fmla="*/ 40018 w 70809"/>
                <a:gd name="connsiteY0" fmla="*/ 15943 h 70809"/>
                <a:gd name="connsiteX1" fmla="*/ 59845 w 70809"/>
                <a:gd name="connsiteY1" fmla="*/ 40018 h 70809"/>
                <a:gd name="connsiteX2" fmla="*/ 35769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3"/>
                    <a:pt x="59845" y="40018"/>
                  </a:cubicBezTo>
                  <a:cubicBezTo>
                    <a:pt x="58429" y="52764"/>
                    <a:pt x="48515" y="61261"/>
                    <a:pt x="35769" y="59845"/>
                  </a:cubicBezTo>
                  <a:cubicBezTo>
                    <a:pt x="23024" y="58429"/>
                    <a:pt x="14527" y="48516"/>
                    <a:pt x="15943" y="35769"/>
                  </a:cubicBezTo>
                  <a:cubicBezTo>
                    <a:pt x="17359" y="23024"/>
                    <a:pt x="28689" y="14527"/>
                    <a:pt x="40018" y="159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3" name="Freeform: Shape 2672">
              <a:extLst>
                <a:ext uri="{FF2B5EF4-FFF2-40B4-BE49-F238E27FC236}">
                  <a16:creationId xmlns:a16="http://schemas.microsoft.com/office/drawing/2014/main" id="{6D1D1F46-7CFC-406D-9648-C8C983D87323}"/>
                </a:ext>
              </a:extLst>
            </p:cNvPr>
            <p:cNvSpPr/>
            <p:nvPr/>
          </p:nvSpPr>
          <p:spPr>
            <a:xfrm>
              <a:off x="7089955" y="4949507"/>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4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5"/>
                    <a:pt x="31367" y="37303"/>
                    <a:pt x="25703" y="37303"/>
                  </a:cubicBezTo>
                  <a:cubicBezTo>
                    <a:pt x="20038" y="37303"/>
                    <a:pt x="15789" y="31639"/>
                    <a:pt x="15789" y="25974"/>
                  </a:cubicBezTo>
                  <a:cubicBezTo>
                    <a:pt x="15789" y="18893"/>
                    <a:pt x="21454" y="14644"/>
                    <a:pt x="27119"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4" name="Freeform: Shape 2673">
              <a:extLst>
                <a:ext uri="{FF2B5EF4-FFF2-40B4-BE49-F238E27FC236}">
                  <a16:creationId xmlns:a16="http://schemas.microsoft.com/office/drawing/2014/main" id="{C01E6685-A893-4D52-B301-27F8984E2C86}"/>
                </a:ext>
              </a:extLst>
            </p:cNvPr>
            <p:cNvSpPr/>
            <p:nvPr/>
          </p:nvSpPr>
          <p:spPr>
            <a:xfrm>
              <a:off x="7220245" y="4841876"/>
              <a:ext cx="42486" cy="42486"/>
            </a:xfrm>
            <a:custGeom>
              <a:avLst/>
              <a:gdLst>
                <a:gd name="connsiteX0" fmla="*/ 27118 w 42485"/>
                <a:gd name="connsiteY0" fmla="*/ 16060 h 42485"/>
                <a:gd name="connsiteX1" fmla="*/ 37032 w 42485"/>
                <a:gd name="connsiteY1" fmla="*/ 27390 h 42485"/>
                <a:gd name="connsiteX2" fmla="*/ 25703 w 42485"/>
                <a:gd name="connsiteY2" fmla="*/ 37303 h 42485"/>
                <a:gd name="connsiteX3" fmla="*/ 15789 w 42485"/>
                <a:gd name="connsiteY3" fmla="*/ 25974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5"/>
                    <a:pt x="31367" y="37303"/>
                    <a:pt x="25703" y="37303"/>
                  </a:cubicBezTo>
                  <a:cubicBezTo>
                    <a:pt x="20037" y="37303"/>
                    <a:pt x="15789" y="31639"/>
                    <a:pt x="15789" y="25974"/>
                  </a:cubicBezTo>
                  <a:cubicBezTo>
                    <a:pt x="15789" y="18893"/>
                    <a:pt x="21454" y="14644"/>
                    <a:pt x="27118"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5" name="Freeform: Shape 2674">
              <a:extLst>
                <a:ext uri="{FF2B5EF4-FFF2-40B4-BE49-F238E27FC236}">
                  <a16:creationId xmlns:a16="http://schemas.microsoft.com/office/drawing/2014/main" id="{1E8D6866-241D-4E6F-82D7-D07556F906D3}"/>
                </a:ext>
              </a:extLst>
            </p:cNvPr>
            <p:cNvSpPr/>
            <p:nvPr/>
          </p:nvSpPr>
          <p:spPr>
            <a:xfrm>
              <a:off x="7136535" y="4742859"/>
              <a:ext cx="56648" cy="56648"/>
            </a:xfrm>
            <a:custGeom>
              <a:avLst/>
              <a:gdLst>
                <a:gd name="connsiteX0" fmla="*/ 35771 w 56647"/>
                <a:gd name="connsiteY0" fmla="*/ 15944 h 56647"/>
                <a:gd name="connsiteX1" fmla="*/ 52765 w 56647"/>
                <a:gd name="connsiteY1" fmla="*/ 35771 h 56647"/>
                <a:gd name="connsiteX2" fmla="*/ 32938 w 56647"/>
                <a:gd name="connsiteY2" fmla="*/ 52765 h 56647"/>
                <a:gd name="connsiteX3" fmla="*/ 15944 w 56647"/>
                <a:gd name="connsiteY3" fmla="*/ 32938 h 56647"/>
                <a:gd name="connsiteX4" fmla="*/ 35771 w 56647"/>
                <a:gd name="connsiteY4" fmla="*/ 1594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44"/>
                  </a:moveTo>
                  <a:cubicBezTo>
                    <a:pt x="45684" y="17360"/>
                    <a:pt x="54181" y="25858"/>
                    <a:pt x="52765" y="35771"/>
                  </a:cubicBezTo>
                  <a:cubicBezTo>
                    <a:pt x="51349" y="45684"/>
                    <a:pt x="42852" y="54181"/>
                    <a:pt x="32938" y="52765"/>
                  </a:cubicBezTo>
                  <a:cubicBezTo>
                    <a:pt x="23025" y="51349"/>
                    <a:pt x="14528" y="42852"/>
                    <a:pt x="15944" y="32938"/>
                  </a:cubicBezTo>
                  <a:cubicBezTo>
                    <a:pt x="15944" y="23025"/>
                    <a:pt x="25857" y="14528"/>
                    <a:pt x="35771" y="1594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6" name="Freeform: Shape 2675">
              <a:extLst>
                <a:ext uri="{FF2B5EF4-FFF2-40B4-BE49-F238E27FC236}">
                  <a16:creationId xmlns:a16="http://schemas.microsoft.com/office/drawing/2014/main" id="{B0C45CC1-5709-41C6-B1C6-77120A399F24}"/>
                </a:ext>
              </a:extLst>
            </p:cNvPr>
            <p:cNvSpPr/>
            <p:nvPr/>
          </p:nvSpPr>
          <p:spPr>
            <a:xfrm>
              <a:off x="7152113" y="5006246"/>
              <a:ext cx="56648" cy="56648"/>
            </a:xfrm>
            <a:custGeom>
              <a:avLst/>
              <a:gdLst>
                <a:gd name="connsiteX0" fmla="*/ 35771 w 56647"/>
                <a:gd name="connsiteY0" fmla="*/ 15969 h 56647"/>
                <a:gd name="connsiteX1" fmla="*/ 52765 w 56647"/>
                <a:gd name="connsiteY1" fmla="*/ 35795 h 56647"/>
                <a:gd name="connsiteX2" fmla="*/ 32938 w 56647"/>
                <a:gd name="connsiteY2" fmla="*/ 52790 h 56647"/>
                <a:gd name="connsiteX3" fmla="*/ 15944 w 56647"/>
                <a:gd name="connsiteY3" fmla="*/ 32963 h 56647"/>
                <a:gd name="connsiteX4" fmla="*/ 35771 w 56647"/>
                <a:gd name="connsiteY4" fmla="*/ 1596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69"/>
                  </a:moveTo>
                  <a:cubicBezTo>
                    <a:pt x="45684" y="17385"/>
                    <a:pt x="54181" y="25882"/>
                    <a:pt x="52765" y="35795"/>
                  </a:cubicBezTo>
                  <a:cubicBezTo>
                    <a:pt x="51349" y="45709"/>
                    <a:pt x="42852" y="54206"/>
                    <a:pt x="32938" y="52790"/>
                  </a:cubicBezTo>
                  <a:cubicBezTo>
                    <a:pt x="23025" y="51373"/>
                    <a:pt x="14528" y="42876"/>
                    <a:pt x="15944" y="32963"/>
                  </a:cubicBezTo>
                  <a:cubicBezTo>
                    <a:pt x="15944" y="21633"/>
                    <a:pt x="25857" y="14552"/>
                    <a:pt x="35771" y="159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7" name="Freeform: Shape 2676">
              <a:extLst>
                <a:ext uri="{FF2B5EF4-FFF2-40B4-BE49-F238E27FC236}">
                  <a16:creationId xmlns:a16="http://schemas.microsoft.com/office/drawing/2014/main" id="{58F7354C-7BC8-41B3-A0CF-22BBB450224B}"/>
                </a:ext>
              </a:extLst>
            </p:cNvPr>
            <p:cNvSpPr/>
            <p:nvPr/>
          </p:nvSpPr>
          <p:spPr>
            <a:xfrm>
              <a:off x="7128193" y="4944113"/>
              <a:ext cx="56648" cy="56648"/>
            </a:xfrm>
            <a:custGeom>
              <a:avLst/>
              <a:gdLst>
                <a:gd name="connsiteX0" fmla="*/ 31367 w 56647"/>
                <a:gd name="connsiteY0" fmla="*/ 15789 h 56647"/>
                <a:gd name="connsiteX1" fmla="*/ 44113 w 56647"/>
                <a:gd name="connsiteY1" fmla="*/ 31367 h 56647"/>
                <a:gd name="connsiteX2" fmla="*/ 28535 w 56647"/>
                <a:gd name="connsiteY2" fmla="*/ 44113 h 56647"/>
                <a:gd name="connsiteX3" fmla="*/ 15789 w 56647"/>
                <a:gd name="connsiteY3" fmla="*/ 28535 h 56647"/>
                <a:gd name="connsiteX4" fmla="*/ 31367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5789"/>
                  </a:moveTo>
                  <a:cubicBezTo>
                    <a:pt x="38448" y="15789"/>
                    <a:pt x="44113" y="22870"/>
                    <a:pt x="44113" y="31367"/>
                  </a:cubicBezTo>
                  <a:cubicBezTo>
                    <a:pt x="42697" y="38448"/>
                    <a:pt x="37032" y="44113"/>
                    <a:pt x="28535" y="44113"/>
                  </a:cubicBezTo>
                  <a:cubicBezTo>
                    <a:pt x="21454" y="44113"/>
                    <a:pt x="15789" y="37032"/>
                    <a:pt x="15789" y="28535"/>
                  </a:cubicBezTo>
                  <a:cubicBezTo>
                    <a:pt x="17205" y="21454"/>
                    <a:pt x="24286" y="15789"/>
                    <a:pt x="31367"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8" name="Freeform: Shape 2677">
              <a:extLst>
                <a:ext uri="{FF2B5EF4-FFF2-40B4-BE49-F238E27FC236}">
                  <a16:creationId xmlns:a16="http://schemas.microsoft.com/office/drawing/2014/main" id="{B55D4CF8-36F2-4183-BFB9-96E010F72DFD}"/>
                </a:ext>
              </a:extLst>
            </p:cNvPr>
            <p:cNvSpPr/>
            <p:nvPr/>
          </p:nvSpPr>
          <p:spPr>
            <a:xfrm>
              <a:off x="5903187" y="4016237"/>
              <a:ext cx="42486" cy="42486"/>
            </a:xfrm>
            <a:custGeom>
              <a:avLst/>
              <a:gdLst>
                <a:gd name="connsiteX0" fmla="*/ 27118 w 42485"/>
                <a:gd name="connsiteY0" fmla="*/ 16060 h 42485"/>
                <a:gd name="connsiteX1" fmla="*/ 37032 w 42485"/>
                <a:gd name="connsiteY1" fmla="*/ 27390 h 42485"/>
                <a:gd name="connsiteX2" fmla="*/ 25703 w 42485"/>
                <a:gd name="connsiteY2" fmla="*/ 37303 h 42485"/>
                <a:gd name="connsiteX3" fmla="*/ 15789 w 42485"/>
                <a:gd name="connsiteY3" fmla="*/ 25973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4"/>
                    <a:pt x="31367" y="37303"/>
                    <a:pt x="25703" y="37303"/>
                  </a:cubicBezTo>
                  <a:cubicBezTo>
                    <a:pt x="20037" y="37303"/>
                    <a:pt x="15789" y="31639"/>
                    <a:pt x="15789" y="25973"/>
                  </a:cubicBezTo>
                  <a:cubicBezTo>
                    <a:pt x="17205" y="18893"/>
                    <a:pt x="21454" y="14644"/>
                    <a:pt x="27118"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9" name="Freeform: Shape 2678">
              <a:extLst>
                <a:ext uri="{FF2B5EF4-FFF2-40B4-BE49-F238E27FC236}">
                  <a16:creationId xmlns:a16="http://schemas.microsoft.com/office/drawing/2014/main" id="{48CE392B-46D7-43D0-BF1D-BDA63BFBA0AD}"/>
                </a:ext>
              </a:extLst>
            </p:cNvPr>
            <p:cNvSpPr/>
            <p:nvPr/>
          </p:nvSpPr>
          <p:spPr>
            <a:xfrm>
              <a:off x="7244320" y="3989601"/>
              <a:ext cx="42486" cy="42486"/>
            </a:xfrm>
            <a:custGeom>
              <a:avLst/>
              <a:gdLst>
                <a:gd name="connsiteX0" fmla="*/ 27118 w 42485"/>
                <a:gd name="connsiteY0" fmla="*/ 15789 h 42485"/>
                <a:gd name="connsiteX1" fmla="*/ 37032 w 42485"/>
                <a:gd name="connsiteY1" fmla="*/ 27118 h 42485"/>
                <a:gd name="connsiteX2" fmla="*/ 25702 w 42485"/>
                <a:gd name="connsiteY2" fmla="*/ 37032 h 42485"/>
                <a:gd name="connsiteX3" fmla="*/ 15789 w 42485"/>
                <a:gd name="connsiteY3" fmla="*/ 25702 h 42485"/>
                <a:gd name="connsiteX4" fmla="*/ 2711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5789"/>
                  </a:moveTo>
                  <a:cubicBezTo>
                    <a:pt x="32783" y="15789"/>
                    <a:pt x="37032" y="21454"/>
                    <a:pt x="37032" y="27118"/>
                  </a:cubicBezTo>
                  <a:cubicBezTo>
                    <a:pt x="37032" y="32783"/>
                    <a:pt x="31367" y="37032"/>
                    <a:pt x="25702" y="37032"/>
                  </a:cubicBezTo>
                  <a:cubicBezTo>
                    <a:pt x="20037" y="37032"/>
                    <a:pt x="15789" y="31367"/>
                    <a:pt x="15789" y="25702"/>
                  </a:cubicBezTo>
                  <a:cubicBezTo>
                    <a:pt x="17205" y="20037"/>
                    <a:pt x="21454" y="15789"/>
                    <a:pt x="2711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0" name="Freeform: Shape 2679">
              <a:extLst>
                <a:ext uri="{FF2B5EF4-FFF2-40B4-BE49-F238E27FC236}">
                  <a16:creationId xmlns:a16="http://schemas.microsoft.com/office/drawing/2014/main" id="{5FE2F8A8-DB8B-4140-8769-C0C1850A6376}"/>
                </a:ext>
              </a:extLst>
            </p:cNvPr>
            <p:cNvSpPr/>
            <p:nvPr/>
          </p:nvSpPr>
          <p:spPr>
            <a:xfrm>
              <a:off x="7098453" y="3829571"/>
              <a:ext cx="42486" cy="42486"/>
            </a:xfrm>
            <a:custGeom>
              <a:avLst/>
              <a:gdLst>
                <a:gd name="connsiteX0" fmla="*/ 27119 w 42485"/>
                <a:gd name="connsiteY0" fmla="*/ 15789 h 42485"/>
                <a:gd name="connsiteX1" fmla="*/ 37032 w 42485"/>
                <a:gd name="connsiteY1" fmla="*/ 27119 h 42485"/>
                <a:gd name="connsiteX2" fmla="*/ 25703 w 42485"/>
                <a:gd name="connsiteY2" fmla="*/ 37032 h 42485"/>
                <a:gd name="connsiteX3" fmla="*/ 15789 w 42485"/>
                <a:gd name="connsiteY3" fmla="*/ 25703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9"/>
                  </a:cubicBezTo>
                  <a:cubicBezTo>
                    <a:pt x="37032" y="32783"/>
                    <a:pt x="31367" y="37032"/>
                    <a:pt x="25703" y="37032"/>
                  </a:cubicBezTo>
                  <a:cubicBezTo>
                    <a:pt x="20038" y="37032"/>
                    <a:pt x="15789" y="31367"/>
                    <a:pt x="15789" y="25703"/>
                  </a:cubicBezTo>
                  <a:cubicBezTo>
                    <a:pt x="15789" y="20038"/>
                    <a:pt x="21454" y="15789"/>
                    <a:pt x="27119"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1" name="Freeform: Shape 2680">
              <a:extLst>
                <a:ext uri="{FF2B5EF4-FFF2-40B4-BE49-F238E27FC236}">
                  <a16:creationId xmlns:a16="http://schemas.microsoft.com/office/drawing/2014/main" id="{AB5BE16F-C8DD-497E-8F7D-AD53AFD8068D}"/>
                </a:ext>
              </a:extLst>
            </p:cNvPr>
            <p:cNvSpPr/>
            <p:nvPr/>
          </p:nvSpPr>
          <p:spPr>
            <a:xfrm>
              <a:off x="7288068" y="3771353"/>
              <a:ext cx="70810" cy="70810"/>
            </a:xfrm>
            <a:custGeom>
              <a:avLst/>
              <a:gdLst>
                <a:gd name="connsiteX0" fmla="*/ 40018 w 70809"/>
                <a:gd name="connsiteY0" fmla="*/ 15943 h 70809"/>
                <a:gd name="connsiteX1" fmla="*/ 59845 w 70809"/>
                <a:gd name="connsiteY1" fmla="*/ 40018 h 70809"/>
                <a:gd name="connsiteX2" fmla="*/ 35770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2"/>
                    <a:pt x="59845" y="40018"/>
                  </a:cubicBezTo>
                  <a:cubicBezTo>
                    <a:pt x="58429" y="52764"/>
                    <a:pt x="48515" y="61261"/>
                    <a:pt x="35770" y="59845"/>
                  </a:cubicBezTo>
                  <a:cubicBezTo>
                    <a:pt x="23024" y="58429"/>
                    <a:pt x="14527" y="48515"/>
                    <a:pt x="15943" y="35769"/>
                  </a:cubicBezTo>
                  <a:cubicBezTo>
                    <a:pt x="17359" y="23024"/>
                    <a:pt x="28689" y="14527"/>
                    <a:pt x="40018" y="159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2" name="Freeform: Shape 2681">
              <a:extLst>
                <a:ext uri="{FF2B5EF4-FFF2-40B4-BE49-F238E27FC236}">
                  <a16:creationId xmlns:a16="http://schemas.microsoft.com/office/drawing/2014/main" id="{CD77AACF-32C5-48BE-A9C7-660DABB630EE}"/>
                </a:ext>
              </a:extLst>
            </p:cNvPr>
            <p:cNvSpPr/>
            <p:nvPr/>
          </p:nvSpPr>
          <p:spPr>
            <a:xfrm>
              <a:off x="7180411" y="4084305"/>
              <a:ext cx="56648" cy="56648"/>
            </a:xfrm>
            <a:custGeom>
              <a:avLst/>
              <a:gdLst>
                <a:gd name="connsiteX0" fmla="*/ 34380 w 56647"/>
                <a:gd name="connsiteY0" fmla="*/ 15969 h 56647"/>
                <a:gd name="connsiteX1" fmla="*/ 49958 w 56647"/>
                <a:gd name="connsiteY1" fmla="*/ 34380 h 56647"/>
                <a:gd name="connsiteX2" fmla="*/ 31547 w 56647"/>
                <a:gd name="connsiteY2" fmla="*/ 49958 h 56647"/>
                <a:gd name="connsiteX3" fmla="*/ 15969 w 56647"/>
                <a:gd name="connsiteY3" fmla="*/ 31548 h 56647"/>
                <a:gd name="connsiteX4" fmla="*/ 34380 w 56647"/>
                <a:gd name="connsiteY4" fmla="*/ 1596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380" y="15969"/>
                  </a:moveTo>
                  <a:cubicBezTo>
                    <a:pt x="44293" y="17386"/>
                    <a:pt x="51374" y="25883"/>
                    <a:pt x="49958" y="34380"/>
                  </a:cubicBezTo>
                  <a:cubicBezTo>
                    <a:pt x="48542" y="44293"/>
                    <a:pt x="40044" y="51374"/>
                    <a:pt x="31547" y="49958"/>
                  </a:cubicBezTo>
                  <a:cubicBezTo>
                    <a:pt x="21634" y="48542"/>
                    <a:pt x="14553" y="40045"/>
                    <a:pt x="15969" y="31548"/>
                  </a:cubicBezTo>
                  <a:cubicBezTo>
                    <a:pt x="15969" y="21634"/>
                    <a:pt x="24466" y="14553"/>
                    <a:pt x="34380" y="159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3" name="Freeform: Shape 2682">
              <a:extLst>
                <a:ext uri="{FF2B5EF4-FFF2-40B4-BE49-F238E27FC236}">
                  <a16:creationId xmlns:a16="http://schemas.microsoft.com/office/drawing/2014/main" id="{67339E44-3222-4364-9328-F96059161C08}"/>
                </a:ext>
              </a:extLst>
            </p:cNvPr>
            <p:cNvSpPr/>
            <p:nvPr/>
          </p:nvSpPr>
          <p:spPr>
            <a:xfrm>
              <a:off x="6952368" y="4312492"/>
              <a:ext cx="56648" cy="56648"/>
            </a:xfrm>
            <a:custGeom>
              <a:avLst/>
              <a:gdLst>
                <a:gd name="connsiteX0" fmla="*/ 31584 w 56647"/>
                <a:gd name="connsiteY0" fmla="*/ 15789 h 56647"/>
                <a:gd name="connsiteX1" fmla="*/ 44330 w 56647"/>
                <a:gd name="connsiteY1" fmla="*/ 31367 h 56647"/>
                <a:gd name="connsiteX2" fmla="*/ 28752 w 56647"/>
                <a:gd name="connsiteY2" fmla="*/ 44113 h 56647"/>
                <a:gd name="connsiteX3" fmla="*/ 16006 w 56647"/>
                <a:gd name="connsiteY3" fmla="*/ 28535 h 56647"/>
                <a:gd name="connsiteX4" fmla="*/ 31584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584" y="15789"/>
                  </a:moveTo>
                  <a:cubicBezTo>
                    <a:pt x="40081" y="17205"/>
                    <a:pt x="45746" y="24286"/>
                    <a:pt x="44330" y="31367"/>
                  </a:cubicBezTo>
                  <a:cubicBezTo>
                    <a:pt x="42913" y="39864"/>
                    <a:pt x="35833" y="45529"/>
                    <a:pt x="28752" y="44113"/>
                  </a:cubicBezTo>
                  <a:cubicBezTo>
                    <a:pt x="20254" y="42697"/>
                    <a:pt x="14590" y="35616"/>
                    <a:pt x="16006" y="28535"/>
                  </a:cubicBezTo>
                  <a:cubicBezTo>
                    <a:pt x="16006" y="21454"/>
                    <a:pt x="24503" y="15789"/>
                    <a:pt x="31584"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4" name="Freeform: Shape 2683">
              <a:extLst>
                <a:ext uri="{FF2B5EF4-FFF2-40B4-BE49-F238E27FC236}">
                  <a16:creationId xmlns:a16="http://schemas.microsoft.com/office/drawing/2014/main" id="{405967CC-8443-4474-88A9-53CDAF3EE170}"/>
                </a:ext>
              </a:extLst>
            </p:cNvPr>
            <p:cNvSpPr/>
            <p:nvPr/>
          </p:nvSpPr>
          <p:spPr>
            <a:xfrm>
              <a:off x="7419928" y="1127479"/>
              <a:ext cx="70810" cy="70810"/>
            </a:xfrm>
            <a:custGeom>
              <a:avLst/>
              <a:gdLst>
                <a:gd name="connsiteX0" fmla="*/ 39864 w 70809"/>
                <a:gd name="connsiteY0" fmla="*/ 63940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4026" y="63940"/>
                    <a:pt x="63939" y="52610"/>
                    <a:pt x="63939" y="39864"/>
                  </a:cubicBezTo>
                  <a:cubicBezTo>
                    <a:pt x="63939" y="25702"/>
                    <a:pt x="52610" y="15789"/>
                    <a:pt x="39864" y="15789"/>
                  </a:cubicBezTo>
                  <a:cubicBezTo>
                    <a:pt x="25702" y="15789"/>
                    <a:pt x="15789" y="27119"/>
                    <a:pt x="15789" y="39864"/>
                  </a:cubicBezTo>
                  <a:cubicBezTo>
                    <a:pt x="15789" y="52610"/>
                    <a:pt x="27118"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5" name="Freeform: Shape 2684">
              <a:extLst>
                <a:ext uri="{FF2B5EF4-FFF2-40B4-BE49-F238E27FC236}">
                  <a16:creationId xmlns:a16="http://schemas.microsoft.com/office/drawing/2014/main" id="{42644D97-64DE-42C1-9B38-42B72B4645FA}"/>
                </a:ext>
              </a:extLst>
            </p:cNvPr>
            <p:cNvSpPr/>
            <p:nvPr/>
          </p:nvSpPr>
          <p:spPr>
            <a:xfrm>
              <a:off x="10105027" y="4808159"/>
              <a:ext cx="42486" cy="42486"/>
            </a:xfrm>
            <a:custGeom>
              <a:avLst/>
              <a:gdLst>
                <a:gd name="connsiteX0" fmla="*/ 25703 w 42485"/>
                <a:gd name="connsiteY0" fmla="*/ 35616 h 42485"/>
                <a:gd name="connsiteX1" fmla="*/ 35615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5" y="31367"/>
                    <a:pt x="35615" y="25703"/>
                  </a:cubicBezTo>
                  <a:cubicBezTo>
                    <a:pt x="35615" y="20037"/>
                    <a:pt x="31367" y="15789"/>
                    <a:pt x="25703" y="15789"/>
                  </a:cubicBezTo>
                  <a:cubicBezTo>
                    <a:pt x="20037" y="15789"/>
                    <a:pt x="15789" y="20037"/>
                    <a:pt x="15789" y="25703"/>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6" name="Freeform: Shape 2685">
              <a:extLst>
                <a:ext uri="{FF2B5EF4-FFF2-40B4-BE49-F238E27FC236}">
                  <a16:creationId xmlns:a16="http://schemas.microsoft.com/office/drawing/2014/main" id="{D5157C2A-8EE3-4FD5-9CFC-73397D86FF1E}"/>
                </a:ext>
              </a:extLst>
            </p:cNvPr>
            <p:cNvSpPr/>
            <p:nvPr/>
          </p:nvSpPr>
          <p:spPr>
            <a:xfrm>
              <a:off x="7919649" y="1937568"/>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7" name="Freeform: Shape 2686">
              <a:extLst>
                <a:ext uri="{FF2B5EF4-FFF2-40B4-BE49-F238E27FC236}">
                  <a16:creationId xmlns:a16="http://schemas.microsoft.com/office/drawing/2014/main" id="{528693EB-2B8A-425D-996A-3A2496519F77}"/>
                </a:ext>
              </a:extLst>
            </p:cNvPr>
            <p:cNvSpPr/>
            <p:nvPr/>
          </p:nvSpPr>
          <p:spPr>
            <a:xfrm>
              <a:off x="7857955" y="2246037"/>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8" name="Freeform: Shape 2687">
              <a:extLst>
                <a:ext uri="{FF2B5EF4-FFF2-40B4-BE49-F238E27FC236}">
                  <a16:creationId xmlns:a16="http://schemas.microsoft.com/office/drawing/2014/main" id="{613C8461-7CBF-47C5-9988-B7F7E2B0DAA2}"/>
                </a:ext>
              </a:extLst>
            </p:cNvPr>
            <p:cNvSpPr/>
            <p:nvPr/>
          </p:nvSpPr>
          <p:spPr>
            <a:xfrm>
              <a:off x="7027463" y="1996889"/>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9" name="Freeform: Shape 2688">
              <a:extLst>
                <a:ext uri="{FF2B5EF4-FFF2-40B4-BE49-F238E27FC236}">
                  <a16:creationId xmlns:a16="http://schemas.microsoft.com/office/drawing/2014/main" id="{641FBA08-70F0-4800-967A-AB812A7B352C}"/>
                </a:ext>
              </a:extLst>
            </p:cNvPr>
            <p:cNvSpPr/>
            <p:nvPr/>
          </p:nvSpPr>
          <p:spPr>
            <a:xfrm>
              <a:off x="7478301" y="1005043"/>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0" name="Freeform: Shape 2689">
              <a:extLst>
                <a:ext uri="{FF2B5EF4-FFF2-40B4-BE49-F238E27FC236}">
                  <a16:creationId xmlns:a16="http://schemas.microsoft.com/office/drawing/2014/main" id="{41D3A057-EF59-45A1-A73B-58D237A1B2B5}"/>
                </a:ext>
              </a:extLst>
            </p:cNvPr>
            <p:cNvSpPr/>
            <p:nvPr/>
          </p:nvSpPr>
          <p:spPr>
            <a:xfrm>
              <a:off x="6614588" y="1311138"/>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1" name="Freeform: Shape 2690">
              <a:extLst>
                <a:ext uri="{FF2B5EF4-FFF2-40B4-BE49-F238E27FC236}">
                  <a16:creationId xmlns:a16="http://schemas.microsoft.com/office/drawing/2014/main" id="{FF691C02-616D-4F90-9517-8CB56A8E5CAB}"/>
                </a:ext>
              </a:extLst>
            </p:cNvPr>
            <p:cNvSpPr/>
            <p:nvPr/>
          </p:nvSpPr>
          <p:spPr>
            <a:xfrm>
              <a:off x="7416608" y="2696876"/>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2" name="Freeform: Shape 2691">
              <a:extLst>
                <a:ext uri="{FF2B5EF4-FFF2-40B4-BE49-F238E27FC236}">
                  <a16:creationId xmlns:a16="http://schemas.microsoft.com/office/drawing/2014/main" id="{9F4D736F-C8AA-42D7-8D10-C9855EDA3CB7}"/>
                </a:ext>
              </a:extLst>
            </p:cNvPr>
            <p:cNvSpPr/>
            <p:nvPr/>
          </p:nvSpPr>
          <p:spPr>
            <a:xfrm>
              <a:off x="9414537" y="1194870"/>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3" name="Freeform: Shape 2692">
              <a:extLst>
                <a:ext uri="{FF2B5EF4-FFF2-40B4-BE49-F238E27FC236}">
                  <a16:creationId xmlns:a16="http://schemas.microsoft.com/office/drawing/2014/main" id="{7AFF7B06-D6FE-44C2-824D-BD58D0DFA5CA}"/>
                </a:ext>
              </a:extLst>
            </p:cNvPr>
            <p:cNvSpPr/>
            <p:nvPr/>
          </p:nvSpPr>
          <p:spPr>
            <a:xfrm>
              <a:off x="9889105" y="1681301"/>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4" name="Freeform: Shape 2693">
              <a:extLst>
                <a:ext uri="{FF2B5EF4-FFF2-40B4-BE49-F238E27FC236}">
                  <a16:creationId xmlns:a16="http://schemas.microsoft.com/office/drawing/2014/main" id="{AF0D3277-57F9-4A67-BA3C-A6B19564C948}"/>
                </a:ext>
              </a:extLst>
            </p:cNvPr>
            <p:cNvSpPr/>
            <p:nvPr/>
          </p:nvSpPr>
          <p:spPr>
            <a:xfrm>
              <a:off x="10268758" y="1643338"/>
              <a:ext cx="126815" cy="126813"/>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5" name="Freeform: Shape 2694">
              <a:extLst>
                <a:ext uri="{FF2B5EF4-FFF2-40B4-BE49-F238E27FC236}">
                  <a16:creationId xmlns:a16="http://schemas.microsoft.com/office/drawing/2014/main" id="{03EBDA81-D327-499E-9533-2D0BFEE1C891}"/>
                </a:ext>
              </a:extLst>
            </p:cNvPr>
            <p:cNvSpPr/>
            <p:nvPr/>
          </p:nvSpPr>
          <p:spPr>
            <a:xfrm>
              <a:off x="9414536" y="2091804"/>
              <a:ext cx="126815" cy="126813"/>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6" name="Freeform: Shape 2695">
              <a:extLst>
                <a:ext uri="{FF2B5EF4-FFF2-40B4-BE49-F238E27FC236}">
                  <a16:creationId xmlns:a16="http://schemas.microsoft.com/office/drawing/2014/main" id="{700E83C3-45A9-4B58-9821-D5CEC940A268}"/>
                </a:ext>
              </a:extLst>
            </p:cNvPr>
            <p:cNvSpPr/>
            <p:nvPr/>
          </p:nvSpPr>
          <p:spPr>
            <a:xfrm>
              <a:off x="9267421" y="2893823"/>
              <a:ext cx="126815" cy="126813"/>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7" name="Freeform: Shape 2696">
              <a:extLst>
                <a:ext uri="{FF2B5EF4-FFF2-40B4-BE49-F238E27FC236}">
                  <a16:creationId xmlns:a16="http://schemas.microsoft.com/office/drawing/2014/main" id="{ADAA7C57-ABC0-47E0-B111-2D34F45C0256}"/>
                </a:ext>
              </a:extLst>
            </p:cNvPr>
            <p:cNvSpPr/>
            <p:nvPr/>
          </p:nvSpPr>
          <p:spPr>
            <a:xfrm>
              <a:off x="8726414" y="846063"/>
              <a:ext cx="126815" cy="126813"/>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8" name="Freeform: Shape 2697">
              <a:extLst>
                <a:ext uri="{FF2B5EF4-FFF2-40B4-BE49-F238E27FC236}">
                  <a16:creationId xmlns:a16="http://schemas.microsoft.com/office/drawing/2014/main" id="{B4D94A2C-560C-4C28-83B4-F6183A2BA255}"/>
                </a:ext>
              </a:extLst>
            </p:cNvPr>
            <p:cNvSpPr/>
            <p:nvPr/>
          </p:nvSpPr>
          <p:spPr>
            <a:xfrm>
              <a:off x="6154257" y="1480872"/>
              <a:ext cx="85217" cy="8521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9" name="Freeform: Shape 2698">
              <a:extLst>
                <a:ext uri="{FF2B5EF4-FFF2-40B4-BE49-F238E27FC236}">
                  <a16:creationId xmlns:a16="http://schemas.microsoft.com/office/drawing/2014/main" id="{7E4B5B9A-EA31-484D-B718-7579B59C1EA4}"/>
                </a:ext>
              </a:extLst>
            </p:cNvPr>
            <p:cNvSpPr/>
            <p:nvPr/>
          </p:nvSpPr>
          <p:spPr>
            <a:xfrm>
              <a:off x="7108139" y="2470346"/>
              <a:ext cx="75933" cy="7593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0" name="Freeform: Shape 2699">
              <a:extLst>
                <a:ext uri="{FF2B5EF4-FFF2-40B4-BE49-F238E27FC236}">
                  <a16:creationId xmlns:a16="http://schemas.microsoft.com/office/drawing/2014/main" id="{BB5267C2-AB05-4B44-A03B-432920084C55}"/>
                </a:ext>
              </a:extLst>
            </p:cNvPr>
            <p:cNvSpPr/>
            <p:nvPr/>
          </p:nvSpPr>
          <p:spPr>
            <a:xfrm>
              <a:off x="6866109" y="2809662"/>
              <a:ext cx="75933" cy="7593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1" name="Freeform: Shape 2700">
              <a:extLst>
                <a:ext uri="{FF2B5EF4-FFF2-40B4-BE49-F238E27FC236}">
                  <a16:creationId xmlns:a16="http://schemas.microsoft.com/office/drawing/2014/main" id="{5F2C01EB-2C90-4AF2-BCB8-D2EF189EE544}"/>
                </a:ext>
              </a:extLst>
            </p:cNvPr>
            <p:cNvSpPr/>
            <p:nvPr/>
          </p:nvSpPr>
          <p:spPr>
            <a:xfrm>
              <a:off x="6374932" y="2401534"/>
              <a:ext cx="75933" cy="7593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2" name="Freeform: Shape 2701">
              <a:extLst>
                <a:ext uri="{FF2B5EF4-FFF2-40B4-BE49-F238E27FC236}">
                  <a16:creationId xmlns:a16="http://schemas.microsoft.com/office/drawing/2014/main" id="{4D677518-631D-4774-91FA-04D46BE3B4D4}"/>
                </a:ext>
              </a:extLst>
            </p:cNvPr>
            <p:cNvSpPr/>
            <p:nvPr/>
          </p:nvSpPr>
          <p:spPr>
            <a:xfrm>
              <a:off x="5888499" y="2392043"/>
              <a:ext cx="75933" cy="7593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3" name="Freeform: Shape 2702">
              <a:extLst>
                <a:ext uri="{FF2B5EF4-FFF2-40B4-BE49-F238E27FC236}">
                  <a16:creationId xmlns:a16="http://schemas.microsoft.com/office/drawing/2014/main" id="{3934F235-B22D-44FE-AE7A-5365D7393364}"/>
                </a:ext>
              </a:extLst>
            </p:cNvPr>
            <p:cNvSpPr/>
            <p:nvPr/>
          </p:nvSpPr>
          <p:spPr>
            <a:xfrm>
              <a:off x="7233899" y="3208299"/>
              <a:ext cx="75933" cy="7593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4" name="Freeform: Shape 2703">
              <a:extLst>
                <a:ext uri="{FF2B5EF4-FFF2-40B4-BE49-F238E27FC236}">
                  <a16:creationId xmlns:a16="http://schemas.microsoft.com/office/drawing/2014/main" id="{2A896B39-1395-43EB-8E65-B582D588AF84}"/>
                </a:ext>
              </a:extLst>
            </p:cNvPr>
            <p:cNvSpPr/>
            <p:nvPr/>
          </p:nvSpPr>
          <p:spPr>
            <a:xfrm>
              <a:off x="9846383" y="2785362"/>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6685"/>
                    <a:pt x="95095" y="55442"/>
                  </a:cubicBezTo>
                  <a:cubicBezTo>
                    <a:pt x="95095" y="34199"/>
                    <a:pt x="76685" y="15789"/>
                    <a:pt x="55442" y="15789"/>
                  </a:cubicBezTo>
                  <a:cubicBezTo>
                    <a:pt x="34199" y="15789"/>
                    <a:pt x="15789" y="34199"/>
                    <a:pt x="15789" y="55442"/>
                  </a:cubicBezTo>
                  <a:cubicBezTo>
                    <a:pt x="15789" y="78101"/>
                    <a:pt x="34199" y="95096"/>
                    <a:pt x="55442" y="950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5" name="Freeform: Shape 2704">
              <a:extLst>
                <a:ext uri="{FF2B5EF4-FFF2-40B4-BE49-F238E27FC236}">
                  <a16:creationId xmlns:a16="http://schemas.microsoft.com/office/drawing/2014/main" id="{3F4FD6C5-D375-415D-AC5E-C245975C84BB}"/>
                </a:ext>
              </a:extLst>
            </p:cNvPr>
            <p:cNvSpPr/>
            <p:nvPr/>
          </p:nvSpPr>
          <p:spPr>
            <a:xfrm>
              <a:off x="9208100" y="3303213"/>
              <a:ext cx="75933" cy="7593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6" name="Freeform: Shape 2705">
              <a:extLst>
                <a:ext uri="{FF2B5EF4-FFF2-40B4-BE49-F238E27FC236}">
                  <a16:creationId xmlns:a16="http://schemas.microsoft.com/office/drawing/2014/main" id="{2DD41953-5AA0-4CA8-94DC-EFE105407171}"/>
                </a:ext>
              </a:extLst>
            </p:cNvPr>
            <p:cNvSpPr/>
            <p:nvPr/>
          </p:nvSpPr>
          <p:spPr>
            <a:xfrm>
              <a:off x="10533462" y="1168977"/>
              <a:ext cx="111260" cy="111258"/>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7" name="Freeform: Shape 2706">
              <a:extLst>
                <a:ext uri="{FF2B5EF4-FFF2-40B4-BE49-F238E27FC236}">
                  <a16:creationId xmlns:a16="http://schemas.microsoft.com/office/drawing/2014/main" id="{C3CEB2B7-3617-43F1-A6E1-DF2047D1937E}"/>
                </a:ext>
              </a:extLst>
            </p:cNvPr>
            <p:cNvSpPr/>
            <p:nvPr/>
          </p:nvSpPr>
          <p:spPr>
            <a:xfrm>
              <a:off x="10608445" y="1961209"/>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3" y="15789"/>
                    <a:pt x="15789" y="25702"/>
                    <a:pt x="15789" y="37032"/>
                  </a:cubicBezTo>
                  <a:cubicBezTo>
                    <a:pt x="15789" y="49777"/>
                    <a:pt x="25703"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8" name="Freeform: Shape 2707">
              <a:extLst>
                <a:ext uri="{FF2B5EF4-FFF2-40B4-BE49-F238E27FC236}">
                  <a16:creationId xmlns:a16="http://schemas.microsoft.com/office/drawing/2014/main" id="{C6006926-2A35-40BE-A1FE-F97581747AC5}"/>
                </a:ext>
              </a:extLst>
            </p:cNvPr>
            <p:cNvSpPr/>
            <p:nvPr/>
          </p:nvSpPr>
          <p:spPr>
            <a:xfrm>
              <a:off x="10911006" y="1567407"/>
              <a:ext cx="126815" cy="126813"/>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9" name="Freeform: Shape 2708">
              <a:extLst>
                <a:ext uri="{FF2B5EF4-FFF2-40B4-BE49-F238E27FC236}">
                  <a16:creationId xmlns:a16="http://schemas.microsoft.com/office/drawing/2014/main" id="{81214705-8019-4A49-B79E-D2E031E4807A}"/>
                </a:ext>
              </a:extLst>
            </p:cNvPr>
            <p:cNvSpPr/>
            <p:nvPr/>
          </p:nvSpPr>
          <p:spPr>
            <a:xfrm>
              <a:off x="8650853" y="3531843"/>
              <a:ext cx="99133" cy="99133"/>
            </a:xfrm>
            <a:custGeom>
              <a:avLst/>
              <a:gdLst>
                <a:gd name="connsiteX0" fmla="*/ 49778 w 99133"/>
                <a:gd name="connsiteY0" fmla="*/ 83766 h 99133"/>
                <a:gd name="connsiteX1" fmla="*/ 83766 w 99133"/>
                <a:gd name="connsiteY1" fmla="*/ 49777 h 99133"/>
                <a:gd name="connsiteX2" fmla="*/ 49778 w 99133"/>
                <a:gd name="connsiteY2" fmla="*/ 15789 h 99133"/>
                <a:gd name="connsiteX3" fmla="*/ 15789 w 99133"/>
                <a:gd name="connsiteY3" fmla="*/ 49777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7"/>
                  </a:cubicBezTo>
                  <a:cubicBezTo>
                    <a:pt x="83766" y="31367"/>
                    <a:pt x="68188" y="15789"/>
                    <a:pt x="49778" y="15789"/>
                  </a:cubicBezTo>
                  <a:cubicBezTo>
                    <a:pt x="31367" y="15789"/>
                    <a:pt x="15789" y="31367"/>
                    <a:pt x="15789" y="49777"/>
                  </a:cubicBezTo>
                  <a:cubicBezTo>
                    <a:pt x="17205" y="68188"/>
                    <a:pt x="31367" y="83766"/>
                    <a:pt x="49778" y="8376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0" name="Freeform: Shape 2709">
              <a:extLst>
                <a:ext uri="{FF2B5EF4-FFF2-40B4-BE49-F238E27FC236}">
                  <a16:creationId xmlns:a16="http://schemas.microsoft.com/office/drawing/2014/main" id="{9312BE59-6889-4600-BA80-038FE597153B}"/>
                </a:ext>
              </a:extLst>
            </p:cNvPr>
            <p:cNvSpPr/>
            <p:nvPr/>
          </p:nvSpPr>
          <p:spPr>
            <a:xfrm>
              <a:off x="9111184" y="4272169"/>
              <a:ext cx="99133" cy="99133"/>
            </a:xfrm>
            <a:custGeom>
              <a:avLst/>
              <a:gdLst>
                <a:gd name="connsiteX0" fmla="*/ 49778 w 99133"/>
                <a:gd name="connsiteY0" fmla="*/ 83766 h 99133"/>
                <a:gd name="connsiteX1" fmla="*/ 83766 w 99133"/>
                <a:gd name="connsiteY1" fmla="*/ 49777 h 99133"/>
                <a:gd name="connsiteX2" fmla="*/ 49778 w 99133"/>
                <a:gd name="connsiteY2" fmla="*/ 15789 h 99133"/>
                <a:gd name="connsiteX3" fmla="*/ 15789 w 99133"/>
                <a:gd name="connsiteY3" fmla="*/ 49777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7"/>
                  </a:cubicBezTo>
                  <a:cubicBezTo>
                    <a:pt x="83766" y="31367"/>
                    <a:pt x="68188" y="15789"/>
                    <a:pt x="49778" y="15789"/>
                  </a:cubicBezTo>
                  <a:cubicBezTo>
                    <a:pt x="31367" y="15789"/>
                    <a:pt x="15789" y="31367"/>
                    <a:pt x="15789" y="49777"/>
                  </a:cubicBezTo>
                  <a:cubicBezTo>
                    <a:pt x="17205" y="68188"/>
                    <a:pt x="31367" y="83766"/>
                    <a:pt x="49778" y="8376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1" name="Freeform: Shape 2710">
              <a:extLst>
                <a:ext uri="{FF2B5EF4-FFF2-40B4-BE49-F238E27FC236}">
                  <a16:creationId xmlns:a16="http://schemas.microsoft.com/office/drawing/2014/main" id="{C69C7BD3-56F4-45A4-BDAB-36B641C3BAF2}"/>
                </a:ext>
              </a:extLst>
            </p:cNvPr>
            <p:cNvSpPr/>
            <p:nvPr/>
          </p:nvSpPr>
          <p:spPr>
            <a:xfrm>
              <a:off x="9826167" y="4349660"/>
              <a:ext cx="70810" cy="70810"/>
            </a:xfrm>
            <a:custGeom>
              <a:avLst/>
              <a:gdLst>
                <a:gd name="connsiteX0" fmla="*/ 41280 w 70809"/>
                <a:gd name="connsiteY0" fmla="*/ 66772 h 70809"/>
                <a:gd name="connsiteX1" fmla="*/ 66772 w 70809"/>
                <a:gd name="connsiteY1" fmla="*/ 41281 h 70809"/>
                <a:gd name="connsiteX2" fmla="*/ 41280 w 70809"/>
                <a:gd name="connsiteY2" fmla="*/ 15789 h 70809"/>
                <a:gd name="connsiteX3" fmla="*/ 15789 w 70809"/>
                <a:gd name="connsiteY3" fmla="*/ 41281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3"/>
                    <a:pt x="66772" y="41281"/>
                  </a:cubicBezTo>
                  <a:cubicBezTo>
                    <a:pt x="66772" y="27119"/>
                    <a:pt x="55442" y="15789"/>
                    <a:pt x="41280" y="15789"/>
                  </a:cubicBezTo>
                  <a:cubicBezTo>
                    <a:pt x="27118" y="15789"/>
                    <a:pt x="15789" y="27119"/>
                    <a:pt x="15789" y="41281"/>
                  </a:cubicBezTo>
                  <a:cubicBezTo>
                    <a:pt x="15789" y="54026"/>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2" name="Freeform: Shape 2711">
              <a:extLst>
                <a:ext uri="{FF2B5EF4-FFF2-40B4-BE49-F238E27FC236}">
                  <a16:creationId xmlns:a16="http://schemas.microsoft.com/office/drawing/2014/main" id="{8765FE53-CE34-48B3-ABDF-41DD27397332}"/>
                </a:ext>
              </a:extLst>
            </p:cNvPr>
            <p:cNvSpPr/>
            <p:nvPr/>
          </p:nvSpPr>
          <p:spPr>
            <a:xfrm>
              <a:off x="10042095" y="4532368"/>
              <a:ext cx="70810" cy="70810"/>
            </a:xfrm>
            <a:custGeom>
              <a:avLst/>
              <a:gdLst>
                <a:gd name="connsiteX0" fmla="*/ 41280 w 70809"/>
                <a:gd name="connsiteY0" fmla="*/ 66772 h 70809"/>
                <a:gd name="connsiteX1" fmla="*/ 66772 w 70809"/>
                <a:gd name="connsiteY1" fmla="*/ 41281 h 70809"/>
                <a:gd name="connsiteX2" fmla="*/ 41280 w 70809"/>
                <a:gd name="connsiteY2" fmla="*/ 15789 h 70809"/>
                <a:gd name="connsiteX3" fmla="*/ 15789 w 70809"/>
                <a:gd name="connsiteY3" fmla="*/ 41281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3"/>
                    <a:pt x="66772" y="41281"/>
                  </a:cubicBezTo>
                  <a:cubicBezTo>
                    <a:pt x="66772" y="27119"/>
                    <a:pt x="55442" y="15789"/>
                    <a:pt x="41280" y="15789"/>
                  </a:cubicBezTo>
                  <a:cubicBezTo>
                    <a:pt x="27118" y="15789"/>
                    <a:pt x="15789" y="27119"/>
                    <a:pt x="15789" y="41281"/>
                  </a:cubicBezTo>
                  <a:cubicBezTo>
                    <a:pt x="15789" y="54026"/>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3" name="Freeform: Shape 2712">
              <a:extLst>
                <a:ext uri="{FF2B5EF4-FFF2-40B4-BE49-F238E27FC236}">
                  <a16:creationId xmlns:a16="http://schemas.microsoft.com/office/drawing/2014/main" id="{AE132DA9-C864-4C24-923C-5A8424B757B5}"/>
                </a:ext>
              </a:extLst>
            </p:cNvPr>
            <p:cNvSpPr/>
            <p:nvPr/>
          </p:nvSpPr>
          <p:spPr>
            <a:xfrm>
              <a:off x="6647142" y="4383006"/>
              <a:ext cx="84971" cy="84971"/>
            </a:xfrm>
            <a:custGeom>
              <a:avLst/>
              <a:gdLst>
                <a:gd name="connsiteX0" fmla="*/ 49885 w 84971"/>
                <a:gd name="connsiteY0" fmla="*/ 15897 h 84971"/>
                <a:gd name="connsiteX1" fmla="*/ 78209 w 84971"/>
                <a:gd name="connsiteY1" fmla="*/ 49885 h 84971"/>
                <a:gd name="connsiteX2" fmla="*/ 44220 w 84971"/>
                <a:gd name="connsiteY2" fmla="*/ 78209 h 84971"/>
                <a:gd name="connsiteX3" fmla="*/ 15896 w 84971"/>
                <a:gd name="connsiteY3" fmla="*/ 44220 h 84971"/>
                <a:gd name="connsiteX4" fmla="*/ 49885 w 84971"/>
                <a:gd name="connsiteY4" fmla="*/ 1589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9885" y="15897"/>
                  </a:moveTo>
                  <a:cubicBezTo>
                    <a:pt x="66879" y="17313"/>
                    <a:pt x="79625" y="32891"/>
                    <a:pt x="78209" y="49885"/>
                  </a:cubicBezTo>
                  <a:cubicBezTo>
                    <a:pt x="76793" y="66879"/>
                    <a:pt x="61215" y="79625"/>
                    <a:pt x="44220" y="78209"/>
                  </a:cubicBezTo>
                  <a:cubicBezTo>
                    <a:pt x="27226" y="76793"/>
                    <a:pt x="14481" y="61215"/>
                    <a:pt x="15896" y="44220"/>
                  </a:cubicBezTo>
                  <a:cubicBezTo>
                    <a:pt x="17313" y="27226"/>
                    <a:pt x="32891" y="14480"/>
                    <a:pt x="49885" y="1589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4" name="Freeform: Shape 2713">
              <a:extLst>
                <a:ext uri="{FF2B5EF4-FFF2-40B4-BE49-F238E27FC236}">
                  <a16:creationId xmlns:a16="http://schemas.microsoft.com/office/drawing/2014/main" id="{14B8AD1B-A5EC-4E8B-873D-E401E1D4B8F8}"/>
                </a:ext>
              </a:extLst>
            </p:cNvPr>
            <p:cNvSpPr/>
            <p:nvPr/>
          </p:nvSpPr>
          <p:spPr>
            <a:xfrm>
              <a:off x="6322063" y="3645053"/>
              <a:ext cx="84971" cy="84971"/>
            </a:xfrm>
            <a:custGeom>
              <a:avLst/>
              <a:gdLst>
                <a:gd name="connsiteX0" fmla="*/ 49885 w 84971"/>
                <a:gd name="connsiteY0" fmla="*/ 15897 h 84971"/>
                <a:gd name="connsiteX1" fmla="*/ 78209 w 84971"/>
                <a:gd name="connsiteY1" fmla="*/ 49885 h 84971"/>
                <a:gd name="connsiteX2" fmla="*/ 44220 w 84971"/>
                <a:gd name="connsiteY2" fmla="*/ 78209 h 84971"/>
                <a:gd name="connsiteX3" fmla="*/ 15896 w 84971"/>
                <a:gd name="connsiteY3" fmla="*/ 44220 h 84971"/>
                <a:gd name="connsiteX4" fmla="*/ 49885 w 84971"/>
                <a:gd name="connsiteY4" fmla="*/ 1589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9885" y="15897"/>
                  </a:moveTo>
                  <a:cubicBezTo>
                    <a:pt x="66879" y="17313"/>
                    <a:pt x="79625" y="32891"/>
                    <a:pt x="78209" y="49885"/>
                  </a:cubicBezTo>
                  <a:cubicBezTo>
                    <a:pt x="76793" y="66879"/>
                    <a:pt x="61215" y="79625"/>
                    <a:pt x="44220" y="78209"/>
                  </a:cubicBezTo>
                  <a:cubicBezTo>
                    <a:pt x="27226" y="76793"/>
                    <a:pt x="14481" y="61215"/>
                    <a:pt x="15896" y="44220"/>
                  </a:cubicBezTo>
                  <a:cubicBezTo>
                    <a:pt x="17313" y="27226"/>
                    <a:pt x="32891" y="14480"/>
                    <a:pt x="49885" y="1589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5" name="Freeform: Shape 2714">
              <a:extLst>
                <a:ext uri="{FF2B5EF4-FFF2-40B4-BE49-F238E27FC236}">
                  <a16:creationId xmlns:a16="http://schemas.microsoft.com/office/drawing/2014/main" id="{B1DCD11B-5A9B-4BD8-AF59-ABB2D233F96E}"/>
                </a:ext>
              </a:extLst>
            </p:cNvPr>
            <p:cNvSpPr/>
            <p:nvPr/>
          </p:nvSpPr>
          <p:spPr>
            <a:xfrm>
              <a:off x="5437531" y="3521407"/>
              <a:ext cx="84971" cy="84971"/>
            </a:xfrm>
            <a:custGeom>
              <a:avLst/>
              <a:gdLst>
                <a:gd name="connsiteX0" fmla="*/ 45649 w 84971"/>
                <a:gd name="connsiteY0" fmla="*/ 15909 h 84971"/>
                <a:gd name="connsiteX1" fmla="*/ 71140 w 84971"/>
                <a:gd name="connsiteY1" fmla="*/ 45648 h 84971"/>
                <a:gd name="connsiteX2" fmla="*/ 41400 w 84971"/>
                <a:gd name="connsiteY2" fmla="*/ 71140 h 84971"/>
                <a:gd name="connsiteX3" fmla="*/ 15908 w 84971"/>
                <a:gd name="connsiteY3" fmla="*/ 41400 h 84971"/>
                <a:gd name="connsiteX4" fmla="*/ 45649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9" y="15909"/>
                  </a:moveTo>
                  <a:cubicBezTo>
                    <a:pt x="61227" y="17325"/>
                    <a:pt x="72556" y="30070"/>
                    <a:pt x="71140" y="45648"/>
                  </a:cubicBezTo>
                  <a:cubicBezTo>
                    <a:pt x="69724" y="61227"/>
                    <a:pt x="56978" y="72556"/>
                    <a:pt x="41400" y="71140"/>
                  </a:cubicBezTo>
                  <a:cubicBezTo>
                    <a:pt x="25822" y="69724"/>
                    <a:pt x="14493" y="56978"/>
                    <a:pt x="15908" y="41400"/>
                  </a:cubicBezTo>
                  <a:cubicBezTo>
                    <a:pt x="15908" y="25822"/>
                    <a:pt x="30070" y="14492"/>
                    <a:pt x="45649" y="1590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6" name="Freeform: Shape 2715">
              <a:extLst>
                <a:ext uri="{FF2B5EF4-FFF2-40B4-BE49-F238E27FC236}">
                  <a16:creationId xmlns:a16="http://schemas.microsoft.com/office/drawing/2014/main" id="{96A51211-1657-49E2-A937-63F5689CD9BC}"/>
                </a:ext>
              </a:extLst>
            </p:cNvPr>
            <p:cNvSpPr/>
            <p:nvPr/>
          </p:nvSpPr>
          <p:spPr>
            <a:xfrm>
              <a:off x="6196839" y="4425458"/>
              <a:ext cx="84971" cy="84971"/>
            </a:xfrm>
            <a:custGeom>
              <a:avLst/>
              <a:gdLst>
                <a:gd name="connsiteX0" fmla="*/ 45649 w 84971"/>
                <a:gd name="connsiteY0" fmla="*/ 15909 h 84971"/>
                <a:gd name="connsiteX1" fmla="*/ 71140 w 84971"/>
                <a:gd name="connsiteY1" fmla="*/ 45648 h 84971"/>
                <a:gd name="connsiteX2" fmla="*/ 41400 w 84971"/>
                <a:gd name="connsiteY2" fmla="*/ 71140 h 84971"/>
                <a:gd name="connsiteX3" fmla="*/ 15908 w 84971"/>
                <a:gd name="connsiteY3" fmla="*/ 41400 h 84971"/>
                <a:gd name="connsiteX4" fmla="*/ 45649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9" y="15909"/>
                  </a:moveTo>
                  <a:cubicBezTo>
                    <a:pt x="61227" y="17325"/>
                    <a:pt x="72556" y="30070"/>
                    <a:pt x="71140" y="45648"/>
                  </a:cubicBezTo>
                  <a:cubicBezTo>
                    <a:pt x="69724" y="61227"/>
                    <a:pt x="56978" y="72556"/>
                    <a:pt x="41400" y="71140"/>
                  </a:cubicBezTo>
                  <a:cubicBezTo>
                    <a:pt x="25822" y="69724"/>
                    <a:pt x="14493" y="56978"/>
                    <a:pt x="15908" y="41400"/>
                  </a:cubicBezTo>
                  <a:cubicBezTo>
                    <a:pt x="15908" y="25822"/>
                    <a:pt x="30070" y="14492"/>
                    <a:pt x="45649" y="1590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7" name="Freeform: Shape 2716">
              <a:extLst>
                <a:ext uri="{FF2B5EF4-FFF2-40B4-BE49-F238E27FC236}">
                  <a16:creationId xmlns:a16="http://schemas.microsoft.com/office/drawing/2014/main" id="{52508AC9-D683-43F7-8367-E6DE29F5943B}"/>
                </a:ext>
              </a:extLst>
            </p:cNvPr>
            <p:cNvSpPr/>
            <p:nvPr/>
          </p:nvSpPr>
          <p:spPr>
            <a:xfrm>
              <a:off x="6038474" y="1765057"/>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2" y="58275"/>
                    <a:pt x="58275" y="48361"/>
                    <a:pt x="58275" y="37032"/>
                  </a:cubicBezTo>
                  <a:cubicBezTo>
                    <a:pt x="58275" y="25702"/>
                    <a:pt x="48362" y="15789"/>
                    <a:pt x="37032" y="15789"/>
                  </a:cubicBezTo>
                  <a:cubicBezTo>
                    <a:pt x="25703" y="15789"/>
                    <a:pt x="15789" y="25702"/>
                    <a:pt x="15789" y="37032"/>
                  </a:cubicBezTo>
                  <a:cubicBezTo>
                    <a:pt x="15789" y="48361"/>
                    <a:pt x="25703"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8" name="Freeform: Shape 2717">
              <a:extLst>
                <a:ext uri="{FF2B5EF4-FFF2-40B4-BE49-F238E27FC236}">
                  <a16:creationId xmlns:a16="http://schemas.microsoft.com/office/drawing/2014/main" id="{09BAD74C-8E0C-441A-A3EB-EEF15C4427AD}"/>
                </a:ext>
              </a:extLst>
            </p:cNvPr>
            <p:cNvSpPr/>
            <p:nvPr/>
          </p:nvSpPr>
          <p:spPr>
            <a:xfrm>
              <a:off x="4237494" y="4225851"/>
              <a:ext cx="99133" cy="99133"/>
            </a:xfrm>
            <a:custGeom>
              <a:avLst/>
              <a:gdLst>
                <a:gd name="connsiteX0" fmla="*/ 49778 w 99133"/>
                <a:gd name="connsiteY0" fmla="*/ 83766 h 99133"/>
                <a:gd name="connsiteX1" fmla="*/ 83766 w 99133"/>
                <a:gd name="connsiteY1" fmla="*/ 49777 h 99133"/>
                <a:gd name="connsiteX2" fmla="*/ 49778 w 99133"/>
                <a:gd name="connsiteY2" fmla="*/ 15789 h 99133"/>
                <a:gd name="connsiteX3" fmla="*/ 15789 w 99133"/>
                <a:gd name="connsiteY3" fmla="*/ 49777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7"/>
                  </a:cubicBezTo>
                  <a:cubicBezTo>
                    <a:pt x="83766" y="31367"/>
                    <a:pt x="68188" y="15789"/>
                    <a:pt x="49778" y="15789"/>
                  </a:cubicBezTo>
                  <a:cubicBezTo>
                    <a:pt x="31367" y="15789"/>
                    <a:pt x="15789" y="31367"/>
                    <a:pt x="15789" y="49777"/>
                  </a:cubicBezTo>
                  <a:cubicBezTo>
                    <a:pt x="15789" y="69604"/>
                    <a:pt x="31367" y="83766"/>
                    <a:pt x="49778" y="8376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9" name="Freeform: Shape 2718">
              <a:extLst>
                <a:ext uri="{FF2B5EF4-FFF2-40B4-BE49-F238E27FC236}">
                  <a16:creationId xmlns:a16="http://schemas.microsoft.com/office/drawing/2014/main" id="{03F2D3EA-0601-4B00-BB95-0499E8B86E03}"/>
                </a:ext>
              </a:extLst>
            </p:cNvPr>
            <p:cNvSpPr/>
            <p:nvPr/>
          </p:nvSpPr>
          <p:spPr>
            <a:xfrm>
              <a:off x="4375261" y="4552120"/>
              <a:ext cx="70810" cy="70810"/>
            </a:xfrm>
            <a:custGeom>
              <a:avLst/>
              <a:gdLst>
                <a:gd name="connsiteX0" fmla="*/ 41388 w 70809"/>
                <a:gd name="connsiteY0" fmla="*/ 66772 h 70809"/>
                <a:gd name="connsiteX1" fmla="*/ 66879 w 70809"/>
                <a:gd name="connsiteY1" fmla="*/ 41280 h 70809"/>
                <a:gd name="connsiteX2" fmla="*/ 41388 w 70809"/>
                <a:gd name="connsiteY2" fmla="*/ 15789 h 70809"/>
                <a:gd name="connsiteX3" fmla="*/ 15897 w 70809"/>
                <a:gd name="connsiteY3" fmla="*/ 41280 h 70809"/>
                <a:gd name="connsiteX4" fmla="*/ 41388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388" y="66772"/>
                  </a:moveTo>
                  <a:cubicBezTo>
                    <a:pt x="55550" y="66772"/>
                    <a:pt x="66879" y="55442"/>
                    <a:pt x="66879" y="41280"/>
                  </a:cubicBezTo>
                  <a:cubicBezTo>
                    <a:pt x="66879" y="27118"/>
                    <a:pt x="55550" y="15789"/>
                    <a:pt x="41388" y="15789"/>
                  </a:cubicBezTo>
                  <a:cubicBezTo>
                    <a:pt x="27226" y="15789"/>
                    <a:pt x="15897" y="27118"/>
                    <a:pt x="15897" y="41280"/>
                  </a:cubicBezTo>
                  <a:cubicBezTo>
                    <a:pt x="14481" y="54026"/>
                    <a:pt x="27226" y="66772"/>
                    <a:pt x="41388"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0" name="Freeform: Shape 2719">
              <a:extLst>
                <a:ext uri="{FF2B5EF4-FFF2-40B4-BE49-F238E27FC236}">
                  <a16:creationId xmlns:a16="http://schemas.microsoft.com/office/drawing/2014/main" id="{BB579F6F-F895-4C67-A42E-BEA9F2696D10}"/>
                </a:ext>
              </a:extLst>
            </p:cNvPr>
            <p:cNvSpPr/>
            <p:nvPr/>
          </p:nvSpPr>
          <p:spPr>
            <a:xfrm>
              <a:off x="3663410" y="5176177"/>
              <a:ext cx="70810" cy="70810"/>
            </a:xfrm>
            <a:custGeom>
              <a:avLst/>
              <a:gdLst>
                <a:gd name="connsiteX0" fmla="*/ 41388 w 70809"/>
                <a:gd name="connsiteY0" fmla="*/ 66772 h 70809"/>
                <a:gd name="connsiteX1" fmla="*/ 66879 w 70809"/>
                <a:gd name="connsiteY1" fmla="*/ 41280 h 70809"/>
                <a:gd name="connsiteX2" fmla="*/ 41388 w 70809"/>
                <a:gd name="connsiteY2" fmla="*/ 15789 h 70809"/>
                <a:gd name="connsiteX3" fmla="*/ 15897 w 70809"/>
                <a:gd name="connsiteY3" fmla="*/ 41280 h 70809"/>
                <a:gd name="connsiteX4" fmla="*/ 41388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388" y="66772"/>
                  </a:moveTo>
                  <a:cubicBezTo>
                    <a:pt x="55550" y="66772"/>
                    <a:pt x="66879" y="55442"/>
                    <a:pt x="66879" y="41280"/>
                  </a:cubicBezTo>
                  <a:cubicBezTo>
                    <a:pt x="66879" y="27118"/>
                    <a:pt x="55550" y="15789"/>
                    <a:pt x="41388" y="15789"/>
                  </a:cubicBezTo>
                  <a:cubicBezTo>
                    <a:pt x="27226" y="15789"/>
                    <a:pt x="15897" y="27118"/>
                    <a:pt x="15897" y="41280"/>
                  </a:cubicBezTo>
                  <a:cubicBezTo>
                    <a:pt x="14481" y="54026"/>
                    <a:pt x="27226" y="66772"/>
                    <a:pt x="41388"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1" name="Freeform: Shape 2720">
              <a:extLst>
                <a:ext uri="{FF2B5EF4-FFF2-40B4-BE49-F238E27FC236}">
                  <a16:creationId xmlns:a16="http://schemas.microsoft.com/office/drawing/2014/main" id="{FAC9CBC8-F98F-4398-AC47-14533D893FBB}"/>
                </a:ext>
              </a:extLst>
            </p:cNvPr>
            <p:cNvSpPr/>
            <p:nvPr/>
          </p:nvSpPr>
          <p:spPr>
            <a:xfrm>
              <a:off x="3997428" y="5361485"/>
              <a:ext cx="56648" cy="56648"/>
            </a:xfrm>
            <a:custGeom>
              <a:avLst/>
              <a:gdLst>
                <a:gd name="connsiteX0" fmla="*/ 35771 w 56647"/>
                <a:gd name="connsiteY0" fmla="*/ 15969 h 56647"/>
                <a:gd name="connsiteX1" fmla="*/ 52765 w 56647"/>
                <a:gd name="connsiteY1" fmla="*/ 35795 h 56647"/>
                <a:gd name="connsiteX2" fmla="*/ 32938 w 56647"/>
                <a:gd name="connsiteY2" fmla="*/ 52790 h 56647"/>
                <a:gd name="connsiteX3" fmla="*/ 15944 w 56647"/>
                <a:gd name="connsiteY3" fmla="*/ 32963 h 56647"/>
                <a:gd name="connsiteX4" fmla="*/ 35771 w 56647"/>
                <a:gd name="connsiteY4" fmla="*/ 1596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69"/>
                  </a:moveTo>
                  <a:cubicBezTo>
                    <a:pt x="45684" y="17385"/>
                    <a:pt x="54181" y="25882"/>
                    <a:pt x="52765" y="35795"/>
                  </a:cubicBezTo>
                  <a:cubicBezTo>
                    <a:pt x="51349" y="45709"/>
                    <a:pt x="42852" y="54205"/>
                    <a:pt x="32938" y="52790"/>
                  </a:cubicBezTo>
                  <a:cubicBezTo>
                    <a:pt x="23025" y="51373"/>
                    <a:pt x="14528" y="42876"/>
                    <a:pt x="15944" y="32963"/>
                  </a:cubicBezTo>
                  <a:cubicBezTo>
                    <a:pt x="15944" y="21633"/>
                    <a:pt x="25857" y="14552"/>
                    <a:pt x="35771" y="159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2" name="Freeform: Shape 2721">
              <a:extLst>
                <a:ext uri="{FF2B5EF4-FFF2-40B4-BE49-F238E27FC236}">
                  <a16:creationId xmlns:a16="http://schemas.microsoft.com/office/drawing/2014/main" id="{3C1351D2-D3F0-4D2D-A2EA-AF08E08166FC}"/>
                </a:ext>
              </a:extLst>
            </p:cNvPr>
            <p:cNvSpPr/>
            <p:nvPr/>
          </p:nvSpPr>
          <p:spPr>
            <a:xfrm>
              <a:off x="3793267" y="4280604"/>
              <a:ext cx="70810" cy="70810"/>
            </a:xfrm>
            <a:custGeom>
              <a:avLst/>
              <a:gdLst>
                <a:gd name="connsiteX0" fmla="*/ 35616 w 70809"/>
                <a:gd name="connsiteY0" fmla="*/ 55443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3"/>
                  </a:moveTo>
                  <a:cubicBezTo>
                    <a:pt x="46945" y="55443"/>
                    <a:pt x="55442" y="46945"/>
                    <a:pt x="55442" y="35616"/>
                  </a:cubicBezTo>
                  <a:cubicBezTo>
                    <a:pt x="55442" y="24286"/>
                    <a:pt x="46945" y="15789"/>
                    <a:pt x="35616" y="15789"/>
                  </a:cubicBezTo>
                  <a:cubicBezTo>
                    <a:pt x="24286" y="15789"/>
                    <a:pt x="15789" y="24286"/>
                    <a:pt x="15789" y="35616"/>
                  </a:cubicBezTo>
                  <a:cubicBezTo>
                    <a:pt x="17205" y="45529"/>
                    <a:pt x="25703" y="55443"/>
                    <a:pt x="35616" y="554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3" name="Freeform: Shape 2722">
              <a:extLst>
                <a:ext uri="{FF2B5EF4-FFF2-40B4-BE49-F238E27FC236}">
                  <a16:creationId xmlns:a16="http://schemas.microsoft.com/office/drawing/2014/main" id="{BA02B67B-80CF-4DC4-B7EC-AC7F0582AE03}"/>
                </a:ext>
              </a:extLst>
            </p:cNvPr>
            <p:cNvSpPr/>
            <p:nvPr/>
          </p:nvSpPr>
          <p:spPr>
            <a:xfrm>
              <a:off x="2794843" y="2999667"/>
              <a:ext cx="70810" cy="70810"/>
            </a:xfrm>
            <a:custGeom>
              <a:avLst/>
              <a:gdLst>
                <a:gd name="connsiteX0" fmla="*/ 39864 w 70809"/>
                <a:gd name="connsiteY0" fmla="*/ 63940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4026" y="63940"/>
                    <a:pt x="63940" y="52610"/>
                    <a:pt x="63940" y="39864"/>
                  </a:cubicBezTo>
                  <a:cubicBezTo>
                    <a:pt x="63940" y="25703"/>
                    <a:pt x="52610" y="15789"/>
                    <a:pt x="39864" y="15789"/>
                  </a:cubicBezTo>
                  <a:cubicBezTo>
                    <a:pt x="25702" y="15789"/>
                    <a:pt x="15789" y="27119"/>
                    <a:pt x="15789" y="39864"/>
                  </a:cubicBezTo>
                  <a:cubicBezTo>
                    <a:pt x="15789" y="52610"/>
                    <a:pt x="27119"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4" name="Freeform: Shape 2723">
              <a:extLst>
                <a:ext uri="{FF2B5EF4-FFF2-40B4-BE49-F238E27FC236}">
                  <a16:creationId xmlns:a16="http://schemas.microsoft.com/office/drawing/2014/main" id="{4CF27316-7466-46F7-AF4C-3A550B768BC8}"/>
                </a:ext>
              </a:extLst>
            </p:cNvPr>
            <p:cNvSpPr/>
            <p:nvPr/>
          </p:nvSpPr>
          <p:spPr>
            <a:xfrm>
              <a:off x="2339258" y="3253561"/>
              <a:ext cx="70810" cy="70810"/>
            </a:xfrm>
            <a:custGeom>
              <a:avLst/>
              <a:gdLst>
                <a:gd name="connsiteX0" fmla="*/ 39864 w 70809"/>
                <a:gd name="connsiteY0" fmla="*/ 63940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4026" y="63940"/>
                    <a:pt x="63940" y="52610"/>
                    <a:pt x="63940" y="39864"/>
                  </a:cubicBezTo>
                  <a:cubicBezTo>
                    <a:pt x="63940" y="25703"/>
                    <a:pt x="52610" y="15789"/>
                    <a:pt x="39864" y="15789"/>
                  </a:cubicBezTo>
                  <a:cubicBezTo>
                    <a:pt x="25702" y="15789"/>
                    <a:pt x="15789" y="27119"/>
                    <a:pt x="15789" y="39864"/>
                  </a:cubicBezTo>
                  <a:cubicBezTo>
                    <a:pt x="15789" y="52610"/>
                    <a:pt x="27119"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5" name="Freeform: Shape 2724">
              <a:extLst>
                <a:ext uri="{FF2B5EF4-FFF2-40B4-BE49-F238E27FC236}">
                  <a16:creationId xmlns:a16="http://schemas.microsoft.com/office/drawing/2014/main" id="{AAE92C0F-6DE6-4B79-9DFA-9A71F760492D}"/>
                </a:ext>
              </a:extLst>
            </p:cNvPr>
            <p:cNvSpPr/>
            <p:nvPr/>
          </p:nvSpPr>
          <p:spPr>
            <a:xfrm>
              <a:off x="2626371" y="3372202"/>
              <a:ext cx="70810" cy="70810"/>
            </a:xfrm>
            <a:custGeom>
              <a:avLst/>
              <a:gdLst>
                <a:gd name="connsiteX0" fmla="*/ 39864 w 70809"/>
                <a:gd name="connsiteY0" fmla="*/ 63940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4026" y="63940"/>
                    <a:pt x="63940" y="52610"/>
                    <a:pt x="63940" y="39864"/>
                  </a:cubicBezTo>
                  <a:cubicBezTo>
                    <a:pt x="63940" y="25703"/>
                    <a:pt x="52610" y="15789"/>
                    <a:pt x="39864" y="15789"/>
                  </a:cubicBezTo>
                  <a:cubicBezTo>
                    <a:pt x="25702" y="15789"/>
                    <a:pt x="15789" y="27119"/>
                    <a:pt x="15789" y="39864"/>
                  </a:cubicBezTo>
                  <a:cubicBezTo>
                    <a:pt x="15789" y="52610"/>
                    <a:pt x="27119"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6" name="Freeform: Shape 2725">
              <a:extLst>
                <a:ext uri="{FF2B5EF4-FFF2-40B4-BE49-F238E27FC236}">
                  <a16:creationId xmlns:a16="http://schemas.microsoft.com/office/drawing/2014/main" id="{C28EA8E7-3409-4343-9CA7-DB99712D476A}"/>
                </a:ext>
              </a:extLst>
            </p:cNvPr>
            <p:cNvSpPr/>
            <p:nvPr/>
          </p:nvSpPr>
          <p:spPr>
            <a:xfrm>
              <a:off x="2760066" y="2503641"/>
              <a:ext cx="107387" cy="107387"/>
            </a:xfrm>
            <a:custGeom>
              <a:avLst/>
              <a:gdLst>
                <a:gd name="connsiteX0" fmla="*/ 44220 w 84971"/>
                <a:gd name="connsiteY0" fmla="*/ 72437 h 84971"/>
                <a:gd name="connsiteX1" fmla="*/ 72544 w 84971"/>
                <a:gd name="connsiteY1" fmla="*/ 44113 h 84971"/>
                <a:gd name="connsiteX2" fmla="*/ 44220 w 84971"/>
                <a:gd name="connsiteY2" fmla="*/ 15789 h 84971"/>
                <a:gd name="connsiteX3" fmla="*/ 15896 w 84971"/>
                <a:gd name="connsiteY3" fmla="*/ 44113 h 84971"/>
                <a:gd name="connsiteX4" fmla="*/ 44220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220" y="72437"/>
                  </a:moveTo>
                  <a:cubicBezTo>
                    <a:pt x="59798" y="72437"/>
                    <a:pt x="72544" y="59691"/>
                    <a:pt x="72544" y="44113"/>
                  </a:cubicBezTo>
                  <a:cubicBezTo>
                    <a:pt x="72544" y="28535"/>
                    <a:pt x="59798" y="15789"/>
                    <a:pt x="44220" y="15789"/>
                  </a:cubicBezTo>
                  <a:cubicBezTo>
                    <a:pt x="28642" y="15789"/>
                    <a:pt x="15896" y="28535"/>
                    <a:pt x="15896" y="44113"/>
                  </a:cubicBezTo>
                  <a:cubicBezTo>
                    <a:pt x="14480" y="59691"/>
                    <a:pt x="27226" y="72437"/>
                    <a:pt x="44220"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7" name="Freeform: Shape 2726">
              <a:extLst>
                <a:ext uri="{FF2B5EF4-FFF2-40B4-BE49-F238E27FC236}">
                  <a16:creationId xmlns:a16="http://schemas.microsoft.com/office/drawing/2014/main" id="{48C99ABA-7334-4016-9C30-4E4ED4AF4057}"/>
                </a:ext>
              </a:extLst>
            </p:cNvPr>
            <p:cNvSpPr/>
            <p:nvPr/>
          </p:nvSpPr>
          <p:spPr>
            <a:xfrm>
              <a:off x="2149560" y="2597823"/>
              <a:ext cx="84971" cy="84971"/>
            </a:xfrm>
            <a:custGeom>
              <a:avLst/>
              <a:gdLst>
                <a:gd name="connsiteX0" fmla="*/ 44220 w 84971"/>
                <a:gd name="connsiteY0" fmla="*/ 72437 h 84971"/>
                <a:gd name="connsiteX1" fmla="*/ 72544 w 84971"/>
                <a:gd name="connsiteY1" fmla="*/ 44113 h 84971"/>
                <a:gd name="connsiteX2" fmla="*/ 44220 w 84971"/>
                <a:gd name="connsiteY2" fmla="*/ 15789 h 84971"/>
                <a:gd name="connsiteX3" fmla="*/ 15896 w 84971"/>
                <a:gd name="connsiteY3" fmla="*/ 44113 h 84971"/>
                <a:gd name="connsiteX4" fmla="*/ 44220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220" y="72437"/>
                  </a:moveTo>
                  <a:cubicBezTo>
                    <a:pt x="59798" y="72437"/>
                    <a:pt x="72544" y="59691"/>
                    <a:pt x="72544" y="44113"/>
                  </a:cubicBezTo>
                  <a:cubicBezTo>
                    <a:pt x="72544" y="28535"/>
                    <a:pt x="59798" y="15789"/>
                    <a:pt x="44220" y="15789"/>
                  </a:cubicBezTo>
                  <a:cubicBezTo>
                    <a:pt x="28642" y="15789"/>
                    <a:pt x="15896" y="28535"/>
                    <a:pt x="15896" y="44113"/>
                  </a:cubicBezTo>
                  <a:cubicBezTo>
                    <a:pt x="14480" y="59691"/>
                    <a:pt x="27226" y="72437"/>
                    <a:pt x="44220"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8" name="Freeform: Shape 2727">
              <a:extLst>
                <a:ext uri="{FF2B5EF4-FFF2-40B4-BE49-F238E27FC236}">
                  <a16:creationId xmlns:a16="http://schemas.microsoft.com/office/drawing/2014/main" id="{2F36CC56-C971-4D0B-8370-E2BC479A5371}"/>
                </a:ext>
              </a:extLst>
            </p:cNvPr>
            <p:cNvSpPr/>
            <p:nvPr/>
          </p:nvSpPr>
          <p:spPr>
            <a:xfrm>
              <a:off x="2215492" y="1568044"/>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7205" y="71020"/>
                    <a:pt x="32783"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9" name="Freeform: Shape 2728">
              <a:extLst>
                <a:ext uri="{FF2B5EF4-FFF2-40B4-BE49-F238E27FC236}">
                  <a16:creationId xmlns:a16="http://schemas.microsoft.com/office/drawing/2014/main" id="{BA84EBF4-502C-43D1-AE61-3C4DB65DAE95}"/>
                </a:ext>
              </a:extLst>
            </p:cNvPr>
            <p:cNvSpPr/>
            <p:nvPr/>
          </p:nvSpPr>
          <p:spPr>
            <a:xfrm>
              <a:off x="1047787" y="1504504"/>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5789" y="71020"/>
                    <a:pt x="31367"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grpSp>
      <p:sp>
        <p:nvSpPr>
          <p:cNvPr id="2" name="Rectangle 1">
            <a:extLst>
              <a:ext uri="{FF2B5EF4-FFF2-40B4-BE49-F238E27FC236}">
                <a16:creationId xmlns:a16="http://schemas.microsoft.com/office/drawing/2014/main" id="{58716C42-42D8-44C0-964F-71B07ED42E21}"/>
              </a:ext>
            </a:extLst>
          </p:cNvPr>
          <p:cNvSpPr/>
          <p:nvPr/>
        </p:nvSpPr>
        <p:spPr bwMode="auto">
          <a:xfrm>
            <a:off x="882" y="-1"/>
            <a:ext cx="12434711" cy="6994525"/>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1227" name="文本框 4">
            <a:extLst>
              <a:ext uri="{FF2B5EF4-FFF2-40B4-BE49-F238E27FC236}">
                <a16:creationId xmlns:a16="http://schemas.microsoft.com/office/drawing/2014/main" id="{57F77F45-0324-4169-A0A8-BB5E462A8D45}"/>
              </a:ext>
            </a:extLst>
          </p:cNvPr>
          <p:cNvSpPr txBox="1"/>
          <p:nvPr/>
        </p:nvSpPr>
        <p:spPr>
          <a:xfrm>
            <a:off x="409070" y="223599"/>
            <a:ext cx="6722157" cy="886842"/>
          </a:xfrm>
          <a:prstGeom prst="rect">
            <a:avLst/>
          </a:prstGeom>
          <a:ln w="12700">
            <a:miter lim="400000"/>
          </a:ln>
          <a:extLst>
            <a:ext uri="{C572A759-6A51-4108-AA02-DFA0A04FC94B}">
              <ma14:wrappingTextBoxFlag xmlns:ma14="http://schemas.microsoft.com/office/mac/drawingml/2011/main" xmlns="" val="1"/>
            </a:ext>
          </a:extLst>
        </p:spPr>
        <p:txBody>
          <a:bodyPr wrap="none" lIns="19429" tIns="19429" rIns="19429" bIns="19429" anchor="ctr">
            <a:spAutoFit/>
          </a:bodyPr>
          <a:lstStyle>
            <a:lvl1pPr defTabSz="587023">
              <a:defRPr sz="3600" b="0">
                <a:solidFill>
                  <a:srgbClr val="FFFFFF"/>
                </a:solidFill>
                <a:latin typeface="Helvetica Light"/>
                <a:ea typeface="Helvetica Light"/>
                <a:cs typeface="Helvetica Light"/>
                <a:sym typeface="Helvetica Light"/>
              </a:defRPr>
            </a:lvl1pPr>
          </a:lstStyle>
          <a:p>
            <a:pPr defTabSz="598705">
              <a:defRPr/>
            </a:pPr>
            <a:r>
              <a:rPr lang="zh-CN" altLang="en-US" sz="3060" dirty="0">
                <a:solidFill>
                  <a:srgbClr val="505050"/>
                </a:solidFill>
                <a:latin typeface="Microsoft YaHei" charset="-122"/>
                <a:ea typeface="Microsoft YaHei" charset="-122"/>
                <a:cs typeface="Microsoft YaHei" charset="-122"/>
              </a:rPr>
              <a:t>案例：纺织</a:t>
            </a:r>
            <a:r>
              <a:rPr sz="3060" dirty="0" err="1">
                <a:solidFill>
                  <a:srgbClr val="505050"/>
                </a:solidFill>
                <a:latin typeface="Microsoft YaHei" charset="-122"/>
                <a:ea typeface="Microsoft YaHei" charset="-122"/>
                <a:cs typeface="Microsoft YaHei" charset="-122"/>
              </a:rPr>
              <a:t>布料</a:t>
            </a:r>
            <a:r>
              <a:rPr sz="3060" dirty="0" err="1">
                <a:solidFill>
                  <a:srgbClr val="505050"/>
                </a:solidFill>
                <a:latin typeface="Segoe UI" panose="020B0502040204020203" pitchFamily="34" charset="0"/>
                <a:ea typeface="Microsoft YaHei" charset="-122"/>
                <a:cs typeface="Segoe UI" panose="020B0502040204020203" pitchFamily="34" charset="0"/>
              </a:rPr>
              <a:t>Quality</a:t>
            </a:r>
            <a:r>
              <a:rPr sz="3060" dirty="0">
                <a:solidFill>
                  <a:srgbClr val="505050"/>
                </a:solidFill>
                <a:latin typeface="Segoe UI" panose="020B0502040204020203" pitchFamily="34" charset="0"/>
                <a:ea typeface="Microsoft YaHei" charset="-122"/>
                <a:cs typeface="Segoe UI" panose="020B0502040204020203" pitchFamily="34" charset="0"/>
              </a:rPr>
              <a:t> Assurance + AI</a:t>
            </a:r>
            <a:endParaRPr lang="en-US" sz="3060" dirty="0">
              <a:solidFill>
                <a:srgbClr val="505050"/>
              </a:solidFill>
              <a:latin typeface="Segoe UI" panose="020B0502040204020203" pitchFamily="34" charset="0"/>
              <a:ea typeface="Microsoft YaHei" charset="-122"/>
              <a:cs typeface="Segoe UI" panose="020B0502040204020203" pitchFamily="34" charset="0"/>
            </a:endParaRPr>
          </a:p>
          <a:p>
            <a:pPr defTabSz="598705">
              <a:defRPr/>
            </a:pPr>
            <a:r>
              <a:rPr lang="en-US" altLang="zh-CN" sz="2448" dirty="0">
                <a:solidFill>
                  <a:srgbClr val="505050"/>
                </a:solidFill>
                <a:latin typeface="Segoe UI Light"/>
                <a:ea typeface="Microsoft YaHei Light" charset="-122"/>
                <a:cs typeface="Microsoft YaHei Light" charset="-122"/>
              </a:rPr>
              <a:t>Case</a:t>
            </a:r>
            <a:r>
              <a:rPr lang="zh-CN" altLang="en-US" sz="2448" dirty="0">
                <a:solidFill>
                  <a:srgbClr val="505050"/>
                </a:solidFill>
                <a:latin typeface="Segoe UI Light"/>
                <a:ea typeface="Microsoft YaHei Light" charset="-122"/>
                <a:cs typeface="Microsoft YaHei Light" charset="-122"/>
              </a:rPr>
              <a:t>：</a:t>
            </a:r>
            <a:r>
              <a:rPr lang="en-US" altLang="zh-CN" sz="2448" dirty="0">
                <a:solidFill>
                  <a:srgbClr val="505050"/>
                </a:solidFill>
                <a:latin typeface="Segoe UI Light"/>
                <a:ea typeface="Microsoft YaHei Light" charset="-122"/>
                <a:cs typeface="Microsoft YaHei Light" charset="-122"/>
              </a:rPr>
              <a:t> Textile Quality Assurance + AI</a:t>
            </a:r>
          </a:p>
        </p:txBody>
      </p:sp>
      <p:sp>
        <p:nvSpPr>
          <p:cNvPr id="1228" name="文本框 1227">
            <a:extLst>
              <a:ext uri="{FF2B5EF4-FFF2-40B4-BE49-F238E27FC236}">
                <a16:creationId xmlns:a16="http://schemas.microsoft.com/office/drawing/2014/main" id="{7163FAC7-6F3F-4834-BB13-3156BB4921E4}"/>
              </a:ext>
            </a:extLst>
          </p:cNvPr>
          <p:cNvSpPr txBox="1"/>
          <p:nvPr/>
        </p:nvSpPr>
        <p:spPr>
          <a:xfrm>
            <a:off x="248584" y="1354834"/>
            <a:ext cx="8900416" cy="927259"/>
          </a:xfrm>
          <a:prstGeom prst="rect">
            <a:avLst/>
          </a:prstGeom>
          <a:noFill/>
        </p:spPr>
        <p:txBody>
          <a:bodyPr wrap="square" lIns="186521" tIns="149217" rIns="186521" bIns="149217" rtlCol="0">
            <a:spAutoFit/>
          </a:bodyPr>
          <a:lstStyle/>
          <a:p>
            <a:pPr defTabSz="932597">
              <a:lnSpc>
                <a:spcPct val="90000"/>
              </a:lnSpc>
              <a:spcAft>
                <a:spcPts val="612"/>
              </a:spcAft>
              <a:defRPr/>
            </a:pPr>
            <a:r>
              <a:rPr lang="zh-CN" altLang="en-US" sz="2040" dirty="0">
                <a:solidFill>
                  <a:srgbClr val="505050"/>
                </a:solidFill>
                <a:latin typeface="Microsoft YaHei" charset="-122"/>
                <a:ea typeface="Microsoft YaHei" charset="-122"/>
                <a:cs typeface="Microsoft YaHei" charset="-122"/>
              </a:rPr>
              <a:t>纺织加工行业最后一块极耗人工的环节：质量检测</a:t>
            </a:r>
            <a:endParaRPr lang="en-US" altLang="zh-CN" sz="2040" dirty="0">
              <a:solidFill>
                <a:srgbClr val="505050"/>
              </a:solidFill>
              <a:latin typeface="Microsoft YaHei" charset="-122"/>
              <a:ea typeface="Microsoft YaHei" charset="-122"/>
              <a:cs typeface="Microsoft YaHei" charset="-122"/>
            </a:endParaRPr>
          </a:p>
          <a:p>
            <a:pPr defTabSz="932597">
              <a:lnSpc>
                <a:spcPct val="90000"/>
              </a:lnSpc>
              <a:spcAft>
                <a:spcPts val="612"/>
              </a:spcAft>
              <a:defRPr/>
            </a:pPr>
            <a:r>
              <a:rPr lang="en-US" altLang="zh-CN" sz="1836" dirty="0">
                <a:solidFill>
                  <a:srgbClr val="505050"/>
                </a:solidFill>
                <a:latin typeface="Segoe UI Light"/>
                <a:cs typeface="Microsoft YaHei Light" charset="-122"/>
              </a:rPr>
              <a:t>The last but extremely laborious workload in textile industry: Quality Controlling</a:t>
            </a:r>
            <a:endParaRPr lang="zh-CN" altLang="zh-CN" sz="1836" dirty="0">
              <a:solidFill>
                <a:srgbClr val="505050"/>
              </a:solidFill>
              <a:latin typeface="Segoe UI Light"/>
              <a:cs typeface="Microsoft YaHei Light" charset="-122"/>
            </a:endParaRPr>
          </a:p>
        </p:txBody>
      </p:sp>
      <p:sp>
        <p:nvSpPr>
          <p:cNvPr id="1232" name="色差匹配">
            <a:extLst>
              <a:ext uri="{FF2B5EF4-FFF2-40B4-BE49-F238E27FC236}">
                <a16:creationId xmlns:a16="http://schemas.microsoft.com/office/drawing/2014/main" id="{663C0E31-DBF8-4022-872F-914A8F9B01D4}"/>
              </a:ext>
            </a:extLst>
          </p:cNvPr>
          <p:cNvSpPr txBox="1"/>
          <p:nvPr/>
        </p:nvSpPr>
        <p:spPr>
          <a:xfrm>
            <a:off x="4898824" y="4624219"/>
            <a:ext cx="2151614" cy="580003"/>
          </a:xfrm>
          <a:prstGeom prst="rect">
            <a:avLst/>
          </a:prstGeom>
          <a:ln w="12700">
            <a:miter lim="400000"/>
          </a:ln>
          <a:extLst>
            <a:ext uri="{C572A759-6A51-4108-AA02-DFA0A04FC94B}">
              <ma14:wrappingTextBoxFlag xmlns:ma14="http://schemas.microsoft.com/office/mac/drawingml/2011/main" xmlns="" val="1"/>
            </a:ext>
          </a:extLst>
        </p:spPr>
        <p:txBody>
          <a:bodyPr wrap="none" lIns="36430" tIns="36430" rIns="36430" bIns="36430" anchor="ctr">
            <a:spAutoFit/>
          </a:bodyPr>
          <a:lstStyle>
            <a:lvl1pPr>
              <a:defRPr>
                <a:solidFill>
                  <a:srgbClr val="FFFFFF"/>
                </a:solidFill>
              </a:defRPr>
            </a:lvl1pPr>
          </a:lstStyle>
          <a:p>
            <a:pPr algn="ctr" defTabSz="932597">
              <a:spcAft>
                <a:spcPts val="204"/>
              </a:spcAft>
              <a:defRPr/>
            </a:pPr>
            <a:r>
              <a:rPr sz="1836" dirty="0" err="1">
                <a:solidFill>
                  <a:srgbClr val="505050"/>
                </a:solidFill>
                <a:latin typeface="Microsoft YaHei" charset="-122"/>
                <a:ea typeface="Microsoft YaHei" charset="-122"/>
                <a:cs typeface="Microsoft YaHei" charset="-122"/>
              </a:rPr>
              <a:t>色差匹配</a:t>
            </a:r>
            <a:r>
              <a:rPr lang="en-US" altLang="zh-CN" sz="1836" dirty="0">
                <a:solidFill>
                  <a:srgbClr val="505050"/>
                </a:solidFill>
                <a:latin typeface="Microsoft YaHei" charset="-122"/>
                <a:ea typeface="Microsoft YaHei" charset="-122"/>
                <a:cs typeface="Microsoft YaHei" charset="-122"/>
              </a:rPr>
              <a:t>/</a:t>
            </a:r>
            <a:r>
              <a:rPr lang="zh-CN" altLang="en-US" sz="1836" dirty="0">
                <a:solidFill>
                  <a:srgbClr val="505050"/>
                </a:solidFill>
                <a:latin typeface="Microsoft YaHei" charset="-122"/>
                <a:ea typeface="Microsoft YaHei" charset="-122"/>
                <a:cs typeface="Microsoft YaHei" charset="-122"/>
              </a:rPr>
              <a:t>缺经少纬</a:t>
            </a:r>
            <a:endParaRPr lang="en-US" sz="1836" dirty="0">
              <a:solidFill>
                <a:srgbClr val="505050"/>
              </a:solidFill>
              <a:latin typeface="Microsoft YaHei" charset="-122"/>
              <a:ea typeface="Microsoft YaHei" charset="-122"/>
              <a:cs typeface="Microsoft YaHei" charset="-122"/>
            </a:endParaRPr>
          </a:p>
          <a:p>
            <a:pPr algn="ctr" defTabSz="932597">
              <a:defRPr/>
            </a:pPr>
            <a:r>
              <a:rPr lang="en-US" altLang="zh-CN" sz="1224" dirty="0">
                <a:solidFill>
                  <a:srgbClr val="505050"/>
                </a:solidFill>
                <a:latin typeface="Segoe UI Light"/>
                <a:cs typeface="Microsoft YaHei Light" charset="-122"/>
              </a:rPr>
              <a:t>Chromatic aberration matching</a:t>
            </a:r>
          </a:p>
        </p:txBody>
      </p:sp>
      <p:sp>
        <p:nvSpPr>
          <p:cNvPr id="1235" name="瑕疵检测">
            <a:extLst>
              <a:ext uri="{FF2B5EF4-FFF2-40B4-BE49-F238E27FC236}">
                <a16:creationId xmlns:a16="http://schemas.microsoft.com/office/drawing/2014/main" id="{604912D6-7466-4A48-A028-60897E2ADD1C}"/>
              </a:ext>
            </a:extLst>
          </p:cNvPr>
          <p:cNvSpPr txBox="1"/>
          <p:nvPr/>
        </p:nvSpPr>
        <p:spPr>
          <a:xfrm>
            <a:off x="9735391" y="4624219"/>
            <a:ext cx="1170600" cy="580003"/>
          </a:xfrm>
          <a:prstGeom prst="rect">
            <a:avLst/>
          </a:prstGeom>
          <a:ln w="12700">
            <a:miter lim="400000"/>
          </a:ln>
          <a:extLst>
            <a:ext uri="{C572A759-6A51-4108-AA02-DFA0A04FC94B}">
              <ma14:wrappingTextBoxFlag xmlns:ma14="http://schemas.microsoft.com/office/mac/drawingml/2011/main" xmlns="" val="1"/>
            </a:ext>
          </a:extLst>
        </p:spPr>
        <p:txBody>
          <a:bodyPr wrap="none" lIns="36430" tIns="36430" rIns="36430" bIns="36430" anchor="ctr">
            <a:spAutoFit/>
          </a:bodyPr>
          <a:lstStyle>
            <a:lvl1pPr>
              <a:defRPr>
                <a:solidFill>
                  <a:srgbClr val="FFFFFF"/>
                </a:solidFill>
              </a:defRPr>
            </a:lvl1pPr>
          </a:lstStyle>
          <a:p>
            <a:pPr algn="ctr" defTabSz="932597">
              <a:spcAft>
                <a:spcPts val="204"/>
              </a:spcAft>
              <a:defRPr/>
            </a:pPr>
            <a:r>
              <a:rPr sz="1836" dirty="0">
                <a:solidFill>
                  <a:srgbClr val="505050"/>
                </a:solidFill>
                <a:latin typeface="Microsoft YaHei" charset="-122"/>
                <a:ea typeface="Microsoft YaHei" charset="-122"/>
                <a:cs typeface="Microsoft YaHei" charset="-122"/>
              </a:rPr>
              <a:t>瑕疵检测</a:t>
            </a:r>
            <a:endParaRPr lang="en-US" sz="1836" dirty="0">
              <a:solidFill>
                <a:srgbClr val="505050"/>
              </a:solidFill>
              <a:latin typeface="Microsoft YaHei" charset="-122"/>
              <a:ea typeface="Microsoft YaHei" charset="-122"/>
              <a:cs typeface="Microsoft YaHei" charset="-122"/>
            </a:endParaRPr>
          </a:p>
          <a:p>
            <a:pPr algn="ctr" defTabSz="932597">
              <a:defRPr/>
            </a:pPr>
            <a:r>
              <a:rPr lang="en-US" altLang="zh-CN" sz="1224" dirty="0">
                <a:solidFill>
                  <a:srgbClr val="505050"/>
                </a:solidFill>
                <a:latin typeface="Segoe UI Light"/>
                <a:ea typeface="Microsoft YaHei Light" charset="-122"/>
                <a:cs typeface="Microsoft YaHei Light" charset="-122"/>
              </a:rPr>
              <a:t>Defect detection</a:t>
            </a:r>
          </a:p>
        </p:txBody>
      </p:sp>
      <p:sp>
        <p:nvSpPr>
          <p:cNvPr id="1236" name="文本框 3">
            <a:extLst>
              <a:ext uri="{FF2B5EF4-FFF2-40B4-BE49-F238E27FC236}">
                <a16:creationId xmlns:a16="http://schemas.microsoft.com/office/drawing/2014/main" id="{4E4F0A5D-4BE7-4F5C-80F7-82E0FA36CA6C}"/>
              </a:ext>
            </a:extLst>
          </p:cNvPr>
          <p:cNvSpPr txBox="1"/>
          <p:nvPr/>
        </p:nvSpPr>
        <p:spPr>
          <a:xfrm>
            <a:off x="1304480" y="5702999"/>
            <a:ext cx="10385031" cy="923989"/>
          </a:xfrm>
          <a:prstGeom prst="rect">
            <a:avLst/>
          </a:prstGeom>
          <a:ln w="12700">
            <a:miter lim="400000"/>
          </a:ln>
          <a:extLst>
            <a:ext uri="{C572A759-6A51-4108-AA02-DFA0A04FC94B}">
              <ma14:wrappingTextBoxFlag xmlns:ma14="http://schemas.microsoft.com/office/mac/drawingml/2011/main" xmlns="" val="1"/>
            </a:ext>
          </a:extLst>
        </p:spPr>
        <p:txBody>
          <a:bodyPr wrap="square" lIns="19429" tIns="19429" rIns="19429" bIns="19429" anchor="ctr">
            <a:spAutoFit/>
          </a:bodyPr>
          <a:lstStyle>
            <a:lvl1pPr algn="l" defTabSz="457200">
              <a:defRPr b="0">
                <a:solidFill>
                  <a:srgbClr val="FFFFFF"/>
                </a:solidFill>
                <a:uFill>
                  <a:solidFill>
                    <a:srgbClr val="000000"/>
                  </a:solidFill>
                </a:uFill>
              </a:defRPr>
            </a:lvl1pPr>
          </a:lstStyle>
          <a:p>
            <a:pPr defTabSz="466298">
              <a:spcAft>
                <a:spcPts val="408"/>
              </a:spcAft>
              <a:defRPr/>
            </a:pPr>
            <a:r>
              <a:rPr sz="2448" dirty="0">
                <a:solidFill>
                  <a:srgbClr val="505050"/>
                </a:solidFill>
                <a:latin typeface="Microsoft YaHei" charset="-122"/>
                <a:ea typeface="Microsoft YaHei" charset="-122"/>
                <a:cs typeface="Microsoft YaHei" charset="-122"/>
              </a:rPr>
              <a:t>通过AI学习QA工人的视觉缺陷识别方法，可以高效且稳定的进行质量管控</a:t>
            </a:r>
            <a:r>
              <a:rPr lang="zh-CN" altLang="en-US" sz="2448" dirty="0">
                <a:solidFill>
                  <a:srgbClr val="505050"/>
                </a:solidFill>
                <a:latin typeface="Microsoft YaHei" charset="-122"/>
                <a:ea typeface="Microsoft YaHei" charset="-122"/>
                <a:cs typeface="Microsoft YaHei" charset="-122"/>
              </a:rPr>
              <a:t>。</a:t>
            </a:r>
            <a:endParaRPr lang="en-US" altLang="zh-CN" sz="2448" dirty="0">
              <a:solidFill>
                <a:srgbClr val="505050"/>
              </a:solidFill>
              <a:latin typeface="Microsoft YaHei" charset="-122"/>
              <a:ea typeface="Microsoft YaHei" charset="-122"/>
              <a:cs typeface="Microsoft YaHei" charset="-122"/>
            </a:endParaRPr>
          </a:p>
          <a:p>
            <a:pPr defTabSz="466298">
              <a:defRPr/>
            </a:pPr>
            <a:r>
              <a:rPr lang="en-US" altLang="zh-CN" sz="1428" dirty="0">
                <a:solidFill>
                  <a:srgbClr val="505050"/>
                </a:solidFill>
                <a:latin typeface="Microsoft YaHei Light" charset="-122"/>
                <a:ea typeface="Microsoft YaHei Light" charset="-122"/>
                <a:cs typeface="Microsoft YaHei Light" charset="-122"/>
              </a:rPr>
              <a:t>The visual defect detection method through AI can effectively and steadily carry out quality control to support the QC transformation</a:t>
            </a:r>
          </a:p>
        </p:txBody>
      </p:sp>
      <p:pic>
        <p:nvPicPr>
          <p:cNvPr id="3" name="图片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00482" y="2155546"/>
            <a:ext cx="3183682" cy="3201823"/>
          </a:xfrm>
          <a:prstGeom prst="rect">
            <a:avLst/>
          </a:prstGeom>
        </p:spPr>
      </p:pic>
      <p:pic>
        <p:nvPicPr>
          <p:cNvPr id="9" name="图片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075351" y="2704323"/>
            <a:ext cx="1926801" cy="1916733"/>
          </a:xfrm>
          <a:prstGeom prst="rect">
            <a:avLst/>
          </a:prstGeom>
        </p:spPr>
      </p:pic>
      <p:pic>
        <p:nvPicPr>
          <p:cNvPr id="10" name="图片 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28542" y="2704323"/>
            <a:ext cx="1926801" cy="1916733"/>
          </a:xfrm>
          <a:prstGeom prst="rect">
            <a:avLst/>
          </a:prstGeom>
        </p:spPr>
      </p:pic>
      <p:sp>
        <p:nvSpPr>
          <p:cNvPr id="12" name="圆角矩形 11"/>
          <p:cNvSpPr/>
          <p:nvPr/>
        </p:nvSpPr>
        <p:spPr bwMode="auto">
          <a:xfrm>
            <a:off x="1023162" y="5634478"/>
            <a:ext cx="10769774" cy="1117329"/>
          </a:xfrm>
          <a:prstGeom prst="roundRect">
            <a:avLst/>
          </a:prstGeom>
          <a:noFill/>
          <a:ln w="19050">
            <a:solidFill>
              <a:schemeClr val="tx2">
                <a:lumMod val="60000"/>
                <a:lumOff val="4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zh-CN" alt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3" name="图片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359543" y="2725811"/>
            <a:ext cx="1929353" cy="1919272"/>
          </a:xfrm>
          <a:prstGeom prst="rect">
            <a:avLst/>
          </a:prstGeom>
        </p:spPr>
      </p:pic>
      <p:pic>
        <p:nvPicPr>
          <p:cNvPr id="14" name="图片 1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315517" y="2725812"/>
            <a:ext cx="1929353" cy="1919272"/>
          </a:xfrm>
          <a:prstGeom prst="rect">
            <a:avLst/>
          </a:prstGeom>
        </p:spPr>
      </p:pic>
    </p:spTree>
    <p:extLst>
      <p:ext uri="{BB962C8B-B14F-4D97-AF65-F5344CB8AC3E}">
        <p14:creationId xmlns:p14="http://schemas.microsoft.com/office/powerpoint/2010/main" val="90325654"/>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42" name="Group 941">
            <a:extLst>
              <a:ext uri="{FF2B5EF4-FFF2-40B4-BE49-F238E27FC236}">
                <a16:creationId xmlns:a16="http://schemas.microsoft.com/office/drawing/2014/main" id="{26D18E9D-5A19-4E6E-BFE3-45A93EE6FBE6}"/>
              </a:ext>
            </a:extLst>
          </p:cNvPr>
          <p:cNvGrpSpPr/>
          <p:nvPr/>
        </p:nvGrpSpPr>
        <p:grpSpPr>
          <a:xfrm>
            <a:off x="868202" y="372309"/>
            <a:ext cx="10692981" cy="6275546"/>
            <a:chOff x="839788" y="346075"/>
            <a:chExt cx="10514013" cy="6170513"/>
          </a:xfrm>
        </p:grpSpPr>
        <p:grpSp>
          <p:nvGrpSpPr>
            <p:cNvPr id="943" name="Group 4">
              <a:extLst>
                <a:ext uri="{FF2B5EF4-FFF2-40B4-BE49-F238E27FC236}">
                  <a16:creationId xmlns:a16="http://schemas.microsoft.com/office/drawing/2014/main" id="{C20F7C2C-2576-4EA5-9CDA-785ADD81244C}"/>
                </a:ext>
              </a:extLst>
            </p:cNvPr>
            <p:cNvGrpSpPr>
              <a:grpSpLocks noChangeAspect="1"/>
            </p:cNvGrpSpPr>
            <p:nvPr/>
          </p:nvGrpSpPr>
          <p:grpSpPr bwMode="auto">
            <a:xfrm>
              <a:off x="839788" y="346075"/>
              <a:ext cx="4581525" cy="3454400"/>
              <a:chOff x="529" y="218"/>
              <a:chExt cx="2886" cy="2176"/>
            </a:xfrm>
          </p:grpSpPr>
          <p:sp>
            <p:nvSpPr>
              <p:cNvPr id="957" name="Freeform 5">
                <a:extLst>
                  <a:ext uri="{FF2B5EF4-FFF2-40B4-BE49-F238E27FC236}">
                    <a16:creationId xmlns:a16="http://schemas.microsoft.com/office/drawing/2014/main" id="{8D3CCBE1-63CE-4A7D-A0C9-C7E06F5B084E}"/>
                  </a:ext>
                </a:extLst>
              </p:cNvPr>
              <p:cNvSpPr>
                <a:spLocks/>
              </p:cNvSpPr>
              <p:nvPr/>
            </p:nvSpPr>
            <p:spPr bwMode="auto">
              <a:xfrm>
                <a:off x="529" y="730"/>
                <a:ext cx="1842" cy="1664"/>
              </a:xfrm>
              <a:custGeom>
                <a:avLst/>
                <a:gdLst>
                  <a:gd name="T0" fmla="*/ 108 w 1842"/>
                  <a:gd name="T1" fmla="*/ 0 h 1664"/>
                  <a:gd name="T2" fmla="*/ 86 w 1842"/>
                  <a:gd name="T3" fmla="*/ 115 h 1664"/>
                  <a:gd name="T4" fmla="*/ 434 w 1842"/>
                  <a:gd name="T5" fmla="*/ 361 h 1664"/>
                  <a:gd name="T6" fmla="*/ 830 w 1842"/>
                  <a:gd name="T7" fmla="*/ 127 h 1664"/>
                  <a:gd name="T8" fmla="*/ 1490 w 1842"/>
                  <a:gd name="T9" fmla="*/ 169 h 1664"/>
                  <a:gd name="T10" fmla="*/ 1324 w 1842"/>
                  <a:gd name="T11" fmla="*/ 333 h 1664"/>
                  <a:gd name="T12" fmla="*/ 828 w 1842"/>
                  <a:gd name="T13" fmla="*/ 523 h 1664"/>
                  <a:gd name="T14" fmla="*/ 204 w 1842"/>
                  <a:gd name="T15" fmla="*/ 60 h 1664"/>
                  <a:gd name="T16" fmla="*/ 374 w 1842"/>
                  <a:gd name="T17" fmla="*/ 141 h 1664"/>
                  <a:gd name="T18" fmla="*/ 652 w 1842"/>
                  <a:gd name="T19" fmla="*/ 48 h 1664"/>
                  <a:gd name="T20" fmla="*/ 48 w 1842"/>
                  <a:gd name="T21" fmla="*/ 277 h 1664"/>
                  <a:gd name="T22" fmla="*/ 60 w 1842"/>
                  <a:gd name="T23" fmla="*/ 169 h 1664"/>
                  <a:gd name="T24" fmla="*/ 362 w 1842"/>
                  <a:gd name="T25" fmla="*/ 48 h 1664"/>
                  <a:gd name="T26" fmla="*/ 562 w 1842"/>
                  <a:gd name="T27" fmla="*/ 341 h 1664"/>
                  <a:gd name="T28" fmla="*/ 966 w 1842"/>
                  <a:gd name="T29" fmla="*/ 163 h 1664"/>
                  <a:gd name="T30" fmla="*/ 718 w 1842"/>
                  <a:gd name="T31" fmla="*/ 145 h 1664"/>
                  <a:gd name="T32" fmla="*/ 1238 w 1842"/>
                  <a:gd name="T33" fmla="*/ 719 h 1664"/>
                  <a:gd name="T34" fmla="*/ 854 w 1842"/>
                  <a:gd name="T35" fmla="*/ 699 h 1664"/>
                  <a:gd name="T36" fmla="*/ 1594 w 1842"/>
                  <a:gd name="T37" fmla="*/ 709 h 1664"/>
                  <a:gd name="T38" fmla="*/ 1718 w 1842"/>
                  <a:gd name="T39" fmla="*/ 907 h 1664"/>
                  <a:gd name="T40" fmla="*/ 1510 w 1842"/>
                  <a:gd name="T41" fmla="*/ 907 h 1664"/>
                  <a:gd name="T42" fmla="*/ 1286 w 1842"/>
                  <a:gd name="T43" fmla="*/ 1077 h 1664"/>
                  <a:gd name="T44" fmla="*/ 1610 w 1842"/>
                  <a:gd name="T45" fmla="*/ 997 h 1664"/>
                  <a:gd name="T46" fmla="*/ 1382 w 1842"/>
                  <a:gd name="T47" fmla="*/ 1210 h 1664"/>
                  <a:gd name="T48" fmla="*/ 1192 w 1842"/>
                  <a:gd name="T49" fmla="*/ 949 h 1664"/>
                  <a:gd name="T50" fmla="*/ 1246 w 1842"/>
                  <a:gd name="T51" fmla="*/ 1190 h 1664"/>
                  <a:gd name="T52" fmla="*/ 1152 w 1842"/>
                  <a:gd name="T53" fmla="*/ 1430 h 1664"/>
                  <a:gd name="T54" fmla="*/ 1506 w 1842"/>
                  <a:gd name="T55" fmla="*/ 1590 h 1664"/>
                  <a:gd name="T56" fmla="*/ 1434 w 1842"/>
                  <a:gd name="T57" fmla="*/ 1614 h 1664"/>
                  <a:gd name="T58" fmla="*/ 1396 w 1842"/>
                  <a:gd name="T59" fmla="*/ 1626 h 1664"/>
                  <a:gd name="T60" fmla="*/ 1312 w 1842"/>
                  <a:gd name="T61" fmla="*/ 1552 h 1664"/>
                  <a:gd name="T62" fmla="*/ 1166 w 1842"/>
                  <a:gd name="T63" fmla="*/ 1272 h 1664"/>
                  <a:gd name="T64" fmla="*/ 900 w 1842"/>
                  <a:gd name="T65" fmla="*/ 1137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42" h="1664">
                    <a:moveTo>
                      <a:pt x="0" y="30"/>
                    </a:moveTo>
                    <a:lnTo>
                      <a:pt x="108" y="0"/>
                    </a:lnTo>
                    <a:lnTo>
                      <a:pt x="54" y="121"/>
                    </a:lnTo>
                    <a:lnTo>
                      <a:pt x="86" y="115"/>
                    </a:lnTo>
                    <a:lnTo>
                      <a:pt x="270" y="16"/>
                    </a:lnTo>
                    <a:lnTo>
                      <a:pt x="434" y="361"/>
                    </a:lnTo>
                    <a:lnTo>
                      <a:pt x="490" y="88"/>
                    </a:lnTo>
                    <a:lnTo>
                      <a:pt x="830" y="127"/>
                    </a:lnTo>
                    <a:lnTo>
                      <a:pt x="976" y="175"/>
                    </a:lnTo>
                    <a:lnTo>
                      <a:pt x="1490" y="169"/>
                    </a:lnTo>
                    <a:lnTo>
                      <a:pt x="1410" y="205"/>
                    </a:lnTo>
                    <a:lnTo>
                      <a:pt x="1324" y="333"/>
                    </a:lnTo>
                    <a:lnTo>
                      <a:pt x="1222" y="261"/>
                    </a:lnTo>
                    <a:lnTo>
                      <a:pt x="828" y="523"/>
                    </a:lnTo>
                    <a:lnTo>
                      <a:pt x="766" y="287"/>
                    </a:lnTo>
                    <a:lnTo>
                      <a:pt x="204" y="60"/>
                    </a:lnTo>
                    <a:lnTo>
                      <a:pt x="126" y="407"/>
                    </a:lnTo>
                    <a:lnTo>
                      <a:pt x="374" y="141"/>
                    </a:lnTo>
                    <a:lnTo>
                      <a:pt x="498" y="100"/>
                    </a:lnTo>
                    <a:lnTo>
                      <a:pt x="652" y="48"/>
                    </a:lnTo>
                    <a:lnTo>
                      <a:pt x="532" y="183"/>
                    </a:lnTo>
                    <a:lnTo>
                      <a:pt x="48" y="277"/>
                    </a:lnTo>
                    <a:lnTo>
                      <a:pt x="366" y="327"/>
                    </a:lnTo>
                    <a:lnTo>
                      <a:pt x="60" y="169"/>
                    </a:lnTo>
                    <a:lnTo>
                      <a:pt x="166" y="241"/>
                    </a:lnTo>
                    <a:lnTo>
                      <a:pt x="362" y="48"/>
                    </a:lnTo>
                    <a:lnTo>
                      <a:pt x="60" y="129"/>
                    </a:lnTo>
                    <a:lnTo>
                      <a:pt x="562" y="341"/>
                    </a:lnTo>
                    <a:lnTo>
                      <a:pt x="886" y="295"/>
                    </a:lnTo>
                    <a:lnTo>
                      <a:pt x="966" y="163"/>
                    </a:lnTo>
                    <a:lnTo>
                      <a:pt x="832" y="70"/>
                    </a:lnTo>
                    <a:lnTo>
                      <a:pt x="718" y="145"/>
                    </a:lnTo>
                    <a:lnTo>
                      <a:pt x="806" y="531"/>
                    </a:lnTo>
                    <a:lnTo>
                      <a:pt x="1238" y="719"/>
                    </a:lnTo>
                    <a:lnTo>
                      <a:pt x="782" y="815"/>
                    </a:lnTo>
                    <a:lnTo>
                      <a:pt x="854" y="699"/>
                    </a:lnTo>
                    <a:lnTo>
                      <a:pt x="1472" y="531"/>
                    </a:lnTo>
                    <a:lnTo>
                      <a:pt x="1594" y="709"/>
                    </a:lnTo>
                    <a:lnTo>
                      <a:pt x="1842" y="815"/>
                    </a:lnTo>
                    <a:lnTo>
                      <a:pt x="1718" y="907"/>
                    </a:lnTo>
                    <a:lnTo>
                      <a:pt x="1622" y="963"/>
                    </a:lnTo>
                    <a:lnTo>
                      <a:pt x="1510" y="907"/>
                    </a:lnTo>
                    <a:lnTo>
                      <a:pt x="1510" y="855"/>
                    </a:lnTo>
                    <a:lnTo>
                      <a:pt x="1286" y="1077"/>
                    </a:lnTo>
                    <a:lnTo>
                      <a:pt x="1518" y="965"/>
                    </a:lnTo>
                    <a:lnTo>
                      <a:pt x="1610" y="997"/>
                    </a:lnTo>
                    <a:lnTo>
                      <a:pt x="1506" y="1210"/>
                    </a:lnTo>
                    <a:lnTo>
                      <a:pt x="1382" y="1210"/>
                    </a:lnTo>
                    <a:lnTo>
                      <a:pt x="1272" y="1182"/>
                    </a:lnTo>
                    <a:lnTo>
                      <a:pt x="1192" y="949"/>
                    </a:lnTo>
                    <a:lnTo>
                      <a:pt x="886" y="1147"/>
                    </a:lnTo>
                    <a:lnTo>
                      <a:pt x="1246" y="1190"/>
                    </a:lnTo>
                    <a:lnTo>
                      <a:pt x="1066" y="1318"/>
                    </a:lnTo>
                    <a:lnTo>
                      <a:pt x="1152" y="1430"/>
                    </a:lnTo>
                    <a:lnTo>
                      <a:pt x="1426" y="1626"/>
                    </a:lnTo>
                    <a:lnTo>
                      <a:pt x="1506" y="1590"/>
                    </a:lnTo>
                    <a:lnTo>
                      <a:pt x="1494" y="1664"/>
                    </a:lnTo>
                    <a:lnTo>
                      <a:pt x="1434" y="1614"/>
                    </a:lnTo>
                    <a:lnTo>
                      <a:pt x="1242" y="1454"/>
                    </a:lnTo>
                    <a:lnTo>
                      <a:pt x="1396" y="1626"/>
                    </a:lnTo>
                    <a:lnTo>
                      <a:pt x="1430" y="1422"/>
                    </a:lnTo>
                    <a:lnTo>
                      <a:pt x="1312" y="1552"/>
                    </a:lnTo>
                    <a:lnTo>
                      <a:pt x="1184" y="1524"/>
                    </a:lnTo>
                    <a:lnTo>
                      <a:pt x="1166" y="1272"/>
                    </a:lnTo>
                    <a:lnTo>
                      <a:pt x="876" y="991"/>
                    </a:lnTo>
                    <a:lnTo>
                      <a:pt x="900" y="1137"/>
                    </a:lnTo>
                    <a:lnTo>
                      <a:pt x="964" y="1330"/>
                    </a:lnTo>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58" name="Freeform 6">
                <a:extLst>
                  <a:ext uri="{FF2B5EF4-FFF2-40B4-BE49-F238E27FC236}">
                    <a16:creationId xmlns:a16="http://schemas.microsoft.com/office/drawing/2014/main" id="{5E65B01A-C42D-40B3-BE2E-33232DB59C8C}"/>
                  </a:ext>
                </a:extLst>
              </p:cNvPr>
              <p:cNvSpPr>
                <a:spLocks/>
              </p:cNvSpPr>
              <p:nvPr/>
            </p:nvSpPr>
            <p:spPr bwMode="auto">
              <a:xfrm>
                <a:off x="2115" y="218"/>
                <a:ext cx="1256" cy="855"/>
              </a:xfrm>
              <a:custGeom>
                <a:avLst/>
                <a:gdLst>
                  <a:gd name="T0" fmla="*/ 1256 w 1256"/>
                  <a:gd name="T1" fmla="*/ 745 h 855"/>
                  <a:gd name="T2" fmla="*/ 1116 w 1256"/>
                  <a:gd name="T3" fmla="*/ 745 h 855"/>
                  <a:gd name="T4" fmla="*/ 702 w 1256"/>
                  <a:gd name="T5" fmla="*/ 855 h 855"/>
                  <a:gd name="T6" fmla="*/ 540 w 1256"/>
                  <a:gd name="T7" fmla="*/ 727 h 855"/>
                  <a:gd name="T8" fmla="*/ 856 w 1256"/>
                  <a:gd name="T9" fmla="*/ 671 h 855"/>
                  <a:gd name="T10" fmla="*/ 724 w 1256"/>
                  <a:gd name="T11" fmla="*/ 763 h 855"/>
                  <a:gd name="T12" fmla="*/ 908 w 1256"/>
                  <a:gd name="T13" fmla="*/ 362 h 855"/>
                  <a:gd name="T14" fmla="*/ 938 w 1256"/>
                  <a:gd name="T15" fmla="*/ 522 h 855"/>
                  <a:gd name="T16" fmla="*/ 670 w 1256"/>
                  <a:gd name="T17" fmla="*/ 536 h 855"/>
                  <a:gd name="T18" fmla="*/ 562 w 1256"/>
                  <a:gd name="T19" fmla="*/ 362 h 855"/>
                  <a:gd name="T20" fmla="*/ 588 w 1256"/>
                  <a:gd name="T21" fmla="*/ 132 h 855"/>
                  <a:gd name="T22" fmla="*/ 630 w 1256"/>
                  <a:gd name="T23" fmla="*/ 260 h 855"/>
                  <a:gd name="T24" fmla="*/ 704 w 1256"/>
                  <a:gd name="T25" fmla="*/ 182 h 855"/>
                  <a:gd name="T26" fmla="*/ 762 w 1256"/>
                  <a:gd name="T27" fmla="*/ 338 h 855"/>
                  <a:gd name="T28" fmla="*/ 540 w 1256"/>
                  <a:gd name="T29" fmla="*/ 362 h 855"/>
                  <a:gd name="T30" fmla="*/ 424 w 1256"/>
                  <a:gd name="T31" fmla="*/ 212 h 855"/>
                  <a:gd name="T32" fmla="*/ 396 w 1256"/>
                  <a:gd name="T33" fmla="*/ 268 h 855"/>
                  <a:gd name="T34" fmla="*/ 22 w 1256"/>
                  <a:gd name="T35" fmla="*/ 86 h 855"/>
                  <a:gd name="T36" fmla="*/ 0 w 1256"/>
                  <a:gd name="T37" fmla="*/ 226 h 855"/>
                  <a:gd name="T38" fmla="*/ 188 w 1256"/>
                  <a:gd name="T39" fmla="*/ 150 h 855"/>
                  <a:gd name="T40" fmla="*/ 454 w 1256"/>
                  <a:gd name="T41" fmla="*/ 86 h 855"/>
                  <a:gd name="T42" fmla="*/ 264 w 1256"/>
                  <a:gd name="T43" fmla="*/ 302 h 855"/>
                  <a:gd name="T44" fmla="*/ 264 w 1256"/>
                  <a:gd name="T45" fmla="*/ 220 h 855"/>
                  <a:gd name="T46" fmla="*/ 380 w 1256"/>
                  <a:gd name="T47" fmla="*/ 110 h 855"/>
                  <a:gd name="T48" fmla="*/ 1092 w 1256"/>
                  <a:gd name="T49" fmla="*/ 356 h 855"/>
                  <a:gd name="T50" fmla="*/ 1004 w 1256"/>
                  <a:gd name="T51" fmla="*/ 598 h 855"/>
                  <a:gd name="T52" fmla="*/ 860 w 1256"/>
                  <a:gd name="T53" fmla="*/ 512 h 855"/>
                  <a:gd name="T54" fmla="*/ 468 w 1256"/>
                  <a:gd name="T55" fmla="*/ 454 h 855"/>
                  <a:gd name="T56" fmla="*/ 548 w 1256"/>
                  <a:gd name="T57" fmla="*/ 542 h 855"/>
                  <a:gd name="T58" fmla="*/ 936 w 1256"/>
                  <a:gd name="T59" fmla="*/ 0 h 855"/>
                  <a:gd name="T60" fmla="*/ 932 w 1256"/>
                  <a:gd name="T61" fmla="*/ 122 h 855"/>
                  <a:gd name="T62" fmla="*/ 744 w 1256"/>
                  <a:gd name="T63" fmla="*/ 154 h 855"/>
                  <a:gd name="T64" fmla="*/ 820 w 1256"/>
                  <a:gd name="T65" fmla="*/ 0 h 855"/>
                  <a:gd name="T66" fmla="*/ 904 w 1256"/>
                  <a:gd name="T67" fmla="*/ 26 h 855"/>
                  <a:gd name="T68" fmla="*/ 904 w 1256"/>
                  <a:gd name="T69" fmla="*/ 350 h 855"/>
                  <a:gd name="T70" fmla="*/ 406 w 1256"/>
                  <a:gd name="T71" fmla="*/ 264 h 855"/>
                  <a:gd name="T72" fmla="*/ 196 w 1256"/>
                  <a:gd name="T73" fmla="*/ 246 h 855"/>
                  <a:gd name="T74" fmla="*/ 398 w 1256"/>
                  <a:gd name="T75" fmla="*/ 254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56" h="855">
                    <a:moveTo>
                      <a:pt x="1256" y="745"/>
                    </a:moveTo>
                    <a:lnTo>
                      <a:pt x="1116" y="745"/>
                    </a:lnTo>
                    <a:lnTo>
                      <a:pt x="702" y="855"/>
                    </a:lnTo>
                    <a:lnTo>
                      <a:pt x="540" y="727"/>
                    </a:lnTo>
                    <a:lnTo>
                      <a:pt x="856" y="671"/>
                    </a:lnTo>
                    <a:lnTo>
                      <a:pt x="724" y="763"/>
                    </a:lnTo>
                    <a:lnTo>
                      <a:pt x="908" y="362"/>
                    </a:lnTo>
                    <a:lnTo>
                      <a:pt x="938" y="522"/>
                    </a:lnTo>
                    <a:lnTo>
                      <a:pt x="670" y="536"/>
                    </a:lnTo>
                    <a:lnTo>
                      <a:pt x="562" y="362"/>
                    </a:lnTo>
                    <a:lnTo>
                      <a:pt x="588" y="132"/>
                    </a:lnTo>
                    <a:lnTo>
                      <a:pt x="630" y="260"/>
                    </a:lnTo>
                    <a:lnTo>
                      <a:pt x="704" y="182"/>
                    </a:lnTo>
                    <a:lnTo>
                      <a:pt x="762" y="338"/>
                    </a:lnTo>
                    <a:lnTo>
                      <a:pt x="540" y="362"/>
                    </a:lnTo>
                    <a:lnTo>
                      <a:pt x="424" y="212"/>
                    </a:lnTo>
                    <a:lnTo>
                      <a:pt x="396" y="268"/>
                    </a:lnTo>
                    <a:lnTo>
                      <a:pt x="22" y="86"/>
                    </a:lnTo>
                    <a:lnTo>
                      <a:pt x="0" y="226"/>
                    </a:lnTo>
                    <a:lnTo>
                      <a:pt x="188" y="150"/>
                    </a:lnTo>
                    <a:lnTo>
                      <a:pt x="454" y="86"/>
                    </a:lnTo>
                    <a:lnTo>
                      <a:pt x="264" y="302"/>
                    </a:lnTo>
                    <a:lnTo>
                      <a:pt x="264" y="220"/>
                    </a:lnTo>
                    <a:lnTo>
                      <a:pt x="380" y="110"/>
                    </a:lnTo>
                    <a:lnTo>
                      <a:pt x="1092" y="356"/>
                    </a:lnTo>
                    <a:lnTo>
                      <a:pt x="1004" y="598"/>
                    </a:lnTo>
                    <a:lnTo>
                      <a:pt x="860" y="512"/>
                    </a:lnTo>
                    <a:lnTo>
                      <a:pt x="468" y="454"/>
                    </a:lnTo>
                    <a:lnTo>
                      <a:pt x="548" y="542"/>
                    </a:lnTo>
                    <a:lnTo>
                      <a:pt x="936" y="0"/>
                    </a:lnTo>
                    <a:lnTo>
                      <a:pt x="932" y="122"/>
                    </a:lnTo>
                    <a:lnTo>
                      <a:pt x="744" y="154"/>
                    </a:lnTo>
                    <a:lnTo>
                      <a:pt x="820" y="0"/>
                    </a:lnTo>
                    <a:lnTo>
                      <a:pt x="904" y="26"/>
                    </a:lnTo>
                    <a:lnTo>
                      <a:pt x="904" y="350"/>
                    </a:lnTo>
                    <a:lnTo>
                      <a:pt x="406" y="264"/>
                    </a:lnTo>
                    <a:lnTo>
                      <a:pt x="196" y="246"/>
                    </a:lnTo>
                    <a:lnTo>
                      <a:pt x="398" y="254"/>
                    </a:lnTo>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59" name="Freeform 7">
                <a:extLst>
                  <a:ext uri="{FF2B5EF4-FFF2-40B4-BE49-F238E27FC236}">
                    <a16:creationId xmlns:a16="http://schemas.microsoft.com/office/drawing/2014/main" id="{F8AE1E96-B5D0-4117-BA78-D27437F5FA27}"/>
                  </a:ext>
                </a:extLst>
              </p:cNvPr>
              <p:cNvSpPr>
                <a:spLocks/>
              </p:cNvSpPr>
              <p:nvPr/>
            </p:nvSpPr>
            <p:spPr bwMode="auto">
              <a:xfrm>
                <a:off x="3253" y="905"/>
                <a:ext cx="124" cy="84"/>
              </a:xfrm>
              <a:custGeom>
                <a:avLst/>
                <a:gdLst>
                  <a:gd name="T0" fmla="*/ 100 w 124"/>
                  <a:gd name="T1" fmla="*/ 64 h 84"/>
                  <a:gd name="T2" fmla="*/ 124 w 124"/>
                  <a:gd name="T3" fmla="*/ 0 h 84"/>
                  <a:gd name="T4" fmla="*/ 18 w 124"/>
                  <a:gd name="T5" fmla="*/ 84 h 84"/>
                  <a:gd name="T6" fmla="*/ 0 w 124"/>
                  <a:gd name="T7" fmla="*/ 14 h 84"/>
                  <a:gd name="T8" fmla="*/ 100 w 124"/>
                  <a:gd name="T9" fmla="*/ 64 h 84"/>
                </a:gdLst>
                <a:ahLst/>
                <a:cxnLst>
                  <a:cxn ang="0">
                    <a:pos x="T0" y="T1"/>
                  </a:cxn>
                  <a:cxn ang="0">
                    <a:pos x="T2" y="T3"/>
                  </a:cxn>
                  <a:cxn ang="0">
                    <a:pos x="T4" y="T5"/>
                  </a:cxn>
                  <a:cxn ang="0">
                    <a:pos x="T6" y="T7"/>
                  </a:cxn>
                  <a:cxn ang="0">
                    <a:pos x="T8" y="T9"/>
                  </a:cxn>
                </a:cxnLst>
                <a:rect l="0" t="0" r="r" b="b"/>
                <a:pathLst>
                  <a:path w="124" h="84">
                    <a:moveTo>
                      <a:pt x="100" y="64"/>
                    </a:moveTo>
                    <a:lnTo>
                      <a:pt x="124" y="0"/>
                    </a:lnTo>
                    <a:lnTo>
                      <a:pt x="18" y="84"/>
                    </a:lnTo>
                    <a:lnTo>
                      <a:pt x="0" y="14"/>
                    </a:lnTo>
                    <a:lnTo>
                      <a:pt x="100" y="64"/>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60" name="Freeform 8">
                <a:extLst>
                  <a:ext uri="{FF2B5EF4-FFF2-40B4-BE49-F238E27FC236}">
                    <a16:creationId xmlns:a16="http://schemas.microsoft.com/office/drawing/2014/main" id="{0561FC27-D9C2-479F-9F33-686F832C8A8B}"/>
                  </a:ext>
                </a:extLst>
              </p:cNvPr>
              <p:cNvSpPr>
                <a:spLocks/>
              </p:cNvSpPr>
              <p:nvPr/>
            </p:nvSpPr>
            <p:spPr bwMode="auto">
              <a:xfrm>
                <a:off x="2673" y="254"/>
                <a:ext cx="742" cy="781"/>
              </a:xfrm>
              <a:custGeom>
                <a:avLst/>
                <a:gdLst>
                  <a:gd name="T0" fmla="*/ 29 w 371"/>
                  <a:gd name="T1" fmla="*/ 391 h 391"/>
                  <a:gd name="T2" fmla="*/ 143 w 371"/>
                  <a:gd name="T3" fmla="*/ 75 h 391"/>
                  <a:gd name="T4" fmla="*/ 210 w 371"/>
                  <a:gd name="T5" fmla="*/ 44 h 391"/>
                  <a:gd name="T6" fmla="*/ 283 w 371"/>
                  <a:gd name="T7" fmla="*/ 150 h 391"/>
                  <a:gd name="T8" fmla="*/ 194 w 371"/>
                  <a:gd name="T9" fmla="*/ 161 h 391"/>
                  <a:gd name="T10" fmla="*/ 317 w 371"/>
                  <a:gd name="T11" fmla="*/ 40 h 391"/>
                  <a:gd name="T12" fmla="*/ 371 w 371"/>
                  <a:gd name="T13" fmla="*/ 36 h 391"/>
                  <a:gd name="T14" fmla="*/ 261 w 371"/>
                  <a:gd name="T15" fmla="*/ 0 h 391"/>
                  <a:gd name="T16" fmla="*/ 76 w 371"/>
                  <a:gd name="T17" fmla="*/ 17 h 391"/>
                  <a:gd name="T18" fmla="*/ 169 w 371"/>
                  <a:gd name="T19" fmla="*/ 152 h 391"/>
                  <a:gd name="T20" fmla="*/ 0 w 371"/>
                  <a:gd name="T21" fmla="*/ 347 h 391"/>
                  <a:gd name="T22" fmla="*/ 276 w 371"/>
                  <a:gd name="T23" fmla="*/ 221 h 391"/>
                  <a:gd name="T24" fmla="*/ 83 w 371"/>
                  <a:gd name="T25" fmla="*/ 260 h 391"/>
                  <a:gd name="T26" fmla="*/ 223 w 371"/>
                  <a:gd name="T27" fmla="*/ 269 h 391"/>
                  <a:gd name="T28" fmla="*/ 23 w 371"/>
                  <a:gd name="T29" fmla="*/ 380 h 391"/>
                  <a:gd name="T30" fmla="*/ 29 w 371"/>
                  <a:gd name="T31"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1" h="391">
                    <a:moveTo>
                      <a:pt x="29" y="391"/>
                    </a:moveTo>
                    <a:cubicBezTo>
                      <a:pt x="143" y="75"/>
                      <a:pt x="143" y="75"/>
                      <a:pt x="143" y="75"/>
                    </a:cubicBezTo>
                    <a:cubicBezTo>
                      <a:pt x="210" y="44"/>
                      <a:pt x="210" y="44"/>
                      <a:pt x="210" y="44"/>
                    </a:cubicBezTo>
                    <a:cubicBezTo>
                      <a:pt x="283" y="150"/>
                      <a:pt x="283" y="150"/>
                      <a:pt x="283" y="150"/>
                    </a:cubicBezTo>
                    <a:cubicBezTo>
                      <a:pt x="194" y="161"/>
                      <a:pt x="194" y="161"/>
                      <a:pt x="194" y="161"/>
                    </a:cubicBezTo>
                    <a:cubicBezTo>
                      <a:pt x="317" y="40"/>
                      <a:pt x="317" y="40"/>
                      <a:pt x="317" y="40"/>
                    </a:cubicBezTo>
                    <a:cubicBezTo>
                      <a:pt x="371" y="36"/>
                      <a:pt x="371" y="36"/>
                      <a:pt x="371" y="36"/>
                    </a:cubicBezTo>
                    <a:cubicBezTo>
                      <a:pt x="261" y="0"/>
                      <a:pt x="261" y="0"/>
                      <a:pt x="261" y="0"/>
                    </a:cubicBezTo>
                    <a:cubicBezTo>
                      <a:pt x="76" y="17"/>
                      <a:pt x="76" y="17"/>
                      <a:pt x="76" y="17"/>
                    </a:cubicBezTo>
                    <a:cubicBezTo>
                      <a:pt x="169" y="152"/>
                      <a:pt x="169" y="152"/>
                      <a:pt x="169" y="152"/>
                    </a:cubicBezTo>
                    <a:cubicBezTo>
                      <a:pt x="0" y="347"/>
                      <a:pt x="0" y="347"/>
                      <a:pt x="0" y="347"/>
                    </a:cubicBezTo>
                    <a:cubicBezTo>
                      <a:pt x="0" y="347"/>
                      <a:pt x="278" y="221"/>
                      <a:pt x="276" y="221"/>
                    </a:cubicBezTo>
                    <a:cubicBezTo>
                      <a:pt x="275" y="221"/>
                      <a:pt x="83" y="260"/>
                      <a:pt x="83" y="260"/>
                    </a:cubicBezTo>
                    <a:cubicBezTo>
                      <a:pt x="223" y="269"/>
                      <a:pt x="223" y="269"/>
                      <a:pt x="223" y="269"/>
                    </a:cubicBezTo>
                    <a:cubicBezTo>
                      <a:pt x="23" y="380"/>
                      <a:pt x="23" y="380"/>
                      <a:pt x="23" y="380"/>
                    </a:cubicBezTo>
                    <a:lnTo>
                      <a:pt x="29" y="391"/>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61" name="Freeform 9">
                <a:extLst>
                  <a:ext uri="{FF2B5EF4-FFF2-40B4-BE49-F238E27FC236}">
                    <a16:creationId xmlns:a16="http://schemas.microsoft.com/office/drawing/2014/main" id="{8A77EE72-AD74-45A1-8E54-221259A72402}"/>
                  </a:ext>
                </a:extLst>
              </p:cNvPr>
              <p:cNvSpPr>
                <a:spLocks/>
              </p:cNvSpPr>
              <p:nvPr/>
            </p:nvSpPr>
            <p:spPr bwMode="auto">
              <a:xfrm>
                <a:off x="1083" y="264"/>
                <a:ext cx="1272" cy="1471"/>
              </a:xfrm>
              <a:custGeom>
                <a:avLst/>
                <a:gdLst>
                  <a:gd name="T0" fmla="*/ 1266 w 1272"/>
                  <a:gd name="T1" fmla="*/ 52 h 1471"/>
                  <a:gd name="T2" fmla="*/ 1272 w 1272"/>
                  <a:gd name="T3" fmla="*/ 0 h 1471"/>
                  <a:gd name="T4" fmla="*/ 1064 w 1272"/>
                  <a:gd name="T5" fmla="*/ 110 h 1471"/>
                  <a:gd name="T6" fmla="*/ 962 w 1272"/>
                  <a:gd name="T7" fmla="*/ 190 h 1471"/>
                  <a:gd name="T8" fmla="*/ 792 w 1272"/>
                  <a:gd name="T9" fmla="*/ 156 h 1471"/>
                  <a:gd name="T10" fmla="*/ 768 w 1272"/>
                  <a:gd name="T11" fmla="*/ 496 h 1471"/>
                  <a:gd name="T12" fmla="*/ 516 w 1272"/>
                  <a:gd name="T13" fmla="*/ 414 h 1471"/>
                  <a:gd name="T14" fmla="*/ 520 w 1272"/>
                  <a:gd name="T15" fmla="*/ 490 h 1471"/>
                  <a:gd name="T16" fmla="*/ 214 w 1272"/>
                  <a:gd name="T17" fmla="*/ 354 h 1471"/>
                  <a:gd name="T18" fmla="*/ 302 w 1272"/>
                  <a:gd name="T19" fmla="*/ 410 h 1471"/>
                  <a:gd name="T20" fmla="*/ 462 w 1272"/>
                  <a:gd name="T21" fmla="*/ 162 h 1471"/>
                  <a:gd name="T22" fmla="*/ 240 w 1272"/>
                  <a:gd name="T23" fmla="*/ 238 h 1471"/>
                  <a:gd name="T24" fmla="*/ 598 w 1272"/>
                  <a:gd name="T25" fmla="*/ 160 h 1471"/>
                  <a:gd name="T26" fmla="*/ 376 w 1272"/>
                  <a:gd name="T27" fmla="*/ 280 h 1471"/>
                  <a:gd name="T28" fmla="*/ 594 w 1272"/>
                  <a:gd name="T29" fmla="*/ 500 h 1471"/>
                  <a:gd name="T30" fmla="*/ 922 w 1272"/>
                  <a:gd name="T31" fmla="*/ 130 h 1471"/>
                  <a:gd name="T32" fmla="*/ 1072 w 1272"/>
                  <a:gd name="T33" fmla="*/ 190 h 1471"/>
                  <a:gd name="T34" fmla="*/ 998 w 1272"/>
                  <a:gd name="T35" fmla="*/ 264 h 1471"/>
                  <a:gd name="T36" fmla="*/ 700 w 1272"/>
                  <a:gd name="T37" fmla="*/ 256 h 1471"/>
                  <a:gd name="T38" fmla="*/ 838 w 1272"/>
                  <a:gd name="T39" fmla="*/ 80 h 1471"/>
                  <a:gd name="T40" fmla="*/ 854 w 1272"/>
                  <a:gd name="T41" fmla="*/ 432 h 1471"/>
                  <a:gd name="T42" fmla="*/ 808 w 1272"/>
                  <a:gd name="T43" fmla="*/ 550 h 1471"/>
                  <a:gd name="T44" fmla="*/ 690 w 1272"/>
                  <a:gd name="T45" fmla="*/ 605 h 1471"/>
                  <a:gd name="T46" fmla="*/ 536 w 1272"/>
                  <a:gd name="T47" fmla="*/ 570 h 1471"/>
                  <a:gd name="T48" fmla="*/ 504 w 1272"/>
                  <a:gd name="T49" fmla="*/ 1019 h 1471"/>
                  <a:gd name="T50" fmla="*/ 330 w 1272"/>
                  <a:gd name="T51" fmla="*/ 649 h 1471"/>
                  <a:gd name="T52" fmla="*/ 476 w 1272"/>
                  <a:gd name="T53" fmla="*/ 747 h 1471"/>
                  <a:gd name="T54" fmla="*/ 436 w 1272"/>
                  <a:gd name="T55" fmla="*/ 927 h 1471"/>
                  <a:gd name="T56" fmla="*/ 838 w 1272"/>
                  <a:gd name="T57" fmla="*/ 933 h 1471"/>
                  <a:gd name="T58" fmla="*/ 764 w 1272"/>
                  <a:gd name="T59" fmla="*/ 963 h 1471"/>
                  <a:gd name="T60" fmla="*/ 640 w 1272"/>
                  <a:gd name="T61" fmla="*/ 843 h 1471"/>
                  <a:gd name="T62" fmla="*/ 246 w 1272"/>
                  <a:gd name="T63" fmla="*/ 1141 h 1471"/>
                  <a:gd name="T64" fmla="*/ 0 w 1272"/>
                  <a:gd name="T65" fmla="*/ 771 h 1471"/>
                  <a:gd name="T66" fmla="*/ 500 w 1272"/>
                  <a:gd name="T67" fmla="*/ 801 h 1471"/>
                  <a:gd name="T68" fmla="*/ 284 w 1272"/>
                  <a:gd name="T69" fmla="*/ 843 h 1471"/>
                  <a:gd name="T70" fmla="*/ 368 w 1272"/>
                  <a:gd name="T71" fmla="*/ 1471 h 1471"/>
                  <a:gd name="T72" fmla="*/ 306 w 1272"/>
                  <a:gd name="T73" fmla="*/ 1389 h 1471"/>
                  <a:gd name="T74" fmla="*/ 614 w 1272"/>
                  <a:gd name="T75" fmla="*/ 1061 h 1471"/>
                  <a:gd name="T76" fmla="*/ 878 w 1272"/>
                  <a:gd name="T77" fmla="*/ 1341 h 1471"/>
                  <a:gd name="T78" fmla="*/ 664 w 1272"/>
                  <a:gd name="T79" fmla="*/ 717 h 1471"/>
                  <a:gd name="T80" fmla="*/ 982 w 1272"/>
                  <a:gd name="T81" fmla="*/ 615 h 1471"/>
                  <a:gd name="T82" fmla="*/ 976 w 1272"/>
                  <a:gd name="T83" fmla="*/ 532 h 1471"/>
                  <a:gd name="T84" fmla="*/ 944 w 1272"/>
                  <a:gd name="T85" fmla="*/ 532 h 1471"/>
                  <a:gd name="T86" fmla="*/ 974 w 1272"/>
                  <a:gd name="T87" fmla="*/ 418 h 1471"/>
                  <a:gd name="T88" fmla="*/ 948 w 1272"/>
                  <a:gd name="T89" fmla="*/ 382 h 1471"/>
                  <a:gd name="T90" fmla="*/ 1022 w 1272"/>
                  <a:gd name="T91" fmla="*/ 42 h 1471"/>
                  <a:gd name="T92" fmla="*/ 1266 w 1272"/>
                  <a:gd name="T93" fmla="*/ 52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72" h="1471">
                    <a:moveTo>
                      <a:pt x="1266" y="52"/>
                    </a:moveTo>
                    <a:lnTo>
                      <a:pt x="1272" y="0"/>
                    </a:lnTo>
                    <a:lnTo>
                      <a:pt x="1064" y="110"/>
                    </a:lnTo>
                    <a:lnTo>
                      <a:pt x="962" y="190"/>
                    </a:lnTo>
                    <a:lnTo>
                      <a:pt x="792" y="156"/>
                    </a:lnTo>
                    <a:lnTo>
                      <a:pt x="768" y="496"/>
                    </a:lnTo>
                    <a:lnTo>
                      <a:pt x="516" y="414"/>
                    </a:lnTo>
                    <a:lnTo>
                      <a:pt x="520" y="490"/>
                    </a:lnTo>
                    <a:lnTo>
                      <a:pt x="214" y="354"/>
                    </a:lnTo>
                    <a:lnTo>
                      <a:pt x="302" y="410"/>
                    </a:lnTo>
                    <a:lnTo>
                      <a:pt x="462" y="162"/>
                    </a:lnTo>
                    <a:lnTo>
                      <a:pt x="240" y="238"/>
                    </a:lnTo>
                    <a:lnTo>
                      <a:pt x="598" y="160"/>
                    </a:lnTo>
                    <a:lnTo>
                      <a:pt x="376" y="280"/>
                    </a:lnTo>
                    <a:lnTo>
                      <a:pt x="594" y="500"/>
                    </a:lnTo>
                    <a:lnTo>
                      <a:pt x="922" y="130"/>
                    </a:lnTo>
                    <a:lnTo>
                      <a:pt x="1072" y="190"/>
                    </a:lnTo>
                    <a:lnTo>
                      <a:pt x="998" y="264"/>
                    </a:lnTo>
                    <a:lnTo>
                      <a:pt x="700" y="256"/>
                    </a:lnTo>
                    <a:lnTo>
                      <a:pt x="838" y="80"/>
                    </a:lnTo>
                    <a:lnTo>
                      <a:pt x="854" y="432"/>
                    </a:lnTo>
                    <a:lnTo>
                      <a:pt x="808" y="550"/>
                    </a:lnTo>
                    <a:lnTo>
                      <a:pt x="690" y="605"/>
                    </a:lnTo>
                    <a:lnTo>
                      <a:pt x="536" y="570"/>
                    </a:lnTo>
                    <a:lnTo>
                      <a:pt x="504" y="1019"/>
                    </a:lnTo>
                    <a:lnTo>
                      <a:pt x="330" y="649"/>
                    </a:lnTo>
                    <a:lnTo>
                      <a:pt x="476" y="747"/>
                    </a:lnTo>
                    <a:lnTo>
                      <a:pt x="436" y="927"/>
                    </a:lnTo>
                    <a:lnTo>
                      <a:pt x="838" y="933"/>
                    </a:lnTo>
                    <a:lnTo>
                      <a:pt x="764" y="963"/>
                    </a:lnTo>
                    <a:lnTo>
                      <a:pt x="640" y="843"/>
                    </a:lnTo>
                    <a:lnTo>
                      <a:pt x="246" y="1141"/>
                    </a:lnTo>
                    <a:lnTo>
                      <a:pt x="0" y="771"/>
                    </a:lnTo>
                    <a:lnTo>
                      <a:pt x="500" y="801"/>
                    </a:lnTo>
                    <a:lnTo>
                      <a:pt x="284" y="843"/>
                    </a:lnTo>
                    <a:lnTo>
                      <a:pt x="368" y="1471"/>
                    </a:lnTo>
                    <a:lnTo>
                      <a:pt x="306" y="1389"/>
                    </a:lnTo>
                    <a:lnTo>
                      <a:pt x="614" y="1061"/>
                    </a:lnTo>
                    <a:lnTo>
                      <a:pt x="878" y="1341"/>
                    </a:lnTo>
                    <a:lnTo>
                      <a:pt x="664" y="717"/>
                    </a:lnTo>
                    <a:lnTo>
                      <a:pt x="982" y="615"/>
                    </a:lnTo>
                    <a:lnTo>
                      <a:pt x="976" y="532"/>
                    </a:lnTo>
                    <a:lnTo>
                      <a:pt x="944" y="532"/>
                    </a:lnTo>
                    <a:lnTo>
                      <a:pt x="974" y="418"/>
                    </a:lnTo>
                    <a:lnTo>
                      <a:pt x="948" y="382"/>
                    </a:lnTo>
                    <a:lnTo>
                      <a:pt x="1022" y="42"/>
                    </a:lnTo>
                    <a:lnTo>
                      <a:pt x="1266" y="52"/>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62" name="Freeform 10">
                <a:extLst>
                  <a:ext uri="{FF2B5EF4-FFF2-40B4-BE49-F238E27FC236}">
                    <a16:creationId xmlns:a16="http://schemas.microsoft.com/office/drawing/2014/main" id="{AB0A6FCC-50AF-4540-8579-2118A6AB4B9C}"/>
                  </a:ext>
                </a:extLst>
              </p:cNvPr>
              <p:cNvSpPr>
                <a:spLocks/>
              </p:cNvSpPr>
              <p:nvPr/>
            </p:nvSpPr>
            <p:spPr bwMode="auto">
              <a:xfrm>
                <a:off x="2013" y="624"/>
                <a:ext cx="460" cy="747"/>
              </a:xfrm>
              <a:custGeom>
                <a:avLst/>
                <a:gdLst>
                  <a:gd name="T0" fmla="*/ 6 w 460"/>
                  <a:gd name="T1" fmla="*/ 0 h 747"/>
                  <a:gd name="T2" fmla="*/ 312 w 460"/>
                  <a:gd name="T3" fmla="*/ 134 h 747"/>
                  <a:gd name="T4" fmla="*/ 0 w 460"/>
                  <a:gd name="T5" fmla="*/ 94 h 747"/>
                  <a:gd name="T6" fmla="*/ 214 w 460"/>
                  <a:gd name="T7" fmla="*/ 72 h 747"/>
                  <a:gd name="T8" fmla="*/ 336 w 460"/>
                  <a:gd name="T9" fmla="*/ 349 h 747"/>
                  <a:gd name="T10" fmla="*/ 380 w 460"/>
                  <a:gd name="T11" fmla="*/ 223 h 747"/>
                  <a:gd name="T12" fmla="*/ 174 w 460"/>
                  <a:gd name="T13" fmla="*/ 449 h 747"/>
                  <a:gd name="T14" fmla="*/ 460 w 460"/>
                  <a:gd name="T15" fmla="*/ 747 h 747"/>
                  <a:gd name="T16" fmla="*/ 334 w 460"/>
                  <a:gd name="T17" fmla="*/ 535 h 747"/>
                  <a:gd name="T18" fmla="*/ 398 w 460"/>
                  <a:gd name="T19" fmla="*/ 469 h 747"/>
                  <a:gd name="T20" fmla="*/ 184 w 460"/>
                  <a:gd name="T21" fmla="*/ 591 h 747"/>
                  <a:gd name="T22" fmla="*/ 280 w 460"/>
                  <a:gd name="T23" fmla="*/ 383 h 747"/>
                  <a:gd name="T24" fmla="*/ 242 w 460"/>
                  <a:gd name="T25" fmla="*/ 289 h 747"/>
                  <a:gd name="T26" fmla="*/ 404 w 460"/>
                  <a:gd name="T27" fmla="*/ 297 h 747"/>
                  <a:gd name="T28" fmla="*/ 244 w 460"/>
                  <a:gd name="T29" fmla="*/ 112 h 747"/>
                  <a:gd name="T30" fmla="*/ 250 w 460"/>
                  <a:gd name="T31" fmla="*/ 172 h 747"/>
                  <a:gd name="T32" fmla="*/ 128 w 460"/>
                  <a:gd name="T33" fmla="*/ 132 h 747"/>
                  <a:gd name="T34" fmla="*/ 164 w 460"/>
                  <a:gd name="T35" fmla="*/ 126 h 747"/>
                  <a:gd name="T36" fmla="*/ 6 w 460"/>
                  <a:gd name="T37" fmla="*/ 0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0" h="747">
                    <a:moveTo>
                      <a:pt x="6" y="0"/>
                    </a:moveTo>
                    <a:lnTo>
                      <a:pt x="312" y="134"/>
                    </a:lnTo>
                    <a:lnTo>
                      <a:pt x="0" y="94"/>
                    </a:lnTo>
                    <a:lnTo>
                      <a:pt x="214" y="72"/>
                    </a:lnTo>
                    <a:lnTo>
                      <a:pt x="336" y="349"/>
                    </a:lnTo>
                    <a:lnTo>
                      <a:pt x="380" y="223"/>
                    </a:lnTo>
                    <a:lnTo>
                      <a:pt x="174" y="449"/>
                    </a:lnTo>
                    <a:lnTo>
                      <a:pt x="460" y="747"/>
                    </a:lnTo>
                    <a:lnTo>
                      <a:pt x="334" y="535"/>
                    </a:lnTo>
                    <a:lnTo>
                      <a:pt x="398" y="469"/>
                    </a:lnTo>
                    <a:lnTo>
                      <a:pt x="184" y="591"/>
                    </a:lnTo>
                    <a:lnTo>
                      <a:pt x="280" y="383"/>
                    </a:lnTo>
                    <a:lnTo>
                      <a:pt x="242" y="289"/>
                    </a:lnTo>
                    <a:lnTo>
                      <a:pt x="404" y="297"/>
                    </a:lnTo>
                    <a:lnTo>
                      <a:pt x="244" y="112"/>
                    </a:lnTo>
                    <a:lnTo>
                      <a:pt x="250" y="172"/>
                    </a:lnTo>
                    <a:lnTo>
                      <a:pt x="128" y="132"/>
                    </a:lnTo>
                    <a:lnTo>
                      <a:pt x="164" y="126"/>
                    </a:lnTo>
                    <a:lnTo>
                      <a:pt x="6" y="0"/>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63" name="Freeform 11">
                <a:extLst>
                  <a:ext uri="{FF2B5EF4-FFF2-40B4-BE49-F238E27FC236}">
                    <a16:creationId xmlns:a16="http://schemas.microsoft.com/office/drawing/2014/main" id="{2F185DA3-3003-4523-B628-0794E1C3926A}"/>
                  </a:ext>
                </a:extLst>
              </p:cNvPr>
              <p:cNvSpPr>
                <a:spLocks/>
              </p:cNvSpPr>
              <p:nvPr/>
            </p:nvSpPr>
            <p:spPr bwMode="auto">
              <a:xfrm>
                <a:off x="1363" y="1161"/>
                <a:ext cx="1102" cy="877"/>
              </a:xfrm>
              <a:custGeom>
                <a:avLst/>
                <a:gdLst>
                  <a:gd name="T0" fmla="*/ 992 w 1102"/>
                  <a:gd name="T1" fmla="*/ 0 h 877"/>
                  <a:gd name="T2" fmla="*/ 1102 w 1102"/>
                  <a:gd name="T3" fmla="*/ 80 h 877"/>
                  <a:gd name="T4" fmla="*/ 872 w 1102"/>
                  <a:gd name="T5" fmla="*/ 334 h 877"/>
                  <a:gd name="T6" fmla="*/ 756 w 1102"/>
                  <a:gd name="T7" fmla="*/ 272 h 877"/>
                  <a:gd name="T8" fmla="*/ 790 w 1102"/>
                  <a:gd name="T9" fmla="*/ 158 h 877"/>
                  <a:gd name="T10" fmla="*/ 992 w 1102"/>
                  <a:gd name="T11" fmla="*/ 256 h 877"/>
                  <a:gd name="T12" fmla="*/ 908 w 1102"/>
                  <a:gd name="T13" fmla="*/ 360 h 877"/>
                  <a:gd name="T14" fmla="*/ 554 w 1102"/>
                  <a:gd name="T15" fmla="*/ 378 h 877"/>
                  <a:gd name="T16" fmla="*/ 656 w 1102"/>
                  <a:gd name="T17" fmla="*/ 276 h 877"/>
                  <a:gd name="T18" fmla="*/ 760 w 1102"/>
                  <a:gd name="T19" fmla="*/ 686 h 877"/>
                  <a:gd name="T20" fmla="*/ 366 w 1102"/>
                  <a:gd name="T21" fmla="*/ 512 h 877"/>
                  <a:gd name="T22" fmla="*/ 344 w 1102"/>
                  <a:gd name="T23" fmla="*/ 400 h 877"/>
                  <a:gd name="T24" fmla="*/ 0 w 1102"/>
                  <a:gd name="T25" fmla="*/ 676 h 877"/>
                  <a:gd name="T26" fmla="*/ 326 w 1102"/>
                  <a:gd name="T27" fmla="*/ 648 h 877"/>
                  <a:gd name="T28" fmla="*/ 224 w 1102"/>
                  <a:gd name="T29" fmla="*/ 877 h 877"/>
                  <a:gd name="T30" fmla="*/ 278 w 1102"/>
                  <a:gd name="T31" fmla="*/ 272 h 877"/>
                  <a:gd name="T32" fmla="*/ 446 w 1102"/>
                  <a:gd name="T33" fmla="*/ 272 h 877"/>
                  <a:gd name="T34" fmla="*/ 408 w 1102"/>
                  <a:gd name="T35" fmla="*/ 450 h 877"/>
                  <a:gd name="T36" fmla="*/ 590 w 1102"/>
                  <a:gd name="T37" fmla="*/ 558 h 877"/>
                  <a:gd name="T38" fmla="*/ 962 w 1102"/>
                  <a:gd name="T39" fmla="*/ 136 h 877"/>
                  <a:gd name="T40" fmla="*/ 992 w 1102"/>
                  <a:gd name="T41" fmla="*/ 0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02" h="877">
                    <a:moveTo>
                      <a:pt x="992" y="0"/>
                    </a:moveTo>
                    <a:lnTo>
                      <a:pt x="1102" y="80"/>
                    </a:lnTo>
                    <a:lnTo>
                      <a:pt x="872" y="334"/>
                    </a:lnTo>
                    <a:lnTo>
                      <a:pt x="756" y="272"/>
                    </a:lnTo>
                    <a:lnTo>
                      <a:pt x="790" y="158"/>
                    </a:lnTo>
                    <a:lnTo>
                      <a:pt x="992" y="256"/>
                    </a:lnTo>
                    <a:lnTo>
                      <a:pt x="908" y="360"/>
                    </a:lnTo>
                    <a:lnTo>
                      <a:pt x="554" y="378"/>
                    </a:lnTo>
                    <a:lnTo>
                      <a:pt x="656" y="276"/>
                    </a:lnTo>
                    <a:lnTo>
                      <a:pt x="760" y="686"/>
                    </a:lnTo>
                    <a:lnTo>
                      <a:pt x="366" y="512"/>
                    </a:lnTo>
                    <a:lnTo>
                      <a:pt x="344" y="400"/>
                    </a:lnTo>
                    <a:lnTo>
                      <a:pt x="0" y="676"/>
                    </a:lnTo>
                    <a:lnTo>
                      <a:pt x="326" y="648"/>
                    </a:lnTo>
                    <a:lnTo>
                      <a:pt x="224" y="877"/>
                    </a:lnTo>
                    <a:lnTo>
                      <a:pt x="278" y="272"/>
                    </a:lnTo>
                    <a:lnTo>
                      <a:pt x="446" y="272"/>
                    </a:lnTo>
                    <a:lnTo>
                      <a:pt x="408" y="450"/>
                    </a:lnTo>
                    <a:lnTo>
                      <a:pt x="590" y="558"/>
                    </a:lnTo>
                    <a:lnTo>
                      <a:pt x="962" y="136"/>
                    </a:lnTo>
                    <a:lnTo>
                      <a:pt x="992" y="0"/>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grpSp>
        <p:grpSp>
          <p:nvGrpSpPr>
            <p:cNvPr id="944" name="Map outlines">
              <a:extLst>
                <a:ext uri="{FF2B5EF4-FFF2-40B4-BE49-F238E27FC236}">
                  <a16:creationId xmlns:a16="http://schemas.microsoft.com/office/drawing/2014/main" id="{2A05BC95-EA0D-45D6-A749-DEB72D894DBC}"/>
                </a:ext>
              </a:extLst>
            </p:cNvPr>
            <p:cNvGrpSpPr/>
            <p:nvPr/>
          </p:nvGrpSpPr>
          <p:grpSpPr>
            <a:xfrm>
              <a:off x="3228730" y="472178"/>
              <a:ext cx="8125071" cy="6044410"/>
              <a:chOff x="3238834" y="482615"/>
              <a:chExt cx="8096367" cy="6023059"/>
            </a:xfrm>
            <a:noFill/>
          </p:grpSpPr>
          <p:sp>
            <p:nvSpPr>
              <p:cNvPr id="945" name="Freeform: Shape 944">
                <a:extLst>
                  <a:ext uri="{FF2B5EF4-FFF2-40B4-BE49-F238E27FC236}">
                    <a16:creationId xmlns:a16="http://schemas.microsoft.com/office/drawing/2014/main" id="{819A7590-BF4F-415B-A5FF-843A89A08DF0}"/>
                  </a:ext>
                </a:extLst>
              </p:cNvPr>
              <p:cNvSpPr/>
              <p:nvPr/>
            </p:nvSpPr>
            <p:spPr>
              <a:xfrm>
                <a:off x="9698082" y="2128229"/>
                <a:ext cx="467343" cy="849714"/>
              </a:xfrm>
              <a:custGeom>
                <a:avLst/>
                <a:gdLst>
                  <a:gd name="connsiteX0" fmla="*/ 254207 w 467343"/>
                  <a:gd name="connsiteY0" fmla="*/ 772532 h 849714"/>
                  <a:gd name="connsiteX1" fmla="*/ 189062 w 467343"/>
                  <a:gd name="connsiteY1" fmla="*/ 731463 h 849714"/>
                  <a:gd name="connsiteX2" fmla="*/ 189062 w 467343"/>
                  <a:gd name="connsiteY2" fmla="*/ 731463 h 849714"/>
                  <a:gd name="connsiteX3" fmla="*/ 12038 w 467343"/>
                  <a:gd name="connsiteY3" fmla="*/ 847590 h 849714"/>
                  <a:gd name="connsiteX4" fmla="*/ 10621 w 467343"/>
                  <a:gd name="connsiteY4" fmla="*/ 847590 h 849714"/>
                  <a:gd name="connsiteX5" fmla="*/ 114004 w 467343"/>
                  <a:gd name="connsiteY5" fmla="*/ 829180 h 849714"/>
                  <a:gd name="connsiteX6" fmla="*/ 254207 w 467343"/>
                  <a:gd name="connsiteY6" fmla="*/ 773948 h 849714"/>
                  <a:gd name="connsiteX7" fmla="*/ 259872 w 467343"/>
                  <a:gd name="connsiteY7" fmla="*/ 778197 h 849714"/>
                  <a:gd name="connsiteX8" fmla="*/ 262704 w 467343"/>
                  <a:gd name="connsiteY8" fmla="*/ 771116 h 849714"/>
                  <a:gd name="connsiteX9" fmla="*/ 337762 w 467343"/>
                  <a:gd name="connsiteY9" fmla="*/ 741376 h 849714"/>
                  <a:gd name="connsiteX10" fmla="*/ 337762 w 467343"/>
                  <a:gd name="connsiteY10" fmla="*/ 741376 h 849714"/>
                  <a:gd name="connsiteX11" fmla="*/ 364669 w 467343"/>
                  <a:gd name="connsiteY11" fmla="*/ 536028 h 849714"/>
                  <a:gd name="connsiteX12" fmla="*/ 459554 w 467343"/>
                  <a:gd name="connsiteY12" fmla="*/ 421317 h 849714"/>
                  <a:gd name="connsiteX13" fmla="*/ 449641 w 467343"/>
                  <a:gd name="connsiteY13" fmla="*/ 378831 h 849714"/>
                  <a:gd name="connsiteX14" fmla="*/ 449641 w 467343"/>
                  <a:gd name="connsiteY14" fmla="*/ 378831 h 849714"/>
                  <a:gd name="connsiteX15" fmla="*/ 377415 w 467343"/>
                  <a:gd name="connsiteY15" fmla="*/ 394409 h 849714"/>
                  <a:gd name="connsiteX16" fmla="*/ 436896 w 467343"/>
                  <a:gd name="connsiteY16" fmla="*/ 244293 h 849714"/>
                  <a:gd name="connsiteX17" fmla="*/ 436896 w 467343"/>
                  <a:gd name="connsiteY17" fmla="*/ 244293 h 849714"/>
                  <a:gd name="connsiteX18" fmla="*/ 405739 w 467343"/>
                  <a:gd name="connsiteY18" fmla="*/ 123917 h 849714"/>
                  <a:gd name="connsiteX19" fmla="*/ 412820 w 467343"/>
                  <a:gd name="connsiteY19" fmla="*/ 10621 h 849714"/>
                  <a:gd name="connsiteX20" fmla="*/ 412820 w 467343"/>
                  <a:gd name="connsiteY20" fmla="*/ 10621 h 849714"/>
                  <a:gd name="connsiteX21" fmla="*/ 411404 w 467343"/>
                  <a:gd name="connsiteY21" fmla="*/ 10621 h 849714"/>
                  <a:gd name="connsiteX22" fmla="*/ 411404 w 467343"/>
                  <a:gd name="connsiteY22" fmla="*/ 10621 h 849714"/>
                  <a:gd name="connsiteX23" fmla="*/ 404323 w 467343"/>
                  <a:gd name="connsiteY23" fmla="*/ 123917 h 849714"/>
                  <a:gd name="connsiteX24" fmla="*/ 435479 w 467343"/>
                  <a:gd name="connsiteY24" fmla="*/ 244293 h 849714"/>
                  <a:gd name="connsiteX25" fmla="*/ 374583 w 467343"/>
                  <a:gd name="connsiteY25" fmla="*/ 395825 h 849714"/>
                  <a:gd name="connsiteX26" fmla="*/ 374583 w 467343"/>
                  <a:gd name="connsiteY26" fmla="*/ 395825 h 849714"/>
                  <a:gd name="connsiteX27" fmla="*/ 448225 w 467343"/>
                  <a:gd name="connsiteY27" fmla="*/ 380247 h 849714"/>
                  <a:gd name="connsiteX28" fmla="*/ 458138 w 467343"/>
                  <a:gd name="connsiteY28" fmla="*/ 419901 h 849714"/>
                  <a:gd name="connsiteX29" fmla="*/ 366086 w 467343"/>
                  <a:gd name="connsiteY29" fmla="*/ 530364 h 849714"/>
                  <a:gd name="connsiteX30" fmla="*/ 383080 w 467343"/>
                  <a:gd name="connsiteY30" fmla="*/ 401490 h 849714"/>
                  <a:gd name="connsiteX31" fmla="*/ 383080 w 467343"/>
                  <a:gd name="connsiteY31" fmla="*/ 401490 h 849714"/>
                  <a:gd name="connsiteX32" fmla="*/ 381664 w 467343"/>
                  <a:gd name="connsiteY32" fmla="*/ 401490 h 849714"/>
                  <a:gd name="connsiteX33" fmla="*/ 323600 w 467343"/>
                  <a:gd name="connsiteY33" fmla="*/ 585595 h 849714"/>
                  <a:gd name="connsiteX34" fmla="*/ 323600 w 467343"/>
                  <a:gd name="connsiteY34" fmla="*/ 587011 h 849714"/>
                  <a:gd name="connsiteX35" fmla="*/ 364669 w 467343"/>
                  <a:gd name="connsiteY35" fmla="*/ 537445 h 849714"/>
                  <a:gd name="connsiteX36" fmla="*/ 339178 w 467343"/>
                  <a:gd name="connsiteY36" fmla="*/ 738544 h 849714"/>
                  <a:gd name="connsiteX37" fmla="*/ 266953 w 467343"/>
                  <a:gd name="connsiteY37" fmla="*/ 766867 h 849714"/>
                  <a:gd name="connsiteX38" fmla="*/ 336345 w 467343"/>
                  <a:gd name="connsiteY38" fmla="*/ 584179 h 849714"/>
                  <a:gd name="connsiteX39" fmla="*/ 336345 w 467343"/>
                  <a:gd name="connsiteY39" fmla="*/ 582763 h 849714"/>
                  <a:gd name="connsiteX40" fmla="*/ 218802 w 467343"/>
                  <a:gd name="connsiteY40" fmla="*/ 693225 h 849714"/>
                  <a:gd name="connsiteX41" fmla="*/ 218802 w 467343"/>
                  <a:gd name="connsiteY41" fmla="*/ 693225 h 849714"/>
                  <a:gd name="connsiteX42" fmla="*/ 220218 w 467343"/>
                  <a:gd name="connsiteY42" fmla="*/ 694642 h 849714"/>
                  <a:gd name="connsiteX43" fmla="*/ 332097 w 467343"/>
                  <a:gd name="connsiteY43" fmla="*/ 589844 h 849714"/>
                  <a:gd name="connsiteX44" fmla="*/ 264120 w 467343"/>
                  <a:gd name="connsiteY44" fmla="*/ 766867 h 849714"/>
                  <a:gd name="connsiteX45" fmla="*/ 254207 w 467343"/>
                  <a:gd name="connsiteY45" fmla="*/ 772532 h 849714"/>
                  <a:gd name="connsiteX46" fmla="*/ 20535 w 467343"/>
                  <a:gd name="connsiteY46" fmla="*/ 844758 h 849714"/>
                  <a:gd name="connsiteX47" fmla="*/ 189062 w 467343"/>
                  <a:gd name="connsiteY47" fmla="*/ 734295 h 849714"/>
                  <a:gd name="connsiteX48" fmla="*/ 252791 w 467343"/>
                  <a:gd name="connsiteY48" fmla="*/ 773948 h 849714"/>
                  <a:gd name="connsiteX49" fmla="*/ 114004 w 467343"/>
                  <a:gd name="connsiteY49" fmla="*/ 829180 h 849714"/>
                  <a:gd name="connsiteX50" fmla="*/ 20535 w 467343"/>
                  <a:gd name="connsiteY50" fmla="*/ 844758 h 849714"/>
                  <a:gd name="connsiteX51" fmla="*/ 326433 w 467343"/>
                  <a:gd name="connsiteY51" fmla="*/ 578514 h 849714"/>
                  <a:gd name="connsiteX52" fmla="*/ 377415 w 467343"/>
                  <a:gd name="connsiteY52" fmla="*/ 415652 h 849714"/>
                  <a:gd name="connsiteX53" fmla="*/ 361838 w 467343"/>
                  <a:gd name="connsiteY53" fmla="*/ 536028 h 849714"/>
                  <a:gd name="connsiteX54" fmla="*/ 326433 w 467343"/>
                  <a:gd name="connsiteY54" fmla="*/ 578514 h 8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67343" h="849714">
                    <a:moveTo>
                      <a:pt x="254207" y="772532"/>
                    </a:moveTo>
                    <a:lnTo>
                      <a:pt x="189062" y="731463"/>
                    </a:lnTo>
                    <a:lnTo>
                      <a:pt x="189062" y="731463"/>
                    </a:lnTo>
                    <a:lnTo>
                      <a:pt x="12038" y="847590"/>
                    </a:lnTo>
                    <a:lnTo>
                      <a:pt x="10621" y="847590"/>
                    </a:lnTo>
                    <a:lnTo>
                      <a:pt x="114004" y="829180"/>
                    </a:lnTo>
                    <a:lnTo>
                      <a:pt x="254207" y="773948"/>
                    </a:lnTo>
                    <a:lnTo>
                      <a:pt x="259872" y="778197"/>
                    </a:lnTo>
                    <a:lnTo>
                      <a:pt x="262704" y="771116"/>
                    </a:lnTo>
                    <a:lnTo>
                      <a:pt x="337762" y="741376"/>
                    </a:lnTo>
                    <a:lnTo>
                      <a:pt x="337762" y="741376"/>
                    </a:lnTo>
                    <a:lnTo>
                      <a:pt x="364669" y="536028"/>
                    </a:lnTo>
                    <a:lnTo>
                      <a:pt x="459554" y="421317"/>
                    </a:lnTo>
                    <a:lnTo>
                      <a:pt x="449641" y="378831"/>
                    </a:lnTo>
                    <a:lnTo>
                      <a:pt x="449641" y="378831"/>
                    </a:lnTo>
                    <a:lnTo>
                      <a:pt x="377415" y="394409"/>
                    </a:lnTo>
                    <a:lnTo>
                      <a:pt x="436896" y="244293"/>
                    </a:lnTo>
                    <a:lnTo>
                      <a:pt x="436896" y="244293"/>
                    </a:lnTo>
                    <a:lnTo>
                      <a:pt x="405739" y="123917"/>
                    </a:lnTo>
                    <a:lnTo>
                      <a:pt x="412820" y="10621"/>
                    </a:lnTo>
                    <a:lnTo>
                      <a:pt x="412820" y="10621"/>
                    </a:lnTo>
                    <a:lnTo>
                      <a:pt x="411404" y="10621"/>
                    </a:lnTo>
                    <a:lnTo>
                      <a:pt x="411404" y="10621"/>
                    </a:lnTo>
                    <a:lnTo>
                      <a:pt x="404323" y="123917"/>
                    </a:lnTo>
                    <a:lnTo>
                      <a:pt x="435479" y="244293"/>
                    </a:lnTo>
                    <a:lnTo>
                      <a:pt x="374583" y="395825"/>
                    </a:lnTo>
                    <a:lnTo>
                      <a:pt x="374583" y="395825"/>
                    </a:lnTo>
                    <a:lnTo>
                      <a:pt x="448225" y="380247"/>
                    </a:lnTo>
                    <a:lnTo>
                      <a:pt x="458138" y="419901"/>
                    </a:lnTo>
                    <a:lnTo>
                      <a:pt x="366086" y="530364"/>
                    </a:lnTo>
                    <a:lnTo>
                      <a:pt x="383080" y="401490"/>
                    </a:lnTo>
                    <a:lnTo>
                      <a:pt x="383080" y="401490"/>
                    </a:lnTo>
                    <a:lnTo>
                      <a:pt x="381664" y="401490"/>
                    </a:lnTo>
                    <a:lnTo>
                      <a:pt x="323600" y="585595"/>
                    </a:lnTo>
                    <a:lnTo>
                      <a:pt x="323600" y="587011"/>
                    </a:lnTo>
                    <a:lnTo>
                      <a:pt x="364669" y="537445"/>
                    </a:lnTo>
                    <a:lnTo>
                      <a:pt x="339178" y="738544"/>
                    </a:lnTo>
                    <a:lnTo>
                      <a:pt x="266953" y="766867"/>
                    </a:lnTo>
                    <a:lnTo>
                      <a:pt x="336345" y="584179"/>
                    </a:lnTo>
                    <a:lnTo>
                      <a:pt x="336345" y="582763"/>
                    </a:lnTo>
                    <a:lnTo>
                      <a:pt x="218802" y="693225"/>
                    </a:lnTo>
                    <a:lnTo>
                      <a:pt x="218802" y="693225"/>
                    </a:lnTo>
                    <a:lnTo>
                      <a:pt x="220218" y="694642"/>
                    </a:lnTo>
                    <a:lnTo>
                      <a:pt x="332097" y="589844"/>
                    </a:lnTo>
                    <a:lnTo>
                      <a:pt x="264120" y="766867"/>
                    </a:lnTo>
                    <a:lnTo>
                      <a:pt x="254207" y="772532"/>
                    </a:lnTo>
                    <a:close/>
                    <a:moveTo>
                      <a:pt x="20535" y="844758"/>
                    </a:moveTo>
                    <a:lnTo>
                      <a:pt x="189062" y="734295"/>
                    </a:lnTo>
                    <a:lnTo>
                      <a:pt x="252791" y="773948"/>
                    </a:lnTo>
                    <a:lnTo>
                      <a:pt x="114004" y="829180"/>
                    </a:lnTo>
                    <a:lnTo>
                      <a:pt x="20535" y="844758"/>
                    </a:lnTo>
                    <a:close/>
                    <a:moveTo>
                      <a:pt x="326433" y="578514"/>
                    </a:moveTo>
                    <a:lnTo>
                      <a:pt x="377415" y="415652"/>
                    </a:lnTo>
                    <a:lnTo>
                      <a:pt x="361838" y="536028"/>
                    </a:lnTo>
                    <a:lnTo>
                      <a:pt x="326433" y="578514"/>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46" name="Freeform: Shape 945">
                <a:extLst>
                  <a:ext uri="{FF2B5EF4-FFF2-40B4-BE49-F238E27FC236}">
                    <a16:creationId xmlns:a16="http://schemas.microsoft.com/office/drawing/2014/main" id="{2D56A69C-D910-4F59-B17D-6831886C64D8}"/>
                  </a:ext>
                </a:extLst>
              </p:cNvPr>
              <p:cNvSpPr/>
              <p:nvPr/>
            </p:nvSpPr>
            <p:spPr>
              <a:xfrm>
                <a:off x="10845197" y="5620555"/>
                <a:ext cx="325724" cy="509829"/>
              </a:xfrm>
              <a:custGeom>
                <a:avLst/>
                <a:gdLst>
                  <a:gd name="connsiteX0" fmla="*/ 320768 w 325724"/>
                  <a:gd name="connsiteY0" fmla="*/ 162154 h 509828"/>
                  <a:gd name="connsiteX1" fmla="*/ 227299 w 325724"/>
                  <a:gd name="connsiteY1" fmla="*/ 210304 h 509828"/>
                  <a:gd name="connsiteX2" fmla="*/ 200391 w 325724"/>
                  <a:gd name="connsiteY2" fmla="*/ 187645 h 509828"/>
                  <a:gd name="connsiteX3" fmla="*/ 319352 w 325724"/>
                  <a:gd name="connsiteY3" fmla="*/ 159321 h 509828"/>
                  <a:gd name="connsiteX4" fmla="*/ 319352 w 325724"/>
                  <a:gd name="connsiteY4" fmla="*/ 159321 h 509828"/>
                  <a:gd name="connsiteX5" fmla="*/ 184814 w 325724"/>
                  <a:gd name="connsiteY5" fmla="*/ 10621 h 509828"/>
                  <a:gd name="connsiteX6" fmla="*/ 184814 w 325724"/>
                  <a:gd name="connsiteY6" fmla="*/ 10621 h 509828"/>
                  <a:gd name="connsiteX7" fmla="*/ 183397 w 325724"/>
                  <a:gd name="connsiteY7" fmla="*/ 12038 h 509828"/>
                  <a:gd name="connsiteX8" fmla="*/ 316519 w 325724"/>
                  <a:gd name="connsiteY8" fmla="*/ 159321 h 509828"/>
                  <a:gd name="connsiteX9" fmla="*/ 197559 w 325724"/>
                  <a:gd name="connsiteY9" fmla="*/ 187645 h 509828"/>
                  <a:gd name="connsiteX10" fmla="*/ 197559 w 325724"/>
                  <a:gd name="connsiteY10" fmla="*/ 187645 h 509828"/>
                  <a:gd name="connsiteX11" fmla="*/ 225883 w 325724"/>
                  <a:gd name="connsiteY11" fmla="*/ 211721 h 509828"/>
                  <a:gd name="connsiteX12" fmla="*/ 145160 w 325724"/>
                  <a:gd name="connsiteY12" fmla="*/ 254206 h 509828"/>
                  <a:gd name="connsiteX13" fmla="*/ 143744 w 325724"/>
                  <a:gd name="connsiteY13" fmla="*/ 254206 h 509828"/>
                  <a:gd name="connsiteX14" fmla="*/ 152241 w 325724"/>
                  <a:gd name="connsiteY14" fmla="*/ 252790 h 509828"/>
                  <a:gd name="connsiteX15" fmla="*/ 81431 w 325724"/>
                  <a:gd name="connsiteY15" fmla="*/ 378831 h 509828"/>
                  <a:gd name="connsiteX16" fmla="*/ 58772 w 325724"/>
                  <a:gd name="connsiteY16" fmla="*/ 400074 h 509828"/>
                  <a:gd name="connsiteX17" fmla="*/ 58772 w 325724"/>
                  <a:gd name="connsiteY17" fmla="*/ 400074 h 509828"/>
                  <a:gd name="connsiteX18" fmla="*/ 60188 w 325724"/>
                  <a:gd name="connsiteY18" fmla="*/ 401490 h 509828"/>
                  <a:gd name="connsiteX19" fmla="*/ 75767 w 325724"/>
                  <a:gd name="connsiteY19" fmla="*/ 390160 h 509828"/>
                  <a:gd name="connsiteX20" fmla="*/ 10621 w 325724"/>
                  <a:gd name="connsiteY20" fmla="*/ 504872 h 509828"/>
                  <a:gd name="connsiteX21" fmla="*/ 10621 w 325724"/>
                  <a:gd name="connsiteY21" fmla="*/ 504872 h 509828"/>
                  <a:gd name="connsiteX22" fmla="*/ 12038 w 325724"/>
                  <a:gd name="connsiteY22" fmla="*/ 506288 h 509828"/>
                  <a:gd name="connsiteX23" fmla="*/ 80015 w 325724"/>
                  <a:gd name="connsiteY23" fmla="*/ 387328 h 509828"/>
                  <a:gd name="connsiteX24" fmla="*/ 159322 w 325724"/>
                  <a:gd name="connsiteY24" fmla="*/ 327848 h 509828"/>
                  <a:gd name="connsiteX25" fmla="*/ 162154 w 325724"/>
                  <a:gd name="connsiteY25" fmla="*/ 351924 h 509828"/>
                  <a:gd name="connsiteX26" fmla="*/ 162154 w 325724"/>
                  <a:gd name="connsiteY26" fmla="*/ 351924 h 509828"/>
                  <a:gd name="connsiteX27" fmla="*/ 264120 w 325724"/>
                  <a:gd name="connsiteY27" fmla="*/ 249958 h 509828"/>
                  <a:gd name="connsiteX28" fmla="*/ 264120 w 325724"/>
                  <a:gd name="connsiteY28" fmla="*/ 249958 h 509828"/>
                  <a:gd name="connsiteX29" fmla="*/ 262704 w 325724"/>
                  <a:gd name="connsiteY29" fmla="*/ 248541 h 509828"/>
                  <a:gd name="connsiteX30" fmla="*/ 160738 w 325724"/>
                  <a:gd name="connsiteY30" fmla="*/ 325016 h 509828"/>
                  <a:gd name="connsiteX31" fmla="*/ 159322 w 325724"/>
                  <a:gd name="connsiteY31" fmla="*/ 312270 h 509828"/>
                  <a:gd name="connsiteX32" fmla="*/ 231548 w 325724"/>
                  <a:gd name="connsiteY32" fmla="*/ 247125 h 509828"/>
                  <a:gd name="connsiteX33" fmla="*/ 262704 w 325724"/>
                  <a:gd name="connsiteY33" fmla="*/ 244293 h 509828"/>
                  <a:gd name="connsiteX34" fmla="*/ 262704 w 325724"/>
                  <a:gd name="connsiteY34" fmla="*/ 244293 h 509828"/>
                  <a:gd name="connsiteX35" fmla="*/ 248542 w 325724"/>
                  <a:gd name="connsiteY35" fmla="*/ 231547 h 509828"/>
                  <a:gd name="connsiteX36" fmla="*/ 320768 w 325724"/>
                  <a:gd name="connsiteY36" fmla="*/ 166402 h 509828"/>
                  <a:gd name="connsiteX37" fmla="*/ 320768 w 325724"/>
                  <a:gd name="connsiteY37" fmla="*/ 166402 h 509828"/>
                  <a:gd name="connsiteX38" fmla="*/ 320768 w 325724"/>
                  <a:gd name="connsiteY38" fmla="*/ 162154 h 509828"/>
                  <a:gd name="connsiteX39" fmla="*/ 320768 w 325724"/>
                  <a:gd name="connsiteY39" fmla="*/ 162154 h 509828"/>
                  <a:gd name="connsiteX40" fmla="*/ 159322 w 325724"/>
                  <a:gd name="connsiteY40" fmla="*/ 308022 h 509828"/>
                  <a:gd name="connsiteX41" fmla="*/ 152241 w 325724"/>
                  <a:gd name="connsiteY41" fmla="*/ 252790 h 509828"/>
                  <a:gd name="connsiteX42" fmla="*/ 152241 w 325724"/>
                  <a:gd name="connsiteY42" fmla="*/ 252790 h 509828"/>
                  <a:gd name="connsiteX43" fmla="*/ 227299 w 325724"/>
                  <a:gd name="connsiteY43" fmla="*/ 245709 h 509828"/>
                  <a:gd name="connsiteX44" fmla="*/ 159322 w 325724"/>
                  <a:gd name="connsiteY44" fmla="*/ 308022 h 509828"/>
                  <a:gd name="connsiteX45" fmla="*/ 228715 w 325724"/>
                  <a:gd name="connsiteY45" fmla="*/ 211721 h 509828"/>
                  <a:gd name="connsiteX46" fmla="*/ 313687 w 325724"/>
                  <a:gd name="connsiteY46" fmla="*/ 167819 h 509828"/>
                  <a:gd name="connsiteX47" fmla="*/ 247126 w 325724"/>
                  <a:gd name="connsiteY47" fmla="*/ 227298 h 509828"/>
                  <a:gd name="connsiteX48" fmla="*/ 228715 w 325724"/>
                  <a:gd name="connsiteY48" fmla="*/ 211721 h 509828"/>
                  <a:gd name="connsiteX49" fmla="*/ 258455 w 325724"/>
                  <a:gd name="connsiteY49" fmla="*/ 240045 h 509828"/>
                  <a:gd name="connsiteX50" fmla="*/ 234380 w 325724"/>
                  <a:gd name="connsiteY50" fmla="*/ 242877 h 509828"/>
                  <a:gd name="connsiteX51" fmla="*/ 247126 w 325724"/>
                  <a:gd name="connsiteY51" fmla="*/ 231547 h 509828"/>
                  <a:gd name="connsiteX52" fmla="*/ 258455 w 325724"/>
                  <a:gd name="connsiteY52" fmla="*/ 240045 h 509828"/>
                  <a:gd name="connsiteX53" fmla="*/ 153657 w 325724"/>
                  <a:gd name="connsiteY53" fmla="*/ 251374 h 509828"/>
                  <a:gd name="connsiteX54" fmla="*/ 227299 w 325724"/>
                  <a:gd name="connsiteY54" fmla="*/ 213137 h 509828"/>
                  <a:gd name="connsiteX55" fmla="*/ 245710 w 325724"/>
                  <a:gd name="connsiteY55" fmla="*/ 230131 h 509828"/>
                  <a:gd name="connsiteX56" fmla="*/ 230131 w 325724"/>
                  <a:gd name="connsiteY56" fmla="*/ 244293 h 509828"/>
                  <a:gd name="connsiteX57" fmla="*/ 153657 w 325724"/>
                  <a:gd name="connsiteY57" fmla="*/ 251374 h 509828"/>
                  <a:gd name="connsiteX58" fmla="*/ 87096 w 325724"/>
                  <a:gd name="connsiteY58" fmla="*/ 374583 h 509828"/>
                  <a:gd name="connsiteX59" fmla="*/ 152241 w 325724"/>
                  <a:gd name="connsiteY59" fmla="*/ 259871 h 509828"/>
                  <a:gd name="connsiteX60" fmla="*/ 157906 w 325724"/>
                  <a:gd name="connsiteY60" fmla="*/ 310854 h 509828"/>
                  <a:gd name="connsiteX61" fmla="*/ 87096 w 325724"/>
                  <a:gd name="connsiteY61" fmla="*/ 374583 h 509828"/>
                  <a:gd name="connsiteX62" fmla="*/ 157906 w 325724"/>
                  <a:gd name="connsiteY62" fmla="*/ 312270 h 509828"/>
                  <a:gd name="connsiteX63" fmla="*/ 159322 w 325724"/>
                  <a:gd name="connsiteY63" fmla="*/ 325016 h 509828"/>
                  <a:gd name="connsiteX64" fmla="*/ 82848 w 325724"/>
                  <a:gd name="connsiteY64" fmla="*/ 381664 h 509828"/>
                  <a:gd name="connsiteX65" fmla="*/ 84264 w 325724"/>
                  <a:gd name="connsiteY65" fmla="*/ 380247 h 509828"/>
                  <a:gd name="connsiteX66" fmla="*/ 157906 w 325724"/>
                  <a:gd name="connsiteY66" fmla="*/ 312270 h 509828"/>
                  <a:gd name="connsiteX67" fmla="*/ 72934 w 325724"/>
                  <a:gd name="connsiteY67" fmla="*/ 388745 h 509828"/>
                  <a:gd name="connsiteX68" fmla="*/ 80015 w 325724"/>
                  <a:gd name="connsiteY68" fmla="*/ 383079 h 509828"/>
                  <a:gd name="connsiteX69" fmla="*/ 78599 w 325724"/>
                  <a:gd name="connsiteY69" fmla="*/ 384496 h 509828"/>
                  <a:gd name="connsiteX70" fmla="*/ 72934 w 325724"/>
                  <a:gd name="connsiteY70" fmla="*/ 388745 h 509828"/>
                  <a:gd name="connsiteX71" fmla="*/ 163571 w 325724"/>
                  <a:gd name="connsiteY71" fmla="*/ 346259 h 509828"/>
                  <a:gd name="connsiteX72" fmla="*/ 160738 w 325724"/>
                  <a:gd name="connsiteY72" fmla="*/ 325016 h 509828"/>
                  <a:gd name="connsiteX73" fmla="*/ 252791 w 325724"/>
                  <a:gd name="connsiteY73" fmla="*/ 257039 h 509828"/>
                  <a:gd name="connsiteX74" fmla="*/ 163571 w 325724"/>
                  <a:gd name="connsiteY74" fmla="*/ 346259 h 50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25724" h="509828">
                    <a:moveTo>
                      <a:pt x="320768" y="162154"/>
                    </a:moveTo>
                    <a:lnTo>
                      <a:pt x="227299" y="210304"/>
                    </a:lnTo>
                    <a:lnTo>
                      <a:pt x="200391" y="187645"/>
                    </a:lnTo>
                    <a:lnTo>
                      <a:pt x="319352" y="159321"/>
                    </a:lnTo>
                    <a:lnTo>
                      <a:pt x="319352" y="159321"/>
                    </a:lnTo>
                    <a:lnTo>
                      <a:pt x="184814" y="10621"/>
                    </a:lnTo>
                    <a:lnTo>
                      <a:pt x="184814" y="10621"/>
                    </a:lnTo>
                    <a:lnTo>
                      <a:pt x="183397" y="12038"/>
                    </a:lnTo>
                    <a:lnTo>
                      <a:pt x="316519" y="159321"/>
                    </a:lnTo>
                    <a:lnTo>
                      <a:pt x="197559" y="187645"/>
                    </a:lnTo>
                    <a:lnTo>
                      <a:pt x="197559" y="187645"/>
                    </a:lnTo>
                    <a:lnTo>
                      <a:pt x="225883" y="211721"/>
                    </a:lnTo>
                    <a:lnTo>
                      <a:pt x="145160" y="254206"/>
                    </a:lnTo>
                    <a:lnTo>
                      <a:pt x="143744" y="254206"/>
                    </a:lnTo>
                    <a:lnTo>
                      <a:pt x="152241" y="252790"/>
                    </a:lnTo>
                    <a:lnTo>
                      <a:pt x="81431" y="378831"/>
                    </a:lnTo>
                    <a:lnTo>
                      <a:pt x="58772" y="400074"/>
                    </a:lnTo>
                    <a:lnTo>
                      <a:pt x="58772" y="400074"/>
                    </a:lnTo>
                    <a:lnTo>
                      <a:pt x="60188" y="401490"/>
                    </a:lnTo>
                    <a:lnTo>
                      <a:pt x="75767" y="390160"/>
                    </a:lnTo>
                    <a:lnTo>
                      <a:pt x="10621" y="504872"/>
                    </a:lnTo>
                    <a:lnTo>
                      <a:pt x="10621" y="504872"/>
                    </a:lnTo>
                    <a:lnTo>
                      <a:pt x="12038" y="506288"/>
                    </a:lnTo>
                    <a:lnTo>
                      <a:pt x="80015" y="387328"/>
                    </a:lnTo>
                    <a:lnTo>
                      <a:pt x="159322" y="327848"/>
                    </a:lnTo>
                    <a:lnTo>
                      <a:pt x="162154" y="351924"/>
                    </a:lnTo>
                    <a:lnTo>
                      <a:pt x="162154" y="351924"/>
                    </a:lnTo>
                    <a:lnTo>
                      <a:pt x="264120" y="249958"/>
                    </a:lnTo>
                    <a:lnTo>
                      <a:pt x="264120" y="249958"/>
                    </a:lnTo>
                    <a:lnTo>
                      <a:pt x="262704" y="248541"/>
                    </a:lnTo>
                    <a:lnTo>
                      <a:pt x="160738" y="325016"/>
                    </a:lnTo>
                    <a:lnTo>
                      <a:pt x="159322" y="312270"/>
                    </a:lnTo>
                    <a:lnTo>
                      <a:pt x="231548" y="247125"/>
                    </a:lnTo>
                    <a:lnTo>
                      <a:pt x="262704" y="244293"/>
                    </a:lnTo>
                    <a:lnTo>
                      <a:pt x="262704" y="244293"/>
                    </a:lnTo>
                    <a:lnTo>
                      <a:pt x="248542" y="231547"/>
                    </a:lnTo>
                    <a:lnTo>
                      <a:pt x="320768" y="166402"/>
                    </a:lnTo>
                    <a:lnTo>
                      <a:pt x="320768" y="166402"/>
                    </a:lnTo>
                    <a:lnTo>
                      <a:pt x="320768" y="162154"/>
                    </a:lnTo>
                    <a:lnTo>
                      <a:pt x="320768" y="162154"/>
                    </a:lnTo>
                    <a:close/>
                    <a:moveTo>
                      <a:pt x="159322" y="308022"/>
                    </a:moveTo>
                    <a:lnTo>
                      <a:pt x="152241" y="252790"/>
                    </a:lnTo>
                    <a:lnTo>
                      <a:pt x="152241" y="252790"/>
                    </a:lnTo>
                    <a:lnTo>
                      <a:pt x="227299" y="245709"/>
                    </a:lnTo>
                    <a:lnTo>
                      <a:pt x="159322" y="308022"/>
                    </a:lnTo>
                    <a:close/>
                    <a:moveTo>
                      <a:pt x="228715" y="211721"/>
                    </a:moveTo>
                    <a:lnTo>
                      <a:pt x="313687" y="167819"/>
                    </a:lnTo>
                    <a:lnTo>
                      <a:pt x="247126" y="227298"/>
                    </a:lnTo>
                    <a:lnTo>
                      <a:pt x="228715" y="211721"/>
                    </a:lnTo>
                    <a:close/>
                    <a:moveTo>
                      <a:pt x="258455" y="240045"/>
                    </a:moveTo>
                    <a:lnTo>
                      <a:pt x="234380" y="242877"/>
                    </a:lnTo>
                    <a:lnTo>
                      <a:pt x="247126" y="231547"/>
                    </a:lnTo>
                    <a:lnTo>
                      <a:pt x="258455" y="240045"/>
                    </a:lnTo>
                    <a:close/>
                    <a:moveTo>
                      <a:pt x="153657" y="251374"/>
                    </a:moveTo>
                    <a:lnTo>
                      <a:pt x="227299" y="213137"/>
                    </a:lnTo>
                    <a:lnTo>
                      <a:pt x="245710" y="230131"/>
                    </a:lnTo>
                    <a:lnTo>
                      <a:pt x="230131" y="244293"/>
                    </a:lnTo>
                    <a:lnTo>
                      <a:pt x="153657" y="251374"/>
                    </a:lnTo>
                    <a:close/>
                    <a:moveTo>
                      <a:pt x="87096" y="374583"/>
                    </a:moveTo>
                    <a:lnTo>
                      <a:pt x="152241" y="259871"/>
                    </a:lnTo>
                    <a:lnTo>
                      <a:pt x="157906" y="310854"/>
                    </a:lnTo>
                    <a:lnTo>
                      <a:pt x="87096" y="374583"/>
                    </a:lnTo>
                    <a:close/>
                    <a:moveTo>
                      <a:pt x="157906" y="312270"/>
                    </a:moveTo>
                    <a:lnTo>
                      <a:pt x="159322" y="325016"/>
                    </a:lnTo>
                    <a:lnTo>
                      <a:pt x="82848" y="381664"/>
                    </a:lnTo>
                    <a:lnTo>
                      <a:pt x="84264" y="380247"/>
                    </a:lnTo>
                    <a:lnTo>
                      <a:pt x="157906" y="312270"/>
                    </a:lnTo>
                    <a:close/>
                    <a:moveTo>
                      <a:pt x="72934" y="388745"/>
                    </a:moveTo>
                    <a:lnTo>
                      <a:pt x="80015" y="383079"/>
                    </a:lnTo>
                    <a:lnTo>
                      <a:pt x="78599" y="384496"/>
                    </a:lnTo>
                    <a:lnTo>
                      <a:pt x="72934" y="388745"/>
                    </a:lnTo>
                    <a:close/>
                    <a:moveTo>
                      <a:pt x="163571" y="346259"/>
                    </a:moveTo>
                    <a:lnTo>
                      <a:pt x="160738" y="325016"/>
                    </a:lnTo>
                    <a:lnTo>
                      <a:pt x="252791" y="257039"/>
                    </a:lnTo>
                    <a:lnTo>
                      <a:pt x="163571" y="346259"/>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47" name="Freeform: Shape 946">
                <a:extLst>
                  <a:ext uri="{FF2B5EF4-FFF2-40B4-BE49-F238E27FC236}">
                    <a16:creationId xmlns:a16="http://schemas.microsoft.com/office/drawing/2014/main" id="{3F2E9BDB-71D4-4623-9D56-B7DAF4449EF7}"/>
                  </a:ext>
                </a:extLst>
              </p:cNvPr>
              <p:cNvSpPr/>
              <p:nvPr/>
            </p:nvSpPr>
            <p:spPr>
              <a:xfrm>
                <a:off x="9366694" y="3593986"/>
                <a:ext cx="198267" cy="382372"/>
              </a:xfrm>
              <a:custGeom>
                <a:avLst/>
                <a:gdLst>
                  <a:gd name="connsiteX0" fmla="*/ 186229 w 198266"/>
                  <a:gd name="connsiteY0" fmla="*/ 373166 h 382371"/>
                  <a:gd name="connsiteX1" fmla="*/ 186229 w 198266"/>
                  <a:gd name="connsiteY1" fmla="*/ 373166 h 382371"/>
                  <a:gd name="connsiteX2" fmla="*/ 187645 w 198266"/>
                  <a:gd name="connsiteY2" fmla="*/ 373166 h 382371"/>
                  <a:gd name="connsiteX3" fmla="*/ 174899 w 198266"/>
                  <a:gd name="connsiteY3" fmla="*/ 200391 h 382371"/>
                  <a:gd name="connsiteX4" fmla="*/ 174899 w 198266"/>
                  <a:gd name="connsiteY4" fmla="*/ 200391 h 382371"/>
                  <a:gd name="connsiteX5" fmla="*/ 139495 w 198266"/>
                  <a:gd name="connsiteY5" fmla="*/ 207472 h 382371"/>
                  <a:gd name="connsiteX6" fmla="*/ 81431 w 198266"/>
                  <a:gd name="connsiteY6" fmla="*/ 10621 h 382371"/>
                  <a:gd name="connsiteX7" fmla="*/ 81431 w 198266"/>
                  <a:gd name="connsiteY7" fmla="*/ 10621 h 382371"/>
                  <a:gd name="connsiteX8" fmla="*/ 80014 w 198266"/>
                  <a:gd name="connsiteY8" fmla="*/ 10621 h 382371"/>
                  <a:gd name="connsiteX9" fmla="*/ 138079 w 198266"/>
                  <a:gd name="connsiteY9" fmla="*/ 207472 h 382371"/>
                  <a:gd name="connsiteX10" fmla="*/ 111171 w 198266"/>
                  <a:gd name="connsiteY10" fmla="*/ 213137 h 382371"/>
                  <a:gd name="connsiteX11" fmla="*/ 55940 w 198266"/>
                  <a:gd name="connsiteY11" fmla="*/ 123917 h 382371"/>
                  <a:gd name="connsiteX12" fmla="*/ 77183 w 198266"/>
                  <a:gd name="connsiteY12" fmla="*/ 12038 h 382371"/>
                  <a:gd name="connsiteX13" fmla="*/ 77183 w 198266"/>
                  <a:gd name="connsiteY13" fmla="*/ 12038 h 382371"/>
                  <a:gd name="connsiteX14" fmla="*/ 75766 w 198266"/>
                  <a:gd name="connsiteY14" fmla="*/ 12038 h 382371"/>
                  <a:gd name="connsiteX15" fmla="*/ 54523 w 198266"/>
                  <a:gd name="connsiteY15" fmla="*/ 125333 h 382371"/>
                  <a:gd name="connsiteX16" fmla="*/ 54523 w 198266"/>
                  <a:gd name="connsiteY16" fmla="*/ 125333 h 382371"/>
                  <a:gd name="connsiteX17" fmla="*/ 109755 w 198266"/>
                  <a:gd name="connsiteY17" fmla="*/ 214553 h 382371"/>
                  <a:gd name="connsiteX18" fmla="*/ 10621 w 198266"/>
                  <a:gd name="connsiteY18" fmla="*/ 234380 h 382371"/>
                  <a:gd name="connsiteX19" fmla="*/ 150824 w 198266"/>
                  <a:gd name="connsiteY19" fmla="*/ 278282 h 382371"/>
                  <a:gd name="connsiteX20" fmla="*/ 150824 w 198266"/>
                  <a:gd name="connsiteY20" fmla="*/ 278282 h 382371"/>
                  <a:gd name="connsiteX21" fmla="*/ 112587 w 198266"/>
                  <a:gd name="connsiteY21" fmla="*/ 215969 h 382371"/>
                  <a:gd name="connsiteX22" fmla="*/ 138079 w 198266"/>
                  <a:gd name="connsiteY22" fmla="*/ 210304 h 382371"/>
                  <a:gd name="connsiteX23" fmla="*/ 186229 w 198266"/>
                  <a:gd name="connsiteY23" fmla="*/ 373166 h 382371"/>
                  <a:gd name="connsiteX24" fmla="*/ 17702 w 198266"/>
                  <a:gd name="connsiteY24" fmla="*/ 234380 h 382371"/>
                  <a:gd name="connsiteX25" fmla="*/ 109755 w 198266"/>
                  <a:gd name="connsiteY25" fmla="*/ 215969 h 382371"/>
                  <a:gd name="connsiteX26" fmla="*/ 145160 w 198266"/>
                  <a:gd name="connsiteY26" fmla="*/ 274033 h 382371"/>
                  <a:gd name="connsiteX27" fmla="*/ 17702 w 198266"/>
                  <a:gd name="connsiteY27" fmla="*/ 234380 h 382371"/>
                  <a:gd name="connsiteX28" fmla="*/ 140911 w 198266"/>
                  <a:gd name="connsiteY28" fmla="*/ 210304 h 382371"/>
                  <a:gd name="connsiteX29" fmla="*/ 174899 w 198266"/>
                  <a:gd name="connsiteY29" fmla="*/ 203223 h 382371"/>
                  <a:gd name="connsiteX30" fmla="*/ 186229 w 198266"/>
                  <a:gd name="connsiteY30" fmla="*/ 363253 h 382371"/>
                  <a:gd name="connsiteX31" fmla="*/ 140911 w 198266"/>
                  <a:gd name="connsiteY31" fmla="*/ 210304 h 38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8266" h="382371">
                    <a:moveTo>
                      <a:pt x="186229" y="373166"/>
                    </a:moveTo>
                    <a:lnTo>
                      <a:pt x="186229" y="373166"/>
                    </a:lnTo>
                    <a:lnTo>
                      <a:pt x="187645" y="373166"/>
                    </a:lnTo>
                    <a:lnTo>
                      <a:pt x="174899" y="200391"/>
                    </a:lnTo>
                    <a:lnTo>
                      <a:pt x="174899" y="200391"/>
                    </a:lnTo>
                    <a:lnTo>
                      <a:pt x="139495" y="207472"/>
                    </a:lnTo>
                    <a:lnTo>
                      <a:pt x="81431" y="10621"/>
                    </a:lnTo>
                    <a:lnTo>
                      <a:pt x="81431" y="10621"/>
                    </a:lnTo>
                    <a:lnTo>
                      <a:pt x="80014" y="10621"/>
                    </a:lnTo>
                    <a:lnTo>
                      <a:pt x="138079" y="207472"/>
                    </a:lnTo>
                    <a:lnTo>
                      <a:pt x="111171" y="213137"/>
                    </a:lnTo>
                    <a:lnTo>
                      <a:pt x="55940" y="123917"/>
                    </a:lnTo>
                    <a:lnTo>
                      <a:pt x="77183" y="12038"/>
                    </a:lnTo>
                    <a:lnTo>
                      <a:pt x="77183" y="12038"/>
                    </a:lnTo>
                    <a:lnTo>
                      <a:pt x="75766" y="12038"/>
                    </a:lnTo>
                    <a:lnTo>
                      <a:pt x="54523" y="125333"/>
                    </a:lnTo>
                    <a:lnTo>
                      <a:pt x="54523" y="125333"/>
                    </a:lnTo>
                    <a:lnTo>
                      <a:pt x="109755" y="214553"/>
                    </a:lnTo>
                    <a:lnTo>
                      <a:pt x="10621" y="234380"/>
                    </a:lnTo>
                    <a:lnTo>
                      <a:pt x="150824" y="278282"/>
                    </a:lnTo>
                    <a:lnTo>
                      <a:pt x="150824" y="278282"/>
                    </a:lnTo>
                    <a:lnTo>
                      <a:pt x="112587" y="215969"/>
                    </a:lnTo>
                    <a:lnTo>
                      <a:pt x="138079" y="210304"/>
                    </a:lnTo>
                    <a:lnTo>
                      <a:pt x="186229" y="373166"/>
                    </a:lnTo>
                    <a:close/>
                    <a:moveTo>
                      <a:pt x="17702" y="234380"/>
                    </a:moveTo>
                    <a:lnTo>
                      <a:pt x="109755" y="215969"/>
                    </a:lnTo>
                    <a:lnTo>
                      <a:pt x="145160" y="274033"/>
                    </a:lnTo>
                    <a:lnTo>
                      <a:pt x="17702" y="234380"/>
                    </a:lnTo>
                    <a:close/>
                    <a:moveTo>
                      <a:pt x="140911" y="210304"/>
                    </a:moveTo>
                    <a:lnTo>
                      <a:pt x="174899" y="203223"/>
                    </a:lnTo>
                    <a:lnTo>
                      <a:pt x="186229" y="363253"/>
                    </a:lnTo>
                    <a:lnTo>
                      <a:pt x="140911" y="210304"/>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48" name="Freeform: Shape 947">
                <a:extLst>
                  <a:ext uri="{FF2B5EF4-FFF2-40B4-BE49-F238E27FC236}">
                    <a16:creationId xmlns:a16="http://schemas.microsoft.com/office/drawing/2014/main" id="{9D1B5D35-28B1-4D24-ADC5-30FADC402041}"/>
                  </a:ext>
                </a:extLst>
              </p:cNvPr>
              <p:cNvSpPr/>
              <p:nvPr/>
            </p:nvSpPr>
            <p:spPr>
              <a:xfrm>
                <a:off x="5528816" y="567586"/>
                <a:ext cx="5806385" cy="4036144"/>
              </a:xfrm>
              <a:custGeom>
                <a:avLst/>
                <a:gdLst>
                  <a:gd name="connsiteX0" fmla="*/ 5707959 w 5806384"/>
                  <a:gd name="connsiteY0" fmla="*/ 799440 h 4036143"/>
                  <a:gd name="connsiteX1" fmla="*/ 5707959 w 5806384"/>
                  <a:gd name="connsiteY1" fmla="*/ 799440 h 4036143"/>
                  <a:gd name="connsiteX2" fmla="*/ 5491282 w 5806384"/>
                  <a:gd name="connsiteY2" fmla="*/ 1038776 h 4036143"/>
                  <a:gd name="connsiteX3" fmla="*/ 5413392 w 5806384"/>
                  <a:gd name="connsiteY3" fmla="*/ 945307 h 4036143"/>
                  <a:gd name="connsiteX4" fmla="*/ 5413392 w 5806384"/>
                  <a:gd name="connsiteY4" fmla="*/ 945307 h 4036143"/>
                  <a:gd name="connsiteX5" fmla="*/ 5358160 w 5806384"/>
                  <a:gd name="connsiteY5" fmla="*/ 1028863 h 4036143"/>
                  <a:gd name="connsiteX6" fmla="*/ 5274605 w 5806384"/>
                  <a:gd name="connsiteY6" fmla="*/ 980712 h 4036143"/>
                  <a:gd name="connsiteX7" fmla="*/ 5369489 w 5806384"/>
                  <a:gd name="connsiteY7" fmla="*/ 841925 h 4036143"/>
                  <a:gd name="connsiteX8" fmla="*/ 5557843 w 5806384"/>
                  <a:gd name="connsiteY8" fmla="*/ 822099 h 4036143"/>
                  <a:gd name="connsiteX9" fmla="*/ 5557843 w 5806384"/>
                  <a:gd name="connsiteY9" fmla="*/ 822099 h 4036143"/>
                  <a:gd name="connsiteX10" fmla="*/ 5471455 w 5806384"/>
                  <a:gd name="connsiteY10" fmla="*/ 690393 h 4036143"/>
                  <a:gd name="connsiteX11" fmla="*/ 5471455 w 5806384"/>
                  <a:gd name="connsiteY11" fmla="*/ 690393 h 4036143"/>
                  <a:gd name="connsiteX12" fmla="*/ 5368073 w 5806384"/>
                  <a:gd name="connsiteY12" fmla="*/ 840509 h 4036143"/>
                  <a:gd name="connsiteX13" fmla="*/ 5124488 w 5806384"/>
                  <a:gd name="connsiteY13" fmla="*/ 866001 h 4036143"/>
                  <a:gd name="connsiteX14" fmla="*/ 5189634 w 5806384"/>
                  <a:gd name="connsiteY14" fmla="*/ 820683 h 4036143"/>
                  <a:gd name="connsiteX15" fmla="*/ 4947464 w 5806384"/>
                  <a:gd name="connsiteY15" fmla="*/ 795191 h 4036143"/>
                  <a:gd name="connsiteX16" fmla="*/ 4732203 w 5806384"/>
                  <a:gd name="connsiteY16" fmla="*/ 673399 h 4036143"/>
                  <a:gd name="connsiteX17" fmla="*/ 4732203 w 5806384"/>
                  <a:gd name="connsiteY17" fmla="*/ 673399 h 4036143"/>
                  <a:gd name="connsiteX18" fmla="*/ 4652897 w 5806384"/>
                  <a:gd name="connsiteY18" fmla="*/ 800856 h 4036143"/>
                  <a:gd name="connsiteX19" fmla="*/ 4393734 w 5806384"/>
                  <a:gd name="connsiteY19" fmla="*/ 613919 h 4036143"/>
                  <a:gd name="connsiteX20" fmla="*/ 4393734 w 5806384"/>
                  <a:gd name="connsiteY20" fmla="*/ 613919 h 4036143"/>
                  <a:gd name="connsiteX21" fmla="*/ 4410728 w 5806384"/>
                  <a:gd name="connsiteY21" fmla="*/ 748457 h 4036143"/>
                  <a:gd name="connsiteX22" fmla="*/ 4273358 w 5806384"/>
                  <a:gd name="connsiteY22" fmla="*/ 611086 h 4036143"/>
                  <a:gd name="connsiteX23" fmla="*/ 4273358 w 5806384"/>
                  <a:gd name="connsiteY23" fmla="*/ 611086 h 4036143"/>
                  <a:gd name="connsiteX24" fmla="*/ 3893818 w 5806384"/>
                  <a:gd name="connsiteY24" fmla="*/ 545942 h 4036143"/>
                  <a:gd name="connsiteX25" fmla="*/ 3893818 w 5806384"/>
                  <a:gd name="connsiteY25" fmla="*/ 545942 h 4036143"/>
                  <a:gd name="connsiteX26" fmla="*/ 3593586 w 5806384"/>
                  <a:gd name="connsiteY26" fmla="*/ 928313 h 4036143"/>
                  <a:gd name="connsiteX27" fmla="*/ 3593586 w 5806384"/>
                  <a:gd name="connsiteY27" fmla="*/ 929729 h 4036143"/>
                  <a:gd name="connsiteX28" fmla="*/ 3960379 w 5806384"/>
                  <a:gd name="connsiteY28" fmla="*/ 720133 h 4036143"/>
                  <a:gd name="connsiteX29" fmla="*/ 4039686 w 5806384"/>
                  <a:gd name="connsiteY29" fmla="*/ 882995 h 4036143"/>
                  <a:gd name="connsiteX30" fmla="*/ 3978790 w 5806384"/>
                  <a:gd name="connsiteY30" fmla="*/ 921232 h 4036143"/>
                  <a:gd name="connsiteX31" fmla="*/ 3449134 w 5806384"/>
                  <a:gd name="connsiteY31" fmla="*/ 933978 h 4036143"/>
                  <a:gd name="connsiteX32" fmla="*/ 3174393 w 5806384"/>
                  <a:gd name="connsiteY32" fmla="*/ 623832 h 4036143"/>
                  <a:gd name="connsiteX33" fmla="*/ 3177225 w 5806384"/>
                  <a:gd name="connsiteY33" fmla="*/ 608254 h 4036143"/>
                  <a:gd name="connsiteX34" fmla="*/ 3454799 w 5806384"/>
                  <a:gd name="connsiteY34" fmla="*/ 734295 h 4036143"/>
                  <a:gd name="connsiteX35" fmla="*/ 3454799 w 5806384"/>
                  <a:gd name="connsiteY35" fmla="*/ 734295 h 4036143"/>
                  <a:gd name="connsiteX36" fmla="*/ 3529857 w 5806384"/>
                  <a:gd name="connsiteY36" fmla="*/ 350507 h 4036143"/>
                  <a:gd name="connsiteX37" fmla="*/ 3529857 w 5806384"/>
                  <a:gd name="connsiteY37" fmla="*/ 350507 h 4036143"/>
                  <a:gd name="connsiteX38" fmla="*/ 3402400 w 5806384"/>
                  <a:gd name="connsiteY38" fmla="*/ 91344 h 4036143"/>
                  <a:gd name="connsiteX39" fmla="*/ 3402400 w 5806384"/>
                  <a:gd name="connsiteY39" fmla="*/ 91344 h 4036143"/>
                  <a:gd name="connsiteX40" fmla="*/ 3146069 w 5806384"/>
                  <a:gd name="connsiteY40" fmla="*/ 10621 h 4036143"/>
                  <a:gd name="connsiteX41" fmla="*/ 3146069 w 5806384"/>
                  <a:gd name="connsiteY41" fmla="*/ 10621 h 4036143"/>
                  <a:gd name="connsiteX42" fmla="*/ 3229624 w 5806384"/>
                  <a:gd name="connsiteY42" fmla="*/ 139495 h 4036143"/>
                  <a:gd name="connsiteX43" fmla="*/ 3310347 w 5806384"/>
                  <a:gd name="connsiteY43" fmla="*/ 340594 h 4036143"/>
                  <a:gd name="connsiteX44" fmla="*/ 3214047 w 5806384"/>
                  <a:gd name="connsiteY44" fmla="*/ 401490 h 4036143"/>
                  <a:gd name="connsiteX45" fmla="*/ 3219711 w 5806384"/>
                  <a:gd name="connsiteY45" fmla="*/ 367502 h 4036143"/>
                  <a:gd name="connsiteX46" fmla="*/ 3219711 w 5806384"/>
                  <a:gd name="connsiteY46" fmla="*/ 367502 h 4036143"/>
                  <a:gd name="connsiteX47" fmla="*/ 3048352 w 5806384"/>
                  <a:gd name="connsiteY47" fmla="*/ 456722 h 4036143"/>
                  <a:gd name="connsiteX48" fmla="*/ 2974710 w 5806384"/>
                  <a:gd name="connsiteY48" fmla="*/ 347675 h 4036143"/>
                  <a:gd name="connsiteX49" fmla="*/ 2974710 w 5806384"/>
                  <a:gd name="connsiteY49" fmla="*/ 347675 h 4036143"/>
                  <a:gd name="connsiteX50" fmla="*/ 2902485 w 5806384"/>
                  <a:gd name="connsiteY50" fmla="*/ 537444 h 4036143"/>
                  <a:gd name="connsiteX51" fmla="*/ 2902485 w 5806384"/>
                  <a:gd name="connsiteY51" fmla="*/ 537444 h 4036143"/>
                  <a:gd name="connsiteX52" fmla="*/ 3049768 w 5806384"/>
                  <a:gd name="connsiteY52" fmla="*/ 459554 h 4036143"/>
                  <a:gd name="connsiteX53" fmla="*/ 3071011 w 5806384"/>
                  <a:gd name="connsiteY53" fmla="*/ 492126 h 4036143"/>
                  <a:gd name="connsiteX54" fmla="*/ 2820345 w 5806384"/>
                  <a:gd name="connsiteY54" fmla="*/ 650740 h 4036143"/>
                  <a:gd name="connsiteX55" fmla="*/ 2801934 w 5806384"/>
                  <a:gd name="connsiteY55" fmla="*/ 625248 h 4036143"/>
                  <a:gd name="connsiteX56" fmla="*/ 2801934 w 5806384"/>
                  <a:gd name="connsiteY56" fmla="*/ 625248 h 4036143"/>
                  <a:gd name="connsiteX57" fmla="*/ 2521529 w 5806384"/>
                  <a:gd name="connsiteY57" fmla="*/ 840509 h 4036143"/>
                  <a:gd name="connsiteX58" fmla="*/ 2521529 w 5806384"/>
                  <a:gd name="connsiteY58" fmla="*/ 840509 h 4036143"/>
                  <a:gd name="connsiteX59" fmla="*/ 2522945 w 5806384"/>
                  <a:gd name="connsiteY59" fmla="*/ 841925 h 4036143"/>
                  <a:gd name="connsiteX60" fmla="*/ 2522945 w 5806384"/>
                  <a:gd name="connsiteY60" fmla="*/ 841925 h 4036143"/>
                  <a:gd name="connsiteX61" fmla="*/ 2820345 w 5806384"/>
                  <a:gd name="connsiteY61" fmla="*/ 653572 h 4036143"/>
                  <a:gd name="connsiteX62" fmla="*/ 2991704 w 5806384"/>
                  <a:gd name="connsiteY62" fmla="*/ 894324 h 4036143"/>
                  <a:gd name="connsiteX63" fmla="*/ 2743871 w 5806384"/>
                  <a:gd name="connsiteY63" fmla="*/ 945307 h 4036143"/>
                  <a:gd name="connsiteX64" fmla="*/ 2539939 w 5806384"/>
                  <a:gd name="connsiteY64" fmla="*/ 908486 h 4036143"/>
                  <a:gd name="connsiteX65" fmla="*/ 2129244 w 5806384"/>
                  <a:gd name="connsiteY65" fmla="*/ 690393 h 4036143"/>
                  <a:gd name="connsiteX66" fmla="*/ 2129244 w 5806384"/>
                  <a:gd name="connsiteY66" fmla="*/ 690393 h 4036143"/>
                  <a:gd name="connsiteX67" fmla="*/ 1921064 w 5806384"/>
                  <a:gd name="connsiteY67" fmla="*/ 796607 h 4036143"/>
                  <a:gd name="connsiteX68" fmla="*/ 1921064 w 5806384"/>
                  <a:gd name="connsiteY68" fmla="*/ 796607 h 4036143"/>
                  <a:gd name="connsiteX69" fmla="*/ 2539939 w 5806384"/>
                  <a:gd name="connsiteY69" fmla="*/ 909903 h 4036143"/>
                  <a:gd name="connsiteX70" fmla="*/ 3069595 w 5806384"/>
                  <a:gd name="connsiteY70" fmla="*/ 1191725 h 4036143"/>
                  <a:gd name="connsiteX71" fmla="*/ 3068178 w 5806384"/>
                  <a:gd name="connsiteY71" fmla="*/ 1195973 h 4036143"/>
                  <a:gd name="connsiteX72" fmla="*/ 3046935 w 5806384"/>
                  <a:gd name="connsiteY72" fmla="*/ 1180395 h 4036143"/>
                  <a:gd name="connsiteX73" fmla="*/ 3046935 w 5806384"/>
                  <a:gd name="connsiteY73" fmla="*/ 1180395 h 4036143"/>
                  <a:gd name="connsiteX74" fmla="*/ 2548436 w 5806384"/>
                  <a:gd name="connsiteY74" fmla="*/ 1388575 h 4036143"/>
                  <a:gd name="connsiteX75" fmla="*/ 2415314 w 5806384"/>
                  <a:gd name="connsiteY75" fmla="*/ 1398488 h 4036143"/>
                  <a:gd name="connsiteX76" fmla="*/ 2231209 w 5806384"/>
                  <a:gd name="connsiteY76" fmla="*/ 1225713 h 4036143"/>
                  <a:gd name="connsiteX77" fmla="*/ 2231209 w 5806384"/>
                  <a:gd name="connsiteY77" fmla="*/ 1225713 h 4036143"/>
                  <a:gd name="connsiteX78" fmla="*/ 2236874 w 5806384"/>
                  <a:gd name="connsiteY78" fmla="*/ 1414067 h 4036143"/>
                  <a:gd name="connsiteX79" fmla="*/ 2115082 w 5806384"/>
                  <a:gd name="connsiteY79" fmla="*/ 1423980 h 4036143"/>
                  <a:gd name="connsiteX80" fmla="*/ 2004619 w 5806384"/>
                  <a:gd name="connsiteY80" fmla="*/ 1286609 h 4036143"/>
                  <a:gd name="connsiteX81" fmla="*/ 2265198 w 5806384"/>
                  <a:gd name="connsiteY81" fmla="*/ 1167649 h 4036143"/>
                  <a:gd name="connsiteX82" fmla="*/ 2266614 w 5806384"/>
                  <a:gd name="connsiteY82" fmla="*/ 1167649 h 4036143"/>
                  <a:gd name="connsiteX83" fmla="*/ 2024445 w 5806384"/>
                  <a:gd name="connsiteY83" fmla="*/ 1154904 h 4036143"/>
                  <a:gd name="connsiteX84" fmla="*/ 2024445 w 5806384"/>
                  <a:gd name="connsiteY84" fmla="*/ 1154904 h 4036143"/>
                  <a:gd name="connsiteX85" fmla="*/ 1962133 w 5806384"/>
                  <a:gd name="connsiteY85" fmla="*/ 1232794 h 4036143"/>
                  <a:gd name="connsiteX86" fmla="*/ 1923896 w 5806384"/>
                  <a:gd name="connsiteY86" fmla="*/ 1186060 h 4036143"/>
                  <a:gd name="connsiteX87" fmla="*/ 2103752 w 5806384"/>
                  <a:gd name="connsiteY87" fmla="*/ 907070 h 4036143"/>
                  <a:gd name="connsiteX88" fmla="*/ 2103752 w 5806384"/>
                  <a:gd name="connsiteY88" fmla="*/ 907070 h 4036143"/>
                  <a:gd name="connsiteX89" fmla="*/ 1813433 w 5806384"/>
                  <a:gd name="connsiteY89" fmla="*/ 1050106 h 4036143"/>
                  <a:gd name="connsiteX90" fmla="*/ 1766699 w 5806384"/>
                  <a:gd name="connsiteY90" fmla="*/ 990626 h 4036143"/>
                  <a:gd name="connsiteX91" fmla="*/ 1766699 w 5806384"/>
                  <a:gd name="connsiteY91" fmla="*/ 990626 h 4036143"/>
                  <a:gd name="connsiteX92" fmla="*/ 1751121 w 5806384"/>
                  <a:gd name="connsiteY92" fmla="*/ 1081262 h 4036143"/>
                  <a:gd name="connsiteX93" fmla="*/ 1589675 w 5806384"/>
                  <a:gd name="connsiteY93" fmla="*/ 1161985 h 4036143"/>
                  <a:gd name="connsiteX94" fmla="*/ 1710051 w 5806384"/>
                  <a:gd name="connsiteY94" fmla="*/ 898573 h 4036143"/>
                  <a:gd name="connsiteX95" fmla="*/ 1768115 w 5806384"/>
                  <a:gd name="connsiteY95" fmla="*/ 979296 h 4036143"/>
                  <a:gd name="connsiteX96" fmla="*/ 1768115 w 5806384"/>
                  <a:gd name="connsiteY96" fmla="*/ 979296 h 4036143"/>
                  <a:gd name="connsiteX97" fmla="*/ 1756785 w 5806384"/>
                  <a:gd name="connsiteY97" fmla="*/ 792359 h 4036143"/>
                  <a:gd name="connsiteX98" fmla="*/ 1756785 w 5806384"/>
                  <a:gd name="connsiteY98" fmla="*/ 790943 h 4036143"/>
                  <a:gd name="connsiteX99" fmla="*/ 1710051 w 5806384"/>
                  <a:gd name="connsiteY99" fmla="*/ 894324 h 4036143"/>
                  <a:gd name="connsiteX100" fmla="*/ 1626496 w 5806384"/>
                  <a:gd name="connsiteY100" fmla="*/ 776781 h 4036143"/>
                  <a:gd name="connsiteX101" fmla="*/ 1626496 w 5806384"/>
                  <a:gd name="connsiteY101" fmla="*/ 776781 h 4036143"/>
                  <a:gd name="connsiteX102" fmla="*/ 1507536 w 5806384"/>
                  <a:gd name="connsiteY102" fmla="*/ 949556 h 4036143"/>
                  <a:gd name="connsiteX103" fmla="*/ 1282361 w 5806384"/>
                  <a:gd name="connsiteY103" fmla="*/ 1034527 h 4036143"/>
                  <a:gd name="connsiteX104" fmla="*/ 1273864 w 5806384"/>
                  <a:gd name="connsiteY104" fmla="*/ 1030279 h 4036143"/>
                  <a:gd name="connsiteX105" fmla="*/ 1152071 w 5806384"/>
                  <a:gd name="connsiteY105" fmla="*/ 830596 h 4036143"/>
                  <a:gd name="connsiteX106" fmla="*/ 1152071 w 5806384"/>
                  <a:gd name="connsiteY106" fmla="*/ 830596 h 4036143"/>
                  <a:gd name="connsiteX107" fmla="*/ 1112418 w 5806384"/>
                  <a:gd name="connsiteY107" fmla="*/ 943891 h 4036143"/>
                  <a:gd name="connsiteX108" fmla="*/ 1094008 w 5806384"/>
                  <a:gd name="connsiteY108" fmla="*/ 933978 h 4036143"/>
                  <a:gd name="connsiteX109" fmla="*/ 1064268 w 5806384"/>
                  <a:gd name="connsiteY109" fmla="*/ 881579 h 4036143"/>
                  <a:gd name="connsiteX110" fmla="*/ 1106754 w 5806384"/>
                  <a:gd name="connsiteY110" fmla="*/ 816434 h 4036143"/>
                  <a:gd name="connsiteX111" fmla="*/ 1432478 w 5806384"/>
                  <a:gd name="connsiteY111" fmla="*/ 841925 h 4036143"/>
                  <a:gd name="connsiteX112" fmla="*/ 1432478 w 5806384"/>
                  <a:gd name="connsiteY112" fmla="*/ 841925 h 4036143"/>
                  <a:gd name="connsiteX113" fmla="*/ 1432478 w 5806384"/>
                  <a:gd name="connsiteY113" fmla="*/ 840509 h 4036143"/>
                  <a:gd name="connsiteX114" fmla="*/ 1181812 w 5806384"/>
                  <a:gd name="connsiteY114" fmla="*/ 783862 h 4036143"/>
                  <a:gd name="connsiteX115" fmla="*/ 1357419 w 5806384"/>
                  <a:gd name="connsiteY115" fmla="*/ 717301 h 4036143"/>
                  <a:gd name="connsiteX116" fmla="*/ 1358835 w 5806384"/>
                  <a:gd name="connsiteY116" fmla="*/ 717301 h 4036143"/>
                  <a:gd name="connsiteX117" fmla="*/ 1136494 w 5806384"/>
                  <a:gd name="connsiteY117" fmla="*/ 739960 h 4036143"/>
                  <a:gd name="connsiteX118" fmla="*/ 1116667 w 5806384"/>
                  <a:gd name="connsiteY118" fmla="*/ 615335 h 4036143"/>
                  <a:gd name="connsiteX119" fmla="*/ 1116667 w 5806384"/>
                  <a:gd name="connsiteY119" fmla="*/ 615335 h 4036143"/>
                  <a:gd name="connsiteX120" fmla="*/ 1023198 w 5806384"/>
                  <a:gd name="connsiteY120" fmla="*/ 713052 h 4036143"/>
                  <a:gd name="connsiteX121" fmla="*/ 952389 w 5806384"/>
                  <a:gd name="connsiteY121" fmla="*/ 670566 h 4036143"/>
                  <a:gd name="connsiteX122" fmla="*/ 1109586 w 5806384"/>
                  <a:gd name="connsiteY122" fmla="*/ 613919 h 4036143"/>
                  <a:gd name="connsiteX123" fmla="*/ 1109586 w 5806384"/>
                  <a:gd name="connsiteY123" fmla="*/ 613919 h 4036143"/>
                  <a:gd name="connsiteX124" fmla="*/ 1109586 w 5806384"/>
                  <a:gd name="connsiteY124" fmla="*/ 612503 h 4036143"/>
                  <a:gd name="connsiteX125" fmla="*/ 949556 w 5806384"/>
                  <a:gd name="connsiteY125" fmla="*/ 670566 h 4036143"/>
                  <a:gd name="connsiteX126" fmla="*/ 949556 w 5806384"/>
                  <a:gd name="connsiteY126" fmla="*/ 670566 h 4036143"/>
                  <a:gd name="connsiteX127" fmla="*/ 1023198 w 5806384"/>
                  <a:gd name="connsiteY127" fmla="*/ 714468 h 4036143"/>
                  <a:gd name="connsiteX128" fmla="*/ 990626 w 5806384"/>
                  <a:gd name="connsiteY128" fmla="*/ 748457 h 4036143"/>
                  <a:gd name="connsiteX129" fmla="*/ 953805 w 5806384"/>
                  <a:gd name="connsiteY129" fmla="*/ 683312 h 4036143"/>
                  <a:gd name="connsiteX130" fmla="*/ 953805 w 5806384"/>
                  <a:gd name="connsiteY130" fmla="*/ 683312 h 4036143"/>
                  <a:gd name="connsiteX131" fmla="*/ 766868 w 5806384"/>
                  <a:gd name="connsiteY131" fmla="*/ 870249 h 4036143"/>
                  <a:gd name="connsiteX132" fmla="*/ 751289 w 5806384"/>
                  <a:gd name="connsiteY132" fmla="*/ 857504 h 4036143"/>
                  <a:gd name="connsiteX133" fmla="*/ 751289 w 5806384"/>
                  <a:gd name="connsiteY133" fmla="*/ 857504 h 4036143"/>
                  <a:gd name="connsiteX134" fmla="*/ 752706 w 5806384"/>
                  <a:gd name="connsiteY134" fmla="*/ 885827 h 4036143"/>
                  <a:gd name="connsiteX135" fmla="*/ 619584 w 5806384"/>
                  <a:gd name="connsiteY135" fmla="*/ 1018949 h 4036143"/>
                  <a:gd name="connsiteX136" fmla="*/ 438311 w 5806384"/>
                  <a:gd name="connsiteY136" fmla="*/ 1105337 h 4036143"/>
                  <a:gd name="connsiteX137" fmla="*/ 438311 w 5806384"/>
                  <a:gd name="connsiteY137" fmla="*/ 1105337 h 4036143"/>
                  <a:gd name="connsiteX138" fmla="*/ 555855 w 5806384"/>
                  <a:gd name="connsiteY138" fmla="*/ 1198806 h 4036143"/>
                  <a:gd name="connsiteX139" fmla="*/ 451057 w 5806384"/>
                  <a:gd name="connsiteY139" fmla="*/ 1275280 h 4036143"/>
                  <a:gd name="connsiteX140" fmla="*/ 451057 w 5806384"/>
                  <a:gd name="connsiteY140" fmla="*/ 1275280 h 4036143"/>
                  <a:gd name="connsiteX141" fmla="*/ 452473 w 5806384"/>
                  <a:gd name="connsiteY141" fmla="*/ 1276696 h 4036143"/>
                  <a:gd name="connsiteX142" fmla="*/ 574265 w 5806384"/>
                  <a:gd name="connsiteY142" fmla="*/ 1212967 h 4036143"/>
                  <a:gd name="connsiteX143" fmla="*/ 575682 w 5806384"/>
                  <a:gd name="connsiteY143" fmla="*/ 1212967 h 4036143"/>
                  <a:gd name="connsiteX144" fmla="*/ 570017 w 5806384"/>
                  <a:gd name="connsiteY144" fmla="*/ 1229962 h 4036143"/>
                  <a:gd name="connsiteX145" fmla="*/ 570017 w 5806384"/>
                  <a:gd name="connsiteY145" fmla="*/ 1229962 h 4036143"/>
                  <a:gd name="connsiteX146" fmla="*/ 571433 w 5806384"/>
                  <a:gd name="connsiteY146" fmla="*/ 1229962 h 4036143"/>
                  <a:gd name="connsiteX147" fmla="*/ 571433 w 5806384"/>
                  <a:gd name="connsiteY147" fmla="*/ 1229962 h 4036143"/>
                  <a:gd name="connsiteX148" fmla="*/ 578514 w 5806384"/>
                  <a:gd name="connsiteY148" fmla="*/ 1214384 h 4036143"/>
                  <a:gd name="connsiteX149" fmla="*/ 693225 w 5806384"/>
                  <a:gd name="connsiteY149" fmla="*/ 1305020 h 4036143"/>
                  <a:gd name="connsiteX150" fmla="*/ 681896 w 5806384"/>
                  <a:gd name="connsiteY150" fmla="*/ 1152071 h 4036143"/>
                  <a:gd name="connsiteX151" fmla="*/ 681896 w 5806384"/>
                  <a:gd name="connsiteY151" fmla="*/ 1152071 h 4036143"/>
                  <a:gd name="connsiteX152" fmla="*/ 584179 w 5806384"/>
                  <a:gd name="connsiteY152" fmla="*/ 1203054 h 4036143"/>
                  <a:gd name="connsiteX153" fmla="*/ 602589 w 5806384"/>
                  <a:gd name="connsiteY153" fmla="*/ 1166233 h 4036143"/>
                  <a:gd name="connsiteX154" fmla="*/ 684728 w 5806384"/>
                  <a:gd name="connsiteY154" fmla="*/ 1106753 h 4036143"/>
                  <a:gd name="connsiteX155" fmla="*/ 772532 w 5806384"/>
                  <a:gd name="connsiteY155" fmla="*/ 1091175 h 4036143"/>
                  <a:gd name="connsiteX156" fmla="*/ 772532 w 5806384"/>
                  <a:gd name="connsiteY156" fmla="*/ 1091175 h 4036143"/>
                  <a:gd name="connsiteX157" fmla="*/ 769700 w 5806384"/>
                  <a:gd name="connsiteY157" fmla="*/ 1045857 h 4036143"/>
                  <a:gd name="connsiteX158" fmla="*/ 884411 w 5806384"/>
                  <a:gd name="connsiteY158" fmla="*/ 963718 h 4036143"/>
                  <a:gd name="connsiteX159" fmla="*/ 884411 w 5806384"/>
                  <a:gd name="connsiteY159" fmla="*/ 963718 h 4036143"/>
                  <a:gd name="connsiteX160" fmla="*/ 832012 w 5806384"/>
                  <a:gd name="connsiteY160" fmla="*/ 921232 h 4036143"/>
                  <a:gd name="connsiteX161" fmla="*/ 993458 w 5806384"/>
                  <a:gd name="connsiteY161" fmla="*/ 751289 h 4036143"/>
                  <a:gd name="connsiteX162" fmla="*/ 1026030 w 5806384"/>
                  <a:gd name="connsiteY162" fmla="*/ 807937 h 4036143"/>
                  <a:gd name="connsiteX163" fmla="*/ 979296 w 5806384"/>
                  <a:gd name="connsiteY163" fmla="*/ 803688 h 4036143"/>
                  <a:gd name="connsiteX164" fmla="*/ 979296 w 5806384"/>
                  <a:gd name="connsiteY164" fmla="*/ 803688 h 4036143"/>
                  <a:gd name="connsiteX165" fmla="*/ 1030279 w 5806384"/>
                  <a:gd name="connsiteY165" fmla="*/ 898573 h 4036143"/>
                  <a:gd name="connsiteX166" fmla="*/ 1030279 w 5806384"/>
                  <a:gd name="connsiteY166" fmla="*/ 898573 h 4036143"/>
                  <a:gd name="connsiteX167" fmla="*/ 1050106 w 5806384"/>
                  <a:gd name="connsiteY167" fmla="*/ 909903 h 4036143"/>
                  <a:gd name="connsiteX168" fmla="*/ 949556 w 5806384"/>
                  <a:gd name="connsiteY168" fmla="*/ 1065684 h 4036143"/>
                  <a:gd name="connsiteX169" fmla="*/ 949556 w 5806384"/>
                  <a:gd name="connsiteY169" fmla="*/ 1065684 h 4036143"/>
                  <a:gd name="connsiteX170" fmla="*/ 1052938 w 5806384"/>
                  <a:gd name="connsiteY170" fmla="*/ 1140742 h 4036143"/>
                  <a:gd name="connsiteX171" fmla="*/ 1052938 w 5806384"/>
                  <a:gd name="connsiteY171" fmla="*/ 1140742 h 4036143"/>
                  <a:gd name="connsiteX172" fmla="*/ 1113834 w 5806384"/>
                  <a:gd name="connsiteY172" fmla="*/ 963718 h 4036143"/>
                  <a:gd name="connsiteX173" fmla="*/ 1136494 w 5806384"/>
                  <a:gd name="connsiteY173" fmla="*/ 1003371 h 4036143"/>
                  <a:gd name="connsiteX174" fmla="*/ 1177563 w 5806384"/>
                  <a:gd name="connsiteY174" fmla="*/ 1469298 h 4036143"/>
                  <a:gd name="connsiteX175" fmla="*/ 1164817 w 5806384"/>
                  <a:gd name="connsiteY175" fmla="*/ 1514616 h 4036143"/>
                  <a:gd name="connsiteX176" fmla="*/ 1164817 w 5806384"/>
                  <a:gd name="connsiteY176" fmla="*/ 1514616 h 4036143"/>
                  <a:gd name="connsiteX177" fmla="*/ 1181812 w 5806384"/>
                  <a:gd name="connsiteY177" fmla="*/ 1523113 h 4036143"/>
                  <a:gd name="connsiteX178" fmla="*/ 1186060 w 5806384"/>
                  <a:gd name="connsiteY178" fmla="*/ 1565599 h 4036143"/>
                  <a:gd name="connsiteX179" fmla="*/ 898573 w 5806384"/>
                  <a:gd name="connsiteY179" fmla="*/ 1559934 h 4036143"/>
                  <a:gd name="connsiteX180" fmla="*/ 916984 w 5806384"/>
                  <a:gd name="connsiteY180" fmla="*/ 1494789 h 4036143"/>
                  <a:gd name="connsiteX181" fmla="*/ 916984 w 5806384"/>
                  <a:gd name="connsiteY181" fmla="*/ 1494789 h 4036143"/>
                  <a:gd name="connsiteX182" fmla="*/ 705971 w 5806384"/>
                  <a:gd name="connsiteY182" fmla="*/ 1548605 h 4036143"/>
                  <a:gd name="connsiteX183" fmla="*/ 705971 w 5806384"/>
                  <a:gd name="connsiteY183" fmla="*/ 1548605 h 4036143"/>
                  <a:gd name="connsiteX184" fmla="*/ 881579 w 5806384"/>
                  <a:gd name="connsiteY184" fmla="*/ 1803519 h 4036143"/>
                  <a:gd name="connsiteX185" fmla="*/ 854671 w 5806384"/>
                  <a:gd name="connsiteY185" fmla="*/ 1807768 h 4036143"/>
                  <a:gd name="connsiteX186" fmla="*/ 659237 w 5806384"/>
                  <a:gd name="connsiteY186" fmla="*/ 1514616 h 4036143"/>
                  <a:gd name="connsiteX187" fmla="*/ 659237 w 5806384"/>
                  <a:gd name="connsiteY187" fmla="*/ 1514616 h 4036143"/>
                  <a:gd name="connsiteX188" fmla="*/ 494959 w 5806384"/>
                  <a:gd name="connsiteY188" fmla="*/ 1646322 h 4036143"/>
                  <a:gd name="connsiteX189" fmla="*/ 470884 w 5806384"/>
                  <a:gd name="connsiteY189" fmla="*/ 1622247 h 4036143"/>
                  <a:gd name="connsiteX190" fmla="*/ 470884 w 5806384"/>
                  <a:gd name="connsiteY190" fmla="*/ 1541524 h 4036143"/>
                  <a:gd name="connsiteX191" fmla="*/ 470884 w 5806384"/>
                  <a:gd name="connsiteY191" fmla="*/ 1541524 h 4036143"/>
                  <a:gd name="connsiteX192" fmla="*/ 242877 w 5806384"/>
                  <a:gd name="connsiteY192" fmla="*/ 1728461 h 4036143"/>
                  <a:gd name="connsiteX193" fmla="*/ 242877 w 5806384"/>
                  <a:gd name="connsiteY193" fmla="*/ 1728461 h 4036143"/>
                  <a:gd name="connsiteX194" fmla="*/ 265536 w 5806384"/>
                  <a:gd name="connsiteY194" fmla="*/ 1779444 h 4036143"/>
                  <a:gd name="connsiteX195" fmla="*/ 139495 w 5806384"/>
                  <a:gd name="connsiteY195" fmla="*/ 1782276 h 4036143"/>
                  <a:gd name="connsiteX196" fmla="*/ 138079 w 5806384"/>
                  <a:gd name="connsiteY196" fmla="*/ 1782276 h 4036143"/>
                  <a:gd name="connsiteX197" fmla="*/ 378831 w 5806384"/>
                  <a:gd name="connsiteY197" fmla="*/ 1906901 h 4036143"/>
                  <a:gd name="connsiteX198" fmla="*/ 72934 w 5806384"/>
                  <a:gd name="connsiteY198" fmla="*/ 1981959 h 4036143"/>
                  <a:gd name="connsiteX199" fmla="*/ 17702 w 5806384"/>
                  <a:gd name="connsiteY199" fmla="*/ 1986208 h 4036143"/>
                  <a:gd name="connsiteX200" fmla="*/ 17702 w 5806384"/>
                  <a:gd name="connsiteY200" fmla="*/ 1986208 h 4036143"/>
                  <a:gd name="connsiteX201" fmla="*/ 55939 w 5806384"/>
                  <a:gd name="connsiteY201" fmla="*/ 2205717 h 4036143"/>
                  <a:gd name="connsiteX202" fmla="*/ 55939 w 5806384"/>
                  <a:gd name="connsiteY202" fmla="*/ 2205717 h 4036143"/>
                  <a:gd name="connsiteX203" fmla="*/ 95593 w 5806384"/>
                  <a:gd name="connsiteY203" fmla="*/ 2174561 h 4036143"/>
                  <a:gd name="connsiteX204" fmla="*/ 64437 w 5806384"/>
                  <a:gd name="connsiteY204" fmla="*/ 2217047 h 4036143"/>
                  <a:gd name="connsiteX205" fmla="*/ 64437 w 5806384"/>
                  <a:gd name="connsiteY205" fmla="*/ 2217047 h 4036143"/>
                  <a:gd name="connsiteX206" fmla="*/ 140911 w 5806384"/>
                  <a:gd name="connsiteY206" fmla="*/ 2215631 h 4036143"/>
                  <a:gd name="connsiteX207" fmla="*/ 140911 w 5806384"/>
                  <a:gd name="connsiteY207" fmla="*/ 2215631 h 4036143"/>
                  <a:gd name="connsiteX208" fmla="*/ 207472 w 5806384"/>
                  <a:gd name="connsiteY208" fmla="*/ 2133492 h 4036143"/>
                  <a:gd name="connsiteX209" fmla="*/ 245709 w 5806384"/>
                  <a:gd name="connsiteY209" fmla="*/ 2140573 h 4036143"/>
                  <a:gd name="connsiteX210" fmla="*/ 217385 w 5806384"/>
                  <a:gd name="connsiteY210" fmla="*/ 2120746 h 4036143"/>
                  <a:gd name="connsiteX211" fmla="*/ 309437 w 5806384"/>
                  <a:gd name="connsiteY211" fmla="*/ 2006034 h 4036143"/>
                  <a:gd name="connsiteX212" fmla="*/ 339178 w 5806384"/>
                  <a:gd name="connsiteY212" fmla="*/ 1983375 h 4036143"/>
                  <a:gd name="connsiteX213" fmla="*/ 492127 w 5806384"/>
                  <a:gd name="connsiteY213" fmla="*/ 1964965 h 4036143"/>
                  <a:gd name="connsiteX214" fmla="*/ 492127 w 5806384"/>
                  <a:gd name="connsiteY214" fmla="*/ 1964965 h 4036143"/>
                  <a:gd name="connsiteX215" fmla="*/ 414236 w 5806384"/>
                  <a:gd name="connsiteY215" fmla="*/ 1925311 h 4036143"/>
                  <a:gd name="connsiteX216" fmla="*/ 459554 w 5806384"/>
                  <a:gd name="connsiteY216" fmla="*/ 1889907 h 4036143"/>
                  <a:gd name="connsiteX217" fmla="*/ 601173 w 5806384"/>
                  <a:gd name="connsiteY217" fmla="*/ 1854502 h 4036143"/>
                  <a:gd name="connsiteX218" fmla="*/ 602589 w 5806384"/>
                  <a:gd name="connsiteY218" fmla="*/ 1861583 h 4036143"/>
                  <a:gd name="connsiteX219" fmla="*/ 595508 w 5806384"/>
                  <a:gd name="connsiteY219" fmla="*/ 1862999 h 4036143"/>
                  <a:gd name="connsiteX220" fmla="*/ 595508 w 5806384"/>
                  <a:gd name="connsiteY220" fmla="*/ 1862999 h 4036143"/>
                  <a:gd name="connsiteX221" fmla="*/ 623832 w 5806384"/>
                  <a:gd name="connsiteY221" fmla="*/ 1994705 h 4036143"/>
                  <a:gd name="connsiteX222" fmla="*/ 694642 w 5806384"/>
                  <a:gd name="connsiteY222" fmla="*/ 2091006 h 4036143"/>
                  <a:gd name="connsiteX223" fmla="*/ 745625 w 5806384"/>
                  <a:gd name="connsiteY223" fmla="*/ 2122162 h 4036143"/>
                  <a:gd name="connsiteX224" fmla="*/ 730047 w 5806384"/>
                  <a:gd name="connsiteY224" fmla="*/ 2209966 h 4036143"/>
                  <a:gd name="connsiteX225" fmla="*/ 730047 w 5806384"/>
                  <a:gd name="connsiteY225" fmla="*/ 2209966 h 4036143"/>
                  <a:gd name="connsiteX226" fmla="*/ 731463 w 5806384"/>
                  <a:gd name="connsiteY226" fmla="*/ 2209966 h 4036143"/>
                  <a:gd name="connsiteX227" fmla="*/ 761203 w 5806384"/>
                  <a:gd name="connsiteY227" fmla="*/ 2129243 h 4036143"/>
                  <a:gd name="connsiteX228" fmla="*/ 761203 w 5806384"/>
                  <a:gd name="connsiteY228" fmla="*/ 2129243 h 4036143"/>
                  <a:gd name="connsiteX229" fmla="*/ 748457 w 5806384"/>
                  <a:gd name="connsiteY229" fmla="*/ 2120746 h 4036143"/>
                  <a:gd name="connsiteX230" fmla="*/ 756954 w 5806384"/>
                  <a:gd name="connsiteY230" fmla="*/ 2076844 h 4036143"/>
                  <a:gd name="connsiteX231" fmla="*/ 756954 w 5806384"/>
                  <a:gd name="connsiteY231" fmla="*/ 2076844 h 4036143"/>
                  <a:gd name="connsiteX232" fmla="*/ 635162 w 5806384"/>
                  <a:gd name="connsiteY232" fmla="*/ 1991873 h 4036143"/>
                  <a:gd name="connsiteX233" fmla="*/ 605422 w 5806384"/>
                  <a:gd name="connsiteY233" fmla="*/ 1862999 h 4036143"/>
                  <a:gd name="connsiteX234" fmla="*/ 686144 w 5806384"/>
                  <a:gd name="connsiteY234" fmla="*/ 1840340 h 4036143"/>
                  <a:gd name="connsiteX235" fmla="*/ 686144 w 5806384"/>
                  <a:gd name="connsiteY235" fmla="*/ 1840340 h 4036143"/>
                  <a:gd name="connsiteX236" fmla="*/ 613919 w 5806384"/>
                  <a:gd name="connsiteY236" fmla="*/ 1768114 h 4036143"/>
                  <a:gd name="connsiteX237" fmla="*/ 632329 w 5806384"/>
                  <a:gd name="connsiteY237" fmla="*/ 1753952 h 4036143"/>
                  <a:gd name="connsiteX238" fmla="*/ 755538 w 5806384"/>
                  <a:gd name="connsiteY238" fmla="*/ 1824762 h 4036143"/>
                  <a:gd name="connsiteX239" fmla="*/ 680480 w 5806384"/>
                  <a:gd name="connsiteY239" fmla="*/ 1834675 h 4036143"/>
                  <a:gd name="connsiteX240" fmla="*/ 679064 w 5806384"/>
                  <a:gd name="connsiteY240" fmla="*/ 1834675 h 4036143"/>
                  <a:gd name="connsiteX241" fmla="*/ 992042 w 5806384"/>
                  <a:gd name="connsiteY241" fmla="*/ 1963549 h 4036143"/>
                  <a:gd name="connsiteX242" fmla="*/ 992042 w 5806384"/>
                  <a:gd name="connsiteY242" fmla="*/ 1963549 h 4036143"/>
                  <a:gd name="connsiteX243" fmla="*/ 993458 w 5806384"/>
                  <a:gd name="connsiteY243" fmla="*/ 1962132 h 4036143"/>
                  <a:gd name="connsiteX244" fmla="*/ 754122 w 5806384"/>
                  <a:gd name="connsiteY244" fmla="*/ 1824762 h 4036143"/>
                  <a:gd name="connsiteX245" fmla="*/ 843342 w 5806384"/>
                  <a:gd name="connsiteY245" fmla="*/ 1810600 h 4036143"/>
                  <a:gd name="connsiteX246" fmla="*/ 875914 w 5806384"/>
                  <a:gd name="connsiteY246" fmla="*/ 1858750 h 4036143"/>
                  <a:gd name="connsiteX247" fmla="*/ 875914 w 5806384"/>
                  <a:gd name="connsiteY247" fmla="*/ 1858750 h 4036143"/>
                  <a:gd name="connsiteX248" fmla="*/ 1200222 w 5806384"/>
                  <a:gd name="connsiteY248" fmla="*/ 1807768 h 4036143"/>
                  <a:gd name="connsiteX249" fmla="*/ 1200222 w 5806384"/>
                  <a:gd name="connsiteY249" fmla="*/ 1807768 h 4036143"/>
                  <a:gd name="connsiteX250" fmla="*/ 1200222 w 5806384"/>
                  <a:gd name="connsiteY250" fmla="*/ 1800687 h 4036143"/>
                  <a:gd name="connsiteX251" fmla="*/ 1204471 w 5806384"/>
                  <a:gd name="connsiteY251" fmla="*/ 1806351 h 4036143"/>
                  <a:gd name="connsiteX252" fmla="*/ 1204471 w 5806384"/>
                  <a:gd name="connsiteY252" fmla="*/ 1806351 h 4036143"/>
                  <a:gd name="connsiteX253" fmla="*/ 1282361 w 5806384"/>
                  <a:gd name="connsiteY253" fmla="*/ 1642073 h 4036143"/>
                  <a:gd name="connsiteX254" fmla="*/ 1426813 w 5806384"/>
                  <a:gd name="connsiteY254" fmla="*/ 1646322 h 4036143"/>
                  <a:gd name="connsiteX255" fmla="*/ 1455137 w 5806384"/>
                  <a:gd name="connsiteY255" fmla="*/ 1660484 h 4036143"/>
                  <a:gd name="connsiteX256" fmla="*/ 1557102 w 5806384"/>
                  <a:gd name="connsiteY256" fmla="*/ 1854502 h 4036143"/>
                  <a:gd name="connsiteX257" fmla="*/ 1411235 w 5806384"/>
                  <a:gd name="connsiteY257" fmla="*/ 1896988 h 4036143"/>
                  <a:gd name="connsiteX258" fmla="*/ 1409818 w 5806384"/>
                  <a:gd name="connsiteY258" fmla="*/ 1896988 h 4036143"/>
                  <a:gd name="connsiteX259" fmla="*/ 1601004 w 5806384"/>
                  <a:gd name="connsiteY259" fmla="*/ 1936641 h 4036143"/>
                  <a:gd name="connsiteX260" fmla="*/ 1601004 w 5806384"/>
                  <a:gd name="connsiteY260" fmla="*/ 1936641 h 4036143"/>
                  <a:gd name="connsiteX261" fmla="*/ 1558518 w 5806384"/>
                  <a:gd name="connsiteY261" fmla="*/ 1855918 h 4036143"/>
                  <a:gd name="connsiteX262" fmla="*/ 1742623 w 5806384"/>
                  <a:gd name="connsiteY262" fmla="*/ 1802103 h 4036143"/>
                  <a:gd name="connsiteX263" fmla="*/ 2133492 w 5806384"/>
                  <a:gd name="connsiteY263" fmla="*/ 1993289 h 4036143"/>
                  <a:gd name="connsiteX264" fmla="*/ 2049937 w 5806384"/>
                  <a:gd name="connsiteY264" fmla="*/ 2452135 h 4036143"/>
                  <a:gd name="connsiteX265" fmla="*/ 1928145 w 5806384"/>
                  <a:gd name="connsiteY265" fmla="*/ 2469129 h 4036143"/>
                  <a:gd name="connsiteX266" fmla="*/ 1480628 w 5806384"/>
                  <a:gd name="connsiteY266" fmla="*/ 2091006 h 4036143"/>
                  <a:gd name="connsiteX267" fmla="*/ 1480628 w 5806384"/>
                  <a:gd name="connsiteY267" fmla="*/ 2091006 h 4036143"/>
                  <a:gd name="connsiteX268" fmla="*/ 1489125 w 5806384"/>
                  <a:gd name="connsiteY268" fmla="*/ 2110833 h 4036143"/>
                  <a:gd name="connsiteX269" fmla="*/ 1350338 w 5806384"/>
                  <a:gd name="connsiteY269" fmla="*/ 2127827 h 4036143"/>
                  <a:gd name="connsiteX270" fmla="*/ 1331928 w 5806384"/>
                  <a:gd name="connsiteY270" fmla="*/ 2051352 h 4036143"/>
                  <a:gd name="connsiteX271" fmla="*/ 1331928 w 5806384"/>
                  <a:gd name="connsiteY271" fmla="*/ 2051352 h 4036143"/>
                  <a:gd name="connsiteX272" fmla="*/ 1224297 w 5806384"/>
                  <a:gd name="connsiteY272" fmla="*/ 2141989 h 4036143"/>
                  <a:gd name="connsiteX273" fmla="*/ 1215800 w 5806384"/>
                  <a:gd name="connsiteY273" fmla="*/ 2143405 h 4036143"/>
                  <a:gd name="connsiteX274" fmla="*/ 1079846 w 5806384"/>
                  <a:gd name="connsiteY274" fmla="*/ 1964965 h 4036143"/>
                  <a:gd name="connsiteX275" fmla="*/ 1079846 w 5806384"/>
                  <a:gd name="connsiteY275" fmla="*/ 1964965 h 4036143"/>
                  <a:gd name="connsiteX276" fmla="*/ 1123748 w 5806384"/>
                  <a:gd name="connsiteY276" fmla="*/ 2231209 h 4036143"/>
                  <a:gd name="connsiteX277" fmla="*/ 1123748 w 5806384"/>
                  <a:gd name="connsiteY277" fmla="*/ 2231209 h 4036143"/>
                  <a:gd name="connsiteX278" fmla="*/ 1208719 w 5806384"/>
                  <a:gd name="connsiteY278" fmla="*/ 2157567 h 4036143"/>
                  <a:gd name="connsiteX279" fmla="*/ 1295107 w 5806384"/>
                  <a:gd name="connsiteY279" fmla="*/ 2249619 h 4036143"/>
                  <a:gd name="connsiteX280" fmla="*/ 1380078 w 5806384"/>
                  <a:gd name="connsiteY280" fmla="*/ 2361498 h 4036143"/>
                  <a:gd name="connsiteX281" fmla="*/ 1363084 w 5806384"/>
                  <a:gd name="connsiteY281" fmla="*/ 2401152 h 4036143"/>
                  <a:gd name="connsiteX282" fmla="*/ 1329095 w 5806384"/>
                  <a:gd name="connsiteY282" fmla="*/ 2411065 h 4036143"/>
                  <a:gd name="connsiteX283" fmla="*/ 1329095 w 5806384"/>
                  <a:gd name="connsiteY283" fmla="*/ 2411065 h 4036143"/>
                  <a:gd name="connsiteX284" fmla="*/ 1266783 w 5806384"/>
                  <a:gd name="connsiteY284" fmla="*/ 2571095 h 4036143"/>
                  <a:gd name="connsiteX285" fmla="*/ 1266783 w 5806384"/>
                  <a:gd name="connsiteY285" fmla="*/ 2571095 h 4036143"/>
                  <a:gd name="connsiteX286" fmla="*/ 1469299 w 5806384"/>
                  <a:gd name="connsiteY286" fmla="*/ 2735373 h 4036143"/>
                  <a:gd name="connsiteX287" fmla="*/ 1438142 w 5806384"/>
                  <a:gd name="connsiteY287" fmla="*/ 2779275 h 4036143"/>
                  <a:gd name="connsiteX288" fmla="*/ 1438142 w 5806384"/>
                  <a:gd name="connsiteY288" fmla="*/ 2779275 h 4036143"/>
                  <a:gd name="connsiteX289" fmla="*/ 1547189 w 5806384"/>
                  <a:gd name="connsiteY289" fmla="*/ 2799101 h 4036143"/>
                  <a:gd name="connsiteX290" fmla="*/ 1644906 w 5806384"/>
                  <a:gd name="connsiteY290" fmla="*/ 2878408 h 4036143"/>
                  <a:gd name="connsiteX291" fmla="*/ 1644906 w 5806384"/>
                  <a:gd name="connsiteY291" fmla="*/ 2878408 h 4036143"/>
                  <a:gd name="connsiteX292" fmla="*/ 1701554 w 5806384"/>
                  <a:gd name="connsiteY292" fmla="*/ 2876992 h 4036143"/>
                  <a:gd name="connsiteX293" fmla="*/ 1693057 w 5806384"/>
                  <a:gd name="connsiteY293" fmla="*/ 2986038 h 4036143"/>
                  <a:gd name="connsiteX294" fmla="*/ 1520281 w 5806384"/>
                  <a:gd name="connsiteY294" fmla="*/ 3005865 h 4036143"/>
                  <a:gd name="connsiteX295" fmla="*/ 1520281 w 5806384"/>
                  <a:gd name="connsiteY295" fmla="*/ 3005865 h 4036143"/>
                  <a:gd name="connsiteX296" fmla="*/ 1520281 w 5806384"/>
                  <a:gd name="connsiteY296" fmla="*/ 3007281 h 4036143"/>
                  <a:gd name="connsiteX297" fmla="*/ 1520281 w 5806384"/>
                  <a:gd name="connsiteY297" fmla="*/ 3007281 h 4036143"/>
                  <a:gd name="connsiteX298" fmla="*/ 1690224 w 5806384"/>
                  <a:gd name="connsiteY298" fmla="*/ 3018611 h 4036143"/>
                  <a:gd name="connsiteX299" fmla="*/ 1678895 w 5806384"/>
                  <a:gd name="connsiteY299" fmla="*/ 3151733 h 4036143"/>
                  <a:gd name="connsiteX300" fmla="*/ 1678895 w 5806384"/>
                  <a:gd name="connsiteY300" fmla="*/ 3151733 h 4036143"/>
                  <a:gd name="connsiteX301" fmla="*/ 1888491 w 5806384"/>
                  <a:gd name="connsiteY301" fmla="*/ 3028524 h 4036143"/>
                  <a:gd name="connsiteX302" fmla="*/ 1888491 w 5806384"/>
                  <a:gd name="connsiteY302" fmla="*/ 3028524 h 4036143"/>
                  <a:gd name="connsiteX303" fmla="*/ 1691640 w 5806384"/>
                  <a:gd name="connsiteY303" fmla="*/ 3015778 h 4036143"/>
                  <a:gd name="connsiteX304" fmla="*/ 1694473 w 5806384"/>
                  <a:gd name="connsiteY304" fmla="*/ 2987455 h 4036143"/>
                  <a:gd name="connsiteX305" fmla="*/ 1844589 w 5806384"/>
                  <a:gd name="connsiteY305" fmla="*/ 2970460 h 4036143"/>
                  <a:gd name="connsiteX306" fmla="*/ 1887075 w 5806384"/>
                  <a:gd name="connsiteY306" fmla="*/ 3027108 h 4036143"/>
                  <a:gd name="connsiteX307" fmla="*/ 1887075 w 5806384"/>
                  <a:gd name="connsiteY307" fmla="*/ 3027108 h 4036143"/>
                  <a:gd name="connsiteX308" fmla="*/ 1888491 w 5806384"/>
                  <a:gd name="connsiteY308" fmla="*/ 3025692 h 4036143"/>
                  <a:gd name="connsiteX309" fmla="*/ 1863000 w 5806384"/>
                  <a:gd name="connsiteY309" fmla="*/ 2967628 h 4036143"/>
                  <a:gd name="connsiteX310" fmla="*/ 2001786 w 5806384"/>
                  <a:gd name="connsiteY310" fmla="*/ 2952050 h 4036143"/>
                  <a:gd name="connsiteX311" fmla="*/ 2001786 w 5806384"/>
                  <a:gd name="connsiteY311" fmla="*/ 2952050 h 4036143"/>
                  <a:gd name="connsiteX312" fmla="*/ 1964966 w 5806384"/>
                  <a:gd name="connsiteY312" fmla="*/ 2801934 h 4036143"/>
                  <a:gd name="connsiteX313" fmla="*/ 2055602 w 5806384"/>
                  <a:gd name="connsiteY313" fmla="*/ 2831674 h 4036143"/>
                  <a:gd name="connsiteX314" fmla="*/ 2057018 w 5806384"/>
                  <a:gd name="connsiteY314" fmla="*/ 2831674 h 4036143"/>
                  <a:gd name="connsiteX315" fmla="*/ 1940890 w 5806384"/>
                  <a:gd name="connsiteY315" fmla="*/ 2712714 h 4036143"/>
                  <a:gd name="connsiteX316" fmla="*/ 1940890 w 5806384"/>
                  <a:gd name="connsiteY316" fmla="*/ 2712714 h 4036143"/>
                  <a:gd name="connsiteX317" fmla="*/ 1962133 w 5806384"/>
                  <a:gd name="connsiteY317" fmla="*/ 2799101 h 4036143"/>
                  <a:gd name="connsiteX318" fmla="*/ 1759618 w 5806384"/>
                  <a:gd name="connsiteY318" fmla="*/ 2732540 h 4036143"/>
                  <a:gd name="connsiteX319" fmla="*/ 1489125 w 5806384"/>
                  <a:gd name="connsiteY319" fmla="*/ 2112249 h 4036143"/>
                  <a:gd name="connsiteX320" fmla="*/ 1490541 w 5806384"/>
                  <a:gd name="connsiteY320" fmla="*/ 2112249 h 4036143"/>
                  <a:gd name="connsiteX321" fmla="*/ 1707219 w 5806384"/>
                  <a:gd name="connsiteY321" fmla="*/ 2500285 h 4036143"/>
                  <a:gd name="connsiteX322" fmla="*/ 1707219 w 5806384"/>
                  <a:gd name="connsiteY322" fmla="*/ 2500285 h 4036143"/>
                  <a:gd name="connsiteX323" fmla="*/ 1925312 w 5806384"/>
                  <a:gd name="connsiteY323" fmla="*/ 2470545 h 4036143"/>
                  <a:gd name="connsiteX324" fmla="*/ 1938058 w 5806384"/>
                  <a:gd name="connsiteY324" fmla="*/ 2481874 h 4036143"/>
                  <a:gd name="connsiteX325" fmla="*/ 1782277 w 5806384"/>
                  <a:gd name="connsiteY325" fmla="*/ 2508782 h 4036143"/>
                  <a:gd name="connsiteX326" fmla="*/ 1782277 w 5806384"/>
                  <a:gd name="connsiteY326" fmla="*/ 2508782 h 4036143"/>
                  <a:gd name="connsiteX327" fmla="*/ 2018781 w 5806384"/>
                  <a:gd name="connsiteY327" fmla="*/ 2614997 h 4036143"/>
                  <a:gd name="connsiteX328" fmla="*/ 2008867 w 5806384"/>
                  <a:gd name="connsiteY328" fmla="*/ 2671644 h 4036143"/>
                  <a:gd name="connsiteX329" fmla="*/ 2042856 w 5806384"/>
                  <a:gd name="connsiteY329" fmla="*/ 2624910 h 4036143"/>
                  <a:gd name="connsiteX330" fmla="*/ 2195805 w 5806384"/>
                  <a:gd name="connsiteY330" fmla="*/ 2694303 h 4036143"/>
                  <a:gd name="connsiteX331" fmla="*/ 2197221 w 5806384"/>
                  <a:gd name="connsiteY331" fmla="*/ 2694303 h 4036143"/>
                  <a:gd name="connsiteX332" fmla="*/ 2069764 w 5806384"/>
                  <a:gd name="connsiteY332" fmla="*/ 2586673 h 4036143"/>
                  <a:gd name="connsiteX333" fmla="*/ 2177394 w 5806384"/>
                  <a:gd name="connsiteY333" fmla="*/ 2440805 h 4036143"/>
                  <a:gd name="connsiteX334" fmla="*/ 2188724 w 5806384"/>
                  <a:gd name="connsiteY334" fmla="*/ 2439389 h 4036143"/>
                  <a:gd name="connsiteX335" fmla="*/ 2344505 w 5806384"/>
                  <a:gd name="connsiteY335" fmla="*/ 2803350 h 4036143"/>
                  <a:gd name="connsiteX336" fmla="*/ 2344505 w 5806384"/>
                  <a:gd name="connsiteY336" fmla="*/ 2803350 h 4036143"/>
                  <a:gd name="connsiteX337" fmla="*/ 2394071 w 5806384"/>
                  <a:gd name="connsiteY337" fmla="*/ 2579592 h 4036143"/>
                  <a:gd name="connsiteX338" fmla="*/ 2447887 w 5806384"/>
                  <a:gd name="connsiteY338" fmla="*/ 2617829 h 4036143"/>
                  <a:gd name="connsiteX339" fmla="*/ 2630576 w 5806384"/>
                  <a:gd name="connsiteY339" fmla="*/ 2942136 h 4036143"/>
                  <a:gd name="connsiteX340" fmla="*/ 2613581 w 5806384"/>
                  <a:gd name="connsiteY340" fmla="*/ 2998784 h 4036143"/>
                  <a:gd name="connsiteX341" fmla="*/ 2498870 w 5806384"/>
                  <a:gd name="connsiteY341" fmla="*/ 3055432 h 4036143"/>
                  <a:gd name="connsiteX342" fmla="*/ 2498870 w 5806384"/>
                  <a:gd name="connsiteY342" fmla="*/ 3055432 h 4036143"/>
                  <a:gd name="connsiteX343" fmla="*/ 2576761 w 5806384"/>
                  <a:gd name="connsiteY343" fmla="*/ 3116328 h 4036143"/>
                  <a:gd name="connsiteX344" fmla="*/ 2532858 w 5806384"/>
                  <a:gd name="connsiteY344" fmla="*/ 3257947 h 4036143"/>
                  <a:gd name="connsiteX345" fmla="*/ 2532858 w 5806384"/>
                  <a:gd name="connsiteY345" fmla="*/ 3257947 h 4036143"/>
                  <a:gd name="connsiteX346" fmla="*/ 2656067 w 5806384"/>
                  <a:gd name="connsiteY346" fmla="*/ 3174392 h 4036143"/>
                  <a:gd name="connsiteX347" fmla="*/ 2656067 w 5806384"/>
                  <a:gd name="connsiteY347" fmla="*/ 3174392 h 4036143"/>
                  <a:gd name="connsiteX348" fmla="*/ 2579592 w 5806384"/>
                  <a:gd name="connsiteY348" fmla="*/ 3114912 h 4036143"/>
                  <a:gd name="connsiteX349" fmla="*/ 2614997 w 5806384"/>
                  <a:gd name="connsiteY349" fmla="*/ 3000200 h 4036143"/>
                  <a:gd name="connsiteX350" fmla="*/ 2653234 w 5806384"/>
                  <a:gd name="connsiteY350" fmla="*/ 2981790 h 4036143"/>
                  <a:gd name="connsiteX351" fmla="*/ 2665980 w 5806384"/>
                  <a:gd name="connsiteY351" fmla="*/ 3003033 h 4036143"/>
                  <a:gd name="connsiteX352" fmla="*/ 2657483 w 5806384"/>
                  <a:gd name="connsiteY352" fmla="*/ 3405231 h 4036143"/>
                  <a:gd name="connsiteX353" fmla="*/ 2657483 w 5806384"/>
                  <a:gd name="connsiteY353" fmla="*/ 3405231 h 4036143"/>
                  <a:gd name="connsiteX354" fmla="*/ 2658899 w 5806384"/>
                  <a:gd name="connsiteY354" fmla="*/ 3405231 h 4036143"/>
                  <a:gd name="connsiteX355" fmla="*/ 2658899 w 5806384"/>
                  <a:gd name="connsiteY355" fmla="*/ 3405231 h 4036143"/>
                  <a:gd name="connsiteX356" fmla="*/ 2695720 w 5806384"/>
                  <a:gd name="connsiteY356" fmla="*/ 3051183 h 4036143"/>
                  <a:gd name="connsiteX357" fmla="*/ 2695720 w 5806384"/>
                  <a:gd name="connsiteY357" fmla="*/ 3051183 h 4036143"/>
                  <a:gd name="connsiteX358" fmla="*/ 2668813 w 5806384"/>
                  <a:gd name="connsiteY358" fmla="*/ 3001616 h 4036143"/>
                  <a:gd name="connsiteX359" fmla="*/ 2668813 w 5806384"/>
                  <a:gd name="connsiteY359" fmla="*/ 2973293 h 4036143"/>
                  <a:gd name="connsiteX360" fmla="*/ 2837339 w 5806384"/>
                  <a:gd name="connsiteY360" fmla="*/ 2888321 h 4036143"/>
                  <a:gd name="connsiteX361" fmla="*/ 2837339 w 5806384"/>
                  <a:gd name="connsiteY361" fmla="*/ 2888321 h 4036143"/>
                  <a:gd name="connsiteX362" fmla="*/ 2631991 w 5806384"/>
                  <a:gd name="connsiteY362" fmla="*/ 2742454 h 4036143"/>
                  <a:gd name="connsiteX363" fmla="*/ 2579592 w 5806384"/>
                  <a:gd name="connsiteY363" fmla="*/ 2668812 h 4036143"/>
                  <a:gd name="connsiteX364" fmla="*/ 2792021 w 5806384"/>
                  <a:gd name="connsiteY364" fmla="*/ 2728292 h 4036143"/>
                  <a:gd name="connsiteX365" fmla="*/ 2843004 w 5806384"/>
                  <a:gd name="connsiteY365" fmla="*/ 2874159 h 4036143"/>
                  <a:gd name="connsiteX366" fmla="*/ 2843004 w 5806384"/>
                  <a:gd name="connsiteY366" fmla="*/ 2874159 h 4036143"/>
                  <a:gd name="connsiteX367" fmla="*/ 2919478 w 5806384"/>
                  <a:gd name="connsiteY367" fmla="*/ 2790604 h 4036143"/>
                  <a:gd name="connsiteX368" fmla="*/ 3184306 w 5806384"/>
                  <a:gd name="connsiteY368" fmla="*/ 2991703 h 4036143"/>
                  <a:gd name="connsiteX369" fmla="*/ 3184306 w 5806384"/>
                  <a:gd name="connsiteY369" fmla="*/ 2991703 h 4036143"/>
                  <a:gd name="connsiteX370" fmla="*/ 3197052 w 5806384"/>
                  <a:gd name="connsiteY370" fmla="*/ 2980374 h 4036143"/>
                  <a:gd name="connsiteX371" fmla="*/ 3204133 w 5806384"/>
                  <a:gd name="connsiteY371" fmla="*/ 2997368 h 4036143"/>
                  <a:gd name="connsiteX372" fmla="*/ 3191387 w 5806384"/>
                  <a:gd name="connsiteY372" fmla="*/ 3004449 h 4036143"/>
                  <a:gd name="connsiteX373" fmla="*/ 3191387 w 5806384"/>
                  <a:gd name="connsiteY373" fmla="*/ 3004449 h 4036143"/>
                  <a:gd name="connsiteX374" fmla="*/ 3212630 w 5806384"/>
                  <a:gd name="connsiteY374" fmla="*/ 3017195 h 4036143"/>
                  <a:gd name="connsiteX375" fmla="*/ 3270694 w 5806384"/>
                  <a:gd name="connsiteY375" fmla="*/ 3144652 h 4036143"/>
                  <a:gd name="connsiteX376" fmla="*/ 3270694 w 5806384"/>
                  <a:gd name="connsiteY376" fmla="*/ 3144652 h 4036143"/>
                  <a:gd name="connsiteX377" fmla="*/ 3376909 w 5806384"/>
                  <a:gd name="connsiteY377" fmla="*/ 3140403 h 4036143"/>
                  <a:gd name="connsiteX378" fmla="*/ 3396735 w 5806384"/>
                  <a:gd name="connsiteY378" fmla="*/ 3242369 h 4036143"/>
                  <a:gd name="connsiteX379" fmla="*/ 3396735 w 5806384"/>
                  <a:gd name="connsiteY379" fmla="*/ 3242369 h 4036143"/>
                  <a:gd name="connsiteX380" fmla="*/ 3480290 w 5806384"/>
                  <a:gd name="connsiteY380" fmla="*/ 3165895 h 4036143"/>
                  <a:gd name="connsiteX381" fmla="*/ 3553933 w 5806384"/>
                  <a:gd name="connsiteY381" fmla="*/ 3206964 h 4036143"/>
                  <a:gd name="connsiteX382" fmla="*/ 3430724 w 5806384"/>
                  <a:gd name="connsiteY382" fmla="*/ 3306097 h 4036143"/>
                  <a:gd name="connsiteX383" fmla="*/ 3277775 w 5806384"/>
                  <a:gd name="connsiteY383" fmla="*/ 3231040 h 4036143"/>
                  <a:gd name="connsiteX384" fmla="*/ 3277775 w 5806384"/>
                  <a:gd name="connsiteY384" fmla="*/ 3231040 h 4036143"/>
                  <a:gd name="connsiteX385" fmla="*/ 3248035 w 5806384"/>
                  <a:gd name="connsiteY385" fmla="*/ 3364161 h 4036143"/>
                  <a:gd name="connsiteX386" fmla="*/ 3248035 w 5806384"/>
                  <a:gd name="connsiteY386" fmla="*/ 3364161 h 4036143"/>
                  <a:gd name="connsiteX387" fmla="*/ 3311763 w 5806384"/>
                  <a:gd name="connsiteY387" fmla="*/ 3500116 h 4036143"/>
                  <a:gd name="connsiteX388" fmla="*/ 3154566 w 5806384"/>
                  <a:gd name="connsiteY388" fmla="*/ 3464711 h 4036143"/>
                  <a:gd name="connsiteX389" fmla="*/ 3153150 w 5806384"/>
                  <a:gd name="connsiteY389" fmla="*/ 3464711 h 4036143"/>
                  <a:gd name="connsiteX390" fmla="*/ 3257948 w 5806384"/>
                  <a:gd name="connsiteY390" fmla="*/ 3525607 h 4036143"/>
                  <a:gd name="connsiteX391" fmla="*/ 3226792 w 5806384"/>
                  <a:gd name="connsiteY391" fmla="*/ 3538353 h 4036143"/>
                  <a:gd name="connsiteX392" fmla="*/ 3226792 w 5806384"/>
                  <a:gd name="connsiteY392" fmla="*/ 3538353 h 4036143"/>
                  <a:gd name="connsiteX393" fmla="*/ 3357082 w 5806384"/>
                  <a:gd name="connsiteY393" fmla="*/ 3718209 h 4036143"/>
                  <a:gd name="connsiteX394" fmla="*/ 3357082 w 5806384"/>
                  <a:gd name="connsiteY394" fmla="*/ 3718209 h 4036143"/>
                  <a:gd name="connsiteX395" fmla="*/ 3358497 w 5806384"/>
                  <a:gd name="connsiteY395" fmla="*/ 3510029 h 4036143"/>
                  <a:gd name="connsiteX396" fmla="*/ 3358497 w 5806384"/>
                  <a:gd name="connsiteY396" fmla="*/ 3510029 h 4036143"/>
                  <a:gd name="connsiteX397" fmla="*/ 3320261 w 5806384"/>
                  <a:gd name="connsiteY397" fmla="*/ 3501532 h 4036143"/>
                  <a:gd name="connsiteX398" fmla="*/ 3372659 w 5806384"/>
                  <a:gd name="connsiteY398" fmla="*/ 3480289 h 4036143"/>
                  <a:gd name="connsiteX399" fmla="*/ 3386821 w 5806384"/>
                  <a:gd name="connsiteY399" fmla="*/ 3749365 h 4036143"/>
                  <a:gd name="connsiteX400" fmla="*/ 3265029 w 5806384"/>
                  <a:gd name="connsiteY400" fmla="*/ 3660145 h 4036143"/>
                  <a:gd name="connsiteX401" fmla="*/ 3263613 w 5806384"/>
                  <a:gd name="connsiteY401" fmla="*/ 3660145 h 4036143"/>
                  <a:gd name="connsiteX402" fmla="*/ 3337255 w 5806384"/>
                  <a:gd name="connsiteY402" fmla="*/ 3781938 h 4036143"/>
                  <a:gd name="connsiteX403" fmla="*/ 3300434 w 5806384"/>
                  <a:gd name="connsiteY403" fmla="*/ 3763527 h 4036143"/>
                  <a:gd name="connsiteX404" fmla="*/ 3300434 w 5806384"/>
                  <a:gd name="connsiteY404" fmla="*/ 3763527 h 4036143"/>
                  <a:gd name="connsiteX405" fmla="*/ 3299018 w 5806384"/>
                  <a:gd name="connsiteY405" fmla="*/ 3764943 h 4036143"/>
                  <a:gd name="connsiteX406" fmla="*/ 3351416 w 5806384"/>
                  <a:gd name="connsiteY406" fmla="*/ 3806013 h 4036143"/>
                  <a:gd name="connsiteX407" fmla="*/ 3393902 w 5806384"/>
                  <a:gd name="connsiteY407" fmla="*/ 3875406 h 4036143"/>
                  <a:gd name="connsiteX408" fmla="*/ 3393902 w 5806384"/>
                  <a:gd name="connsiteY408" fmla="*/ 3876823 h 4036143"/>
                  <a:gd name="connsiteX409" fmla="*/ 3392486 w 5806384"/>
                  <a:gd name="connsiteY409" fmla="*/ 3838585 h 4036143"/>
                  <a:gd name="connsiteX410" fmla="*/ 3555348 w 5806384"/>
                  <a:gd name="connsiteY410" fmla="*/ 3964626 h 4036143"/>
                  <a:gd name="connsiteX411" fmla="*/ 3555348 w 5806384"/>
                  <a:gd name="connsiteY411" fmla="*/ 3964626 h 4036143"/>
                  <a:gd name="connsiteX412" fmla="*/ 3570926 w 5806384"/>
                  <a:gd name="connsiteY412" fmla="*/ 3905146 h 4036143"/>
                  <a:gd name="connsiteX413" fmla="*/ 3637487 w 5806384"/>
                  <a:gd name="connsiteY413" fmla="*/ 3939135 h 4036143"/>
                  <a:gd name="connsiteX414" fmla="*/ 3637487 w 5806384"/>
                  <a:gd name="connsiteY414" fmla="*/ 3939135 h 4036143"/>
                  <a:gd name="connsiteX415" fmla="*/ 3638904 w 5806384"/>
                  <a:gd name="connsiteY415" fmla="*/ 3937719 h 4036143"/>
                  <a:gd name="connsiteX416" fmla="*/ 3638904 w 5806384"/>
                  <a:gd name="connsiteY416" fmla="*/ 3937719 h 4036143"/>
                  <a:gd name="connsiteX417" fmla="*/ 3575175 w 5806384"/>
                  <a:gd name="connsiteY417" fmla="*/ 3890985 h 4036143"/>
                  <a:gd name="connsiteX418" fmla="*/ 3647401 w 5806384"/>
                  <a:gd name="connsiteY418" fmla="*/ 3619076 h 4036143"/>
                  <a:gd name="connsiteX419" fmla="*/ 3772026 w 5806384"/>
                  <a:gd name="connsiteY419" fmla="*/ 3688469 h 4036143"/>
                  <a:gd name="connsiteX420" fmla="*/ 3772026 w 5806384"/>
                  <a:gd name="connsiteY420" fmla="*/ 3688469 h 4036143"/>
                  <a:gd name="connsiteX421" fmla="*/ 3783355 w 5806384"/>
                  <a:gd name="connsiteY421" fmla="*/ 3453381 h 4036143"/>
                  <a:gd name="connsiteX422" fmla="*/ 3896650 w 5806384"/>
                  <a:gd name="connsiteY422" fmla="*/ 3772024 h 4036143"/>
                  <a:gd name="connsiteX423" fmla="*/ 3756448 w 5806384"/>
                  <a:gd name="connsiteY423" fmla="*/ 3759279 h 4036143"/>
                  <a:gd name="connsiteX424" fmla="*/ 3781939 w 5806384"/>
                  <a:gd name="connsiteY424" fmla="*/ 3691302 h 4036143"/>
                  <a:gd name="connsiteX425" fmla="*/ 3781939 w 5806384"/>
                  <a:gd name="connsiteY425" fmla="*/ 3691302 h 4036143"/>
                  <a:gd name="connsiteX426" fmla="*/ 3660147 w 5806384"/>
                  <a:gd name="connsiteY426" fmla="*/ 3753614 h 4036143"/>
                  <a:gd name="connsiteX427" fmla="*/ 3660147 w 5806384"/>
                  <a:gd name="connsiteY427" fmla="*/ 3753614 h 4036143"/>
                  <a:gd name="connsiteX428" fmla="*/ 3755031 w 5806384"/>
                  <a:gd name="connsiteY428" fmla="*/ 3762111 h 4036143"/>
                  <a:gd name="connsiteX429" fmla="*/ 3739453 w 5806384"/>
                  <a:gd name="connsiteY429" fmla="*/ 3803181 h 4036143"/>
                  <a:gd name="connsiteX430" fmla="*/ 3739453 w 5806384"/>
                  <a:gd name="connsiteY430" fmla="*/ 3803181 h 4036143"/>
                  <a:gd name="connsiteX431" fmla="*/ 3929223 w 5806384"/>
                  <a:gd name="connsiteY431" fmla="*/ 3837169 h 4036143"/>
                  <a:gd name="connsiteX432" fmla="*/ 3929223 w 5806384"/>
                  <a:gd name="connsiteY432" fmla="*/ 3837169 h 4036143"/>
                  <a:gd name="connsiteX433" fmla="*/ 4247866 w 5806384"/>
                  <a:gd name="connsiteY433" fmla="*/ 3749365 h 4036143"/>
                  <a:gd name="connsiteX434" fmla="*/ 4379572 w 5806384"/>
                  <a:gd name="connsiteY434" fmla="*/ 3804597 h 4036143"/>
                  <a:gd name="connsiteX435" fmla="*/ 4352664 w 5806384"/>
                  <a:gd name="connsiteY435" fmla="*/ 3815926 h 4036143"/>
                  <a:gd name="connsiteX436" fmla="*/ 4424890 w 5806384"/>
                  <a:gd name="connsiteY436" fmla="*/ 3823007 h 4036143"/>
                  <a:gd name="connsiteX437" fmla="*/ 4464544 w 5806384"/>
                  <a:gd name="connsiteY437" fmla="*/ 3840002 h 4036143"/>
                  <a:gd name="connsiteX438" fmla="*/ 4471625 w 5806384"/>
                  <a:gd name="connsiteY438" fmla="*/ 3848499 h 4036143"/>
                  <a:gd name="connsiteX439" fmla="*/ 4348416 w 5806384"/>
                  <a:gd name="connsiteY439" fmla="*/ 3838585 h 4036143"/>
                  <a:gd name="connsiteX440" fmla="*/ 4347000 w 5806384"/>
                  <a:gd name="connsiteY440" fmla="*/ 3838585 h 4036143"/>
                  <a:gd name="connsiteX441" fmla="*/ 4516943 w 5806384"/>
                  <a:gd name="connsiteY441" fmla="*/ 3902314 h 4036143"/>
                  <a:gd name="connsiteX442" fmla="*/ 4536769 w 5806384"/>
                  <a:gd name="connsiteY442" fmla="*/ 3924973 h 4036143"/>
                  <a:gd name="connsiteX443" fmla="*/ 4440468 w 5806384"/>
                  <a:gd name="connsiteY443" fmla="*/ 3967459 h 4036143"/>
                  <a:gd name="connsiteX444" fmla="*/ 4440468 w 5806384"/>
                  <a:gd name="connsiteY444" fmla="*/ 3967459 h 4036143"/>
                  <a:gd name="connsiteX445" fmla="*/ 4586336 w 5806384"/>
                  <a:gd name="connsiteY445" fmla="*/ 3995783 h 4036143"/>
                  <a:gd name="connsiteX446" fmla="*/ 4586336 w 5806384"/>
                  <a:gd name="connsiteY446" fmla="*/ 3995783 h 4036143"/>
                  <a:gd name="connsiteX447" fmla="*/ 4709544 w 5806384"/>
                  <a:gd name="connsiteY447" fmla="*/ 3971707 h 4036143"/>
                  <a:gd name="connsiteX448" fmla="*/ 4710960 w 5806384"/>
                  <a:gd name="connsiteY448" fmla="*/ 3971707 h 4036143"/>
                  <a:gd name="connsiteX449" fmla="*/ 4519775 w 5806384"/>
                  <a:gd name="connsiteY449" fmla="*/ 3899481 h 4036143"/>
                  <a:gd name="connsiteX450" fmla="*/ 4477289 w 5806384"/>
                  <a:gd name="connsiteY450" fmla="*/ 3849915 h 4036143"/>
                  <a:gd name="connsiteX451" fmla="*/ 4501364 w 5806384"/>
                  <a:gd name="connsiteY451" fmla="*/ 3851331 h 4036143"/>
                  <a:gd name="connsiteX452" fmla="*/ 4467376 w 5806384"/>
                  <a:gd name="connsiteY452" fmla="*/ 3837169 h 4036143"/>
                  <a:gd name="connsiteX453" fmla="*/ 4457463 w 5806384"/>
                  <a:gd name="connsiteY453" fmla="*/ 3825840 h 4036143"/>
                  <a:gd name="connsiteX454" fmla="*/ 4841250 w 5806384"/>
                  <a:gd name="connsiteY454" fmla="*/ 3862661 h 4036143"/>
                  <a:gd name="connsiteX455" fmla="*/ 4987118 w 5806384"/>
                  <a:gd name="connsiteY455" fmla="*/ 3964626 h 4036143"/>
                  <a:gd name="connsiteX456" fmla="*/ 5087668 w 5806384"/>
                  <a:gd name="connsiteY456" fmla="*/ 4029771 h 4036143"/>
                  <a:gd name="connsiteX457" fmla="*/ 5087668 w 5806384"/>
                  <a:gd name="connsiteY457" fmla="*/ 4029771 h 4036143"/>
                  <a:gd name="connsiteX458" fmla="*/ 5089084 w 5806384"/>
                  <a:gd name="connsiteY458" fmla="*/ 4028355 h 4036143"/>
                  <a:gd name="connsiteX459" fmla="*/ 4985702 w 5806384"/>
                  <a:gd name="connsiteY459" fmla="*/ 3958962 h 4036143"/>
                  <a:gd name="connsiteX460" fmla="*/ 4839834 w 5806384"/>
                  <a:gd name="connsiteY460" fmla="*/ 3856996 h 4036143"/>
                  <a:gd name="connsiteX461" fmla="*/ 4453214 w 5806384"/>
                  <a:gd name="connsiteY461" fmla="*/ 3820175 h 4036143"/>
                  <a:gd name="connsiteX462" fmla="*/ 4422058 w 5806384"/>
                  <a:gd name="connsiteY462" fmla="*/ 3783354 h 4036143"/>
                  <a:gd name="connsiteX463" fmla="*/ 4422058 w 5806384"/>
                  <a:gd name="connsiteY463" fmla="*/ 3783354 h 4036143"/>
                  <a:gd name="connsiteX464" fmla="*/ 4382405 w 5806384"/>
                  <a:gd name="connsiteY464" fmla="*/ 3800348 h 4036143"/>
                  <a:gd name="connsiteX465" fmla="*/ 4247866 w 5806384"/>
                  <a:gd name="connsiteY465" fmla="*/ 3745117 h 4036143"/>
                  <a:gd name="connsiteX466" fmla="*/ 4247866 w 5806384"/>
                  <a:gd name="connsiteY466" fmla="*/ 3745117 h 4036143"/>
                  <a:gd name="connsiteX467" fmla="*/ 3929223 w 5806384"/>
                  <a:gd name="connsiteY467" fmla="*/ 3832921 h 4036143"/>
                  <a:gd name="connsiteX468" fmla="*/ 3742286 w 5806384"/>
                  <a:gd name="connsiteY468" fmla="*/ 3800348 h 4036143"/>
                  <a:gd name="connsiteX469" fmla="*/ 3756448 w 5806384"/>
                  <a:gd name="connsiteY469" fmla="*/ 3760695 h 4036143"/>
                  <a:gd name="connsiteX470" fmla="*/ 3899483 w 5806384"/>
                  <a:gd name="connsiteY470" fmla="*/ 3773440 h 4036143"/>
                  <a:gd name="connsiteX471" fmla="*/ 3899483 w 5806384"/>
                  <a:gd name="connsiteY471" fmla="*/ 3773440 h 4036143"/>
                  <a:gd name="connsiteX472" fmla="*/ 3781939 w 5806384"/>
                  <a:gd name="connsiteY472" fmla="*/ 3442052 h 4036143"/>
                  <a:gd name="connsiteX473" fmla="*/ 3781939 w 5806384"/>
                  <a:gd name="connsiteY473" fmla="*/ 3440636 h 4036143"/>
                  <a:gd name="connsiteX474" fmla="*/ 3770610 w 5806384"/>
                  <a:gd name="connsiteY474" fmla="*/ 3682804 h 4036143"/>
                  <a:gd name="connsiteX475" fmla="*/ 3647401 w 5806384"/>
                  <a:gd name="connsiteY475" fmla="*/ 3614827 h 4036143"/>
                  <a:gd name="connsiteX476" fmla="*/ 3647401 w 5806384"/>
                  <a:gd name="connsiteY476" fmla="*/ 3614827 h 4036143"/>
                  <a:gd name="connsiteX477" fmla="*/ 3575175 w 5806384"/>
                  <a:gd name="connsiteY477" fmla="*/ 3888152 h 4036143"/>
                  <a:gd name="connsiteX478" fmla="*/ 3389654 w 5806384"/>
                  <a:gd name="connsiteY478" fmla="*/ 3752198 h 4036143"/>
                  <a:gd name="connsiteX479" fmla="*/ 3375492 w 5806384"/>
                  <a:gd name="connsiteY479" fmla="*/ 3478873 h 4036143"/>
                  <a:gd name="connsiteX480" fmla="*/ 3375492 w 5806384"/>
                  <a:gd name="connsiteY480" fmla="*/ 3478873 h 4036143"/>
                  <a:gd name="connsiteX481" fmla="*/ 3318844 w 5806384"/>
                  <a:gd name="connsiteY481" fmla="*/ 3502948 h 4036143"/>
                  <a:gd name="connsiteX482" fmla="*/ 3317428 w 5806384"/>
                  <a:gd name="connsiteY482" fmla="*/ 3502948 h 4036143"/>
                  <a:gd name="connsiteX483" fmla="*/ 3252283 w 5806384"/>
                  <a:gd name="connsiteY483" fmla="*/ 3366994 h 4036143"/>
                  <a:gd name="connsiteX484" fmla="*/ 3280607 w 5806384"/>
                  <a:gd name="connsiteY484" fmla="*/ 3236704 h 4036143"/>
                  <a:gd name="connsiteX485" fmla="*/ 3432140 w 5806384"/>
                  <a:gd name="connsiteY485" fmla="*/ 3310346 h 4036143"/>
                  <a:gd name="connsiteX486" fmla="*/ 3432140 w 5806384"/>
                  <a:gd name="connsiteY486" fmla="*/ 3310346 h 4036143"/>
                  <a:gd name="connsiteX487" fmla="*/ 3558181 w 5806384"/>
                  <a:gd name="connsiteY487" fmla="*/ 3209797 h 4036143"/>
                  <a:gd name="connsiteX488" fmla="*/ 3558181 w 5806384"/>
                  <a:gd name="connsiteY488" fmla="*/ 3209797 h 4036143"/>
                  <a:gd name="connsiteX489" fmla="*/ 3483123 w 5806384"/>
                  <a:gd name="connsiteY489" fmla="*/ 3167311 h 4036143"/>
                  <a:gd name="connsiteX490" fmla="*/ 3517111 w 5806384"/>
                  <a:gd name="connsiteY490" fmla="*/ 3136155 h 4036143"/>
                  <a:gd name="connsiteX491" fmla="*/ 3432140 w 5806384"/>
                  <a:gd name="connsiteY491" fmla="*/ 3138987 h 4036143"/>
                  <a:gd name="connsiteX492" fmla="*/ 3372659 w 5806384"/>
                  <a:gd name="connsiteY492" fmla="*/ 3106415 h 4036143"/>
                  <a:gd name="connsiteX493" fmla="*/ 3342920 w 5806384"/>
                  <a:gd name="connsiteY493" fmla="*/ 2954882 h 4036143"/>
                  <a:gd name="connsiteX494" fmla="*/ 3450550 w 5806384"/>
                  <a:gd name="connsiteY494" fmla="*/ 3005865 h 4036143"/>
                  <a:gd name="connsiteX495" fmla="*/ 3450550 w 5806384"/>
                  <a:gd name="connsiteY495" fmla="*/ 3005865 h 4036143"/>
                  <a:gd name="connsiteX496" fmla="*/ 3434972 w 5806384"/>
                  <a:gd name="connsiteY496" fmla="*/ 2888321 h 4036143"/>
                  <a:gd name="connsiteX497" fmla="*/ 3696968 w 5806384"/>
                  <a:gd name="connsiteY497" fmla="*/ 2756616 h 4036143"/>
                  <a:gd name="connsiteX498" fmla="*/ 3696968 w 5806384"/>
                  <a:gd name="connsiteY498" fmla="*/ 2756616 h 4036143"/>
                  <a:gd name="connsiteX499" fmla="*/ 3621910 w 5806384"/>
                  <a:gd name="connsiteY499" fmla="*/ 2718378 h 4036143"/>
                  <a:gd name="connsiteX500" fmla="*/ 3779106 w 5806384"/>
                  <a:gd name="connsiteY500" fmla="*/ 2347336 h 4036143"/>
                  <a:gd name="connsiteX501" fmla="*/ 3779106 w 5806384"/>
                  <a:gd name="connsiteY501" fmla="*/ 2347336 h 4036143"/>
                  <a:gd name="connsiteX502" fmla="*/ 3745118 w 5806384"/>
                  <a:gd name="connsiteY502" fmla="*/ 2072595 h 4036143"/>
                  <a:gd name="connsiteX503" fmla="*/ 3823009 w 5806384"/>
                  <a:gd name="connsiteY503" fmla="*/ 2102335 h 4036143"/>
                  <a:gd name="connsiteX504" fmla="*/ 3823009 w 5806384"/>
                  <a:gd name="connsiteY504" fmla="*/ 2102335 h 4036143"/>
                  <a:gd name="connsiteX505" fmla="*/ 3865495 w 5806384"/>
                  <a:gd name="connsiteY505" fmla="*/ 1969213 h 4036143"/>
                  <a:gd name="connsiteX506" fmla="*/ 4045350 w 5806384"/>
                  <a:gd name="connsiteY506" fmla="*/ 2074011 h 4036143"/>
                  <a:gd name="connsiteX507" fmla="*/ 4046767 w 5806384"/>
                  <a:gd name="connsiteY507" fmla="*/ 2074011 h 4036143"/>
                  <a:gd name="connsiteX508" fmla="*/ 3889569 w 5806384"/>
                  <a:gd name="connsiteY508" fmla="*/ 1891323 h 4036143"/>
                  <a:gd name="connsiteX509" fmla="*/ 3933472 w 5806384"/>
                  <a:gd name="connsiteY509" fmla="*/ 1752536 h 4036143"/>
                  <a:gd name="connsiteX510" fmla="*/ 4086420 w 5806384"/>
                  <a:gd name="connsiteY510" fmla="*/ 1710050 h 4036143"/>
                  <a:gd name="connsiteX511" fmla="*/ 4235120 w 5806384"/>
                  <a:gd name="connsiteY511" fmla="*/ 1786525 h 4036143"/>
                  <a:gd name="connsiteX512" fmla="*/ 4195467 w 5806384"/>
                  <a:gd name="connsiteY512" fmla="*/ 1974878 h 4036143"/>
                  <a:gd name="connsiteX513" fmla="*/ 4195467 w 5806384"/>
                  <a:gd name="connsiteY513" fmla="*/ 1974878 h 4036143"/>
                  <a:gd name="connsiteX514" fmla="*/ 4390901 w 5806384"/>
                  <a:gd name="connsiteY514" fmla="*/ 1862999 h 4036143"/>
                  <a:gd name="connsiteX515" fmla="*/ 4390901 w 5806384"/>
                  <a:gd name="connsiteY515" fmla="*/ 1862999 h 4036143"/>
                  <a:gd name="connsiteX516" fmla="*/ 4243617 w 5806384"/>
                  <a:gd name="connsiteY516" fmla="*/ 1786525 h 4036143"/>
                  <a:gd name="connsiteX517" fmla="*/ 4270525 w 5806384"/>
                  <a:gd name="connsiteY517" fmla="*/ 1661900 h 4036143"/>
                  <a:gd name="connsiteX518" fmla="*/ 4407896 w 5806384"/>
                  <a:gd name="connsiteY518" fmla="*/ 1625079 h 4036143"/>
                  <a:gd name="connsiteX519" fmla="*/ 4407896 w 5806384"/>
                  <a:gd name="connsiteY519" fmla="*/ 1625079 h 4036143"/>
                  <a:gd name="connsiteX520" fmla="*/ 4274774 w 5806384"/>
                  <a:gd name="connsiteY520" fmla="*/ 1354587 h 4036143"/>
                  <a:gd name="connsiteX521" fmla="*/ 4480121 w 5806384"/>
                  <a:gd name="connsiteY521" fmla="*/ 1273864 h 4036143"/>
                  <a:gd name="connsiteX522" fmla="*/ 4480121 w 5806384"/>
                  <a:gd name="connsiteY522" fmla="*/ 1273864 h 4036143"/>
                  <a:gd name="connsiteX523" fmla="*/ 4478705 w 5806384"/>
                  <a:gd name="connsiteY523" fmla="*/ 1261118 h 4036143"/>
                  <a:gd name="connsiteX524" fmla="*/ 4777522 w 5806384"/>
                  <a:gd name="connsiteY524" fmla="*/ 1191725 h 4036143"/>
                  <a:gd name="connsiteX525" fmla="*/ 4984286 w 5806384"/>
                  <a:gd name="connsiteY525" fmla="*/ 970799 h 4036143"/>
                  <a:gd name="connsiteX526" fmla="*/ 5267524 w 5806384"/>
                  <a:gd name="connsiteY526" fmla="*/ 1129412 h 4036143"/>
                  <a:gd name="connsiteX527" fmla="*/ 5149980 w 5806384"/>
                  <a:gd name="connsiteY527" fmla="*/ 1232794 h 4036143"/>
                  <a:gd name="connsiteX528" fmla="*/ 5040934 w 5806384"/>
                  <a:gd name="connsiteY528" fmla="*/ 1307852 h 4036143"/>
                  <a:gd name="connsiteX529" fmla="*/ 5040934 w 5806384"/>
                  <a:gd name="connsiteY529" fmla="*/ 1307852 h 4036143"/>
                  <a:gd name="connsiteX530" fmla="*/ 5113159 w 5806384"/>
                  <a:gd name="connsiteY530" fmla="*/ 1416899 h 4036143"/>
                  <a:gd name="connsiteX531" fmla="*/ 5021107 w 5806384"/>
                  <a:gd name="connsiteY531" fmla="*/ 1585426 h 4036143"/>
                  <a:gd name="connsiteX532" fmla="*/ 4934719 w 5806384"/>
                  <a:gd name="connsiteY532" fmla="*/ 1693056 h 4036143"/>
                  <a:gd name="connsiteX533" fmla="*/ 4844083 w 5806384"/>
                  <a:gd name="connsiteY533" fmla="*/ 1821930 h 4036143"/>
                  <a:gd name="connsiteX534" fmla="*/ 4784602 w 5806384"/>
                  <a:gd name="connsiteY534" fmla="*/ 1879993 h 4036143"/>
                  <a:gd name="connsiteX535" fmla="*/ 4784602 w 5806384"/>
                  <a:gd name="connsiteY535" fmla="*/ 1879993 h 4036143"/>
                  <a:gd name="connsiteX536" fmla="*/ 4786019 w 5806384"/>
                  <a:gd name="connsiteY536" fmla="*/ 1881410 h 4036143"/>
                  <a:gd name="connsiteX537" fmla="*/ 4786019 w 5806384"/>
                  <a:gd name="connsiteY537" fmla="*/ 1881410 h 4036143"/>
                  <a:gd name="connsiteX538" fmla="*/ 4845499 w 5806384"/>
                  <a:gd name="connsiteY538" fmla="*/ 1823346 h 4036143"/>
                  <a:gd name="connsiteX539" fmla="*/ 4937551 w 5806384"/>
                  <a:gd name="connsiteY539" fmla="*/ 1693056 h 4036143"/>
                  <a:gd name="connsiteX540" fmla="*/ 5023939 w 5806384"/>
                  <a:gd name="connsiteY540" fmla="*/ 1585426 h 4036143"/>
                  <a:gd name="connsiteX541" fmla="*/ 5115992 w 5806384"/>
                  <a:gd name="connsiteY541" fmla="*/ 1416899 h 4036143"/>
                  <a:gd name="connsiteX542" fmla="*/ 5115992 w 5806384"/>
                  <a:gd name="connsiteY542" fmla="*/ 1416899 h 4036143"/>
                  <a:gd name="connsiteX543" fmla="*/ 5045182 w 5806384"/>
                  <a:gd name="connsiteY543" fmla="*/ 1309268 h 4036143"/>
                  <a:gd name="connsiteX544" fmla="*/ 5152812 w 5806384"/>
                  <a:gd name="connsiteY544" fmla="*/ 1235626 h 4036143"/>
                  <a:gd name="connsiteX545" fmla="*/ 5271773 w 5806384"/>
                  <a:gd name="connsiteY545" fmla="*/ 1130828 h 4036143"/>
                  <a:gd name="connsiteX546" fmla="*/ 5271773 w 5806384"/>
                  <a:gd name="connsiteY546" fmla="*/ 1130828 h 4036143"/>
                  <a:gd name="connsiteX547" fmla="*/ 4984286 w 5806384"/>
                  <a:gd name="connsiteY547" fmla="*/ 969383 h 4036143"/>
                  <a:gd name="connsiteX548" fmla="*/ 4984286 w 5806384"/>
                  <a:gd name="connsiteY548" fmla="*/ 969383 h 4036143"/>
                  <a:gd name="connsiteX549" fmla="*/ 4776106 w 5806384"/>
                  <a:gd name="connsiteY549" fmla="*/ 1188892 h 4036143"/>
                  <a:gd name="connsiteX550" fmla="*/ 4477289 w 5806384"/>
                  <a:gd name="connsiteY550" fmla="*/ 1258286 h 4036143"/>
                  <a:gd name="connsiteX551" fmla="*/ 4458878 w 5806384"/>
                  <a:gd name="connsiteY551" fmla="*/ 1115250 h 4036143"/>
                  <a:gd name="connsiteX552" fmla="*/ 4542434 w 5806384"/>
                  <a:gd name="connsiteY552" fmla="*/ 980712 h 4036143"/>
                  <a:gd name="connsiteX553" fmla="*/ 4618908 w 5806384"/>
                  <a:gd name="connsiteY553" fmla="*/ 956637 h 4036143"/>
                  <a:gd name="connsiteX554" fmla="*/ 4771857 w 5806384"/>
                  <a:gd name="connsiteY554" fmla="*/ 1108169 h 4036143"/>
                  <a:gd name="connsiteX555" fmla="*/ 4771857 w 5806384"/>
                  <a:gd name="connsiteY555" fmla="*/ 1108169 h 4036143"/>
                  <a:gd name="connsiteX556" fmla="*/ 5084835 w 5806384"/>
                  <a:gd name="connsiteY556" fmla="*/ 892908 h 4036143"/>
                  <a:gd name="connsiteX557" fmla="*/ 5264692 w 5806384"/>
                  <a:gd name="connsiteY557" fmla="*/ 993458 h 4036143"/>
                  <a:gd name="connsiteX558" fmla="*/ 5264692 w 5806384"/>
                  <a:gd name="connsiteY558" fmla="*/ 993458 h 4036143"/>
                  <a:gd name="connsiteX559" fmla="*/ 5271773 w 5806384"/>
                  <a:gd name="connsiteY559" fmla="*/ 982128 h 4036143"/>
                  <a:gd name="connsiteX560" fmla="*/ 5355327 w 5806384"/>
                  <a:gd name="connsiteY560" fmla="*/ 1030279 h 4036143"/>
                  <a:gd name="connsiteX561" fmla="*/ 5277437 w 5806384"/>
                  <a:gd name="connsiteY561" fmla="*/ 1147823 h 4036143"/>
                  <a:gd name="connsiteX562" fmla="*/ 5277437 w 5806384"/>
                  <a:gd name="connsiteY562" fmla="*/ 1149239 h 4036143"/>
                  <a:gd name="connsiteX563" fmla="*/ 5404894 w 5806384"/>
                  <a:gd name="connsiteY563" fmla="*/ 1057186 h 4036143"/>
                  <a:gd name="connsiteX564" fmla="*/ 5404894 w 5806384"/>
                  <a:gd name="connsiteY564" fmla="*/ 1057186 h 4036143"/>
                  <a:gd name="connsiteX565" fmla="*/ 5358160 w 5806384"/>
                  <a:gd name="connsiteY565" fmla="*/ 1030279 h 4036143"/>
                  <a:gd name="connsiteX566" fmla="*/ 5411975 w 5806384"/>
                  <a:gd name="connsiteY566" fmla="*/ 949556 h 4036143"/>
                  <a:gd name="connsiteX567" fmla="*/ 5489866 w 5806384"/>
                  <a:gd name="connsiteY567" fmla="*/ 1043025 h 4036143"/>
                  <a:gd name="connsiteX568" fmla="*/ 5489866 w 5806384"/>
                  <a:gd name="connsiteY568" fmla="*/ 1043025 h 4036143"/>
                  <a:gd name="connsiteX569" fmla="*/ 5706544 w 5806384"/>
                  <a:gd name="connsiteY569" fmla="*/ 803688 h 4036143"/>
                  <a:gd name="connsiteX570" fmla="*/ 5804260 w 5806384"/>
                  <a:gd name="connsiteY570" fmla="*/ 929729 h 4036143"/>
                  <a:gd name="connsiteX571" fmla="*/ 5804260 w 5806384"/>
                  <a:gd name="connsiteY571" fmla="*/ 929729 h 4036143"/>
                  <a:gd name="connsiteX572" fmla="*/ 5805677 w 5806384"/>
                  <a:gd name="connsiteY572" fmla="*/ 928313 h 4036143"/>
                  <a:gd name="connsiteX573" fmla="*/ 5805677 w 5806384"/>
                  <a:gd name="connsiteY573" fmla="*/ 928313 h 4036143"/>
                  <a:gd name="connsiteX574" fmla="*/ 5707959 w 5806384"/>
                  <a:gd name="connsiteY574" fmla="*/ 799440 h 4036143"/>
                  <a:gd name="connsiteX575" fmla="*/ 3376909 w 5806384"/>
                  <a:gd name="connsiteY575" fmla="*/ 3106415 h 4036143"/>
                  <a:gd name="connsiteX576" fmla="*/ 3432140 w 5806384"/>
                  <a:gd name="connsiteY576" fmla="*/ 3137571 h 4036143"/>
                  <a:gd name="connsiteX577" fmla="*/ 3383990 w 5806384"/>
                  <a:gd name="connsiteY577" fmla="*/ 3138987 h 4036143"/>
                  <a:gd name="connsiteX578" fmla="*/ 3376909 w 5806384"/>
                  <a:gd name="connsiteY578" fmla="*/ 3106415 h 4036143"/>
                  <a:gd name="connsiteX579" fmla="*/ 3402400 w 5806384"/>
                  <a:gd name="connsiteY579" fmla="*/ 3239537 h 4036143"/>
                  <a:gd name="connsiteX580" fmla="*/ 3382573 w 5806384"/>
                  <a:gd name="connsiteY580" fmla="*/ 3141819 h 4036143"/>
                  <a:gd name="connsiteX581" fmla="*/ 3434972 w 5806384"/>
                  <a:gd name="connsiteY581" fmla="*/ 3140403 h 4036143"/>
                  <a:gd name="connsiteX582" fmla="*/ 3483123 w 5806384"/>
                  <a:gd name="connsiteY582" fmla="*/ 3167311 h 4036143"/>
                  <a:gd name="connsiteX583" fmla="*/ 3402400 w 5806384"/>
                  <a:gd name="connsiteY583" fmla="*/ 3239537 h 4036143"/>
                  <a:gd name="connsiteX584" fmla="*/ 3439221 w 5806384"/>
                  <a:gd name="connsiteY584" fmla="*/ 3138987 h 4036143"/>
                  <a:gd name="connsiteX585" fmla="*/ 3514279 w 5806384"/>
                  <a:gd name="connsiteY585" fmla="*/ 3136155 h 4036143"/>
                  <a:gd name="connsiteX586" fmla="*/ 3483123 w 5806384"/>
                  <a:gd name="connsiteY586" fmla="*/ 3164478 h 4036143"/>
                  <a:gd name="connsiteX587" fmla="*/ 3439221 w 5806384"/>
                  <a:gd name="connsiteY587" fmla="*/ 3138987 h 4036143"/>
                  <a:gd name="connsiteX588" fmla="*/ 2505951 w 5806384"/>
                  <a:gd name="connsiteY588" fmla="*/ 3059680 h 4036143"/>
                  <a:gd name="connsiteX589" fmla="*/ 2614997 w 5806384"/>
                  <a:gd name="connsiteY589" fmla="*/ 3004449 h 4036143"/>
                  <a:gd name="connsiteX590" fmla="*/ 2579592 w 5806384"/>
                  <a:gd name="connsiteY590" fmla="*/ 3117744 h 4036143"/>
                  <a:gd name="connsiteX591" fmla="*/ 2505951 w 5806384"/>
                  <a:gd name="connsiteY591" fmla="*/ 3059680 h 4036143"/>
                  <a:gd name="connsiteX592" fmla="*/ 2539939 w 5806384"/>
                  <a:gd name="connsiteY592" fmla="*/ 3255115 h 4036143"/>
                  <a:gd name="connsiteX593" fmla="*/ 2581009 w 5806384"/>
                  <a:gd name="connsiteY593" fmla="*/ 3119160 h 4036143"/>
                  <a:gd name="connsiteX594" fmla="*/ 2654651 w 5806384"/>
                  <a:gd name="connsiteY594" fmla="*/ 3175808 h 4036143"/>
                  <a:gd name="connsiteX595" fmla="*/ 2539939 w 5806384"/>
                  <a:gd name="connsiteY595" fmla="*/ 3255115 h 4036143"/>
                  <a:gd name="connsiteX596" fmla="*/ 1928145 w 5806384"/>
                  <a:gd name="connsiteY596" fmla="*/ 2469129 h 4036143"/>
                  <a:gd name="connsiteX597" fmla="*/ 1712883 w 5806384"/>
                  <a:gd name="connsiteY597" fmla="*/ 2498869 h 4036143"/>
                  <a:gd name="connsiteX598" fmla="*/ 1496206 w 5806384"/>
                  <a:gd name="connsiteY598" fmla="*/ 2110833 h 4036143"/>
                  <a:gd name="connsiteX599" fmla="*/ 1496206 w 5806384"/>
                  <a:gd name="connsiteY599" fmla="*/ 2110833 h 4036143"/>
                  <a:gd name="connsiteX600" fmla="*/ 1493374 w 5806384"/>
                  <a:gd name="connsiteY600" fmla="*/ 2110833 h 4036143"/>
                  <a:gd name="connsiteX601" fmla="*/ 1487709 w 5806384"/>
                  <a:gd name="connsiteY601" fmla="*/ 2098087 h 4036143"/>
                  <a:gd name="connsiteX602" fmla="*/ 1928145 w 5806384"/>
                  <a:gd name="connsiteY602" fmla="*/ 2469129 h 4036143"/>
                  <a:gd name="connsiteX603" fmla="*/ 1928145 w 5806384"/>
                  <a:gd name="connsiteY603" fmla="*/ 2865662 h 4036143"/>
                  <a:gd name="connsiteX604" fmla="*/ 1824762 w 5806384"/>
                  <a:gd name="connsiteY604" fmla="*/ 2869911 h 4036143"/>
                  <a:gd name="connsiteX605" fmla="*/ 1814849 w 5806384"/>
                  <a:gd name="connsiteY605" fmla="*/ 2845835 h 4036143"/>
                  <a:gd name="connsiteX606" fmla="*/ 1928145 w 5806384"/>
                  <a:gd name="connsiteY606" fmla="*/ 2865662 h 4036143"/>
                  <a:gd name="connsiteX607" fmla="*/ 1867248 w 5806384"/>
                  <a:gd name="connsiteY607" fmla="*/ 2966212 h 4036143"/>
                  <a:gd name="connsiteX608" fmla="*/ 1826179 w 5806384"/>
                  <a:gd name="connsiteY608" fmla="*/ 2871327 h 4036143"/>
                  <a:gd name="connsiteX609" fmla="*/ 1939474 w 5806384"/>
                  <a:gd name="connsiteY609" fmla="*/ 2867078 h 4036143"/>
                  <a:gd name="connsiteX610" fmla="*/ 1939474 w 5806384"/>
                  <a:gd name="connsiteY610" fmla="*/ 2867078 h 4036143"/>
                  <a:gd name="connsiteX611" fmla="*/ 1939474 w 5806384"/>
                  <a:gd name="connsiteY611" fmla="*/ 2865662 h 4036143"/>
                  <a:gd name="connsiteX612" fmla="*/ 1813433 w 5806384"/>
                  <a:gd name="connsiteY612" fmla="*/ 2843003 h 4036143"/>
                  <a:gd name="connsiteX613" fmla="*/ 1766699 w 5806384"/>
                  <a:gd name="connsiteY613" fmla="*/ 2735373 h 4036143"/>
                  <a:gd name="connsiteX614" fmla="*/ 1969214 w 5806384"/>
                  <a:gd name="connsiteY614" fmla="*/ 2801934 h 4036143"/>
                  <a:gd name="connsiteX615" fmla="*/ 2006035 w 5806384"/>
                  <a:gd name="connsiteY615" fmla="*/ 2950634 h 4036143"/>
                  <a:gd name="connsiteX616" fmla="*/ 1867248 w 5806384"/>
                  <a:gd name="connsiteY616" fmla="*/ 2966212 h 4036143"/>
                  <a:gd name="connsiteX617" fmla="*/ 1745456 w 5806384"/>
                  <a:gd name="connsiteY617" fmla="*/ 2833090 h 4036143"/>
                  <a:gd name="connsiteX618" fmla="*/ 1812017 w 5806384"/>
                  <a:gd name="connsiteY618" fmla="*/ 2844419 h 4036143"/>
                  <a:gd name="connsiteX619" fmla="*/ 1823346 w 5806384"/>
                  <a:gd name="connsiteY619" fmla="*/ 2868495 h 4036143"/>
                  <a:gd name="connsiteX620" fmla="*/ 1775196 w 5806384"/>
                  <a:gd name="connsiteY620" fmla="*/ 2869911 h 4036143"/>
                  <a:gd name="connsiteX621" fmla="*/ 1745456 w 5806384"/>
                  <a:gd name="connsiteY621" fmla="*/ 2833090 h 4036143"/>
                  <a:gd name="connsiteX622" fmla="*/ 1708635 w 5806384"/>
                  <a:gd name="connsiteY622" fmla="*/ 2827425 h 4036143"/>
                  <a:gd name="connsiteX623" fmla="*/ 1704386 w 5806384"/>
                  <a:gd name="connsiteY623" fmla="*/ 2874159 h 4036143"/>
                  <a:gd name="connsiteX624" fmla="*/ 1649155 w 5806384"/>
                  <a:gd name="connsiteY624" fmla="*/ 2875576 h 4036143"/>
                  <a:gd name="connsiteX625" fmla="*/ 1554270 w 5806384"/>
                  <a:gd name="connsiteY625" fmla="*/ 2799101 h 4036143"/>
                  <a:gd name="connsiteX626" fmla="*/ 1708635 w 5806384"/>
                  <a:gd name="connsiteY626" fmla="*/ 2827425 h 4036143"/>
                  <a:gd name="connsiteX627" fmla="*/ 1405570 w 5806384"/>
                  <a:gd name="connsiteY627" fmla="*/ 2392654 h 4036143"/>
                  <a:gd name="connsiteX628" fmla="*/ 1439559 w 5806384"/>
                  <a:gd name="connsiteY628" fmla="*/ 2437973 h 4036143"/>
                  <a:gd name="connsiteX629" fmla="*/ 1303604 w 5806384"/>
                  <a:gd name="connsiteY629" fmla="*/ 2547019 h 4036143"/>
                  <a:gd name="connsiteX630" fmla="*/ 1365916 w 5806384"/>
                  <a:gd name="connsiteY630" fmla="*/ 2402568 h 4036143"/>
                  <a:gd name="connsiteX631" fmla="*/ 1405570 w 5806384"/>
                  <a:gd name="connsiteY631" fmla="*/ 2392654 h 4036143"/>
                  <a:gd name="connsiteX632" fmla="*/ 1299356 w 5806384"/>
                  <a:gd name="connsiteY632" fmla="*/ 2249619 h 4036143"/>
                  <a:gd name="connsiteX633" fmla="*/ 1222881 w 5806384"/>
                  <a:gd name="connsiteY633" fmla="*/ 2149070 h 4036143"/>
                  <a:gd name="connsiteX634" fmla="*/ 1228546 w 5806384"/>
                  <a:gd name="connsiteY634" fmla="*/ 2144821 h 4036143"/>
                  <a:gd name="connsiteX635" fmla="*/ 1351754 w 5806384"/>
                  <a:gd name="connsiteY635" fmla="*/ 2130659 h 4036143"/>
                  <a:gd name="connsiteX636" fmla="*/ 1387159 w 5806384"/>
                  <a:gd name="connsiteY636" fmla="*/ 2272278 h 4036143"/>
                  <a:gd name="connsiteX637" fmla="*/ 1387159 w 5806384"/>
                  <a:gd name="connsiteY637" fmla="*/ 2272278 h 4036143"/>
                  <a:gd name="connsiteX638" fmla="*/ 1480628 w 5806384"/>
                  <a:gd name="connsiteY638" fmla="*/ 2137740 h 4036143"/>
                  <a:gd name="connsiteX639" fmla="*/ 1389992 w 5806384"/>
                  <a:gd name="connsiteY639" fmla="*/ 2345920 h 4036143"/>
                  <a:gd name="connsiteX640" fmla="*/ 1299356 w 5806384"/>
                  <a:gd name="connsiteY640" fmla="*/ 2249619 h 4036143"/>
                  <a:gd name="connsiteX641" fmla="*/ 1296523 w 5806384"/>
                  <a:gd name="connsiteY641" fmla="*/ 2565430 h 4036143"/>
                  <a:gd name="connsiteX642" fmla="*/ 1303604 w 5806384"/>
                  <a:gd name="connsiteY642" fmla="*/ 2551268 h 4036143"/>
                  <a:gd name="connsiteX643" fmla="*/ 1442391 w 5806384"/>
                  <a:gd name="connsiteY643" fmla="*/ 2439389 h 4036143"/>
                  <a:gd name="connsiteX644" fmla="*/ 1567016 w 5806384"/>
                  <a:gd name="connsiteY644" fmla="*/ 2602251 h 4036143"/>
                  <a:gd name="connsiteX645" fmla="*/ 1542940 w 5806384"/>
                  <a:gd name="connsiteY645" fmla="*/ 2636239 h 4036143"/>
                  <a:gd name="connsiteX646" fmla="*/ 1296523 w 5806384"/>
                  <a:gd name="connsiteY646" fmla="*/ 2565430 h 4036143"/>
                  <a:gd name="connsiteX647" fmla="*/ 1609501 w 5806384"/>
                  <a:gd name="connsiteY647" fmla="*/ 2658898 h 4036143"/>
                  <a:gd name="connsiteX648" fmla="*/ 1632161 w 5806384"/>
                  <a:gd name="connsiteY648" fmla="*/ 2688638 h 4036143"/>
                  <a:gd name="connsiteX649" fmla="*/ 1530195 w 5806384"/>
                  <a:gd name="connsiteY649" fmla="*/ 2654650 h 4036143"/>
                  <a:gd name="connsiteX650" fmla="*/ 1541524 w 5806384"/>
                  <a:gd name="connsiteY650" fmla="*/ 2639072 h 4036143"/>
                  <a:gd name="connsiteX651" fmla="*/ 1609501 w 5806384"/>
                  <a:gd name="connsiteY651" fmla="*/ 2658898 h 4036143"/>
                  <a:gd name="connsiteX652" fmla="*/ 1425397 w 5806384"/>
                  <a:gd name="connsiteY652" fmla="*/ 2386990 h 4036143"/>
                  <a:gd name="connsiteX653" fmla="*/ 1459385 w 5806384"/>
                  <a:gd name="connsiteY653" fmla="*/ 2422394 h 4036143"/>
                  <a:gd name="connsiteX654" fmla="*/ 1442391 w 5806384"/>
                  <a:gd name="connsiteY654" fmla="*/ 2436556 h 4036143"/>
                  <a:gd name="connsiteX655" fmla="*/ 1408402 w 5806384"/>
                  <a:gd name="connsiteY655" fmla="*/ 2392654 h 4036143"/>
                  <a:gd name="connsiteX656" fmla="*/ 1425397 w 5806384"/>
                  <a:gd name="connsiteY656" fmla="*/ 2386990 h 4036143"/>
                  <a:gd name="connsiteX657" fmla="*/ 1428229 w 5806384"/>
                  <a:gd name="connsiteY657" fmla="*/ 2386990 h 4036143"/>
                  <a:gd name="connsiteX658" fmla="*/ 1542940 w 5806384"/>
                  <a:gd name="connsiteY658" fmla="*/ 2354417 h 4036143"/>
                  <a:gd name="connsiteX659" fmla="*/ 1460801 w 5806384"/>
                  <a:gd name="connsiteY659" fmla="*/ 2420978 h 4036143"/>
                  <a:gd name="connsiteX660" fmla="*/ 1428229 w 5806384"/>
                  <a:gd name="connsiteY660" fmla="*/ 2386990 h 4036143"/>
                  <a:gd name="connsiteX661" fmla="*/ 1460801 w 5806384"/>
                  <a:gd name="connsiteY661" fmla="*/ 2423811 h 4036143"/>
                  <a:gd name="connsiteX662" fmla="*/ 1593923 w 5806384"/>
                  <a:gd name="connsiteY662" fmla="*/ 2564014 h 4036143"/>
                  <a:gd name="connsiteX663" fmla="*/ 1568432 w 5806384"/>
                  <a:gd name="connsiteY663" fmla="*/ 2600835 h 4036143"/>
                  <a:gd name="connsiteX664" fmla="*/ 1443807 w 5806384"/>
                  <a:gd name="connsiteY664" fmla="*/ 2437973 h 4036143"/>
                  <a:gd name="connsiteX665" fmla="*/ 1460801 w 5806384"/>
                  <a:gd name="connsiteY665" fmla="*/ 2423811 h 4036143"/>
                  <a:gd name="connsiteX666" fmla="*/ 1544357 w 5806384"/>
                  <a:gd name="connsiteY666" fmla="*/ 2637655 h 4036143"/>
                  <a:gd name="connsiteX667" fmla="*/ 1568432 w 5806384"/>
                  <a:gd name="connsiteY667" fmla="*/ 2603667 h 4036143"/>
                  <a:gd name="connsiteX668" fmla="*/ 1608085 w 5806384"/>
                  <a:gd name="connsiteY668" fmla="*/ 2656066 h 4036143"/>
                  <a:gd name="connsiteX669" fmla="*/ 1544357 w 5806384"/>
                  <a:gd name="connsiteY669" fmla="*/ 2637655 h 4036143"/>
                  <a:gd name="connsiteX670" fmla="*/ 1636409 w 5806384"/>
                  <a:gd name="connsiteY670" fmla="*/ 2690054 h 4036143"/>
                  <a:gd name="connsiteX671" fmla="*/ 1613750 w 5806384"/>
                  <a:gd name="connsiteY671" fmla="*/ 2660315 h 4036143"/>
                  <a:gd name="connsiteX672" fmla="*/ 1721381 w 5806384"/>
                  <a:gd name="connsiteY672" fmla="*/ 2691471 h 4036143"/>
                  <a:gd name="connsiteX673" fmla="*/ 1718548 w 5806384"/>
                  <a:gd name="connsiteY673" fmla="*/ 2718378 h 4036143"/>
                  <a:gd name="connsiteX674" fmla="*/ 1636409 w 5806384"/>
                  <a:gd name="connsiteY674" fmla="*/ 2690054 h 4036143"/>
                  <a:gd name="connsiteX675" fmla="*/ 1718548 w 5806384"/>
                  <a:gd name="connsiteY675" fmla="*/ 2719795 h 4036143"/>
                  <a:gd name="connsiteX676" fmla="*/ 1712883 w 5806384"/>
                  <a:gd name="connsiteY676" fmla="*/ 2789188 h 4036143"/>
                  <a:gd name="connsiteX677" fmla="*/ 1639242 w 5806384"/>
                  <a:gd name="connsiteY677" fmla="*/ 2692887 h 4036143"/>
                  <a:gd name="connsiteX678" fmla="*/ 1718548 w 5806384"/>
                  <a:gd name="connsiteY678" fmla="*/ 2719795 h 4036143"/>
                  <a:gd name="connsiteX679" fmla="*/ 1423980 w 5806384"/>
                  <a:gd name="connsiteY679" fmla="*/ 2385573 h 4036143"/>
                  <a:gd name="connsiteX680" fmla="*/ 1406986 w 5806384"/>
                  <a:gd name="connsiteY680" fmla="*/ 2389822 h 4036143"/>
                  <a:gd name="connsiteX681" fmla="*/ 1385743 w 5806384"/>
                  <a:gd name="connsiteY681" fmla="*/ 2361498 h 4036143"/>
                  <a:gd name="connsiteX682" fmla="*/ 1391408 w 5806384"/>
                  <a:gd name="connsiteY682" fmla="*/ 2348753 h 4036143"/>
                  <a:gd name="connsiteX683" fmla="*/ 1423980 w 5806384"/>
                  <a:gd name="connsiteY683" fmla="*/ 2385573 h 4036143"/>
                  <a:gd name="connsiteX684" fmla="*/ 1288026 w 5806384"/>
                  <a:gd name="connsiteY684" fmla="*/ 2564014 h 4036143"/>
                  <a:gd name="connsiteX685" fmla="*/ 1299356 w 5806384"/>
                  <a:gd name="connsiteY685" fmla="*/ 2554100 h 4036143"/>
                  <a:gd name="connsiteX686" fmla="*/ 1293691 w 5806384"/>
                  <a:gd name="connsiteY686" fmla="*/ 2565430 h 4036143"/>
                  <a:gd name="connsiteX687" fmla="*/ 1288026 w 5806384"/>
                  <a:gd name="connsiteY687" fmla="*/ 2564014 h 4036143"/>
                  <a:gd name="connsiteX688" fmla="*/ 1540108 w 5806384"/>
                  <a:gd name="connsiteY688" fmla="*/ 2639072 h 4036143"/>
                  <a:gd name="connsiteX689" fmla="*/ 1528778 w 5806384"/>
                  <a:gd name="connsiteY689" fmla="*/ 2654650 h 4036143"/>
                  <a:gd name="connsiteX690" fmla="*/ 1292275 w 5806384"/>
                  <a:gd name="connsiteY690" fmla="*/ 2576759 h 4036143"/>
                  <a:gd name="connsiteX691" fmla="*/ 1296523 w 5806384"/>
                  <a:gd name="connsiteY691" fmla="*/ 2568262 h 4036143"/>
                  <a:gd name="connsiteX692" fmla="*/ 1540108 w 5806384"/>
                  <a:gd name="connsiteY692" fmla="*/ 2639072 h 4036143"/>
                  <a:gd name="connsiteX693" fmla="*/ 1711467 w 5806384"/>
                  <a:gd name="connsiteY693" fmla="*/ 2824593 h 4036143"/>
                  <a:gd name="connsiteX694" fmla="*/ 1714300 w 5806384"/>
                  <a:gd name="connsiteY694" fmla="*/ 2794853 h 4036143"/>
                  <a:gd name="connsiteX695" fmla="*/ 1741207 w 5806384"/>
                  <a:gd name="connsiteY695" fmla="*/ 2830257 h 4036143"/>
                  <a:gd name="connsiteX696" fmla="*/ 1711467 w 5806384"/>
                  <a:gd name="connsiteY696" fmla="*/ 2824593 h 4036143"/>
                  <a:gd name="connsiteX697" fmla="*/ 1707219 w 5806384"/>
                  <a:gd name="connsiteY697" fmla="*/ 2874159 h 4036143"/>
                  <a:gd name="connsiteX698" fmla="*/ 1711467 w 5806384"/>
                  <a:gd name="connsiteY698" fmla="*/ 2827425 h 4036143"/>
                  <a:gd name="connsiteX699" fmla="*/ 1742623 w 5806384"/>
                  <a:gd name="connsiteY699" fmla="*/ 2833090 h 4036143"/>
                  <a:gd name="connsiteX700" fmla="*/ 1772363 w 5806384"/>
                  <a:gd name="connsiteY700" fmla="*/ 2871327 h 4036143"/>
                  <a:gd name="connsiteX701" fmla="*/ 1707219 w 5806384"/>
                  <a:gd name="connsiteY701" fmla="*/ 2874159 h 4036143"/>
                  <a:gd name="connsiteX702" fmla="*/ 1388576 w 5806384"/>
                  <a:gd name="connsiteY702" fmla="*/ 2347336 h 4036143"/>
                  <a:gd name="connsiteX703" fmla="*/ 1382911 w 5806384"/>
                  <a:gd name="connsiteY703" fmla="*/ 2360082 h 4036143"/>
                  <a:gd name="connsiteX704" fmla="*/ 1310685 w 5806384"/>
                  <a:gd name="connsiteY704" fmla="*/ 2265197 h 4036143"/>
                  <a:gd name="connsiteX705" fmla="*/ 1388576 w 5806384"/>
                  <a:gd name="connsiteY705" fmla="*/ 2347336 h 4036143"/>
                  <a:gd name="connsiteX706" fmla="*/ 1404154 w 5806384"/>
                  <a:gd name="connsiteY706" fmla="*/ 2391238 h 4036143"/>
                  <a:gd name="connsiteX707" fmla="*/ 1368749 w 5806384"/>
                  <a:gd name="connsiteY707" fmla="*/ 2401152 h 4036143"/>
                  <a:gd name="connsiteX708" fmla="*/ 1384327 w 5806384"/>
                  <a:gd name="connsiteY708" fmla="*/ 2364331 h 4036143"/>
                  <a:gd name="connsiteX709" fmla="*/ 1404154 w 5806384"/>
                  <a:gd name="connsiteY709" fmla="*/ 2391238 h 4036143"/>
                  <a:gd name="connsiteX710" fmla="*/ 1302188 w 5806384"/>
                  <a:gd name="connsiteY710" fmla="*/ 2549852 h 4036143"/>
                  <a:gd name="connsiteX711" fmla="*/ 1285194 w 5806384"/>
                  <a:gd name="connsiteY711" fmla="*/ 2564014 h 4036143"/>
                  <a:gd name="connsiteX712" fmla="*/ 1285194 w 5806384"/>
                  <a:gd name="connsiteY712" fmla="*/ 2564014 h 4036143"/>
                  <a:gd name="connsiteX713" fmla="*/ 1295107 w 5806384"/>
                  <a:gd name="connsiteY713" fmla="*/ 2566846 h 4036143"/>
                  <a:gd name="connsiteX714" fmla="*/ 1290858 w 5806384"/>
                  <a:gd name="connsiteY714" fmla="*/ 2576759 h 4036143"/>
                  <a:gd name="connsiteX715" fmla="*/ 1290858 w 5806384"/>
                  <a:gd name="connsiteY715" fmla="*/ 2576759 h 4036143"/>
                  <a:gd name="connsiteX716" fmla="*/ 1528778 w 5806384"/>
                  <a:gd name="connsiteY716" fmla="*/ 2656066 h 4036143"/>
                  <a:gd name="connsiteX717" fmla="*/ 1473547 w 5806384"/>
                  <a:gd name="connsiteY717" fmla="*/ 2732540 h 4036143"/>
                  <a:gd name="connsiteX718" fmla="*/ 1272448 w 5806384"/>
                  <a:gd name="connsiteY718" fmla="*/ 2569678 h 4036143"/>
                  <a:gd name="connsiteX719" fmla="*/ 1334760 w 5806384"/>
                  <a:gd name="connsiteY719" fmla="*/ 2412481 h 4036143"/>
                  <a:gd name="connsiteX720" fmla="*/ 1365916 w 5806384"/>
                  <a:gd name="connsiteY720" fmla="*/ 2403984 h 4036143"/>
                  <a:gd name="connsiteX721" fmla="*/ 1302188 w 5806384"/>
                  <a:gd name="connsiteY721" fmla="*/ 2549852 h 4036143"/>
                  <a:gd name="connsiteX722" fmla="*/ 1530195 w 5806384"/>
                  <a:gd name="connsiteY722" fmla="*/ 2657482 h 4036143"/>
                  <a:gd name="connsiteX723" fmla="*/ 1634993 w 5806384"/>
                  <a:gd name="connsiteY723" fmla="*/ 2692887 h 4036143"/>
                  <a:gd name="connsiteX724" fmla="*/ 1711467 w 5806384"/>
                  <a:gd name="connsiteY724" fmla="*/ 2793436 h 4036143"/>
                  <a:gd name="connsiteX725" fmla="*/ 1708635 w 5806384"/>
                  <a:gd name="connsiteY725" fmla="*/ 2826009 h 4036143"/>
                  <a:gd name="connsiteX726" fmla="*/ 1551438 w 5806384"/>
                  <a:gd name="connsiteY726" fmla="*/ 2797685 h 4036143"/>
                  <a:gd name="connsiteX727" fmla="*/ 1474963 w 5806384"/>
                  <a:gd name="connsiteY727" fmla="*/ 2735373 h 4036143"/>
                  <a:gd name="connsiteX728" fmla="*/ 1530195 w 5806384"/>
                  <a:gd name="connsiteY728" fmla="*/ 2657482 h 4036143"/>
                  <a:gd name="connsiteX729" fmla="*/ 1707219 w 5806384"/>
                  <a:gd name="connsiteY729" fmla="*/ 2875576 h 4036143"/>
                  <a:gd name="connsiteX730" fmla="*/ 1773780 w 5806384"/>
                  <a:gd name="connsiteY730" fmla="*/ 2872743 h 4036143"/>
                  <a:gd name="connsiteX731" fmla="*/ 1846005 w 5806384"/>
                  <a:gd name="connsiteY731" fmla="*/ 2967628 h 4036143"/>
                  <a:gd name="connsiteX732" fmla="*/ 1697305 w 5806384"/>
                  <a:gd name="connsiteY732" fmla="*/ 2984622 h 4036143"/>
                  <a:gd name="connsiteX733" fmla="*/ 1707219 w 5806384"/>
                  <a:gd name="connsiteY733" fmla="*/ 2875576 h 4036143"/>
                  <a:gd name="connsiteX734" fmla="*/ 1744040 w 5806384"/>
                  <a:gd name="connsiteY734" fmla="*/ 2831674 h 4036143"/>
                  <a:gd name="connsiteX735" fmla="*/ 1714300 w 5806384"/>
                  <a:gd name="connsiteY735" fmla="*/ 2792020 h 4036143"/>
                  <a:gd name="connsiteX736" fmla="*/ 1719964 w 5806384"/>
                  <a:gd name="connsiteY736" fmla="*/ 2719795 h 4036143"/>
                  <a:gd name="connsiteX737" fmla="*/ 1763866 w 5806384"/>
                  <a:gd name="connsiteY737" fmla="*/ 2733956 h 4036143"/>
                  <a:gd name="connsiteX738" fmla="*/ 1810600 w 5806384"/>
                  <a:gd name="connsiteY738" fmla="*/ 2843003 h 4036143"/>
                  <a:gd name="connsiteX739" fmla="*/ 1744040 w 5806384"/>
                  <a:gd name="connsiteY739" fmla="*/ 2831674 h 4036143"/>
                  <a:gd name="connsiteX740" fmla="*/ 1719964 w 5806384"/>
                  <a:gd name="connsiteY740" fmla="*/ 2718378 h 4036143"/>
                  <a:gd name="connsiteX741" fmla="*/ 1722797 w 5806384"/>
                  <a:gd name="connsiteY741" fmla="*/ 2690054 h 4036143"/>
                  <a:gd name="connsiteX742" fmla="*/ 1722797 w 5806384"/>
                  <a:gd name="connsiteY742" fmla="*/ 2690054 h 4036143"/>
                  <a:gd name="connsiteX743" fmla="*/ 1610918 w 5806384"/>
                  <a:gd name="connsiteY743" fmla="*/ 2657482 h 4036143"/>
                  <a:gd name="connsiteX744" fmla="*/ 1568432 w 5806384"/>
                  <a:gd name="connsiteY744" fmla="*/ 2602251 h 4036143"/>
                  <a:gd name="connsiteX745" fmla="*/ 1595340 w 5806384"/>
                  <a:gd name="connsiteY745" fmla="*/ 2564014 h 4036143"/>
                  <a:gd name="connsiteX746" fmla="*/ 1595340 w 5806384"/>
                  <a:gd name="connsiteY746" fmla="*/ 2564014 h 4036143"/>
                  <a:gd name="connsiteX747" fmla="*/ 1462218 w 5806384"/>
                  <a:gd name="connsiteY747" fmla="*/ 2422394 h 4036143"/>
                  <a:gd name="connsiteX748" fmla="*/ 1551438 w 5806384"/>
                  <a:gd name="connsiteY748" fmla="*/ 2350169 h 4036143"/>
                  <a:gd name="connsiteX749" fmla="*/ 1552854 w 5806384"/>
                  <a:gd name="connsiteY749" fmla="*/ 2350169 h 4036143"/>
                  <a:gd name="connsiteX750" fmla="*/ 1426813 w 5806384"/>
                  <a:gd name="connsiteY750" fmla="*/ 2385573 h 4036143"/>
                  <a:gd name="connsiteX751" fmla="*/ 1391408 w 5806384"/>
                  <a:gd name="connsiteY751" fmla="*/ 2348753 h 4036143"/>
                  <a:gd name="connsiteX752" fmla="*/ 1486293 w 5806384"/>
                  <a:gd name="connsiteY752" fmla="*/ 2129243 h 4036143"/>
                  <a:gd name="connsiteX753" fmla="*/ 1486293 w 5806384"/>
                  <a:gd name="connsiteY753" fmla="*/ 2129243 h 4036143"/>
                  <a:gd name="connsiteX754" fmla="*/ 1484876 w 5806384"/>
                  <a:gd name="connsiteY754" fmla="*/ 2127827 h 4036143"/>
                  <a:gd name="connsiteX755" fmla="*/ 1387159 w 5806384"/>
                  <a:gd name="connsiteY755" fmla="*/ 2266613 h 4036143"/>
                  <a:gd name="connsiteX756" fmla="*/ 1353171 w 5806384"/>
                  <a:gd name="connsiteY756" fmla="*/ 2129243 h 4036143"/>
                  <a:gd name="connsiteX757" fmla="*/ 1491957 w 5806384"/>
                  <a:gd name="connsiteY757" fmla="*/ 2112249 h 4036143"/>
                  <a:gd name="connsiteX758" fmla="*/ 1762450 w 5806384"/>
                  <a:gd name="connsiteY758" fmla="*/ 2731124 h 4036143"/>
                  <a:gd name="connsiteX759" fmla="*/ 1719964 w 5806384"/>
                  <a:gd name="connsiteY759" fmla="*/ 2718378 h 4036143"/>
                  <a:gd name="connsiteX760" fmla="*/ 1547189 w 5806384"/>
                  <a:gd name="connsiteY760" fmla="*/ 2796269 h 4036143"/>
                  <a:gd name="connsiteX761" fmla="*/ 1443807 w 5806384"/>
                  <a:gd name="connsiteY761" fmla="*/ 2777858 h 4036143"/>
                  <a:gd name="connsiteX762" fmla="*/ 1473547 w 5806384"/>
                  <a:gd name="connsiteY762" fmla="*/ 2736789 h 4036143"/>
                  <a:gd name="connsiteX763" fmla="*/ 1547189 w 5806384"/>
                  <a:gd name="connsiteY763" fmla="*/ 2796269 h 4036143"/>
                  <a:gd name="connsiteX764" fmla="*/ 1823346 w 5806384"/>
                  <a:gd name="connsiteY764" fmla="*/ 2871327 h 4036143"/>
                  <a:gd name="connsiteX765" fmla="*/ 1864416 w 5806384"/>
                  <a:gd name="connsiteY765" fmla="*/ 2966212 h 4036143"/>
                  <a:gd name="connsiteX766" fmla="*/ 1848838 w 5806384"/>
                  <a:gd name="connsiteY766" fmla="*/ 2967628 h 4036143"/>
                  <a:gd name="connsiteX767" fmla="*/ 1776612 w 5806384"/>
                  <a:gd name="connsiteY767" fmla="*/ 2872743 h 4036143"/>
                  <a:gd name="connsiteX768" fmla="*/ 1823346 w 5806384"/>
                  <a:gd name="connsiteY768" fmla="*/ 2871327 h 4036143"/>
                  <a:gd name="connsiteX769" fmla="*/ 1865832 w 5806384"/>
                  <a:gd name="connsiteY769" fmla="*/ 2969044 h 4036143"/>
                  <a:gd name="connsiteX770" fmla="*/ 1887075 w 5806384"/>
                  <a:gd name="connsiteY770" fmla="*/ 3018611 h 4036143"/>
                  <a:gd name="connsiteX771" fmla="*/ 1850254 w 5806384"/>
                  <a:gd name="connsiteY771" fmla="*/ 2970460 h 4036143"/>
                  <a:gd name="connsiteX772" fmla="*/ 1865832 w 5806384"/>
                  <a:gd name="connsiteY772" fmla="*/ 2969044 h 4036143"/>
                  <a:gd name="connsiteX773" fmla="*/ 2055602 w 5806384"/>
                  <a:gd name="connsiteY773" fmla="*/ 2828841 h 4036143"/>
                  <a:gd name="connsiteX774" fmla="*/ 1970630 w 5806384"/>
                  <a:gd name="connsiteY774" fmla="*/ 2800517 h 4036143"/>
                  <a:gd name="connsiteX775" fmla="*/ 1950804 w 5806384"/>
                  <a:gd name="connsiteY775" fmla="*/ 2721211 h 4036143"/>
                  <a:gd name="connsiteX776" fmla="*/ 2055602 w 5806384"/>
                  <a:gd name="connsiteY776" fmla="*/ 2828841 h 4036143"/>
                  <a:gd name="connsiteX777" fmla="*/ 1229962 w 5806384"/>
                  <a:gd name="connsiteY777" fmla="*/ 2141989 h 4036143"/>
                  <a:gd name="connsiteX778" fmla="*/ 1331928 w 5806384"/>
                  <a:gd name="connsiteY778" fmla="*/ 2055601 h 4036143"/>
                  <a:gd name="connsiteX779" fmla="*/ 1350338 w 5806384"/>
                  <a:gd name="connsiteY779" fmla="*/ 2127827 h 4036143"/>
                  <a:gd name="connsiteX780" fmla="*/ 1229962 w 5806384"/>
                  <a:gd name="connsiteY780" fmla="*/ 2141989 h 4036143"/>
                  <a:gd name="connsiteX781" fmla="*/ 1220049 w 5806384"/>
                  <a:gd name="connsiteY781" fmla="*/ 2150486 h 4036143"/>
                  <a:gd name="connsiteX782" fmla="*/ 1285194 w 5806384"/>
                  <a:gd name="connsiteY782" fmla="*/ 2235457 h 4036143"/>
                  <a:gd name="connsiteX783" fmla="*/ 1211552 w 5806384"/>
                  <a:gd name="connsiteY783" fmla="*/ 2157567 h 4036143"/>
                  <a:gd name="connsiteX784" fmla="*/ 1220049 w 5806384"/>
                  <a:gd name="connsiteY784" fmla="*/ 2150486 h 4036143"/>
                  <a:gd name="connsiteX785" fmla="*/ 1215800 w 5806384"/>
                  <a:gd name="connsiteY785" fmla="*/ 2143405 h 4036143"/>
                  <a:gd name="connsiteX786" fmla="*/ 1198806 w 5806384"/>
                  <a:gd name="connsiteY786" fmla="*/ 2144821 h 4036143"/>
                  <a:gd name="connsiteX787" fmla="*/ 1198806 w 5806384"/>
                  <a:gd name="connsiteY787" fmla="*/ 2144821 h 4036143"/>
                  <a:gd name="connsiteX788" fmla="*/ 1210135 w 5806384"/>
                  <a:gd name="connsiteY788" fmla="*/ 2156151 h 4036143"/>
                  <a:gd name="connsiteX789" fmla="*/ 1127996 w 5806384"/>
                  <a:gd name="connsiteY789" fmla="*/ 2226960 h 4036143"/>
                  <a:gd name="connsiteX790" fmla="*/ 1085511 w 5806384"/>
                  <a:gd name="connsiteY790" fmla="*/ 1972046 h 4036143"/>
                  <a:gd name="connsiteX791" fmla="*/ 1215800 w 5806384"/>
                  <a:gd name="connsiteY791" fmla="*/ 2143405 h 4036143"/>
                  <a:gd name="connsiteX792" fmla="*/ 1217216 w 5806384"/>
                  <a:gd name="connsiteY792" fmla="*/ 2146237 h 4036143"/>
                  <a:gd name="connsiteX793" fmla="*/ 1220049 w 5806384"/>
                  <a:gd name="connsiteY793" fmla="*/ 2149070 h 4036143"/>
                  <a:gd name="connsiteX794" fmla="*/ 1211552 w 5806384"/>
                  <a:gd name="connsiteY794" fmla="*/ 2156151 h 4036143"/>
                  <a:gd name="connsiteX795" fmla="*/ 1203054 w 5806384"/>
                  <a:gd name="connsiteY795" fmla="*/ 2147654 h 4036143"/>
                  <a:gd name="connsiteX796" fmla="*/ 1217216 w 5806384"/>
                  <a:gd name="connsiteY796" fmla="*/ 2146237 h 4036143"/>
                  <a:gd name="connsiteX797" fmla="*/ 1684559 w 5806384"/>
                  <a:gd name="connsiteY797" fmla="*/ 3147484 h 4036143"/>
                  <a:gd name="connsiteX798" fmla="*/ 1695889 w 5806384"/>
                  <a:gd name="connsiteY798" fmla="*/ 3017195 h 4036143"/>
                  <a:gd name="connsiteX799" fmla="*/ 1885659 w 5806384"/>
                  <a:gd name="connsiteY799" fmla="*/ 3029940 h 4036143"/>
                  <a:gd name="connsiteX800" fmla="*/ 1684559 w 5806384"/>
                  <a:gd name="connsiteY800" fmla="*/ 3147484 h 4036143"/>
                  <a:gd name="connsiteX801" fmla="*/ 1535859 w 5806384"/>
                  <a:gd name="connsiteY801" fmla="*/ 3005865 h 4036143"/>
                  <a:gd name="connsiteX802" fmla="*/ 1695889 w 5806384"/>
                  <a:gd name="connsiteY802" fmla="*/ 2987455 h 4036143"/>
                  <a:gd name="connsiteX803" fmla="*/ 1693057 w 5806384"/>
                  <a:gd name="connsiteY803" fmla="*/ 3015778 h 4036143"/>
                  <a:gd name="connsiteX804" fmla="*/ 1535859 w 5806384"/>
                  <a:gd name="connsiteY804" fmla="*/ 3005865 h 4036143"/>
                  <a:gd name="connsiteX805" fmla="*/ 1072765 w 5806384"/>
                  <a:gd name="connsiteY805" fmla="*/ 744208 h 4036143"/>
                  <a:gd name="connsiteX806" fmla="*/ 1020366 w 5806384"/>
                  <a:gd name="connsiteY806" fmla="*/ 713052 h 4036143"/>
                  <a:gd name="connsiteX807" fmla="*/ 1111002 w 5806384"/>
                  <a:gd name="connsiteY807" fmla="*/ 618167 h 4036143"/>
                  <a:gd name="connsiteX808" fmla="*/ 1130829 w 5806384"/>
                  <a:gd name="connsiteY808" fmla="*/ 738544 h 4036143"/>
                  <a:gd name="connsiteX809" fmla="*/ 1072765 w 5806384"/>
                  <a:gd name="connsiteY809" fmla="*/ 744208 h 4036143"/>
                  <a:gd name="connsiteX810" fmla="*/ 942475 w 5806384"/>
                  <a:gd name="connsiteY810" fmla="*/ 1064267 h 4036143"/>
                  <a:gd name="connsiteX811" fmla="*/ 1041609 w 5806384"/>
                  <a:gd name="connsiteY811" fmla="*/ 909903 h 4036143"/>
                  <a:gd name="connsiteX812" fmla="*/ 1088343 w 5806384"/>
                  <a:gd name="connsiteY812" fmla="*/ 935394 h 4036143"/>
                  <a:gd name="connsiteX813" fmla="*/ 1102505 w 5806384"/>
                  <a:gd name="connsiteY813" fmla="*/ 960886 h 4036143"/>
                  <a:gd name="connsiteX814" fmla="*/ 1041609 w 5806384"/>
                  <a:gd name="connsiteY814" fmla="*/ 1136493 h 4036143"/>
                  <a:gd name="connsiteX815" fmla="*/ 942475 w 5806384"/>
                  <a:gd name="connsiteY815" fmla="*/ 1064267 h 4036143"/>
                  <a:gd name="connsiteX816" fmla="*/ 1043025 w 5806384"/>
                  <a:gd name="connsiteY816" fmla="*/ 909903 h 4036143"/>
                  <a:gd name="connsiteX817" fmla="*/ 1060019 w 5806384"/>
                  <a:gd name="connsiteY817" fmla="*/ 884411 h 4036143"/>
                  <a:gd name="connsiteX818" fmla="*/ 1088343 w 5806384"/>
                  <a:gd name="connsiteY818" fmla="*/ 932562 h 4036143"/>
                  <a:gd name="connsiteX819" fmla="*/ 1043025 w 5806384"/>
                  <a:gd name="connsiteY819" fmla="*/ 909903 h 4036143"/>
                  <a:gd name="connsiteX820" fmla="*/ 1101089 w 5806384"/>
                  <a:gd name="connsiteY820" fmla="*/ 816434 h 4036143"/>
                  <a:gd name="connsiteX821" fmla="*/ 1060019 w 5806384"/>
                  <a:gd name="connsiteY821" fmla="*/ 880163 h 4036143"/>
                  <a:gd name="connsiteX822" fmla="*/ 1020366 w 5806384"/>
                  <a:gd name="connsiteY822" fmla="*/ 809353 h 4036143"/>
                  <a:gd name="connsiteX823" fmla="*/ 1101089 w 5806384"/>
                  <a:gd name="connsiteY823" fmla="*/ 816434 h 4036143"/>
                  <a:gd name="connsiteX824" fmla="*/ 1017533 w 5806384"/>
                  <a:gd name="connsiteY824" fmla="*/ 809353 h 4036143"/>
                  <a:gd name="connsiteX825" fmla="*/ 1058603 w 5806384"/>
                  <a:gd name="connsiteY825" fmla="*/ 881579 h 4036143"/>
                  <a:gd name="connsiteX826" fmla="*/ 1041609 w 5806384"/>
                  <a:gd name="connsiteY826" fmla="*/ 908486 h 4036143"/>
                  <a:gd name="connsiteX827" fmla="*/ 1021782 w 5806384"/>
                  <a:gd name="connsiteY827" fmla="*/ 897157 h 4036143"/>
                  <a:gd name="connsiteX828" fmla="*/ 973632 w 5806384"/>
                  <a:gd name="connsiteY828" fmla="*/ 805105 h 4036143"/>
                  <a:gd name="connsiteX829" fmla="*/ 1017533 w 5806384"/>
                  <a:gd name="connsiteY829" fmla="*/ 809353 h 4036143"/>
                  <a:gd name="connsiteX830" fmla="*/ 1072765 w 5806384"/>
                  <a:gd name="connsiteY830" fmla="*/ 747041 h 4036143"/>
                  <a:gd name="connsiteX831" fmla="*/ 1072765 w 5806384"/>
                  <a:gd name="connsiteY831" fmla="*/ 747041 h 4036143"/>
                  <a:gd name="connsiteX832" fmla="*/ 1130829 w 5806384"/>
                  <a:gd name="connsiteY832" fmla="*/ 741376 h 4036143"/>
                  <a:gd name="connsiteX833" fmla="*/ 1135077 w 5806384"/>
                  <a:gd name="connsiteY833" fmla="*/ 765451 h 4036143"/>
                  <a:gd name="connsiteX834" fmla="*/ 1102505 w 5806384"/>
                  <a:gd name="connsiteY834" fmla="*/ 815018 h 4036143"/>
                  <a:gd name="connsiteX835" fmla="*/ 1018949 w 5806384"/>
                  <a:gd name="connsiteY835" fmla="*/ 807937 h 4036143"/>
                  <a:gd name="connsiteX836" fmla="*/ 986377 w 5806384"/>
                  <a:gd name="connsiteY836" fmla="*/ 749873 h 4036143"/>
                  <a:gd name="connsiteX837" fmla="*/ 1020366 w 5806384"/>
                  <a:gd name="connsiteY837" fmla="*/ 714468 h 4036143"/>
                  <a:gd name="connsiteX838" fmla="*/ 1072765 w 5806384"/>
                  <a:gd name="connsiteY838" fmla="*/ 747041 h 4036143"/>
                  <a:gd name="connsiteX839" fmla="*/ 1171898 w 5806384"/>
                  <a:gd name="connsiteY839" fmla="*/ 783862 h 4036143"/>
                  <a:gd name="connsiteX840" fmla="*/ 1171898 w 5806384"/>
                  <a:gd name="connsiteY840" fmla="*/ 783862 h 4036143"/>
                  <a:gd name="connsiteX841" fmla="*/ 1414067 w 5806384"/>
                  <a:gd name="connsiteY841" fmla="*/ 839093 h 4036143"/>
                  <a:gd name="connsiteX842" fmla="*/ 1105337 w 5806384"/>
                  <a:gd name="connsiteY842" fmla="*/ 815018 h 4036143"/>
                  <a:gd name="connsiteX843" fmla="*/ 1136494 w 5806384"/>
                  <a:gd name="connsiteY843" fmla="*/ 765451 h 4036143"/>
                  <a:gd name="connsiteX844" fmla="*/ 1136494 w 5806384"/>
                  <a:gd name="connsiteY844" fmla="*/ 765451 h 4036143"/>
                  <a:gd name="connsiteX845" fmla="*/ 1132245 w 5806384"/>
                  <a:gd name="connsiteY845" fmla="*/ 739960 h 4036143"/>
                  <a:gd name="connsiteX846" fmla="*/ 1340425 w 5806384"/>
                  <a:gd name="connsiteY846" fmla="*/ 718717 h 4036143"/>
                  <a:gd name="connsiteX847" fmla="*/ 1171898 w 5806384"/>
                  <a:gd name="connsiteY847" fmla="*/ 783862 h 4036143"/>
                  <a:gd name="connsiteX848" fmla="*/ 1266783 w 5806384"/>
                  <a:gd name="connsiteY848" fmla="*/ 1028863 h 4036143"/>
                  <a:gd name="connsiteX849" fmla="*/ 1111002 w 5806384"/>
                  <a:gd name="connsiteY849" fmla="*/ 945307 h 4036143"/>
                  <a:gd name="connsiteX850" fmla="*/ 1149239 w 5806384"/>
                  <a:gd name="connsiteY850" fmla="*/ 834845 h 4036143"/>
                  <a:gd name="connsiteX851" fmla="*/ 1266783 w 5806384"/>
                  <a:gd name="connsiteY851" fmla="*/ 1028863 h 4036143"/>
                  <a:gd name="connsiteX852" fmla="*/ 3048352 w 5806384"/>
                  <a:gd name="connsiteY852" fmla="*/ 459554 h 4036143"/>
                  <a:gd name="connsiteX853" fmla="*/ 2905316 w 5806384"/>
                  <a:gd name="connsiteY853" fmla="*/ 534612 h 4036143"/>
                  <a:gd name="connsiteX854" fmla="*/ 2974710 w 5806384"/>
                  <a:gd name="connsiteY854" fmla="*/ 351923 h 4036143"/>
                  <a:gd name="connsiteX855" fmla="*/ 3048352 w 5806384"/>
                  <a:gd name="connsiteY855" fmla="*/ 459554 h 4036143"/>
                  <a:gd name="connsiteX856" fmla="*/ 5369489 w 5806384"/>
                  <a:gd name="connsiteY856" fmla="*/ 840509 h 4036143"/>
                  <a:gd name="connsiteX857" fmla="*/ 5470039 w 5806384"/>
                  <a:gd name="connsiteY857" fmla="*/ 694642 h 4036143"/>
                  <a:gd name="connsiteX858" fmla="*/ 5553594 w 5806384"/>
                  <a:gd name="connsiteY858" fmla="*/ 822099 h 4036143"/>
                  <a:gd name="connsiteX859" fmla="*/ 5369489 w 5806384"/>
                  <a:gd name="connsiteY859" fmla="*/ 840509 h 4036143"/>
                  <a:gd name="connsiteX860" fmla="*/ 4267693 w 5806384"/>
                  <a:gd name="connsiteY860" fmla="*/ 1661900 h 4036143"/>
                  <a:gd name="connsiteX861" fmla="*/ 4240785 w 5806384"/>
                  <a:gd name="connsiteY861" fmla="*/ 1785109 h 4036143"/>
                  <a:gd name="connsiteX862" fmla="*/ 4094917 w 5806384"/>
                  <a:gd name="connsiteY862" fmla="*/ 1708634 h 4036143"/>
                  <a:gd name="connsiteX863" fmla="*/ 4267693 w 5806384"/>
                  <a:gd name="connsiteY863" fmla="*/ 1661900 h 4036143"/>
                  <a:gd name="connsiteX864" fmla="*/ 4203964 w 5806384"/>
                  <a:gd name="connsiteY864" fmla="*/ 1970630 h 4036143"/>
                  <a:gd name="connsiteX865" fmla="*/ 4243617 w 5806384"/>
                  <a:gd name="connsiteY865" fmla="*/ 1787941 h 4036143"/>
                  <a:gd name="connsiteX866" fmla="*/ 4388069 w 5806384"/>
                  <a:gd name="connsiteY866" fmla="*/ 1862999 h 4036143"/>
                  <a:gd name="connsiteX867" fmla="*/ 4203964 w 5806384"/>
                  <a:gd name="connsiteY867" fmla="*/ 1970630 h 4036143"/>
                  <a:gd name="connsiteX868" fmla="*/ 3374076 w 5806384"/>
                  <a:gd name="connsiteY868" fmla="*/ 3104998 h 4036143"/>
                  <a:gd name="connsiteX869" fmla="*/ 3381157 w 5806384"/>
                  <a:gd name="connsiteY869" fmla="*/ 3138987 h 4036143"/>
                  <a:gd name="connsiteX870" fmla="*/ 3276359 w 5806384"/>
                  <a:gd name="connsiteY870" fmla="*/ 3143236 h 4036143"/>
                  <a:gd name="connsiteX871" fmla="*/ 3219711 w 5806384"/>
                  <a:gd name="connsiteY871" fmla="*/ 3020027 h 4036143"/>
                  <a:gd name="connsiteX872" fmla="*/ 3374076 w 5806384"/>
                  <a:gd name="connsiteY872" fmla="*/ 3104998 h 4036143"/>
                  <a:gd name="connsiteX873" fmla="*/ 2035775 w 5806384"/>
                  <a:gd name="connsiteY873" fmla="*/ 2556933 h 4036143"/>
                  <a:gd name="connsiteX874" fmla="*/ 2052769 w 5806384"/>
                  <a:gd name="connsiteY874" fmla="*/ 2464880 h 4036143"/>
                  <a:gd name="connsiteX875" fmla="*/ 2178810 w 5806384"/>
                  <a:gd name="connsiteY875" fmla="*/ 2443637 h 4036143"/>
                  <a:gd name="connsiteX876" fmla="*/ 2072596 w 5806384"/>
                  <a:gd name="connsiteY876" fmla="*/ 2588089 h 4036143"/>
                  <a:gd name="connsiteX877" fmla="*/ 2035775 w 5806384"/>
                  <a:gd name="connsiteY877" fmla="*/ 2556933 h 4036143"/>
                  <a:gd name="connsiteX878" fmla="*/ 2049937 w 5806384"/>
                  <a:gd name="connsiteY878" fmla="*/ 2464880 h 4036143"/>
                  <a:gd name="connsiteX879" fmla="*/ 2032943 w 5806384"/>
                  <a:gd name="connsiteY879" fmla="*/ 2555516 h 4036143"/>
                  <a:gd name="connsiteX880" fmla="*/ 1946555 w 5806384"/>
                  <a:gd name="connsiteY880" fmla="*/ 2483291 h 4036143"/>
                  <a:gd name="connsiteX881" fmla="*/ 2049937 w 5806384"/>
                  <a:gd name="connsiteY881" fmla="*/ 2464880 h 4036143"/>
                  <a:gd name="connsiteX882" fmla="*/ 2049937 w 5806384"/>
                  <a:gd name="connsiteY882" fmla="*/ 2463464 h 4036143"/>
                  <a:gd name="connsiteX883" fmla="*/ 1945139 w 5806384"/>
                  <a:gd name="connsiteY883" fmla="*/ 2481874 h 4036143"/>
                  <a:gd name="connsiteX884" fmla="*/ 1932393 w 5806384"/>
                  <a:gd name="connsiteY884" fmla="*/ 2471961 h 4036143"/>
                  <a:gd name="connsiteX885" fmla="*/ 2051353 w 5806384"/>
                  <a:gd name="connsiteY885" fmla="*/ 2454967 h 4036143"/>
                  <a:gd name="connsiteX886" fmla="*/ 2049937 w 5806384"/>
                  <a:gd name="connsiteY886" fmla="*/ 2463464 h 4036143"/>
                  <a:gd name="connsiteX887" fmla="*/ 2032943 w 5806384"/>
                  <a:gd name="connsiteY887" fmla="*/ 2556933 h 4036143"/>
                  <a:gd name="connsiteX888" fmla="*/ 2023029 w 5806384"/>
                  <a:gd name="connsiteY888" fmla="*/ 2612164 h 4036143"/>
                  <a:gd name="connsiteX889" fmla="*/ 1793606 w 5806384"/>
                  <a:gd name="connsiteY889" fmla="*/ 2508782 h 4036143"/>
                  <a:gd name="connsiteX890" fmla="*/ 1945139 w 5806384"/>
                  <a:gd name="connsiteY890" fmla="*/ 2483291 h 4036143"/>
                  <a:gd name="connsiteX891" fmla="*/ 2032943 w 5806384"/>
                  <a:gd name="connsiteY891" fmla="*/ 2556933 h 4036143"/>
                  <a:gd name="connsiteX892" fmla="*/ 2024445 w 5806384"/>
                  <a:gd name="connsiteY892" fmla="*/ 2613580 h 4036143"/>
                  <a:gd name="connsiteX893" fmla="*/ 2034359 w 5806384"/>
                  <a:gd name="connsiteY893" fmla="*/ 2558349 h 4036143"/>
                  <a:gd name="connsiteX894" fmla="*/ 2069764 w 5806384"/>
                  <a:gd name="connsiteY894" fmla="*/ 2588089 h 4036143"/>
                  <a:gd name="connsiteX895" fmla="*/ 2044272 w 5806384"/>
                  <a:gd name="connsiteY895" fmla="*/ 2622077 h 4036143"/>
                  <a:gd name="connsiteX896" fmla="*/ 2024445 w 5806384"/>
                  <a:gd name="connsiteY896" fmla="*/ 2613580 h 4036143"/>
                  <a:gd name="connsiteX897" fmla="*/ 2044272 w 5806384"/>
                  <a:gd name="connsiteY897" fmla="*/ 2624910 h 4036143"/>
                  <a:gd name="connsiteX898" fmla="*/ 2015948 w 5806384"/>
                  <a:gd name="connsiteY898" fmla="*/ 2663147 h 4036143"/>
                  <a:gd name="connsiteX899" fmla="*/ 2024445 w 5806384"/>
                  <a:gd name="connsiteY899" fmla="*/ 2616413 h 4036143"/>
                  <a:gd name="connsiteX900" fmla="*/ 2044272 w 5806384"/>
                  <a:gd name="connsiteY900" fmla="*/ 2624910 h 4036143"/>
                  <a:gd name="connsiteX901" fmla="*/ 2047105 w 5806384"/>
                  <a:gd name="connsiteY901" fmla="*/ 2623494 h 4036143"/>
                  <a:gd name="connsiteX902" fmla="*/ 2072596 w 5806384"/>
                  <a:gd name="connsiteY902" fmla="*/ 2589505 h 4036143"/>
                  <a:gd name="connsiteX903" fmla="*/ 2188724 w 5806384"/>
                  <a:gd name="connsiteY903" fmla="*/ 2687222 h 4036143"/>
                  <a:gd name="connsiteX904" fmla="*/ 2047105 w 5806384"/>
                  <a:gd name="connsiteY904" fmla="*/ 2623494 h 4036143"/>
                  <a:gd name="connsiteX905" fmla="*/ 2052769 w 5806384"/>
                  <a:gd name="connsiteY905" fmla="*/ 2462048 h 4036143"/>
                  <a:gd name="connsiteX906" fmla="*/ 2054185 w 5806384"/>
                  <a:gd name="connsiteY906" fmla="*/ 2453551 h 4036143"/>
                  <a:gd name="connsiteX907" fmla="*/ 2183059 w 5806384"/>
                  <a:gd name="connsiteY907" fmla="*/ 2435140 h 4036143"/>
                  <a:gd name="connsiteX908" fmla="*/ 2178810 w 5806384"/>
                  <a:gd name="connsiteY908" fmla="*/ 2440805 h 4036143"/>
                  <a:gd name="connsiteX909" fmla="*/ 2052769 w 5806384"/>
                  <a:gd name="connsiteY909" fmla="*/ 2462048 h 4036143"/>
                  <a:gd name="connsiteX910" fmla="*/ 1129413 w 5806384"/>
                  <a:gd name="connsiteY910" fmla="*/ 1003371 h 4036143"/>
                  <a:gd name="connsiteX911" fmla="*/ 1105337 w 5806384"/>
                  <a:gd name="connsiteY911" fmla="*/ 962302 h 4036143"/>
                  <a:gd name="connsiteX912" fmla="*/ 1109586 w 5806384"/>
                  <a:gd name="connsiteY912" fmla="*/ 948140 h 4036143"/>
                  <a:gd name="connsiteX913" fmla="*/ 1268199 w 5806384"/>
                  <a:gd name="connsiteY913" fmla="*/ 1033111 h 4036143"/>
                  <a:gd name="connsiteX914" fmla="*/ 1282361 w 5806384"/>
                  <a:gd name="connsiteY914" fmla="*/ 1055770 h 4036143"/>
                  <a:gd name="connsiteX915" fmla="*/ 1169066 w 5806384"/>
                  <a:gd name="connsiteY915" fmla="*/ 1463633 h 4036143"/>
                  <a:gd name="connsiteX916" fmla="*/ 1129413 w 5806384"/>
                  <a:gd name="connsiteY916" fmla="*/ 1003371 h 4036143"/>
                  <a:gd name="connsiteX917" fmla="*/ 1169066 w 5806384"/>
                  <a:gd name="connsiteY917" fmla="*/ 1474963 h 4036143"/>
                  <a:gd name="connsiteX918" fmla="*/ 1173314 w 5806384"/>
                  <a:gd name="connsiteY918" fmla="*/ 1521697 h 4036143"/>
                  <a:gd name="connsiteX919" fmla="*/ 1157737 w 5806384"/>
                  <a:gd name="connsiteY919" fmla="*/ 1514616 h 4036143"/>
                  <a:gd name="connsiteX920" fmla="*/ 1169066 w 5806384"/>
                  <a:gd name="connsiteY920" fmla="*/ 1474963 h 4036143"/>
                  <a:gd name="connsiteX921" fmla="*/ 1814849 w 5806384"/>
                  <a:gd name="connsiteY921" fmla="*/ 1051522 h 4036143"/>
                  <a:gd name="connsiteX922" fmla="*/ 2096671 w 5806384"/>
                  <a:gd name="connsiteY922" fmla="*/ 911319 h 4036143"/>
                  <a:gd name="connsiteX923" fmla="*/ 1921064 w 5806384"/>
                  <a:gd name="connsiteY923" fmla="*/ 1183227 h 4036143"/>
                  <a:gd name="connsiteX924" fmla="*/ 1814849 w 5806384"/>
                  <a:gd name="connsiteY924" fmla="*/ 1051522 h 4036143"/>
                  <a:gd name="connsiteX925" fmla="*/ 2726876 w 5806384"/>
                  <a:gd name="connsiteY925" fmla="*/ 952388 h 4036143"/>
                  <a:gd name="connsiteX926" fmla="*/ 2742454 w 5806384"/>
                  <a:gd name="connsiteY926" fmla="*/ 949556 h 4036143"/>
                  <a:gd name="connsiteX927" fmla="*/ 2755200 w 5806384"/>
                  <a:gd name="connsiteY927" fmla="*/ 952388 h 4036143"/>
                  <a:gd name="connsiteX928" fmla="*/ 2726876 w 5806384"/>
                  <a:gd name="connsiteY928" fmla="*/ 952388 h 4036143"/>
                  <a:gd name="connsiteX929" fmla="*/ 4590584 w 5806384"/>
                  <a:gd name="connsiteY929" fmla="*/ 905654 h 4036143"/>
                  <a:gd name="connsiteX930" fmla="*/ 4654313 w 5806384"/>
                  <a:gd name="connsiteY930" fmla="*/ 803688 h 4036143"/>
                  <a:gd name="connsiteX931" fmla="*/ 4788851 w 5806384"/>
                  <a:gd name="connsiteY931" fmla="*/ 901405 h 4036143"/>
                  <a:gd name="connsiteX932" fmla="*/ 4590584 w 5806384"/>
                  <a:gd name="connsiteY932" fmla="*/ 905654 h 4036143"/>
                  <a:gd name="connsiteX933" fmla="*/ 4572174 w 5806384"/>
                  <a:gd name="connsiteY933" fmla="*/ 907070 h 4036143"/>
                  <a:gd name="connsiteX934" fmla="*/ 4586336 w 5806384"/>
                  <a:gd name="connsiteY934" fmla="*/ 907070 h 4036143"/>
                  <a:gd name="connsiteX935" fmla="*/ 4580671 w 5806384"/>
                  <a:gd name="connsiteY935" fmla="*/ 915567 h 4036143"/>
                  <a:gd name="connsiteX936" fmla="*/ 4572174 w 5806384"/>
                  <a:gd name="connsiteY936" fmla="*/ 907070 h 4036143"/>
                  <a:gd name="connsiteX937" fmla="*/ 4092085 w 5806384"/>
                  <a:gd name="connsiteY937" fmla="*/ 1707218 h 4036143"/>
                  <a:gd name="connsiteX938" fmla="*/ 3970292 w 5806384"/>
                  <a:gd name="connsiteY938" fmla="*/ 1643489 h 4036143"/>
                  <a:gd name="connsiteX939" fmla="*/ 3970292 w 5806384"/>
                  <a:gd name="connsiteY939" fmla="*/ 1643489 h 4036143"/>
                  <a:gd name="connsiteX940" fmla="*/ 3936304 w 5806384"/>
                  <a:gd name="connsiteY940" fmla="*/ 1749704 h 4036143"/>
                  <a:gd name="connsiteX941" fmla="*/ 3896650 w 5806384"/>
                  <a:gd name="connsiteY941" fmla="*/ 1761033 h 4036143"/>
                  <a:gd name="connsiteX942" fmla="*/ 3920726 w 5806384"/>
                  <a:gd name="connsiteY942" fmla="*/ 1565599 h 4036143"/>
                  <a:gd name="connsiteX943" fmla="*/ 3920726 w 5806384"/>
                  <a:gd name="connsiteY943" fmla="*/ 1565599 h 4036143"/>
                  <a:gd name="connsiteX944" fmla="*/ 3883905 w 5806384"/>
                  <a:gd name="connsiteY944" fmla="*/ 1507535 h 4036143"/>
                  <a:gd name="connsiteX945" fmla="*/ 4175640 w 5806384"/>
                  <a:gd name="connsiteY945" fmla="*/ 1392824 h 4036143"/>
                  <a:gd name="connsiteX946" fmla="*/ 4307346 w 5806384"/>
                  <a:gd name="connsiteY946" fmla="*/ 1477795 h 4036143"/>
                  <a:gd name="connsiteX947" fmla="*/ 4267693 w 5806384"/>
                  <a:gd name="connsiteY947" fmla="*/ 1661900 h 4036143"/>
                  <a:gd name="connsiteX948" fmla="*/ 4092085 w 5806384"/>
                  <a:gd name="connsiteY948" fmla="*/ 1707218 h 4036143"/>
                  <a:gd name="connsiteX949" fmla="*/ 3267862 w 5806384"/>
                  <a:gd name="connsiteY949" fmla="*/ 2915229 h 4036143"/>
                  <a:gd name="connsiteX950" fmla="*/ 3201301 w 5806384"/>
                  <a:gd name="connsiteY950" fmla="*/ 2978958 h 4036143"/>
                  <a:gd name="connsiteX951" fmla="*/ 3146069 w 5806384"/>
                  <a:gd name="connsiteY951" fmla="*/ 2857165 h 4036143"/>
                  <a:gd name="connsiteX952" fmla="*/ 3267862 w 5806384"/>
                  <a:gd name="connsiteY952" fmla="*/ 2915229 h 4036143"/>
                  <a:gd name="connsiteX953" fmla="*/ 2544188 w 5806384"/>
                  <a:gd name="connsiteY953" fmla="*/ 2685806 h 4036143"/>
                  <a:gd name="connsiteX954" fmla="*/ 2631991 w 5806384"/>
                  <a:gd name="connsiteY954" fmla="*/ 2748118 h 4036143"/>
                  <a:gd name="connsiteX955" fmla="*/ 2670229 w 5806384"/>
                  <a:gd name="connsiteY955" fmla="*/ 2801934 h 4036143"/>
                  <a:gd name="connsiteX956" fmla="*/ 2544188 w 5806384"/>
                  <a:gd name="connsiteY956" fmla="*/ 2685806 h 4036143"/>
                  <a:gd name="connsiteX957" fmla="*/ 2402569 w 5806384"/>
                  <a:gd name="connsiteY957" fmla="*/ 2556933 h 4036143"/>
                  <a:gd name="connsiteX958" fmla="*/ 2430893 w 5806384"/>
                  <a:gd name="connsiteY958" fmla="*/ 2582424 h 4036143"/>
                  <a:gd name="connsiteX959" fmla="*/ 2449303 w 5806384"/>
                  <a:gd name="connsiteY959" fmla="*/ 2614997 h 4036143"/>
                  <a:gd name="connsiteX960" fmla="*/ 2398320 w 5806384"/>
                  <a:gd name="connsiteY960" fmla="*/ 2578175 h 4036143"/>
                  <a:gd name="connsiteX961" fmla="*/ 2402569 w 5806384"/>
                  <a:gd name="connsiteY961" fmla="*/ 2556933 h 4036143"/>
                  <a:gd name="connsiteX962" fmla="*/ 1874329 w 5806384"/>
                  <a:gd name="connsiteY962" fmla="*/ 1660484 h 4036143"/>
                  <a:gd name="connsiteX963" fmla="*/ 1966381 w 5806384"/>
                  <a:gd name="connsiteY963" fmla="*/ 1734126 h 4036143"/>
                  <a:gd name="connsiteX964" fmla="*/ 1744040 w 5806384"/>
                  <a:gd name="connsiteY964" fmla="*/ 1799270 h 4036143"/>
                  <a:gd name="connsiteX965" fmla="*/ 1456553 w 5806384"/>
                  <a:gd name="connsiteY965" fmla="*/ 1659068 h 4036143"/>
                  <a:gd name="connsiteX966" fmla="*/ 1450888 w 5806384"/>
                  <a:gd name="connsiteY966" fmla="*/ 1647738 h 4036143"/>
                  <a:gd name="connsiteX967" fmla="*/ 1874329 w 5806384"/>
                  <a:gd name="connsiteY967" fmla="*/ 1660484 h 4036143"/>
                  <a:gd name="connsiteX968" fmla="*/ 1273864 w 5806384"/>
                  <a:gd name="connsiteY968" fmla="*/ 1569848 h 4036143"/>
                  <a:gd name="connsiteX969" fmla="*/ 1314933 w 5806384"/>
                  <a:gd name="connsiteY969" fmla="*/ 1571264 h 4036143"/>
                  <a:gd name="connsiteX970" fmla="*/ 1307852 w 5806384"/>
                  <a:gd name="connsiteY970" fmla="*/ 1586842 h 4036143"/>
                  <a:gd name="connsiteX971" fmla="*/ 1273864 w 5806384"/>
                  <a:gd name="connsiteY971" fmla="*/ 1569848 h 4036143"/>
                  <a:gd name="connsiteX972" fmla="*/ 1285194 w 5806384"/>
                  <a:gd name="connsiteY972" fmla="*/ 1055770 h 4036143"/>
                  <a:gd name="connsiteX973" fmla="*/ 1285194 w 5806384"/>
                  <a:gd name="connsiteY973" fmla="*/ 1055770 h 4036143"/>
                  <a:gd name="connsiteX974" fmla="*/ 1272448 w 5806384"/>
                  <a:gd name="connsiteY974" fmla="*/ 1034527 h 4036143"/>
                  <a:gd name="connsiteX975" fmla="*/ 1278113 w 5806384"/>
                  <a:gd name="connsiteY975" fmla="*/ 1037360 h 4036143"/>
                  <a:gd name="connsiteX976" fmla="*/ 1278113 w 5806384"/>
                  <a:gd name="connsiteY976" fmla="*/ 1037360 h 4036143"/>
                  <a:gd name="connsiteX977" fmla="*/ 1504703 w 5806384"/>
                  <a:gd name="connsiteY977" fmla="*/ 952388 h 4036143"/>
                  <a:gd name="connsiteX978" fmla="*/ 1504703 w 5806384"/>
                  <a:gd name="connsiteY978" fmla="*/ 952388 h 4036143"/>
                  <a:gd name="connsiteX979" fmla="*/ 1622247 w 5806384"/>
                  <a:gd name="connsiteY979" fmla="*/ 781029 h 4036143"/>
                  <a:gd name="connsiteX980" fmla="*/ 1705802 w 5806384"/>
                  <a:gd name="connsiteY980" fmla="*/ 897157 h 4036143"/>
                  <a:gd name="connsiteX981" fmla="*/ 1584010 w 5806384"/>
                  <a:gd name="connsiteY981" fmla="*/ 1163401 h 4036143"/>
                  <a:gd name="connsiteX982" fmla="*/ 1465050 w 5806384"/>
                  <a:gd name="connsiteY982" fmla="*/ 1222881 h 4036143"/>
                  <a:gd name="connsiteX983" fmla="*/ 1173314 w 5806384"/>
                  <a:gd name="connsiteY983" fmla="*/ 1497622 h 4036143"/>
                  <a:gd name="connsiteX984" fmla="*/ 1173314 w 5806384"/>
                  <a:gd name="connsiteY984" fmla="*/ 1497622 h 4036143"/>
                  <a:gd name="connsiteX985" fmla="*/ 1353171 w 5806384"/>
                  <a:gd name="connsiteY985" fmla="*/ 1483460 h 4036143"/>
                  <a:gd name="connsiteX986" fmla="*/ 1313518 w 5806384"/>
                  <a:gd name="connsiteY986" fmla="*/ 1567015 h 4036143"/>
                  <a:gd name="connsiteX987" fmla="*/ 1268199 w 5806384"/>
                  <a:gd name="connsiteY987" fmla="*/ 1565599 h 4036143"/>
                  <a:gd name="connsiteX988" fmla="*/ 1174731 w 5806384"/>
                  <a:gd name="connsiteY988" fmla="*/ 1520281 h 4036143"/>
                  <a:gd name="connsiteX989" fmla="*/ 1170482 w 5806384"/>
                  <a:gd name="connsiteY989" fmla="*/ 1467882 h 4036143"/>
                  <a:gd name="connsiteX990" fmla="*/ 1285194 w 5806384"/>
                  <a:gd name="connsiteY990" fmla="*/ 1055770 h 4036143"/>
                  <a:gd name="connsiteX991" fmla="*/ 2256701 w 5806384"/>
                  <a:gd name="connsiteY991" fmla="*/ 1169066 h 4036143"/>
                  <a:gd name="connsiteX992" fmla="*/ 2003203 w 5806384"/>
                  <a:gd name="connsiteY992" fmla="*/ 1285193 h 4036143"/>
                  <a:gd name="connsiteX993" fmla="*/ 1962133 w 5806384"/>
                  <a:gd name="connsiteY993" fmla="*/ 1234210 h 4036143"/>
                  <a:gd name="connsiteX994" fmla="*/ 2024445 w 5806384"/>
                  <a:gd name="connsiteY994" fmla="*/ 1156320 h 4036143"/>
                  <a:gd name="connsiteX995" fmla="*/ 2256701 w 5806384"/>
                  <a:gd name="connsiteY995" fmla="*/ 1169066 h 4036143"/>
                  <a:gd name="connsiteX996" fmla="*/ 1749704 w 5806384"/>
                  <a:gd name="connsiteY996" fmla="*/ 1453720 h 4036143"/>
                  <a:gd name="connsiteX997" fmla="*/ 2113666 w 5806384"/>
                  <a:gd name="connsiteY997" fmla="*/ 1425396 h 4036143"/>
                  <a:gd name="connsiteX998" fmla="*/ 2188724 w 5806384"/>
                  <a:gd name="connsiteY998" fmla="*/ 1520281 h 4036143"/>
                  <a:gd name="connsiteX999" fmla="*/ 1895572 w 5806384"/>
                  <a:gd name="connsiteY999" fmla="*/ 1661900 h 4036143"/>
                  <a:gd name="connsiteX1000" fmla="*/ 1895572 w 5806384"/>
                  <a:gd name="connsiteY1000" fmla="*/ 1661900 h 4036143"/>
                  <a:gd name="connsiteX1001" fmla="*/ 1896988 w 5806384"/>
                  <a:gd name="connsiteY1001" fmla="*/ 1663316 h 4036143"/>
                  <a:gd name="connsiteX1002" fmla="*/ 2201469 w 5806384"/>
                  <a:gd name="connsiteY1002" fmla="*/ 1535859 h 4036143"/>
                  <a:gd name="connsiteX1003" fmla="*/ 2239707 w 5806384"/>
                  <a:gd name="connsiteY1003" fmla="*/ 1584010 h 4036143"/>
                  <a:gd name="connsiteX1004" fmla="*/ 2241123 w 5806384"/>
                  <a:gd name="connsiteY1004" fmla="*/ 1654819 h 4036143"/>
                  <a:gd name="connsiteX1005" fmla="*/ 1969214 w 5806384"/>
                  <a:gd name="connsiteY1005" fmla="*/ 1734126 h 4036143"/>
                  <a:gd name="connsiteX1006" fmla="*/ 1874329 w 5806384"/>
                  <a:gd name="connsiteY1006" fmla="*/ 1659068 h 4036143"/>
                  <a:gd name="connsiteX1007" fmla="*/ 1874329 w 5806384"/>
                  <a:gd name="connsiteY1007" fmla="*/ 1659068 h 4036143"/>
                  <a:gd name="connsiteX1008" fmla="*/ 1449472 w 5806384"/>
                  <a:gd name="connsiteY1008" fmla="*/ 1646322 h 4036143"/>
                  <a:gd name="connsiteX1009" fmla="*/ 1409818 w 5806384"/>
                  <a:gd name="connsiteY1009" fmla="*/ 1571264 h 4036143"/>
                  <a:gd name="connsiteX1010" fmla="*/ 1409818 w 5806384"/>
                  <a:gd name="connsiteY1010" fmla="*/ 1571264 h 4036143"/>
                  <a:gd name="connsiteX1011" fmla="*/ 1316350 w 5806384"/>
                  <a:gd name="connsiteY1011" fmla="*/ 1569848 h 4036143"/>
                  <a:gd name="connsiteX1012" fmla="*/ 1356003 w 5806384"/>
                  <a:gd name="connsiteY1012" fmla="*/ 1486292 h 4036143"/>
                  <a:gd name="connsiteX1013" fmla="*/ 1518865 w 5806384"/>
                  <a:gd name="connsiteY1013" fmla="*/ 1473547 h 4036143"/>
                  <a:gd name="connsiteX1014" fmla="*/ 1523114 w 5806384"/>
                  <a:gd name="connsiteY1014" fmla="*/ 1493373 h 4036143"/>
                  <a:gd name="connsiteX1015" fmla="*/ 1405570 w 5806384"/>
                  <a:gd name="connsiteY1015" fmla="*/ 1559934 h 4036143"/>
                  <a:gd name="connsiteX1016" fmla="*/ 1405570 w 5806384"/>
                  <a:gd name="connsiteY1016" fmla="*/ 1559934 h 4036143"/>
                  <a:gd name="connsiteX1017" fmla="*/ 1406986 w 5806384"/>
                  <a:gd name="connsiteY1017" fmla="*/ 1561350 h 4036143"/>
                  <a:gd name="connsiteX1018" fmla="*/ 1616582 w 5806384"/>
                  <a:gd name="connsiteY1018" fmla="*/ 1465049 h 4036143"/>
                  <a:gd name="connsiteX1019" fmla="*/ 1685976 w 5806384"/>
                  <a:gd name="connsiteY1019" fmla="*/ 1459385 h 4036143"/>
                  <a:gd name="connsiteX1020" fmla="*/ 1664733 w 5806384"/>
                  <a:gd name="connsiteY1020" fmla="*/ 1584010 h 4036143"/>
                  <a:gd name="connsiteX1021" fmla="*/ 1664733 w 5806384"/>
                  <a:gd name="connsiteY1021" fmla="*/ 1585426 h 4036143"/>
                  <a:gd name="connsiteX1022" fmla="*/ 1749704 w 5806384"/>
                  <a:gd name="connsiteY1022" fmla="*/ 1453720 h 4036143"/>
                  <a:gd name="connsiteX1023" fmla="*/ 2190140 w 5806384"/>
                  <a:gd name="connsiteY1023" fmla="*/ 1518865 h 4036143"/>
                  <a:gd name="connsiteX1024" fmla="*/ 2115082 w 5806384"/>
                  <a:gd name="connsiteY1024" fmla="*/ 1425396 h 4036143"/>
                  <a:gd name="connsiteX1025" fmla="*/ 2235458 w 5806384"/>
                  <a:gd name="connsiteY1025" fmla="*/ 1415483 h 4036143"/>
                  <a:gd name="connsiteX1026" fmla="*/ 2238290 w 5806384"/>
                  <a:gd name="connsiteY1026" fmla="*/ 1496206 h 4036143"/>
                  <a:gd name="connsiteX1027" fmla="*/ 2190140 w 5806384"/>
                  <a:gd name="connsiteY1027" fmla="*/ 1518865 h 4036143"/>
                  <a:gd name="connsiteX1028" fmla="*/ 2239707 w 5806384"/>
                  <a:gd name="connsiteY1028" fmla="*/ 1494789 h 4036143"/>
                  <a:gd name="connsiteX1029" fmla="*/ 2236874 w 5806384"/>
                  <a:gd name="connsiteY1029" fmla="*/ 1415483 h 4036143"/>
                  <a:gd name="connsiteX1030" fmla="*/ 2413898 w 5806384"/>
                  <a:gd name="connsiteY1030" fmla="*/ 1401321 h 4036143"/>
                  <a:gd name="connsiteX1031" fmla="*/ 2419563 w 5806384"/>
                  <a:gd name="connsiteY1031" fmla="*/ 1406986 h 4036143"/>
                  <a:gd name="connsiteX1032" fmla="*/ 2239707 w 5806384"/>
                  <a:gd name="connsiteY1032" fmla="*/ 1494789 h 4036143"/>
                  <a:gd name="connsiteX1033" fmla="*/ 2239707 w 5806384"/>
                  <a:gd name="connsiteY1033" fmla="*/ 1517448 h 4036143"/>
                  <a:gd name="connsiteX1034" fmla="*/ 2239707 w 5806384"/>
                  <a:gd name="connsiteY1034" fmla="*/ 1497622 h 4036143"/>
                  <a:gd name="connsiteX1035" fmla="*/ 2423812 w 5806384"/>
                  <a:gd name="connsiteY1035" fmla="*/ 1408402 h 4036143"/>
                  <a:gd name="connsiteX1036" fmla="*/ 2423812 w 5806384"/>
                  <a:gd name="connsiteY1036" fmla="*/ 1408402 h 4036143"/>
                  <a:gd name="connsiteX1037" fmla="*/ 2416731 w 5806384"/>
                  <a:gd name="connsiteY1037" fmla="*/ 1401321 h 4036143"/>
                  <a:gd name="connsiteX1038" fmla="*/ 2541355 w 5806384"/>
                  <a:gd name="connsiteY1038" fmla="*/ 1391407 h 4036143"/>
                  <a:gd name="connsiteX1039" fmla="*/ 2239707 w 5806384"/>
                  <a:gd name="connsiteY1039" fmla="*/ 1517448 h 4036143"/>
                  <a:gd name="connsiteX1040" fmla="*/ 3039854 w 5806384"/>
                  <a:gd name="connsiteY1040" fmla="*/ 1351754 h 4036143"/>
                  <a:gd name="connsiteX1041" fmla="*/ 2554101 w 5806384"/>
                  <a:gd name="connsiteY1041" fmla="*/ 1389991 h 4036143"/>
                  <a:gd name="connsiteX1042" fmla="*/ 3045520 w 5806384"/>
                  <a:gd name="connsiteY1042" fmla="*/ 1184644 h 4036143"/>
                  <a:gd name="connsiteX1043" fmla="*/ 3066762 w 5806384"/>
                  <a:gd name="connsiteY1043" fmla="*/ 1200222 h 4036143"/>
                  <a:gd name="connsiteX1044" fmla="*/ 3039854 w 5806384"/>
                  <a:gd name="connsiteY1044" fmla="*/ 1351754 h 4036143"/>
                  <a:gd name="connsiteX1045" fmla="*/ 2765114 w 5806384"/>
                  <a:gd name="connsiteY1045" fmla="*/ 950972 h 4036143"/>
                  <a:gd name="connsiteX1046" fmla="*/ 2746703 w 5806384"/>
                  <a:gd name="connsiteY1046" fmla="*/ 948140 h 4036143"/>
                  <a:gd name="connsiteX1047" fmla="*/ 2990288 w 5806384"/>
                  <a:gd name="connsiteY1047" fmla="*/ 898573 h 4036143"/>
                  <a:gd name="connsiteX1048" fmla="*/ 3022861 w 5806384"/>
                  <a:gd name="connsiteY1048" fmla="*/ 945307 h 4036143"/>
                  <a:gd name="connsiteX1049" fmla="*/ 2765114 w 5806384"/>
                  <a:gd name="connsiteY1049" fmla="*/ 950972 h 4036143"/>
                  <a:gd name="connsiteX1050" fmla="*/ 3150318 w 5806384"/>
                  <a:gd name="connsiteY1050" fmla="*/ 595508 h 4036143"/>
                  <a:gd name="connsiteX1051" fmla="*/ 3175809 w 5806384"/>
                  <a:gd name="connsiteY1051" fmla="*/ 606838 h 4036143"/>
                  <a:gd name="connsiteX1052" fmla="*/ 3172977 w 5806384"/>
                  <a:gd name="connsiteY1052" fmla="*/ 621000 h 4036143"/>
                  <a:gd name="connsiteX1053" fmla="*/ 3150318 w 5806384"/>
                  <a:gd name="connsiteY1053" fmla="*/ 595508 h 4036143"/>
                  <a:gd name="connsiteX1054" fmla="*/ 4273358 w 5806384"/>
                  <a:gd name="connsiteY1054" fmla="*/ 611086 h 4036143"/>
                  <a:gd name="connsiteX1055" fmla="*/ 4412144 w 5806384"/>
                  <a:gd name="connsiteY1055" fmla="*/ 749873 h 4036143"/>
                  <a:gd name="connsiteX1056" fmla="*/ 4431971 w 5806384"/>
                  <a:gd name="connsiteY1056" fmla="*/ 908486 h 4036143"/>
                  <a:gd name="connsiteX1057" fmla="*/ 4114744 w 5806384"/>
                  <a:gd name="connsiteY1057" fmla="*/ 916984 h 4036143"/>
                  <a:gd name="connsiteX1058" fmla="*/ 4161478 w 5806384"/>
                  <a:gd name="connsiteY1058" fmla="*/ 803688 h 4036143"/>
                  <a:gd name="connsiteX1059" fmla="*/ 4161478 w 5806384"/>
                  <a:gd name="connsiteY1059" fmla="*/ 803688 h 4036143"/>
                  <a:gd name="connsiteX1060" fmla="*/ 4041102 w 5806384"/>
                  <a:gd name="connsiteY1060" fmla="*/ 881579 h 4036143"/>
                  <a:gd name="connsiteX1061" fmla="*/ 3960379 w 5806384"/>
                  <a:gd name="connsiteY1061" fmla="*/ 717301 h 4036143"/>
                  <a:gd name="connsiteX1062" fmla="*/ 3960379 w 5806384"/>
                  <a:gd name="connsiteY1062" fmla="*/ 717301 h 4036143"/>
                  <a:gd name="connsiteX1063" fmla="*/ 3600667 w 5806384"/>
                  <a:gd name="connsiteY1063" fmla="*/ 922648 h 4036143"/>
                  <a:gd name="connsiteX1064" fmla="*/ 3895234 w 5806384"/>
                  <a:gd name="connsiteY1064" fmla="*/ 548774 h 4036143"/>
                  <a:gd name="connsiteX1065" fmla="*/ 4273358 w 5806384"/>
                  <a:gd name="connsiteY1065" fmla="*/ 611086 h 4036143"/>
                  <a:gd name="connsiteX1066" fmla="*/ 2947802 w 5806384"/>
                  <a:gd name="connsiteY1066" fmla="*/ 2763697 h 4036143"/>
                  <a:gd name="connsiteX1067" fmla="*/ 2942138 w 5806384"/>
                  <a:gd name="connsiteY1067" fmla="*/ 2770778 h 4036143"/>
                  <a:gd name="connsiteX1068" fmla="*/ 2865663 w 5806384"/>
                  <a:gd name="connsiteY1068" fmla="*/ 2749535 h 4036143"/>
                  <a:gd name="connsiteX1069" fmla="*/ 2780692 w 5806384"/>
                  <a:gd name="connsiteY1069" fmla="*/ 2684390 h 4036143"/>
                  <a:gd name="connsiteX1070" fmla="*/ 2780692 w 5806384"/>
                  <a:gd name="connsiteY1070" fmla="*/ 2684390 h 4036143"/>
                  <a:gd name="connsiteX1071" fmla="*/ 2947802 w 5806384"/>
                  <a:gd name="connsiteY1071" fmla="*/ 2763697 h 4036143"/>
                  <a:gd name="connsiteX1072" fmla="*/ 1969214 w 5806384"/>
                  <a:gd name="connsiteY1072" fmla="*/ 1736958 h 4036143"/>
                  <a:gd name="connsiteX1073" fmla="*/ 2156151 w 5806384"/>
                  <a:gd name="connsiteY1073" fmla="*/ 1885658 h 4036143"/>
                  <a:gd name="connsiteX1074" fmla="*/ 2136324 w 5806384"/>
                  <a:gd name="connsiteY1074" fmla="*/ 1991873 h 4036143"/>
                  <a:gd name="connsiteX1075" fmla="*/ 1748288 w 5806384"/>
                  <a:gd name="connsiteY1075" fmla="*/ 1802103 h 4036143"/>
                  <a:gd name="connsiteX1076" fmla="*/ 1969214 w 5806384"/>
                  <a:gd name="connsiteY1076" fmla="*/ 1736958 h 4036143"/>
                  <a:gd name="connsiteX1077" fmla="*/ 4433387 w 5806384"/>
                  <a:gd name="connsiteY1077" fmla="*/ 908486 h 4036143"/>
                  <a:gd name="connsiteX1078" fmla="*/ 4413560 w 5806384"/>
                  <a:gd name="connsiteY1078" fmla="*/ 752705 h 4036143"/>
                  <a:gd name="connsiteX1079" fmla="*/ 4566510 w 5806384"/>
                  <a:gd name="connsiteY1079" fmla="*/ 905654 h 4036143"/>
                  <a:gd name="connsiteX1080" fmla="*/ 4433387 w 5806384"/>
                  <a:gd name="connsiteY1080" fmla="*/ 908486 h 4036143"/>
                  <a:gd name="connsiteX1081" fmla="*/ 3508614 w 5806384"/>
                  <a:gd name="connsiteY1081" fmla="*/ 2661731 h 4036143"/>
                  <a:gd name="connsiteX1082" fmla="*/ 3569510 w 5806384"/>
                  <a:gd name="connsiteY1082" fmla="*/ 2691471 h 4036143"/>
                  <a:gd name="connsiteX1083" fmla="*/ 3623325 w 5806384"/>
                  <a:gd name="connsiteY1083" fmla="*/ 2718378 h 4036143"/>
                  <a:gd name="connsiteX1084" fmla="*/ 3586505 w 5806384"/>
                  <a:gd name="connsiteY1084" fmla="*/ 2804766 h 4036143"/>
                  <a:gd name="connsiteX1085" fmla="*/ 3508614 w 5806384"/>
                  <a:gd name="connsiteY1085" fmla="*/ 2661731 h 4036143"/>
                  <a:gd name="connsiteX1086" fmla="*/ 3328758 w 5806384"/>
                  <a:gd name="connsiteY1086" fmla="*/ 2942136 h 4036143"/>
                  <a:gd name="connsiteX1087" fmla="*/ 3340087 w 5806384"/>
                  <a:gd name="connsiteY1087" fmla="*/ 2936472 h 4036143"/>
                  <a:gd name="connsiteX1088" fmla="*/ 3342920 w 5806384"/>
                  <a:gd name="connsiteY1088" fmla="*/ 2949217 h 4036143"/>
                  <a:gd name="connsiteX1089" fmla="*/ 3328758 w 5806384"/>
                  <a:gd name="connsiteY1089" fmla="*/ 2942136 h 4036143"/>
                  <a:gd name="connsiteX1090" fmla="*/ 3308931 w 5806384"/>
                  <a:gd name="connsiteY1090" fmla="*/ 2878408 h 4036143"/>
                  <a:gd name="connsiteX1091" fmla="*/ 3308931 w 5806384"/>
                  <a:gd name="connsiteY1091" fmla="*/ 2878408 h 4036143"/>
                  <a:gd name="connsiteX1092" fmla="*/ 3316012 w 5806384"/>
                  <a:gd name="connsiteY1092" fmla="*/ 2809015 h 4036143"/>
                  <a:gd name="connsiteX1093" fmla="*/ 3340087 w 5806384"/>
                  <a:gd name="connsiteY1093" fmla="*/ 2933639 h 4036143"/>
                  <a:gd name="connsiteX1094" fmla="*/ 3325925 w 5806384"/>
                  <a:gd name="connsiteY1094" fmla="*/ 2940720 h 4036143"/>
                  <a:gd name="connsiteX1095" fmla="*/ 3270694 w 5806384"/>
                  <a:gd name="connsiteY1095" fmla="*/ 2915229 h 4036143"/>
                  <a:gd name="connsiteX1096" fmla="*/ 3308931 w 5806384"/>
                  <a:gd name="connsiteY1096" fmla="*/ 2878408 h 4036143"/>
                  <a:gd name="connsiteX1097" fmla="*/ 2950635 w 5806384"/>
                  <a:gd name="connsiteY1097" fmla="*/ 2763697 h 4036143"/>
                  <a:gd name="connsiteX1098" fmla="*/ 2990288 w 5806384"/>
                  <a:gd name="connsiteY1098" fmla="*/ 2782107 h 4036143"/>
                  <a:gd name="connsiteX1099" fmla="*/ 2944970 w 5806384"/>
                  <a:gd name="connsiteY1099" fmla="*/ 2769361 h 4036143"/>
                  <a:gd name="connsiteX1100" fmla="*/ 2950635 w 5806384"/>
                  <a:gd name="connsiteY1100" fmla="*/ 2763697 h 4036143"/>
                  <a:gd name="connsiteX1101" fmla="*/ 2382742 w 5806384"/>
                  <a:gd name="connsiteY1101" fmla="*/ 2494620 h 4036143"/>
                  <a:gd name="connsiteX1102" fmla="*/ 2411066 w 5806384"/>
                  <a:gd name="connsiteY1102" fmla="*/ 2507366 h 4036143"/>
                  <a:gd name="connsiteX1103" fmla="*/ 2405401 w 5806384"/>
                  <a:gd name="connsiteY1103" fmla="*/ 2534273 h 4036143"/>
                  <a:gd name="connsiteX1104" fmla="*/ 2382742 w 5806384"/>
                  <a:gd name="connsiteY1104" fmla="*/ 2494620 h 4036143"/>
                  <a:gd name="connsiteX1105" fmla="*/ 2403985 w 5806384"/>
                  <a:gd name="connsiteY1105" fmla="*/ 2401152 h 4036143"/>
                  <a:gd name="connsiteX1106" fmla="*/ 2337424 w 5806384"/>
                  <a:gd name="connsiteY1106" fmla="*/ 2412481 h 4036143"/>
                  <a:gd name="connsiteX1107" fmla="*/ 2276528 w 5806384"/>
                  <a:gd name="connsiteY1107" fmla="*/ 2304851 h 4036143"/>
                  <a:gd name="connsiteX1108" fmla="*/ 2403985 w 5806384"/>
                  <a:gd name="connsiteY1108" fmla="*/ 2401152 h 4036143"/>
                  <a:gd name="connsiteX1109" fmla="*/ 3158815 w 5806384"/>
                  <a:gd name="connsiteY1109" fmla="*/ 1241291 h 4036143"/>
                  <a:gd name="connsiteX1110" fmla="*/ 3165896 w 5806384"/>
                  <a:gd name="connsiteY1110" fmla="*/ 1271031 h 4036143"/>
                  <a:gd name="connsiteX1111" fmla="*/ 3069595 w 5806384"/>
                  <a:gd name="connsiteY1111" fmla="*/ 1198806 h 4036143"/>
                  <a:gd name="connsiteX1112" fmla="*/ 3071011 w 5806384"/>
                  <a:gd name="connsiteY1112" fmla="*/ 1193141 h 4036143"/>
                  <a:gd name="connsiteX1113" fmla="*/ 3158815 w 5806384"/>
                  <a:gd name="connsiteY1113" fmla="*/ 1241291 h 4036143"/>
                  <a:gd name="connsiteX1114" fmla="*/ 3072427 w 5806384"/>
                  <a:gd name="connsiteY1114" fmla="*/ 1007620 h 4036143"/>
                  <a:gd name="connsiteX1115" fmla="*/ 3029942 w 5806384"/>
                  <a:gd name="connsiteY1115" fmla="*/ 946724 h 4036143"/>
                  <a:gd name="connsiteX1116" fmla="*/ 3114913 w 5806384"/>
                  <a:gd name="connsiteY1116" fmla="*/ 945307 h 4036143"/>
                  <a:gd name="connsiteX1117" fmla="*/ 3102167 w 5806384"/>
                  <a:gd name="connsiteY1117" fmla="*/ 1013285 h 4036143"/>
                  <a:gd name="connsiteX1118" fmla="*/ 3072427 w 5806384"/>
                  <a:gd name="connsiteY1118" fmla="*/ 1007620 h 4036143"/>
                  <a:gd name="connsiteX1119" fmla="*/ 3100751 w 5806384"/>
                  <a:gd name="connsiteY1119" fmla="*/ 1014701 h 4036143"/>
                  <a:gd name="connsiteX1120" fmla="*/ 3096502 w 5806384"/>
                  <a:gd name="connsiteY1120" fmla="*/ 1041608 h 4036143"/>
                  <a:gd name="connsiteX1121" fmla="*/ 3073843 w 5806384"/>
                  <a:gd name="connsiteY1121" fmla="*/ 1010452 h 4036143"/>
                  <a:gd name="connsiteX1122" fmla="*/ 3100751 w 5806384"/>
                  <a:gd name="connsiteY1122" fmla="*/ 1014701 h 4036143"/>
                  <a:gd name="connsiteX1123" fmla="*/ 4157230 w 5806384"/>
                  <a:gd name="connsiteY1123" fmla="*/ 809353 h 4036143"/>
                  <a:gd name="connsiteX1124" fmla="*/ 4111911 w 5806384"/>
                  <a:gd name="connsiteY1124" fmla="*/ 918400 h 4036143"/>
                  <a:gd name="connsiteX1125" fmla="*/ 4059512 w 5806384"/>
                  <a:gd name="connsiteY1125" fmla="*/ 919816 h 4036143"/>
                  <a:gd name="connsiteX1126" fmla="*/ 4042519 w 5806384"/>
                  <a:gd name="connsiteY1126" fmla="*/ 884411 h 4036143"/>
                  <a:gd name="connsiteX1127" fmla="*/ 4157230 w 5806384"/>
                  <a:gd name="connsiteY1127" fmla="*/ 809353 h 4036143"/>
                  <a:gd name="connsiteX1128" fmla="*/ 3961795 w 5806384"/>
                  <a:gd name="connsiteY1128" fmla="*/ 1280945 h 4036143"/>
                  <a:gd name="connsiteX1129" fmla="*/ 4001449 w 5806384"/>
                  <a:gd name="connsiteY1129" fmla="*/ 1278112 h 4036143"/>
                  <a:gd name="connsiteX1130" fmla="*/ 4174224 w 5806384"/>
                  <a:gd name="connsiteY1130" fmla="*/ 1389991 h 4036143"/>
                  <a:gd name="connsiteX1131" fmla="*/ 3883905 w 5806384"/>
                  <a:gd name="connsiteY1131" fmla="*/ 1504703 h 4036143"/>
                  <a:gd name="connsiteX1132" fmla="*/ 3875407 w 5806384"/>
                  <a:gd name="connsiteY1132" fmla="*/ 1490541 h 4036143"/>
                  <a:gd name="connsiteX1133" fmla="*/ 3961795 w 5806384"/>
                  <a:gd name="connsiteY1133" fmla="*/ 1280945 h 4036143"/>
                  <a:gd name="connsiteX1134" fmla="*/ 3864078 w 5806384"/>
                  <a:gd name="connsiteY1134" fmla="*/ 1511784 h 4036143"/>
                  <a:gd name="connsiteX1135" fmla="*/ 3872576 w 5806384"/>
                  <a:gd name="connsiteY1135" fmla="*/ 1491957 h 4036143"/>
                  <a:gd name="connsiteX1136" fmla="*/ 3881072 w 5806384"/>
                  <a:gd name="connsiteY1136" fmla="*/ 1504703 h 4036143"/>
                  <a:gd name="connsiteX1137" fmla="*/ 3864078 w 5806384"/>
                  <a:gd name="connsiteY1137" fmla="*/ 1511784 h 4036143"/>
                  <a:gd name="connsiteX1138" fmla="*/ 3752199 w 5806384"/>
                  <a:gd name="connsiteY1138" fmla="*/ 1297939 h 4036143"/>
                  <a:gd name="connsiteX1139" fmla="*/ 3958963 w 5806384"/>
                  <a:gd name="connsiteY1139" fmla="*/ 1282361 h 4036143"/>
                  <a:gd name="connsiteX1140" fmla="*/ 3872576 w 5806384"/>
                  <a:gd name="connsiteY1140" fmla="*/ 1489125 h 4036143"/>
                  <a:gd name="connsiteX1141" fmla="*/ 3752199 w 5806384"/>
                  <a:gd name="connsiteY1141" fmla="*/ 1297939 h 4036143"/>
                  <a:gd name="connsiteX1142" fmla="*/ 3011531 w 5806384"/>
                  <a:gd name="connsiteY1142" fmla="*/ 2790604 h 4036143"/>
                  <a:gd name="connsiteX1143" fmla="*/ 3127658 w 5806384"/>
                  <a:gd name="connsiteY1143" fmla="*/ 2823177 h 4036143"/>
                  <a:gd name="connsiteX1144" fmla="*/ 3140404 w 5806384"/>
                  <a:gd name="connsiteY1144" fmla="*/ 2852916 h 4036143"/>
                  <a:gd name="connsiteX1145" fmla="*/ 3011531 w 5806384"/>
                  <a:gd name="connsiteY1145" fmla="*/ 2790604 h 4036143"/>
                  <a:gd name="connsiteX1146" fmla="*/ 3051185 w 5806384"/>
                  <a:gd name="connsiteY1146" fmla="*/ 2654650 h 4036143"/>
                  <a:gd name="connsiteX1147" fmla="*/ 3127658 w 5806384"/>
                  <a:gd name="connsiteY1147" fmla="*/ 2820344 h 4036143"/>
                  <a:gd name="connsiteX1148" fmla="*/ 3001618 w 5806384"/>
                  <a:gd name="connsiteY1148" fmla="*/ 2784939 h 4036143"/>
                  <a:gd name="connsiteX1149" fmla="*/ 2952051 w 5806384"/>
                  <a:gd name="connsiteY1149" fmla="*/ 2760864 h 4036143"/>
                  <a:gd name="connsiteX1150" fmla="*/ 3051185 w 5806384"/>
                  <a:gd name="connsiteY1150" fmla="*/ 2654650 h 4036143"/>
                  <a:gd name="connsiteX1151" fmla="*/ 1972047 w 5806384"/>
                  <a:gd name="connsiteY1151" fmla="*/ 1735542 h 4036143"/>
                  <a:gd name="connsiteX1152" fmla="*/ 2241123 w 5806384"/>
                  <a:gd name="connsiteY1152" fmla="*/ 1656235 h 4036143"/>
                  <a:gd name="connsiteX1153" fmla="*/ 2252452 w 5806384"/>
                  <a:gd name="connsiteY1153" fmla="*/ 2047104 h 4036143"/>
                  <a:gd name="connsiteX1154" fmla="*/ 2139157 w 5806384"/>
                  <a:gd name="connsiteY1154" fmla="*/ 1991873 h 4036143"/>
                  <a:gd name="connsiteX1155" fmla="*/ 2158984 w 5806384"/>
                  <a:gd name="connsiteY1155" fmla="*/ 1884242 h 4036143"/>
                  <a:gd name="connsiteX1156" fmla="*/ 2158984 w 5806384"/>
                  <a:gd name="connsiteY1156" fmla="*/ 1884242 h 4036143"/>
                  <a:gd name="connsiteX1157" fmla="*/ 1972047 w 5806384"/>
                  <a:gd name="connsiteY1157" fmla="*/ 1735542 h 4036143"/>
                  <a:gd name="connsiteX1158" fmla="*/ 3069595 w 5806384"/>
                  <a:gd name="connsiteY1158" fmla="*/ 2630574 h 4036143"/>
                  <a:gd name="connsiteX1159" fmla="*/ 3051185 w 5806384"/>
                  <a:gd name="connsiteY1159" fmla="*/ 2650401 h 4036143"/>
                  <a:gd name="connsiteX1160" fmla="*/ 3017196 w 5806384"/>
                  <a:gd name="connsiteY1160" fmla="*/ 2575343 h 4036143"/>
                  <a:gd name="connsiteX1161" fmla="*/ 3069595 w 5806384"/>
                  <a:gd name="connsiteY1161" fmla="*/ 2630574 h 4036143"/>
                  <a:gd name="connsiteX1162" fmla="*/ 2854334 w 5806384"/>
                  <a:gd name="connsiteY1162" fmla="*/ 2226960 h 4036143"/>
                  <a:gd name="connsiteX1163" fmla="*/ 2715547 w 5806384"/>
                  <a:gd name="connsiteY1163" fmla="*/ 1807768 h 4036143"/>
                  <a:gd name="connsiteX1164" fmla="*/ 2729709 w 5806384"/>
                  <a:gd name="connsiteY1164" fmla="*/ 1810600 h 4036143"/>
                  <a:gd name="connsiteX1165" fmla="*/ 2896819 w 5806384"/>
                  <a:gd name="connsiteY1165" fmla="*/ 2239706 h 4036143"/>
                  <a:gd name="connsiteX1166" fmla="*/ 2854334 w 5806384"/>
                  <a:gd name="connsiteY1166" fmla="*/ 2226960 h 4036143"/>
                  <a:gd name="connsiteX1167" fmla="*/ 2714130 w 5806384"/>
                  <a:gd name="connsiteY1167" fmla="*/ 1804935 h 4036143"/>
                  <a:gd name="connsiteX1168" fmla="*/ 2641905 w 5806384"/>
                  <a:gd name="connsiteY1168" fmla="*/ 1585426 h 4036143"/>
                  <a:gd name="connsiteX1169" fmla="*/ 2728292 w 5806384"/>
                  <a:gd name="connsiteY1169" fmla="*/ 1807768 h 4036143"/>
                  <a:gd name="connsiteX1170" fmla="*/ 2714130 w 5806384"/>
                  <a:gd name="connsiteY1170" fmla="*/ 1804935 h 4036143"/>
                  <a:gd name="connsiteX1171" fmla="*/ 3393902 w 5806384"/>
                  <a:gd name="connsiteY1171" fmla="*/ 2280775 h 4036143"/>
                  <a:gd name="connsiteX1172" fmla="*/ 3688471 w 5806384"/>
                  <a:gd name="connsiteY1172" fmla="*/ 2452135 h 4036143"/>
                  <a:gd name="connsiteX1173" fmla="*/ 3327342 w 5806384"/>
                  <a:gd name="connsiteY1173" fmla="*/ 2354417 h 4036143"/>
                  <a:gd name="connsiteX1174" fmla="*/ 3393902 w 5806384"/>
                  <a:gd name="connsiteY1174" fmla="*/ 2280775 h 4036143"/>
                  <a:gd name="connsiteX1175" fmla="*/ 3324509 w 5806384"/>
                  <a:gd name="connsiteY1175" fmla="*/ 2353001 h 4036143"/>
                  <a:gd name="connsiteX1176" fmla="*/ 3124826 w 5806384"/>
                  <a:gd name="connsiteY1176" fmla="*/ 2299186 h 4036143"/>
                  <a:gd name="connsiteX1177" fmla="*/ 3171561 w 5806384"/>
                  <a:gd name="connsiteY1177" fmla="*/ 2156151 h 4036143"/>
                  <a:gd name="connsiteX1178" fmla="*/ 3184306 w 5806384"/>
                  <a:gd name="connsiteY1178" fmla="*/ 2154735 h 4036143"/>
                  <a:gd name="connsiteX1179" fmla="*/ 3182890 w 5806384"/>
                  <a:gd name="connsiteY1179" fmla="*/ 2157567 h 4036143"/>
                  <a:gd name="connsiteX1180" fmla="*/ 3182890 w 5806384"/>
                  <a:gd name="connsiteY1180" fmla="*/ 2157567 h 4036143"/>
                  <a:gd name="connsiteX1181" fmla="*/ 3392486 w 5806384"/>
                  <a:gd name="connsiteY1181" fmla="*/ 2279359 h 4036143"/>
                  <a:gd name="connsiteX1182" fmla="*/ 3324509 w 5806384"/>
                  <a:gd name="connsiteY1182" fmla="*/ 2353001 h 4036143"/>
                  <a:gd name="connsiteX1183" fmla="*/ 2321846 w 5806384"/>
                  <a:gd name="connsiteY1183" fmla="*/ 2083925 h 4036143"/>
                  <a:gd name="connsiteX1184" fmla="*/ 2260950 w 5806384"/>
                  <a:gd name="connsiteY1184" fmla="*/ 2292105 h 4036143"/>
                  <a:gd name="connsiteX1185" fmla="*/ 2253869 w 5806384"/>
                  <a:gd name="connsiteY1185" fmla="*/ 2051352 h 4036143"/>
                  <a:gd name="connsiteX1186" fmla="*/ 2321846 w 5806384"/>
                  <a:gd name="connsiteY1186" fmla="*/ 2083925 h 4036143"/>
                  <a:gd name="connsiteX1187" fmla="*/ 2253869 w 5806384"/>
                  <a:gd name="connsiteY1187" fmla="*/ 2048520 h 4036143"/>
                  <a:gd name="connsiteX1188" fmla="*/ 2243955 w 5806384"/>
                  <a:gd name="connsiteY1188" fmla="*/ 1656235 h 4036143"/>
                  <a:gd name="connsiteX1189" fmla="*/ 2287857 w 5806384"/>
                  <a:gd name="connsiteY1189" fmla="*/ 1643489 h 4036143"/>
                  <a:gd name="connsiteX1190" fmla="*/ 2408233 w 5806384"/>
                  <a:gd name="connsiteY1190" fmla="*/ 1792190 h 4036143"/>
                  <a:gd name="connsiteX1191" fmla="*/ 2323262 w 5806384"/>
                  <a:gd name="connsiteY1191" fmla="*/ 2081092 h 4036143"/>
                  <a:gd name="connsiteX1192" fmla="*/ 2253869 w 5806384"/>
                  <a:gd name="connsiteY1192" fmla="*/ 2048520 h 4036143"/>
                  <a:gd name="connsiteX1193" fmla="*/ 2843004 w 5806384"/>
                  <a:gd name="connsiteY1193" fmla="*/ 2336007 h 4036143"/>
                  <a:gd name="connsiteX1194" fmla="*/ 2488956 w 5806384"/>
                  <a:gd name="connsiteY1194" fmla="*/ 2163232 h 4036143"/>
                  <a:gd name="connsiteX1195" fmla="*/ 2535691 w 5806384"/>
                  <a:gd name="connsiteY1195" fmla="*/ 1952219 h 4036143"/>
                  <a:gd name="connsiteX1196" fmla="*/ 2843004 w 5806384"/>
                  <a:gd name="connsiteY1196" fmla="*/ 2336007 h 4036143"/>
                  <a:gd name="connsiteX1197" fmla="*/ 2957715 w 5806384"/>
                  <a:gd name="connsiteY1197" fmla="*/ 2394071 h 4036143"/>
                  <a:gd name="connsiteX1198" fmla="*/ 3020028 w 5806384"/>
                  <a:gd name="connsiteY1198" fmla="*/ 2552684 h 4036143"/>
                  <a:gd name="connsiteX1199" fmla="*/ 2850085 w 5806384"/>
                  <a:gd name="connsiteY1199" fmla="*/ 2341672 h 4036143"/>
                  <a:gd name="connsiteX1200" fmla="*/ 2957715 w 5806384"/>
                  <a:gd name="connsiteY1200" fmla="*/ 2394071 h 4036143"/>
                  <a:gd name="connsiteX1201" fmla="*/ 2847253 w 5806384"/>
                  <a:gd name="connsiteY1201" fmla="*/ 2337423 h 4036143"/>
                  <a:gd name="connsiteX1202" fmla="*/ 2535691 w 5806384"/>
                  <a:gd name="connsiteY1202" fmla="*/ 1949387 h 4036143"/>
                  <a:gd name="connsiteX1203" fmla="*/ 2573928 w 5806384"/>
                  <a:gd name="connsiteY1203" fmla="*/ 1778028 h 4036143"/>
                  <a:gd name="connsiteX1204" fmla="*/ 2712715 w 5806384"/>
                  <a:gd name="connsiteY1204" fmla="*/ 1804935 h 4036143"/>
                  <a:gd name="connsiteX1205" fmla="*/ 2851501 w 5806384"/>
                  <a:gd name="connsiteY1205" fmla="*/ 2226960 h 4036143"/>
                  <a:gd name="connsiteX1206" fmla="*/ 2851501 w 5806384"/>
                  <a:gd name="connsiteY1206" fmla="*/ 2226960 h 4036143"/>
                  <a:gd name="connsiteX1207" fmla="*/ 2898235 w 5806384"/>
                  <a:gd name="connsiteY1207" fmla="*/ 2239706 h 4036143"/>
                  <a:gd name="connsiteX1208" fmla="*/ 2957715 w 5806384"/>
                  <a:gd name="connsiteY1208" fmla="*/ 2389822 h 4036143"/>
                  <a:gd name="connsiteX1209" fmla="*/ 2847253 w 5806384"/>
                  <a:gd name="connsiteY1209" fmla="*/ 2337423 h 4036143"/>
                  <a:gd name="connsiteX1210" fmla="*/ 2534274 w 5806384"/>
                  <a:gd name="connsiteY1210" fmla="*/ 1947971 h 4036143"/>
                  <a:gd name="connsiteX1211" fmla="*/ 2408233 w 5806384"/>
                  <a:gd name="connsiteY1211" fmla="*/ 1792190 h 4036143"/>
                  <a:gd name="connsiteX1212" fmla="*/ 2420979 w 5806384"/>
                  <a:gd name="connsiteY1212" fmla="*/ 1749704 h 4036143"/>
                  <a:gd name="connsiteX1213" fmla="*/ 2571095 w 5806384"/>
                  <a:gd name="connsiteY1213" fmla="*/ 1779444 h 4036143"/>
                  <a:gd name="connsiteX1214" fmla="*/ 2534274 w 5806384"/>
                  <a:gd name="connsiteY1214" fmla="*/ 1947971 h 4036143"/>
                  <a:gd name="connsiteX1215" fmla="*/ 2420979 w 5806384"/>
                  <a:gd name="connsiteY1215" fmla="*/ 1746871 h 4036143"/>
                  <a:gd name="connsiteX1216" fmla="*/ 2420979 w 5806384"/>
                  <a:gd name="connsiteY1216" fmla="*/ 1746871 h 4036143"/>
                  <a:gd name="connsiteX1217" fmla="*/ 2408233 w 5806384"/>
                  <a:gd name="connsiteY1217" fmla="*/ 1789357 h 4036143"/>
                  <a:gd name="connsiteX1218" fmla="*/ 2289273 w 5806384"/>
                  <a:gd name="connsiteY1218" fmla="*/ 1642073 h 4036143"/>
                  <a:gd name="connsiteX1219" fmla="*/ 2623495 w 5806384"/>
                  <a:gd name="connsiteY1219" fmla="*/ 1542940 h 4036143"/>
                  <a:gd name="connsiteX1220" fmla="*/ 2572511 w 5806384"/>
                  <a:gd name="connsiteY1220" fmla="*/ 1776611 h 4036143"/>
                  <a:gd name="connsiteX1221" fmla="*/ 2420979 w 5806384"/>
                  <a:gd name="connsiteY1221" fmla="*/ 1746871 h 4036143"/>
                  <a:gd name="connsiteX1222" fmla="*/ 2408233 w 5806384"/>
                  <a:gd name="connsiteY1222" fmla="*/ 1793606 h 4036143"/>
                  <a:gd name="connsiteX1223" fmla="*/ 2534274 w 5806384"/>
                  <a:gd name="connsiteY1223" fmla="*/ 1949387 h 4036143"/>
                  <a:gd name="connsiteX1224" fmla="*/ 2487540 w 5806384"/>
                  <a:gd name="connsiteY1224" fmla="*/ 2160399 h 4036143"/>
                  <a:gd name="connsiteX1225" fmla="*/ 2323262 w 5806384"/>
                  <a:gd name="connsiteY1225" fmla="*/ 2081092 h 4036143"/>
                  <a:gd name="connsiteX1226" fmla="*/ 2408233 w 5806384"/>
                  <a:gd name="connsiteY1226" fmla="*/ 1793606 h 4036143"/>
                  <a:gd name="connsiteX1227" fmla="*/ 3310347 w 5806384"/>
                  <a:gd name="connsiteY1227" fmla="*/ 1892739 h 4036143"/>
                  <a:gd name="connsiteX1228" fmla="*/ 3304682 w 5806384"/>
                  <a:gd name="connsiteY1228" fmla="*/ 1904069 h 4036143"/>
                  <a:gd name="connsiteX1229" fmla="*/ 3211214 w 5806384"/>
                  <a:gd name="connsiteY1229" fmla="*/ 1868664 h 4036143"/>
                  <a:gd name="connsiteX1230" fmla="*/ 3209797 w 5806384"/>
                  <a:gd name="connsiteY1230" fmla="*/ 1868664 h 4036143"/>
                  <a:gd name="connsiteX1231" fmla="*/ 3293353 w 5806384"/>
                  <a:gd name="connsiteY1231" fmla="*/ 1928144 h 4036143"/>
                  <a:gd name="connsiteX1232" fmla="*/ 3185723 w 5806384"/>
                  <a:gd name="connsiteY1232" fmla="*/ 2153318 h 4036143"/>
                  <a:gd name="connsiteX1233" fmla="*/ 3170144 w 5806384"/>
                  <a:gd name="connsiteY1233" fmla="*/ 2154735 h 4036143"/>
                  <a:gd name="connsiteX1234" fmla="*/ 3170144 w 5806384"/>
                  <a:gd name="connsiteY1234" fmla="*/ 2154735 h 4036143"/>
                  <a:gd name="connsiteX1235" fmla="*/ 3121994 w 5806384"/>
                  <a:gd name="connsiteY1235" fmla="*/ 2299186 h 4036143"/>
                  <a:gd name="connsiteX1236" fmla="*/ 3031358 w 5806384"/>
                  <a:gd name="connsiteY1236" fmla="*/ 2275111 h 4036143"/>
                  <a:gd name="connsiteX1237" fmla="*/ 3021444 w 5806384"/>
                  <a:gd name="connsiteY1237" fmla="*/ 1476379 h 4036143"/>
                  <a:gd name="connsiteX1238" fmla="*/ 3243786 w 5806384"/>
                  <a:gd name="connsiteY1238" fmla="*/ 1605252 h 4036143"/>
                  <a:gd name="connsiteX1239" fmla="*/ 3310347 w 5806384"/>
                  <a:gd name="connsiteY1239" fmla="*/ 1892739 h 4036143"/>
                  <a:gd name="connsiteX1240" fmla="*/ 3544019 w 5806384"/>
                  <a:gd name="connsiteY1240" fmla="*/ 2106584 h 4036143"/>
                  <a:gd name="connsiteX1241" fmla="*/ 3188554 w 5806384"/>
                  <a:gd name="connsiteY1241" fmla="*/ 2151902 h 4036143"/>
                  <a:gd name="connsiteX1242" fmla="*/ 3296186 w 5806384"/>
                  <a:gd name="connsiteY1242" fmla="*/ 1928144 h 4036143"/>
                  <a:gd name="connsiteX1243" fmla="*/ 3544019 w 5806384"/>
                  <a:gd name="connsiteY1243" fmla="*/ 2106584 h 4036143"/>
                  <a:gd name="connsiteX1244" fmla="*/ 3223959 w 5806384"/>
                  <a:gd name="connsiteY1244" fmla="*/ 1875745 h 4036143"/>
                  <a:gd name="connsiteX1245" fmla="*/ 3303267 w 5806384"/>
                  <a:gd name="connsiteY1245" fmla="*/ 1905485 h 4036143"/>
                  <a:gd name="connsiteX1246" fmla="*/ 3293353 w 5806384"/>
                  <a:gd name="connsiteY1246" fmla="*/ 1925311 h 4036143"/>
                  <a:gd name="connsiteX1247" fmla="*/ 3223959 w 5806384"/>
                  <a:gd name="connsiteY1247" fmla="*/ 1875745 h 4036143"/>
                  <a:gd name="connsiteX1248" fmla="*/ 3121994 w 5806384"/>
                  <a:gd name="connsiteY1248" fmla="*/ 2300602 h 4036143"/>
                  <a:gd name="connsiteX1249" fmla="*/ 3073843 w 5806384"/>
                  <a:gd name="connsiteY1249" fmla="*/ 2447886 h 4036143"/>
                  <a:gd name="connsiteX1250" fmla="*/ 3034190 w 5806384"/>
                  <a:gd name="connsiteY1250" fmla="*/ 2429475 h 4036143"/>
                  <a:gd name="connsiteX1251" fmla="*/ 3032773 w 5806384"/>
                  <a:gd name="connsiteY1251" fmla="*/ 2277943 h 4036143"/>
                  <a:gd name="connsiteX1252" fmla="*/ 3121994 w 5806384"/>
                  <a:gd name="connsiteY1252" fmla="*/ 2300602 h 4036143"/>
                  <a:gd name="connsiteX1253" fmla="*/ 3031358 w 5806384"/>
                  <a:gd name="connsiteY1253" fmla="*/ 2428059 h 4036143"/>
                  <a:gd name="connsiteX1254" fmla="*/ 2959132 w 5806384"/>
                  <a:gd name="connsiteY1254" fmla="*/ 2392654 h 4036143"/>
                  <a:gd name="connsiteX1255" fmla="*/ 2899652 w 5806384"/>
                  <a:gd name="connsiteY1255" fmla="*/ 2241122 h 4036143"/>
                  <a:gd name="connsiteX1256" fmla="*/ 3028525 w 5806384"/>
                  <a:gd name="connsiteY1256" fmla="*/ 2276527 h 4036143"/>
                  <a:gd name="connsiteX1257" fmla="*/ 3031358 w 5806384"/>
                  <a:gd name="connsiteY1257" fmla="*/ 2428059 h 4036143"/>
                  <a:gd name="connsiteX1258" fmla="*/ 3072427 w 5806384"/>
                  <a:gd name="connsiteY1258" fmla="*/ 2449302 h 4036143"/>
                  <a:gd name="connsiteX1259" fmla="*/ 3035606 w 5806384"/>
                  <a:gd name="connsiteY1259" fmla="*/ 2559765 h 4036143"/>
                  <a:gd name="connsiteX1260" fmla="*/ 3034190 w 5806384"/>
                  <a:gd name="connsiteY1260" fmla="*/ 2429475 h 4036143"/>
                  <a:gd name="connsiteX1261" fmla="*/ 3072427 w 5806384"/>
                  <a:gd name="connsiteY1261" fmla="*/ 2449302 h 4036143"/>
                  <a:gd name="connsiteX1262" fmla="*/ 3075259 w 5806384"/>
                  <a:gd name="connsiteY1262" fmla="*/ 2447886 h 4036143"/>
                  <a:gd name="connsiteX1263" fmla="*/ 3123410 w 5806384"/>
                  <a:gd name="connsiteY1263" fmla="*/ 2300602 h 4036143"/>
                  <a:gd name="connsiteX1264" fmla="*/ 3323093 w 5806384"/>
                  <a:gd name="connsiteY1264" fmla="*/ 2354417 h 4036143"/>
                  <a:gd name="connsiteX1265" fmla="*/ 3187139 w 5806384"/>
                  <a:gd name="connsiteY1265" fmla="*/ 2503117 h 4036143"/>
                  <a:gd name="connsiteX1266" fmla="*/ 3075259 w 5806384"/>
                  <a:gd name="connsiteY1266" fmla="*/ 2447886 h 4036143"/>
                  <a:gd name="connsiteX1267" fmla="*/ 3185723 w 5806384"/>
                  <a:gd name="connsiteY1267" fmla="*/ 2157567 h 4036143"/>
                  <a:gd name="connsiteX1268" fmla="*/ 3187139 w 5806384"/>
                  <a:gd name="connsiteY1268" fmla="*/ 2154735 h 4036143"/>
                  <a:gd name="connsiteX1269" fmla="*/ 3546852 w 5806384"/>
                  <a:gd name="connsiteY1269" fmla="*/ 2109416 h 4036143"/>
                  <a:gd name="connsiteX1270" fmla="*/ 3548267 w 5806384"/>
                  <a:gd name="connsiteY1270" fmla="*/ 2110833 h 4036143"/>
                  <a:gd name="connsiteX1271" fmla="*/ 3393902 w 5806384"/>
                  <a:gd name="connsiteY1271" fmla="*/ 2279359 h 4036143"/>
                  <a:gd name="connsiteX1272" fmla="*/ 3185723 w 5806384"/>
                  <a:gd name="connsiteY1272" fmla="*/ 2157567 h 4036143"/>
                  <a:gd name="connsiteX1273" fmla="*/ 3493036 w 5806384"/>
                  <a:gd name="connsiteY1273" fmla="*/ 1973462 h 4036143"/>
                  <a:gd name="connsiteX1274" fmla="*/ 3306099 w 5806384"/>
                  <a:gd name="connsiteY1274" fmla="*/ 1904069 h 4036143"/>
                  <a:gd name="connsiteX1275" fmla="*/ 3311763 w 5806384"/>
                  <a:gd name="connsiteY1275" fmla="*/ 1892739 h 4036143"/>
                  <a:gd name="connsiteX1276" fmla="*/ 3311763 w 5806384"/>
                  <a:gd name="connsiteY1276" fmla="*/ 1892739 h 4036143"/>
                  <a:gd name="connsiteX1277" fmla="*/ 3245202 w 5806384"/>
                  <a:gd name="connsiteY1277" fmla="*/ 1605252 h 4036143"/>
                  <a:gd name="connsiteX1278" fmla="*/ 3372659 w 5806384"/>
                  <a:gd name="connsiteY1278" fmla="*/ 1678894 h 4036143"/>
                  <a:gd name="connsiteX1279" fmla="*/ 3493036 w 5806384"/>
                  <a:gd name="connsiteY1279" fmla="*/ 1973462 h 4036143"/>
                  <a:gd name="connsiteX1280" fmla="*/ 3245202 w 5806384"/>
                  <a:gd name="connsiteY1280" fmla="*/ 1602420 h 4036143"/>
                  <a:gd name="connsiteX1281" fmla="*/ 3184306 w 5806384"/>
                  <a:gd name="connsiteY1281" fmla="*/ 1341841 h 4036143"/>
                  <a:gd name="connsiteX1282" fmla="*/ 3232457 w 5806384"/>
                  <a:gd name="connsiteY1282" fmla="*/ 1337592 h 4036143"/>
                  <a:gd name="connsiteX1283" fmla="*/ 3371244 w 5806384"/>
                  <a:gd name="connsiteY1283" fmla="*/ 1676062 h 4036143"/>
                  <a:gd name="connsiteX1284" fmla="*/ 3245202 w 5806384"/>
                  <a:gd name="connsiteY1284" fmla="*/ 1602420 h 4036143"/>
                  <a:gd name="connsiteX1285" fmla="*/ 3546852 w 5806384"/>
                  <a:gd name="connsiteY1285" fmla="*/ 2106584 h 4036143"/>
                  <a:gd name="connsiteX1286" fmla="*/ 3296186 w 5806384"/>
                  <a:gd name="connsiteY1286" fmla="*/ 1926728 h 4036143"/>
                  <a:gd name="connsiteX1287" fmla="*/ 3306099 w 5806384"/>
                  <a:gd name="connsiteY1287" fmla="*/ 1905485 h 4036143"/>
                  <a:gd name="connsiteX1288" fmla="*/ 3494452 w 5806384"/>
                  <a:gd name="connsiteY1288" fmla="*/ 1976294 h 4036143"/>
                  <a:gd name="connsiteX1289" fmla="*/ 3546852 w 5806384"/>
                  <a:gd name="connsiteY1289" fmla="*/ 2106584 h 4036143"/>
                  <a:gd name="connsiteX1290" fmla="*/ 3546852 w 5806384"/>
                  <a:gd name="connsiteY1290" fmla="*/ 2106584 h 4036143"/>
                  <a:gd name="connsiteX1291" fmla="*/ 3248035 w 5806384"/>
                  <a:gd name="connsiteY1291" fmla="*/ 1334760 h 4036143"/>
                  <a:gd name="connsiteX1292" fmla="*/ 3233873 w 5806384"/>
                  <a:gd name="connsiteY1292" fmla="*/ 1336176 h 4036143"/>
                  <a:gd name="connsiteX1293" fmla="*/ 3226792 w 5806384"/>
                  <a:gd name="connsiteY1293" fmla="*/ 1320598 h 4036143"/>
                  <a:gd name="connsiteX1294" fmla="*/ 3248035 w 5806384"/>
                  <a:gd name="connsiteY1294" fmla="*/ 1334760 h 4036143"/>
                  <a:gd name="connsiteX1295" fmla="*/ 3223959 w 5806384"/>
                  <a:gd name="connsiteY1295" fmla="*/ 1317766 h 4036143"/>
                  <a:gd name="connsiteX1296" fmla="*/ 3231040 w 5806384"/>
                  <a:gd name="connsiteY1296" fmla="*/ 1336176 h 4036143"/>
                  <a:gd name="connsiteX1297" fmla="*/ 3182890 w 5806384"/>
                  <a:gd name="connsiteY1297" fmla="*/ 1340425 h 4036143"/>
                  <a:gd name="connsiteX1298" fmla="*/ 3168728 w 5806384"/>
                  <a:gd name="connsiteY1298" fmla="*/ 1276696 h 4036143"/>
                  <a:gd name="connsiteX1299" fmla="*/ 3223959 w 5806384"/>
                  <a:gd name="connsiteY1299" fmla="*/ 1317766 h 4036143"/>
                  <a:gd name="connsiteX1300" fmla="*/ 2243955 w 5806384"/>
                  <a:gd name="connsiteY1300" fmla="*/ 1653403 h 4036143"/>
                  <a:gd name="connsiteX1301" fmla="*/ 2242539 w 5806384"/>
                  <a:gd name="connsiteY1301" fmla="*/ 1586842 h 4036143"/>
                  <a:gd name="connsiteX1302" fmla="*/ 2286441 w 5806384"/>
                  <a:gd name="connsiteY1302" fmla="*/ 1642073 h 4036143"/>
                  <a:gd name="connsiteX1303" fmla="*/ 2243955 w 5806384"/>
                  <a:gd name="connsiteY1303" fmla="*/ 1653403 h 4036143"/>
                  <a:gd name="connsiteX1304" fmla="*/ 3071011 w 5806384"/>
                  <a:gd name="connsiteY1304" fmla="*/ 2631991 h 4036143"/>
                  <a:gd name="connsiteX1305" fmla="*/ 3301850 w 5806384"/>
                  <a:gd name="connsiteY1305" fmla="*/ 2869911 h 4036143"/>
                  <a:gd name="connsiteX1306" fmla="*/ 3129075 w 5806384"/>
                  <a:gd name="connsiteY1306" fmla="*/ 2821760 h 4036143"/>
                  <a:gd name="connsiteX1307" fmla="*/ 3052600 w 5806384"/>
                  <a:gd name="connsiteY1307" fmla="*/ 2653234 h 4036143"/>
                  <a:gd name="connsiteX1308" fmla="*/ 3071011 w 5806384"/>
                  <a:gd name="connsiteY1308" fmla="*/ 2631991 h 4036143"/>
                  <a:gd name="connsiteX1309" fmla="*/ 3398152 w 5806384"/>
                  <a:gd name="connsiteY1309" fmla="*/ 2607916 h 4036143"/>
                  <a:gd name="connsiteX1310" fmla="*/ 3436388 w 5806384"/>
                  <a:gd name="connsiteY1310" fmla="*/ 2885489 h 4036143"/>
                  <a:gd name="connsiteX1311" fmla="*/ 3342920 w 5806384"/>
                  <a:gd name="connsiteY1311" fmla="*/ 2932223 h 4036143"/>
                  <a:gd name="connsiteX1312" fmla="*/ 3314596 w 5806384"/>
                  <a:gd name="connsiteY1312" fmla="*/ 2797685 h 4036143"/>
                  <a:gd name="connsiteX1313" fmla="*/ 3314596 w 5806384"/>
                  <a:gd name="connsiteY1313" fmla="*/ 2796269 h 4036143"/>
                  <a:gd name="connsiteX1314" fmla="*/ 3307515 w 5806384"/>
                  <a:gd name="connsiteY1314" fmla="*/ 2872743 h 4036143"/>
                  <a:gd name="connsiteX1315" fmla="*/ 3072427 w 5806384"/>
                  <a:gd name="connsiteY1315" fmla="*/ 2630574 h 4036143"/>
                  <a:gd name="connsiteX1316" fmla="*/ 3187139 w 5806384"/>
                  <a:gd name="connsiteY1316" fmla="*/ 2505950 h 4036143"/>
                  <a:gd name="connsiteX1317" fmla="*/ 3398152 w 5806384"/>
                  <a:gd name="connsiteY1317" fmla="*/ 2607916 h 4036143"/>
                  <a:gd name="connsiteX1318" fmla="*/ 3716795 w 5806384"/>
                  <a:gd name="connsiteY1318" fmla="*/ 1300771 h 4036143"/>
                  <a:gd name="connsiteX1319" fmla="*/ 3681390 w 5806384"/>
                  <a:gd name="connsiteY1319" fmla="*/ 1656235 h 4036143"/>
                  <a:gd name="connsiteX1320" fmla="*/ 3253700 w 5806384"/>
                  <a:gd name="connsiteY1320" fmla="*/ 1337592 h 4036143"/>
                  <a:gd name="connsiteX1321" fmla="*/ 3716795 w 5806384"/>
                  <a:gd name="connsiteY1321" fmla="*/ 1300771 h 4036143"/>
                  <a:gd name="connsiteX1322" fmla="*/ 3747950 w 5806384"/>
                  <a:gd name="connsiteY1322" fmla="*/ 1296523 h 4036143"/>
                  <a:gd name="connsiteX1323" fmla="*/ 3718210 w 5806384"/>
                  <a:gd name="connsiteY1323" fmla="*/ 1299355 h 4036143"/>
                  <a:gd name="connsiteX1324" fmla="*/ 3722459 w 5806384"/>
                  <a:gd name="connsiteY1324" fmla="*/ 1256869 h 4036143"/>
                  <a:gd name="connsiteX1325" fmla="*/ 3747950 w 5806384"/>
                  <a:gd name="connsiteY1325" fmla="*/ 1296523 h 4036143"/>
                  <a:gd name="connsiteX1326" fmla="*/ 4004281 w 5806384"/>
                  <a:gd name="connsiteY1326" fmla="*/ 1178979 h 4036143"/>
                  <a:gd name="connsiteX1327" fmla="*/ 4015611 w 5806384"/>
                  <a:gd name="connsiteY1327" fmla="*/ 1150655 h 4036143"/>
                  <a:gd name="connsiteX1328" fmla="*/ 4150149 w 5806384"/>
                  <a:gd name="connsiteY1328" fmla="*/ 1108169 h 4036143"/>
                  <a:gd name="connsiteX1329" fmla="*/ 4202548 w 5806384"/>
                  <a:gd name="connsiteY1329" fmla="*/ 1215800 h 4036143"/>
                  <a:gd name="connsiteX1330" fmla="*/ 4004281 w 5806384"/>
                  <a:gd name="connsiteY1330" fmla="*/ 1178979 h 4036143"/>
                  <a:gd name="connsiteX1331" fmla="*/ 3957547 w 5806384"/>
                  <a:gd name="connsiteY1331" fmla="*/ 1169066 h 4036143"/>
                  <a:gd name="connsiteX1332" fmla="*/ 4014195 w 5806384"/>
                  <a:gd name="connsiteY1332" fmla="*/ 1150655 h 4036143"/>
                  <a:gd name="connsiteX1333" fmla="*/ 4002865 w 5806384"/>
                  <a:gd name="connsiteY1333" fmla="*/ 1177563 h 4036143"/>
                  <a:gd name="connsiteX1334" fmla="*/ 3957547 w 5806384"/>
                  <a:gd name="connsiteY1334" fmla="*/ 1169066 h 4036143"/>
                  <a:gd name="connsiteX1335" fmla="*/ 4182721 w 5806384"/>
                  <a:gd name="connsiteY1335" fmla="*/ 1095424 h 4036143"/>
                  <a:gd name="connsiteX1336" fmla="*/ 4151565 w 5806384"/>
                  <a:gd name="connsiteY1336" fmla="*/ 1105337 h 4036143"/>
                  <a:gd name="connsiteX1337" fmla="*/ 4143068 w 5806384"/>
                  <a:gd name="connsiteY1337" fmla="*/ 1086926 h 4036143"/>
                  <a:gd name="connsiteX1338" fmla="*/ 4182721 w 5806384"/>
                  <a:gd name="connsiteY1338" fmla="*/ 1095424 h 4036143"/>
                  <a:gd name="connsiteX1339" fmla="*/ 4185554 w 5806384"/>
                  <a:gd name="connsiteY1339" fmla="*/ 1094007 h 4036143"/>
                  <a:gd name="connsiteX1340" fmla="*/ 4140235 w 5806384"/>
                  <a:gd name="connsiteY1340" fmla="*/ 1084094 h 4036143"/>
                  <a:gd name="connsiteX1341" fmla="*/ 4087836 w 5806384"/>
                  <a:gd name="connsiteY1341" fmla="*/ 977880 h 4036143"/>
                  <a:gd name="connsiteX1342" fmla="*/ 4111911 w 5806384"/>
                  <a:gd name="connsiteY1342" fmla="*/ 919816 h 4036143"/>
                  <a:gd name="connsiteX1343" fmla="*/ 4430555 w 5806384"/>
                  <a:gd name="connsiteY1343" fmla="*/ 911319 h 4036143"/>
                  <a:gd name="connsiteX1344" fmla="*/ 4443301 w 5806384"/>
                  <a:gd name="connsiteY1344" fmla="*/ 1010452 h 4036143"/>
                  <a:gd name="connsiteX1345" fmla="*/ 4185554 w 5806384"/>
                  <a:gd name="connsiteY1345" fmla="*/ 1094007 h 4036143"/>
                  <a:gd name="connsiteX1346" fmla="*/ 4110496 w 5806384"/>
                  <a:gd name="connsiteY1346" fmla="*/ 919816 h 4036143"/>
                  <a:gd name="connsiteX1347" fmla="*/ 4087836 w 5806384"/>
                  <a:gd name="connsiteY1347" fmla="*/ 975047 h 4036143"/>
                  <a:gd name="connsiteX1348" fmla="*/ 4060929 w 5806384"/>
                  <a:gd name="connsiteY1348" fmla="*/ 921232 h 4036143"/>
                  <a:gd name="connsiteX1349" fmla="*/ 4110496 w 5806384"/>
                  <a:gd name="connsiteY1349" fmla="*/ 919816 h 4036143"/>
                  <a:gd name="connsiteX1350" fmla="*/ 4138819 w 5806384"/>
                  <a:gd name="connsiteY1350" fmla="*/ 1084094 h 4036143"/>
                  <a:gd name="connsiteX1351" fmla="*/ 4052431 w 5806384"/>
                  <a:gd name="connsiteY1351" fmla="*/ 1065684 h 4036143"/>
                  <a:gd name="connsiteX1352" fmla="*/ 4087836 w 5806384"/>
                  <a:gd name="connsiteY1352" fmla="*/ 980712 h 4036143"/>
                  <a:gd name="connsiteX1353" fmla="*/ 4138819 w 5806384"/>
                  <a:gd name="connsiteY1353" fmla="*/ 1084094 h 4036143"/>
                  <a:gd name="connsiteX1354" fmla="*/ 4140235 w 5806384"/>
                  <a:gd name="connsiteY1354" fmla="*/ 1085510 h 4036143"/>
                  <a:gd name="connsiteX1355" fmla="*/ 4150149 w 5806384"/>
                  <a:gd name="connsiteY1355" fmla="*/ 1105337 h 4036143"/>
                  <a:gd name="connsiteX1356" fmla="*/ 4017026 w 5806384"/>
                  <a:gd name="connsiteY1356" fmla="*/ 1147823 h 4036143"/>
                  <a:gd name="connsiteX1357" fmla="*/ 4051015 w 5806384"/>
                  <a:gd name="connsiteY1357" fmla="*/ 1065684 h 4036143"/>
                  <a:gd name="connsiteX1358" fmla="*/ 4140235 w 5806384"/>
                  <a:gd name="connsiteY1358" fmla="*/ 1085510 h 4036143"/>
                  <a:gd name="connsiteX1359" fmla="*/ 3136156 w 5806384"/>
                  <a:gd name="connsiteY1359" fmla="*/ 1101088 h 4036143"/>
                  <a:gd name="connsiteX1360" fmla="*/ 3222543 w 5806384"/>
                  <a:gd name="connsiteY1360" fmla="*/ 1313517 h 4036143"/>
                  <a:gd name="connsiteX1361" fmla="*/ 3167312 w 5806384"/>
                  <a:gd name="connsiteY1361" fmla="*/ 1272448 h 4036143"/>
                  <a:gd name="connsiteX1362" fmla="*/ 3158815 w 5806384"/>
                  <a:gd name="connsiteY1362" fmla="*/ 1238459 h 4036143"/>
                  <a:gd name="connsiteX1363" fmla="*/ 3158815 w 5806384"/>
                  <a:gd name="connsiteY1363" fmla="*/ 1238459 h 4036143"/>
                  <a:gd name="connsiteX1364" fmla="*/ 3069595 w 5806384"/>
                  <a:gd name="connsiteY1364" fmla="*/ 1190308 h 4036143"/>
                  <a:gd name="connsiteX1365" fmla="*/ 3096502 w 5806384"/>
                  <a:gd name="connsiteY1365" fmla="*/ 1044441 h 4036143"/>
                  <a:gd name="connsiteX1366" fmla="*/ 3136156 w 5806384"/>
                  <a:gd name="connsiteY1366" fmla="*/ 1101088 h 4036143"/>
                  <a:gd name="connsiteX1367" fmla="*/ 3020028 w 5806384"/>
                  <a:gd name="connsiteY1367" fmla="*/ 1472130 h 4036143"/>
                  <a:gd name="connsiteX1368" fmla="*/ 3020028 w 5806384"/>
                  <a:gd name="connsiteY1368" fmla="*/ 1472130 h 4036143"/>
                  <a:gd name="connsiteX1369" fmla="*/ 3041271 w 5806384"/>
                  <a:gd name="connsiteY1369" fmla="*/ 1353170 h 4036143"/>
                  <a:gd name="connsiteX1370" fmla="*/ 3182890 w 5806384"/>
                  <a:gd name="connsiteY1370" fmla="*/ 1341841 h 4036143"/>
                  <a:gd name="connsiteX1371" fmla="*/ 3243786 w 5806384"/>
                  <a:gd name="connsiteY1371" fmla="*/ 1601004 h 4036143"/>
                  <a:gd name="connsiteX1372" fmla="*/ 3020028 w 5806384"/>
                  <a:gd name="connsiteY1372" fmla="*/ 1472130 h 4036143"/>
                  <a:gd name="connsiteX1373" fmla="*/ 3020028 w 5806384"/>
                  <a:gd name="connsiteY1373" fmla="*/ 1472130 h 4036143"/>
                  <a:gd name="connsiteX1374" fmla="*/ 3029942 w 5806384"/>
                  <a:gd name="connsiteY1374" fmla="*/ 2273694 h 4036143"/>
                  <a:gd name="connsiteX1375" fmla="*/ 2899652 w 5806384"/>
                  <a:gd name="connsiteY1375" fmla="*/ 2238290 h 4036143"/>
                  <a:gd name="connsiteX1376" fmla="*/ 2732542 w 5806384"/>
                  <a:gd name="connsiteY1376" fmla="*/ 1809184 h 4036143"/>
                  <a:gd name="connsiteX1377" fmla="*/ 2950635 w 5806384"/>
                  <a:gd name="connsiteY1377" fmla="*/ 1851669 h 4036143"/>
                  <a:gd name="connsiteX1378" fmla="*/ 2950635 w 5806384"/>
                  <a:gd name="connsiteY1378" fmla="*/ 1851669 h 4036143"/>
                  <a:gd name="connsiteX1379" fmla="*/ 3020028 w 5806384"/>
                  <a:gd name="connsiteY1379" fmla="*/ 1472130 h 4036143"/>
                  <a:gd name="connsiteX1380" fmla="*/ 2437973 w 5806384"/>
                  <a:gd name="connsiteY1380" fmla="*/ 2398319 h 4036143"/>
                  <a:gd name="connsiteX1381" fmla="*/ 2665980 w 5806384"/>
                  <a:gd name="connsiteY1381" fmla="*/ 2358666 h 4036143"/>
                  <a:gd name="connsiteX1382" fmla="*/ 2777859 w 5806384"/>
                  <a:gd name="connsiteY1382" fmla="*/ 2680141 h 4036143"/>
                  <a:gd name="connsiteX1383" fmla="*/ 2772195 w 5806384"/>
                  <a:gd name="connsiteY1383" fmla="*/ 2677309 h 4036143"/>
                  <a:gd name="connsiteX1384" fmla="*/ 2433725 w 5806384"/>
                  <a:gd name="connsiteY1384" fmla="*/ 2420978 h 4036143"/>
                  <a:gd name="connsiteX1385" fmla="*/ 2437973 w 5806384"/>
                  <a:gd name="connsiteY1385" fmla="*/ 2398319 h 4036143"/>
                  <a:gd name="connsiteX1386" fmla="*/ 2413898 w 5806384"/>
                  <a:gd name="connsiteY1386" fmla="*/ 2507366 h 4036143"/>
                  <a:gd name="connsiteX1387" fmla="*/ 2432309 w 5806384"/>
                  <a:gd name="connsiteY1387" fmla="*/ 2423811 h 4036143"/>
                  <a:gd name="connsiteX1388" fmla="*/ 2762281 w 5806384"/>
                  <a:gd name="connsiteY1388" fmla="*/ 2673060 h 4036143"/>
                  <a:gd name="connsiteX1389" fmla="*/ 2413898 w 5806384"/>
                  <a:gd name="connsiteY1389" fmla="*/ 2507366 h 4036143"/>
                  <a:gd name="connsiteX1390" fmla="*/ 2409650 w 5806384"/>
                  <a:gd name="connsiteY1390" fmla="*/ 2402568 h 4036143"/>
                  <a:gd name="connsiteX1391" fmla="*/ 2436557 w 5806384"/>
                  <a:gd name="connsiteY1391" fmla="*/ 2398319 h 4036143"/>
                  <a:gd name="connsiteX1392" fmla="*/ 2432309 w 5806384"/>
                  <a:gd name="connsiteY1392" fmla="*/ 2419562 h 4036143"/>
                  <a:gd name="connsiteX1393" fmla="*/ 2409650 w 5806384"/>
                  <a:gd name="connsiteY1393" fmla="*/ 2402568 h 4036143"/>
                  <a:gd name="connsiteX1394" fmla="*/ 2430893 w 5806384"/>
                  <a:gd name="connsiteY1394" fmla="*/ 2420978 h 4036143"/>
                  <a:gd name="connsiteX1395" fmla="*/ 2412482 w 5806384"/>
                  <a:gd name="connsiteY1395" fmla="*/ 2504534 h 4036143"/>
                  <a:gd name="connsiteX1396" fmla="*/ 2382742 w 5806384"/>
                  <a:gd name="connsiteY1396" fmla="*/ 2490372 h 4036143"/>
                  <a:gd name="connsiteX1397" fmla="*/ 2340256 w 5806384"/>
                  <a:gd name="connsiteY1397" fmla="*/ 2413897 h 4036143"/>
                  <a:gd name="connsiteX1398" fmla="*/ 2408233 w 5806384"/>
                  <a:gd name="connsiteY1398" fmla="*/ 2402568 h 4036143"/>
                  <a:gd name="connsiteX1399" fmla="*/ 2430893 w 5806384"/>
                  <a:gd name="connsiteY1399" fmla="*/ 2420978 h 4036143"/>
                  <a:gd name="connsiteX1400" fmla="*/ 2488956 w 5806384"/>
                  <a:gd name="connsiteY1400" fmla="*/ 2164648 h 4036143"/>
                  <a:gd name="connsiteX1401" fmla="*/ 2847253 w 5806384"/>
                  <a:gd name="connsiteY1401" fmla="*/ 2338839 h 4036143"/>
                  <a:gd name="connsiteX1402" fmla="*/ 3027109 w 5806384"/>
                  <a:gd name="connsiteY1402" fmla="*/ 2562597 h 4036143"/>
                  <a:gd name="connsiteX1403" fmla="*/ 3028525 w 5806384"/>
                  <a:gd name="connsiteY1403" fmla="*/ 2564014 h 4036143"/>
                  <a:gd name="connsiteX1404" fmla="*/ 2961964 w 5806384"/>
                  <a:gd name="connsiteY1404" fmla="*/ 2395487 h 4036143"/>
                  <a:gd name="connsiteX1405" fmla="*/ 3032773 w 5806384"/>
                  <a:gd name="connsiteY1405" fmla="*/ 2429475 h 4036143"/>
                  <a:gd name="connsiteX1406" fmla="*/ 3034190 w 5806384"/>
                  <a:gd name="connsiteY1406" fmla="*/ 2571095 h 4036143"/>
                  <a:gd name="connsiteX1407" fmla="*/ 3034190 w 5806384"/>
                  <a:gd name="connsiteY1407" fmla="*/ 2572511 h 4036143"/>
                  <a:gd name="connsiteX1408" fmla="*/ 3075259 w 5806384"/>
                  <a:gd name="connsiteY1408" fmla="*/ 2450718 h 4036143"/>
                  <a:gd name="connsiteX1409" fmla="*/ 3187139 w 5806384"/>
                  <a:gd name="connsiteY1409" fmla="*/ 2504534 h 4036143"/>
                  <a:gd name="connsiteX1410" fmla="*/ 3072427 w 5806384"/>
                  <a:gd name="connsiteY1410" fmla="*/ 2629158 h 4036143"/>
                  <a:gd name="connsiteX1411" fmla="*/ 3011531 w 5806384"/>
                  <a:gd name="connsiteY1411" fmla="*/ 2566846 h 4036143"/>
                  <a:gd name="connsiteX1412" fmla="*/ 3010115 w 5806384"/>
                  <a:gd name="connsiteY1412" fmla="*/ 2565430 h 4036143"/>
                  <a:gd name="connsiteX1413" fmla="*/ 3049768 w 5806384"/>
                  <a:gd name="connsiteY1413" fmla="*/ 2651817 h 4036143"/>
                  <a:gd name="connsiteX1414" fmla="*/ 2949219 w 5806384"/>
                  <a:gd name="connsiteY1414" fmla="*/ 2760864 h 4036143"/>
                  <a:gd name="connsiteX1415" fmla="*/ 2779276 w 5806384"/>
                  <a:gd name="connsiteY1415" fmla="*/ 2680141 h 4036143"/>
                  <a:gd name="connsiteX1416" fmla="*/ 2665980 w 5806384"/>
                  <a:gd name="connsiteY1416" fmla="*/ 2355834 h 4036143"/>
                  <a:gd name="connsiteX1417" fmla="*/ 2665980 w 5806384"/>
                  <a:gd name="connsiteY1417" fmla="*/ 2355834 h 4036143"/>
                  <a:gd name="connsiteX1418" fmla="*/ 2437973 w 5806384"/>
                  <a:gd name="connsiteY1418" fmla="*/ 2395487 h 4036143"/>
                  <a:gd name="connsiteX1419" fmla="*/ 2488956 w 5806384"/>
                  <a:gd name="connsiteY1419" fmla="*/ 2164648 h 4036143"/>
                  <a:gd name="connsiteX1420" fmla="*/ 3504366 w 5806384"/>
                  <a:gd name="connsiteY1420" fmla="*/ 2657482 h 4036143"/>
                  <a:gd name="connsiteX1421" fmla="*/ 3399567 w 5806384"/>
                  <a:gd name="connsiteY1421" fmla="*/ 2606499 h 4036143"/>
                  <a:gd name="connsiteX1422" fmla="*/ 3372659 w 5806384"/>
                  <a:gd name="connsiteY1422" fmla="*/ 2413897 h 4036143"/>
                  <a:gd name="connsiteX1423" fmla="*/ 3504366 w 5806384"/>
                  <a:gd name="connsiteY1423" fmla="*/ 2657482 h 4036143"/>
                  <a:gd name="connsiteX1424" fmla="*/ 4004281 w 5806384"/>
                  <a:gd name="connsiteY1424" fmla="*/ 1180395 h 4036143"/>
                  <a:gd name="connsiteX1425" fmla="*/ 4205381 w 5806384"/>
                  <a:gd name="connsiteY1425" fmla="*/ 1217216 h 4036143"/>
                  <a:gd name="connsiteX1426" fmla="*/ 4271941 w 5806384"/>
                  <a:gd name="connsiteY1426" fmla="*/ 1351754 h 4036143"/>
                  <a:gd name="connsiteX1427" fmla="*/ 4177057 w 5806384"/>
                  <a:gd name="connsiteY1427" fmla="*/ 1388575 h 4036143"/>
                  <a:gd name="connsiteX1428" fmla="*/ 4001449 w 5806384"/>
                  <a:gd name="connsiteY1428" fmla="*/ 1275280 h 4036143"/>
                  <a:gd name="connsiteX1429" fmla="*/ 4001449 w 5806384"/>
                  <a:gd name="connsiteY1429" fmla="*/ 1275280 h 4036143"/>
                  <a:gd name="connsiteX1430" fmla="*/ 3961795 w 5806384"/>
                  <a:gd name="connsiteY1430" fmla="*/ 1278112 h 4036143"/>
                  <a:gd name="connsiteX1431" fmla="*/ 4004281 w 5806384"/>
                  <a:gd name="connsiteY1431" fmla="*/ 1180395 h 4036143"/>
                  <a:gd name="connsiteX1432" fmla="*/ 4436220 w 5806384"/>
                  <a:gd name="connsiteY1432" fmla="*/ 1149239 h 4036143"/>
                  <a:gd name="connsiteX1433" fmla="*/ 4189802 w 5806384"/>
                  <a:gd name="connsiteY1433" fmla="*/ 1095424 h 4036143"/>
                  <a:gd name="connsiteX1434" fmla="*/ 4444717 w 5806384"/>
                  <a:gd name="connsiteY1434" fmla="*/ 1013285 h 4036143"/>
                  <a:gd name="connsiteX1435" fmla="*/ 4457463 w 5806384"/>
                  <a:gd name="connsiteY1435" fmla="*/ 1115250 h 4036143"/>
                  <a:gd name="connsiteX1436" fmla="*/ 4436220 w 5806384"/>
                  <a:gd name="connsiteY1436" fmla="*/ 1149239 h 4036143"/>
                  <a:gd name="connsiteX1437" fmla="*/ 3949049 w 5806384"/>
                  <a:gd name="connsiteY1437" fmla="*/ 1170482 h 4036143"/>
                  <a:gd name="connsiteX1438" fmla="*/ 3723876 w 5806384"/>
                  <a:gd name="connsiteY1438" fmla="*/ 1242707 h 4036143"/>
                  <a:gd name="connsiteX1439" fmla="*/ 3603499 w 5806384"/>
                  <a:gd name="connsiteY1439" fmla="*/ 1106753 h 4036143"/>
                  <a:gd name="connsiteX1440" fmla="*/ 3949049 w 5806384"/>
                  <a:gd name="connsiteY1440" fmla="*/ 1170482 h 4036143"/>
                  <a:gd name="connsiteX1441" fmla="*/ 3953298 w 5806384"/>
                  <a:gd name="connsiteY1441" fmla="*/ 1170482 h 4036143"/>
                  <a:gd name="connsiteX1442" fmla="*/ 4001449 w 5806384"/>
                  <a:gd name="connsiteY1442" fmla="*/ 1178979 h 4036143"/>
                  <a:gd name="connsiteX1443" fmla="*/ 3960379 w 5806384"/>
                  <a:gd name="connsiteY1443" fmla="*/ 1278112 h 4036143"/>
                  <a:gd name="connsiteX1444" fmla="*/ 3750783 w 5806384"/>
                  <a:gd name="connsiteY1444" fmla="*/ 1295107 h 4036143"/>
                  <a:gd name="connsiteX1445" fmla="*/ 3722459 w 5806384"/>
                  <a:gd name="connsiteY1445" fmla="*/ 1249788 h 4036143"/>
                  <a:gd name="connsiteX1446" fmla="*/ 3722459 w 5806384"/>
                  <a:gd name="connsiteY1446" fmla="*/ 1249788 h 4036143"/>
                  <a:gd name="connsiteX1447" fmla="*/ 3718210 w 5806384"/>
                  <a:gd name="connsiteY1447" fmla="*/ 1297939 h 4036143"/>
                  <a:gd name="connsiteX1448" fmla="*/ 3252283 w 5806384"/>
                  <a:gd name="connsiteY1448" fmla="*/ 1334760 h 4036143"/>
                  <a:gd name="connsiteX1449" fmla="*/ 3226792 w 5806384"/>
                  <a:gd name="connsiteY1449" fmla="*/ 1316349 h 4036143"/>
                  <a:gd name="connsiteX1450" fmla="*/ 3138988 w 5806384"/>
                  <a:gd name="connsiteY1450" fmla="*/ 1101088 h 4036143"/>
                  <a:gd name="connsiteX1451" fmla="*/ 3099335 w 5806384"/>
                  <a:gd name="connsiteY1451" fmla="*/ 1044441 h 4036143"/>
                  <a:gd name="connsiteX1452" fmla="*/ 3105000 w 5806384"/>
                  <a:gd name="connsiteY1452" fmla="*/ 1016117 h 4036143"/>
                  <a:gd name="connsiteX1453" fmla="*/ 3600667 w 5806384"/>
                  <a:gd name="connsiteY1453" fmla="*/ 1106753 h 4036143"/>
                  <a:gd name="connsiteX1454" fmla="*/ 3723876 w 5806384"/>
                  <a:gd name="connsiteY1454" fmla="*/ 1245540 h 4036143"/>
                  <a:gd name="connsiteX1455" fmla="*/ 3723876 w 5806384"/>
                  <a:gd name="connsiteY1455" fmla="*/ 1245540 h 4036143"/>
                  <a:gd name="connsiteX1456" fmla="*/ 3953298 w 5806384"/>
                  <a:gd name="connsiteY1456" fmla="*/ 1170482 h 4036143"/>
                  <a:gd name="connsiteX1457" fmla="*/ 3069595 w 5806384"/>
                  <a:gd name="connsiteY1457" fmla="*/ 1006204 h 4036143"/>
                  <a:gd name="connsiteX1458" fmla="*/ 2776443 w 5806384"/>
                  <a:gd name="connsiteY1458" fmla="*/ 952388 h 4036143"/>
                  <a:gd name="connsiteX1459" fmla="*/ 3027109 w 5806384"/>
                  <a:gd name="connsiteY1459" fmla="*/ 946724 h 4036143"/>
                  <a:gd name="connsiteX1460" fmla="*/ 3069595 w 5806384"/>
                  <a:gd name="connsiteY1460" fmla="*/ 1006204 h 4036143"/>
                  <a:gd name="connsiteX1461" fmla="*/ 3027109 w 5806384"/>
                  <a:gd name="connsiteY1461" fmla="*/ 943891 h 4036143"/>
                  <a:gd name="connsiteX1462" fmla="*/ 2993120 w 5806384"/>
                  <a:gd name="connsiteY1462" fmla="*/ 897157 h 4036143"/>
                  <a:gd name="connsiteX1463" fmla="*/ 3049768 w 5806384"/>
                  <a:gd name="connsiteY1463" fmla="*/ 885827 h 4036143"/>
                  <a:gd name="connsiteX1464" fmla="*/ 3114913 w 5806384"/>
                  <a:gd name="connsiteY1464" fmla="*/ 854671 h 4036143"/>
                  <a:gd name="connsiteX1465" fmla="*/ 3114913 w 5806384"/>
                  <a:gd name="connsiteY1465" fmla="*/ 854671 h 4036143"/>
                  <a:gd name="connsiteX1466" fmla="*/ 3106416 w 5806384"/>
                  <a:gd name="connsiteY1466" fmla="*/ 577098 h 4036143"/>
                  <a:gd name="connsiteX1467" fmla="*/ 3143237 w 5806384"/>
                  <a:gd name="connsiteY1467" fmla="*/ 594092 h 4036143"/>
                  <a:gd name="connsiteX1468" fmla="*/ 3170144 w 5806384"/>
                  <a:gd name="connsiteY1468" fmla="*/ 623832 h 4036143"/>
                  <a:gd name="connsiteX1469" fmla="*/ 3113497 w 5806384"/>
                  <a:gd name="connsiteY1469" fmla="*/ 942475 h 4036143"/>
                  <a:gd name="connsiteX1470" fmla="*/ 3027109 w 5806384"/>
                  <a:gd name="connsiteY1470" fmla="*/ 943891 h 4036143"/>
                  <a:gd name="connsiteX1471" fmla="*/ 2379910 w 5806384"/>
                  <a:gd name="connsiteY1471" fmla="*/ 2493204 h 4036143"/>
                  <a:gd name="connsiteX1472" fmla="*/ 2405401 w 5806384"/>
                  <a:gd name="connsiteY1472" fmla="*/ 2537106 h 4036143"/>
                  <a:gd name="connsiteX1473" fmla="*/ 2401152 w 5806384"/>
                  <a:gd name="connsiteY1473" fmla="*/ 2552684 h 4036143"/>
                  <a:gd name="connsiteX1474" fmla="*/ 2287857 w 5806384"/>
                  <a:gd name="connsiteY1474" fmla="*/ 2449302 h 4036143"/>
                  <a:gd name="connsiteX1475" fmla="*/ 2379910 w 5806384"/>
                  <a:gd name="connsiteY1475" fmla="*/ 2493204 h 4036143"/>
                  <a:gd name="connsiteX1476" fmla="*/ 2402569 w 5806384"/>
                  <a:gd name="connsiteY1476" fmla="*/ 2555516 h 4036143"/>
                  <a:gd name="connsiteX1477" fmla="*/ 2405401 w 5806384"/>
                  <a:gd name="connsiteY1477" fmla="*/ 2539938 h 4036143"/>
                  <a:gd name="connsiteX1478" fmla="*/ 2426644 w 5806384"/>
                  <a:gd name="connsiteY1478" fmla="*/ 2578175 h 4036143"/>
                  <a:gd name="connsiteX1479" fmla="*/ 2402569 w 5806384"/>
                  <a:gd name="connsiteY1479" fmla="*/ 2555516 h 4036143"/>
                  <a:gd name="connsiteX1480" fmla="*/ 2777859 w 5806384"/>
                  <a:gd name="connsiteY1480" fmla="*/ 2681557 h 4036143"/>
                  <a:gd name="connsiteX1481" fmla="*/ 2777859 w 5806384"/>
                  <a:gd name="connsiteY1481" fmla="*/ 2681557 h 4036143"/>
                  <a:gd name="connsiteX1482" fmla="*/ 2777859 w 5806384"/>
                  <a:gd name="connsiteY1482" fmla="*/ 2681557 h 4036143"/>
                  <a:gd name="connsiteX1483" fmla="*/ 2777859 w 5806384"/>
                  <a:gd name="connsiteY1483" fmla="*/ 2681557 h 4036143"/>
                  <a:gd name="connsiteX1484" fmla="*/ 3307515 w 5806384"/>
                  <a:gd name="connsiteY1484" fmla="*/ 2872743 h 4036143"/>
                  <a:gd name="connsiteX1485" fmla="*/ 3307515 w 5806384"/>
                  <a:gd name="connsiteY1485" fmla="*/ 2876992 h 4036143"/>
                  <a:gd name="connsiteX1486" fmla="*/ 3270694 w 5806384"/>
                  <a:gd name="connsiteY1486" fmla="*/ 2912397 h 4036143"/>
                  <a:gd name="connsiteX1487" fmla="*/ 3144653 w 5806384"/>
                  <a:gd name="connsiteY1487" fmla="*/ 2852916 h 4036143"/>
                  <a:gd name="connsiteX1488" fmla="*/ 3130491 w 5806384"/>
                  <a:gd name="connsiteY1488" fmla="*/ 2823177 h 4036143"/>
                  <a:gd name="connsiteX1489" fmla="*/ 3307515 w 5806384"/>
                  <a:gd name="connsiteY1489" fmla="*/ 2872743 h 4036143"/>
                  <a:gd name="connsiteX1490" fmla="*/ 3505782 w 5806384"/>
                  <a:gd name="connsiteY1490" fmla="*/ 2660315 h 4036143"/>
                  <a:gd name="connsiteX1491" fmla="*/ 3586505 w 5806384"/>
                  <a:gd name="connsiteY1491" fmla="*/ 2809015 h 4036143"/>
                  <a:gd name="connsiteX1492" fmla="*/ 3586505 w 5806384"/>
                  <a:gd name="connsiteY1492" fmla="*/ 2809015 h 4036143"/>
                  <a:gd name="connsiteX1493" fmla="*/ 3624742 w 5806384"/>
                  <a:gd name="connsiteY1493" fmla="*/ 2718378 h 4036143"/>
                  <a:gd name="connsiteX1494" fmla="*/ 3696968 w 5806384"/>
                  <a:gd name="connsiteY1494" fmla="*/ 2753783 h 4036143"/>
                  <a:gd name="connsiteX1495" fmla="*/ 3439221 w 5806384"/>
                  <a:gd name="connsiteY1495" fmla="*/ 2882656 h 4036143"/>
                  <a:gd name="connsiteX1496" fmla="*/ 3400983 w 5806384"/>
                  <a:gd name="connsiteY1496" fmla="*/ 2606499 h 4036143"/>
                  <a:gd name="connsiteX1497" fmla="*/ 3505782 w 5806384"/>
                  <a:gd name="connsiteY1497" fmla="*/ 2660315 h 4036143"/>
                  <a:gd name="connsiteX1498" fmla="*/ 3375492 w 5806384"/>
                  <a:gd name="connsiteY1498" fmla="*/ 1680311 h 4036143"/>
                  <a:gd name="connsiteX1499" fmla="*/ 3723876 w 5806384"/>
                  <a:gd name="connsiteY1499" fmla="*/ 1882826 h 4036143"/>
                  <a:gd name="connsiteX1500" fmla="*/ 3746534 w 5806384"/>
                  <a:gd name="connsiteY1500" fmla="*/ 2068347 h 4036143"/>
                  <a:gd name="connsiteX1501" fmla="*/ 3495868 w 5806384"/>
                  <a:gd name="connsiteY1501" fmla="*/ 1974878 h 4036143"/>
                  <a:gd name="connsiteX1502" fmla="*/ 3375492 w 5806384"/>
                  <a:gd name="connsiteY1502" fmla="*/ 1680311 h 4036143"/>
                  <a:gd name="connsiteX1503" fmla="*/ 3699800 w 5806384"/>
                  <a:gd name="connsiteY1503" fmla="*/ 1666149 h 4036143"/>
                  <a:gd name="connsiteX1504" fmla="*/ 3892402 w 5806384"/>
                  <a:gd name="connsiteY1504" fmla="*/ 1891323 h 4036143"/>
                  <a:gd name="connsiteX1505" fmla="*/ 3868326 w 5806384"/>
                  <a:gd name="connsiteY1505" fmla="*/ 1964965 h 4036143"/>
                  <a:gd name="connsiteX1506" fmla="*/ 3725291 w 5806384"/>
                  <a:gd name="connsiteY1506" fmla="*/ 1881410 h 4036143"/>
                  <a:gd name="connsiteX1507" fmla="*/ 3699800 w 5806384"/>
                  <a:gd name="connsiteY1507" fmla="*/ 1666149 h 4036143"/>
                  <a:gd name="connsiteX1508" fmla="*/ 4460295 w 5806384"/>
                  <a:gd name="connsiteY1508" fmla="*/ 1262534 h 4036143"/>
                  <a:gd name="connsiteX1509" fmla="*/ 4205381 w 5806384"/>
                  <a:gd name="connsiteY1509" fmla="*/ 1215800 h 4036143"/>
                  <a:gd name="connsiteX1510" fmla="*/ 4151565 w 5806384"/>
                  <a:gd name="connsiteY1510" fmla="*/ 1106753 h 4036143"/>
                  <a:gd name="connsiteX1511" fmla="*/ 4185554 w 5806384"/>
                  <a:gd name="connsiteY1511" fmla="*/ 1095424 h 4036143"/>
                  <a:gd name="connsiteX1512" fmla="*/ 4436220 w 5806384"/>
                  <a:gd name="connsiteY1512" fmla="*/ 1150655 h 4036143"/>
                  <a:gd name="connsiteX1513" fmla="*/ 4436220 w 5806384"/>
                  <a:gd name="connsiteY1513" fmla="*/ 1150655 h 4036143"/>
                  <a:gd name="connsiteX1514" fmla="*/ 4457463 w 5806384"/>
                  <a:gd name="connsiteY1514" fmla="*/ 1118083 h 4036143"/>
                  <a:gd name="connsiteX1515" fmla="*/ 4474457 w 5806384"/>
                  <a:gd name="connsiteY1515" fmla="*/ 1258286 h 4036143"/>
                  <a:gd name="connsiteX1516" fmla="*/ 4460295 w 5806384"/>
                  <a:gd name="connsiteY1516" fmla="*/ 1262534 h 4036143"/>
                  <a:gd name="connsiteX1517" fmla="*/ 3983038 w 5806384"/>
                  <a:gd name="connsiteY1517" fmla="*/ 919816 h 4036143"/>
                  <a:gd name="connsiteX1518" fmla="*/ 4039686 w 5806384"/>
                  <a:gd name="connsiteY1518" fmla="*/ 882995 h 4036143"/>
                  <a:gd name="connsiteX1519" fmla="*/ 4056680 w 5806384"/>
                  <a:gd name="connsiteY1519" fmla="*/ 918400 h 4036143"/>
                  <a:gd name="connsiteX1520" fmla="*/ 3983038 w 5806384"/>
                  <a:gd name="connsiteY1520" fmla="*/ 919816 h 4036143"/>
                  <a:gd name="connsiteX1521" fmla="*/ 4058096 w 5806384"/>
                  <a:gd name="connsiteY1521" fmla="*/ 919816 h 4036143"/>
                  <a:gd name="connsiteX1522" fmla="*/ 4086420 w 5806384"/>
                  <a:gd name="connsiteY1522" fmla="*/ 976464 h 4036143"/>
                  <a:gd name="connsiteX1523" fmla="*/ 4049600 w 5806384"/>
                  <a:gd name="connsiteY1523" fmla="*/ 1062851 h 4036143"/>
                  <a:gd name="connsiteX1524" fmla="*/ 3832922 w 5806384"/>
                  <a:gd name="connsiteY1524" fmla="*/ 1014701 h 4036143"/>
                  <a:gd name="connsiteX1525" fmla="*/ 3978790 w 5806384"/>
                  <a:gd name="connsiteY1525" fmla="*/ 921232 h 4036143"/>
                  <a:gd name="connsiteX1526" fmla="*/ 4058096 w 5806384"/>
                  <a:gd name="connsiteY1526" fmla="*/ 919816 h 4036143"/>
                  <a:gd name="connsiteX1527" fmla="*/ 3828673 w 5806384"/>
                  <a:gd name="connsiteY1527" fmla="*/ 1017533 h 4036143"/>
                  <a:gd name="connsiteX1528" fmla="*/ 3828673 w 5806384"/>
                  <a:gd name="connsiteY1528" fmla="*/ 1017533 h 4036143"/>
                  <a:gd name="connsiteX1529" fmla="*/ 4049600 w 5806384"/>
                  <a:gd name="connsiteY1529" fmla="*/ 1067100 h 4036143"/>
                  <a:gd name="connsiteX1530" fmla="*/ 4014195 w 5806384"/>
                  <a:gd name="connsiteY1530" fmla="*/ 1150655 h 4036143"/>
                  <a:gd name="connsiteX1531" fmla="*/ 3951882 w 5806384"/>
                  <a:gd name="connsiteY1531" fmla="*/ 1170482 h 4036143"/>
                  <a:gd name="connsiteX1532" fmla="*/ 3599250 w 5806384"/>
                  <a:gd name="connsiteY1532" fmla="*/ 1105337 h 4036143"/>
                  <a:gd name="connsiteX1533" fmla="*/ 3450550 w 5806384"/>
                  <a:gd name="connsiteY1533" fmla="*/ 936810 h 4036143"/>
                  <a:gd name="connsiteX1534" fmla="*/ 3975957 w 5806384"/>
                  <a:gd name="connsiteY1534" fmla="*/ 924064 h 4036143"/>
                  <a:gd name="connsiteX1535" fmla="*/ 3828673 w 5806384"/>
                  <a:gd name="connsiteY1535" fmla="*/ 1017533 h 4036143"/>
                  <a:gd name="connsiteX1536" fmla="*/ 3103583 w 5806384"/>
                  <a:gd name="connsiteY1536" fmla="*/ 1013285 h 4036143"/>
                  <a:gd name="connsiteX1537" fmla="*/ 3116329 w 5806384"/>
                  <a:gd name="connsiteY1537" fmla="*/ 943891 h 4036143"/>
                  <a:gd name="connsiteX1538" fmla="*/ 3449134 w 5806384"/>
                  <a:gd name="connsiteY1538" fmla="*/ 935394 h 4036143"/>
                  <a:gd name="connsiteX1539" fmla="*/ 3597834 w 5806384"/>
                  <a:gd name="connsiteY1539" fmla="*/ 1102505 h 4036143"/>
                  <a:gd name="connsiteX1540" fmla="*/ 3103583 w 5806384"/>
                  <a:gd name="connsiteY1540" fmla="*/ 1013285 h 4036143"/>
                  <a:gd name="connsiteX1541" fmla="*/ 3116329 w 5806384"/>
                  <a:gd name="connsiteY1541" fmla="*/ 942475 h 4036143"/>
                  <a:gd name="connsiteX1542" fmla="*/ 3174393 w 5806384"/>
                  <a:gd name="connsiteY1542" fmla="*/ 626664 h 4036143"/>
                  <a:gd name="connsiteX1543" fmla="*/ 3446301 w 5806384"/>
                  <a:gd name="connsiteY1543" fmla="*/ 933978 h 4036143"/>
                  <a:gd name="connsiteX1544" fmla="*/ 3116329 w 5806384"/>
                  <a:gd name="connsiteY1544" fmla="*/ 942475 h 4036143"/>
                  <a:gd name="connsiteX1545" fmla="*/ 3146069 w 5806384"/>
                  <a:gd name="connsiteY1545" fmla="*/ 592676 h 4036143"/>
                  <a:gd name="connsiteX1546" fmla="*/ 3121994 w 5806384"/>
                  <a:gd name="connsiteY1546" fmla="*/ 565768 h 4036143"/>
                  <a:gd name="connsiteX1547" fmla="*/ 3073843 w 5806384"/>
                  <a:gd name="connsiteY1547" fmla="*/ 494959 h 4036143"/>
                  <a:gd name="connsiteX1548" fmla="*/ 3211214 w 5806384"/>
                  <a:gd name="connsiteY1548" fmla="*/ 408571 h 4036143"/>
                  <a:gd name="connsiteX1549" fmla="*/ 3174393 w 5806384"/>
                  <a:gd name="connsiteY1549" fmla="*/ 606838 h 4036143"/>
                  <a:gd name="connsiteX1550" fmla="*/ 3146069 w 5806384"/>
                  <a:gd name="connsiteY1550" fmla="*/ 592676 h 4036143"/>
                  <a:gd name="connsiteX1551" fmla="*/ 3212630 w 5806384"/>
                  <a:gd name="connsiteY1551" fmla="*/ 404322 h 4036143"/>
                  <a:gd name="connsiteX1552" fmla="*/ 3072427 w 5806384"/>
                  <a:gd name="connsiteY1552" fmla="*/ 492126 h 4036143"/>
                  <a:gd name="connsiteX1553" fmla="*/ 3051185 w 5806384"/>
                  <a:gd name="connsiteY1553" fmla="*/ 459554 h 4036143"/>
                  <a:gd name="connsiteX1554" fmla="*/ 3218295 w 5806384"/>
                  <a:gd name="connsiteY1554" fmla="*/ 371750 h 4036143"/>
                  <a:gd name="connsiteX1555" fmla="*/ 3212630 w 5806384"/>
                  <a:gd name="connsiteY1555" fmla="*/ 404322 h 4036143"/>
                  <a:gd name="connsiteX1556" fmla="*/ 3106416 w 5806384"/>
                  <a:gd name="connsiteY1556" fmla="*/ 574265 h 4036143"/>
                  <a:gd name="connsiteX1557" fmla="*/ 3106416 w 5806384"/>
                  <a:gd name="connsiteY1557" fmla="*/ 574265 h 4036143"/>
                  <a:gd name="connsiteX1558" fmla="*/ 3114913 w 5806384"/>
                  <a:gd name="connsiteY1558" fmla="*/ 853255 h 4036143"/>
                  <a:gd name="connsiteX1559" fmla="*/ 3051185 w 5806384"/>
                  <a:gd name="connsiteY1559" fmla="*/ 884411 h 4036143"/>
                  <a:gd name="connsiteX1560" fmla="*/ 2994537 w 5806384"/>
                  <a:gd name="connsiteY1560" fmla="*/ 895741 h 4036143"/>
                  <a:gd name="connsiteX1561" fmla="*/ 2823177 w 5806384"/>
                  <a:gd name="connsiteY1561" fmla="*/ 653572 h 4036143"/>
                  <a:gd name="connsiteX1562" fmla="*/ 3073843 w 5806384"/>
                  <a:gd name="connsiteY1562" fmla="*/ 494959 h 4036143"/>
                  <a:gd name="connsiteX1563" fmla="*/ 3121994 w 5806384"/>
                  <a:gd name="connsiteY1563" fmla="*/ 565768 h 4036143"/>
                  <a:gd name="connsiteX1564" fmla="*/ 3143237 w 5806384"/>
                  <a:gd name="connsiteY1564" fmla="*/ 589843 h 4036143"/>
                  <a:gd name="connsiteX1565" fmla="*/ 3106416 w 5806384"/>
                  <a:gd name="connsiteY1565" fmla="*/ 574265 h 4036143"/>
                  <a:gd name="connsiteX1566" fmla="*/ 2715547 w 5806384"/>
                  <a:gd name="connsiteY1566" fmla="*/ 952388 h 4036143"/>
                  <a:gd name="connsiteX1567" fmla="*/ 2715547 w 5806384"/>
                  <a:gd name="connsiteY1567" fmla="*/ 952388 h 4036143"/>
                  <a:gd name="connsiteX1568" fmla="*/ 2715547 w 5806384"/>
                  <a:gd name="connsiteY1568" fmla="*/ 953805 h 4036143"/>
                  <a:gd name="connsiteX1569" fmla="*/ 2715547 w 5806384"/>
                  <a:gd name="connsiteY1569" fmla="*/ 953805 h 4036143"/>
                  <a:gd name="connsiteX1570" fmla="*/ 2766530 w 5806384"/>
                  <a:gd name="connsiteY1570" fmla="*/ 952388 h 4036143"/>
                  <a:gd name="connsiteX1571" fmla="*/ 3071011 w 5806384"/>
                  <a:gd name="connsiteY1571" fmla="*/ 1009036 h 4036143"/>
                  <a:gd name="connsiteX1572" fmla="*/ 3096502 w 5806384"/>
                  <a:gd name="connsiteY1572" fmla="*/ 1044441 h 4036143"/>
                  <a:gd name="connsiteX1573" fmla="*/ 3069595 w 5806384"/>
                  <a:gd name="connsiteY1573" fmla="*/ 1190308 h 4036143"/>
                  <a:gd name="connsiteX1574" fmla="*/ 2545604 w 5806384"/>
                  <a:gd name="connsiteY1574" fmla="*/ 912735 h 4036143"/>
                  <a:gd name="connsiteX1575" fmla="*/ 2738206 w 5806384"/>
                  <a:gd name="connsiteY1575" fmla="*/ 948140 h 4036143"/>
                  <a:gd name="connsiteX1576" fmla="*/ 2715547 w 5806384"/>
                  <a:gd name="connsiteY1576" fmla="*/ 952388 h 4036143"/>
                  <a:gd name="connsiteX1577" fmla="*/ 3167312 w 5806384"/>
                  <a:gd name="connsiteY1577" fmla="*/ 1273864 h 4036143"/>
                  <a:gd name="connsiteX1578" fmla="*/ 3182890 w 5806384"/>
                  <a:gd name="connsiteY1578" fmla="*/ 1340425 h 4036143"/>
                  <a:gd name="connsiteX1579" fmla="*/ 3042687 w 5806384"/>
                  <a:gd name="connsiteY1579" fmla="*/ 1351754 h 4036143"/>
                  <a:gd name="connsiteX1580" fmla="*/ 3069595 w 5806384"/>
                  <a:gd name="connsiteY1580" fmla="*/ 1201638 h 4036143"/>
                  <a:gd name="connsiteX1581" fmla="*/ 3167312 w 5806384"/>
                  <a:gd name="connsiteY1581" fmla="*/ 1273864 h 4036143"/>
                  <a:gd name="connsiteX1582" fmla="*/ 3038439 w 5806384"/>
                  <a:gd name="connsiteY1582" fmla="*/ 1353170 h 4036143"/>
                  <a:gd name="connsiteX1583" fmla="*/ 2947802 w 5806384"/>
                  <a:gd name="connsiteY1583" fmla="*/ 1850253 h 4036143"/>
                  <a:gd name="connsiteX1584" fmla="*/ 2729709 w 5806384"/>
                  <a:gd name="connsiteY1584" fmla="*/ 1807768 h 4036143"/>
                  <a:gd name="connsiteX1585" fmla="*/ 2627743 w 5806384"/>
                  <a:gd name="connsiteY1585" fmla="*/ 1548605 h 4036143"/>
                  <a:gd name="connsiteX1586" fmla="*/ 2627743 w 5806384"/>
                  <a:gd name="connsiteY1586" fmla="*/ 1548605 h 4036143"/>
                  <a:gd name="connsiteX1587" fmla="*/ 2626327 w 5806384"/>
                  <a:gd name="connsiteY1587" fmla="*/ 1548605 h 4036143"/>
                  <a:gd name="connsiteX1588" fmla="*/ 2711299 w 5806384"/>
                  <a:gd name="connsiteY1588" fmla="*/ 1803519 h 4036143"/>
                  <a:gd name="connsiteX1589" fmla="*/ 2573928 w 5806384"/>
                  <a:gd name="connsiteY1589" fmla="*/ 1776611 h 4036143"/>
                  <a:gd name="connsiteX1590" fmla="*/ 2626327 w 5806384"/>
                  <a:gd name="connsiteY1590" fmla="*/ 1540108 h 4036143"/>
                  <a:gd name="connsiteX1591" fmla="*/ 2626327 w 5806384"/>
                  <a:gd name="connsiteY1591" fmla="*/ 1540108 h 4036143"/>
                  <a:gd name="connsiteX1592" fmla="*/ 2287857 w 5806384"/>
                  <a:gd name="connsiteY1592" fmla="*/ 1640657 h 4036143"/>
                  <a:gd name="connsiteX1593" fmla="*/ 2241123 w 5806384"/>
                  <a:gd name="connsiteY1593" fmla="*/ 1582593 h 4036143"/>
                  <a:gd name="connsiteX1594" fmla="*/ 2239707 w 5806384"/>
                  <a:gd name="connsiteY1594" fmla="*/ 1520281 h 4036143"/>
                  <a:gd name="connsiteX1595" fmla="*/ 2548436 w 5806384"/>
                  <a:gd name="connsiteY1595" fmla="*/ 1391407 h 4036143"/>
                  <a:gd name="connsiteX1596" fmla="*/ 3038439 w 5806384"/>
                  <a:gd name="connsiteY1596" fmla="*/ 1353170 h 4036143"/>
                  <a:gd name="connsiteX1597" fmla="*/ 2201469 w 5806384"/>
                  <a:gd name="connsiteY1597" fmla="*/ 1533027 h 4036143"/>
                  <a:gd name="connsiteX1598" fmla="*/ 2191556 w 5806384"/>
                  <a:gd name="connsiteY1598" fmla="*/ 1520281 h 4036143"/>
                  <a:gd name="connsiteX1599" fmla="*/ 2236874 w 5806384"/>
                  <a:gd name="connsiteY1599" fmla="*/ 1497622 h 4036143"/>
                  <a:gd name="connsiteX1600" fmla="*/ 2236874 w 5806384"/>
                  <a:gd name="connsiteY1600" fmla="*/ 1517448 h 4036143"/>
                  <a:gd name="connsiteX1601" fmla="*/ 2201469 w 5806384"/>
                  <a:gd name="connsiteY1601" fmla="*/ 1533027 h 4036143"/>
                  <a:gd name="connsiteX1602" fmla="*/ 2202886 w 5806384"/>
                  <a:gd name="connsiteY1602" fmla="*/ 1535859 h 4036143"/>
                  <a:gd name="connsiteX1603" fmla="*/ 2236874 w 5806384"/>
                  <a:gd name="connsiteY1603" fmla="*/ 1521697 h 4036143"/>
                  <a:gd name="connsiteX1604" fmla="*/ 2238290 w 5806384"/>
                  <a:gd name="connsiteY1604" fmla="*/ 1581177 h 4036143"/>
                  <a:gd name="connsiteX1605" fmla="*/ 2202886 w 5806384"/>
                  <a:gd name="connsiteY1605" fmla="*/ 1535859 h 4036143"/>
                  <a:gd name="connsiteX1606" fmla="*/ 1930977 w 5806384"/>
                  <a:gd name="connsiteY1606" fmla="*/ 1646322 h 4036143"/>
                  <a:gd name="connsiteX1607" fmla="*/ 2190140 w 5806384"/>
                  <a:gd name="connsiteY1607" fmla="*/ 1521697 h 4036143"/>
                  <a:gd name="connsiteX1608" fmla="*/ 2200053 w 5806384"/>
                  <a:gd name="connsiteY1608" fmla="*/ 1534443 h 4036143"/>
                  <a:gd name="connsiteX1609" fmla="*/ 1930977 w 5806384"/>
                  <a:gd name="connsiteY1609" fmla="*/ 1646322 h 4036143"/>
                  <a:gd name="connsiteX1610" fmla="*/ 1691640 w 5806384"/>
                  <a:gd name="connsiteY1610" fmla="*/ 1429645 h 4036143"/>
                  <a:gd name="connsiteX1611" fmla="*/ 1687392 w 5806384"/>
                  <a:gd name="connsiteY1611" fmla="*/ 1456552 h 4036143"/>
                  <a:gd name="connsiteX1612" fmla="*/ 1623663 w 5806384"/>
                  <a:gd name="connsiteY1612" fmla="*/ 1462217 h 4036143"/>
                  <a:gd name="connsiteX1613" fmla="*/ 1691640 w 5806384"/>
                  <a:gd name="connsiteY1613" fmla="*/ 1429645 h 4036143"/>
                  <a:gd name="connsiteX1614" fmla="*/ 1793606 w 5806384"/>
                  <a:gd name="connsiteY1614" fmla="*/ 1381494 h 4036143"/>
                  <a:gd name="connsiteX1615" fmla="*/ 1694473 w 5806384"/>
                  <a:gd name="connsiteY1615" fmla="*/ 1426812 h 4036143"/>
                  <a:gd name="connsiteX1616" fmla="*/ 1721381 w 5806384"/>
                  <a:gd name="connsiteY1616" fmla="*/ 1272448 h 4036143"/>
                  <a:gd name="connsiteX1617" fmla="*/ 1837508 w 5806384"/>
                  <a:gd name="connsiteY1617" fmla="*/ 1314933 h 4036143"/>
                  <a:gd name="connsiteX1618" fmla="*/ 1793606 w 5806384"/>
                  <a:gd name="connsiteY1618" fmla="*/ 1381494 h 4036143"/>
                  <a:gd name="connsiteX1619" fmla="*/ 1521697 w 5806384"/>
                  <a:gd name="connsiteY1619" fmla="*/ 1472130 h 4036143"/>
                  <a:gd name="connsiteX1620" fmla="*/ 1610918 w 5806384"/>
                  <a:gd name="connsiteY1620" fmla="*/ 1465049 h 4036143"/>
                  <a:gd name="connsiteX1621" fmla="*/ 1428229 w 5806384"/>
                  <a:gd name="connsiteY1621" fmla="*/ 1548605 h 4036143"/>
                  <a:gd name="connsiteX1622" fmla="*/ 1525946 w 5806384"/>
                  <a:gd name="connsiteY1622" fmla="*/ 1491957 h 4036143"/>
                  <a:gd name="connsiteX1623" fmla="*/ 1525946 w 5806384"/>
                  <a:gd name="connsiteY1623" fmla="*/ 1491957 h 4036143"/>
                  <a:gd name="connsiteX1624" fmla="*/ 1521697 w 5806384"/>
                  <a:gd name="connsiteY1624" fmla="*/ 1472130 h 4036143"/>
                  <a:gd name="connsiteX1625" fmla="*/ 1474963 w 5806384"/>
                  <a:gd name="connsiteY1625" fmla="*/ 1235626 h 4036143"/>
                  <a:gd name="connsiteX1626" fmla="*/ 1520281 w 5806384"/>
                  <a:gd name="connsiteY1626" fmla="*/ 1470714 h 4036143"/>
                  <a:gd name="connsiteX1627" fmla="*/ 1358835 w 5806384"/>
                  <a:gd name="connsiteY1627" fmla="*/ 1483460 h 4036143"/>
                  <a:gd name="connsiteX1628" fmla="*/ 1474963 w 5806384"/>
                  <a:gd name="connsiteY1628" fmla="*/ 1235626 h 4036143"/>
                  <a:gd name="connsiteX1629" fmla="*/ 1746872 w 5806384"/>
                  <a:gd name="connsiteY1629" fmla="*/ 1453720 h 4036143"/>
                  <a:gd name="connsiteX1630" fmla="*/ 1668981 w 5806384"/>
                  <a:gd name="connsiteY1630" fmla="*/ 1574096 h 4036143"/>
                  <a:gd name="connsiteX1631" fmla="*/ 1688808 w 5806384"/>
                  <a:gd name="connsiteY1631" fmla="*/ 1457969 h 4036143"/>
                  <a:gd name="connsiteX1632" fmla="*/ 1746872 w 5806384"/>
                  <a:gd name="connsiteY1632" fmla="*/ 1453720 h 4036143"/>
                  <a:gd name="connsiteX1633" fmla="*/ 1688808 w 5806384"/>
                  <a:gd name="connsiteY1633" fmla="*/ 1456552 h 4036143"/>
                  <a:gd name="connsiteX1634" fmla="*/ 1693057 w 5806384"/>
                  <a:gd name="connsiteY1634" fmla="*/ 1429645 h 4036143"/>
                  <a:gd name="connsiteX1635" fmla="*/ 1790774 w 5806384"/>
                  <a:gd name="connsiteY1635" fmla="*/ 1384327 h 4036143"/>
                  <a:gd name="connsiteX1636" fmla="*/ 1746872 w 5806384"/>
                  <a:gd name="connsiteY1636" fmla="*/ 1452304 h 4036143"/>
                  <a:gd name="connsiteX1637" fmla="*/ 1688808 w 5806384"/>
                  <a:gd name="connsiteY1637" fmla="*/ 1456552 h 4036143"/>
                  <a:gd name="connsiteX1638" fmla="*/ 1838924 w 5806384"/>
                  <a:gd name="connsiteY1638" fmla="*/ 1314933 h 4036143"/>
                  <a:gd name="connsiteX1639" fmla="*/ 1882826 w 5806384"/>
                  <a:gd name="connsiteY1639" fmla="*/ 1330511 h 4036143"/>
                  <a:gd name="connsiteX1640" fmla="*/ 1882826 w 5806384"/>
                  <a:gd name="connsiteY1640" fmla="*/ 1330511 h 4036143"/>
                  <a:gd name="connsiteX1641" fmla="*/ 1959300 w 5806384"/>
                  <a:gd name="connsiteY1641" fmla="*/ 1234210 h 4036143"/>
                  <a:gd name="connsiteX1642" fmla="*/ 2000370 w 5806384"/>
                  <a:gd name="connsiteY1642" fmla="*/ 1285193 h 4036143"/>
                  <a:gd name="connsiteX1643" fmla="*/ 1797855 w 5806384"/>
                  <a:gd name="connsiteY1643" fmla="*/ 1378662 h 4036143"/>
                  <a:gd name="connsiteX1644" fmla="*/ 1838924 w 5806384"/>
                  <a:gd name="connsiteY1644" fmla="*/ 1314933 h 4036143"/>
                  <a:gd name="connsiteX1645" fmla="*/ 1718548 w 5806384"/>
                  <a:gd name="connsiteY1645" fmla="*/ 1271031 h 4036143"/>
                  <a:gd name="connsiteX1646" fmla="*/ 1691640 w 5806384"/>
                  <a:gd name="connsiteY1646" fmla="*/ 1428229 h 4036143"/>
                  <a:gd name="connsiteX1647" fmla="*/ 1616582 w 5806384"/>
                  <a:gd name="connsiteY1647" fmla="*/ 1462217 h 4036143"/>
                  <a:gd name="connsiteX1648" fmla="*/ 1521697 w 5806384"/>
                  <a:gd name="connsiteY1648" fmla="*/ 1469298 h 4036143"/>
                  <a:gd name="connsiteX1649" fmla="*/ 1476380 w 5806384"/>
                  <a:gd name="connsiteY1649" fmla="*/ 1228546 h 4036143"/>
                  <a:gd name="connsiteX1650" fmla="*/ 1476380 w 5806384"/>
                  <a:gd name="connsiteY1650" fmla="*/ 1228546 h 4036143"/>
                  <a:gd name="connsiteX1651" fmla="*/ 1356003 w 5806384"/>
                  <a:gd name="connsiteY1651" fmla="*/ 1482044 h 4036143"/>
                  <a:gd name="connsiteX1652" fmla="*/ 1180395 w 5806384"/>
                  <a:gd name="connsiteY1652" fmla="*/ 1496206 h 4036143"/>
                  <a:gd name="connsiteX1653" fmla="*/ 1467882 w 5806384"/>
                  <a:gd name="connsiteY1653" fmla="*/ 1225713 h 4036143"/>
                  <a:gd name="connsiteX1654" fmla="*/ 1584010 w 5806384"/>
                  <a:gd name="connsiteY1654" fmla="*/ 1167649 h 4036143"/>
                  <a:gd name="connsiteX1655" fmla="*/ 1562767 w 5806384"/>
                  <a:gd name="connsiteY1655" fmla="*/ 1214384 h 4036143"/>
                  <a:gd name="connsiteX1656" fmla="*/ 1562767 w 5806384"/>
                  <a:gd name="connsiteY1656" fmla="*/ 1214384 h 4036143"/>
                  <a:gd name="connsiteX1657" fmla="*/ 1718548 w 5806384"/>
                  <a:gd name="connsiteY1657" fmla="*/ 1271031 h 4036143"/>
                  <a:gd name="connsiteX1658" fmla="*/ 1751121 w 5806384"/>
                  <a:gd name="connsiteY1658" fmla="*/ 1452304 h 4036143"/>
                  <a:gd name="connsiteX1659" fmla="*/ 1796438 w 5806384"/>
                  <a:gd name="connsiteY1659" fmla="*/ 1382910 h 4036143"/>
                  <a:gd name="connsiteX1660" fmla="*/ 2003203 w 5806384"/>
                  <a:gd name="connsiteY1660" fmla="*/ 1288026 h 4036143"/>
                  <a:gd name="connsiteX1661" fmla="*/ 2112249 w 5806384"/>
                  <a:gd name="connsiteY1661" fmla="*/ 1423980 h 4036143"/>
                  <a:gd name="connsiteX1662" fmla="*/ 1751121 w 5806384"/>
                  <a:gd name="connsiteY1662" fmla="*/ 1452304 h 4036143"/>
                  <a:gd name="connsiteX1663" fmla="*/ 1881410 w 5806384"/>
                  <a:gd name="connsiteY1663" fmla="*/ 1329095 h 4036143"/>
                  <a:gd name="connsiteX1664" fmla="*/ 1838924 w 5806384"/>
                  <a:gd name="connsiteY1664" fmla="*/ 1313517 h 4036143"/>
                  <a:gd name="connsiteX1665" fmla="*/ 1919647 w 5806384"/>
                  <a:gd name="connsiteY1665" fmla="*/ 1187476 h 4036143"/>
                  <a:gd name="connsiteX1666" fmla="*/ 1956468 w 5806384"/>
                  <a:gd name="connsiteY1666" fmla="*/ 1234210 h 4036143"/>
                  <a:gd name="connsiteX1667" fmla="*/ 1881410 w 5806384"/>
                  <a:gd name="connsiteY1667" fmla="*/ 1329095 h 4036143"/>
                  <a:gd name="connsiteX1668" fmla="*/ 1837508 w 5806384"/>
                  <a:gd name="connsiteY1668" fmla="*/ 1313517 h 4036143"/>
                  <a:gd name="connsiteX1669" fmla="*/ 1719964 w 5806384"/>
                  <a:gd name="connsiteY1669" fmla="*/ 1271031 h 4036143"/>
                  <a:gd name="connsiteX1670" fmla="*/ 1751121 w 5806384"/>
                  <a:gd name="connsiteY1670" fmla="*/ 1084094 h 4036143"/>
                  <a:gd name="connsiteX1671" fmla="*/ 1812017 w 5806384"/>
                  <a:gd name="connsiteY1671" fmla="*/ 1054354 h 4036143"/>
                  <a:gd name="connsiteX1672" fmla="*/ 1918231 w 5806384"/>
                  <a:gd name="connsiteY1672" fmla="*/ 1187476 h 4036143"/>
                  <a:gd name="connsiteX1673" fmla="*/ 1837508 w 5806384"/>
                  <a:gd name="connsiteY1673" fmla="*/ 1313517 h 4036143"/>
                  <a:gd name="connsiteX1674" fmla="*/ 1718548 w 5806384"/>
                  <a:gd name="connsiteY1674" fmla="*/ 1269615 h 4036143"/>
                  <a:gd name="connsiteX1675" fmla="*/ 1565599 w 5806384"/>
                  <a:gd name="connsiteY1675" fmla="*/ 1212967 h 4036143"/>
                  <a:gd name="connsiteX1676" fmla="*/ 1586842 w 5806384"/>
                  <a:gd name="connsiteY1676" fmla="*/ 1166233 h 4036143"/>
                  <a:gd name="connsiteX1677" fmla="*/ 1749704 w 5806384"/>
                  <a:gd name="connsiteY1677" fmla="*/ 1084094 h 4036143"/>
                  <a:gd name="connsiteX1678" fmla="*/ 1718548 w 5806384"/>
                  <a:gd name="connsiteY1678" fmla="*/ 1269615 h 4036143"/>
                  <a:gd name="connsiteX1679" fmla="*/ 1316350 w 5806384"/>
                  <a:gd name="connsiteY1679" fmla="*/ 1571264 h 4036143"/>
                  <a:gd name="connsiteX1680" fmla="*/ 1409818 w 5806384"/>
                  <a:gd name="connsiteY1680" fmla="*/ 1572680 h 4036143"/>
                  <a:gd name="connsiteX1681" fmla="*/ 1448056 w 5806384"/>
                  <a:gd name="connsiteY1681" fmla="*/ 1646322 h 4036143"/>
                  <a:gd name="connsiteX1682" fmla="*/ 1428229 w 5806384"/>
                  <a:gd name="connsiteY1682" fmla="*/ 1646322 h 4036143"/>
                  <a:gd name="connsiteX1683" fmla="*/ 1309269 w 5806384"/>
                  <a:gd name="connsiteY1683" fmla="*/ 1588258 h 4036143"/>
                  <a:gd name="connsiteX1684" fmla="*/ 1316350 w 5806384"/>
                  <a:gd name="connsiteY1684" fmla="*/ 1571264 h 4036143"/>
                  <a:gd name="connsiteX1685" fmla="*/ 2187307 w 5806384"/>
                  <a:gd name="connsiteY1685" fmla="*/ 2433724 h 4036143"/>
                  <a:gd name="connsiteX1686" fmla="*/ 2187307 w 5806384"/>
                  <a:gd name="connsiteY1686" fmla="*/ 2433724 h 4036143"/>
                  <a:gd name="connsiteX1687" fmla="*/ 2054185 w 5806384"/>
                  <a:gd name="connsiteY1687" fmla="*/ 2452135 h 4036143"/>
                  <a:gd name="connsiteX1688" fmla="*/ 2137741 w 5806384"/>
                  <a:gd name="connsiteY1688" fmla="*/ 1994705 h 4036143"/>
                  <a:gd name="connsiteX1689" fmla="*/ 2251036 w 5806384"/>
                  <a:gd name="connsiteY1689" fmla="*/ 2049936 h 4036143"/>
                  <a:gd name="connsiteX1690" fmla="*/ 2258117 w 5806384"/>
                  <a:gd name="connsiteY1690" fmla="*/ 2303435 h 4036143"/>
                  <a:gd name="connsiteX1691" fmla="*/ 2258117 w 5806384"/>
                  <a:gd name="connsiteY1691" fmla="*/ 2304851 h 4036143"/>
                  <a:gd name="connsiteX1692" fmla="*/ 2323262 w 5806384"/>
                  <a:gd name="connsiteY1692" fmla="*/ 2085341 h 4036143"/>
                  <a:gd name="connsiteX1693" fmla="*/ 2487540 w 5806384"/>
                  <a:gd name="connsiteY1693" fmla="*/ 2164648 h 4036143"/>
                  <a:gd name="connsiteX1694" fmla="*/ 2436557 w 5806384"/>
                  <a:gd name="connsiteY1694" fmla="*/ 2396903 h 4036143"/>
                  <a:gd name="connsiteX1695" fmla="*/ 2408233 w 5806384"/>
                  <a:gd name="connsiteY1695" fmla="*/ 2402568 h 4036143"/>
                  <a:gd name="connsiteX1696" fmla="*/ 2272279 w 5806384"/>
                  <a:gd name="connsiteY1696" fmla="*/ 2299186 h 4036143"/>
                  <a:gd name="connsiteX1697" fmla="*/ 2270863 w 5806384"/>
                  <a:gd name="connsiteY1697" fmla="*/ 2299186 h 4036143"/>
                  <a:gd name="connsiteX1698" fmla="*/ 2336008 w 5806384"/>
                  <a:gd name="connsiteY1698" fmla="*/ 2415314 h 4036143"/>
                  <a:gd name="connsiteX1699" fmla="*/ 2197221 w 5806384"/>
                  <a:gd name="connsiteY1699" fmla="*/ 2439389 h 4036143"/>
                  <a:gd name="connsiteX1700" fmla="*/ 2187307 w 5806384"/>
                  <a:gd name="connsiteY1700" fmla="*/ 2433724 h 4036143"/>
                  <a:gd name="connsiteX1701" fmla="*/ 2191556 w 5806384"/>
                  <a:gd name="connsiteY1701" fmla="*/ 2439389 h 4036143"/>
                  <a:gd name="connsiteX1702" fmla="*/ 2183059 w 5806384"/>
                  <a:gd name="connsiteY1702" fmla="*/ 2440805 h 4036143"/>
                  <a:gd name="connsiteX1703" fmla="*/ 2187307 w 5806384"/>
                  <a:gd name="connsiteY1703" fmla="*/ 2433724 h 4036143"/>
                  <a:gd name="connsiteX1704" fmla="*/ 2336008 w 5806384"/>
                  <a:gd name="connsiteY1704" fmla="*/ 2415314 h 4036143"/>
                  <a:gd name="connsiteX1705" fmla="*/ 2377077 w 5806384"/>
                  <a:gd name="connsiteY1705" fmla="*/ 2488955 h 4036143"/>
                  <a:gd name="connsiteX1706" fmla="*/ 2277944 w 5806384"/>
                  <a:gd name="connsiteY1706" fmla="*/ 2440805 h 4036143"/>
                  <a:gd name="connsiteX1707" fmla="*/ 2276528 w 5806384"/>
                  <a:gd name="connsiteY1707" fmla="*/ 2440805 h 4036143"/>
                  <a:gd name="connsiteX1708" fmla="*/ 2399736 w 5806384"/>
                  <a:gd name="connsiteY1708" fmla="*/ 2555516 h 4036143"/>
                  <a:gd name="connsiteX1709" fmla="*/ 2395488 w 5806384"/>
                  <a:gd name="connsiteY1709" fmla="*/ 2578175 h 4036143"/>
                  <a:gd name="connsiteX1710" fmla="*/ 2198637 w 5806384"/>
                  <a:gd name="connsiteY1710" fmla="*/ 2439389 h 4036143"/>
                  <a:gd name="connsiteX1711" fmla="*/ 2336008 w 5806384"/>
                  <a:gd name="connsiteY1711" fmla="*/ 2415314 h 4036143"/>
                  <a:gd name="connsiteX1712" fmla="*/ 2532858 w 5806384"/>
                  <a:gd name="connsiteY1712" fmla="*/ 2674476 h 4036143"/>
                  <a:gd name="connsiteX1713" fmla="*/ 2432309 w 5806384"/>
                  <a:gd name="connsiteY1713" fmla="*/ 2582424 h 4036143"/>
                  <a:gd name="connsiteX1714" fmla="*/ 2406817 w 5806384"/>
                  <a:gd name="connsiteY1714" fmla="*/ 2537106 h 4036143"/>
                  <a:gd name="connsiteX1715" fmla="*/ 2412482 w 5806384"/>
                  <a:gd name="connsiteY1715" fmla="*/ 2508782 h 4036143"/>
                  <a:gd name="connsiteX1716" fmla="*/ 2769362 w 5806384"/>
                  <a:gd name="connsiteY1716" fmla="*/ 2678725 h 4036143"/>
                  <a:gd name="connsiteX1717" fmla="*/ 2777859 w 5806384"/>
                  <a:gd name="connsiteY1717" fmla="*/ 2685806 h 4036143"/>
                  <a:gd name="connsiteX1718" fmla="*/ 2793438 w 5806384"/>
                  <a:gd name="connsiteY1718" fmla="*/ 2729708 h 4036143"/>
                  <a:gd name="connsiteX1719" fmla="*/ 2576761 w 5806384"/>
                  <a:gd name="connsiteY1719" fmla="*/ 2670228 h 4036143"/>
                  <a:gd name="connsiteX1720" fmla="*/ 2576761 w 5806384"/>
                  <a:gd name="connsiteY1720" fmla="*/ 2670228 h 4036143"/>
                  <a:gd name="connsiteX1721" fmla="*/ 2629159 w 5806384"/>
                  <a:gd name="connsiteY1721" fmla="*/ 2743870 h 4036143"/>
                  <a:gd name="connsiteX1722" fmla="*/ 2532858 w 5806384"/>
                  <a:gd name="connsiteY1722" fmla="*/ 2674476 h 4036143"/>
                  <a:gd name="connsiteX1723" fmla="*/ 2923727 w 5806384"/>
                  <a:gd name="connsiteY1723" fmla="*/ 2792020 h 4036143"/>
                  <a:gd name="connsiteX1724" fmla="*/ 2942138 w 5806384"/>
                  <a:gd name="connsiteY1724" fmla="*/ 2772194 h 4036143"/>
                  <a:gd name="connsiteX1725" fmla="*/ 2998785 w 5806384"/>
                  <a:gd name="connsiteY1725" fmla="*/ 2787772 h 4036143"/>
                  <a:gd name="connsiteX1726" fmla="*/ 3140404 w 5806384"/>
                  <a:gd name="connsiteY1726" fmla="*/ 2855749 h 4036143"/>
                  <a:gd name="connsiteX1727" fmla="*/ 3197052 w 5806384"/>
                  <a:gd name="connsiteY1727" fmla="*/ 2981790 h 4036143"/>
                  <a:gd name="connsiteX1728" fmla="*/ 3185723 w 5806384"/>
                  <a:gd name="connsiteY1728" fmla="*/ 2993119 h 4036143"/>
                  <a:gd name="connsiteX1729" fmla="*/ 2923727 w 5806384"/>
                  <a:gd name="connsiteY1729" fmla="*/ 2792020 h 4036143"/>
                  <a:gd name="connsiteX1730" fmla="*/ 3323093 w 5806384"/>
                  <a:gd name="connsiteY1730" fmla="*/ 2942136 h 4036143"/>
                  <a:gd name="connsiteX1731" fmla="*/ 3209797 w 5806384"/>
                  <a:gd name="connsiteY1731" fmla="*/ 2998784 h 4036143"/>
                  <a:gd name="connsiteX1732" fmla="*/ 3201301 w 5806384"/>
                  <a:gd name="connsiteY1732" fmla="*/ 2981790 h 4036143"/>
                  <a:gd name="connsiteX1733" fmla="*/ 3269278 w 5806384"/>
                  <a:gd name="connsiteY1733" fmla="*/ 2916645 h 4036143"/>
                  <a:gd name="connsiteX1734" fmla="*/ 3323093 w 5806384"/>
                  <a:gd name="connsiteY1734" fmla="*/ 2942136 h 4036143"/>
                  <a:gd name="connsiteX1735" fmla="*/ 3325925 w 5806384"/>
                  <a:gd name="connsiteY1735" fmla="*/ 2943553 h 4036143"/>
                  <a:gd name="connsiteX1736" fmla="*/ 3342920 w 5806384"/>
                  <a:gd name="connsiteY1736" fmla="*/ 2952050 h 4036143"/>
                  <a:gd name="connsiteX1737" fmla="*/ 3372659 w 5806384"/>
                  <a:gd name="connsiteY1737" fmla="*/ 3103582 h 4036143"/>
                  <a:gd name="connsiteX1738" fmla="*/ 3216878 w 5806384"/>
                  <a:gd name="connsiteY1738" fmla="*/ 3017195 h 4036143"/>
                  <a:gd name="connsiteX1739" fmla="*/ 3209797 w 5806384"/>
                  <a:gd name="connsiteY1739" fmla="*/ 3001616 h 4036143"/>
                  <a:gd name="connsiteX1740" fmla="*/ 3325925 w 5806384"/>
                  <a:gd name="connsiteY1740" fmla="*/ 2943553 h 4036143"/>
                  <a:gd name="connsiteX1741" fmla="*/ 3345752 w 5806384"/>
                  <a:gd name="connsiteY1741" fmla="*/ 2949217 h 4036143"/>
                  <a:gd name="connsiteX1742" fmla="*/ 3342920 w 5806384"/>
                  <a:gd name="connsiteY1742" fmla="*/ 2933639 h 4036143"/>
                  <a:gd name="connsiteX1743" fmla="*/ 3436388 w 5806384"/>
                  <a:gd name="connsiteY1743" fmla="*/ 2886905 h 4036143"/>
                  <a:gd name="connsiteX1744" fmla="*/ 3451967 w 5806384"/>
                  <a:gd name="connsiteY1744" fmla="*/ 2998784 h 4036143"/>
                  <a:gd name="connsiteX1745" fmla="*/ 3345752 w 5806384"/>
                  <a:gd name="connsiteY1745" fmla="*/ 2949217 h 4036143"/>
                  <a:gd name="connsiteX1746" fmla="*/ 3623325 w 5806384"/>
                  <a:gd name="connsiteY1746" fmla="*/ 2716962 h 4036143"/>
                  <a:gd name="connsiteX1747" fmla="*/ 3570926 w 5806384"/>
                  <a:gd name="connsiteY1747" fmla="*/ 2690054 h 4036143"/>
                  <a:gd name="connsiteX1748" fmla="*/ 3507198 w 5806384"/>
                  <a:gd name="connsiteY1748" fmla="*/ 2658898 h 4036143"/>
                  <a:gd name="connsiteX1749" fmla="*/ 3369828 w 5806384"/>
                  <a:gd name="connsiteY1749" fmla="*/ 2403984 h 4036143"/>
                  <a:gd name="connsiteX1750" fmla="*/ 3369828 w 5806384"/>
                  <a:gd name="connsiteY1750" fmla="*/ 2402568 h 4036143"/>
                  <a:gd name="connsiteX1751" fmla="*/ 3398152 w 5806384"/>
                  <a:gd name="connsiteY1751" fmla="*/ 2605083 h 4036143"/>
                  <a:gd name="connsiteX1752" fmla="*/ 3189971 w 5806384"/>
                  <a:gd name="connsiteY1752" fmla="*/ 2503117 h 4036143"/>
                  <a:gd name="connsiteX1753" fmla="*/ 3325925 w 5806384"/>
                  <a:gd name="connsiteY1753" fmla="*/ 2354417 h 4036143"/>
                  <a:gd name="connsiteX1754" fmla="*/ 3701216 w 5806384"/>
                  <a:gd name="connsiteY1754" fmla="*/ 2456383 h 4036143"/>
                  <a:gd name="connsiteX1755" fmla="*/ 3702633 w 5806384"/>
                  <a:gd name="connsiteY1755" fmla="*/ 2456383 h 4036143"/>
                  <a:gd name="connsiteX1756" fmla="*/ 3395319 w 5806384"/>
                  <a:gd name="connsiteY1756" fmla="*/ 2277943 h 4036143"/>
                  <a:gd name="connsiteX1757" fmla="*/ 3549683 w 5806384"/>
                  <a:gd name="connsiteY1757" fmla="*/ 2109416 h 4036143"/>
                  <a:gd name="connsiteX1758" fmla="*/ 3552516 w 5806384"/>
                  <a:gd name="connsiteY1758" fmla="*/ 2110833 h 4036143"/>
                  <a:gd name="connsiteX1759" fmla="*/ 3552516 w 5806384"/>
                  <a:gd name="connsiteY1759" fmla="*/ 2110833 h 4036143"/>
                  <a:gd name="connsiteX1760" fmla="*/ 3551100 w 5806384"/>
                  <a:gd name="connsiteY1760" fmla="*/ 2106584 h 4036143"/>
                  <a:gd name="connsiteX1761" fmla="*/ 3553933 w 5806384"/>
                  <a:gd name="connsiteY1761" fmla="*/ 2103752 h 4036143"/>
                  <a:gd name="connsiteX1762" fmla="*/ 3553933 w 5806384"/>
                  <a:gd name="connsiteY1762" fmla="*/ 2103752 h 4036143"/>
                  <a:gd name="connsiteX1763" fmla="*/ 3549683 w 5806384"/>
                  <a:gd name="connsiteY1763" fmla="*/ 2103752 h 4036143"/>
                  <a:gd name="connsiteX1764" fmla="*/ 3497285 w 5806384"/>
                  <a:gd name="connsiteY1764" fmla="*/ 1974878 h 4036143"/>
                  <a:gd name="connsiteX1765" fmla="*/ 3746534 w 5806384"/>
                  <a:gd name="connsiteY1765" fmla="*/ 2068347 h 4036143"/>
                  <a:gd name="connsiteX1766" fmla="*/ 3780523 w 5806384"/>
                  <a:gd name="connsiteY1766" fmla="*/ 2343088 h 4036143"/>
                  <a:gd name="connsiteX1767" fmla="*/ 3623325 w 5806384"/>
                  <a:gd name="connsiteY1767" fmla="*/ 2716962 h 4036143"/>
                  <a:gd name="connsiteX1768" fmla="*/ 3726707 w 5806384"/>
                  <a:gd name="connsiteY1768" fmla="*/ 1884242 h 4036143"/>
                  <a:gd name="connsiteX1769" fmla="*/ 3868326 w 5806384"/>
                  <a:gd name="connsiteY1769" fmla="*/ 1966381 h 4036143"/>
                  <a:gd name="connsiteX1770" fmla="*/ 3825841 w 5806384"/>
                  <a:gd name="connsiteY1770" fmla="*/ 2098087 h 4036143"/>
                  <a:gd name="connsiteX1771" fmla="*/ 3747950 w 5806384"/>
                  <a:gd name="connsiteY1771" fmla="*/ 2069763 h 4036143"/>
                  <a:gd name="connsiteX1772" fmla="*/ 3726707 w 5806384"/>
                  <a:gd name="connsiteY1772" fmla="*/ 1884242 h 4036143"/>
                  <a:gd name="connsiteX1773" fmla="*/ 3893818 w 5806384"/>
                  <a:gd name="connsiteY1773" fmla="*/ 1892739 h 4036143"/>
                  <a:gd name="connsiteX1774" fmla="*/ 4041102 w 5806384"/>
                  <a:gd name="connsiteY1774" fmla="*/ 2065514 h 4036143"/>
                  <a:gd name="connsiteX1775" fmla="*/ 3869743 w 5806384"/>
                  <a:gd name="connsiteY1775" fmla="*/ 1966381 h 4036143"/>
                  <a:gd name="connsiteX1776" fmla="*/ 3893818 w 5806384"/>
                  <a:gd name="connsiteY1776" fmla="*/ 1892739 h 4036143"/>
                  <a:gd name="connsiteX1777" fmla="*/ 3696968 w 5806384"/>
                  <a:gd name="connsiteY1777" fmla="*/ 1660484 h 4036143"/>
                  <a:gd name="connsiteX1778" fmla="*/ 3696968 w 5806384"/>
                  <a:gd name="connsiteY1778" fmla="*/ 1660484 h 4036143"/>
                  <a:gd name="connsiteX1779" fmla="*/ 3723876 w 5806384"/>
                  <a:gd name="connsiteY1779" fmla="*/ 1879993 h 4036143"/>
                  <a:gd name="connsiteX1780" fmla="*/ 3374076 w 5806384"/>
                  <a:gd name="connsiteY1780" fmla="*/ 1677478 h 4036143"/>
                  <a:gd name="connsiteX1781" fmla="*/ 3235289 w 5806384"/>
                  <a:gd name="connsiteY1781" fmla="*/ 1337592 h 4036143"/>
                  <a:gd name="connsiteX1782" fmla="*/ 3250867 w 5806384"/>
                  <a:gd name="connsiteY1782" fmla="*/ 1336176 h 4036143"/>
                  <a:gd name="connsiteX1783" fmla="*/ 3682806 w 5806384"/>
                  <a:gd name="connsiteY1783" fmla="*/ 1659068 h 4036143"/>
                  <a:gd name="connsiteX1784" fmla="*/ 3682806 w 5806384"/>
                  <a:gd name="connsiteY1784" fmla="*/ 1659068 h 4036143"/>
                  <a:gd name="connsiteX1785" fmla="*/ 3718210 w 5806384"/>
                  <a:gd name="connsiteY1785" fmla="*/ 1299355 h 4036143"/>
                  <a:gd name="connsiteX1786" fmla="*/ 3749367 w 5806384"/>
                  <a:gd name="connsiteY1786" fmla="*/ 1296523 h 4036143"/>
                  <a:gd name="connsiteX1787" fmla="*/ 3871159 w 5806384"/>
                  <a:gd name="connsiteY1787" fmla="*/ 1489125 h 4036143"/>
                  <a:gd name="connsiteX1788" fmla="*/ 3861245 w 5806384"/>
                  <a:gd name="connsiteY1788" fmla="*/ 1514616 h 4036143"/>
                  <a:gd name="connsiteX1789" fmla="*/ 3882488 w 5806384"/>
                  <a:gd name="connsiteY1789" fmla="*/ 1506119 h 4036143"/>
                  <a:gd name="connsiteX1790" fmla="*/ 3919310 w 5806384"/>
                  <a:gd name="connsiteY1790" fmla="*/ 1564183 h 4036143"/>
                  <a:gd name="connsiteX1791" fmla="*/ 3895234 w 5806384"/>
                  <a:gd name="connsiteY1791" fmla="*/ 1762449 h 4036143"/>
                  <a:gd name="connsiteX1792" fmla="*/ 3895234 w 5806384"/>
                  <a:gd name="connsiteY1792" fmla="*/ 1762449 h 4036143"/>
                  <a:gd name="connsiteX1793" fmla="*/ 3936304 w 5806384"/>
                  <a:gd name="connsiteY1793" fmla="*/ 1751120 h 4036143"/>
                  <a:gd name="connsiteX1794" fmla="*/ 3892402 w 5806384"/>
                  <a:gd name="connsiteY1794" fmla="*/ 1887074 h 4036143"/>
                  <a:gd name="connsiteX1795" fmla="*/ 3696968 w 5806384"/>
                  <a:gd name="connsiteY1795" fmla="*/ 1660484 h 4036143"/>
                  <a:gd name="connsiteX1796" fmla="*/ 4308763 w 5806384"/>
                  <a:gd name="connsiteY1796" fmla="*/ 1474963 h 4036143"/>
                  <a:gd name="connsiteX1797" fmla="*/ 4308763 w 5806384"/>
                  <a:gd name="connsiteY1797" fmla="*/ 1474963 h 4036143"/>
                  <a:gd name="connsiteX1798" fmla="*/ 4177057 w 5806384"/>
                  <a:gd name="connsiteY1798" fmla="*/ 1389991 h 4036143"/>
                  <a:gd name="connsiteX1799" fmla="*/ 4270525 w 5806384"/>
                  <a:gd name="connsiteY1799" fmla="*/ 1353170 h 4036143"/>
                  <a:gd name="connsiteX1800" fmla="*/ 4402231 w 5806384"/>
                  <a:gd name="connsiteY1800" fmla="*/ 1622247 h 4036143"/>
                  <a:gd name="connsiteX1801" fmla="*/ 4269109 w 5806384"/>
                  <a:gd name="connsiteY1801" fmla="*/ 1659068 h 4036143"/>
                  <a:gd name="connsiteX1802" fmla="*/ 4308763 w 5806384"/>
                  <a:gd name="connsiteY1802" fmla="*/ 1474963 h 4036143"/>
                  <a:gd name="connsiteX1803" fmla="*/ 4271941 w 5806384"/>
                  <a:gd name="connsiteY1803" fmla="*/ 1351754 h 4036143"/>
                  <a:gd name="connsiteX1804" fmla="*/ 4206797 w 5806384"/>
                  <a:gd name="connsiteY1804" fmla="*/ 1217216 h 4036143"/>
                  <a:gd name="connsiteX1805" fmla="*/ 4460295 w 5806384"/>
                  <a:gd name="connsiteY1805" fmla="*/ 1263950 h 4036143"/>
                  <a:gd name="connsiteX1806" fmla="*/ 4460295 w 5806384"/>
                  <a:gd name="connsiteY1806" fmla="*/ 1263950 h 4036143"/>
                  <a:gd name="connsiteX1807" fmla="*/ 4475873 w 5806384"/>
                  <a:gd name="connsiteY1807" fmla="*/ 1259702 h 4036143"/>
                  <a:gd name="connsiteX1808" fmla="*/ 4477289 w 5806384"/>
                  <a:gd name="connsiteY1808" fmla="*/ 1269615 h 4036143"/>
                  <a:gd name="connsiteX1809" fmla="*/ 4271941 w 5806384"/>
                  <a:gd name="connsiteY1809" fmla="*/ 1351754 h 4036143"/>
                  <a:gd name="connsiteX1810" fmla="*/ 4539602 w 5806384"/>
                  <a:gd name="connsiteY1810" fmla="*/ 982128 h 4036143"/>
                  <a:gd name="connsiteX1811" fmla="*/ 4458878 w 5806384"/>
                  <a:gd name="connsiteY1811" fmla="*/ 1112418 h 4036143"/>
                  <a:gd name="connsiteX1812" fmla="*/ 4446133 w 5806384"/>
                  <a:gd name="connsiteY1812" fmla="*/ 1013285 h 4036143"/>
                  <a:gd name="connsiteX1813" fmla="*/ 4539602 w 5806384"/>
                  <a:gd name="connsiteY1813" fmla="*/ 982128 h 4036143"/>
                  <a:gd name="connsiteX1814" fmla="*/ 4446133 w 5806384"/>
                  <a:gd name="connsiteY1814" fmla="*/ 1010452 h 4036143"/>
                  <a:gd name="connsiteX1815" fmla="*/ 4433387 w 5806384"/>
                  <a:gd name="connsiteY1815" fmla="*/ 911319 h 4036143"/>
                  <a:gd name="connsiteX1816" fmla="*/ 4569341 w 5806384"/>
                  <a:gd name="connsiteY1816" fmla="*/ 908486 h 4036143"/>
                  <a:gd name="connsiteX1817" fmla="*/ 4579255 w 5806384"/>
                  <a:gd name="connsiteY1817" fmla="*/ 918400 h 4036143"/>
                  <a:gd name="connsiteX1818" fmla="*/ 4541017 w 5806384"/>
                  <a:gd name="connsiteY1818" fmla="*/ 980712 h 4036143"/>
                  <a:gd name="connsiteX1819" fmla="*/ 4446133 w 5806384"/>
                  <a:gd name="connsiteY1819" fmla="*/ 1010452 h 4036143"/>
                  <a:gd name="connsiteX1820" fmla="*/ 4652897 w 5806384"/>
                  <a:gd name="connsiteY1820" fmla="*/ 802272 h 4036143"/>
                  <a:gd name="connsiteX1821" fmla="*/ 4589168 w 5806384"/>
                  <a:gd name="connsiteY1821" fmla="*/ 905654 h 4036143"/>
                  <a:gd name="connsiteX1822" fmla="*/ 4572174 w 5806384"/>
                  <a:gd name="connsiteY1822" fmla="*/ 905654 h 4036143"/>
                  <a:gd name="connsiteX1823" fmla="*/ 4414977 w 5806384"/>
                  <a:gd name="connsiteY1823" fmla="*/ 749873 h 4036143"/>
                  <a:gd name="connsiteX1824" fmla="*/ 4397982 w 5806384"/>
                  <a:gd name="connsiteY1824" fmla="*/ 618167 h 4036143"/>
                  <a:gd name="connsiteX1825" fmla="*/ 4652897 w 5806384"/>
                  <a:gd name="connsiteY1825" fmla="*/ 802272 h 4036143"/>
                  <a:gd name="connsiteX1826" fmla="*/ 3400983 w 5806384"/>
                  <a:gd name="connsiteY1826" fmla="*/ 92760 h 4036143"/>
                  <a:gd name="connsiteX1827" fmla="*/ 3528440 w 5806384"/>
                  <a:gd name="connsiteY1827" fmla="*/ 350507 h 4036143"/>
                  <a:gd name="connsiteX1828" fmla="*/ 3453382 w 5806384"/>
                  <a:gd name="connsiteY1828" fmla="*/ 731463 h 4036143"/>
                  <a:gd name="connsiteX1829" fmla="*/ 3177225 w 5806384"/>
                  <a:gd name="connsiteY1829" fmla="*/ 605422 h 4036143"/>
                  <a:gd name="connsiteX1830" fmla="*/ 3214047 w 5806384"/>
                  <a:gd name="connsiteY1830" fmla="*/ 404322 h 4036143"/>
                  <a:gd name="connsiteX1831" fmla="*/ 3313180 w 5806384"/>
                  <a:gd name="connsiteY1831" fmla="*/ 342010 h 4036143"/>
                  <a:gd name="connsiteX1832" fmla="*/ 3313180 w 5806384"/>
                  <a:gd name="connsiteY1832" fmla="*/ 342010 h 4036143"/>
                  <a:gd name="connsiteX1833" fmla="*/ 3231040 w 5806384"/>
                  <a:gd name="connsiteY1833" fmla="*/ 138079 h 4036143"/>
                  <a:gd name="connsiteX1834" fmla="*/ 3150318 w 5806384"/>
                  <a:gd name="connsiteY1834" fmla="*/ 13454 h 4036143"/>
                  <a:gd name="connsiteX1835" fmla="*/ 3400983 w 5806384"/>
                  <a:gd name="connsiteY1835" fmla="*/ 92760 h 4036143"/>
                  <a:gd name="connsiteX1836" fmla="*/ 2412482 w 5806384"/>
                  <a:gd name="connsiteY1836" fmla="*/ 1399905 h 4036143"/>
                  <a:gd name="connsiteX1837" fmla="*/ 2238290 w 5806384"/>
                  <a:gd name="connsiteY1837" fmla="*/ 1414067 h 4036143"/>
                  <a:gd name="connsiteX1838" fmla="*/ 2234042 w 5806384"/>
                  <a:gd name="connsiteY1838" fmla="*/ 1231378 h 4036143"/>
                  <a:gd name="connsiteX1839" fmla="*/ 2412482 w 5806384"/>
                  <a:gd name="connsiteY1839" fmla="*/ 1399905 h 4036143"/>
                  <a:gd name="connsiteX1840" fmla="*/ 1268199 w 5806384"/>
                  <a:gd name="connsiteY1840" fmla="*/ 1569848 h 4036143"/>
                  <a:gd name="connsiteX1841" fmla="*/ 1305020 w 5806384"/>
                  <a:gd name="connsiteY1841" fmla="*/ 1588258 h 4036143"/>
                  <a:gd name="connsiteX1842" fmla="*/ 1279529 w 5806384"/>
                  <a:gd name="connsiteY1842" fmla="*/ 1640657 h 4036143"/>
                  <a:gd name="connsiteX1843" fmla="*/ 1184644 w 5806384"/>
                  <a:gd name="connsiteY1843" fmla="*/ 1637825 h 4036143"/>
                  <a:gd name="connsiteX1844" fmla="*/ 1178979 w 5806384"/>
                  <a:gd name="connsiteY1844" fmla="*/ 1568431 h 4036143"/>
                  <a:gd name="connsiteX1845" fmla="*/ 1268199 w 5806384"/>
                  <a:gd name="connsiteY1845" fmla="*/ 1569848 h 4036143"/>
                  <a:gd name="connsiteX1846" fmla="*/ 698890 w 5806384"/>
                  <a:gd name="connsiteY1846" fmla="*/ 1550021 h 4036143"/>
                  <a:gd name="connsiteX1847" fmla="*/ 904238 w 5806384"/>
                  <a:gd name="connsiteY1847" fmla="*/ 1497622 h 4036143"/>
                  <a:gd name="connsiteX1848" fmla="*/ 885828 w 5806384"/>
                  <a:gd name="connsiteY1848" fmla="*/ 1561350 h 4036143"/>
                  <a:gd name="connsiteX1849" fmla="*/ 885828 w 5806384"/>
                  <a:gd name="connsiteY1849" fmla="*/ 1561350 h 4036143"/>
                  <a:gd name="connsiteX1850" fmla="*/ 1176147 w 5806384"/>
                  <a:gd name="connsiteY1850" fmla="*/ 1567015 h 4036143"/>
                  <a:gd name="connsiteX1851" fmla="*/ 1181812 w 5806384"/>
                  <a:gd name="connsiteY1851" fmla="*/ 1636409 h 4036143"/>
                  <a:gd name="connsiteX1852" fmla="*/ 1060019 w 5806384"/>
                  <a:gd name="connsiteY1852" fmla="*/ 1632160 h 4036143"/>
                  <a:gd name="connsiteX1853" fmla="*/ 1060019 w 5806384"/>
                  <a:gd name="connsiteY1853" fmla="*/ 1632160 h 4036143"/>
                  <a:gd name="connsiteX1854" fmla="*/ 1197390 w 5806384"/>
                  <a:gd name="connsiteY1854" fmla="*/ 1796438 h 4036143"/>
                  <a:gd name="connsiteX1855" fmla="*/ 1197390 w 5806384"/>
                  <a:gd name="connsiteY1855" fmla="*/ 1803519 h 4036143"/>
                  <a:gd name="connsiteX1856" fmla="*/ 875914 w 5806384"/>
                  <a:gd name="connsiteY1856" fmla="*/ 1854502 h 4036143"/>
                  <a:gd name="connsiteX1857" fmla="*/ 844758 w 5806384"/>
                  <a:gd name="connsiteY1857" fmla="*/ 1807768 h 4036143"/>
                  <a:gd name="connsiteX1858" fmla="*/ 873082 w 5806384"/>
                  <a:gd name="connsiteY1858" fmla="*/ 1803519 h 4036143"/>
                  <a:gd name="connsiteX1859" fmla="*/ 873082 w 5806384"/>
                  <a:gd name="connsiteY1859" fmla="*/ 1803519 h 4036143"/>
                  <a:gd name="connsiteX1860" fmla="*/ 698890 w 5806384"/>
                  <a:gd name="connsiteY1860" fmla="*/ 1550021 h 4036143"/>
                  <a:gd name="connsiteX1861" fmla="*/ 1263951 w 5806384"/>
                  <a:gd name="connsiteY1861" fmla="*/ 1567015 h 4036143"/>
                  <a:gd name="connsiteX1862" fmla="*/ 1178979 w 5806384"/>
                  <a:gd name="connsiteY1862" fmla="*/ 1565599 h 4036143"/>
                  <a:gd name="connsiteX1863" fmla="*/ 1174731 w 5806384"/>
                  <a:gd name="connsiteY1863" fmla="*/ 1524529 h 4036143"/>
                  <a:gd name="connsiteX1864" fmla="*/ 1263951 w 5806384"/>
                  <a:gd name="connsiteY1864" fmla="*/ 1567015 h 4036143"/>
                  <a:gd name="connsiteX1865" fmla="*/ 1065684 w 5806384"/>
                  <a:gd name="connsiteY1865" fmla="*/ 1634992 h 4036143"/>
                  <a:gd name="connsiteX1866" fmla="*/ 1183228 w 5806384"/>
                  <a:gd name="connsiteY1866" fmla="*/ 1639241 h 4036143"/>
                  <a:gd name="connsiteX1867" fmla="*/ 1197390 w 5806384"/>
                  <a:gd name="connsiteY1867" fmla="*/ 1793606 h 4036143"/>
                  <a:gd name="connsiteX1868" fmla="*/ 1065684 w 5806384"/>
                  <a:gd name="connsiteY1868" fmla="*/ 1634992 h 4036143"/>
                  <a:gd name="connsiteX1869" fmla="*/ 1200222 w 5806384"/>
                  <a:gd name="connsiteY1869" fmla="*/ 1796438 h 4036143"/>
                  <a:gd name="connsiteX1870" fmla="*/ 1186060 w 5806384"/>
                  <a:gd name="connsiteY1870" fmla="*/ 1639241 h 4036143"/>
                  <a:gd name="connsiteX1871" fmla="*/ 1280945 w 5806384"/>
                  <a:gd name="connsiteY1871" fmla="*/ 1642073 h 4036143"/>
                  <a:gd name="connsiteX1872" fmla="*/ 1205887 w 5806384"/>
                  <a:gd name="connsiteY1872" fmla="*/ 1802103 h 4036143"/>
                  <a:gd name="connsiteX1873" fmla="*/ 1200222 w 5806384"/>
                  <a:gd name="connsiteY1873" fmla="*/ 1796438 h 4036143"/>
                  <a:gd name="connsiteX1874" fmla="*/ 1422564 w 5806384"/>
                  <a:gd name="connsiteY1874" fmla="*/ 1644906 h 4036143"/>
                  <a:gd name="connsiteX1875" fmla="*/ 1283777 w 5806384"/>
                  <a:gd name="connsiteY1875" fmla="*/ 1640657 h 4036143"/>
                  <a:gd name="connsiteX1876" fmla="*/ 1307852 w 5806384"/>
                  <a:gd name="connsiteY1876" fmla="*/ 1588258 h 4036143"/>
                  <a:gd name="connsiteX1877" fmla="*/ 1422564 w 5806384"/>
                  <a:gd name="connsiteY1877" fmla="*/ 1644906 h 4036143"/>
                  <a:gd name="connsiteX1878" fmla="*/ 1449472 w 5806384"/>
                  <a:gd name="connsiteY1878" fmla="*/ 1647738 h 4036143"/>
                  <a:gd name="connsiteX1879" fmla="*/ 1455137 w 5806384"/>
                  <a:gd name="connsiteY1879" fmla="*/ 1657651 h 4036143"/>
                  <a:gd name="connsiteX1880" fmla="*/ 1432478 w 5806384"/>
                  <a:gd name="connsiteY1880" fmla="*/ 1646322 h 4036143"/>
                  <a:gd name="connsiteX1881" fmla="*/ 1449472 w 5806384"/>
                  <a:gd name="connsiteY1881" fmla="*/ 1647738 h 4036143"/>
                  <a:gd name="connsiteX1882" fmla="*/ 2674477 w 5806384"/>
                  <a:gd name="connsiteY1882" fmla="*/ 2814679 h 4036143"/>
                  <a:gd name="connsiteX1883" fmla="*/ 2674477 w 5806384"/>
                  <a:gd name="connsiteY1883" fmla="*/ 2813263 h 4036143"/>
                  <a:gd name="connsiteX1884" fmla="*/ 2634824 w 5806384"/>
                  <a:gd name="connsiteY1884" fmla="*/ 2942136 h 4036143"/>
                  <a:gd name="connsiteX1885" fmla="*/ 2454968 w 5806384"/>
                  <a:gd name="connsiteY1885" fmla="*/ 2623494 h 4036143"/>
                  <a:gd name="connsiteX1886" fmla="*/ 2531442 w 5806384"/>
                  <a:gd name="connsiteY1886" fmla="*/ 2677309 h 4036143"/>
                  <a:gd name="connsiteX1887" fmla="*/ 2675894 w 5806384"/>
                  <a:gd name="connsiteY1887" fmla="*/ 2810431 h 4036143"/>
                  <a:gd name="connsiteX1888" fmla="*/ 2675894 w 5806384"/>
                  <a:gd name="connsiteY1888" fmla="*/ 2810431 h 4036143"/>
                  <a:gd name="connsiteX1889" fmla="*/ 2677310 w 5806384"/>
                  <a:gd name="connsiteY1889" fmla="*/ 2809015 h 4036143"/>
                  <a:gd name="connsiteX1890" fmla="*/ 2636240 w 5806384"/>
                  <a:gd name="connsiteY1890" fmla="*/ 2750951 h 4036143"/>
                  <a:gd name="connsiteX1891" fmla="*/ 2834507 w 5806384"/>
                  <a:gd name="connsiteY1891" fmla="*/ 2891154 h 4036143"/>
                  <a:gd name="connsiteX1892" fmla="*/ 2668813 w 5806384"/>
                  <a:gd name="connsiteY1892" fmla="*/ 2974709 h 4036143"/>
                  <a:gd name="connsiteX1893" fmla="*/ 2674477 w 5806384"/>
                  <a:gd name="connsiteY1893" fmla="*/ 2814679 h 4036143"/>
                  <a:gd name="connsiteX1894" fmla="*/ 2520112 w 5806384"/>
                  <a:gd name="connsiteY1894" fmla="*/ 2665979 h 4036143"/>
                  <a:gd name="connsiteX1895" fmla="*/ 2452135 w 5806384"/>
                  <a:gd name="connsiteY1895" fmla="*/ 2619245 h 4036143"/>
                  <a:gd name="connsiteX1896" fmla="*/ 2435141 w 5806384"/>
                  <a:gd name="connsiteY1896" fmla="*/ 2589505 h 4036143"/>
                  <a:gd name="connsiteX1897" fmla="*/ 2520112 w 5806384"/>
                  <a:gd name="connsiteY1897" fmla="*/ 2665979 h 4036143"/>
                  <a:gd name="connsiteX1898" fmla="*/ 2654651 w 5806384"/>
                  <a:gd name="connsiteY1898" fmla="*/ 2981790 h 4036143"/>
                  <a:gd name="connsiteX1899" fmla="*/ 2617830 w 5806384"/>
                  <a:gd name="connsiteY1899" fmla="*/ 3000200 h 4036143"/>
                  <a:gd name="connsiteX1900" fmla="*/ 2634824 w 5806384"/>
                  <a:gd name="connsiteY1900" fmla="*/ 2946385 h 4036143"/>
                  <a:gd name="connsiteX1901" fmla="*/ 2654651 w 5806384"/>
                  <a:gd name="connsiteY1901" fmla="*/ 2981790 h 4036143"/>
                  <a:gd name="connsiteX1902" fmla="*/ 2671645 w 5806384"/>
                  <a:gd name="connsiteY1902" fmla="*/ 2827425 h 4036143"/>
                  <a:gd name="connsiteX1903" fmla="*/ 2668813 w 5806384"/>
                  <a:gd name="connsiteY1903" fmla="*/ 2974709 h 4036143"/>
                  <a:gd name="connsiteX1904" fmla="*/ 2657483 w 5806384"/>
                  <a:gd name="connsiteY1904" fmla="*/ 2980374 h 4036143"/>
                  <a:gd name="connsiteX1905" fmla="*/ 2636240 w 5806384"/>
                  <a:gd name="connsiteY1905" fmla="*/ 2943553 h 4036143"/>
                  <a:gd name="connsiteX1906" fmla="*/ 2671645 w 5806384"/>
                  <a:gd name="connsiteY1906" fmla="*/ 2827425 h 4036143"/>
                  <a:gd name="connsiteX1907" fmla="*/ 2668813 w 5806384"/>
                  <a:gd name="connsiteY1907" fmla="*/ 2977541 h 4036143"/>
                  <a:gd name="connsiteX1908" fmla="*/ 2668813 w 5806384"/>
                  <a:gd name="connsiteY1908" fmla="*/ 3001616 h 4036143"/>
                  <a:gd name="connsiteX1909" fmla="*/ 2658899 w 5806384"/>
                  <a:gd name="connsiteY1909" fmla="*/ 2983206 h 4036143"/>
                  <a:gd name="connsiteX1910" fmla="*/ 2668813 w 5806384"/>
                  <a:gd name="connsiteY1910" fmla="*/ 2977541 h 4036143"/>
                  <a:gd name="connsiteX1911" fmla="*/ 2695720 w 5806384"/>
                  <a:gd name="connsiteY1911" fmla="*/ 3054016 h 4036143"/>
                  <a:gd name="connsiteX1912" fmla="*/ 2661732 w 5806384"/>
                  <a:gd name="connsiteY1912" fmla="*/ 3381156 h 4036143"/>
                  <a:gd name="connsiteX1913" fmla="*/ 2670229 w 5806384"/>
                  <a:gd name="connsiteY1913" fmla="*/ 3008697 h 4036143"/>
                  <a:gd name="connsiteX1914" fmla="*/ 2695720 w 5806384"/>
                  <a:gd name="connsiteY1914" fmla="*/ 3054016 h 4036143"/>
                  <a:gd name="connsiteX1915" fmla="*/ 2861415 w 5806384"/>
                  <a:gd name="connsiteY1915" fmla="*/ 2746702 h 4036143"/>
                  <a:gd name="connsiteX1916" fmla="*/ 2797686 w 5806384"/>
                  <a:gd name="connsiteY1916" fmla="*/ 2728292 h 4036143"/>
                  <a:gd name="connsiteX1917" fmla="*/ 2783524 w 5806384"/>
                  <a:gd name="connsiteY1917" fmla="*/ 2685806 h 4036143"/>
                  <a:gd name="connsiteX1918" fmla="*/ 2861415 w 5806384"/>
                  <a:gd name="connsiteY1918" fmla="*/ 2746702 h 4036143"/>
                  <a:gd name="connsiteX1919" fmla="*/ 2865663 w 5806384"/>
                  <a:gd name="connsiteY1919" fmla="*/ 2750951 h 4036143"/>
                  <a:gd name="connsiteX1920" fmla="*/ 2920895 w 5806384"/>
                  <a:gd name="connsiteY1920" fmla="*/ 2793436 h 4036143"/>
                  <a:gd name="connsiteX1921" fmla="*/ 2847253 w 5806384"/>
                  <a:gd name="connsiteY1921" fmla="*/ 2874159 h 4036143"/>
                  <a:gd name="connsiteX1922" fmla="*/ 2797686 w 5806384"/>
                  <a:gd name="connsiteY1922" fmla="*/ 2732540 h 4036143"/>
                  <a:gd name="connsiteX1923" fmla="*/ 2865663 w 5806384"/>
                  <a:gd name="connsiteY1923" fmla="*/ 2750951 h 4036143"/>
                  <a:gd name="connsiteX1924" fmla="*/ 2871328 w 5806384"/>
                  <a:gd name="connsiteY1924" fmla="*/ 2752367 h 4036143"/>
                  <a:gd name="connsiteX1925" fmla="*/ 2940721 w 5806384"/>
                  <a:gd name="connsiteY1925" fmla="*/ 2772194 h 4036143"/>
                  <a:gd name="connsiteX1926" fmla="*/ 2922311 w 5806384"/>
                  <a:gd name="connsiteY1926" fmla="*/ 2792020 h 4036143"/>
                  <a:gd name="connsiteX1927" fmla="*/ 2871328 w 5806384"/>
                  <a:gd name="connsiteY1927" fmla="*/ 2752367 h 4036143"/>
                  <a:gd name="connsiteX1928" fmla="*/ 3208382 w 5806384"/>
                  <a:gd name="connsiteY1928" fmla="*/ 3001616 h 4036143"/>
                  <a:gd name="connsiteX1929" fmla="*/ 3214047 w 5806384"/>
                  <a:gd name="connsiteY1929" fmla="*/ 3015778 h 4036143"/>
                  <a:gd name="connsiteX1930" fmla="*/ 3198468 w 5806384"/>
                  <a:gd name="connsiteY1930" fmla="*/ 3007281 h 4036143"/>
                  <a:gd name="connsiteX1931" fmla="*/ 3208382 w 5806384"/>
                  <a:gd name="connsiteY1931" fmla="*/ 3001616 h 4036143"/>
                  <a:gd name="connsiteX1932" fmla="*/ 4617492 w 5806384"/>
                  <a:gd name="connsiteY1932" fmla="*/ 955221 h 4036143"/>
                  <a:gd name="connsiteX1933" fmla="*/ 4545267 w 5806384"/>
                  <a:gd name="connsiteY1933" fmla="*/ 979296 h 4036143"/>
                  <a:gd name="connsiteX1934" fmla="*/ 4582087 w 5806384"/>
                  <a:gd name="connsiteY1934" fmla="*/ 919816 h 4036143"/>
                  <a:gd name="connsiteX1935" fmla="*/ 4617492 w 5806384"/>
                  <a:gd name="connsiteY1935" fmla="*/ 955221 h 4036143"/>
                  <a:gd name="connsiteX1936" fmla="*/ 4781770 w 5806384"/>
                  <a:gd name="connsiteY1936" fmla="*/ 902822 h 4036143"/>
                  <a:gd name="connsiteX1937" fmla="*/ 4618908 w 5806384"/>
                  <a:gd name="connsiteY1937" fmla="*/ 955221 h 4036143"/>
                  <a:gd name="connsiteX1938" fmla="*/ 4582087 w 5806384"/>
                  <a:gd name="connsiteY1938" fmla="*/ 918400 h 4036143"/>
                  <a:gd name="connsiteX1939" fmla="*/ 4589168 w 5806384"/>
                  <a:gd name="connsiteY1939" fmla="*/ 908486 h 4036143"/>
                  <a:gd name="connsiteX1940" fmla="*/ 4781770 w 5806384"/>
                  <a:gd name="connsiteY1940" fmla="*/ 902822 h 4036143"/>
                  <a:gd name="connsiteX1941" fmla="*/ 5083419 w 5806384"/>
                  <a:gd name="connsiteY1941" fmla="*/ 871665 h 4036143"/>
                  <a:gd name="connsiteX1942" fmla="*/ 5115992 w 5806384"/>
                  <a:gd name="connsiteY1942" fmla="*/ 868833 h 4036143"/>
                  <a:gd name="connsiteX1943" fmla="*/ 5098997 w 5806384"/>
                  <a:gd name="connsiteY1943" fmla="*/ 880163 h 4036143"/>
                  <a:gd name="connsiteX1944" fmla="*/ 5083419 w 5806384"/>
                  <a:gd name="connsiteY1944" fmla="*/ 871665 h 4036143"/>
                  <a:gd name="connsiteX1945" fmla="*/ 5080587 w 5806384"/>
                  <a:gd name="connsiteY1945" fmla="*/ 870249 h 4036143"/>
                  <a:gd name="connsiteX1946" fmla="*/ 4951713 w 5806384"/>
                  <a:gd name="connsiteY1946" fmla="*/ 796607 h 4036143"/>
                  <a:gd name="connsiteX1947" fmla="*/ 5182553 w 5806384"/>
                  <a:gd name="connsiteY1947" fmla="*/ 822099 h 4036143"/>
                  <a:gd name="connsiteX1948" fmla="*/ 5118824 w 5806384"/>
                  <a:gd name="connsiteY1948" fmla="*/ 866001 h 4036143"/>
                  <a:gd name="connsiteX1949" fmla="*/ 5080587 w 5806384"/>
                  <a:gd name="connsiteY1949" fmla="*/ 870249 h 4036143"/>
                  <a:gd name="connsiteX1950" fmla="*/ 5057927 w 5806384"/>
                  <a:gd name="connsiteY1950" fmla="*/ 874498 h 4036143"/>
                  <a:gd name="connsiteX1951" fmla="*/ 5080587 w 5806384"/>
                  <a:gd name="connsiteY1951" fmla="*/ 871665 h 4036143"/>
                  <a:gd name="connsiteX1952" fmla="*/ 5097581 w 5806384"/>
                  <a:gd name="connsiteY1952" fmla="*/ 881579 h 4036143"/>
                  <a:gd name="connsiteX1953" fmla="*/ 5086251 w 5806384"/>
                  <a:gd name="connsiteY1953" fmla="*/ 890076 h 4036143"/>
                  <a:gd name="connsiteX1954" fmla="*/ 5057927 w 5806384"/>
                  <a:gd name="connsiteY1954" fmla="*/ 874498 h 4036143"/>
                  <a:gd name="connsiteX1955" fmla="*/ 5053679 w 5806384"/>
                  <a:gd name="connsiteY1955" fmla="*/ 873082 h 4036143"/>
                  <a:gd name="connsiteX1956" fmla="*/ 4910644 w 5806384"/>
                  <a:gd name="connsiteY1956" fmla="*/ 792359 h 4036143"/>
                  <a:gd name="connsiteX1957" fmla="*/ 4946049 w 5806384"/>
                  <a:gd name="connsiteY1957" fmla="*/ 796607 h 4036143"/>
                  <a:gd name="connsiteX1958" fmla="*/ 5076338 w 5806384"/>
                  <a:gd name="connsiteY1958" fmla="*/ 870249 h 4036143"/>
                  <a:gd name="connsiteX1959" fmla="*/ 5053679 w 5806384"/>
                  <a:gd name="connsiteY1959" fmla="*/ 873082 h 4036143"/>
                  <a:gd name="connsiteX1960" fmla="*/ 4941800 w 5806384"/>
                  <a:gd name="connsiteY1960" fmla="*/ 793775 h 4036143"/>
                  <a:gd name="connsiteX1961" fmla="*/ 4902146 w 5806384"/>
                  <a:gd name="connsiteY1961" fmla="*/ 789526 h 4036143"/>
                  <a:gd name="connsiteX1962" fmla="*/ 4900730 w 5806384"/>
                  <a:gd name="connsiteY1962" fmla="*/ 789526 h 4036143"/>
                  <a:gd name="connsiteX1963" fmla="*/ 5050846 w 5806384"/>
                  <a:gd name="connsiteY1963" fmla="*/ 873082 h 4036143"/>
                  <a:gd name="connsiteX1964" fmla="*/ 4801597 w 5806384"/>
                  <a:gd name="connsiteY1964" fmla="*/ 899989 h 4036143"/>
                  <a:gd name="connsiteX1965" fmla="*/ 4791683 w 5806384"/>
                  <a:gd name="connsiteY1965" fmla="*/ 899989 h 4036143"/>
                  <a:gd name="connsiteX1966" fmla="*/ 4654313 w 5806384"/>
                  <a:gd name="connsiteY1966" fmla="*/ 800856 h 4036143"/>
                  <a:gd name="connsiteX1967" fmla="*/ 4732203 w 5806384"/>
                  <a:gd name="connsiteY1967" fmla="*/ 674815 h 4036143"/>
                  <a:gd name="connsiteX1968" fmla="*/ 4941800 w 5806384"/>
                  <a:gd name="connsiteY1968" fmla="*/ 793775 h 4036143"/>
                  <a:gd name="connsiteX1969" fmla="*/ 4790268 w 5806384"/>
                  <a:gd name="connsiteY1969" fmla="*/ 902822 h 4036143"/>
                  <a:gd name="connsiteX1970" fmla="*/ 4803013 w 5806384"/>
                  <a:gd name="connsiteY1970" fmla="*/ 902822 h 4036143"/>
                  <a:gd name="connsiteX1971" fmla="*/ 5055096 w 5806384"/>
                  <a:gd name="connsiteY1971" fmla="*/ 875914 h 4036143"/>
                  <a:gd name="connsiteX1972" fmla="*/ 5083419 w 5806384"/>
                  <a:gd name="connsiteY1972" fmla="*/ 891492 h 4036143"/>
                  <a:gd name="connsiteX1973" fmla="*/ 4773273 w 5806384"/>
                  <a:gd name="connsiteY1973" fmla="*/ 1106753 h 4036143"/>
                  <a:gd name="connsiteX1974" fmla="*/ 4621740 w 5806384"/>
                  <a:gd name="connsiteY1974" fmla="*/ 956637 h 4036143"/>
                  <a:gd name="connsiteX1975" fmla="*/ 4790268 w 5806384"/>
                  <a:gd name="connsiteY1975" fmla="*/ 902822 h 4036143"/>
                  <a:gd name="connsiteX1976" fmla="*/ 5086251 w 5806384"/>
                  <a:gd name="connsiteY1976" fmla="*/ 891492 h 4036143"/>
                  <a:gd name="connsiteX1977" fmla="*/ 5097581 w 5806384"/>
                  <a:gd name="connsiteY1977" fmla="*/ 882995 h 4036143"/>
                  <a:gd name="connsiteX1978" fmla="*/ 5268940 w 5806384"/>
                  <a:gd name="connsiteY1978" fmla="*/ 980712 h 4036143"/>
                  <a:gd name="connsiteX1979" fmla="*/ 5263275 w 5806384"/>
                  <a:gd name="connsiteY1979" fmla="*/ 989209 h 4036143"/>
                  <a:gd name="connsiteX1980" fmla="*/ 5086251 w 5806384"/>
                  <a:gd name="connsiteY1980" fmla="*/ 891492 h 4036143"/>
                  <a:gd name="connsiteX1981" fmla="*/ 5365241 w 5806384"/>
                  <a:gd name="connsiteY1981" fmla="*/ 841925 h 4036143"/>
                  <a:gd name="connsiteX1982" fmla="*/ 5271773 w 5806384"/>
                  <a:gd name="connsiteY1982" fmla="*/ 979296 h 4036143"/>
                  <a:gd name="connsiteX1983" fmla="*/ 5100413 w 5806384"/>
                  <a:gd name="connsiteY1983" fmla="*/ 881579 h 4036143"/>
                  <a:gd name="connsiteX1984" fmla="*/ 5120240 w 5806384"/>
                  <a:gd name="connsiteY1984" fmla="*/ 867417 h 4036143"/>
                  <a:gd name="connsiteX1985" fmla="*/ 5365241 w 5806384"/>
                  <a:gd name="connsiteY1985" fmla="*/ 841925 h 4036143"/>
                  <a:gd name="connsiteX1986" fmla="*/ 1812017 w 5806384"/>
                  <a:gd name="connsiteY1986" fmla="*/ 1051522 h 4036143"/>
                  <a:gd name="connsiteX1987" fmla="*/ 1752537 w 5806384"/>
                  <a:gd name="connsiteY1987" fmla="*/ 1081262 h 4036143"/>
                  <a:gd name="connsiteX1988" fmla="*/ 1766699 w 5806384"/>
                  <a:gd name="connsiteY1988" fmla="*/ 996290 h 4036143"/>
                  <a:gd name="connsiteX1989" fmla="*/ 1812017 w 5806384"/>
                  <a:gd name="connsiteY1989" fmla="*/ 1051522 h 4036143"/>
                  <a:gd name="connsiteX1990" fmla="*/ 1108170 w 5806384"/>
                  <a:gd name="connsiteY1990" fmla="*/ 946724 h 4036143"/>
                  <a:gd name="connsiteX1991" fmla="*/ 1103921 w 5806384"/>
                  <a:gd name="connsiteY1991" fmla="*/ 959469 h 4036143"/>
                  <a:gd name="connsiteX1992" fmla="*/ 1092592 w 5806384"/>
                  <a:gd name="connsiteY1992" fmla="*/ 938226 h 4036143"/>
                  <a:gd name="connsiteX1993" fmla="*/ 1108170 w 5806384"/>
                  <a:gd name="connsiteY1993" fmla="*/ 946724 h 4036143"/>
                  <a:gd name="connsiteX1994" fmla="*/ 1421148 w 5806384"/>
                  <a:gd name="connsiteY1994" fmla="*/ 1898404 h 4036143"/>
                  <a:gd name="connsiteX1995" fmla="*/ 1559935 w 5806384"/>
                  <a:gd name="connsiteY1995" fmla="*/ 1857334 h 4036143"/>
                  <a:gd name="connsiteX1996" fmla="*/ 1601004 w 5806384"/>
                  <a:gd name="connsiteY1996" fmla="*/ 1935225 h 4036143"/>
                  <a:gd name="connsiteX1997" fmla="*/ 1421148 w 5806384"/>
                  <a:gd name="connsiteY1997" fmla="*/ 1898404 h 4036143"/>
                  <a:gd name="connsiteX1998" fmla="*/ 1742623 w 5806384"/>
                  <a:gd name="connsiteY1998" fmla="*/ 1800687 h 4036143"/>
                  <a:gd name="connsiteX1999" fmla="*/ 1561351 w 5806384"/>
                  <a:gd name="connsiteY1999" fmla="*/ 1854502 h 4036143"/>
                  <a:gd name="connsiteX2000" fmla="*/ 1459385 w 5806384"/>
                  <a:gd name="connsiteY2000" fmla="*/ 1663316 h 4036143"/>
                  <a:gd name="connsiteX2001" fmla="*/ 1742623 w 5806384"/>
                  <a:gd name="connsiteY2001" fmla="*/ 1800687 h 4036143"/>
                  <a:gd name="connsiteX2002" fmla="*/ 2194388 w 5806384"/>
                  <a:gd name="connsiteY2002" fmla="*/ 2439389 h 4036143"/>
                  <a:gd name="connsiteX2003" fmla="*/ 2195805 w 5806384"/>
                  <a:gd name="connsiteY2003" fmla="*/ 2439389 h 4036143"/>
                  <a:gd name="connsiteX2004" fmla="*/ 2395488 w 5806384"/>
                  <a:gd name="connsiteY2004" fmla="*/ 2579592 h 4036143"/>
                  <a:gd name="connsiteX2005" fmla="*/ 2347337 w 5806384"/>
                  <a:gd name="connsiteY2005" fmla="*/ 2797685 h 4036143"/>
                  <a:gd name="connsiteX2006" fmla="*/ 2194388 w 5806384"/>
                  <a:gd name="connsiteY2006" fmla="*/ 2439389 h 4036143"/>
                  <a:gd name="connsiteX2007" fmla="*/ 2192972 w 5806384"/>
                  <a:gd name="connsiteY2007" fmla="*/ 2437973 h 4036143"/>
                  <a:gd name="connsiteX2008" fmla="*/ 2192972 w 5806384"/>
                  <a:gd name="connsiteY2008" fmla="*/ 2437973 h 4036143"/>
                  <a:gd name="connsiteX2009" fmla="*/ 2192972 w 5806384"/>
                  <a:gd name="connsiteY2009" fmla="*/ 2437973 h 4036143"/>
                  <a:gd name="connsiteX2010" fmla="*/ 2192972 w 5806384"/>
                  <a:gd name="connsiteY2010" fmla="*/ 2437973 h 4036143"/>
                  <a:gd name="connsiteX2011" fmla="*/ 4089253 w 5806384"/>
                  <a:gd name="connsiteY2011" fmla="*/ 1708634 h 4036143"/>
                  <a:gd name="connsiteX2012" fmla="*/ 3939136 w 5806384"/>
                  <a:gd name="connsiteY2012" fmla="*/ 1749704 h 4036143"/>
                  <a:gd name="connsiteX2013" fmla="*/ 3971709 w 5806384"/>
                  <a:gd name="connsiteY2013" fmla="*/ 1647738 h 4036143"/>
                  <a:gd name="connsiteX2014" fmla="*/ 4089253 w 5806384"/>
                  <a:gd name="connsiteY2014" fmla="*/ 1708634 h 4036143"/>
                  <a:gd name="connsiteX2015" fmla="*/ 5284518 w 5806384"/>
                  <a:gd name="connsiteY2015" fmla="*/ 1140742 h 4036143"/>
                  <a:gd name="connsiteX2016" fmla="*/ 5356744 w 5806384"/>
                  <a:gd name="connsiteY2016" fmla="*/ 1031695 h 4036143"/>
                  <a:gd name="connsiteX2017" fmla="*/ 5400646 w 5806384"/>
                  <a:gd name="connsiteY2017" fmla="*/ 1057186 h 4036143"/>
                  <a:gd name="connsiteX2018" fmla="*/ 5284518 w 5806384"/>
                  <a:gd name="connsiteY2018" fmla="*/ 1140742 h 4036143"/>
                  <a:gd name="connsiteX2019" fmla="*/ 2801934 w 5806384"/>
                  <a:gd name="connsiteY2019" fmla="*/ 629497 h 4036143"/>
                  <a:gd name="connsiteX2020" fmla="*/ 2818929 w 5806384"/>
                  <a:gd name="connsiteY2020" fmla="*/ 653572 h 4036143"/>
                  <a:gd name="connsiteX2021" fmla="*/ 2541355 w 5806384"/>
                  <a:gd name="connsiteY2021" fmla="*/ 829180 h 4036143"/>
                  <a:gd name="connsiteX2022" fmla="*/ 2801934 w 5806384"/>
                  <a:gd name="connsiteY2022" fmla="*/ 629497 h 4036143"/>
                  <a:gd name="connsiteX2023" fmla="*/ 2532858 w 5806384"/>
                  <a:gd name="connsiteY2023" fmla="*/ 908486 h 4036143"/>
                  <a:gd name="connsiteX2024" fmla="*/ 1926728 w 5806384"/>
                  <a:gd name="connsiteY2024" fmla="*/ 796607 h 4036143"/>
                  <a:gd name="connsiteX2025" fmla="*/ 2129244 w 5806384"/>
                  <a:gd name="connsiteY2025" fmla="*/ 693225 h 4036143"/>
                  <a:gd name="connsiteX2026" fmla="*/ 2532858 w 5806384"/>
                  <a:gd name="connsiteY2026" fmla="*/ 908486 h 4036143"/>
                  <a:gd name="connsiteX2027" fmla="*/ 1710051 w 5806384"/>
                  <a:gd name="connsiteY2027" fmla="*/ 897157 h 4036143"/>
                  <a:gd name="connsiteX2028" fmla="*/ 1753953 w 5806384"/>
                  <a:gd name="connsiteY2028" fmla="*/ 800856 h 4036143"/>
                  <a:gd name="connsiteX2029" fmla="*/ 1763866 w 5806384"/>
                  <a:gd name="connsiteY2029" fmla="*/ 973631 h 4036143"/>
                  <a:gd name="connsiteX2030" fmla="*/ 1710051 w 5806384"/>
                  <a:gd name="connsiteY2030" fmla="*/ 897157 h 4036143"/>
                  <a:gd name="connsiteX2031" fmla="*/ 579930 w 5806384"/>
                  <a:gd name="connsiteY2031" fmla="*/ 1177563 h 4036143"/>
                  <a:gd name="connsiteX2032" fmla="*/ 570017 w 5806384"/>
                  <a:gd name="connsiteY2032" fmla="*/ 1207303 h 4036143"/>
                  <a:gd name="connsiteX2033" fmla="*/ 568601 w 5806384"/>
                  <a:gd name="connsiteY2033" fmla="*/ 1208719 h 4036143"/>
                  <a:gd name="connsiteX2034" fmla="*/ 554439 w 5806384"/>
                  <a:gd name="connsiteY2034" fmla="*/ 1197389 h 4036143"/>
                  <a:gd name="connsiteX2035" fmla="*/ 579930 w 5806384"/>
                  <a:gd name="connsiteY2035" fmla="*/ 1177563 h 4036143"/>
                  <a:gd name="connsiteX2036" fmla="*/ 759787 w 5806384"/>
                  <a:gd name="connsiteY2036" fmla="*/ 871665 h 4036143"/>
                  <a:gd name="connsiteX2037" fmla="*/ 748457 w 5806384"/>
                  <a:gd name="connsiteY2037" fmla="*/ 882995 h 4036143"/>
                  <a:gd name="connsiteX2038" fmla="*/ 747041 w 5806384"/>
                  <a:gd name="connsiteY2038" fmla="*/ 861752 h 4036143"/>
                  <a:gd name="connsiteX2039" fmla="*/ 759787 w 5806384"/>
                  <a:gd name="connsiteY2039" fmla="*/ 871665 h 4036143"/>
                  <a:gd name="connsiteX2040" fmla="*/ 762619 w 5806384"/>
                  <a:gd name="connsiteY2040" fmla="*/ 871665 h 4036143"/>
                  <a:gd name="connsiteX2041" fmla="*/ 948140 w 5806384"/>
                  <a:gd name="connsiteY2041" fmla="*/ 687561 h 4036143"/>
                  <a:gd name="connsiteX2042" fmla="*/ 983545 w 5806384"/>
                  <a:gd name="connsiteY2042" fmla="*/ 749873 h 4036143"/>
                  <a:gd name="connsiteX2043" fmla="*/ 822099 w 5806384"/>
                  <a:gd name="connsiteY2043" fmla="*/ 919816 h 4036143"/>
                  <a:gd name="connsiteX2044" fmla="*/ 762619 w 5806384"/>
                  <a:gd name="connsiteY2044" fmla="*/ 871665 h 4036143"/>
                  <a:gd name="connsiteX2045" fmla="*/ 820683 w 5806384"/>
                  <a:gd name="connsiteY2045" fmla="*/ 921232 h 4036143"/>
                  <a:gd name="connsiteX2046" fmla="*/ 762619 w 5806384"/>
                  <a:gd name="connsiteY2046" fmla="*/ 982128 h 4036143"/>
                  <a:gd name="connsiteX2047" fmla="*/ 756954 w 5806384"/>
                  <a:gd name="connsiteY2047" fmla="*/ 986377 h 4036143"/>
                  <a:gd name="connsiteX2048" fmla="*/ 749873 w 5806384"/>
                  <a:gd name="connsiteY2048" fmla="*/ 884411 h 4036143"/>
                  <a:gd name="connsiteX2049" fmla="*/ 762619 w 5806384"/>
                  <a:gd name="connsiteY2049" fmla="*/ 871665 h 4036143"/>
                  <a:gd name="connsiteX2050" fmla="*/ 820683 w 5806384"/>
                  <a:gd name="connsiteY2050" fmla="*/ 921232 h 4036143"/>
                  <a:gd name="connsiteX2051" fmla="*/ 756954 w 5806384"/>
                  <a:gd name="connsiteY2051" fmla="*/ 989209 h 4036143"/>
                  <a:gd name="connsiteX2052" fmla="*/ 764035 w 5806384"/>
                  <a:gd name="connsiteY2052" fmla="*/ 984961 h 4036143"/>
                  <a:gd name="connsiteX2053" fmla="*/ 822099 w 5806384"/>
                  <a:gd name="connsiteY2053" fmla="*/ 924064 h 4036143"/>
                  <a:gd name="connsiteX2054" fmla="*/ 871666 w 5806384"/>
                  <a:gd name="connsiteY2054" fmla="*/ 965134 h 4036143"/>
                  <a:gd name="connsiteX2055" fmla="*/ 761203 w 5806384"/>
                  <a:gd name="connsiteY2055" fmla="*/ 1045857 h 4036143"/>
                  <a:gd name="connsiteX2056" fmla="*/ 756954 w 5806384"/>
                  <a:gd name="connsiteY2056" fmla="*/ 989209 h 4036143"/>
                  <a:gd name="connsiteX2057" fmla="*/ 584179 w 5806384"/>
                  <a:gd name="connsiteY2057" fmla="*/ 1171898 h 4036143"/>
                  <a:gd name="connsiteX2058" fmla="*/ 602589 w 5806384"/>
                  <a:gd name="connsiteY2058" fmla="*/ 1120915 h 4036143"/>
                  <a:gd name="connsiteX2059" fmla="*/ 616751 w 5806384"/>
                  <a:gd name="connsiteY2059" fmla="*/ 1118083 h 4036143"/>
                  <a:gd name="connsiteX2060" fmla="*/ 592676 w 5806384"/>
                  <a:gd name="connsiteY2060" fmla="*/ 1166233 h 4036143"/>
                  <a:gd name="connsiteX2061" fmla="*/ 584179 w 5806384"/>
                  <a:gd name="connsiteY2061" fmla="*/ 1171898 h 4036143"/>
                  <a:gd name="connsiteX2062" fmla="*/ 591260 w 5806384"/>
                  <a:gd name="connsiteY2062" fmla="*/ 1169066 h 4036143"/>
                  <a:gd name="connsiteX2063" fmla="*/ 572849 w 5806384"/>
                  <a:gd name="connsiteY2063" fmla="*/ 1204470 h 4036143"/>
                  <a:gd name="connsiteX2064" fmla="*/ 571433 w 5806384"/>
                  <a:gd name="connsiteY2064" fmla="*/ 1204470 h 4036143"/>
                  <a:gd name="connsiteX2065" fmla="*/ 582763 w 5806384"/>
                  <a:gd name="connsiteY2065" fmla="*/ 1174730 h 4036143"/>
                  <a:gd name="connsiteX2066" fmla="*/ 591260 w 5806384"/>
                  <a:gd name="connsiteY2066" fmla="*/ 1169066 h 4036143"/>
                  <a:gd name="connsiteX2067" fmla="*/ 490710 w 5806384"/>
                  <a:gd name="connsiteY2067" fmla="*/ 1139326 h 4036143"/>
                  <a:gd name="connsiteX2068" fmla="*/ 490710 w 5806384"/>
                  <a:gd name="connsiteY2068" fmla="*/ 1139326 h 4036143"/>
                  <a:gd name="connsiteX2069" fmla="*/ 599757 w 5806384"/>
                  <a:gd name="connsiteY2069" fmla="*/ 1120915 h 4036143"/>
                  <a:gd name="connsiteX2070" fmla="*/ 579930 w 5806384"/>
                  <a:gd name="connsiteY2070" fmla="*/ 1174730 h 4036143"/>
                  <a:gd name="connsiteX2071" fmla="*/ 550190 w 5806384"/>
                  <a:gd name="connsiteY2071" fmla="*/ 1195973 h 4036143"/>
                  <a:gd name="connsiteX2072" fmla="*/ 435479 w 5806384"/>
                  <a:gd name="connsiteY2072" fmla="*/ 1103921 h 4036143"/>
                  <a:gd name="connsiteX2073" fmla="*/ 608254 w 5806384"/>
                  <a:gd name="connsiteY2073" fmla="*/ 1021782 h 4036143"/>
                  <a:gd name="connsiteX2074" fmla="*/ 490710 w 5806384"/>
                  <a:gd name="connsiteY2074" fmla="*/ 1139326 h 4036143"/>
                  <a:gd name="connsiteX2075" fmla="*/ 684728 w 5806384"/>
                  <a:gd name="connsiteY2075" fmla="*/ 984961 h 4036143"/>
                  <a:gd name="connsiteX2076" fmla="*/ 647908 w 5806384"/>
                  <a:gd name="connsiteY2076" fmla="*/ 1058603 h 4036143"/>
                  <a:gd name="connsiteX2077" fmla="*/ 615335 w 5806384"/>
                  <a:gd name="connsiteY2077" fmla="*/ 1079845 h 4036143"/>
                  <a:gd name="connsiteX2078" fmla="*/ 615335 w 5806384"/>
                  <a:gd name="connsiteY2078" fmla="*/ 1079845 h 4036143"/>
                  <a:gd name="connsiteX2079" fmla="*/ 601173 w 5806384"/>
                  <a:gd name="connsiteY2079" fmla="*/ 1118083 h 4036143"/>
                  <a:gd name="connsiteX2080" fmla="*/ 496375 w 5806384"/>
                  <a:gd name="connsiteY2080" fmla="*/ 1136493 h 4036143"/>
                  <a:gd name="connsiteX2081" fmla="*/ 615335 w 5806384"/>
                  <a:gd name="connsiteY2081" fmla="*/ 1017533 h 4036143"/>
                  <a:gd name="connsiteX2082" fmla="*/ 684728 w 5806384"/>
                  <a:gd name="connsiteY2082" fmla="*/ 984961 h 4036143"/>
                  <a:gd name="connsiteX2083" fmla="*/ 645075 w 5806384"/>
                  <a:gd name="connsiteY2083" fmla="*/ 1062851 h 4036143"/>
                  <a:gd name="connsiteX2084" fmla="*/ 618167 w 5806384"/>
                  <a:gd name="connsiteY2084" fmla="*/ 1115250 h 4036143"/>
                  <a:gd name="connsiteX2085" fmla="*/ 602589 w 5806384"/>
                  <a:gd name="connsiteY2085" fmla="*/ 1118083 h 4036143"/>
                  <a:gd name="connsiteX2086" fmla="*/ 615335 w 5806384"/>
                  <a:gd name="connsiteY2086" fmla="*/ 1081262 h 4036143"/>
                  <a:gd name="connsiteX2087" fmla="*/ 645075 w 5806384"/>
                  <a:gd name="connsiteY2087" fmla="*/ 1062851 h 4036143"/>
                  <a:gd name="connsiteX2088" fmla="*/ 650740 w 5806384"/>
                  <a:gd name="connsiteY2088" fmla="*/ 1057186 h 4036143"/>
                  <a:gd name="connsiteX2089" fmla="*/ 688977 w 5806384"/>
                  <a:gd name="connsiteY2089" fmla="*/ 982128 h 4036143"/>
                  <a:gd name="connsiteX2090" fmla="*/ 688977 w 5806384"/>
                  <a:gd name="connsiteY2090" fmla="*/ 982128 h 4036143"/>
                  <a:gd name="connsiteX2091" fmla="*/ 619584 w 5806384"/>
                  <a:gd name="connsiteY2091" fmla="*/ 1014701 h 4036143"/>
                  <a:gd name="connsiteX2092" fmla="*/ 747041 w 5806384"/>
                  <a:gd name="connsiteY2092" fmla="*/ 887244 h 4036143"/>
                  <a:gd name="connsiteX2093" fmla="*/ 754122 w 5806384"/>
                  <a:gd name="connsiteY2093" fmla="*/ 987793 h 4036143"/>
                  <a:gd name="connsiteX2094" fmla="*/ 650740 w 5806384"/>
                  <a:gd name="connsiteY2094" fmla="*/ 1057186 h 4036143"/>
                  <a:gd name="connsiteX2095" fmla="*/ 647908 w 5806384"/>
                  <a:gd name="connsiteY2095" fmla="*/ 1060019 h 4036143"/>
                  <a:gd name="connsiteX2096" fmla="*/ 754122 w 5806384"/>
                  <a:gd name="connsiteY2096" fmla="*/ 989209 h 4036143"/>
                  <a:gd name="connsiteX2097" fmla="*/ 758370 w 5806384"/>
                  <a:gd name="connsiteY2097" fmla="*/ 1044441 h 4036143"/>
                  <a:gd name="connsiteX2098" fmla="*/ 676231 w 5806384"/>
                  <a:gd name="connsiteY2098" fmla="*/ 1103921 h 4036143"/>
                  <a:gd name="connsiteX2099" fmla="*/ 621000 w 5806384"/>
                  <a:gd name="connsiteY2099" fmla="*/ 1113834 h 4036143"/>
                  <a:gd name="connsiteX2100" fmla="*/ 647908 w 5806384"/>
                  <a:gd name="connsiteY2100" fmla="*/ 1060019 h 4036143"/>
                  <a:gd name="connsiteX2101" fmla="*/ 551606 w 5806384"/>
                  <a:gd name="connsiteY2101" fmla="*/ 1197389 h 4036143"/>
                  <a:gd name="connsiteX2102" fmla="*/ 565768 w 5806384"/>
                  <a:gd name="connsiteY2102" fmla="*/ 1208719 h 4036143"/>
                  <a:gd name="connsiteX2103" fmla="*/ 459554 w 5806384"/>
                  <a:gd name="connsiteY2103" fmla="*/ 1265367 h 4036143"/>
                  <a:gd name="connsiteX2104" fmla="*/ 551606 w 5806384"/>
                  <a:gd name="connsiteY2104" fmla="*/ 1197389 h 4036143"/>
                  <a:gd name="connsiteX2105" fmla="*/ 571433 w 5806384"/>
                  <a:gd name="connsiteY2105" fmla="*/ 1211551 h 4036143"/>
                  <a:gd name="connsiteX2106" fmla="*/ 574265 w 5806384"/>
                  <a:gd name="connsiteY2106" fmla="*/ 1205887 h 4036143"/>
                  <a:gd name="connsiteX2107" fmla="*/ 670566 w 5806384"/>
                  <a:gd name="connsiteY2107" fmla="*/ 1154904 h 4036143"/>
                  <a:gd name="connsiteX2108" fmla="*/ 681896 w 5806384"/>
                  <a:gd name="connsiteY2108" fmla="*/ 1300771 h 4036143"/>
                  <a:gd name="connsiteX2109" fmla="*/ 571433 w 5806384"/>
                  <a:gd name="connsiteY2109" fmla="*/ 1211551 h 4036143"/>
                  <a:gd name="connsiteX2110" fmla="*/ 671983 w 5806384"/>
                  <a:gd name="connsiteY2110" fmla="*/ 1108169 h 4036143"/>
                  <a:gd name="connsiteX2111" fmla="*/ 596925 w 5806384"/>
                  <a:gd name="connsiteY2111" fmla="*/ 1163401 h 4036143"/>
                  <a:gd name="connsiteX2112" fmla="*/ 619584 w 5806384"/>
                  <a:gd name="connsiteY2112" fmla="*/ 1118083 h 4036143"/>
                  <a:gd name="connsiteX2113" fmla="*/ 671983 w 5806384"/>
                  <a:gd name="connsiteY2113" fmla="*/ 1108169 h 4036143"/>
                  <a:gd name="connsiteX2114" fmla="*/ 758370 w 5806384"/>
                  <a:gd name="connsiteY2114" fmla="*/ 1047273 h 4036143"/>
                  <a:gd name="connsiteX2115" fmla="*/ 761203 w 5806384"/>
                  <a:gd name="connsiteY2115" fmla="*/ 1089759 h 4036143"/>
                  <a:gd name="connsiteX2116" fmla="*/ 680480 w 5806384"/>
                  <a:gd name="connsiteY2116" fmla="*/ 1103921 h 4036143"/>
                  <a:gd name="connsiteX2117" fmla="*/ 758370 w 5806384"/>
                  <a:gd name="connsiteY2117" fmla="*/ 1047273 h 4036143"/>
                  <a:gd name="connsiteX2118" fmla="*/ 568601 w 5806384"/>
                  <a:gd name="connsiteY2118" fmla="*/ 1208719 h 4036143"/>
                  <a:gd name="connsiteX2119" fmla="*/ 568601 w 5806384"/>
                  <a:gd name="connsiteY2119" fmla="*/ 1208719 h 4036143"/>
                  <a:gd name="connsiteX2120" fmla="*/ 568601 w 5806384"/>
                  <a:gd name="connsiteY2120" fmla="*/ 1208719 h 4036143"/>
                  <a:gd name="connsiteX2121" fmla="*/ 568601 w 5806384"/>
                  <a:gd name="connsiteY2121" fmla="*/ 1208719 h 4036143"/>
                  <a:gd name="connsiteX2122" fmla="*/ 568601 w 5806384"/>
                  <a:gd name="connsiteY2122" fmla="*/ 1211551 h 4036143"/>
                  <a:gd name="connsiteX2123" fmla="*/ 568601 w 5806384"/>
                  <a:gd name="connsiteY2123" fmla="*/ 1211551 h 4036143"/>
                  <a:gd name="connsiteX2124" fmla="*/ 567185 w 5806384"/>
                  <a:gd name="connsiteY2124" fmla="*/ 1214384 h 4036143"/>
                  <a:gd name="connsiteX2125" fmla="*/ 568601 w 5806384"/>
                  <a:gd name="connsiteY2125" fmla="*/ 1211551 h 4036143"/>
                  <a:gd name="connsiteX2126" fmla="*/ 570017 w 5806384"/>
                  <a:gd name="connsiteY2126" fmla="*/ 1208719 h 4036143"/>
                  <a:gd name="connsiteX2127" fmla="*/ 570017 w 5806384"/>
                  <a:gd name="connsiteY2127" fmla="*/ 1208719 h 4036143"/>
                  <a:gd name="connsiteX2128" fmla="*/ 570017 w 5806384"/>
                  <a:gd name="connsiteY2128" fmla="*/ 1211551 h 4036143"/>
                  <a:gd name="connsiteX2129" fmla="*/ 570017 w 5806384"/>
                  <a:gd name="connsiteY2129" fmla="*/ 1211551 h 4036143"/>
                  <a:gd name="connsiteX2130" fmla="*/ 570017 w 5806384"/>
                  <a:gd name="connsiteY2130" fmla="*/ 1208719 h 4036143"/>
                  <a:gd name="connsiteX2131" fmla="*/ 752706 w 5806384"/>
                  <a:gd name="connsiteY2131" fmla="*/ 2127827 h 4036143"/>
                  <a:gd name="connsiteX2132" fmla="*/ 728630 w 5806384"/>
                  <a:gd name="connsiteY2132" fmla="*/ 2195804 h 4036143"/>
                  <a:gd name="connsiteX2133" fmla="*/ 741376 w 5806384"/>
                  <a:gd name="connsiteY2133" fmla="*/ 2120746 h 4036143"/>
                  <a:gd name="connsiteX2134" fmla="*/ 752706 w 5806384"/>
                  <a:gd name="connsiteY2134" fmla="*/ 2127827 h 4036143"/>
                  <a:gd name="connsiteX2135" fmla="*/ 605422 w 5806384"/>
                  <a:gd name="connsiteY2135" fmla="*/ 1766698 h 4036143"/>
                  <a:gd name="connsiteX2136" fmla="*/ 486461 w 5806384"/>
                  <a:gd name="connsiteY2136" fmla="*/ 1647738 h 4036143"/>
                  <a:gd name="connsiteX2137" fmla="*/ 649323 w 5806384"/>
                  <a:gd name="connsiteY2137" fmla="*/ 1517448 h 4036143"/>
                  <a:gd name="connsiteX2138" fmla="*/ 843342 w 5806384"/>
                  <a:gd name="connsiteY2138" fmla="*/ 1809184 h 4036143"/>
                  <a:gd name="connsiteX2139" fmla="*/ 751289 w 5806384"/>
                  <a:gd name="connsiteY2139" fmla="*/ 1824762 h 4036143"/>
                  <a:gd name="connsiteX2140" fmla="*/ 625248 w 5806384"/>
                  <a:gd name="connsiteY2140" fmla="*/ 1752536 h 4036143"/>
                  <a:gd name="connsiteX2141" fmla="*/ 625248 w 5806384"/>
                  <a:gd name="connsiteY2141" fmla="*/ 1752536 h 4036143"/>
                  <a:gd name="connsiteX2142" fmla="*/ 605422 w 5806384"/>
                  <a:gd name="connsiteY2142" fmla="*/ 1766698 h 4036143"/>
                  <a:gd name="connsiteX2143" fmla="*/ 605422 w 5806384"/>
                  <a:gd name="connsiteY2143" fmla="*/ 1769530 h 4036143"/>
                  <a:gd name="connsiteX2144" fmla="*/ 674815 w 5806384"/>
                  <a:gd name="connsiteY2144" fmla="*/ 1838924 h 4036143"/>
                  <a:gd name="connsiteX2145" fmla="*/ 596925 w 5806384"/>
                  <a:gd name="connsiteY2145" fmla="*/ 1860167 h 4036143"/>
                  <a:gd name="connsiteX2146" fmla="*/ 595508 w 5806384"/>
                  <a:gd name="connsiteY2146" fmla="*/ 1851669 h 4036143"/>
                  <a:gd name="connsiteX2147" fmla="*/ 595508 w 5806384"/>
                  <a:gd name="connsiteY2147" fmla="*/ 1851669 h 4036143"/>
                  <a:gd name="connsiteX2148" fmla="*/ 456722 w 5806384"/>
                  <a:gd name="connsiteY2148" fmla="*/ 1885658 h 4036143"/>
                  <a:gd name="connsiteX2149" fmla="*/ 605422 w 5806384"/>
                  <a:gd name="connsiteY2149" fmla="*/ 1769530 h 4036143"/>
                  <a:gd name="connsiteX2150" fmla="*/ 739960 w 5806384"/>
                  <a:gd name="connsiteY2150" fmla="*/ 2117913 h 4036143"/>
                  <a:gd name="connsiteX2151" fmla="*/ 690393 w 5806384"/>
                  <a:gd name="connsiteY2151" fmla="*/ 2086757 h 4036143"/>
                  <a:gd name="connsiteX2152" fmla="*/ 619584 w 5806384"/>
                  <a:gd name="connsiteY2152" fmla="*/ 1991873 h 4036143"/>
                  <a:gd name="connsiteX2153" fmla="*/ 592676 w 5806384"/>
                  <a:gd name="connsiteY2153" fmla="*/ 1862999 h 4036143"/>
                  <a:gd name="connsiteX2154" fmla="*/ 596925 w 5806384"/>
                  <a:gd name="connsiteY2154" fmla="*/ 1861583 h 4036143"/>
                  <a:gd name="connsiteX2155" fmla="*/ 626665 w 5806384"/>
                  <a:gd name="connsiteY2155" fmla="*/ 1990456 h 4036143"/>
                  <a:gd name="connsiteX2156" fmla="*/ 626665 w 5806384"/>
                  <a:gd name="connsiteY2156" fmla="*/ 1990456 h 4036143"/>
                  <a:gd name="connsiteX2157" fmla="*/ 748457 w 5806384"/>
                  <a:gd name="connsiteY2157" fmla="*/ 2074011 h 4036143"/>
                  <a:gd name="connsiteX2158" fmla="*/ 739960 w 5806384"/>
                  <a:gd name="connsiteY2158" fmla="*/ 2117913 h 4036143"/>
                  <a:gd name="connsiteX2159" fmla="*/ 187645 w 5806384"/>
                  <a:gd name="connsiteY2159" fmla="*/ 2093838 h 4036143"/>
                  <a:gd name="connsiteX2160" fmla="*/ 230131 w 5806384"/>
                  <a:gd name="connsiteY2160" fmla="*/ 1996121 h 4036143"/>
                  <a:gd name="connsiteX2161" fmla="*/ 317935 w 5806384"/>
                  <a:gd name="connsiteY2161" fmla="*/ 1984792 h 4036143"/>
                  <a:gd name="connsiteX2162" fmla="*/ 302357 w 5806384"/>
                  <a:gd name="connsiteY2162" fmla="*/ 2004618 h 4036143"/>
                  <a:gd name="connsiteX2163" fmla="*/ 187645 w 5806384"/>
                  <a:gd name="connsiteY2163" fmla="*/ 2093838 h 4036143"/>
                  <a:gd name="connsiteX2164" fmla="*/ 152241 w 5806384"/>
                  <a:gd name="connsiteY2164" fmla="*/ 2123578 h 4036143"/>
                  <a:gd name="connsiteX2165" fmla="*/ 180564 w 5806384"/>
                  <a:gd name="connsiteY2165" fmla="*/ 2102335 h 4036143"/>
                  <a:gd name="connsiteX2166" fmla="*/ 181980 w 5806384"/>
                  <a:gd name="connsiteY2166" fmla="*/ 2102335 h 4036143"/>
                  <a:gd name="connsiteX2167" fmla="*/ 172067 w 5806384"/>
                  <a:gd name="connsiteY2167" fmla="*/ 2126411 h 4036143"/>
                  <a:gd name="connsiteX2168" fmla="*/ 152241 w 5806384"/>
                  <a:gd name="connsiteY2168" fmla="*/ 2123578 h 4036143"/>
                  <a:gd name="connsiteX2169" fmla="*/ 48858 w 5806384"/>
                  <a:gd name="connsiteY2169" fmla="*/ 2106584 h 4036143"/>
                  <a:gd name="connsiteX2170" fmla="*/ 77182 w 5806384"/>
                  <a:gd name="connsiteY2170" fmla="*/ 2085341 h 4036143"/>
                  <a:gd name="connsiteX2171" fmla="*/ 98425 w 5806384"/>
                  <a:gd name="connsiteY2171" fmla="*/ 2115081 h 4036143"/>
                  <a:gd name="connsiteX2172" fmla="*/ 48858 w 5806384"/>
                  <a:gd name="connsiteY2172" fmla="*/ 2106584 h 4036143"/>
                  <a:gd name="connsiteX2173" fmla="*/ 157905 w 5806384"/>
                  <a:gd name="connsiteY2173" fmla="*/ 2083925 h 4036143"/>
                  <a:gd name="connsiteX2174" fmla="*/ 223050 w 5806384"/>
                  <a:gd name="connsiteY2174" fmla="*/ 1997537 h 4036143"/>
                  <a:gd name="connsiteX2175" fmla="*/ 228715 w 5806384"/>
                  <a:gd name="connsiteY2175" fmla="*/ 1997537 h 4036143"/>
                  <a:gd name="connsiteX2176" fmla="*/ 184813 w 5806384"/>
                  <a:gd name="connsiteY2176" fmla="*/ 2098087 h 4036143"/>
                  <a:gd name="connsiteX2177" fmla="*/ 180564 w 5806384"/>
                  <a:gd name="connsiteY2177" fmla="*/ 2100919 h 4036143"/>
                  <a:gd name="connsiteX2178" fmla="*/ 157905 w 5806384"/>
                  <a:gd name="connsiteY2178" fmla="*/ 2083925 h 4036143"/>
                  <a:gd name="connsiteX2179" fmla="*/ 123917 w 5806384"/>
                  <a:gd name="connsiteY2179" fmla="*/ 2146237 h 4036143"/>
                  <a:gd name="connsiteX2180" fmla="*/ 150824 w 5806384"/>
                  <a:gd name="connsiteY2180" fmla="*/ 2124994 h 4036143"/>
                  <a:gd name="connsiteX2181" fmla="*/ 170651 w 5806384"/>
                  <a:gd name="connsiteY2181" fmla="*/ 2127827 h 4036143"/>
                  <a:gd name="connsiteX2182" fmla="*/ 147992 w 5806384"/>
                  <a:gd name="connsiteY2182" fmla="*/ 2178810 h 4036143"/>
                  <a:gd name="connsiteX2183" fmla="*/ 123917 w 5806384"/>
                  <a:gd name="connsiteY2183" fmla="*/ 2146237 h 4036143"/>
                  <a:gd name="connsiteX2184" fmla="*/ 115420 w 5806384"/>
                  <a:gd name="connsiteY2184" fmla="*/ 2139156 h 4036143"/>
                  <a:gd name="connsiteX2185" fmla="*/ 119668 w 5806384"/>
                  <a:gd name="connsiteY2185" fmla="*/ 2146237 h 4036143"/>
                  <a:gd name="connsiteX2186" fmla="*/ 95593 w 5806384"/>
                  <a:gd name="connsiteY2186" fmla="*/ 2164648 h 4036143"/>
                  <a:gd name="connsiteX2187" fmla="*/ 115420 w 5806384"/>
                  <a:gd name="connsiteY2187" fmla="*/ 2139156 h 4036143"/>
                  <a:gd name="connsiteX2188" fmla="*/ 128165 w 5806384"/>
                  <a:gd name="connsiteY2188" fmla="*/ 2122162 h 4036143"/>
                  <a:gd name="connsiteX2189" fmla="*/ 146575 w 5806384"/>
                  <a:gd name="connsiteY2189" fmla="*/ 2124994 h 4036143"/>
                  <a:gd name="connsiteX2190" fmla="*/ 122500 w 5806384"/>
                  <a:gd name="connsiteY2190" fmla="*/ 2144821 h 4036143"/>
                  <a:gd name="connsiteX2191" fmla="*/ 116836 w 5806384"/>
                  <a:gd name="connsiteY2191" fmla="*/ 2137740 h 4036143"/>
                  <a:gd name="connsiteX2192" fmla="*/ 128165 w 5806384"/>
                  <a:gd name="connsiteY2192" fmla="*/ 2122162 h 4036143"/>
                  <a:gd name="connsiteX2193" fmla="*/ 116836 w 5806384"/>
                  <a:gd name="connsiteY2193" fmla="*/ 2057017 h 4036143"/>
                  <a:gd name="connsiteX2194" fmla="*/ 155073 w 5806384"/>
                  <a:gd name="connsiteY2194" fmla="*/ 2083925 h 4036143"/>
                  <a:gd name="connsiteX2195" fmla="*/ 128165 w 5806384"/>
                  <a:gd name="connsiteY2195" fmla="*/ 2119330 h 4036143"/>
                  <a:gd name="connsiteX2196" fmla="*/ 102674 w 5806384"/>
                  <a:gd name="connsiteY2196" fmla="*/ 2115081 h 4036143"/>
                  <a:gd name="connsiteX2197" fmla="*/ 80015 w 5806384"/>
                  <a:gd name="connsiteY2197" fmla="*/ 2083925 h 4036143"/>
                  <a:gd name="connsiteX2198" fmla="*/ 116836 w 5806384"/>
                  <a:gd name="connsiteY2198" fmla="*/ 2057017 h 4036143"/>
                  <a:gd name="connsiteX2199" fmla="*/ 129581 w 5806384"/>
                  <a:gd name="connsiteY2199" fmla="*/ 2120746 h 4036143"/>
                  <a:gd name="connsiteX2200" fmla="*/ 155073 w 5806384"/>
                  <a:gd name="connsiteY2200" fmla="*/ 2085341 h 4036143"/>
                  <a:gd name="connsiteX2201" fmla="*/ 177732 w 5806384"/>
                  <a:gd name="connsiteY2201" fmla="*/ 2100919 h 4036143"/>
                  <a:gd name="connsiteX2202" fmla="*/ 149408 w 5806384"/>
                  <a:gd name="connsiteY2202" fmla="*/ 2123578 h 4036143"/>
                  <a:gd name="connsiteX2203" fmla="*/ 129581 w 5806384"/>
                  <a:gd name="connsiteY2203" fmla="*/ 2120746 h 4036143"/>
                  <a:gd name="connsiteX2204" fmla="*/ 118252 w 5806384"/>
                  <a:gd name="connsiteY2204" fmla="*/ 2055601 h 4036143"/>
                  <a:gd name="connsiteX2205" fmla="*/ 193310 w 5806384"/>
                  <a:gd name="connsiteY2205" fmla="*/ 2000370 h 4036143"/>
                  <a:gd name="connsiteX2206" fmla="*/ 220218 w 5806384"/>
                  <a:gd name="connsiteY2206" fmla="*/ 1997537 h 4036143"/>
                  <a:gd name="connsiteX2207" fmla="*/ 156489 w 5806384"/>
                  <a:gd name="connsiteY2207" fmla="*/ 2082509 h 4036143"/>
                  <a:gd name="connsiteX2208" fmla="*/ 118252 w 5806384"/>
                  <a:gd name="connsiteY2208" fmla="*/ 2055601 h 4036143"/>
                  <a:gd name="connsiteX2209" fmla="*/ 63020 w 5806384"/>
                  <a:gd name="connsiteY2209" fmla="*/ 2015948 h 4036143"/>
                  <a:gd name="connsiteX2210" fmla="*/ 189061 w 5806384"/>
                  <a:gd name="connsiteY2210" fmla="*/ 2000370 h 4036143"/>
                  <a:gd name="connsiteX2211" fmla="*/ 116836 w 5806384"/>
                  <a:gd name="connsiteY2211" fmla="*/ 2054185 h 4036143"/>
                  <a:gd name="connsiteX2212" fmla="*/ 63020 w 5806384"/>
                  <a:gd name="connsiteY2212" fmla="*/ 2015948 h 4036143"/>
                  <a:gd name="connsiteX2213" fmla="*/ 126749 w 5806384"/>
                  <a:gd name="connsiteY2213" fmla="*/ 2122162 h 4036143"/>
                  <a:gd name="connsiteX2214" fmla="*/ 116836 w 5806384"/>
                  <a:gd name="connsiteY2214" fmla="*/ 2136324 h 4036143"/>
                  <a:gd name="connsiteX2215" fmla="*/ 104090 w 5806384"/>
                  <a:gd name="connsiteY2215" fmla="*/ 2119330 h 4036143"/>
                  <a:gd name="connsiteX2216" fmla="*/ 126749 w 5806384"/>
                  <a:gd name="connsiteY2216" fmla="*/ 2122162 h 4036143"/>
                  <a:gd name="connsiteX2217" fmla="*/ 223050 w 5806384"/>
                  <a:gd name="connsiteY2217" fmla="*/ 1994705 h 4036143"/>
                  <a:gd name="connsiteX2218" fmla="*/ 232963 w 5806384"/>
                  <a:gd name="connsiteY2218" fmla="*/ 1980543 h 4036143"/>
                  <a:gd name="connsiteX2219" fmla="*/ 227299 w 5806384"/>
                  <a:gd name="connsiteY2219" fmla="*/ 1993289 h 4036143"/>
                  <a:gd name="connsiteX2220" fmla="*/ 223050 w 5806384"/>
                  <a:gd name="connsiteY2220" fmla="*/ 1994705 h 4036143"/>
                  <a:gd name="connsiteX2221" fmla="*/ 238628 w 5806384"/>
                  <a:gd name="connsiteY2221" fmla="*/ 1973462 h 4036143"/>
                  <a:gd name="connsiteX2222" fmla="*/ 238628 w 5806384"/>
                  <a:gd name="connsiteY2222" fmla="*/ 1973462 h 4036143"/>
                  <a:gd name="connsiteX2223" fmla="*/ 237212 w 5806384"/>
                  <a:gd name="connsiteY2223" fmla="*/ 1972046 h 4036143"/>
                  <a:gd name="connsiteX2224" fmla="*/ 220218 w 5806384"/>
                  <a:gd name="connsiteY2224" fmla="*/ 1994705 h 4036143"/>
                  <a:gd name="connsiteX2225" fmla="*/ 194726 w 5806384"/>
                  <a:gd name="connsiteY2225" fmla="*/ 1997537 h 4036143"/>
                  <a:gd name="connsiteX2226" fmla="*/ 234380 w 5806384"/>
                  <a:gd name="connsiteY2226" fmla="*/ 1967797 h 4036143"/>
                  <a:gd name="connsiteX2227" fmla="*/ 234380 w 5806384"/>
                  <a:gd name="connsiteY2227" fmla="*/ 1967797 h 4036143"/>
                  <a:gd name="connsiteX2228" fmla="*/ 74350 w 5806384"/>
                  <a:gd name="connsiteY2228" fmla="*/ 1981959 h 4036143"/>
                  <a:gd name="connsiteX2229" fmla="*/ 370334 w 5806384"/>
                  <a:gd name="connsiteY2229" fmla="*/ 1909733 h 4036143"/>
                  <a:gd name="connsiteX2230" fmla="*/ 375999 w 5806384"/>
                  <a:gd name="connsiteY2230" fmla="*/ 1912566 h 4036143"/>
                  <a:gd name="connsiteX2231" fmla="*/ 317935 w 5806384"/>
                  <a:gd name="connsiteY2231" fmla="*/ 1984792 h 4036143"/>
                  <a:gd name="connsiteX2232" fmla="*/ 228715 w 5806384"/>
                  <a:gd name="connsiteY2232" fmla="*/ 1996121 h 4036143"/>
                  <a:gd name="connsiteX2233" fmla="*/ 238628 w 5806384"/>
                  <a:gd name="connsiteY2233" fmla="*/ 1973462 h 4036143"/>
                  <a:gd name="connsiteX2234" fmla="*/ 230131 w 5806384"/>
                  <a:gd name="connsiteY2234" fmla="*/ 1970630 h 4036143"/>
                  <a:gd name="connsiteX2235" fmla="*/ 191894 w 5806384"/>
                  <a:gd name="connsiteY2235" fmla="*/ 1998953 h 4036143"/>
                  <a:gd name="connsiteX2236" fmla="*/ 57356 w 5806384"/>
                  <a:gd name="connsiteY2236" fmla="*/ 2015948 h 4036143"/>
                  <a:gd name="connsiteX2237" fmla="*/ 57356 w 5806384"/>
                  <a:gd name="connsiteY2237" fmla="*/ 2015948 h 4036143"/>
                  <a:gd name="connsiteX2238" fmla="*/ 115420 w 5806384"/>
                  <a:gd name="connsiteY2238" fmla="*/ 2057017 h 4036143"/>
                  <a:gd name="connsiteX2239" fmla="*/ 80015 w 5806384"/>
                  <a:gd name="connsiteY2239" fmla="*/ 2083925 h 4036143"/>
                  <a:gd name="connsiteX2240" fmla="*/ 19118 w 5806384"/>
                  <a:gd name="connsiteY2240" fmla="*/ 1997537 h 4036143"/>
                  <a:gd name="connsiteX2241" fmla="*/ 65853 w 5806384"/>
                  <a:gd name="connsiteY2241" fmla="*/ 1986208 h 4036143"/>
                  <a:gd name="connsiteX2242" fmla="*/ 230131 w 5806384"/>
                  <a:gd name="connsiteY2242" fmla="*/ 1970630 h 4036143"/>
                  <a:gd name="connsiteX2243" fmla="*/ 13454 w 5806384"/>
                  <a:gd name="connsiteY2243" fmla="*/ 1994705 h 4036143"/>
                  <a:gd name="connsiteX2244" fmla="*/ 13454 w 5806384"/>
                  <a:gd name="connsiteY2244" fmla="*/ 1994705 h 4036143"/>
                  <a:gd name="connsiteX2245" fmla="*/ 75766 w 5806384"/>
                  <a:gd name="connsiteY2245" fmla="*/ 2083925 h 4036143"/>
                  <a:gd name="connsiteX2246" fmla="*/ 43194 w 5806384"/>
                  <a:gd name="connsiteY2246" fmla="*/ 2108000 h 4036143"/>
                  <a:gd name="connsiteX2247" fmla="*/ 99841 w 5806384"/>
                  <a:gd name="connsiteY2247" fmla="*/ 2117913 h 4036143"/>
                  <a:gd name="connsiteX2248" fmla="*/ 114003 w 5806384"/>
                  <a:gd name="connsiteY2248" fmla="*/ 2137740 h 4036143"/>
                  <a:gd name="connsiteX2249" fmla="*/ 89928 w 5806384"/>
                  <a:gd name="connsiteY2249" fmla="*/ 2170312 h 4036143"/>
                  <a:gd name="connsiteX2250" fmla="*/ 47442 w 5806384"/>
                  <a:gd name="connsiteY2250" fmla="*/ 2204301 h 4036143"/>
                  <a:gd name="connsiteX2251" fmla="*/ 10621 w 5806384"/>
                  <a:gd name="connsiteY2251" fmla="*/ 1990456 h 4036143"/>
                  <a:gd name="connsiteX2252" fmla="*/ 50275 w 5806384"/>
                  <a:gd name="connsiteY2252" fmla="*/ 1987624 h 4036143"/>
                  <a:gd name="connsiteX2253" fmla="*/ 13454 w 5806384"/>
                  <a:gd name="connsiteY2253" fmla="*/ 1994705 h 4036143"/>
                  <a:gd name="connsiteX2254" fmla="*/ 58772 w 5806384"/>
                  <a:gd name="connsiteY2254" fmla="*/ 2215631 h 4036143"/>
                  <a:gd name="connsiteX2255" fmla="*/ 92760 w 5806384"/>
                  <a:gd name="connsiteY2255" fmla="*/ 2170312 h 4036143"/>
                  <a:gd name="connsiteX2256" fmla="*/ 122500 w 5806384"/>
                  <a:gd name="connsiteY2256" fmla="*/ 2147654 h 4036143"/>
                  <a:gd name="connsiteX2257" fmla="*/ 147992 w 5806384"/>
                  <a:gd name="connsiteY2257" fmla="*/ 2184474 h 4036143"/>
                  <a:gd name="connsiteX2258" fmla="*/ 147992 w 5806384"/>
                  <a:gd name="connsiteY2258" fmla="*/ 2184474 h 4036143"/>
                  <a:gd name="connsiteX2259" fmla="*/ 172067 w 5806384"/>
                  <a:gd name="connsiteY2259" fmla="*/ 2129243 h 4036143"/>
                  <a:gd name="connsiteX2260" fmla="*/ 196142 w 5806384"/>
                  <a:gd name="connsiteY2260" fmla="*/ 2133492 h 4036143"/>
                  <a:gd name="connsiteX2261" fmla="*/ 130998 w 5806384"/>
                  <a:gd name="connsiteY2261" fmla="*/ 2214214 h 4036143"/>
                  <a:gd name="connsiteX2262" fmla="*/ 58772 w 5806384"/>
                  <a:gd name="connsiteY2262" fmla="*/ 2215631 h 4036143"/>
                  <a:gd name="connsiteX2263" fmla="*/ 181980 w 5806384"/>
                  <a:gd name="connsiteY2263" fmla="*/ 2100919 h 4036143"/>
                  <a:gd name="connsiteX2264" fmla="*/ 181980 w 5806384"/>
                  <a:gd name="connsiteY2264" fmla="*/ 2100919 h 4036143"/>
                  <a:gd name="connsiteX2265" fmla="*/ 181980 w 5806384"/>
                  <a:gd name="connsiteY2265" fmla="*/ 2100919 h 4036143"/>
                  <a:gd name="connsiteX2266" fmla="*/ 181980 w 5806384"/>
                  <a:gd name="connsiteY2266" fmla="*/ 2100919 h 4036143"/>
                  <a:gd name="connsiteX2267" fmla="*/ 183397 w 5806384"/>
                  <a:gd name="connsiteY2267" fmla="*/ 2102335 h 4036143"/>
                  <a:gd name="connsiteX2268" fmla="*/ 184813 w 5806384"/>
                  <a:gd name="connsiteY2268" fmla="*/ 2098087 h 4036143"/>
                  <a:gd name="connsiteX2269" fmla="*/ 293860 w 5806384"/>
                  <a:gd name="connsiteY2269" fmla="*/ 2011699 h 4036143"/>
                  <a:gd name="connsiteX2270" fmla="*/ 206056 w 5806384"/>
                  <a:gd name="connsiteY2270" fmla="*/ 2119330 h 4036143"/>
                  <a:gd name="connsiteX2271" fmla="*/ 183397 w 5806384"/>
                  <a:gd name="connsiteY2271" fmla="*/ 2102335 h 4036143"/>
                  <a:gd name="connsiteX2272" fmla="*/ 380247 w 5806384"/>
                  <a:gd name="connsiteY2272" fmla="*/ 1911149 h 4036143"/>
                  <a:gd name="connsiteX2273" fmla="*/ 384496 w 5806384"/>
                  <a:gd name="connsiteY2273" fmla="*/ 1905485 h 4036143"/>
                  <a:gd name="connsiteX2274" fmla="*/ 448224 w 5806384"/>
                  <a:gd name="connsiteY2274" fmla="*/ 1889907 h 4036143"/>
                  <a:gd name="connsiteX2275" fmla="*/ 405739 w 5806384"/>
                  <a:gd name="connsiteY2275" fmla="*/ 1923895 h 4036143"/>
                  <a:gd name="connsiteX2276" fmla="*/ 380247 w 5806384"/>
                  <a:gd name="connsiteY2276" fmla="*/ 1911149 h 4036143"/>
                  <a:gd name="connsiteX2277" fmla="*/ 320767 w 5806384"/>
                  <a:gd name="connsiteY2277" fmla="*/ 1780860 h 4036143"/>
                  <a:gd name="connsiteX2278" fmla="*/ 485046 w 5806384"/>
                  <a:gd name="connsiteY2278" fmla="*/ 1776611 h 4036143"/>
                  <a:gd name="connsiteX2279" fmla="*/ 381663 w 5806384"/>
                  <a:gd name="connsiteY2279" fmla="*/ 1902652 h 4036143"/>
                  <a:gd name="connsiteX2280" fmla="*/ 370334 w 5806384"/>
                  <a:gd name="connsiteY2280" fmla="*/ 1905485 h 4036143"/>
                  <a:gd name="connsiteX2281" fmla="*/ 133830 w 5806384"/>
                  <a:gd name="connsiteY2281" fmla="*/ 1783692 h 4036143"/>
                  <a:gd name="connsiteX2282" fmla="*/ 254206 w 5806384"/>
                  <a:gd name="connsiteY2282" fmla="*/ 1780860 h 4036143"/>
                  <a:gd name="connsiteX2283" fmla="*/ 269784 w 5806384"/>
                  <a:gd name="connsiteY2283" fmla="*/ 1817681 h 4036143"/>
                  <a:gd name="connsiteX2284" fmla="*/ 269784 w 5806384"/>
                  <a:gd name="connsiteY2284" fmla="*/ 1817681 h 4036143"/>
                  <a:gd name="connsiteX2285" fmla="*/ 320767 w 5806384"/>
                  <a:gd name="connsiteY2285" fmla="*/ 1780860 h 4036143"/>
                  <a:gd name="connsiteX2286" fmla="*/ 317935 w 5806384"/>
                  <a:gd name="connsiteY2286" fmla="*/ 1780860 h 4036143"/>
                  <a:gd name="connsiteX2287" fmla="*/ 274033 w 5806384"/>
                  <a:gd name="connsiteY2287" fmla="*/ 1816265 h 4036143"/>
                  <a:gd name="connsiteX2288" fmla="*/ 258455 w 5806384"/>
                  <a:gd name="connsiteY2288" fmla="*/ 1782276 h 4036143"/>
                  <a:gd name="connsiteX2289" fmla="*/ 317935 w 5806384"/>
                  <a:gd name="connsiteY2289" fmla="*/ 1780860 h 4036143"/>
                  <a:gd name="connsiteX2290" fmla="*/ 320767 w 5806384"/>
                  <a:gd name="connsiteY2290" fmla="*/ 1779444 h 4036143"/>
                  <a:gd name="connsiteX2291" fmla="*/ 258455 w 5806384"/>
                  <a:gd name="connsiteY2291" fmla="*/ 1780860 h 4036143"/>
                  <a:gd name="connsiteX2292" fmla="*/ 235796 w 5806384"/>
                  <a:gd name="connsiteY2292" fmla="*/ 1729877 h 4036143"/>
                  <a:gd name="connsiteX2293" fmla="*/ 459554 w 5806384"/>
                  <a:gd name="connsiteY2293" fmla="*/ 1547188 h 4036143"/>
                  <a:gd name="connsiteX2294" fmla="*/ 459554 w 5806384"/>
                  <a:gd name="connsiteY2294" fmla="*/ 1625079 h 4036143"/>
                  <a:gd name="connsiteX2295" fmla="*/ 483629 w 5806384"/>
                  <a:gd name="connsiteY2295" fmla="*/ 1649154 h 4036143"/>
                  <a:gd name="connsiteX2296" fmla="*/ 320767 w 5806384"/>
                  <a:gd name="connsiteY2296" fmla="*/ 1779444 h 4036143"/>
                  <a:gd name="connsiteX2297" fmla="*/ 387328 w 5806384"/>
                  <a:gd name="connsiteY2297" fmla="*/ 1902652 h 4036143"/>
                  <a:gd name="connsiteX2298" fmla="*/ 490710 w 5806384"/>
                  <a:gd name="connsiteY2298" fmla="*/ 1775195 h 4036143"/>
                  <a:gd name="connsiteX2299" fmla="*/ 490710 w 5806384"/>
                  <a:gd name="connsiteY2299" fmla="*/ 1775195 h 4036143"/>
                  <a:gd name="connsiteX2300" fmla="*/ 323599 w 5806384"/>
                  <a:gd name="connsiteY2300" fmla="*/ 1779444 h 4036143"/>
                  <a:gd name="connsiteX2301" fmla="*/ 485046 w 5806384"/>
                  <a:gd name="connsiteY2301" fmla="*/ 1650570 h 4036143"/>
                  <a:gd name="connsiteX2302" fmla="*/ 604006 w 5806384"/>
                  <a:gd name="connsiteY2302" fmla="*/ 1769530 h 4036143"/>
                  <a:gd name="connsiteX2303" fmla="*/ 452473 w 5806384"/>
                  <a:gd name="connsiteY2303" fmla="*/ 1888491 h 4036143"/>
                  <a:gd name="connsiteX2304" fmla="*/ 387328 w 5806384"/>
                  <a:gd name="connsiteY2304" fmla="*/ 1902652 h 4036143"/>
                  <a:gd name="connsiteX2305" fmla="*/ 206056 w 5806384"/>
                  <a:gd name="connsiteY2305" fmla="*/ 2120746 h 4036143"/>
                  <a:gd name="connsiteX2306" fmla="*/ 197558 w 5806384"/>
                  <a:gd name="connsiteY2306" fmla="*/ 2132075 h 4036143"/>
                  <a:gd name="connsiteX2307" fmla="*/ 172067 w 5806384"/>
                  <a:gd name="connsiteY2307" fmla="*/ 2127827 h 4036143"/>
                  <a:gd name="connsiteX2308" fmla="*/ 181980 w 5806384"/>
                  <a:gd name="connsiteY2308" fmla="*/ 2105168 h 4036143"/>
                  <a:gd name="connsiteX2309" fmla="*/ 206056 w 5806384"/>
                  <a:gd name="connsiteY2309" fmla="*/ 2120746 h 4036143"/>
                  <a:gd name="connsiteX2310" fmla="*/ 228715 w 5806384"/>
                  <a:gd name="connsiteY2310" fmla="*/ 2136324 h 4036143"/>
                  <a:gd name="connsiteX2311" fmla="*/ 200391 w 5806384"/>
                  <a:gd name="connsiteY2311" fmla="*/ 2132075 h 4036143"/>
                  <a:gd name="connsiteX2312" fmla="*/ 208888 w 5806384"/>
                  <a:gd name="connsiteY2312" fmla="*/ 2122162 h 4036143"/>
                  <a:gd name="connsiteX2313" fmla="*/ 228715 w 5806384"/>
                  <a:gd name="connsiteY2313" fmla="*/ 2136324 h 4036143"/>
                  <a:gd name="connsiteX2314" fmla="*/ 327848 w 5806384"/>
                  <a:gd name="connsiteY2314" fmla="*/ 1983375 h 4036143"/>
                  <a:gd name="connsiteX2315" fmla="*/ 308022 w 5806384"/>
                  <a:gd name="connsiteY2315" fmla="*/ 1998953 h 4036143"/>
                  <a:gd name="connsiteX2316" fmla="*/ 319351 w 5806384"/>
                  <a:gd name="connsiteY2316" fmla="*/ 1984792 h 4036143"/>
                  <a:gd name="connsiteX2317" fmla="*/ 327848 w 5806384"/>
                  <a:gd name="connsiteY2317" fmla="*/ 1983375 h 4036143"/>
                  <a:gd name="connsiteX2318" fmla="*/ 402906 w 5806384"/>
                  <a:gd name="connsiteY2318" fmla="*/ 1925311 h 4036143"/>
                  <a:gd name="connsiteX2319" fmla="*/ 330680 w 5806384"/>
                  <a:gd name="connsiteY2319" fmla="*/ 1981959 h 4036143"/>
                  <a:gd name="connsiteX2320" fmla="*/ 320767 w 5806384"/>
                  <a:gd name="connsiteY2320" fmla="*/ 1983375 h 4036143"/>
                  <a:gd name="connsiteX2321" fmla="*/ 377415 w 5806384"/>
                  <a:gd name="connsiteY2321" fmla="*/ 1912566 h 4036143"/>
                  <a:gd name="connsiteX2322" fmla="*/ 402906 w 5806384"/>
                  <a:gd name="connsiteY2322" fmla="*/ 1925311 h 4036143"/>
                  <a:gd name="connsiteX2323" fmla="*/ 477965 w 5806384"/>
                  <a:gd name="connsiteY2323" fmla="*/ 1963549 h 4036143"/>
                  <a:gd name="connsiteX2324" fmla="*/ 334929 w 5806384"/>
                  <a:gd name="connsiteY2324" fmla="*/ 1980543 h 4036143"/>
                  <a:gd name="connsiteX2325" fmla="*/ 405739 w 5806384"/>
                  <a:gd name="connsiteY2325" fmla="*/ 1925311 h 4036143"/>
                  <a:gd name="connsiteX2326" fmla="*/ 477965 w 5806384"/>
                  <a:gd name="connsiteY2326" fmla="*/ 1963549 h 4036143"/>
                  <a:gd name="connsiteX2327" fmla="*/ 687561 w 5806384"/>
                  <a:gd name="connsiteY2327" fmla="*/ 1836092 h 4036143"/>
                  <a:gd name="connsiteX2328" fmla="*/ 751289 w 5806384"/>
                  <a:gd name="connsiteY2328" fmla="*/ 1826178 h 4036143"/>
                  <a:gd name="connsiteX2329" fmla="*/ 977880 w 5806384"/>
                  <a:gd name="connsiteY2329" fmla="*/ 1956468 h 4036143"/>
                  <a:gd name="connsiteX2330" fmla="*/ 687561 w 5806384"/>
                  <a:gd name="connsiteY2330" fmla="*/ 1836092 h 4036143"/>
                  <a:gd name="connsiteX2331" fmla="*/ 3391071 w 5806384"/>
                  <a:gd name="connsiteY2331" fmla="*/ 3753614 h 4036143"/>
                  <a:gd name="connsiteX2332" fmla="*/ 3575175 w 5806384"/>
                  <a:gd name="connsiteY2332" fmla="*/ 3889568 h 4036143"/>
                  <a:gd name="connsiteX2333" fmla="*/ 3572343 w 5806384"/>
                  <a:gd name="connsiteY2333" fmla="*/ 3899481 h 4036143"/>
                  <a:gd name="connsiteX2334" fmla="*/ 3393902 w 5806384"/>
                  <a:gd name="connsiteY2334" fmla="*/ 3808845 h 4036143"/>
                  <a:gd name="connsiteX2335" fmla="*/ 3391071 w 5806384"/>
                  <a:gd name="connsiteY2335" fmla="*/ 3753614 h 4036143"/>
                  <a:gd name="connsiteX2336" fmla="*/ 3395319 w 5806384"/>
                  <a:gd name="connsiteY2336" fmla="*/ 3832921 h 4036143"/>
                  <a:gd name="connsiteX2337" fmla="*/ 3393902 w 5806384"/>
                  <a:gd name="connsiteY2337" fmla="*/ 3810261 h 4036143"/>
                  <a:gd name="connsiteX2338" fmla="*/ 3572343 w 5806384"/>
                  <a:gd name="connsiteY2338" fmla="*/ 3900898 h 4036143"/>
                  <a:gd name="connsiteX2339" fmla="*/ 3556764 w 5806384"/>
                  <a:gd name="connsiteY2339" fmla="*/ 3957545 h 4036143"/>
                  <a:gd name="connsiteX2340" fmla="*/ 3395319 w 5806384"/>
                  <a:gd name="connsiteY2340" fmla="*/ 3832921 h 4036143"/>
                  <a:gd name="connsiteX2341" fmla="*/ 3357082 w 5806384"/>
                  <a:gd name="connsiteY2341" fmla="*/ 3803181 h 4036143"/>
                  <a:gd name="connsiteX2342" fmla="*/ 3347168 w 5806384"/>
                  <a:gd name="connsiteY2342" fmla="*/ 3786186 h 4036143"/>
                  <a:gd name="connsiteX2343" fmla="*/ 3392486 w 5806384"/>
                  <a:gd name="connsiteY2343" fmla="*/ 3810261 h 4036143"/>
                  <a:gd name="connsiteX2344" fmla="*/ 3393902 w 5806384"/>
                  <a:gd name="connsiteY2344" fmla="*/ 3831504 h 4036143"/>
                  <a:gd name="connsiteX2345" fmla="*/ 3357082 w 5806384"/>
                  <a:gd name="connsiteY2345" fmla="*/ 3803181 h 4036143"/>
                  <a:gd name="connsiteX2346" fmla="*/ 3359914 w 5806384"/>
                  <a:gd name="connsiteY2346" fmla="*/ 3807429 h 4036143"/>
                  <a:gd name="connsiteX2347" fmla="*/ 3393902 w 5806384"/>
                  <a:gd name="connsiteY2347" fmla="*/ 3834337 h 4036143"/>
                  <a:gd name="connsiteX2348" fmla="*/ 3395319 w 5806384"/>
                  <a:gd name="connsiteY2348" fmla="*/ 3866909 h 4036143"/>
                  <a:gd name="connsiteX2349" fmla="*/ 3359914 w 5806384"/>
                  <a:gd name="connsiteY2349" fmla="*/ 3807429 h 4036143"/>
                  <a:gd name="connsiteX2350" fmla="*/ 3342920 w 5806384"/>
                  <a:gd name="connsiteY2350" fmla="*/ 3784770 h 4036143"/>
                  <a:gd name="connsiteX2351" fmla="*/ 3351416 w 5806384"/>
                  <a:gd name="connsiteY2351" fmla="*/ 3800348 h 4036143"/>
                  <a:gd name="connsiteX2352" fmla="*/ 3311763 w 5806384"/>
                  <a:gd name="connsiteY2352" fmla="*/ 3770608 h 4036143"/>
                  <a:gd name="connsiteX2353" fmla="*/ 3342920 w 5806384"/>
                  <a:gd name="connsiteY2353" fmla="*/ 3784770 h 4036143"/>
                  <a:gd name="connsiteX2354" fmla="*/ 3344336 w 5806384"/>
                  <a:gd name="connsiteY2354" fmla="*/ 3783354 h 4036143"/>
                  <a:gd name="connsiteX2355" fmla="*/ 3274943 w 5806384"/>
                  <a:gd name="connsiteY2355" fmla="*/ 3667226 h 4036143"/>
                  <a:gd name="connsiteX2356" fmla="*/ 3389654 w 5806384"/>
                  <a:gd name="connsiteY2356" fmla="*/ 3752198 h 4036143"/>
                  <a:gd name="connsiteX2357" fmla="*/ 3392486 w 5806384"/>
                  <a:gd name="connsiteY2357" fmla="*/ 3807429 h 4036143"/>
                  <a:gd name="connsiteX2358" fmla="*/ 3344336 w 5806384"/>
                  <a:gd name="connsiteY2358" fmla="*/ 3783354 h 4036143"/>
                  <a:gd name="connsiteX2359" fmla="*/ 3575175 w 5806384"/>
                  <a:gd name="connsiteY2359" fmla="*/ 3900898 h 4036143"/>
                  <a:gd name="connsiteX2360" fmla="*/ 3578007 w 5806384"/>
                  <a:gd name="connsiteY2360" fmla="*/ 3890985 h 4036143"/>
                  <a:gd name="connsiteX2361" fmla="*/ 3630406 w 5806384"/>
                  <a:gd name="connsiteY2361" fmla="*/ 3929221 h 4036143"/>
                  <a:gd name="connsiteX2362" fmla="*/ 3575175 w 5806384"/>
                  <a:gd name="connsiteY2362" fmla="*/ 3900898 h 4036143"/>
                  <a:gd name="connsiteX2363" fmla="*/ 3266445 w 5806384"/>
                  <a:gd name="connsiteY2363" fmla="*/ 3525607 h 4036143"/>
                  <a:gd name="connsiteX2364" fmla="*/ 3317428 w 5806384"/>
                  <a:gd name="connsiteY2364" fmla="*/ 3504364 h 4036143"/>
                  <a:gd name="connsiteX2365" fmla="*/ 3350001 w 5806384"/>
                  <a:gd name="connsiteY2365" fmla="*/ 3573757 h 4036143"/>
                  <a:gd name="connsiteX2366" fmla="*/ 3266445 w 5806384"/>
                  <a:gd name="connsiteY2366" fmla="*/ 3525607 h 4036143"/>
                  <a:gd name="connsiteX2367" fmla="*/ 3265029 w 5806384"/>
                  <a:gd name="connsiteY2367" fmla="*/ 3524191 h 4036143"/>
                  <a:gd name="connsiteX2368" fmla="*/ 3170144 w 5806384"/>
                  <a:gd name="connsiteY2368" fmla="*/ 3468959 h 4036143"/>
                  <a:gd name="connsiteX2369" fmla="*/ 3317428 w 5806384"/>
                  <a:gd name="connsiteY2369" fmla="*/ 3501532 h 4036143"/>
                  <a:gd name="connsiteX2370" fmla="*/ 3265029 w 5806384"/>
                  <a:gd name="connsiteY2370" fmla="*/ 3524191 h 4036143"/>
                  <a:gd name="connsiteX2371" fmla="*/ 3361330 w 5806384"/>
                  <a:gd name="connsiteY2371" fmla="*/ 3511445 h 4036143"/>
                  <a:gd name="connsiteX2372" fmla="*/ 3359914 w 5806384"/>
                  <a:gd name="connsiteY2372" fmla="*/ 3711128 h 4036143"/>
                  <a:gd name="connsiteX2373" fmla="*/ 3233873 w 5806384"/>
                  <a:gd name="connsiteY2373" fmla="*/ 3538353 h 4036143"/>
                  <a:gd name="connsiteX2374" fmla="*/ 3265029 w 5806384"/>
                  <a:gd name="connsiteY2374" fmla="*/ 3525607 h 4036143"/>
                  <a:gd name="connsiteX2375" fmla="*/ 3355666 w 5806384"/>
                  <a:gd name="connsiteY2375" fmla="*/ 3578006 h 4036143"/>
                  <a:gd name="connsiteX2376" fmla="*/ 3355666 w 5806384"/>
                  <a:gd name="connsiteY2376" fmla="*/ 3578006 h 4036143"/>
                  <a:gd name="connsiteX2377" fmla="*/ 3320261 w 5806384"/>
                  <a:gd name="connsiteY2377" fmla="*/ 3501532 h 4036143"/>
                  <a:gd name="connsiteX2378" fmla="*/ 3320261 w 5806384"/>
                  <a:gd name="connsiteY2378" fmla="*/ 3501532 h 4036143"/>
                  <a:gd name="connsiteX2379" fmla="*/ 3361330 w 5806384"/>
                  <a:gd name="connsiteY2379" fmla="*/ 3511445 h 4036143"/>
                  <a:gd name="connsiteX2380" fmla="*/ 3668644 w 5806384"/>
                  <a:gd name="connsiteY2380" fmla="*/ 3749365 h 4036143"/>
                  <a:gd name="connsiteX2381" fmla="*/ 3780523 w 5806384"/>
                  <a:gd name="connsiteY2381" fmla="*/ 3692718 h 4036143"/>
                  <a:gd name="connsiteX2382" fmla="*/ 3756448 w 5806384"/>
                  <a:gd name="connsiteY2382" fmla="*/ 3757862 h 4036143"/>
                  <a:gd name="connsiteX2383" fmla="*/ 3668644 w 5806384"/>
                  <a:gd name="connsiteY2383" fmla="*/ 3749365 h 4036143"/>
                  <a:gd name="connsiteX2384" fmla="*/ 4385236 w 5806384"/>
                  <a:gd name="connsiteY2384" fmla="*/ 3800348 h 4036143"/>
                  <a:gd name="connsiteX2385" fmla="*/ 4422058 w 5806384"/>
                  <a:gd name="connsiteY2385" fmla="*/ 3784770 h 4036143"/>
                  <a:gd name="connsiteX2386" fmla="*/ 4451797 w 5806384"/>
                  <a:gd name="connsiteY2386" fmla="*/ 3818759 h 4036143"/>
                  <a:gd name="connsiteX2387" fmla="*/ 4426306 w 5806384"/>
                  <a:gd name="connsiteY2387" fmla="*/ 3815926 h 4036143"/>
                  <a:gd name="connsiteX2388" fmla="*/ 4385236 w 5806384"/>
                  <a:gd name="connsiteY2388" fmla="*/ 3800348 h 4036143"/>
                  <a:gd name="connsiteX2389" fmla="*/ 4431971 w 5806384"/>
                  <a:gd name="connsiteY2389" fmla="*/ 3820175 h 4036143"/>
                  <a:gd name="connsiteX2390" fmla="*/ 4453214 w 5806384"/>
                  <a:gd name="connsiteY2390" fmla="*/ 3821591 h 4036143"/>
                  <a:gd name="connsiteX2391" fmla="*/ 4461711 w 5806384"/>
                  <a:gd name="connsiteY2391" fmla="*/ 3831504 h 4036143"/>
                  <a:gd name="connsiteX2392" fmla="*/ 4431971 w 5806384"/>
                  <a:gd name="connsiteY2392" fmla="*/ 3820175 h 4036143"/>
                  <a:gd name="connsiteX2393" fmla="*/ 4361162 w 5806384"/>
                  <a:gd name="connsiteY2393" fmla="*/ 3811678 h 4036143"/>
                  <a:gd name="connsiteX2394" fmla="*/ 4382405 w 5806384"/>
                  <a:gd name="connsiteY2394" fmla="*/ 3803181 h 4036143"/>
                  <a:gd name="connsiteX2395" fmla="*/ 4417809 w 5806384"/>
                  <a:gd name="connsiteY2395" fmla="*/ 3817342 h 4036143"/>
                  <a:gd name="connsiteX2396" fmla="*/ 4361162 w 5806384"/>
                  <a:gd name="connsiteY2396" fmla="*/ 3811678 h 4036143"/>
                  <a:gd name="connsiteX2397" fmla="*/ 4514110 w 5806384"/>
                  <a:gd name="connsiteY2397" fmla="*/ 3895233 h 4036143"/>
                  <a:gd name="connsiteX2398" fmla="*/ 4361162 w 5806384"/>
                  <a:gd name="connsiteY2398" fmla="*/ 3837169 h 4036143"/>
                  <a:gd name="connsiteX2399" fmla="*/ 4473040 w 5806384"/>
                  <a:gd name="connsiteY2399" fmla="*/ 3845666 h 4036143"/>
                  <a:gd name="connsiteX2400" fmla="*/ 4514110 w 5806384"/>
                  <a:gd name="connsiteY2400" fmla="*/ 3895233 h 4036143"/>
                  <a:gd name="connsiteX2401" fmla="*/ 4474457 w 5806384"/>
                  <a:gd name="connsiteY2401" fmla="*/ 3844250 h 4036143"/>
                  <a:gd name="connsiteX2402" fmla="*/ 4468792 w 5806384"/>
                  <a:gd name="connsiteY2402" fmla="*/ 3837169 h 4036143"/>
                  <a:gd name="connsiteX2403" fmla="*/ 4487202 w 5806384"/>
                  <a:gd name="connsiteY2403" fmla="*/ 3844250 h 4036143"/>
                  <a:gd name="connsiteX2404" fmla="*/ 4474457 w 5806384"/>
                  <a:gd name="connsiteY2404" fmla="*/ 3844250 h 4036143"/>
                  <a:gd name="connsiteX2405" fmla="*/ 4521191 w 5806384"/>
                  <a:gd name="connsiteY2405" fmla="*/ 3899481 h 4036143"/>
                  <a:gd name="connsiteX2406" fmla="*/ 4702464 w 5806384"/>
                  <a:gd name="connsiteY2406" fmla="*/ 3967459 h 4036143"/>
                  <a:gd name="connsiteX2407" fmla="*/ 4586336 w 5806384"/>
                  <a:gd name="connsiteY2407" fmla="*/ 3990118 h 4036143"/>
                  <a:gd name="connsiteX2408" fmla="*/ 4446133 w 5806384"/>
                  <a:gd name="connsiteY2408" fmla="*/ 3963210 h 4036143"/>
                  <a:gd name="connsiteX2409" fmla="*/ 4539602 w 5806384"/>
                  <a:gd name="connsiteY2409" fmla="*/ 3922140 h 4036143"/>
                  <a:gd name="connsiteX2410" fmla="*/ 4539602 w 5806384"/>
                  <a:gd name="connsiteY2410" fmla="*/ 3922140 h 4036143"/>
                  <a:gd name="connsiteX2411" fmla="*/ 4521191 w 5806384"/>
                  <a:gd name="connsiteY2411" fmla="*/ 3899481 h 4036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Lst>
                <a:rect l="l" t="t" r="r" b="b"/>
                <a:pathLst>
                  <a:path w="5806384" h="4036143">
                    <a:moveTo>
                      <a:pt x="5707959" y="799440"/>
                    </a:moveTo>
                    <a:lnTo>
                      <a:pt x="5707959" y="799440"/>
                    </a:lnTo>
                    <a:lnTo>
                      <a:pt x="5491282" y="1038776"/>
                    </a:lnTo>
                    <a:lnTo>
                      <a:pt x="5413392" y="945307"/>
                    </a:lnTo>
                    <a:lnTo>
                      <a:pt x="5413392" y="945307"/>
                    </a:lnTo>
                    <a:lnTo>
                      <a:pt x="5358160" y="1028863"/>
                    </a:lnTo>
                    <a:lnTo>
                      <a:pt x="5274605" y="980712"/>
                    </a:lnTo>
                    <a:lnTo>
                      <a:pt x="5369489" y="841925"/>
                    </a:lnTo>
                    <a:lnTo>
                      <a:pt x="5557843" y="822099"/>
                    </a:lnTo>
                    <a:lnTo>
                      <a:pt x="5557843" y="822099"/>
                    </a:lnTo>
                    <a:lnTo>
                      <a:pt x="5471455" y="690393"/>
                    </a:lnTo>
                    <a:lnTo>
                      <a:pt x="5471455" y="690393"/>
                    </a:lnTo>
                    <a:lnTo>
                      <a:pt x="5368073" y="840509"/>
                    </a:lnTo>
                    <a:lnTo>
                      <a:pt x="5124488" y="866001"/>
                    </a:lnTo>
                    <a:lnTo>
                      <a:pt x="5189634" y="820683"/>
                    </a:lnTo>
                    <a:lnTo>
                      <a:pt x="4947464" y="795191"/>
                    </a:lnTo>
                    <a:lnTo>
                      <a:pt x="4732203" y="673399"/>
                    </a:lnTo>
                    <a:lnTo>
                      <a:pt x="4732203" y="673399"/>
                    </a:lnTo>
                    <a:lnTo>
                      <a:pt x="4652897" y="800856"/>
                    </a:lnTo>
                    <a:lnTo>
                      <a:pt x="4393734" y="613919"/>
                    </a:lnTo>
                    <a:lnTo>
                      <a:pt x="4393734" y="613919"/>
                    </a:lnTo>
                    <a:lnTo>
                      <a:pt x="4410728" y="748457"/>
                    </a:lnTo>
                    <a:lnTo>
                      <a:pt x="4273358" y="611086"/>
                    </a:lnTo>
                    <a:lnTo>
                      <a:pt x="4273358" y="611086"/>
                    </a:lnTo>
                    <a:lnTo>
                      <a:pt x="3893818" y="545942"/>
                    </a:lnTo>
                    <a:lnTo>
                      <a:pt x="3893818" y="545942"/>
                    </a:lnTo>
                    <a:lnTo>
                      <a:pt x="3593586" y="928313"/>
                    </a:lnTo>
                    <a:lnTo>
                      <a:pt x="3593586" y="929729"/>
                    </a:lnTo>
                    <a:lnTo>
                      <a:pt x="3960379" y="720133"/>
                    </a:lnTo>
                    <a:lnTo>
                      <a:pt x="4039686" y="882995"/>
                    </a:lnTo>
                    <a:lnTo>
                      <a:pt x="3978790" y="921232"/>
                    </a:lnTo>
                    <a:lnTo>
                      <a:pt x="3449134" y="933978"/>
                    </a:lnTo>
                    <a:lnTo>
                      <a:pt x="3174393" y="623832"/>
                    </a:lnTo>
                    <a:lnTo>
                      <a:pt x="3177225" y="608254"/>
                    </a:lnTo>
                    <a:lnTo>
                      <a:pt x="3454799" y="734295"/>
                    </a:lnTo>
                    <a:lnTo>
                      <a:pt x="3454799" y="734295"/>
                    </a:lnTo>
                    <a:lnTo>
                      <a:pt x="3529857" y="350507"/>
                    </a:lnTo>
                    <a:lnTo>
                      <a:pt x="3529857" y="350507"/>
                    </a:lnTo>
                    <a:lnTo>
                      <a:pt x="3402400" y="91344"/>
                    </a:lnTo>
                    <a:lnTo>
                      <a:pt x="3402400" y="91344"/>
                    </a:lnTo>
                    <a:lnTo>
                      <a:pt x="3146069" y="10621"/>
                    </a:lnTo>
                    <a:lnTo>
                      <a:pt x="3146069" y="10621"/>
                    </a:lnTo>
                    <a:lnTo>
                      <a:pt x="3229624" y="139495"/>
                    </a:lnTo>
                    <a:lnTo>
                      <a:pt x="3310347" y="340594"/>
                    </a:lnTo>
                    <a:lnTo>
                      <a:pt x="3214047" y="401490"/>
                    </a:lnTo>
                    <a:lnTo>
                      <a:pt x="3219711" y="367502"/>
                    </a:lnTo>
                    <a:lnTo>
                      <a:pt x="3219711" y="367502"/>
                    </a:lnTo>
                    <a:lnTo>
                      <a:pt x="3048352" y="456722"/>
                    </a:lnTo>
                    <a:lnTo>
                      <a:pt x="2974710" y="347675"/>
                    </a:lnTo>
                    <a:lnTo>
                      <a:pt x="2974710" y="347675"/>
                    </a:lnTo>
                    <a:lnTo>
                      <a:pt x="2902485" y="537444"/>
                    </a:lnTo>
                    <a:lnTo>
                      <a:pt x="2902485" y="537444"/>
                    </a:lnTo>
                    <a:lnTo>
                      <a:pt x="3049768" y="459554"/>
                    </a:lnTo>
                    <a:lnTo>
                      <a:pt x="3071011" y="492126"/>
                    </a:lnTo>
                    <a:lnTo>
                      <a:pt x="2820345" y="650740"/>
                    </a:lnTo>
                    <a:lnTo>
                      <a:pt x="2801934" y="625248"/>
                    </a:lnTo>
                    <a:lnTo>
                      <a:pt x="2801934" y="625248"/>
                    </a:lnTo>
                    <a:lnTo>
                      <a:pt x="2521529" y="840509"/>
                    </a:lnTo>
                    <a:lnTo>
                      <a:pt x="2521529" y="840509"/>
                    </a:lnTo>
                    <a:lnTo>
                      <a:pt x="2522945" y="841925"/>
                    </a:lnTo>
                    <a:lnTo>
                      <a:pt x="2522945" y="841925"/>
                    </a:lnTo>
                    <a:lnTo>
                      <a:pt x="2820345" y="653572"/>
                    </a:lnTo>
                    <a:lnTo>
                      <a:pt x="2991704" y="894324"/>
                    </a:lnTo>
                    <a:lnTo>
                      <a:pt x="2743871" y="945307"/>
                    </a:lnTo>
                    <a:lnTo>
                      <a:pt x="2539939" y="908486"/>
                    </a:lnTo>
                    <a:lnTo>
                      <a:pt x="2129244" y="690393"/>
                    </a:lnTo>
                    <a:lnTo>
                      <a:pt x="2129244" y="690393"/>
                    </a:lnTo>
                    <a:lnTo>
                      <a:pt x="1921064" y="796607"/>
                    </a:lnTo>
                    <a:lnTo>
                      <a:pt x="1921064" y="796607"/>
                    </a:lnTo>
                    <a:lnTo>
                      <a:pt x="2539939" y="909903"/>
                    </a:lnTo>
                    <a:lnTo>
                      <a:pt x="3069595" y="1191725"/>
                    </a:lnTo>
                    <a:lnTo>
                      <a:pt x="3068178" y="1195973"/>
                    </a:lnTo>
                    <a:lnTo>
                      <a:pt x="3046935" y="1180395"/>
                    </a:lnTo>
                    <a:lnTo>
                      <a:pt x="3046935" y="1180395"/>
                    </a:lnTo>
                    <a:lnTo>
                      <a:pt x="2548436" y="1388575"/>
                    </a:lnTo>
                    <a:lnTo>
                      <a:pt x="2415314" y="1398488"/>
                    </a:lnTo>
                    <a:lnTo>
                      <a:pt x="2231209" y="1225713"/>
                    </a:lnTo>
                    <a:lnTo>
                      <a:pt x="2231209" y="1225713"/>
                    </a:lnTo>
                    <a:lnTo>
                      <a:pt x="2236874" y="1414067"/>
                    </a:lnTo>
                    <a:lnTo>
                      <a:pt x="2115082" y="1423980"/>
                    </a:lnTo>
                    <a:lnTo>
                      <a:pt x="2004619" y="1286609"/>
                    </a:lnTo>
                    <a:lnTo>
                      <a:pt x="2265198" y="1167649"/>
                    </a:lnTo>
                    <a:lnTo>
                      <a:pt x="2266614" y="1167649"/>
                    </a:lnTo>
                    <a:lnTo>
                      <a:pt x="2024445" y="1154904"/>
                    </a:lnTo>
                    <a:lnTo>
                      <a:pt x="2024445" y="1154904"/>
                    </a:lnTo>
                    <a:lnTo>
                      <a:pt x="1962133" y="1232794"/>
                    </a:lnTo>
                    <a:lnTo>
                      <a:pt x="1923896" y="1186060"/>
                    </a:lnTo>
                    <a:lnTo>
                      <a:pt x="2103752" y="907070"/>
                    </a:lnTo>
                    <a:lnTo>
                      <a:pt x="2103752" y="907070"/>
                    </a:lnTo>
                    <a:lnTo>
                      <a:pt x="1813433" y="1050106"/>
                    </a:lnTo>
                    <a:lnTo>
                      <a:pt x="1766699" y="990626"/>
                    </a:lnTo>
                    <a:lnTo>
                      <a:pt x="1766699" y="990626"/>
                    </a:lnTo>
                    <a:lnTo>
                      <a:pt x="1751121" y="1081262"/>
                    </a:lnTo>
                    <a:lnTo>
                      <a:pt x="1589675" y="1161985"/>
                    </a:lnTo>
                    <a:lnTo>
                      <a:pt x="1710051" y="898573"/>
                    </a:lnTo>
                    <a:lnTo>
                      <a:pt x="1768115" y="979296"/>
                    </a:lnTo>
                    <a:lnTo>
                      <a:pt x="1768115" y="979296"/>
                    </a:lnTo>
                    <a:lnTo>
                      <a:pt x="1756785" y="792359"/>
                    </a:lnTo>
                    <a:lnTo>
                      <a:pt x="1756785" y="790943"/>
                    </a:lnTo>
                    <a:lnTo>
                      <a:pt x="1710051" y="894324"/>
                    </a:lnTo>
                    <a:lnTo>
                      <a:pt x="1626496" y="776781"/>
                    </a:lnTo>
                    <a:lnTo>
                      <a:pt x="1626496" y="776781"/>
                    </a:lnTo>
                    <a:lnTo>
                      <a:pt x="1507536" y="949556"/>
                    </a:lnTo>
                    <a:lnTo>
                      <a:pt x="1282361" y="1034527"/>
                    </a:lnTo>
                    <a:lnTo>
                      <a:pt x="1273864" y="1030279"/>
                    </a:lnTo>
                    <a:lnTo>
                      <a:pt x="1152071" y="830596"/>
                    </a:lnTo>
                    <a:lnTo>
                      <a:pt x="1152071" y="830596"/>
                    </a:lnTo>
                    <a:lnTo>
                      <a:pt x="1112418" y="943891"/>
                    </a:lnTo>
                    <a:lnTo>
                      <a:pt x="1094008" y="933978"/>
                    </a:lnTo>
                    <a:lnTo>
                      <a:pt x="1064268" y="881579"/>
                    </a:lnTo>
                    <a:lnTo>
                      <a:pt x="1106754" y="816434"/>
                    </a:lnTo>
                    <a:lnTo>
                      <a:pt x="1432478" y="841925"/>
                    </a:lnTo>
                    <a:lnTo>
                      <a:pt x="1432478" y="841925"/>
                    </a:lnTo>
                    <a:lnTo>
                      <a:pt x="1432478" y="840509"/>
                    </a:lnTo>
                    <a:lnTo>
                      <a:pt x="1181812" y="783862"/>
                    </a:lnTo>
                    <a:lnTo>
                      <a:pt x="1357419" y="717301"/>
                    </a:lnTo>
                    <a:lnTo>
                      <a:pt x="1358835" y="717301"/>
                    </a:lnTo>
                    <a:lnTo>
                      <a:pt x="1136494" y="739960"/>
                    </a:lnTo>
                    <a:lnTo>
                      <a:pt x="1116667" y="615335"/>
                    </a:lnTo>
                    <a:lnTo>
                      <a:pt x="1116667" y="615335"/>
                    </a:lnTo>
                    <a:lnTo>
                      <a:pt x="1023198" y="713052"/>
                    </a:lnTo>
                    <a:lnTo>
                      <a:pt x="952389" y="670566"/>
                    </a:lnTo>
                    <a:lnTo>
                      <a:pt x="1109586" y="613919"/>
                    </a:lnTo>
                    <a:lnTo>
                      <a:pt x="1109586" y="613919"/>
                    </a:lnTo>
                    <a:lnTo>
                      <a:pt x="1109586" y="612503"/>
                    </a:lnTo>
                    <a:lnTo>
                      <a:pt x="949556" y="670566"/>
                    </a:lnTo>
                    <a:lnTo>
                      <a:pt x="949556" y="670566"/>
                    </a:lnTo>
                    <a:lnTo>
                      <a:pt x="1023198" y="714468"/>
                    </a:lnTo>
                    <a:lnTo>
                      <a:pt x="990626" y="748457"/>
                    </a:lnTo>
                    <a:lnTo>
                      <a:pt x="953805" y="683312"/>
                    </a:lnTo>
                    <a:lnTo>
                      <a:pt x="953805" y="683312"/>
                    </a:lnTo>
                    <a:lnTo>
                      <a:pt x="766868" y="870249"/>
                    </a:lnTo>
                    <a:lnTo>
                      <a:pt x="751289" y="857504"/>
                    </a:lnTo>
                    <a:lnTo>
                      <a:pt x="751289" y="857504"/>
                    </a:lnTo>
                    <a:lnTo>
                      <a:pt x="752706" y="885827"/>
                    </a:lnTo>
                    <a:lnTo>
                      <a:pt x="619584" y="1018949"/>
                    </a:lnTo>
                    <a:lnTo>
                      <a:pt x="438311" y="1105337"/>
                    </a:lnTo>
                    <a:lnTo>
                      <a:pt x="438311" y="1105337"/>
                    </a:lnTo>
                    <a:lnTo>
                      <a:pt x="555855" y="1198806"/>
                    </a:lnTo>
                    <a:lnTo>
                      <a:pt x="451057" y="1275280"/>
                    </a:lnTo>
                    <a:lnTo>
                      <a:pt x="451057" y="1275280"/>
                    </a:lnTo>
                    <a:lnTo>
                      <a:pt x="452473" y="1276696"/>
                    </a:lnTo>
                    <a:lnTo>
                      <a:pt x="574265" y="1212967"/>
                    </a:lnTo>
                    <a:lnTo>
                      <a:pt x="575682" y="1212967"/>
                    </a:lnTo>
                    <a:lnTo>
                      <a:pt x="570017" y="1229962"/>
                    </a:lnTo>
                    <a:lnTo>
                      <a:pt x="570017" y="1229962"/>
                    </a:lnTo>
                    <a:lnTo>
                      <a:pt x="571433" y="1229962"/>
                    </a:lnTo>
                    <a:lnTo>
                      <a:pt x="571433" y="1229962"/>
                    </a:lnTo>
                    <a:lnTo>
                      <a:pt x="578514" y="1214384"/>
                    </a:lnTo>
                    <a:lnTo>
                      <a:pt x="693225" y="1305020"/>
                    </a:lnTo>
                    <a:lnTo>
                      <a:pt x="681896" y="1152071"/>
                    </a:lnTo>
                    <a:lnTo>
                      <a:pt x="681896" y="1152071"/>
                    </a:lnTo>
                    <a:lnTo>
                      <a:pt x="584179" y="1203054"/>
                    </a:lnTo>
                    <a:lnTo>
                      <a:pt x="602589" y="1166233"/>
                    </a:lnTo>
                    <a:lnTo>
                      <a:pt x="684728" y="1106753"/>
                    </a:lnTo>
                    <a:lnTo>
                      <a:pt x="772532" y="1091175"/>
                    </a:lnTo>
                    <a:lnTo>
                      <a:pt x="772532" y="1091175"/>
                    </a:lnTo>
                    <a:lnTo>
                      <a:pt x="769700" y="1045857"/>
                    </a:lnTo>
                    <a:lnTo>
                      <a:pt x="884411" y="963718"/>
                    </a:lnTo>
                    <a:lnTo>
                      <a:pt x="884411" y="963718"/>
                    </a:lnTo>
                    <a:lnTo>
                      <a:pt x="832012" y="921232"/>
                    </a:lnTo>
                    <a:lnTo>
                      <a:pt x="993458" y="751289"/>
                    </a:lnTo>
                    <a:lnTo>
                      <a:pt x="1026030" y="807937"/>
                    </a:lnTo>
                    <a:lnTo>
                      <a:pt x="979296" y="803688"/>
                    </a:lnTo>
                    <a:lnTo>
                      <a:pt x="979296" y="803688"/>
                    </a:lnTo>
                    <a:lnTo>
                      <a:pt x="1030279" y="898573"/>
                    </a:lnTo>
                    <a:lnTo>
                      <a:pt x="1030279" y="898573"/>
                    </a:lnTo>
                    <a:lnTo>
                      <a:pt x="1050106" y="909903"/>
                    </a:lnTo>
                    <a:lnTo>
                      <a:pt x="949556" y="1065684"/>
                    </a:lnTo>
                    <a:lnTo>
                      <a:pt x="949556" y="1065684"/>
                    </a:lnTo>
                    <a:lnTo>
                      <a:pt x="1052938" y="1140742"/>
                    </a:lnTo>
                    <a:lnTo>
                      <a:pt x="1052938" y="1140742"/>
                    </a:lnTo>
                    <a:lnTo>
                      <a:pt x="1113834" y="963718"/>
                    </a:lnTo>
                    <a:lnTo>
                      <a:pt x="1136494" y="1003371"/>
                    </a:lnTo>
                    <a:lnTo>
                      <a:pt x="1177563" y="1469298"/>
                    </a:lnTo>
                    <a:lnTo>
                      <a:pt x="1164817" y="1514616"/>
                    </a:lnTo>
                    <a:lnTo>
                      <a:pt x="1164817" y="1514616"/>
                    </a:lnTo>
                    <a:lnTo>
                      <a:pt x="1181812" y="1523113"/>
                    </a:lnTo>
                    <a:lnTo>
                      <a:pt x="1186060" y="1565599"/>
                    </a:lnTo>
                    <a:lnTo>
                      <a:pt x="898573" y="1559934"/>
                    </a:lnTo>
                    <a:lnTo>
                      <a:pt x="916984" y="1494789"/>
                    </a:lnTo>
                    <a:lnTo>
                      <a:pt x="916984" y="1494789"/>
                    </a:lnTo>
                    <a:lnTo>
                      <a:pt x="705971" y="1548605"/>
                    </a:lnTo>
                    <a:lnTo>
                      <a:pt x="705971" y="1548605"/>
                    </a:lnTo>
                    <a:lnTo>
                      <a:pt x="881579" y="1803519"/>
                    </a:lnTo>
                    <a:lnTo>
                      <a:pt x="854671" y="1807768"/>
                    </a:lnTo>
                    <a:lnTo>
                      <a:pt x="659237" y="1514616"/>
                    </a:lnTo>
                    <a:lnTo>
                      <a:pt x="659237" y="1514616"/>
                    </a:lnTo>
                    <a:lnTo>
                      <a:pt x="494959" y="1646322"/>
                    </a:lnTo>
                    <a:lnTo>
                      <a:pt x="470884" y="1622247"/>
                    </a:lnTo>
                    <a:lnTo>
                      <a:pt x="470884" y="1541524"/>
                    </a:lnTo>
                    <a:lnTo>
                      <a:pt x="470884" y="1541524"/>
                    </a:lnTo>
                    <a:lnTo>
                      <a:pt x="242877" y="1728461"/>
                    </a:lnTo>
                    <a:lnTo>
                      <a:pt x="242877" y="1728461"/>
                    </a:lnTo>
                    <a:lnTo>
                      <a:pt x="265536" y="1779444"/>
                    </a:lnTo>
                    <a:lnTo>
                      <a:pt x="139495" y="1782276"/>
                    </a:lnTo>
                    <a:lnTo>
                      <a:pt x="138079" y="1782276"/>
                    </a:lnTo>
                    <a:lnTo>
                      <a:pt x="378831" y="1906901"/>
                    </a:lnTo>
                    <a:lnTo>
                      <a:pt x="72934" y="1981959"/>
                    </a:lnTo>
                    <a:lnTo>
                      <a:pt x="17702" y="1986208"/>
                    </a:lnTo>
                    <a:lnTo>
                      <a:pt x="17702" y="1986208"/>
                    </a:lnTo>
                    <a:lnTo>
                      <a:pt x="55939" y="2205717"/>
                    </a:lnTo>
                    <a:lnTo>
                      <a:pt x="55939" y="2205717"/>
                    </a:lnTo>
                    <a:lnTo>
                      <a:pt x="95593" y="2174561"/>
                    </a:lnTo>
                    <a:lnTo>
                      <a:pt x="64437" y="2217047"/>
                    </a:lnTo>
                    <a:lnTo>
                      <a:pt x="64437" y="2217047"/>
                    </a:lnTo>
                    <a:lnTo>
                      <a:pt x="140911" y="2215631"/>
                    </a:lnTo>
                    <a:lnTo>
                      <a:pt x="140911" y="2215631"/>
                    </a:lnTo>
                    <a:lnTo>
                      <a:pt x="207472" y="2133492"/>
                    </a:lnTo>
                    <a:lnTo>
                      <a:pt x="245709" y="2140573"/>
                    </a:lnTo>
                    <a:lnTo>
                      <a:pt x="217385" y="2120746"/>
                    </a:lnTo>
                    <a:lnTo>
                      <a:pt x="309437" y="2006034"/>
                    </a:lnTo>
                    <a:lnTo>
                      <a:pt x="339178" y="1983375"/>
                    </a:lnTo>
                    <a:lnTo>
                      <a:pt x="492127" y="1964965"/>
                    </a:lnTo>
                    <a:lnTo>
                      <a:pt x="492127" y="1964965"/>
                    </a:lnTo>
                    <a:lnTo>
                      <a:pt x="414236" y="1925311"/>
                    </a:lnTo>
                    <a:lnTo>
                      <a:pt x="459554" y="1889907"/>
                    </a:lnTo>
                    <a:lnTo>
                      <a:pt x="601173" y="1854502"/>
                    </a:lnTo>
                    <a:lnTo>
                      <a:pt x="602589" y="1861583"/>
                    </a:lnTo>
                    <a:lnTo>
                      <a:pt x="595508" y="1862999"/>
                    </a:lnTo>
                    <a:lnTo>
                      <a:pt x="595508" y="1862999"/>
                    </a:lnTo>
                    <a:lnTo>
                      <a:pt x="623832" y="1994705"/>
                    </a:lnTo>
                    <a:lnTo>
                      <a:pt x="694642" y="2091006"/>
                    </a:lnTo>
                    <a:lnTo>
                      <a:pt x="745625" y="2122162"/>
                    </a:lnTo>
                    <a:lnTo>
                      <a:pt x="730047" y="2209966"/>
                    </a:lnTo>
                    <a:lnTo>
                      <a:pt x="730047" y="2209966"/>
                    </a:lnTo>
                    <a:lnTo>
                      <a:pt x="731463" y="2209966"/>
                    </a:lnTo>
                    <a:lnTo>
                      <a:pt x="761203" y="2129243"/>
                    </a:lnTo>
                    <a:lnTo>
                      <a:pt x="761203" y="2129243"/>
                    </a:lnTo>
                    <a:lnTo>
                      <a:pt x="748457" y="2120746"/>
                    </a:lnTo>
                    <a:lnTo>
                      <a:pt x="756954" y="2076844"/>
                    </a:lnTo>
                    <a:lnTo>
                      <a:pt x="756954" y="2076844"/>
                    </a:lnTo>
                    <a:lnTo>
                      <a:pt x="635162" y="1991873"/>
                    </a:lnTo>
                    <a:lnTo>
                      <a:pt x="605422" y="1862999"/>
                    </a:lnTo>
                    <a:lnTo>
                      <a:pt x="686144" y="1840340"/>
                    </a:lnTo>
                    <a:lnTo>
                      <a:pt x="686144" y="1840340"/>
                    </a:lnTo>
                    <a:lnTo>
                      <a:pt x="613919" y="1768114"/>
                    </a:lnTo>
                    <a:lnTo>
                      <a:pt x="632329" y="1753952"/>
                    </a:lnTo>
                    <a:lnTo>
                      <a:pt x="755538" y="1824762"/>
                    </a:lnTo>
                    <a:lnTo>
                      <a:pt x="680480" y="1834675"/>
                    </a:lnTo>
                    <a:lnTo>
                      <a:pt x="679064" y="1834675"/>
                    </a:lnTo>
                    <a:lnTo>
                      <a:pt x="992042" y="1963549"/>
                    </a:lnTo>
                    <a:lnTo>
                      <a:pt x="992042" y="1963549"/>
                    </a:lnTo>
                    <a:lnTo>
                      <a:pt x="993458" y="1962132"/>
                    </a:lnTo>
                    <a:lnTo>
                      <a:pt x="754122" y="1824762"/>
                    </a:lnTo>
                    <a:lnTo>
                      <a:pt x="843342" y="1810600"/>
                    </a:lnTo>
                    <a:lnTo>
                      <a:pt x="875914" y="1858750"/>
                    </a:lnTo>
                    <a:lnTo>
                      <a:pt x="875914" y="1858750"/>
                    </a:lnTo>
                    <a:lnTo>
                      <a:pt x="1200222" y="1807768"/>
                    </a:lnTo>
                    <a:lnTo>
                      <a:pt x="1200222" y="1807768"/>
                    </a:lnTo>
                    <a:lnTo>
                      <a:pt x="1200222" y="1800687"/>
                    </a:lnTo>
                    <a:lnTo>
                      <a:pt x="1204471" y="1806351"/>
                    </a:lnTo>
                    <a:lnTo>
                      <a:pt x="1204471" y="1806351"/>
                    </a:lnTo>
                    <a:lnTo>
                      <a:pt x="1282361" y="1642073"/>
                    </a:lnTo>
                    <a:lnTo>
                      <a:pt x="1426813" y="1646322"/>
                    </a:lnTo>
                    <a:lnTo>
                      <a:pt x="1455137" y="1660484"/>
                    </a:lnTo>
                    <a:lnTo>
                      <a:pt x="1557102" y="1854502"/>
                    </a:lnTo>
                    <a:lnTo>
                      <a:pt x="1411235" y="1896988"/>
                    </a:lnTo>
                    <a:lnTo>
                      <a:pt x="1409818" y="1896988"/>
                    </a:lnTo>
                    <a:lnTo>
                      <a:pt x="1601004" y="1936641"/>
                    </a:lnTo>
                    <a:lnTo>
                      <a:pt x="1601004" y="1936641"/>
                    </a:lnTo>
                    <a:lnTo>
                      <a:pt x="1558518" y="1855918"/>
                    </a:lnTo>
                    <a:lnTo>
                      <a:pt x="1742623" y="1802103"/>
                    </a:lnTo>
                    <a:lnTo>
                      <a:pt x="2133492" y="1993289"/>
                    </a:lnTo>
                    <a:lnTo>
                      <a:pt x="2049937" y="2452135"/>
                    </a:lnTo>
                    <a:lnTo>
                      <a:pt x="1928145" y="2469129"/>
                    </a:lnTo>
                    <a:lnTo>
                      <a:pt x="1480628" y="2091006"/>
                    </a:lnTo>
                    <a:lnTo>
                      <a:pt x="1480628" y="2091006"/>
                    </a:lnTo>
                    <a:lnTo>
                      <a:pt x="1489125" y="2110833"/>
                    </a:lnTo>
                    <a:lnTo>
                      <a:pt x="1350338" y="2127827"/>
                    </a:lnTo>
                    <a:lnTo>
                      <a:pt x="1331928" y="2051352"/>
                    </a:lnTo>
                    <a:lnTo>
                      <a:pt x="1331928" y="2051352"/>
                    </a:lnTo>
                    <a:lnTo>
                      <a:pt x="1224297" y="2141989"/>
                    </a:lnTo>
                    <a:lnTo>
                      <a:pt x="1215800" y="2143405"/>
                    </a:lnTo>
                    <a:lnTo>
                      <a:pt x="1079846" y="1964965"/>
                    </a:lnTo>
                    <a:lnTo>
                      <a:pt x="1079846" y="1964965"/>
                    </a:lnTo>
                    <a:lnTo>
                      <a:pt x="1123748" y="2231209"/>
                    </a:lnTo>
                    <a:lnTo>
                      <a:pt x="1123748" y="2231209"/>
                    </a:lnTo>
                    <a:lnTo>
                      <a:pt x="1208719" y="2157567"/>
                    </a:lnTo>
                    <a:lnTo>
                      <a:pt x="1295107" y="2249619"/>
                    </a:lnTo>
                    <a:lnTo>
                      <a:pt x="1380078" y="2361498"/>
                    </a:lnTo>
                    <a:lnTo>
                      <a:pt x="1363084" y="2401152"/>
                    </a:lnTo>
                    <a:lnTo>
                      <a:pt x="1329095" y="2411065"/>
                    </a:lnTo>
                    <a:lnTo>
                      <a:pt x="1329095" y="2411065"/>
                    </a:lnTo>
                    <a:lnTo>
                      <a:pt x="1266783" y="2571095"/>
                    </a:lnTo>
                    <a:lnTo>
                      <a:pt x="1266783" y="2571095"/>
                    </a:lnTo>
                    <a:lnTo>
                      <a:pt x="1469299" y="2735373"/>
                    </a:lnTo>
                    <a:lnTo>
                      <a:pt x="1438142" y="2779275"/>
                    </a:lnTo>
                    <a:lnTo>
                      <a:pt x="1438142" y="2779275"/>
                    </a:lnTo>
                    <a:lnTo>
                      <a:pt x="1547189" y="2799101"/>
                    </a:lnTo>
                    <a:lnTo>
                      <a:pt x="1644906" y="2878408"/>
                    </a:lnTo>
                    <a:lnTo>
                      <a:pt x="1644906" y="2878408"/>
                    </a:lnTo>
                    <a:lnTo>
                      <a:pt x="1701554" y="2876992"/>
                    </a:lnTo>
                    <a:lnTo>
                      <a:pt x="1693057" y="2986038"/>
                    </a:lnTo>
                    <a:lnTo>
                      <a:pt x="1520281" y="3005865"/>
                    </a:lnTo>
                    <a:lnTo>
                      <a:pt x="1520281" y="3005865"/>
                    </a:lnTo>
                    <a:lnTo>
                      <a:pt x="1520281" y="3007281"/>
                    </a:lnTo>
                    <a:lnTo>
                      <a:pt x="1520281" y="3007281"/>
                    </a:lnTo>
                    <a:lnTo>
                      <a:pt x="1690224" y="3018611"/>
                    </a:lnTo>
                    <a:lnTo>
                      <a:pt x="1678895" y="3151733"/>
                    </a:lnTo>
                    <a:lnTo>
                      <a:pt x="1678895" y="3151733"/>
                    </a:lnTo>
                    <a:lnTo>
                      <a:pt x="1888491" y="3028524"/>
                    </a:lnTo>
                    <a:lnTo>
                      <a:pt x="1888491" y="3028524"/>
                    </a:lnTo>
                    <a:lnTo>
                      <a:pt x="1691640" y="3015778"/>
                    </a:lnTo>
                    <a:lnTo>
                      <a:pt x="1694473" y="2987455"/>
                    </a:lnTo>
                    <a:lnTo>
                      <a:pt x="1844589" y="2970460"/>
                    </a:lnTo>
                    <a:lnTo>
                      <a:pt x="1887075" y="3027108"/>
                    </a:lnTo>
                    <a:lnTo>
                      <a:pt x="1887075" y="3027108"/>
                    </a:lnTo>
                    <a:lnTo>
                      <a:pt x="1888491" y="3025692"/>
                    </a:lnTo>
                    <a:lnTo>
                      <a:pt x="1863000" y="2967628"/>
                    </a:lnTo>
                    <a:lnTo>
                      <a:pt x="2001786" y="2952050"/>
                    </a:lnTo>
                    <a:lnTo>
                      <a:pt x="2001786" y="2952050"/>
                    </a:lnTo>
                    <a:lnTo>
                      <a:pt x="1964966" y="2801934"/>
                    </a:lnTo>
                    <a:lnTo>
                      <a:pt x="2055602" y="2831674"/>
                    </a:lnTo>
                    <a:lnTo>
                      <a:pt x="2057018" y="2831674"/>
                    </a:lnTo>
                    <a:lnTo>
                      <a:pt x="1940890" y="2712714"/>
                    </a:lnTo>
                    <a:lnTo>
                      <a:pt x="1940890" y="2712714"/>
                    </a:lnTo>
                    <a:lnTo>
                      <a:pt x="1962133" y="2799101"/>
                    </a:lnTo>
                    <a:lnTo>
                      <a:pt x="1759618" y="2732540"/>
                    </a:lnTo>
                    <a:lnTo>
                      <a:pt x="1489125" y="2112249"/>
                    </a:lnTo>
                    <a:lnTo>
                      <a:pt x="1490541" y="2112249"/>
                    </a:lnTo>
                    <a:lnTo>
                      <a:pt x="1707219" y="2500285"/>
                    </a:lnTo>
                    <a:lnTo>
                      <a:pt x="1707219" y="2500285"/>
                    </a:lnTo>
                    <a:lnTo>
                      <a:pt x="1925312" y="2470545"/>
                    </a:lnTo>
                    <a:lnTo>
                      <a:pt x="1938058" y="2481874"/>
                    </a:lnTo>
                    <a:lnTo>
                      <a:pt x="1782277" y="2508782"/>
                    </a:lnTo>
                    <a:lnTo>
                      <a:pt x="1782277" y="2508782"/>
                    </a:lnTo>
                    <a:lnTo>
                      <a:pt x="2018781" y="2614997"/>
                    </a:lnTo>
                    <a:lnTo>
                      <a:pt x="2008867" y="2671644"/>
                    </a:lnTo>
                    <a:lnTo>
                      <a:pt x="2042856" y="2624910"/>
                    </a:lnTo>
                    <a:lnTo>
                      <a:pt x="2195805" y="2694303"/>
                    </a:lnTo>
                    <a:lnTo>
                      <a:pt x="2197221" y="2694303"/>
                    </a:lnTo>
                    <a:lnTo>
                      <a:pt x="2069764" y="2586673"/>
                    </a:lnTo>
                    <a:lnTo>
                      <a:pt x="2177394" y="2440805"/>
                    </a:lnTo>
                    <a:lnTo>
                      <a:pt x="2188724" y="2439389"/>
                    </a:lnTo>
                    <a:lnTo>
                      <a:pt x="2344505" y="2803350"/>
                    </a:lnTo>
                    <a:lnTo>
                      <a:pt x="2344505" y="2803350"/>
                    </a:lnTo>
                    <a:lnTo>
                      <a:pt x="2394071" y="2579592"/>
                    </a:lnTo>
                    <a:lnTo>
                      <a:pt x="2447887" y="2617829"/>
                    </a:lnTo>
                    <a:lnTo>
                      <a:pt x="2630576" y="2942136"/>
                    </a:lnTo>
                    <a:lnTo>
                      <a:pt x="2613581" y="2998784"/>
                    </a:lnTo>
                    <a:lnTo>
                      <a:pt x="2498870" y="3055432"/>
                    </a:lnTo>
                    <a:lnTo>
                      <a:pt x="2498870" y="3055432"/>
                    </a:lnTo>
                    <a:lnTo>
                      <a:pt x="2576761" y="3116328"/>
                    </a:lnTo>
                    <a:lnTo>
                      <a:pt x="2532858" y="3257947"/>
                    </a:lnTo>
                    <a:lnTo>
                      <a:pt x="2532858" y="3257947"/>
                    </a:lnTo>
                    <a:lnTo>
                      <a:pt x="2656067" y="3174392"/>
                    </a:lnTo>
                    <a:lnTo>
                      <a:pt x="2656067" y="3174392"/>
                    </a:lnTo>
                    <a:lnTo>
                      <a:pt x="2579592" y="3114912"/>
                    </a:lnTo>
                    <a:lnTo>
                      <a:pt x="2614997" y="3000200"/>
                    </a:lnTo>
                    <a:lnTo>
                      <a:pt x="2653234" y="2981790"/>
                    </a:lnTo>
                    <a:lnTo>
                      <a:pt x="2665980" y="3003033"/>
                    </a:lnTo>
                    <a:lnTo>
                      <a:pt x="2657483" y="3405231"/>
                    </a:lnTo>
                    <a:lnTo>
                      <a:pt x="2657483" y="3405231"/>
                    </a:lnTo>
                    <a:lnTo>
                      <a:pt x="2658899" y="3405231"/>
                    </a:lnTo>
                    <a:lnTo>
                      <a:pt x="2658899" y="3405231"/>
                    </a:lnTo>
                    <a:lnTo>
                      <a:pt x="2695720" y="3051183"/>
                    </a:lnTo>
                    <a:lnTo>
                      <a:pt x="2695720" y="3051183"/>
                    </a:lnTo>
                    <a:lnTo>
                      <a:pt x="2668813" y="3001616"/>
                    </a:lnTo>
                    <a:lnTo>
                      <a:pt x="2668813" y="2973293"/>
                    </a:lnTo>
                    <a:lnTo>
                      <a:pt x="2837339" y="2888321"/>
                    </a:lnTo>
                    <a:lnTo>
                      <a:pt x="2837339" y="2888321"/>
                    </a:lnTo>
                    <a:lnTo>
                      <a:pt x="2631991" y="2742454"/>
                    </a:lnTo>
                    <a:lnTo>
                      <a:pt x="2579592" y="2668812"/>
                    </a:lnTo>
                    <a:lnTo>
                      <a:pt x="2792021" y="2728292"/>
                    </a:lnTo>
                    <a:lnTo>
                      <a:pt x="2843004" y="2874159"/>
                    </a:lnTo>
                    <a:lnTo>
                      <a:pt x="2843004" y="2874159"/>
                    </a:lnTo>
                    <a:lnTo>
                      <a:pt x="2919478" y="2790604"/>
                    </a:lnTo>
                    <a:lnTo>
                      <a:pt x="3184306" y="2991703"/>
                    </a:lnTo>
                    <a:lnTo>
                      <a:pt x="3184306" y="2991703"/>
                    </a:lnTo>
                    <a:lnTo>
                      <a:pt x="3197052" y="2980374"/>
                    </a:lnTo>
                    <a:lnTo>
                      <a:pt x="3204133" y="2997368"/>
                    </a:lnTo>
                    <a:lnTo>
                      <a:pt x="3191387" y="3004449"/>
                    </a:lnTo>
                    <a:lnTo>
                      <a:pt x="3191387" y="3004449"/>
                    </a:lnTo>
                    <a:lnTo>
                      <a:pt x="3212630" y="3017195"/>
                    </a:lnTo>
                    <a:lnTo>
                      <a:pt x="3270694" y="3144652"/>
                    </a:lnTo>
                    <a:lnTo>
                      <a:pt x="3270694" y="3144652"/>
                    </a:lnTo>
                    <a:lnTo>
                      <a:pt x="3376909" y="3140403"/>
                    </a:lnTo>
                    <a:lnTo>
                      <a:pt x="3396735" y="3242369"/>
                    </a:lnTo>
                    <a:lnTo>
                      <a:pt x="3396735" y="3242369"/>
                    </a:lnTo>
                    <a:lnTo>
                      <a:pt x="3480290" y="3165895"/>
                    </a:lnTo>
                    <a:lnTo>
                      <a:pt x="3553933" y="3206964"/>
                    </a:lnTo>
                    <a:lnTo>
                      <a:pt x="3430724" y="3306097"/>
                    </a:lnTo>
                    <a:lnTo>
                      <a:pt x="3277775" y="3231040"/>
                    </a:lnTo>
                    <a:lnTo>
                      <a:pt x="3277775" y="3231040"/>
                    </a:lnTo>
                    <a:lnTo>
                      <a:pt x="3248035" y="3364161"/>
                    </a:lnTo>
                    <a:lnTo>
                      <a:pt x="3248035" y="3364161"/>
                    </a:lnTo>
                    <a:lnTo>
                      <a:pt x="3311763" y="3500116"/>
                    </a:lnTo>
                    <a:lnTo>
                      <a:pt x="3154566" y="3464711"/>
                    </a:lnTo>
                    <a:lnTo>
                      <a:pt x="3153150" y="3464711"/>
                    </a:lnTo>
                    <a:lnTo>
                      <a:pt x="3257948" y="3525607"/>
                    </a:lnTo>
                    <a:lnTo>
                      <a:pt x="3226792" y="3538353"/>
                    </a:lnTo>
                    <a:lnTo>
                      <a:pt x="3226792" y="3538353"/>
                    </a:lnTo>
                    <a:lnTo>
                      <a:pt x="3357082" y="3718209"/>
                    </a:lnTo>
                    <a:lnTo>
                      <a:pt x="3357082" y="3718209"/>
                    </a:lnTo>
                    <a:lnTo>
                      <a:pt x="3358497" y="3510029"/>
                    </a:lnTo>
                    <a:lnTo>
                      <a:pt x="3358497" y="3510029"/>
                    </a:lnTo>
                    <a:lnTo>
                      <a:pt x="3320261" y="3501532"/>
                    </a:lnTo>
                    <a:lnTo>
                      <a:pt x="3372659" y="3480289"/>
                    </a:lnTo>
                    <a:lnTo>
                      <a:pt x="3386821" y="3749365"/>
                    </a:lnTo>
                    <a:lnTo>
                      <a:pt x="3265029" y="3660145"/>
                    </a:lnTo>
                    <a:lnTo>
                      <a:pt x="3263613" y="3660145"/>
                    </a:lnTo>
                    <a:lnTo>
                      <a:pt x="3337255" y="3781938"/>
                    </a:lnTo>
                    <a:lnTo>
                      <a:pt x="3300434" y="3763527"/>
                    </a:lnTo>
                    <a:lnTo>
                      <a:pt x="3300434" y="3763527"/>
                    </a:lnTo>
                    <a:lnTo>
                      <a:pt x="3299018" y="3764943"/>
                    </a:lnTo>
                    <a:lnTo>
                      <a:pt x="3351416" y="3806013"/>
                    </a:lnTo>
                    <a:lnTo>
                      <a:pt x="3393902" y="3875406"/>
                    </a:lnTo>
                    <a:lnTo>
                      <a:pt x="3393902" y="3876823"/>
                    </a:lnTo>
                    <a:lnTo>
                      <a:pt x="3392486" y="3838585"/>
                    </a:lnTo>
                    <a:lnTo>
                      <a:pt x="3555348" y="3964626"/>
                    </a:lnTo>
                    <a:lnTo>
                      <a:pt x="3555348" y="3964626"/>
                    </a:lnTo>
                    <a:lnTo>
                      <a:pt x="3570926" y="3905146"/>
                    </a:lnTo>
                    <a:lnTo>
                      <a:pt x="3637487" y="3939135"/>
                    </a:lnTo>
                    <a:lnTo>
                      <a:pt x="3637487" y="3939135"/>
                    </a:lnTo>
                    <a:lnTo>
                      <a:pt x="3638904" y="3937719"/>
                    </a:lnTo>
                    <a:lnTo>
                      <a:pt x="3638904" y="3937719"/>
                    </a:lnTo>
                    <a:lnTo>
                      <a:pt x="3575175" y="3890985"/>
                    </a:lnTo>
                    <a:lnTo>
                      <a:pt x="3647401" y="3619076"/>
                    </a:lnTo>
                    <a:lnTo>
                      <a:pt x="3772026" y="3688469"/>
                    </a:lnTo>
                    <a:lnTo>
                      <a:pt x="3772026" y="3688469"/>
                    </a:lnTo>
                    <a:lnTo>
                      <a:pt x="3783355" y="3453381"/>
                    </a:lnTo>
                    <a:lnTo>
                      <a:pt x="3896650" y="3772024"/>
                    </a:lnTo>
                    <a:lnTo>
                      <a:pt x="3756448" y="3759279"/>
                    </a:lnTo>
                    <a:lnTo>
                      <a:pt x="3781939" y="3691302"/>
                    </a:lnTo>
                    <a:lnTo>
                      <a:pt x="3781939" y="3691302"/>
                    </a:lnTo>
                    <a:lnTo>
                      <a:pt x="3660147" y="3753614"/>
                    </a:lnTo>
                    <a:lnTo>
                      <a:pt x="3660147" y="3753614"/>
                    </a:lnTo>
                    <a:lnTo>
                      <a:pt x="3755031" y="3762111"/>
                    </a:lnTo>
                    <a:lnTo>
                      <a:pt x="3739453" y="3803181"/>
                    </a:lnTo>
                    <a:lnTo>
                      <a:pt x="3739453" y="3803181"/>
                    </a:lnTo>
                    <a:lnTo>
                      <a:pt x="3929223" y="3837169"/>
                    </a:lnTo>
                    <a:lnTo>
                      <a:pt x="3929223" y="3837169"/>
                    </a:lnTo>
                    <a:lnTo>
                      <a:pt x="4247866" y="3749365"/>
                    </a:lnTo>
                    <a:lnTo>
                      <a:pt x="4379572" y="3804597"/>
                    </a:lnTo>
                    <a:lnTo>
                      <a:pt x="4352664" y="3815926"/>
                    </a:lnTo>
                    <a:lnTo>
                      <a:pt x="4424890" y="3823007"/>
                    </a:lnTo>
                    <a:lnTo>
                      <a:pt x="4464544" y="3840002"/>
                    </a:lnTo>
                    <a:lnTo>
                      <a:pt x="4471625" y="3848499"/>
                    </a:lnTo>
                    <a:lnTo>
                      <a:pt x="4348416" y="3838585"/>
                    </a:lnTo>
                    <a:lnTo>
                      <a:pt x="4347000" y="3838585"/>
                    </a:lnTo>
                    <a:lnTo>
                      <a:pt x="4516943" y="3902314"/>
                    </a:lnTo>
                    <a:lnTo>
                      <a:pt x="4536769" y="3924973"/>
                    </a:lnTo>
                    <a:lnTo>
                      <a:pt x="4440468" y="3967459"/>
                    </a:lnTo>
                    <a:lnTo>
                      <a:pt x="4440468" y="3967459"/>
                    </a:lnTo>
                    <a:lnTo>
                      <a:pt x="4586336" y="3995783"/>
                    </a:lnTo>
                    <a:lnTo>
                      <a:pt x="4586336" y="3995783"/>
                    </a:lnTo>
                    <a:lnTo>
                      <a:pt x="4709544" y="3971707"/>
                    </a:lnTo>
                    <a:lnTo>
                      <a:pt x="4710960" y="3971707"/>
                    </a:lnTo>
                    <a:lnTo>
                      <a:pt x="4519775" y="3899481"/>
                    </a:lnTo>
                    <a:lnTo>
                      <a:pt x="4477289" y="3849915"/>
                    </a:lnTo>
                    <a:lnTo>
                      <a:pt x="4501364" y="3851331"/>
                    </a:lnTo>
                    <a:lnTo>
                      <a:pt x="4467376" y="3837169"/>
                    </a:lnTo>
                    <a:lnTo>
                      <a:pt x="4457463" y="3825840"/>
                    </a:lnTo>
                    <a:lnTo>
                      <a:pt x="4841250" y="3862661"/>
                    </a:lnTo>
                    <a:lnTo>
                      <a:pt x="4987118" y="3964626"/>
                    </a:lnTo>
                    <a:lnTo>
                      <a:pt x="5087668" y="4029771"/>
                    </a:lnTo>
                    <a:lnTo>
                      <a:pt x="5087668" y="4029771"/>
                    </a:lnTo>
                    <a:lnTo>
                      <a:pt x="5089084" y="4028355"/>
                    </a:lnTo>
                    <a:lnTo>
                      <a:pt x="4985702" y="3958962"/>
                    </a:lnTo>
                    <a:lnTo>
                      <a:pt x="4839834" y="3856996"/>
                    </a:lnTo>
                    <a:lnTo>
                      <a:pt x="4453214" y="3820175"/>
                    </a:lnTo>
                    <a:lnTo>
                      <a:pt x="4422058" y="3783354"/>
                    </a:lnTo>
                    <a:lnTo>
                      <a:pt x="4422058" y="3783354"/>
                    </a:lnTo>
                    <a:lnTo>
                      <a:pt x="4382405" y="3800348"/>
                    </a:lnTo>
                    <a:lnTo>
                      <a:pt x="4247866" y="3745117"/>
                    </a:lnTo>
                    <a:lnTo>
                      <a:pt x="4247866" y="3745117"/>
                    </a:lnTo>
                    <a:lnTo>
                      <a:pt x="3929223" y="3832921"/>
                    </a:lnTo>
                    <a:lnTo>
                      <a:pt x="3742286" y="3800348"/>
                    </a:lnTo>
                    <a:lnTo>
                      <a:pt x="3756448" y="3760695"/>
                    </a:lnTo>
                    <a:lnTo>
                      <a:pt x="3899483" y="3773440"/>
                    </a:lnTo>
                    <a:lnTo>
                      <a:pt x="3899483" y="3773440"/>
                    </a:lnTo>
                    <a:lnTo>
                      <a:pt x="3781939" y="3442052"/>
                    </a:lnTo>
                    <a:lnTo>
                      <a:pt x="3781939" y="3440636"/>
                    </a:lnTo>
                    <a:lnTo>
                      <a:pt x="3770610" y="3682804"/>
                    </a:lnTo>
                    <a:lnTo>
                      <a:pt x="3647401" y="3614827"/>
                    </a:lnTo>
                    <a:lnTo>
                      <a:pt x="3647401" y="3614827"/>
                    </a:lnTo>
                    <a:lnTo>
                      <a:pt x="3575175" y="3888152"/>
                    </a:lnTo>
                    <a:lnTo>
                      <a:pt x="3389654" y="3752198"/>
                    </a:lnTo>
                    <a:lnTo>
                      <a:pt x="3375492" y="3478873"/>
                    </a:lnTo>
                    <a:lnTo>
                      <a:pt x="3375492" y="3478873"/>
                    </a:lnTo>
                    <a:lnTo>
                      <a:pt x="3318844" y="3502948"/>
                    </a:lnTo>
                    <a:lnTo>
                      <a:pt x="3317428" y="3502948"/>
                    </a:lnTo>
                    <a:lnTo>
                      <a:pt x="3252283" y="3366994"/>
                    </a:lnTo>
                    <a:lnTo>
                      <a:pt x="3280607" y="3236704"/>
                    </a:lnTo>
                    <a:lnTo>
                      <a:pt x="3432140" y="3310346"/>
                    </a:lnTo>
                    <a:lnTo>
                      <a:pt x="3432140" y="3310346"/>
                    </a:lnTo>
                    <a:lnTo>
                      <a:pt x="3558181" y="3209797"/>
                    </a:lnTo>
                    <a:lnTo>
                      <a:pt x="3558181" y="3209797"/>
                    </a:lnTo>
                    <a:lnTo>
                      <a:pt x="3483123" y="3167311"/>
                    </a:lnTo>
                    <a:lnTo>
                      <a:pt x="3517111" y="3136155"/>
                    </a:lnTo>
                    <a:lnTo>
                      <a:pt x="3432140" y="3138987"/>
                    </a:lnTo>
                    <a:lnTo>
                      <a:pt x="3372659" y="3106415"/>
                    </a:lnTo>
                    <a:lnTo>
                      <a:pt x="3342920" y="2954882"/>
                    </a:lnTo>
                    <a:lnTo>
                      <a:pt x="3450550" y="3005865"/>
                    </a:lnTo>
                    <a:lnTo>
                      <a:pt x="3450550" y="3005865"/>
                    </a:lnTo>
                    <a:lnTo>
                      <a:pt x="3434972" y="2888321"/>
                    </a:lnTo>
                    <a:lnTo>
                      <a:pt x="3696968" y="2756616"/>
                    </a:lnTo>
                    <a:lnTo>
                      <a:pt x="3696968" y="2756616"/>
                    </a:lnTo>
                    <a:lnTo>
                      <a:pt x="3621910" y="2718378"/>
                    </a:lnTo>
                    <a:lnTo>
                      <a:pt x="3779106" y="2347336"/>
                    </a:lnTo>
                    <a:lnTo>
                      <a:pt x="3779106" y="2347336"/>
                    </a:lnTo>
                    <a:lnTo>
                      <a:pt x="3745118" y="2072595"/>
                    </a:lnTo>
                    <a:lnTo>
                      <a:pt x="3823009" y="2102335"/>
                    </a:lnTo>
                    <a:lnTo>
                      <a:pt x="3823009" y="2102335"/>
                    </a:lnTo>
                    <a:lnTo>
                      <a:pt x="3865495" y="1969213"/>
                    </a:lnTo>
                    <a:lnTo>
                      <a:pt x="4045350" y="2074011"/>
                    </a:lnTo>
                    <a:lnTo>
                      <a:pt x="4046767" y="2074011"/>
                    </a:lnTo>
                    <a:lnTo>
                      <a:pt x="3889569" y="1891323"/>
                    </a:lnTo>
                    <a:lnTo>
                      <a:pt x="3933472" y="1752536"/>
                    </a:lnTo>
                    <a:lnTo>
                      <a:pt x="4086420" y="1710050"/>
                    </a:lnTo>
                    <a:lnTo>
                      <a:pt x="4235120" y="1786525"/>
                    </a:lnTo>
                    <a:lnTo>
                      <a:pt x="4195467" y="1974878"/>
                    </a:lnTo>
                    <a:lnTo>
                      <a:pt x="4195467" y="1974878"/>
                    </a:lnTo>
                    <a:lnTo>
                      <a:pt x="4390901" y="1862999"/>
                    </a:lnTo>
                    <a:lnTo>
                      <a:pt x="4390901" y="1862999"/>
                    </a:lnTo>
                    <a:lnTo>
                      <a:pt x="4243617" y="1786525"/>
                    </a:lnTo>
                    <a:lnTo>
                      <a:pt x="4270525" y="1661900"/>
                    </a:lnTo>
                    <a:lnTo>
                      <a:pt x="4407896" y="1625079"/>
                    </a:lnTo>
                    <a:lnTo>
                      <a:pt x="4407896" y="1625079"/>
                    </a:lnTo>
                    <a:lnTo>
                      <a:pt x="4274774" y="1354587"/>
                    </a:lnTo>
                    <a:lnTo>
                      <a:pt x="4480121" y="1273864"/>
                    </a:lnTo>
                    <a:lnTo>
                      <a:pt x="4480121" y="1273864"/>
                    </a:lnTo>
                    <a:lnTo>
                      <a:pt x="4478705" y="1261118"/>
                    </a:lnTo>
                    <a:lnTo>
                      <a:pt x="4777522" y="1191725"/>
                    </a:lnTo>
                    <a:lnTo>
                      <a:pt x="4984286" y="970799"/>
                    </a:lnTo>
                    <a:lnTo>
                      <a:pt x="5267524" y="1129412"/>
                    </a:lnTo>
                    <a:lnTo>
                      <a:pt x="5149980" y="1232794"/>
                    </a:lnTo>
                    <a:lnTo>
                      <a:pt x="5040934" y="1307852"/>
                    </a:lnTo>
                    <a:lnTo>
                      <a:pt x="5040934" y="1307852"/>
                    </a:lnTo>
                    <a:lnTo>
                      <a:pt x="5113159" y="1416899"/>
                    </a:lnTo>
                    <a:lnTo>
                      <a:pt x="5021107" y="1585426"/>
                    </a:lnTo>
                    <a:lnTo>
                      <a:pt x="4934719" y="1693056"/>
                    </a:lnTo>
                    <a:lnTo>
                      <a:pt x="4844083" y="1821930"/>
                    </a:lnTo>
                    <a:lnTo>
                      <a:pt x="4784602" y="1879993"/>
                    </a:lnTo>
                    <a:lnTo>
                      <a:pt x="4784602" y="1879993"/>
                    </a:lnTo>
                    <a:lnTo>
                      <a:pt x="4786019" y="1881410"/>
                    </a:lnTo>
                    <a:lnTo>
                      <a:pt x="4786019" y="1881410"/>
                    </a:lnTo>
                    <a:lnTo>
                      <a:pt x="4845499" y="1823346"/>
                    </a:lnTo>
                    <a:lnTo>
                      <a:pt x="4937551" y="1693056"/>
                    </a:lnTo>
                    <a:lnTo>
                      <a:pt x="5023939" y="1585426"/>
                    </a:lnTo>
                    <a:lnTo>
                      <a:pt x="5115992" y="1416899"/>
                    </a:lnTo>
                    <a:lnTo>
                      <a:pt x="5115992" y="1416899"/>
                    </a:lnTo>
                    <a:lnTo>
                      <a:pt x="5045182" y="1309268"/>
                    </a:lnTo>
                    <a:lnTo>
                      <a:pt x="5152812" y="1235626"/>
                    </a:lnTo>
                    <a:lnTo>
                      <a:pt x="5271773" y="1130828"/>
                    </a:lnTo>
                    <a:lnTo>
                      <a:pt x="5271773" y="1130828"/>
                    </a:lnTo>
                    <a:lnTo>
                      <a:pt x="4984286" y="969383"/>
                    </a:lnTo>
                    <a:lnTo>
                      <a:pt x="4984286" y="969383"/>
                    </a:lnTo>
                    <a:lnTo>
                      <a:pt x="4776106" y="1188892"/>
                    </a:lnTo>
                    <a:lnTo>
                      <a:pt x="4477289" y="1258286"/>
                    </a:lnTo>
                    <a:lnTo>
                      <a:pt x="4458878" y="1115250"/>
                    </a:lnTo>
                    <a:lnTo>
                      <a:pt x="4542434" y="980712"/>
                    </a:lnTo>
                    <a:lnTo>
                      <a:pt x="4618908" y="956637"/>
                    </a:lnTo>
                    <a:lnTo>
                      <a:pt x="4771857" y="1108169"/>
                    </a:lnTo>
                    <a:lnTo>
                      <a:pt x="4771857" y="1108169"/>
                    </a:lnTo>
                    <a:lnTo>
                      <a:pt x="5084835" y="892908"/>
                    </a:lnTo>
                    <a:lnTo>
                      <a:pt x="5264692" y="993458"/>
                    </a:lnTo>
                    <a:lnTo>
                      <a:pt x="5264692" y="993458"/>
                    </a:lnTo>
                    <a:lnTo>
                      <a:pt x="5271773" y="982128"/>
                    </a:lnTo>
                    <a:lnTo>
                      <a:pt x="5355327" y="1030279"/>
                    </a:lnTo>
                    <a:lnTo>
                      <a:pt x="5277437" y="1147823"/>
                    </a:lnTo>
                    <a:lnTo>
                      <a:pt x="5277437" y="1149239"/>
                    </a:lnTo>
                    <a:lnTo>
                      <a:pt x="5404894" y="1057186"/>
                    </a:lnTo>
                    <a:lnTo>
                      <a:pt x="5404894" y="1057186"/>
                    </a:lnTo>
                    <a:lnTo>
                      <a:pt x="5358160" y="1030279"/>
                    </a:lnTo>
                    <a:lnTo>
                      <a:pt x="5411975" y="949556"/>
                    </a:lnTo>
                    <a:lnTo>
                      <a:pt x="5489866" y="1043025"/>
                    </a:lnTo>
                    <a:lnTo>
                      <a:pt x="5489866" y="1043025"/>
                    </a:lnTo>
                    <a:lnTo>
                      <a:pt x="5706544" y="803688"/>
                    </a:lnTo>
                    <a:lnTo>
                      <a:pt x="5804260" y="929729"/>
                    </a:lnTo>
                    <a:lnTo>
                      <a:pt x="5804260" y="929729"/>
                    </a:lnTo>
                    <a:lnTo>
                      <a:pt x="5805677" y="928313"/>
                    </a:lnTo>
                    <a:lnTo>
                      <a:pt x="5805677" y="928313"/>
                    </a:lnTo>
                    <a:lnTo>
                      <a:pt x="5707959" y="799440"/>
                    </a:lnTo>
                    <a:close/>
                    <a:moveTo>
                      <a:pt x="3376909" y="3106415"/>
                    </a:moveTo>
                    <a:lnTo>
                      <a:pt x="3432140" y="3137571"/>
                    </a:lnTo>
                    <a:lnTo>
                      <a:pt x="3383990" y="3138987"/>
                    </a:lnTo>
                    <a:lnTo>
                      <a:pt x="3376909" y="3106415"/>
                    </a:lnTo>
                    <a:close/>
                    <a:moveTo>
                      <a:pt x="3402400" y="3239537"/>
                    </a:moveTo>
                    <a:lnTo>
                      <a:pt x="3382573" y="3141819"/>
                    </a:lnTo>
                    <a:lnTo>
                      <a:pt x="3434972" y="3140403"/>
                    </a:lnTo>
                    <a:lnTo>
                      <a:pt x="3483123" y="3167311"/>
                    </a:lnTo>
                    <a:lnTo>
                      <a:pt x="3402400" y="3239537"/>
                    </a:lnTo>
                    <a:close/>
                    <a:moveTo>
                      <a:pt x="3439221" y="3138987"/>
                    </a:moveTo>
                    <a:lnTo>
                      <a:pt x="3514279" y="3136155"/>
                    </a:lnTo>
                    <a:lnTo>
                      <a:pt x="3483123" y="3164478"/>
                    </a:lnTo>
                    <a:lnTo>
                      <a:pt x="3439221" y="3138987"/>
                    </a:lnTo>
                    <a:close/>
                    <a:moveTo>
                      <a:pt x="2505951" y="3059680"/>
                    </a:moveTo>
                    <a:lnTo>
                      <a:pt x="2614997" y="3004449"/>
                    </a:lnTo>
                    <a:lnTo>
                      <a:pt x="2579592" y="3117744"/>
                    </a:lnTo>
                    <a:lnTo>
                      <a:pt x="2505951" y="3059680"/>
                    </a:lnTo>
                    <a:close/>
                    <a:moveTo>
                      <a:pt x="2539939" y="3255115"/>
                    </a:moveTo>
                    <a:lnTo>
                      <a:pt x="2581009" y="3119160"/>
                    </a:lnTo>
                    <a:lnTo>
                      <a:pt x="2654651" y="3175808"/>
                    </a:lnTo>
                    <a:lnTo>
                      <a:pt x="2539939" y="3255115"/>
                    </a:lnTo>
                    <a:close/>
                    <a:moveTo>
                      <a:pt x="1928145" y="2469129"/>
                    </a:moveTo>
                    <a:lnTo>
                      <a:pt x="1712883" y="2498869"/>
                    </a:lnTo>
                    <a:lnTo>
                      <a:pt x="1496206" y="2110833"/>
                    </a:lnTo>
                    <a:lnTo>
                      <a:pt x="1496206" y="2110833"/>
                    </a:lnTo>
                    <a:lnTo>
                      <a:pt x="1493374" y="2110833"/>
                    </a:lnTo>
                    <a:lnTo>
                      <a:pt x="1487709" y="2098087"/>
                    </a:lnTo>
                    <a:lnTo>
                      <a:pt x="1928145" y="2469129"/>
                    </a:lnTo>
                    <a:close/>
                    <a:moveTo>
                      <a:pt x="1928145" y="2865662"/>
                    </a:moveTo>
                    <a:lnTo>
                      <a:pt x="1824762" y="2869911"/>
                    </a:lnTo>
                    <a:lnTo>
                      <a:pt x="1814849" y="2845835"/>
                    </a:lnTo>
                    <a:lnTo>
                      <a:pt x="1928145" y="2865662"/>
                    </a:lnTo>
                    <a:close/>
                    <a:moveTo>
                      <a:pt x="1867248" y="2966212"/>
                    </a:moveTo>
                    <a:lnTo>
                      <a:pt x="1826179" y="2871327"/>
                    </a:lnTo>
                    <a:lnTo>
                      <a:pt x="1939474" y="2867078"/>
                    </a:lnTo>
                    <a:lnTo>
                      <a:pt x="1939474" y="2867078"/>
                    </a:lnTo>
                    <a:lnTo>
                      <a:pt x="1939474" y="2865662"/>
                    </a:lnTo>
                    <a:lnTo>
                      <a:pt x="1813433" y="2843003"/>
                    </a:lnTo>
                    <a:lnTo>
                      <a:pt x="1766699" y="2735373"/>
                    </a:lnTo>
                    <a:lnTo>
                      <a:pt x="1969214" y="2801934"/>
                    </a:lnTo>
                    <a:lnTo>
                      <a:pt x="2006035" y="2950634"/>
                    </a:lnTo>
                    <a:lnTo>
                      <a:pt x="1867248" y="2966212"/>
                    </a:lnTo>
                    <a:close/>
                    <a:moveTo>
                      <a:pt x="1745456" y="2833090"/>
                    </a:moveTo>
                    <a:lnTo>
                      <a:pt x="1812017" y="2844419"/>
                    </a:lnTo>
                    <a:lnTo>
                      <a:pt x="1823346" y="2868495"/>
                    </a:lnTo>
                    <a:lnTo>
                      <a:pt x="1775196" y="2869911"/>
                    </a:lnTo>
                    <a:lnTo>
                      <a:pt x="1745456" y="2833090"/>
                    </a:lnTo>
                    <a:close/>
                    <a:moveTo>
                      <a:pt x="1708635" y="2827425"/>
                    </a:moveTo>
                    <a:lnTo>
                      <a:pt x="1704386" y="2874159"/>
                    </a:lnTo>
                    <a:lnTo>
                      <a:pt x="1649155" y="2875576"/>
                    </a:lnTo>
                    <a:lnTo>
                      <a:pt x="1554270" y="2799101"/>
                    </a:lnTo>
                    <a:lnTo>
                      <a:pt x="1708635" y="2827425"/>
                    </a:lnTo>
                    <a:close/>
                    <a:moveTo>
                      <a:pt x="1405570" y="2392654"/>
                    </a:moveTo>
                    <a:lnTo>
                      <a:pt x="1439559" y="2437973"/>
                    </a:lnTo>
                    <a:lnTo>
                      <a:pt x="1303604" y="2547019"/>
                    </a:lnTo>
                    <a:lnTo>
                      <a:pt x="1365916" y="2402568"/>
                    </a:lnTo>
                    <a:lnTo>
                      <a:pt x="1405570" y="2392654"/>
                    </a:lnTo>
                    <a:close/>
                    <a:moveTo>
                      <a:pt x="1299356" y="2249619"/>
                    </a:moveTo>
                    <a:lnTo>
                      <a:pt x="1222881" y="2149070"/>
                    </a:lnTo>
                    <a:lnTo>
                      <a:pt x="1228546" y="2144821"/>
                    </a:lnTo>
                    <a:lnTo>
                      <a:pt x="1351754" y="2130659"/>
                    </a:lnTo>
                    <a:lnTo>
                      <a:pt x="1387159" y="2272278"/>
                    </a:lnTo>
                    <a:lnTo>
                      <a:pt x="1387159" y="2272278"/>
                    </a:lnTo>
                    <a:lnTo>
                      <a:pt x="1480628" y="2137740"/>
                    </a:lnTo>
                    <a:lnTo>
                      <a:pt x="1389992" y="2345920"/>
                    </a:lnTo>
                    <a:lnTo>
                      <a:pt x="1299356" y="2249619"/>
                    </a:lnTo>
                    <a:close/>
                    <a:moveTo>
                      <a:pt x="1296523" y="2565430"/>
                    </a:moveTo>
                    <a:lnTo>
                      <a:pt x="1303604" y="2551268"/>
                    </a:lnTo>
                    <a:lnTo>
                      <a:pt x="1442391" y="2439389"/>
                    </a:lnTo>
                    <a:lnTo>
                      <a:pt x="1567016" y="2602251"/>
                    </a:lnTo>
                    <a:lnTo>
                      <a:pt x="1542940" y="2636239"/>
                    </a:lnTo>
                    <a:lnTo>
                      <a:pt x="1296523" y="2565430"/>
                    </a:lnTo>
                    <a:close/>
                    <a:moveTo>
                      <a:pt x="1609501" y="2658898"/>
                    </a:moveTo>
                    <a:lnTo>
                      <a:pt x="1632161" y="2688638"/>
                    </a:lnTo>
                    <a:lnTo>
                      <a:pt x="1530195" y="2654650"/>
                    </a:lnTo>
                    <a:lnTo>
                      <a:pt x="1541524" y="2639072"/>
                    </a:lnTo>
                    <a:lnTo>
                      <a:pt x="1609501" y="2658898"/>
                    </a:lnTo>
                    <a:close/>
                    <a:moveTo>
                      <a:pt x="1425397" y="2386990"/>
                    </a:moveTo>
                    <a:lnTo>
                      <a:pt x="1459385" y="2422394"/>
                    </a:lnTo>
                    <a:lnTo>
                      <a:pt x="1442391" y="2436556"/>
                    </a:lnTo>
                    <a:lnTo>
                      <a:pt x="1408402" y="2392654"/>
                    </a:lnTo>
                    <a:lnTo>
                      <a:pt x="1425397" y="2386990"/>
                    </a:lnTo>
                    <a:close/>
                    <a:moveTo>
                      <a:pt x="1428229" y="2386990"/>
                    </a:moveTo>
                    <a:lnTo>
                      <a:pt x="1542940" y="2354417"/>
                    </a:lnTo>
                    <a:lnTo>
                      <a:pt x="1460801" y="2420978"/>
                    </a:lnTo>
                    <a:lnTo>
                      <a:pt x="1428229" y="2386990"/>
                    </a:lnTo>
                    <a:close/>
                    <a:moveTo>
                      <a:pt x="1460801" y="2423811"/>
                    </a:moveTo>
                    <a:lnTo>
                      <a:pt x="1593923" y="2564014"/>
                    </a:lnTo>
                    <a:lnTo>
                      <a:pt x="1568432" y="2600835"/>
                    </a:lnTo>
                    <a:lnTo>
                      <a:pt x="1443807" y="2437973"/>
                    </a:lnTo>
                    <a:lnTo>
                      <a:pt x="1460801" y="2423811"/>
                    </a:lnTo>
                    <a:close/>
                    <a:moveTo>
                      <a:pt x="1544357" y="2637655"/>
                    </a:moveTo>
                    <a:lnTo>
                      <a:pt x="1568432" y="2603667"/>
                    </a:lnTo>
                    <a:lnTo>
                      <a:pt x="1608085" y="2656066"/>
                    </a:lnTo>
                    <a:lnTo>
                      <a:pt x="1544357" y="2637655"/>
                    </a:lnTo>
                    <a:close/>
                    <a:moveTo>
                      <a:pt x="1636409" y="2690054"/>
                    </a:moveTo>
                    <a:lnTo>
                      <a:pt x="1613750" y="2660315"/>
                    </a:lnTo>
                    <a:lnTo>
                      <a:pt x="1721381" y="2691471"/>
                    </a:lnTo>
                    <a:lnTo>
                      <a:pt x="1718548" y="2718378"/>
                    </a:lnTo>
                    <a:lnTo>
                      <a:pt x="1636409" y="2690054"/>
                    </a:lnTo>
                    <a:close/>
                    <a:moveTo>
                      <a:pt x="1718548" y="2719795"/>
                    </a:moveTo>
                    <a:lnTo>
                      <a:pt x="1712883" y="2789188"/>
                    </a:lnTo>
                    <a:lnTo>
                      <a:pt x="1639242" y="2692887"/>
                    </a:lnTo>
                    <a:lnTo>
                      <a:pt x="1718548" y="2719795"/>
                    </a:lnTo>
                    <a:close/>
                    <a:moveTo>
                      <a:pt x="1423980" y="2385573"/>
                    </a:moveTo>
                    <a:lnTo>
                      <a:pt x="1406986" y="2389822"/>
                    </a:lnTo>
                    <a:lnTo>
                      <a:pt x="1385743" y="2361498"/>
                    </a:lnTo>
                    <a:lnTo>
                      <a:pt x="1391408" y="2348753"/>
                    </a:lnTo>
                    <a:lnTo>
                      <a:pt x="1423980" y="2385573"/>
                    </a:lnTo>
                    <a:close/>
                    <a:moveTo>
                      <a:pt x="1288026" y="2564014"/>
                    </a:moveTo>
                    <a:lnTo>
                      <a:pt x="1299356" y="2554100"/>
                    </a:lnTo>
                    <a:lnTo>
                      <a:pt x="1293691" y="2565430"/>
                    </a:lnTo>
                    <a:lnTo>
                      <a:pt x="1288026" y="2564014"/>
                    </a:lnTo>
                    <a:close/>
                    <a:moveTo>
                      <a:pt x="1540108" y="2639072"/>
                    </a:moveTo>
                    <a:lnTo>
                      <a:pt x="1528778" y="2654650"/>
                    </a:lnTo>
                    <a:lnTo>
                      <a:pt x="1292275" y="2576759"/>
                    </a:lnTo>
                    <a:lnTo>
                      <a:pt x="1296523" y="2568262"/>
                    </a:lnTo>
                    <a:lnTo>
                      <a:pt x="1540108" y="2639072"/>
                    </a:lnTo>
                    <a:close/>
                    <a:moveTo>
                      <a:pt x="1711467" y="2824593"/>
                    </a:moveTo>
                    <a:lnTo>
                      <a:pt x="1714300" y="2794853"/>
                    </a:lnTo>
                    <a:lnTo>
                      <a:pt x="1741207" y="2830257"/>
                    </a:lnTo>
                    <a:lnTo>
                      <a:pt x="1711467" y="2824593"/>
                    </a:lnTo>
                    <a:close/>
                    <a:moveTo>
                      <a:pt x="1707219" y="2874159"/>
                    </a:moveTo>
                    <a:lnTo>
                      <a:pt x="1711467" y="2827425"/>
                    </a:lnTo>
                    <a:lnTo>
                      <a:pt x="1742623" y="2833090"/>
                    </a:lnTo>
                    <a:lnTo>
                      <a:pt x="1772363" y="2871327"/>
                    </a:lnTo>
                    <a:lnTo>
                      <a:pt x="1707219" y="2874159"/>
                    </a:lnTo>
                    <a:close/>
                    <a:moveTo>
                      <a:pt x="1388576" y="2347336"/>
                    </a:moveTo>
                    <a:lnTo>
                      <a:pt x="1382911" y="2360082"/>
                    </a:lnTo>
                    <a:lnTo>
                      <a:pt x="1310685" y="2265197"/>
                    </a:lnTo>
                    <a:lnTo>
                      <a:pt x="1388576" y="2347336"/>
                    </a:lnTo>
                    <a:close/>
                    <a:moveTo>
                      <a:pt x="1404154" y="2391238"/>
                    </a:moveTo>
                    <a:lnTo>
                      <a:pt x="1368749" y="2401152"/>
                    </a:lnTo>
                    <a:lnTo>
                      <a:pt x="1384327" y="2364331"/>
                    </a:lnTo>
                    <a:lnTo>
                      <a:pt x="1404154" y="2391238"/>
                    </a:lnTo>
                    <a:close/>
                    <a:moveTo>
                      <a:pt x="1302188" y="2549852"/>
                    </a:moveTo>
                    <a:lnTo>
                      <a:pt x="1285194" y="2564014"/>
                    </a:lnTo>
                    <a:lnTo>
                      <a:pt x="1285194" y="2564014"/>
                    </a:lnTo>
                    <a:lnTo>
                      <a:pt x="1295107" y="2566846"/>
                    </a:lnTo>
                    <a:lnTo>
                      <a:pt x="1290858" y="2576759"/>
                    </a:lnTo>
                    <a:lnTo>
                      <a:pt x="1290858" y="2576759"/>
                    </a:lnTo>
                    <a:lnTo>
                      <a:pt x="1528778" y="2656066"/>
                    </a:lnTo>
                    <a:lnTo>
                      <a:pt x="1473547" y="2732540"/>
                    </a:lnTo>
                    <a:lnTo>
                      <a:pt x="1272448" y="2569678"/>
                    </a:lnTo>
                    <a:lnTo>
                      <a:pt x="1334760" y="2412481"/>
                    </a:lnTo>
                    <a:lnTo>
                      <a:pt x="1365916" y="2403984"/>
                    </a:lnTo>
                    <a:lnTo>
                      <a:pt x="1302188" y="2549852"/>
                    </a:lnTo>
                    <a:close/>
                    <a:moveTo>
                      <a:pt x="1530195" y="2657482"/>
                    </a:moveTo>
                    <a:lnTo>
                      <a:pt x="1634993" y="2692887"/>
                    </a:lnTo>
                    <a:lnTo>
                      <a:pt x="1711467" y="2793436"/>
                    </a:lnTo>
                    <a:lnTo>
                      <a:pt x="1708635" y="2826009"/>
                    </a:lnTo>
                    <a:lnTo>
                      <a:pt x="1551438" y="2797685"/>
                    </a:lnTo>
                    <a:lnTo>
                      <a:pt x="1474963" y="2735373"/>
                    </a:lnTo>
                    <a:lnTo>
                      <a:pt x="1530195" y="2657482"/>
                    </a:lnTo>
                    <a:close/>
                    <a:moveTo>
                      <a:pt x="1707219" y="2875576"/>
                    </a:moveTo>
                    <a:lnTo>
                      <a:pt x="1773780" y="2872743"/>
                    </a:lnTo>
                    <a:lnTo>
                      <a:pt x="1846005" y="2967628"/>
                    </a:lnTo>
                    <a:lnTo>
                      <a:pt x="1697305" y="2984622"/>
                    </a:lnTo>
                    <a:lnTo>
                      <a:pt x="1707219" y="2875576"/>
                    </a:lnTo>
                    <a:close/>
                    <a:moveTo>
                      <a:pt x="1744040" y="2831674"/>
                    </a:moveTo>
                    <a:lnTo>
                      <a:pt x="1714300" y="2792020"/>
                    </a:lnTo>
                    <a:lnTo>
                      <a:pt x="1719964" y="2719795"/>
                    </a:lnTo>
                    <a:lnTo>
                      <a:pt x="1763866" y="2733956"/>
                    </a:lnTo>
                    <a:lnTo>
                      <a:pt x="1810600" y="2843003"/>
                    </a:lnTo>
                    <a:lnTo>
                      <a:pt x="1744040" y="2831674"/>
                    </a:lnTo>
                    <a:close/>
                    <a:moveTo>
                      <a:pt x="1719964" y="2718378"/>
                    </a:moveTo>
                    <a:lnTo>
                      <a:pt x="1722797" y="2690054"/>
                    </a:lnTo>
                    <a:lnTo>
                      <a:pt x="1722797" y="2690054"/>
                    </a:lnTo>
                    <a:lnTo>
                      <a:pt x="1610918" y="2657482"/>
                    </a:lnTo>
                    <a:lnTo>
                      <a:pt x="1568432" y="2602251"/>
                    </a:lnTo>
                    <a:lnTo>
                      <a:pt x="1595340" y="2564014"/>
                    </a:lnTo>
                    <a:lnTo>
                      <a:pt x="1595340" y="2564014"/>
                    </a:lnTo>
                    <a:lnTo>
                      <a:pt x="1462218" y="2422394"/>
                    </a:lnTo>
                    <a:lnTo>
                      <a:pt x="1551438" y="2350169"/>
                    </a:lnTo>
                    <a:lnTo>
                      <a:pt x="1552854" y="2350169"/>
                    </a:lnTo>
                    <a:lnTo>
                      <a:pt x="1426813" y="2385573"/>
                    </a:lnTo>
                    <a:lnTo>
                      <a:pt x="1391408" y="2348753"/>
                    </a:lnTo>
                    <a:lnTo>
                      <a:pt x="1486293" y="2129243"/>
                    </a:lnTo>
                    <a:lnTo>
                      <a:pt x="1486293" y="2129243"/>
                    </a:lnTo>
                    <a:lnTo>
                      <a:pt x="1484876" y="2127827"/>
                    </a:lnTo>
                    <a:lnTo>
                      <a:pt x="1387159" y="2266613"/>
                    </a:lnTo>
                    <a:lnTo>
                      <a:pt x="1353171" y="2129243"/>
                    </a:lnTo>
                    <a:lnTo>
                      <a:pt x="1491957" y="2112249"/>
                    </a:lnTo>
                    <a:lnTo>
                      <a:pt x="1762450" y="2731124"/>
                    </a:lnTo>
                    <a:lnTo>
                      <a:pt x="1719964" y="2718378"/>
                    </a:lnTo>
                    <a:close/>
                    <a:moveTo>
                      <a:pt x="1547189" y="2796269"/>
                    </a:moveTo>
                    <a:lnTo>
                      <a:pt x="1443807" y="2777858"/>
                    </a:lnTo>
                    <a:lnTo>
                      <a:pt x="1473547" y="2736789"/>
                    </a:lnTo>
                    <a:lnTo>
                      <a:pt x="1547189" y="2796269"/>
                    </a:lnTo>
                    <a:close/>
                    <a:moveTo>
                      <a:pt x="1823346" y="2871327"/>
                    </a:moveTo>
                    <a:lnTo>
                      <a:pt x="1864416" y="2966212"/>
                    </a:lnTo>
                    <a:lnTo>
                      <a:pt x="1848838" y="2967628"/>
                    </a:lnTo>
                    <a:lnTo>
                      <a:pt x="1776612" y="2872743"/>
                    </a:lnTo>
                    <a:lnTo>
                      <a:pt x="1823346" y="2871327"/>
                    </a:lnTo>
                    <a:close/>
                    <a:moveTo>
                      <a:pt x="1865832" y="2969044"/>
                    </a:moveTo>
                    <a:lnTo>
                      <a:pt x="1887075" y="3018611"/>
                    </a:lnTo>
                    <a:lnTo>
                      <a:pt x="1850254" y="2970460"/>
                    </a:lnTo>
                    <a:lnTo>
                      <a:pt x="1865832" y="2969044"/>
                    </a:lnTo>
                    <a:close/>
                    <a:moveTo>
                      <a:pt x="2055602" y="2828841"/>
                    </a:moveTo>
                    <a:lnTo>
                      <a:pt x="1970630" y="2800517"/>
                    </a:lnTo>
                    <a:lnTo>
                      <a:pt x="1950804" y="2721211"/>
                    </a:lnTo>
                    <a:lnTo>
                      <a:pt x="2055602" y="2828841"/>
                    </a:lnTo>
                    <a:close/>
                    <a:moveTo>
                      <a:pt x="1229962" y="2141989"/>
                    </a:moveTo>
                    <a:lnTo>
                      <a:pt x="1331928" y="2055601"/>
                    </a:lnTo>
                    <a:lnTo>
                      <a:pt x="1350338" y="2127827"/>
                    </a:lnTo>
                    <a:lnTo>
                      <a:pt x="1229962" y="2141989"/>
                    </a:lnTo>
                    <a:close/>
                    <a:moveTo>
                      <a:pt x="1220049" y="2150486"/>
                    </a:moveTo>
                    <a:lnTo>
                      <a:pt x="1285194" y="2235457"/>
                    </a:lnTo>
                    <a:lnTo>
                      <a:pt x="1211552" y="2157567"/>
                    </a:lnTo>
                    <a:lnTo>
                      <a:pt x="1220049" y="2150486"/>
                    </a:lnTo>
                    <a:close/>
                    <a:moveTo>
                      <a:pt x="1215800" y="2143405"/>
                    </a:moveTo>
                    <a:lnTo>
                      <a:pt x="1198806" y="2144821"/>
                    </a:lnTo>
                    <a:lnTo>
                      <a:pt x="1198806" y="2144821"/>
                    </a:lnTo>
                    <a:lnTo>
                      <a:pt x="1210135" y="2156151"/>
                    </a:lnTo>
                    <a:lnTo>
                      <a:pt x="1127996" y="2226960"/>
                    </a:lnTo>
                    <a:lnTo>
                      <a:pt x="1085511" y="1972046"/>
                    </a:lnTo>
                    <a:lnTo>
                      <a:pt x="1215800" y="2143405"/>
                    </a:lnTo>
                    <a:close/>
                    <a:moveTo>
                      <a:pt x="1217216" y="2146237"/>
                    </a:moveTo>
                    <a:lnTo>
                      <a:pt x="1220049" y="2149070"/>
                    </a:lnTo>
                    <a:lnTo>
                      <a:pt x="1211552" y="2156151"/>
                    </a:lnTo>
                    <a:lnTo>
                      <a:pt x="1203054" y="2147654"/>
                    </a:lnTo>
                    <a:lnTo>
                      <a:pt x="1217216" y="2146237"/>
                    </a:lnTo>
                    <a:close/>
                    <a:moveTo>
                      <a:pt x="1684559" y="3147484"/>
                    </a:moveTo>
                    <a:lnTo>
                      <a:pt x="1695889" y="3017195"/>
                    </a:lnTo>
                    <a:lnTo>
                      <a:pt x="1885659" y="3029940"/>
                    </a:lnTo>
                    <a:lnTo>
                      <a:pt x="1684559" y="3147484"/>
                    </a:lnTo>
                    <a:close/>
                    <a:moveTo>
                      <a:pt x="1535859" y="3005865"/>
                    </a:moveTo>
                    <a:lnTo>
                      <a:pt x="1695889" y="2987455"/>
                    </a:lnTo>
                    <a:lnTo>
                      <a:pt x="1693057" y="3015778"/>
                    </a:lnTo>
                    <a:lnTo>
                      <a:pt x="1535859" y="3005865"/>
                    </a:lnTo>
                    <a:close/>
                    <a:moveTo>
                      <a:pt x="1072765" y="744208"/>
                    </a:moveTo>
                    <a:lnTo>
                      <a:pt x="1020366" y="713052"/>
                    </a:lnTo>
                    <a:lnTo>
                      <a:pt x="1111002" y="618167"/>
                    </a:lnTo>
                    <a:lnTo>
                      <a:pt x="1130829" y="738544"/>
                    </a:lnTo>
                    <a:lnTo>
                      <a:pt x="1072765" y="744208"/>
                    </a:lnTo>
                    <a:close/>
                    <a:moveTo>
                      <a:pt x="942475" y="1064267"/>
                    </a:moveTo>
                    <a:lnTo>
                      <a:pt x="1041609" y="909903"/>
                    </a:lnTo>
                    <a:lnTo>
                      <a:pt x="1088343" y="935394"/>
                    </a:lnTo>
                    <a:lnTo>
                      <a:pt x="1102505" y="960886"/>
                    </a:lnTo>
                    <a:lnTo>
                      <a:pt x="1041609" y="1136493"/>
                    </a:lnTo>
                    <a:lnTo>
                      <a:pt x="942475" y="1064267"/>
                    </a:lnTo>
                    <a:close/>
                    <a:moveTo>
                      <a:pt x="1043025" y="909903"/>
                    </a:moveTo>
                    <a:lnTo>
                      <a:pt x="1060019" y="884411"/>
                    </a:lnTo>
                    <a:lnTo>
                      <a:pt x="1088343" y="932562"/>
                    </a:lnTo>
                    <a:lnTo>
                      <a:pt x="1043025" y="909903"/>
                    </a:lnTo>
                    <a:close/>
                    <a:moveTo>
                      <a:pt x="1101089" y="816434"/>
                    </a:moveTo>
                    <a:lnTo>
                      <a:pt x="1060019" y="880163"/>
                    </a:lnTo>
                    <a:lnTo>
                      <a:pt x="1020366" y="809353"/>
                    </a:lnTo>
                    <a:lnTo>
                      <a:pt x="1101089" y="816434"/>
                    </a:lnTo>
                    <a:close/>
                    <a:moveTo>
                      <a:pt x="1017533" y="809353"/>
                    </a:moveTo>
                    <a:lnTo>
                      <a:pt x="1058603" y="881579"/>
                    </a:lnTo>
                    <a:lnTo>
                      <a:pt x="1041609" y="908486"/>
                    </a:lnTo>
                    <a:lnTo>
                      <a:pt x="1021782" y="897157"/>
                    </a:lnTo>
                    <a:lnTo>
                      <a:pt x="973632" y="805105"/>
                    </a:lnTo>
                    <a:lnTo>
                      <a:pt x="1017533" y="809353"/>
                    </a:lnTo>
                    <a:close/>
                    <a:moveTo>
                      <a:pt x="1072765" y="747041"/>
                    </a:moveTo>
                    <a:lnTo>
                      <a:pt x="1072765" y="747041"/>
                    </a:lnTo>
                    <a:lnTo>
                      <a:pt x="1130829" y="741376"/>
                    </a:lnTo>
                    <a:lnTo>
                      <a:pt x="1135077" y="765451"/>
                    </a:lnTo>
                    <a:lnTo>
                      <a:pt x="1102505" y="815018"/>
                    </a:lnTo>
                    <a:lnTo>
                      <a:pt x="1018949" y="807937"/>
                    </a:lnTo>
                    <a:lnTo>
                      <a:pt x="986377" y="749873"/>
                    </a:lnTo>
                    <a:lnTo>
                      <a:pt x="1020366" y="714468"/>
                    </a:lnTo>
                    <a:lnTo>
                      <a:pt x="1072765" y="747041"/>
                    </a:lnTo>
                    <a:close/>
                    <a:moveTo>
                      <a:pt x="1171898" y="783862"/>
                    </a:moveTo>
                    <a:lnTo>
                      <a:pt x="1171898" y="783862"/>
                    </a:lnTo>
                    <a:lnTo>
                      <a:pt x="1414067" y="839093"/>
                    </a:lnTo>
                    <a:lnTo>
                      <a:pt x="1105337" y="815018"/>
                    </a:lnTo>
                    <a:lnTo>
                      <a:pt x="1136494" y="765451"/>
                    </a:lnTo>
                    <a:lnTo>
                      <a:pt x="1136494" y="765451"/>
                    </a:lnTo>
                    <a:lnTo>
                      <a:pt x="1132245" y="739960"/>
                    </a:lnTo>
                    <a:lnTo>
                      <a:pt x="1340425" y="718717"/>
                    </a:lnTo>
                    <a:lnTo>
                      <a:pt x="1171898" y="783862"/>
                    </a:lnTo>
                    <a:close/>
                    <a:moveTo>
                      <a:pt x="1266783" y="1028863"/>
                    </a:moveTo>
                    <a:lnTo>
                      <a:pt x="1111002" y="945307"/>
                    </a:lnTo>
                    <a:lnTo>
                      <a:pt x="1149239" y="834845"/>
                    </a:lnTo>
                    <a:lnTo>
                      <a:pt x="1266783" y="1028863"/>
                    </a:lnTo>
                    <a:close/>
                    <a:moveTo>
                      <a:pt x="3048352" y="459554"/>
                    </a:moveTo>
                    <a:lnTo>
                      <a:pt x="2905316" y="534612"/>
                    </a:lnTo>
                    <a:lnTo>
                      <a:pt x="2974710" y="351923"/>
                    </a:lnTo>
                    <a:lnTo>
                      <a:pt x="3048352" y="459554"/>
                    </a:lnTo>
                    <a:close/>
                    <a:moveTo>
                      <a:pt x="5369489" y="840509"/>
                    </a:moveTo>
                    <a:lnTo>
                      <a:pt x="5470039" y="694642"/>
                    </a:lnTo>
                    <a:lnTo>
                      <a:pt x="5553594" y="822099"/>
                    </a:lnTo>
                    <a:lnTo>
                      <a:pt x="5369489" y="840509"/>
                    </a:lnTo>
                    <a:close/>
                    <a:moveTo>
                      <a:pt x="4267693" y="1661900"/>
                    </a:moveTo>
                    <a:lnTo>
                      <a:pt x="4240785" y="1785109"/>
                    </a:lnTo>
                    <a:lnTo>
                      <a:pt x="4094917" y="1708634"/>
                    </a:lnTo>
                    <a:lnTo>
                      <a:pt x="4267693" y="1661900"/>
                    </a:lnTo>
                    <a:close/>
                    <a:moveTo>
                      <a:pt x="4203964" y="1970630"/>
                    </a:moveTo>
                    <a:lnTo>
                      <a:pt x="4243617" y="1787941"/>
                    </a:lnTo>
                    <a:lnTo>
                      <a:pt x="4388069" y="1862999"/>
                    </a:lnTo>
                    <a:lnTo>
                      <a:pt x="4203964" y="1970630"/>
                    </a:lnTo>
                    <a:close/>
                    <a:moveTo>
                      <a:pt x="3374076" y="3104998"/>
                    </a:moveTo>
                    <a:lnTo>
                      <a:pt x="3381157" y="3138987"/>
                    </a:lnTo>
                    <a:lnTo>
                      <a:pt x="3276359" y="3143236"/>
                    </a:lnTo>
                    <a:lnTo>
                      <a:pt x="3219711" y="3020027"/>
                    </a:lnTo>
                    <a:lnTo>
                      <a:pt x="3374076" y="3104998"/>
                    </a:lnTo>
                    <a:close/>
                    <a:moveTo>
                      <a:pt x="2035775" y="2556933"/>
                    </a:moveTo>
                    <a:lnTo>
                      <a:pt x="2052769" y="2464880"/>
                    </a:lnTo>
                    <a:lnTo>
                      <a:pt x="2178810" y="2443637"/>
                    </a:lnTo>
                    <a:lnTo>
                      <a:pt x="2072596" y="2588089"/>
                    </a:lnTo>
                    <a:lnTo>
                      <a:pt x="2035775" y="2556933"/>
                    </a:lnTo>
                    <a:close/>
                    <a:moveTo>
                      <a:pt x="2049937" y="2464880"/>
                    </a:moveTo>
                    <a:lnTo>
                      <a:pt x="2032943" y="2555516"/>
                    </a:lnTo>
                    <a:lnTo>
                      <a:pt x="1946555" y="2483291"/>
                    </a:lnTo>
                    <a:lnTo>
                      <a:pt x="2049937" y="2464880"/>
                    </a:lnTo>
                    <a:close/>
                    <a:moveTo>
                      <a:pt x="2049937" y="2463464"/>
                    </a:moveTo>
                    <a:lnTo>
                      <a:pt x="1945139" y="2481874"/>
                    </a:lnTo>
                    <a:lnTo>
                      <a:pt x="1932393" y="2471961"/>
                    </a:lnTo>
                    <a:lnTo>
                      <a:pt x="2051353" y="2454967"/>
                    </a:lnTo>
                    <a:lnTo>
                      <a:pt x="2049937" y="2463464"/>
                    </a:lnTo>
                    <a:close/>
                    <a:moveTo>
                      <a:pt x="2032943" y="2556933"/>
                    </a:moveTo>
                    <a:lnTo>
                      <a:pt x="2023029" y="2612164"/>
                    </a:lnTo>
                    <a:lnTo>
                      <a:pt x="1793606" y="2508782"/>
                    </a:lnTo>
                    <a:lnTo>
                      <a:pt x="1945139" y="2483291"/>
                    </a:lnTo>
                    <a:lnTo>
                      <a:pt x="2032943" y="2556933"/>
                    </a:lnTo>
                    <a:close/>
                    <a:moveTo>
                      <a:pt x="2024445" y="2613580"/>
                    </a:moveTo>
                    <a:lnTo>
                      <a:pt x="2034359" y="2558349"/>
                    </a:lnTo>
                    <a:lnTo>
                      <a:pt x="2069764" y="2588089"/>
                    </a:lnTo>
                    <a:lnTo>
                      <a:pt x="2044272" y="2622077"/>
                    </a:lnTo>
                    <a:lnTo>
                      <a:pt x="2024445" y="2613580"/>
                    </a:lnTo>
                    <a:close/>
                    <a:moveTo>
                      <a:pt x="2044272" y="2624910"/>
                    </a:moveTo>
                    <a:lnTo>
                      <a:pt x="2015948" y="2663147"/>
                    </a:lnTo>
                    <a:lnTo>
                      <a:pt x="2024445" y="2616413"/>
                    </a:lnTo>
                    <a:lnTo>
                      <a:pt x="2044272" y="2624910"/>
                    </a:lnTo>
                    <a:close/>
                    <a:moveTo>
                      <a:pt x="2047105" y="2623494"/>
                    </a:moveTo>
                    <a:lnTo>
                      <a:pt x="2072596" y="2589505"/>
                    </a:lnTo>
                    <a:lnTo>
                      <a:pt x="2188724" y="2687222"/>
                    </a:lnTo>
                    <a:lnTo>
                      <a:pt x="2047105" y="2623494"/>
                    </a:lnTo>
                    <a:close/>
                    <a:moveTo>
                      <a:pt x="2052769" y="2462048"/>
                    </a:moveTo>
                    <a:lnTo>
                      <a:pt x="2054185" y="2453551"/>
                    </a:lnTo>
                    <a:lnTo>
                      <a:pt x="2183059" y="2435140"/>
                    </a:lnTo>
                    <a:lnTo>
                      <a:pt x="2178810" y="2440805"/>
                    </a:lnTo>
                    <a:lnTo>
                      <a:pt x="2052769" y="2462048"/>
                    </a:lnTo>
                    <a:close/>
                    <a:moveTo>
                      <a:pt x="1129413" y="1003371"/>
                    </a:moveTo>
                    <a:lnTo>
                      <a:pt x="1105337" y="962302"/>
                    </a:lnTo>
                    <a:lnTo>
                      <a:pt x="1109586" y="948140"/>
                    </a:lnTo>
                    <a:lnTo>
                      <a:pt x="1268199" y="1033111"/>
                    </a:lnTo>
                    <a:lnTo>
                      <a:pt x="1282361" y="1055770"/>
                    </a:lnTo>
                    <a:lnTo>
                      <a:pt x="1169066" y="1463633"/>
                    </a:lnTo>
                    <a:lnTo>
                      <a:pt x="1129413" y="1003371"/>
                    </a:lnTo>
                    <a:close/>
                    <a:moveTo>
                      <a:pt x="1169066" y="1474963"/>
                    </a:moveTo>
                    <a:lnTo>
                      <a:pt x="1173314" y="1521697"/>
                    </a:lnTo>
                    <a:lnTo>
                      <a:pt x="1157737" y="1514616"/>
                    </a:lnTo>
                    <a:lnTo>
                      <a:pt x="1169066" y="1474963"/>
                    </a:lnTo>
                    <a:close/>
                    <a:moveTo>
                      <a:pt x="1814849" y="1051522"/>
                    </a:moveTo>
                    <a:lnTo>
                      <a:pt x="2096671" y="911319"/>
                    </a:lnTo>
                    <a:lnTo>
                      <a:pt x="1921064" y="1183227"/>
                    </a:lnTo>
                    <a:lnTo>
                      <a:pt x="1814849" y="1051522"/>
                    </a:lnTo>
                    <a:close/>
                    <a:moveTo>
                      <a:pt x="2726876" y="952388"/>
                    </a:moveTo>
                    <a:lnTo>
                      <a:pt x="2742454" y="949556"/>
                    </a:lnTo>
                    <a:lnTo>
                      <a:pt x="2755200" y="952388"/>
                    </a:lnTo>
                    <a:lnTo>
                      <a:pt x="2726876" y="952388"/>
                    </a:lnTo>
                    <a:close/>
                    <a:moveTo>
                      <a:pt x="4590584" y="905654"/>
                    </a:moveTo>
                    <a:lnTo>
                      <a:pt x="4654313" y="803688"/>
                    </a:lnTo>
                    <a:lnTo>
                      <a:pt x="4788851" y="901405"/>
                    </a:lnTo>
                    <a:lnTo>
                      <a:pt x="4590584" y="905654"/>
                    </a:lnTo>
                    <a:close/>
                    <a:moveTo>
                      <a:pt x="4572174" y="907070"/>
                    </a:moveTo>
                    <a:lnTo>
                      <a:pt x="4586336" y="907070"/>
                    </a:lnTo>
                    <a:lnTo>
                      <a:pt x="4580671" y="915567"/>
                    </a:lnTo>
                    <a:lnTo>
                      <a:pt x="4572174" y="907070"/>
                    </a:lnTo>
                    <a:close/>
                    <a:moveTo>
                      <a:pt x="4092085" y="1707218"/>
                    </a:moveTo>
                    <a:lnTo>
                      <a:pt x="3970292" y="1643489"/>
                    </a:lnTo>
                    <a:lnTo>
                      <a:pt x="3970292" y="1643489"/>
                    </a:lnTo>
                    <a:lnTo>
                      <a:pt x="3936304" y="1749704"/>
                    </a:lnTo>
                    <a:lnTo>
                      <a:pt x="3896650" y="1761033"/>
                    </a:lnTo>
                    <a:lnTo>
                      <a:pt x="3920726" y="1565599"/>
                    </a:lnTo>
                    <a:lnTo>
                      <a:pt x="3920726" y="1565599"/>
                    </a:lnTo>
                    <a:lnTo>
                      <a:pt x="3883905" y="1507535"/>
                    </a:lnTo>
                    <a:lnTo>
                      <a:pt x="4175640" y="1392824"/>
                    </a:lnTo>
                    <a:lnTo>
                      <a:pt x="4307346" y="1477795"/>
                    </a:lnTo>
                    <a:lnTo>
                      <a:pt x="4267693" y="1661900"/>
                    </a:lnTo>
                    <a:lnTo>
                      <a:pt x="4092085" y="1707218"/>
                    </a:lnTo>
                    <a:close/>
                    <a:moveTo>
                      <a:pt x="3267862" y="2915229"/>
                    </a:moveTo>
                    <a:lnTo>
                      <a:pt x="3201301" y="2978958"/>
                    </a:lnTo>
                    <a:lnTo>
                      <a:pt x="3146069" y="2857165"/>
                    </a:lnTo>
                    <a:lnTo>
                      <a:pt x="3267862" y="2915229"/>
                    </a:lnTo>
                    <a:close/>
                    <a:moveTo>
                      <a:pt x="2544188" y="2685806"/>
                    </a:moveTo>
                    <a:lnTo>
                      <a:pt x="2631991" y="2748118"/>
                    </a:lnTo>
                    <a:lnTo>
                      <a:pt x="2670229" y="2801934"/>
                    </a:lnTo>
                    <a:lnTo>
                      <a:pt x="2544188" y="2685806"/>
                    </a:lnTo>
                    <a:close/>
                    <a:moveTo>
                      <a:pt x="2402569" y="2556933"/>
                    </a:moveTo>
                    <a:lnTo>
                      <a:pt x="2430893" y="2582424"/>
                    </a:lnTo>
                    <a:lnTo>
                      <a:pt x="2449303" y="2614997"/>
                    </a:lnTo>
                    <a:lnTo>
                      <a:pt x="2398320" y="2578175"/>
                    </a:lnTo>
                    <a:lnTo>
                      <a:pt x="2402569" y="2556933"/>
                    </a:lnTo>
                    <a:close/>
                    <a:moveTo>
                      <a:pt x="1874329" y="1660484"/>
                    </a:moveTo>
                    <a:lnTo>
                      <a:pt x="1966381" y="1734126"/>
                    </a:lnTo>
                    <a:lnTo>
                      <a:pt x="1744040" y="1799270"/>
                    </a:lnTo>
                    <a:lnTo>
                      <a:pt x="1456553" y="1659068"/>
                    </a:lnTo>
                    <a:lnTo>
                      <a:pt x="1450888" y="1647738"/>
                    </a:lnTo>
                    <a:lnTo>
                      <a:pt x="1874329" y="1660484"/>
                    </a:lnTo>
                    <a:close/>
                    <a:moveTo>
                      <a:pt x="1273864" y="1569848"/>
                    </a:moveTo>
                    <a:lnTo>
                      <a:pt x="1314933" y="1571264"/>
                    </a:lnTo>
                    <a:lnTo>
                      <a:pt x="1307852" y="1586842"/>
                    </a:lnTo>
                    <a:lnTo>
                      <a:pt x="1273864" y="1569848"/>
                    </a:lnTo>
                    <a:close/>
                    <a:moveTo>
                      <a:pt x="1285194" y="1055770"/>
                    </a:moveTo>
                    <a:lnTo>
                      <a:pt x="1285194" y="1055770"/>
                    </a:lnTo>
                    <a:lnTo>
                      <a:pt x="1272448" y="1034527"/>
                    </a:lnTo>
                    <a:lnTo>
                      <a:pt x="1278113" y="1037360"/>
                    </a:lnTo>
                    <a:lnTo>
                      <a:pt x="1278113" y="1037360"/>
                    </a:lnTo>
                    <a:lnTo>
                      <a:pt x="1504703" y="952388"/>
                    </a:lnTo>
                    <a:lnTo>
                      <a:pt x="1504703" y="952388"/>
                    </a:lnTo>
                    <a:lnTo>
                      <a:pt x="1622247" y="781029"/>
                    </a:lnTo>
                    <a:lnTo>
                      <a:pt x="1705802" y="897157"/>
                    </a:lnTo>
                    <a:lnTo>
                      <a:pt x="1584010" y="1163401"/>
                    </a:lnTo>
                    <a:lnTo>
                      <a:pt x="1465050" y="1222881"/>
                    </a:lnTo>
                    <a:lnTo>
                      <a:pt x="1173314" y="1497622"/>
                    </a:lnTo>
                    <a:lnTo>
                      <a:pt x="1173314" y="1497622"/>
                    </a:lnTo>
                    <a:lnTo>
                      <a:pt x="1353171" y="1483460"/>
                    </a:lnTo>
                    <a:lnTo>
                      <a:pt x="1313518" y="1567015"/>
                    </a:lnTo>
                    <a:lnTo>
                      <a:pt x="1268199" y="1565599"/>
                    </a:lnTo>
                    <a:lnTo>
                      <a:pt x="1174731" y="1520281"/>
                    </a:lnTo>
                    <a:lnTo>
                      <a:pt x="1170482" y="1467882"/>
                    </a:lnTo>
                    <a:lnTo>
                      <a:pt x="1285194" y="1055770"/>
                    </a:lnTo>
                    <a:close/>
                    <a:moveTo>
                      <a:pt x="2256701" y="1169066"/>
                    </a:moveTo>
                    <a:lnTo>
                      <a:pt x="2003203" y="1285193"/>
                    </a:lnTo>
                    <a:lnTo>
                      <a:pt x="1962133" y="1234210"/>
                    </a:lnTo>
                    <a:lnTo>
                      <a:pt x="2024445" y="1156320"/>
                    </a:lnTo>
                    <a:lnTo>
                      <a:pt x="2256701" y="1169066"/>
                    </a:lnTo>
                    <a:close/>
                    <a:moveTo>
                      <a:pt x="1749704" y="1453720"/>
                    </a:moveTo>
                    <a:lnTo>
                      <a:pt x="2113666" y="1425396"/>
                    </a:lnTo>
                    <a:lnTo>
                      <a:pt x="2188724" y="1520281"/>
                    </a:lnTo>
                    <a:lnTo>
                      <a:pt x="1895572" y="1661900"/>
                    </a:lnTo>
                    <a:lnTo>
                      <a:pt x="1895572" y="1661900"/>
                    </a:lnTo>
                    <a:lnTo>
                      <a:pt x="1896988" y="1663316"/>
                    </a:lnTo>
                    <a:lnTo>
                      <a:pt x="2201469" y="1535859"/>
                    </a:lnTo>
                    <a:lnTo>
                      <a:pt x="2239707" y="1584010"/>
                    </a:lnTo>
                    <a:lnTo>
                      <a:pt x="2241123" y="1654819"/>
                    </a:lnTo>
                    <a:lnTo>
                      <a:pt x="1969214" y="1734126"/>
                    </a:lnTo>
                    <a:lnTo>
                      <a:pt x="1874329" y="1659068"/>
                    </a:lnTo>
                    <a:lnTo>
                      <a:pt x="1874329" y="1659068"/>
                    </a:lnTo>
                    <a:lnTo>
                      <a:pt x="1449472" y="1646322"/>
                    </a:lnTo>
                    <a:lnTo>
                      <a:pt x="1409818" y="1571264"/>
                    </a:lnTo>
                    <a:lnTo>
                      <a:pt x="1409818" y="1571264"/>
                    </a:lnTo>
                    <a:lnTo>
                      <a:pt x="1316350" y="1569848"/>
                    </a:lnTo>
                    <a:lnTo>
                      <a:pt x="1356003" y="1486292"/>
                    </a:lnTo>
                    <a:lnTo>
                      <a:pt x="1518865" y="1473547"/>
                    </a:lnTo>
                    <a:lnTo>
                      <a:pt x="1523114" y="1493373"/>
                    </a:lnTo>
                    <a:lnTo>
                      <a:pt x="1405570" y="1559934"/>
                    </a:lnTo>
                    <a:lnTo>
                      <a:pt x="1405570" y="1559934"/>
                    </a:lnTo>
                    <a:lnTo>
                      <a:pt x="1406986" y="1561350"/>
                    </a:lnTo>
                    <a:lnTo>
                      <a:pt x="1616582" y="1465049"/>
                    </a:lnTo>
                    <a:lnTo>
                      <a:pt x="1685976" y="1459385"/>
                    </a:lnTo>
                    <a:lnTo>
                      <a:pt x="1664733" y="1584010"/>
                    </a:lnTo>
                    <a:lnTo>
                      <a:pt x="1664733" y="1585426"/>
                    </a:lnTo>
                    <a:lnTo>
                      <a:pt x="1749704" y="1453720"/>
                    </a:lnTo>
                    <a:close/>
                    <a:moveTo>
                      <a:pt x="2190140" y="1518865"/>
                    </a:moveTo>
                    <a:lnTo>
                      <a:pt x="2115082" y="1425396"/>
                    </a:lnTo>
                    <a:lnTo>
                      <a:pt x="2235458" y="1415483"/>
                    </a:lnTo>
                    <a:lnTo>
                      <a:pt x="2238290" y="1496206"/>
                    </a:lnTo>
                    <a:lnTo>
                      <a:pt x="2190140" y="1518865"/>
                    </a:lnTo>
                    <a:close/>
                    <a:moveTo>
                      <a:pt x="2239707" y="1494789"/>
                    </a:moveTo>
                    <a:lnTo>
                      <a:pt x="2236874" y="1415483"/>
                    </a:lnTo>
                    <a:lnTo>
                      <a:pt x="2413898" y="1401321"/>
                    </a:lnTo>
                    <a:lnTo>
                      <a:pt x="2419563" y="1406986"/>
                    </a:lnTo>
                    <a:lnTo>
                      <a:pt x="2239707" y="1494789"/>
                    </a:lnTo>
                    <a:close/>
                    <a:moveTo>
                      <a:pt x="2239707" y="1517448"/>
                    </a:moveTo>
                    <a:lnTo>
                      <a:pt x="2239707" y="1497622"/>
                    </a:lnTo>
                    <a:lnTo>
                      <a:pt x="2423812" y="1408402"/>
                    </a:lnTo>
                    <a:lnTo>
                      <a:pt x="2423812" y="1408402"/>
                    </a:lnTo>
                    <a:lnTo>
                      <a:pt x="2416731" y="1401321"/>
                    </a:lnTo>
                    <a:lnTo>
                      <a:pt x="2541355" y="1391407"/>
                    </a:lnTo>
                    <a:lnTo>
                      <a:pt x="2239707" y="1517448"/>
                    </a:lnTo>
                    <a:close/>
                    <a:moveTo>
                      <a:pt x="3039854" y="1351754"/>
                    </a:moveTo>
                    <a:lnTo>
                      <a:pt x="2554101" y="1389991"/>
                    </a:lnTo>
                    <a:lnTo>
                      <a:pt x="3045520" y="1184644"/>
                    </a:lnTo>
                    <a:lnTo>
                      <a:pt x="3066762" y="1200222"/>
                    </a:lnTo>
                    <a:lnTo>
                      <a:pt x="3039854" y="1351754"/>
                    </a:lnTo>
                    <a:close/>
                    <a:moveTo>
                      <a:pt x="2765114" y="950972"/>
                    </a:moveTo>
                    <a:lnTo>
                      <a:pt x="2746703" y="948140"/>
                    </a:lnTo>
                    <a:lnTo>
                      <a:pt x="2990288" y="898573"/>
                    </a:lnTo>
                    <a:lnTo>
                      <a:pt x="3022861" y="945307"/>
                    </a:lnTo>
                    <a:lnTo>
                      <a:pt x="2765114" y="950972"/>
                    </a:lnTo>
                    <a:close/>
                    <a:moveTo>
                      <a:pt x="3150318" y="595508"/>
                    </a:moveTo>
                    <a:lnTo>
                      <a:pt x="3175809" y="606838"/>
                    </a:lnTo>
                    <a:lnTo>
                      <a:pt x="3172977" y="621000"/>
                    </a:lnTo>
                    <a:lnTo>
                      <a:pt x="3150318" y="595508"/>
                    </a:lnTo>
                    <a:close/>
                    <a:moveTo>
                      <a:pt x="4273358" y="611086"/>
                    </a:moveTo>
                    <a:lnTo>
                      <a:pt x="4412144" y="749873"/>
                    </a:lnTo>
                    <a:lnTo>
                      <a:pt x="4431971" y="908486"/>
                    </a:lnTo>
                    <a:lnTo>
                      <a:pt x="4114744" y="916984"/>
                    </a:lnTo>
                    <a:lnTo>
                      <a:pt x="4161478" y="803688"/>
                    </a:lnTo>
                    <a:lnTo>
                      <a:pt x="4161478" y="803688"/>
                    </a:lnTo>
                    <a:lnTo>
                      <a:pt x="4041102" y="881579"/>
                    </a:lnTo>
                    <a:lnTo>
                      <a:pt x="3960379" y="717301"/>
                    </a:lnTo>
                    <a:lnTo>
                      <a:pt x="3960379" y="717301"/>
                    </a:lnTo>
                    <a:lnTo>
                      <a:pt x="3600667" y="922648"/>
                    </a:lnTo>
                    <a:lnTo>
                      <a:pt x="3895234" y="548774"/>
                    </a:lnTo>
                    <a:lnTo>
                      <a:pt x="4273358" y="611086"/>
                    </a:lnTo>
                    <a:close/>
                    <a:moveTo>
                      <a:pt x="2947802" y="2763697"/>
                    </a:moveTo>
                    <a:lnTo>
                      <a:pt x="2942138" y="2770778"/>
                    </a:lnTo>
                    <a:lnTo>
                      <a:pt x="2865663" y="2749535"/>
                    </a:lnTo>
                    <a:lnTo>
                      <a:pt x="2780692" y="2684390"/>
                    </a:lnTo>
                    <a:lnTo>
                      <a:pt x="2780692" y="2684390"/>
                    </a:lnTo>
                    <a:lnTo>
                      <a:pt x="2947802" y="2763697"/>
                    </a:lnTo>
                    <a:close/>
                    <a:moveTo>
                      <a:pt x="1969214" y="1736958"/>
                    </a:moveTo>
                    <a:lnTo>
                      <a:pt x="2156151" y="1885658"/>
                    </a:lnTo>
                    <a:lnTo>
                      <a:pt x="2136324" y="1991873"/>
                    </a:lnTo>
                    <a:lnTo>
                      <a:pt x="1748288" y="1802103"/>
                    </a:lnTo>
                    <a:lnTo>
                      <a:pt x="1969214" y="1736958"/>
                    </a:lnTo>
                    <a:close/>
                    <a:moveTo>
                      <a:pt x="4433387" y="908486"/>
                    </a:moveTo>
                    <a:lnTo>
                      <a:pt x="4413560" y="752705"/>
                    </a:lnTo>
                    <a:lnTo>
                      <a:pt x="4566510" y="905654"/>
                    </a:lnTo>
                    <a:lnTo>
                      <a:pt x="4433387" y="908486"/>
                    </a:lnTo>
                    <a:close/>
                    <a:moveTo>
                      <a:pt x="3508614" y="2661731"/>
                    </a:moveTo>
                    <a:lnTo>
                      <a:pt x="3569510" y="2691471"/>
                    </a:lnTo>
                    <a:lnTo>
                      <a:pt x="3623325" y="2718378"/>
                    </a:lnTo>
                    <a:lnTo>
                      <a:pt x="3586505" y="2804766"/>
                    </a:lnTo>
                    <a:lnTo>
                      <a:pt x="3508614" y="2661731"/>
                    </a:lnTo>
                    <a:close/>
                    <a:moveTo>
                      <a:pt x="3328758" y="2942136"/>
                    </a:moveTo>
                    <a:lnTo>
                      <a:pt x="3340087" y="2936472"/>
                    </a:lnTo>
                    <a:lnTo>
                      <a:pt x="3342920" y="2949217"/>
                    </a:lnTo>
                    <a:lnTo>
                      <a:pt x="3328758" y="2942136"/>
                    </a:lnTo>
                    <a:close/>
                    <a:moveTo>
                      <a:pt x="3308931" y="2878408"/>
                    </a:moveTo>
                    <a:lnTo>
                      <a:pt x="3308931" y="2878408"/>
                    </a:lnTo>
                    <a:lnTo>
                      <a:pt x="3316012" y="2809015"/>
                    </a:lnTo>
                    <a:lnTo>
                      <a:pt x="3340087" y="2933639"/>
                    </a:lnTo>
                    <a:lnTo>
                      <a:pt x="3325925" y="2940720"/>
                    </a:lnTo>
                    <a:lnTo>
                      <a:pt x="3270694" y="2915229"/>
                    </a:lnTo>
                    <a:lnTo>
                      <a:pt x="3308931" y="2878408"/>
                    </a:lnTo>
                    <a:close/>
                    <a:moveTo>
                      <a:pt x="2950635" y="2763697"/>
                    </a:moveTo>
                    <a:lnTo>
                      <a:pt x="2990288" y="2782107"/>
                    </a:lnTo>
                    <a:lnTo>
                      <a:pt x="2944970" y="2769361"/>
                    </a:lnTo>
                    <a:lnTo>
                      <a:pt x="2950635" y="2763697"/>
                    </a:lnTo>
                    <a:close/>
                    <a:moveTo>
                      <a:pt x="2382742" y="2494620"/>
                    </a:moveTo>
                    <a:lnTo>
                      <a:pt x="2411066" y="2507366"/>
                    </a:lnTo>
                    <a:lnTo>
                      <a:pt x="2405401" y="2534273"/>
                    </a:lnTo>
                    <a:lnTo>
                      <a:pt x="2382742" y="2494620"/>
                    </a:lnTo>
                    <a:close/>
                    <a:moveTo>
                      <a:pt x="2403985" y="2401152"/>
                    </a:moveTo>
                    <a:lnTo>
                      <a:pt x="2337424" y="2412481"/>
                    </a:lnTo>
                    <a:lnTo>
                      <a:pt x="2276528" y="2304851"/>
                    </a:lnTo>
                    <a:lnTo>
                      <a:pt x="2403985" y="2401152"/>
                    </a:lnTo>
                    <a:close/>
                    <a:moveTo>
                      <a:pt x="3158815" y="1241291"/>
                    </a:moveTo>
                    <a:lnTo>
                      <a:pt x="3165896" y="1271031"/>
                    </a:lnTo>
                    <a:lnTo>
                      <a:pt x="3069595" y="1198806"/>
                    </a:lnTo>
                    <a:lnTo>
                      <a:pt x="3071011" y="1193141"/>
                    </a:lnTo>
                    <a:lnTo>
                      <a:pt x="3158815" y="1241291"/>
                    </a:lnTo>
                    <a:close/>
                    <a:moveTo>
                      <a:pt x="3072427" y="1007620"/>
                    </a:moveTo>
                    <a:lnTo>
                      <a:pt x="3029942" y="946724"/>
                    </a:lnTo>
                    <a:lnTo>
                      <a:pt x="3114913" y="945307"/>
                    </a:lnTo>
                    <a:lnTo>
                      <a:pt x="3102167" y="1013285"/>
                    </a:lnTo>
                    <a:lnTo>
                      <a:pt x="3072427" y="1007620"/>
                    </a:lnTo>
                    <a:close/>
                    <a:moveTo>
                      <a:pt x="3100751" y="1014701"/>
                    </a:moveTo>
                    <a:lnTo>
                      <a:pt x="3096502" y="1041608"/>
                    </a:lnTo>
                    <a:lnTo>
                      <a:pt x="3073843" y="1010452"/>
                    </a:lnTo>
                    <a:lnTo>
                      <a:pt x="3100751" y="1014701"/>
                    </a:lnTo>
                    <a:close/>
                    <a:moveTo>
                      <a:pt x="4157230" y="809353"/>
                    </a:moveTo>
                    <a:lnTo>
                      <a:pt x="4111911" y="918400"/>
                    </a:lnTo>
                    <a:lnTo>
                      <a:pt x="4059512" y="919816"/>
                    </a:lnTo>
                    <a:lnTo>
                      <a:pt x="4042519" y="884411"/>
                    </a:lnTo>
                    <a:lnTo>
                      <a:pt x="4157230" y="809353"/>
                    </a:lnTo>
                    <a:close/>
                    <a:moveTo>
                      <a:pt x="3961795" y="1280945"/>
                    </a:moveTo>
                    <a:lnTo>
                      <a:pt x="4001449" y="1278112"/>
                    </a:lnTo>
                    <a:lnTo>
                      <a:pt x="4174224" y="1389991"/>
                    </a:lnTo>
                    <a:lnTo>
                      <a:pt x="3883905" y="1504703"/>
                    </a:lnTo>
                    <a:lnTo>
                      <a:pt x="3875407" y="1490541"/>
                    </a:lnTo>
                    <a:lnTo>
                      <a:pt x="3961795" y="1280945"/>
                    </a:lnTo>
                    <a:close/>
                    <a:moveTo>
                      <a:pt x="3864078" y="1511784"/>
                    </a:moveTo>
                    <a:lnTo>
                      <a:pt x="3872576" y="1491957"/>
                    </a:lnTo>
                    <a:lnTo>
                      <a:pt x="3881072" y="1504703"/>
                    </a:lnTo>
                    <a:lnTo>
                      <a:pt x="3864078" y="1511784"/>
                    </a:lnTo>
                    <a:close/>
                    <a:moveTo>
                      <a:pt x="3752199" y="1297939"/>
                    </a:moveTo>
                    <a:lnTo>
                      <a:pt x="3958963" y="1282361"/>
                    </a:lnTo>
                    <a:lnTo>
                      <a:pt x="3872576" y="1489125"/>
                    </a:lnTo>
                    <a:lnTo>
                      <a:pt x="3752199" y="1297939"/>
                    </a:lnTo>
                    <a:close/>
                    <a:moveTo>
                      <a:pt x="3011531" y="2790604"/>
                    </a:moveTo>
                    <a:lnTo>
                      <a:pt x="3127658" y="2823177"/>
                    </a:lnTo>
                    <a:lnTo>
                      <a:pt x="3140404" y="2852916"/>
                    </a:lnTo>
                    <a:lnTo>
                      <a:pt x="3011531" y="2790604"/>
                    </a:lnTo>
                    <a:close/>
                    <a:moveTo>
                      <a:pt x="3051185" y="2654650"/>
                    </a:moveTo>
                    <a:lnTo>
                      <a:pt x="3127658" y="2820344"/>
                    </a:lnTo>
                    <a:lnTo>
                      <a:pt x="3001618" y="2784939"/>
                    </a:lnTo>
                    <a:lnTo>
                      <a:pt x="2952051" y="2760864"/>
                    </a:lnTo>
                    <a:lnTo>
                      <a:pt x="3051185" y="2654650"/>
                    </a:lnTo>
                    <a:close/>
                    <a:moveTo>
                      <a:pt x="1972047" y="1735542"/>
                    </a:moveTo>
                    <a:lnTo>
                      <a:pt x="2241123" y="1656235"/>
                    </a:lnTo>
                    <a:lnTo>
                      <a:pt x="2252452" y="2047104"/>
                    </a:lnTo>
                    <a:lnTo>
                      <a:pt x="2139157" y="1991873"/>
                    </a:lnTo>
                    <a:lnTo>
                      <a:pt x="2158984" y="1884242"/>
                    </a:lnTo>
                    <a:lnTo>
                      <a:pt x="2158984" y="1884242"/>
                    </a:lnTo>
                    <a:lnTo>
                      <a:pt x="1972047" y="1735542"/>
                    </a:lnTo>
                    <a:close/>
                    <a:moveTo>
                      <a:pt x="3069595" y="2630574"/>
                    </a:moveTo>
                    <a:lnTo>
                      <a:pt x="3051185" y="2650401"/>
                    </a:lnTo>
                    <a:lnTo>
                      <a:pt x="3017196" y="2575343"/>
                    </a:lnTo>
                    <a:lnTo>
                      <a:pt x="3069595" y="2630574"/>
                    </a:lnTo>
                    <a:close/>
                    <a:moveTo>
                      <a:pt x="2854334" y="2226960"/>
                    </a:moveTo>
                    <a:lnTo>
                      <a:pt x="2715547" y="1807768"/>
                    </a:lnTo>
                    <a:lnTo>
                      <a:pt x="2729709" y="1810600"/>
                    </a:lnTo>
                    <a:lnTo>
                      <a:pt x="2896819" y="2239706"/>
                    </a:lnTo>
                    <a:lnTo>
                      <a:pt x="2854334" y="2226960"/>
                    </a:lnTo>
                    <a:close/>
                    <a:moveTo>
                      <a:pt x="2714130" y="1804935"/>
                    </a:moveTo>
                    <a:lnTo>
                      <a:pt x="2641905" y="1585426"/>
                    </a:lnTo>
                    <a:lnTo>
                      <a:pt x="2728292" y="1807768"/>
                    </a:lnTo>
                    <a:lnTo>
                      <a:pt x="2714130" y="1804935"/>
                    </a:lnTo>
                    <a:close/>
                    <a:moveTo>
                      <a:pt x="3393902" y="2280775"/>
                    </a:moveTo>
                    <a:lnTo>
                      <a:pt x="3688471" y="2452135"/>
                    </a:lnTo>
                    <a:lnTo>
                      <a:pt x="3327342" y="2354417"/>
                    </a:lnTo>
                    <a:lnTo>
                      <a:pt x="3393902" y="2280775"/>
                    </a:lnTo>
                    <a:close/>
                    <a:moveTo>
                      <a:pt x="3324509" y="2353001"/>
                    </a:moveTo>
                    <a:lnTo>
                      <a:pt x="3124826" y="2299186"/>
                    </a:lnTo>
                    <a:lnTo>
                      <a:pt x="3171561" y="2156151"/>
                    </a:lnTo>
                    <a:lnTo>
                      <a:pt x="3184306" y="2154735"/>
                    </a:lnTo>
                    <a:lnTo>
                      <a:pt x="3182890" y="2157567"/>
                    </a:lnTo>
                    <a:lnTo>
                      <a:pt x="3182890" y="2157567"/>
                    </a:lnTo>
                    <a:lnTo>
                      <a:pt x="3392486" y="2279359"/>
                    </a:lnTo>
                    <a:lnTo>
                      <a:pt x="3324509" y="2353001"/>
                    </a:lnTo>
                    <a:close/>
                    <a:moveTo>
                      <a:pt x="2321846" y="2083925"/>
                    </a:moveTo>
                    <a:lnTo>
                      <a:pt x="2260950" y="2292105"/>
                    </a:lnTo>
                    <a:lnTo>
                      <a:pt x="2253869" y="2051352"/>
                    </a:lnTo>
                    <a:lnTo>
                      <a:pt x="2321846" y="2083925"/>
                    </a:lnTo>
                    <a:close/>
                    <a:moveTo>
                      <a:pt x="2253869" y="2048520"/>
                    </a:moveTo>
                    <a:lnTo>
                      <a:pt x="2243955" y="1656235"/>
                    </a:lnTo>
                    <a:lnTo>
                      <a:pt x="2287857" y="1643489"/>
                    </a:lnTo>
                    <a:lnTo>
                      <a:pt x="2408233" y="1792190"/>
                    </a:lnTo>
                    <a:lnTo>
                      <a:pt x="2323262" y="2081092"/>
                    </a:lnTo>
                    <a:lnTo>
                      <a:pt x="2253869" y="2048520"/>
                    </a:lnTo>
                    <a:close/>
                    <a:moveTo>
                      <a:pt x="2843004" y="2336007"/>
                    </a:moveTo>
                    <a:lnTo>
                      <a:pt x="2488956" y="2163232"/>
                    </a:lnTo>
                    <a:lnTo>
                      <a:pt x="2535691" y="1952219"/>
                    </a:lnTo>
                    <a:lnTo>
                      <a:pt x="2843004" y="2336007"/>
                    </a:lnTo>
                    <a:close/>
                    <a:moveTo>
                      <a:pt x="2957715" y="2394071"/>
                    </a:moveTo>
                    <a:lnTo>
                      <a:pt x="3020028" y="2552684"/>
                    </a:lnTo>
                    <a:lnTo>
                      <a:pt x="2850085" y="2341672"/>
                    </a:lnTo>
                    <a:lnTo>
                      <a:pt x="2957715" y="2394071"/>
                    </a:lnTo>
                    <a:close/>
                    <a:moveTo>
                      <a:pt x="2847253" y="2337423"/>
                    </a:moveTo>
                    <a:lnTo>
                      <a:pt x="2535691" y="1949387"/>
                    </a:lnTo>
                    <a:lnTo>
                      <a:pt x="2573928" y="1778028"/>
                    </a:lnTo>
                    <a:lnTo>
                      <a:pt x="2712715" y="1804935"/>
                    </a:lnTo>
                    <a:lnTo>
                      <a:pt x="2851501" y="2226960"/>
                    </a:lnTo>
                    <a:lnTo>
                      <a:pt x="2851501" y="2226960"/>
                    </a:lnTo>
                    <a:lnTo>
                      <a:pt x="2898235" y="2239706"/>
                    </a:lnTo>
                    <a:lnTo>
                      <a:pt x="2957715" y="2389822"/>
                    </a:lnTo>
                    <a:lnTo>
                      <a:pt x="2847253" y="2337423"/>
                    </a:lnTo>
                    <a:close/>
                    <a:moveTo>
                      <a:pt x="2534274" y="1947971"/>
                    </a:moveTo>
                    <a:lnTo>
                      <a:pt x="2408233" y="1792190"/>
                    </a:lnTo>
                    <a:lnTo>
                      <a:pt x="2420979" y="1749704"/>
                    </a:lnTo>
                    <a:lnTo>
                      <a:pt x="2571095" y="1779444"/>
                    </a:lnTo>
                    <a:lnTo>
                      <a:pt x="2534274" y="1947971"/>
                    </a:lnTo>
                    <a:close/>
                    <a:moveTo>
                      <a:pt x="2420979" y="1746871"/>
                    </a:moveTo>
                    <a:lnTo>
                      <a:pt x="2420979" y="1746871"/>
                    </a:lnTo>
                    <a:lnTo>
                      <a:pt x="2408233" y="1789357"/>
                    </a:lnTo>
                    <a:lnTo>
                      <a:pt x="2289273" y="1642073"/>
                    </a:lnTo>
                    <a:lnTo>
                      <a:pt x="2623495" y="1542940"/>
                    </a:lnTo>
                    <a:lnTo>
                      <a:pt x="2572511" y="1776611"/>
                    </a:lnTo>
                    <a:lnTo>
                      <a:pt x="2420979" y="1746871"/>
                    </a:lnTo>
                    <a:close/>
                    <a:moveTo>
                      <a:pt x="2408233" y="1793606"/>
                    </a:moveTo>
                    <a:lnTo>
                      <a:pt x="2534274" y="1949387"/>
                    </a:lnTo>
                    <a:lnTo>
                      <a:pt x="2487540" y="2160399"/>
                    </a:lnTo>
                    <a:lnTo>
                      <a:pt x="2323262" y="2081092"/>
                    </a:lnTo>
                    <a:lnTo>
                      <a:pt x="2408233" y="1793606"/>
                    </a:lnTo>
                    <a:close/>
                    <a:moveTo>
                      <a:pt x="3310347" y="1892739"/>
                    </a:moveTo>
                    <a:lnTo>
                      <a:pt x="3304682" y="1904069"/>
                    </a:lnTo>
                    <a:lnTo>
                      <a:pt x="3211214" y="1868664"/>
                    </a:lnTo>
                    <a:lnTo>
                      <a:pt x="3209797" y="1868664"/>
                    </a:lnTo>
                    <a:lnTo>
                      <a:pt x="3293353" y="1928144"/>
                    </a:lnTo>
                    <a:lnTo>
                      <a:pt x="3185723" y="2153318"/>
                    </a:lnTo>
                    <a:lnTo>
                      <a:pt x="3170144" y="2154735"/>
                    </a:lnTo>
                    <a:lnTo>
                      <a:pt x="3170144" y="2154735"/>
                    </a:lnTo>
                    <a:lnTo>
                      <a:pt x="3121994" y="2299186"/>
                    </a:lnTo>
                    <a:lnTo>
                      <a:pt x="3031358" y="2275111"/>
                    </a:lnTo>
                    <a:lnTo>
                      <a:pt x="3021444" y="1476379"/>
                    </a:lnTo>
                    <a:lnTo>
                      <a:pt x="3243786" y="1605252"/>
                    </a:lnTo>
                    <a:lnTo>
                      <a:pt x="3310347" y="1892739"/>
                    </a:lnTo>
                    <a:close/>
                    <a:moveTo>
                      <a:pt x="3544019" y="2106584"/>
                    </a:moveTo>
                    <a:lnTo>
                      <a:pt x="3188554" y="2151902"/>
                    </a:lnTo>
                    <a:lnTo>
                      <a:pt x="3296186" y="1928144"/>
                    </a:lnTo>
                    <a:lnTo>
                      <a:pt x="3544019" y="2106584"/>
                    </a:lnTo>
                    <a:close/>
                    <a:moveTo>
                      <a:pt x="3223959" y="1875745"/>
                    </a:moveTo>
                    <a:lnTo>
                      <a:pt x="3303267" y="1905485"/>
                    </a:lnTo>
                    <a:lnTo>
                      <a:pt x="3293353" y="1925311"/>
                    </a:lnTo>
                    <a:lnTo>
                      <a:pt x="3223959" y="1875745"/>
                    </a:lnTo>
                    <a:close/>
                    <a:moveTo>
                      <a:pt x="3121994" y="2300602"/>
                    </a:moveTo>
                    <a:lnTo>
                      <a:pt x="3073843" y="2447886"/>
                    </a:lnTo>
                    <a:lnTo>
                      <a:pt x="3034190" y="2429475"/>
                    </a:lnTo>
                    <a:lnTo>
                      <a:pt x="3032773" y="2277943"/>
                    </a:lnTo>
                    <a:lnTo>
                      <a:pt x="3121994" y="2300602"/>
                    </a:lnTo>
                    <a:close/>
                    <a:moveTo>
                      <a:pt x="3031358" y="2428059"/>
                    </a:moveTo>
                    <a:lnTo>
                      <a:pt x="2959132" y="2392654"/>
                    </a:lnTo>
                    <a:lnTo>
                      <a:pt x="2899652" y="2241122"/>
                    </a:lnTo>
                    <a:lnTo>
                      <a:pt x="3028525" y="2276527"/>
                    </a:lnTo>
                    <a:lnTo>
                      <a:pt x="3031358" y="2428059"/>
                    </a:lnTo>
                    <a:close/>
                    <a:moveTo>
                      <a:pt x="3072427" y="2449302"/>
                    </a:moveTo>
                    <a:lnTo>
                      <a:pt x="3035606" y="2559765"/>
                    </a:lnTo>
                    <a:lnTo>
                      <a:pt x="3034190" y="2429475"/>
                    </a:lnTo>
                    <a:lnTo>
                      <a:pt x="3072427" y="2449302"/>
                    </a:lnTo>
                    <a:close/>
                    <a:moveTo>
                      <a:pt x="3075259" y="2447886"/>
                    </a:moveTo>
                    <a:lnTo>
                      <a:pt x="3123410" y="2300602"/>
                    </a:lnTo>
                    <a:lnTo>
                      <a:pt x="3323093" y="2354417"/>
                    </a:lnTo>
                    <a:lnTo>
                      <a:pt x="3187139" y="2503117"/>
                    </a:lnTo>
                    <a:lnTo>
                      <a:pt x="3075259" y="2447886"/>
                    </a:lnTo>
                    <a:close/>
                    <a:moveTo>
                      <a:pt x="3185723" y="2157567"/>
                    </a:moveTo>
                    <a:lnTo>
                      <a:pt x="3187139" y="2154735"/>
                    </a:lnTo>
                    <a:lnTo>
                      <a:pt x="3546852" y="2109416"/>
                    </a:lnTo>
                    <a:lnTo>
                      <a:pt x="3548267" y="2110833"/>
                    </a:lnTo>
                    <a:lnTo>
                      <a:pt x="3393902" y="2279359"/>
                    </a:lnTo>
                    <a:lnTo>
                      <a:pt x="3185723" y="2157567"/>
                    </a:lnTo>
                    <a:close/>
                    <a:moveTo>
                      <a:pt x="3493036" y="1973462"/>
                    </a:moveTo>
                    <a:lnTo>
                      <a:pt x="3306099" y="1904069"/>
                    </a:lnTo>
                    <a:lnTo>
                      <a:pt x="3311763" y="1892739"/>
                    </a:lnTo>
                    <a:lnTo>
                      <a:pt x="3311763" y="1892739"/>
                    </a:lnTo>
                    <a:lnTo>
                      <a:pt x="3245202" y="1605252"/>
                    </a:lnTo>
                    <a:lnTo>
                      <a:pt x="3372659" y="1678894"/>
                    </a:lnTo>
                    <a:lnTo>
                      <a:pt x="3493036" y="1973462"/>
                    </a:lnTo>
                    <a:close/>
                    <a:moveTo>
                      <a:pt x="3245202" y="1602420"/>
                    </a:moveTo>
                    <a:lnTo>
                      <a:pt x="3184306" y="1341841"/>
                    </a:lnTo>
                    <a:lnTo>
                      <a:pt x="3232457" y="1337592"/>
                    </a:lnTo>
                    <a:lnTo>
                      <a:pt x="3371244" y="1676062"/>
                    </a:lnTo>
                    <a:lnTo>
                      <a:pt x="3245202" y="1602420"/>
                    </a:lnTo>
                    <a:close/>
                    <a:moveTo>
                      <a:pt x="3546852" y="2106584"/>
                    </a:moveTo>
                    <a:lnTo>
                      <a:pt x="3296186" y="1926728"/>
                    </a:lnTo>
                    <a:lnTo>
                      <a:pt x="3306099" y="1905485"/>
                    </a:lnTo>
                    <a:lnTo>
                      <a:pt x="3494452" y="1976294"/>
                    </a:lnTo>
                    <a:lnTo>
                      <a:pt x="3546852" y="2106584"/>
                    </a:lnTo>
                    <a:lnTo>
                      <a:pt x="3546852" y="2106584"/>
                    </a:lnTo>
                    <a:close/>
                    <a:moveTo>
                      <a:pt x="3248035" y="1334760"/>
                    </a:moveTo>
                    <a:lnTo>
                      <a:pt x="3233873" y="1336176"/>
                    </a:lnTo>
                    <a:lnTo>
                      <a:pt x="3226792" y="1320598"/>
                    </a:lnTo>
                    <a:lnTo>
                      <a:pt x="3248035" y="1334760"/>
                    </a:lnTo>
                    <a:close/>
                    <a:moveTo>
                      <a:pt x="3223959" y="1317766"/>
                    </a:moveTo>
                    <a:lnTo>
                      <a:pt x="3231040" y="1336176"/>
                    </a:lnTo>
                    <a:lnTo>
                      <a:pt x="3182890" y="1340425"/>
                    </a:lnTo>
                    <a:lnTo>
                      <a:pt x="3168728" y="1276696"/>
                    </a:lnTo>
                    <a:lnTo>
                      <a:pt x="3223959" y="1317766"/>
                    </a:lnTo>
                    <a:close/>
                    <a:moveTo>
                      <a:pt x="2243955" y="1653403"/>
                    </a:moveTo>
                    <a:lnTo>
                      <a:pt x="2242539" y="1586842"/>
                    </a:lnTo>
                    <a:lnTo>
                      <a:pt x="2286441" y="1642073"/>
                    </a:lnTo>
                    <a:lnTo>
                      <a:pt x="2243955" y="1653403"/>
                    </a:lnTo>
                    <a:close/>
                    <a:moveTo>
                      <a:pt x="3071011" y="2631991"/>
                    </a:moveTo>
                    <a:lnTo>
                      <a:pt x="3301850" y="2869911"/>
                    </a:lnTo>
                    <a:lnTo>
                      <a:pt x="3129075" y="2821760"/>
                    </a:lnTo>
                    <a:lnTo>
                      <a:pt x="3052600" y="2653234"/>
                    </a:lnTo>
                    <a:lnTo>
                      <a:pt x="3071011" y="2631991"/>
                    </a:lnTo>
                    <a:close/>
                    <a:moveTo>
                      <a:pt x="3398152" y="2607916"/>
                    </a:moveTo>
                    <a:lnTo>
                      <a:pt x="3436388" y="2885489"/>
                    </a:lnTo>
                    <a:lnTo>
                      <a:pt x="3342920" y="2932223"/>
                    </a:lnTo>
                    <a:lnTo>
                      <a:pt x="3314596" y="2797685"/>
                    </a:lnTo>
                    <a:lnTo>
                      <a:pt x="3314596" y="2796269"/>
                    </a:lnTo>
                    <a:lnTo>
                      <a:pt x="3307515" y="2872743"/>
                    </a:lnTo>
                    <a:lnTo>
                      <a:pt x="3072427" y="2630574"/>
                    </a:lnTo>
                    <a:lnTo>
                      <a:pt x="3187139" y="2505950"/>
                    </a:lnTo>
                    <a:lnTo>
                      <a:pt x="3398152" y="2607916"/>
                    </a:lnTo>
                    <a:close/>
                    <a:moveTo>
                      <a:pt x="3716795" y="1300771"/>
                    </a:moveTo>
                    <a:lnTo>
                      <a:pt x="3681390" y="1656235"/>
                    </a:lnTo>
                    <a:lnTo>
                      <a:pt x="3253700" y="1337592"/>
                    </a:lnTo>
                    <a:lnTo>
                      <a:pt x="3716795" y="1300771"/>
                    </a:lnTo>
                    <a:close/>
                    <a:moveTo>
                      <a:pt x="3747950" y="1296523"/>
                    </a:moveTo>
                    <a:lnTo>
                      <a:pt x="3718210" y="1299355"/>
                    </a:lnTo>
                    <a:lnTo>
                      <a:pt x="3722459" y="1256869"/>
                    </a:lnTo>
                    <a:lnTo>
                      <a:pt x="3747950" y="1296523"/>
                    </a:lnTo>
                    <a:close/>
                    <a:moveTo>
                      <a:pt x="4004281" y="1178979"/>
                    </a:moveTo>
                    <a:lnTo>
                      <a:pt x="4015611" y="1150655"/>
                    </a:lnTo>
                    <a:lnTo>
                      <a:pt x="4150149" y="1108169"/>
                    </a:lnTo>
                    <a:lnTo>
                      <a:pt x="4202548" y="1215800"/>
                    </a:lnTo>
                    <a:lnTo>
                      <a:pt x="4004281" y="1178979"/>
                    </a:lnTo>
                    <a:close/>
                    <a:moveTo>
                      <a:pt x="3957547" y="1169066"/>
                    </a:moveTo>
                    <a:lnTo>
                      <a:pt x="4014195" y="1150655"/>
                    </a:lnTo>
                    <a:lnTo>
                      <a:pt x="4002865" y="1177563"/>
                    </a:lnTo>
                    <a:lnTo>
                      <a:pt x="3957547" y="1169066"/>
                    </a:lnTo>
                    <a:close/>
                    <a:moveTo>
                      <a:pt x="4182721" y="1095424"/>
                    </a:moveTo>
                    <a:lnTo>
                      <a:pt x="4151565" y="1105337"/>
                    </a:lnTo>
                    <a:lnTo>
                      <a:pt x="4143068" y="1086926"/>
                    </a:lnTo>
                    <a:lnTo>
                      <a:pt x="4182721" y="1095424"/>
                    </a:lnTo>
                    <a:close/>
                    <a:moveTo>
                      <a:pt x="4185554" y="1094007"/>
                    </a:moveTo>
                    <a:lnTo>
                      <a:pt x="4140235" y="1084094"/>
                    </a:lnTo>
                    <a:lnTo>
                      <a:pt x="4087836" y="977880"/>
                    </a:lnTo>
                    <a:lnTo>
                      <a:pt x="4111911" y="919816"/>
                    </a:lnTo>
                    <a:lnTo>
                      <a:pt x="4430555" y="911319"/>
                    </a:lnTo>
                    <a:lnTo>
                      <a:pt x="4443301" y="1010452"/>
                    </a:lnTo>
                    <a:lnTo>
                      <a:pt x="4185554" y="1094007"/>
                    </a:lnTo>
                    <a:close/>
                    <a:moveTo>
                      <a:pt x="4110496" y="919816"/>
                    </a:moveTo>
                    <a:lnTo>
                      <a:pt x="4087836" y="975047"/>
                    </a:lnTo>
                    <a:lnTo>
                      <a:pt x="4060929" y="921232"/>
                    </a:lnTo>
                    <a:lnTo>
                      <a:pt x="4110496" y="919816"/>
                    </a:lnTo>
                    <a:close/>
                    <a:moveTo>
                      <a:pt x="4138819" y="1084094"/>
                    </a:moveTo>
                    <a:lnTo>
                      <a:pt x="4052431" y="1065684"/>
                    </a:lnTo>
                    <a:lnTo>
                      <a:pt x="4087836" y="980712"/>
                    </a:lnTo>
                    <a:lnTo>
                      <a:pt x="4138819" y="1084094"/>
                    </a:lnTo>
                    <a:close/>
                    <a:moveTo>
                      <a:pt x="4140235" y="1085510"/>
                    </a:moveTo>
                    <a:lnTo>
                      <a:pt x="4150149" y="1105337"/>
                    </a:lnTo>
                    <a:lnTo>
                      <a:pt x="4017026" y="1147823"/>
                    </a:lnTo>
                    <a:lnTo>
                      <a:pt x="4051015" y="1065684"/>
                    </a:lnTo>
                    <a:lnTo>
                      <a:pt x="4140235" y="1085510"/>
                    </a:lnTo>
                    <a:close/>
                    <a:moveTo>
                      <a:pt x="3136156" y="1101088"/>
                    </a:moveTo>
                    <a:lnTo>
                      <a:pt x="3222543" y="1313517"/>
                    </a:lnTo>
                    <a:lnTo>
                      <a:pt x="3167312" y="1272448"/>
                    </a:lnTo>
                    <a:lnTo>
                      <a:pt x="3158815" y="1238459"/>
                    </a:lnTo>
                    <a:lnTo>
                      <a:pt x="3158815" y="1238459"/>
                    </a:lnTo>
                    <a:lnTo>
                      <a:pt x="3069595" y="1190308"/>
                    </a:lnTo>
                    <a:lnTo>
                      <a:pt x="3096502" y="1044441"/>
                    </a:lnTo>
                    <a:lnTo>
                      <a:pt x="3136156" y="1101088"/>
                    </a:lnTo>
                    <a:close/>
                    <a:moveTo>
                      <a:pt x="3020028" y="1472130"/>
                    </a:moveTo>
                    <a:lnTo>
                      <a:pt x="3020028" y="1472130"/>
                    </a:lnTo>
                    <a:lnTo>
                      <a:pt x="3041271" y="1353170"/>
                    </a:lnTo>
                    <a:lnTo>
                      <a:pt x="3182890" y="1341841"/>
                    </a:lnTo>
                    <a:lnTo>
                      <a:pt x="3243786" y="1601004"/>
                    </a:lnTo>
                    <a:lnTo>
                      <a:pt x="3020028" y="1472130"/>
                    </a:lnTo>
                    <a:close/>
                    <a:moveTo>
                      <a:pt x="3020028" y="1472130"/>
                    </a:moveTo>
                    <a:lnTo>
                      <a:pt x="3029942" y="2273694"/>
                    </a:lnTo>
                    <a:lnTo>
                      <a:pt x="2899652" y="2238290"/>
                    </a:lnTo>
                    <a:lnTo>
                      <a:pt x="2732542" y="1809184"/>
                    </a:lnTo>
                    <a:lnTo>
                      <a:pt x="2950635" y="1851669"/>
                    </a:lnTo>
                    <a:lnTo>
                      <a:pt x="2950635" y="1851669"/>
                    </a:lnTo>
                    <a:lnTo>
                      <a:pt x="3020028" y="1472130"/>
                    </a:lnTo>
                    <a:close/>
                    <a:moveTo>
                      <a:pt x="2437973" y="2398319"/>
                    </a:moveTo>
                    <a:lnTo>
                      <a:pt x="2665980" y="2358666"/>
                    </a:lnTo>
                    <a:lnTo>
                      <a:pt x="2777859" y="2680141"/>
                    </a:lnTo>
                    <a:lnTo>
                      <a:pt x="2772195" y="2677309"/>
                    </a:lnTo>
                    <a:lnTo>
                      <a:pt x="2433725" y="2420978"/>
                    </a:lnTo>
                    <a:lnTo>
                      <a:pt x="2437973" y="2398319"/>
                    </a:lnTo>
                    <a:close/>
                    <a:moveTo>
                      <a:pt x="2413898" y="2507366"/>
                    </a:moveTo>
                    <a:lnTo>
                      <a:pt x="2432309" y="2423811"/>
                    </a:lnTo>
                    <a:lnTo>
                      <a:pt x="2762281" y="2673060"/>
                    </a:lnTo>
                    <a:lnTo>
                      <a:pt x="2413898" y="2507366"/>
                    </a:lnTo>
                    <a:close/>
                    <a:moveTo>
                      <a:pt x="2409650" y="2402568"/>
                    </a:moveTo>
                    <a:lnTo>
                      <a:pt x="2436557" y="2398319"/>
                    </a:lnTo>
                    <a:lnTo>
                      <a:pt x="2432309" y="2419562"/>
                    </a:lnTo>
                    <a:lnTo>
                      <a:pt x="2409650" y="2402568"/>
                    </a:lnTo>
                    <a:close/>
                    <a:moveTo>
                      <a:pt x="2430893" y="2420978"/>
                    </a:moveTo>
                    <a:lnTo>
                      <a:pt x="2412482" y="2504534"/>
                    </a:lnTo>
                    <a:lnTo>
                      <a:pt x="2382742" y="2490372"/>
                    </a:lnTo>
                    <a:lnTo>
                      <a:pt x="2340256" y="2413897"/>
                    </a:lnTo>
                    <a:lnTo>
                      <a:pt x="2408233" y="2402568"/>
                    </a:lnTo>
                    <a:lnTo>
                      <a:pt x="2430893" y="2420978"/>
                    </a:lnTo>
                    <a:close/>
                    <a:moveTo>
                      <a:pt x="2488956" y="2164648"/>
                    </a:moveTo>
                    <a:lnTo>
                      <a:pt x="2847253" y="2338839"/>
                    </a:lnTo>
                    <a:lnTo>
                      <a:pt x="3027109" y="2562597"/>
                    </a:lnTo>
                    <a:lnTo>
                      <a:pt x="3028525" y="2564014"/>
                    </a:lnTo>
                    <a:lnTo>
                      <a:pt x="2961964" y="2395487"/>
                    </a:lnTo>
                    <a:lnTo>
                      <a:pt x="3032773" y="2429475"/>
                    </a:lnTo>
                    <a:lnTo>
                      <a:pt x="3034190" y="2571095"/>
                    </a:lnTo>
                    <a:lnTo>
                      <a:pt x="3034190" y="2572511"/>
                    </a:lnTo>
                    <a:lnTo>
                      <a:pt x="3075259" y="2450718"/>
                    </a:lnTo>
                    <a:lnTo>
                      <a:pt x="3187139" y="2504534"/>
                    </a:lnTo>
                    <a:lnTo>
                      <a:pt x="3072427" y="2629158"/>
                    </a:lnTo>
                    <a:lnTo>
                      <a:pt x="3011531" y="2566846"/>
                    </a:lnTo>
                    <a:lnTo>
                      <a:pt x="3010115" y="2565430"/>
                    </a:lnTo>
                    <a:lnTo>
                      <a:pt x="3049768" y="2651817"/>
                    </a:lnTo>
                    <a:lnTo>
                      <a:pt x="2949219" y="2760864"/>
                    </a:lnTo>
                    <a:lnTo>
                      <a:pt x="2779276" y="2680141"/>
                    </a:lnTo>
                    <a:lnTo>
                      <a:pt x="2665980" y="2355834"/>
                    </a:lnTo>
                    <a:lnTo>
                      <a:pt x="2665980" y="2355834"/>
                    </a:lnTo>
                    <a:lnTo>
                      <a:pt x="2437973" y="2395487"/>
                    </a:lnTo>
                    <a:lnTo>
                      <a:pt x="2488956" y="2164648"/>
                    </a:lnTo>
                    <a:close/>
                    <a:moveTo>
                      <a:pt x="3504366" y="2657482"/>
                    </a:moveTo>
                    <a:lnTo>
                      <a:pt x="3399567" y="2606499"/>
                    </a:lnTo>
                    <a:lnTo>
                      <a:pt x="3372659" y="2413897"/>
                    </a:lnTo>
                    <a:lnTo>
                      <a:pt x="3504366" y="2657482"/>
                    </a:lnTo>
                    <a:close/>
                    <a:moveTo>
                      <a:pt x="4004281" y="1180395"/>
                    </a:moveTo>
                    <a:lnTo>
                      <a:pt x="4205381" y="1217216"/>
                    </a:lnTo>
                    <a:lnTo>
                      <a:pt x="4271941" y="1351754"/>
                    </a:lnTo>
                    <a:lnTo>
                      <a:pt x="4177057" y="1388575"/>
                    </a:lnTo>
                    <a:lnTo>
                      <a:pt x="4001449" y="1275280"/>
                    </a:lnTo>
                    <a:lnTo>
                      <a:pt x="4001449" y="1275280"/>
                    </a:lnTo>
                    <a:lnTo>
                      <a:pt x="3961795" y="1278112"/>
                    </a:lnTo>
                    <a:lnTo>
                      <a:pt x="4004281" y="1180395"/>
                    </a:lnTo>
                    <a:close/>
                    <a:moveTo>
                      <a:pt x="4436220" y="1149239"/>
                    </a:moveTo>
                    <a:lnTo>
                      <a:pt x="4189802" y="1095424"/>
                    </a:lnTo>
                    <a:lnTo>
                      <a:pt x="4444717" y="1013285"/>
                    </a:lnTo>
                    <a:lnTo>
                      <a:pt x="4457463" y="1115250"/>
                    </a:lnTo>
                    <a:lnTo>
                      <a:pt x="4436220" y="1149239"/>
                    </a:lnTo>
                    <a:close/>
                    <a:moveTo>
                      <a:pt x="3949049" y="1170482"/>
                    </a:moveTo>
                    <a:lnTo>
                      <a:pt x="3723876" y="1242707"/>
                    </a:lnTo>
                    <a:lnTo>
                      <a:pt x="3603499" y="1106753"/>
                    </a:lnTo>
                    <a:lnTo>
                      <a:pt x="3949049" y="1170482"/>
                    </a:lnTo>
                    <a:close/>
                    <a:moveTo>
                      <a:pt x="3953298" y="1170482"/>
                    </a:moveTo>
                    <a:lnTo>
                      <a:pt x="4001449" y="1178979"/>
                    </a:lnTo>
                    <a:lnTo>
                      <a:pt x="3960379" y="1278112"/>
                    </a:lnTo>
                    <a:lnTo>
                      <a:pt x="3750783" y="1295107"/>
                    </a:lnTo>
                    <a:lnTo>
                      <a:pt x="3722459" y="1249788"/>
                    </a:lnTo>
                    <a:lnTo>
                      <a:pt x="3722459" y="1249788"/>
                    </a:lnTo>
                    <a:lnTo>
                      <a:pt x="3718210" y="1297939"/>
                    </a:lnTo>
                    <a:lnTo>
                      <a:pt x="3252283" y="1334760"/>
                    </a:lnTo>
                    <a:lnTo>
                      <a:pt x="3226792" y="1316349"/>
                    </a:lnTo>
                    <a:lnTo>
                      <a:pt x="3138988" y="1101088"/>
                    </a:lnTo>
                    <a:lnTo>
                      <a:pt x="3099335" y="1044441"/>
                    </a:lnTo>
                    <a:lnTo>
                      <a:pt x="3105000" y="1016117"/>
                    </a:lnTo>
                    <a:lnTo>
                      <a:pt x="3600667" y="1106753"/>
                    </a:lnTo>
                    <a:lnTo>
                      <a:pt x="3723876" y="1245540"/>
                    </a:lnTo>
                    <a:lnTo>
                      <a:pt x="3723876" y="1245540"/>
                    </a:lnTo>
                    <a:lnTo>
                      <a:pt x="3953298" y="1170482"/>
                    </a:lnTo>
                    <a:close/>
                    <a:moveTo>
                      <a:pt x="3069595" y="1006204"/>
                    </a:moveTo>
                    <a:lnTo>
                      <a:pt x="2776443" y="952388"/>
                    </a:lnTo>
                    <a:lnTo>
                      <a:pt x="3027109" y="946724"/>
                    </a:lnTo>
                    <a:lnTo>
                      <a:pt x="3069595" y="1006204"/>
                    </a:lnTo>
                    <a:close/>
                    <a:moveTo>
                      <a:pt x="3027109" y="943891"/>
                    </a:moveTo>
                    <a:lnTo>
                      <a:pt x="2993120" y="897157"/>
                    </a:lnTo>
                    <a:lnTo>
                      <a:pt x="3049768" y="885827"/>
                    </a:lnTo>
                    <a:lnTo>
                      <a:pt x="3114913" y="854671"/>
                    </a:lnTo>
                    <a:lnTo>
                      <a:pt x="3114913" y="854671"/>
                    </a:lnTo>
                    <a:lnTo>
                      <a:pt x="3106416" y="577098"/>
                    </a:lnTo>
                    <a:lnTo>
                      <a:pt x="3143237" y="594092"/>
                    </a:lnTo>
                    <a:lnTo>
                      <a:pt x="3170144" y="623832"/>
                    </a:lnTo>
                    <a:lnTo>
                      <a:pt x="3113497" y="942475"/>
                    </a:lnTo>
                    <a:lnTo>
                      <a:pt x="3027109" y="943891"/>
                    </a:lnTo>
                    <a:close/>
                    <a:moveTo>
                      <a:pt x="2379910" y="2493204"/>
                    </a:moveTo>
                    <a:lnTo>
                      <a:pt x="2405401" y="2537106"/>
                    </a:lnTo>
                    <a:lnTo>
                      <a:pt x="2401152" y="2552684"/>
                    </a:lnTo>
                    <a:lnTo>
                      <a:pt x="2287857" y="2449302"/>
                    </a:lnTo>
                    <a:lnTo>
                      <a:pt x="2379910" y="2493204"/>
                    </a:lnTo>
                    <a:close/>
                    <a:moveTo>
                      <a:pt x="2402569" y="2555516"/>
                    </a:moveTo>
                    <a:lnTo>
                      <a:pt x="2405401" y="2539938"/>
                    </a:lnTo>
                    <a:lnTo>
                      <a:pt x="2426644" y="2578175"/>
                    </a:lnTo>
                    <a:lnTo>
                      <a:pt x="2402569" y="2555516"/>
                    </a:lnTo>
                    <a:close/>
                    <a:moveTo>
                      <a:pt x="2777859" y="2681557"/>
                    </a:moveTo>
                    <a:lnTo>
                      <a:pt x="2777859" y="2681557"/>
                    </a:lnTo>
                    <a:lnTo>
                      <a:pt x="2777859" y="2681557"/>
                    </a:lnTo>
                    <a:lnTo>
                      <a:pt x="2777859" y="2681557"/>
                    </a:lnTo>
                    <a:close/>
                    <a:moveTo>
                      <a:pt x="3307515" y="2872743"/>
                    </a:moveTo>
                    <a:lnTo>
                      <a:pt x="3307515" y="2876992"/>
                    </a:lnTo>
                    <a:lnTo>
                      <a:pt x="3270694" y="2912397"/>
                    </a:lnTo>
                    <a:lnTo>
                      <a:pt x="3144653" y="2852916"/>
                    </a:lnTo>
                    <a:lnTo>
                      <a:pt x="3130491" y="2823177"/>
                    </a:lnTo>
                    <a:lnTo>
                      <a:pt x="3307515" y="2872743"/>
                    </a:lnTo>
                    <a:close/>
                    <a:moveTo>
                      <a:pt x="3505782" y="2660315"/>
                    </a:moveTo>
                    <a:lnTo>
                      <a:pt x="3586505" y="2809015"/>
                    </a:lnTo>
                    <a:lnTo>
                      <a:pt x="3586505" y="2809015"/>
                    </a:lnTo>
                    <a:lnTo>
                      <a:pt x="3624742" y="2718378"/>
                    </a:lnTo>
                    <a:lnTo>
                      <a:pt x="3696968" y="2753783"/>
                    </a:lnTo>
                    <a:lnTo>
                      <a:pt x="3439221" y="2882656"/>
                    </a:lnTo>
                    <a:lnTo>
                      <a:pt x="3400983" y="2606499"/>
                    </a:lnTo>
                    <a:lnTo>
                      <a:pt x="3505782" y="2660315"/>
                    </a:lnTo>
                    <a:close/>
                    <a:moveTo>
                      <a:pt x="3375492" y="1680311"/>
                    </a:moveTo>
                    <a:lnTo>
                      <a:pt x="3723876" y="1882826"/>
                    </a:lnTo>
                    <a:lnTo>
                      <a:pt x="3746534" y="2068347"/>
                    </a:lnTo>
                    <a:lnTo>
                      <a:pt x="3495868" y="1974878"/>
                    </a:lnTo>
                    <a:lnTo>
                      <a:pt x="3375492" y="1680311"/>
                    </a:lnTo>
                    <a:close/>
                    <a:moveTo>
                      <a:pt x="3699800" y="1666149"/>
                    </a:moveTo>
                    <a:lnTo>
                      <a:pt x="3892402" y="1891323"/>
                    </a:lnTo>
                    <a:lnTo>
                      <a:pt x="3868326" y="1964965"/>
                    </a:lnTo>
                    <a:lnTo>
                      <a:pt x="3725291" y="1881410"/>
                    </a:lnTo>
                    <a:lnTo>
                      <a:pt x="3699800" y="1666149"/>
                    </a:lnTo>
                    <a:close/>
                    <a:moveTo>
                      <a:pt x="4460295" y="1262534"/>
                    </a:moveTo>
                    <a:lnTo>
                      <a:pt x="4205381" y="1215800"/>
                    </a:lnTo>
                    <a:lnTo>
                      <a:pt x="4151565" y="1106753"/>
                    </a:lnTo>
                    <a:lnTo>
                      <a:pt x="4185554" y="1095424"/>
                    </a:lnTo>
                    <a:lnTo>
                      <a:pt x="4436220" y="1150655"/>
                    </a:lnTo>
                    <a:lnTo>
                      <a:pt x="4436220" y="1150655"/>
                    </a:lnTo>
                    <a:lnTo>
                      <a:pt x="4457463" y="1118083"/>
                    </a:lnTo>
                    <a:lnTo>
                      <a:pt x="4474457" y="1258286"/>
                    </a:lnTo>
                    <a:lnTo>
                      <a:pt x="4460295" y="1262534"/>
                    </a:lnTo>
                    <a:close/>
                    <a:moveTo>
                      <a:pt x="3983038" y="919816"/>
                    </a:moveTo>
                    <a:lnTo>
                      <a:pt x="4039686" y="882995"/>
                    </a:lnTo>
                    <a:lnTo>
                      <a:pt x="4056680" y="918400"/>
                    </a:lnTo>
                    <a:lnTo>
                      <a:pt x="3983038" y="919816"/>
                    </a:lnTo>
                    <a:close/>
                    <a:moveTo>
                      <a:pt x="4058096" y="919816"/>
                    </a:moveTo>
                    <a:lnTo>
                      <a:pt x="4086420" y="976464"/>
                    </a:lnTo>
                    <a:lnTo>
                      <a:pt x="4049600" y="1062851"/>
                    </a:lnTo>
                    <a:lnTo>
                      <a:pt x="3832922" y="1014701"/>
                    </a:lnTo>
                    <a:lnTo>
                      <a:pt x="3978790" y="921232"/>
                    </a:lnTo>
                    <a:lnTo>
                      <a:pt x="4058096" y="919816"/>
                    </a:lnTo>
                    <a:close/>
                    <a:moveTo>
                      <a:pt x="3828673" y="1017533"/>
                    </a:moveTo>
                    <a:lnTo>
                      <a:pt x="3828673" y="1017533"/>
                    </a:lnTo>
                    <a:lnTo>
                      <a:pt x="4049600" y="1067100"/>
                    </a:lnTo>
                    <a:lnTo>
                      <a:pt x="4014195" y="1150655"/>
                    </a:lnTo>
                    <a:lnTo>
                      <a:pt x="3951882" y="1170482"/>
                    </a:lnTo>
                    <a:lnTo>
                      <a:pt x="3599250" y="1105337"/>
                    </a:lnTo>
                    <a:lnTo>
                      <a:pt x="3450550" y="936810"/>
                    </a:lnTo>
                    <a:lnTo>
                      <a:pt x="3975957" y="924064"/>
                    </a:lnTo>
                    <a:lnTo>
                      <a:pt x="3828673" y="1017533"/>
                    </a:lnTo>
                    <a:close/>
                    <a:moveTo>
                      <a:pt x="3103583" y="1013285"/>
                    </a:moveTo>
                    <a:lnTo>
                      <a:pt x="3116329" y="943891"/>
                    </a:lnTo>
                    <a:lnTo>
                      <a:pt x="3449134" y="935394"/>
                    </a:lnTo>
                    <a:lnTo>
                      <a:pt x="3597834" y="1102505"/>
                    </a:lnTo>
                    <a:lnTo>
                      <a:pt x="3103583" y="1013285"/>
                    </a:lnTo>
                    <a:close/>
                    <a:moveTo>
                      <a:pt x="3116329" y="942475"/>
                    </a:moveTo>
                    <a:lnTo>
                      <a:pt x="3174393" y="626664"/>
                    </a:lnTo>
                    <a:lnTo>
                      <a:pt x="3446301" y="933978"/>
                    </a:lnTo>
                    <a:lnTo>
                      <a:pt x="3116329" y="942475"/>
                    </a:lnTo>
                    <a:close/>
                    <a:moveTo>
                      <a:pt x="3146069" y="592676"/>
                    </a:moveTo>
                    <a:lnTo>
                      <a:pt x="3121994" y="565768"/>
                    </a:lnTo>
                    <a:lnTo>
                      <a:pt x="3073843" y="494959"/>
                    </a:lnTo>
                    <a:lnTo>
                      <a:pt x="3211214" y="408571"/>
                    </a:lnTo>
                    <a:lnTo>
                      <a:pt x="3174393" y="606838"/>
                    </a:lnTo>
                    <a:lnTo>
                      <a:pt x="3146069" y="592676"/>
                    </a:lnTo>
                    <a:close/>
                    <a:moveTo>
                      <a:pt x="3212630" y="404322"/>
                    </a:moveTo>
                    <a:lnTo>
                      <a:pt x="3072427" y="492126"/>
                    </a:lnTo>
                    <a:lnTo>
                      <a:pt x="3051185" y="459554"/>
                    </a:lnTo>
                    <a:lnTo>
                      <a:pt x="3218295" y="371750"/>
                    </a:lnTo>
                    <a:lnTo>
                      <a:pt x="3212630" y="404322"/>
                    </a:lnTo>
                    <a:close/>
                    <a:moveTo>
                      <a:pt x="3106416" y="574265"/>
                    </a:moveTo>
                    <a:lnTo>
                      <a:pt x="3106416" y="574265"/>
                    </a:lnTo>
                    <a:lnTo>
                      <a:pt x="3114913" y="853255"/>
                    </a:lnTo>
                    <a:lnTo>
                      <a:pt x="3051185" y="884411"/>
                    </a:lnTo>
                    <a:lnTo>
                      <a:pt x="2994537" y="895741"/>
                    </a:lnTo>
                    <a:lnTo>
                      <a:pt x="2823177" y="653572"/>
                    </a:lnTo>
                    <a:lnTo>
                      <a:pt x="3073843" y="494959"/>
                    </a:lnTo>
                    <a:lnTo>
                      <a:pt x="3121994" y="565768"/>
                    </a:lnTo>
                    <a:lnTo>
                      <a:pt x="3143237" y="589843"/>
                    </a:lnTo>
                    <a:lnTo>
                      <a:pt x="3106416" y="574265"/>
                    </a:lnTo>
                    <a:close/>
                    <a:moveTo>
                      <a:pt x="2715547" y="952388"/>
                    </a:moveTo>
                    <a:lnTo>
                      <a:pt x="2715547" y="952388"/>
                    </a:lnTo>
                    <a:lnTo>
                      <a:pt x="2715547" y="953805"/>
                    </a:lnTo>
                    <a:lnTo>
                      <a:pt x="2715547" y="953805"/>
                    </a:lnTo>
                    <a:lnTo>
                      <a:pt x="2766530" y="952388"/>
                    </a:lnTo>
                    <a:lnTo>
                      <a:pt x="3071011" y="1009036"/>
                    </a:lnTo>
                    <a:lnTo>
                      <a:pt x="3096502" y="1044441"/>
                    </a:lnTo>
                    <a:lnTo>
                      <a:pt x="3069595" y="1190308"/>
                    </a:lnTo>
                    <a:lnTo>
                      <a:pt x="2545604" y="912735"/>
                    </a:lnTo>
                    <a:lnTo>
                      <a:pt x="2738206" y="948140"/>
                    </a:lnTo>
                    <a:lnTo>
                      <a:pt x="2715547" y="952388"/>
                    </a:lnTo>
                    <a:close/>
                    <a:moveTo>
                      <a:pt x="3167312" y="1273864"/>
                    </a:moveTo>
                    <a:lnTo>
                      <a:pt x="3182890" y="1340425"/>
                    </a:lnTo>
                    <a:lnTo>
                      <a:pt x="3042687" y="1351754"/>
                    </a:lnTo>
                    <a:lnTo>
                      <a:pt x="3069595" y="1201638"/>
                    </a:lnTo>
                    <a:lnTo>
                      <a:pt x="3167312" y="1273864"/>
                    </a:lnTo>
                    <a:close/>
                    <a:moveTo>
                      <a:pt x="3038439" y="1353170"/>
                    </a:moveTo>
                    <a:lnTo>
                      <a:pt x="2947802" y="1850253"/>
                    </a:lnTo>
                    <a:lnTo>
                      <a:pt x="2729709" y="1807768"/>
                    </a:lnTo>
                    <a:lnTo>
                      <a:pt x="2627743" y="1548605"/>
                    </a:lnTo>
                    <a:lnTo>
                      <a:pt x="2627743" y="1548605"/>
                    </a:lnTo>
                    <a:lnTo>
                      <a:pt x="2626327" y="1548605"/>
                    </a:lnTo>
                    <a:lnTo>
                      <a:pt x="2711299" y="1803519"/>
                    </a:lnTo>
                    <a:lnTo>
                      <a:pt x="2573928" y="1776611"/>
                    </a:lnTo>
                    <a:lnTo>
                      <a:pt x="2626327" y="1540108"/>
                    </a:lnTo>
                    <a:lnTo>
                      <a:pt x="2626327" y="1540108"/>
                    </a:lnTo>
                    <a:lnTo>
                      <a:pt x="2287857" y="1640657"/>
                    </a:lnTo>
                    <a:lnTo>
                      <a:pt x="2241123" y="1582593"/>
                    </a:lnTo>
                    <a:lnTo>
                      <a:pt x="2239707" y="1520281"/>
                    </a:lnTo>
                    <a:lnTo>
                      <a:pt x="2548436" y="1391407"/>
                    </a:lnTo>
                    <a:lnTo>
                      <a:pt x="3038439" y="1353170"/>
                    </a:lnTo>
                    <a:close/>
                    <a:moveTo>
                      <a:pt x="2201469" y="1533027"/>
                    </a:moveTo>
                    <a:lnTo>
                      <a:pt x="2191556" y="1520281"/>
                    </a:lnTo>
                    <a:lnTo>
                      <a:pt x="2236874" y="1497622"/>
                    </a:lnTo>
                    <a:lnTo>
                      <a:pt x="2236874" y="1517448"/>
                    </a:lnTo>
                    <a:lnTo>
                      <a:pt x="2201469" y="1533027"/>
                    </a:lnTo>
                    <a:close/>
                    <a:moveTo>
                      <a:pt x="2202886" y="1535859"/>
                    </a:moveTo>
                    <a:lnTo>
                      <a:pt x="2236874" y="1521697"/>
                    </a:lnTo>
                    <a:lnTo>
                      <a:pt x="2238290" y="1581177"/>
                    </a:lnTo>
                    <a:lnTo>
                      <a:pt x="2202886" y="1535859"/>
                    </a:lnTo>
                    <a:close/>
                    <a:moveTo>
                      <a:pt x="1930977" y="1646322"/>
                    </a:moveTo>
                    <a:lnTo>
                      <a:pt x="2190140" y="1521697"/>
                    </a:lnTo>
                    <a:lnTo>
                      <a:pt x="2200053" y="1534443"/>
                    </a:lnTo>
                    <a:lnTo>
                      <a:pt x="1930977" y="1646322"/>
                    </a:lnTo>
                    <a:close/>
                    <a:moveTo>
                      <a:pt x="1691640" y="1429645"/>
                    </a:moveTo>
                    <a:lnTo>
                      <a:pt x="1687392" y="1456552"/>
                    </a:lnTo>
                    <a:lnTo>
                      <a:pt x="1623663" y="1462217"/>
                    </a:lnTo>
                    <a:lnTo>
                      <a:pt x="1691640" y="1429645"/>
                    </a:lnTo>
                    <a:close/>
                    <a:moveTo>
                      <a:pt x="1793606" y="1381494"/>
                    </a:moveTo>
                    <a:lnTo>
                      <a:pt x="1694473" y="1426812"/>
                    </a:lnTo>
                    <a:lnTo>
                      <a:pt x="1721381" y="1272448"/>
                    </a:lnTo>
                    <a:lnTo>
                      <a:pt x="1837508" y="1314933"/>
                    </a:lnTo>
                    <a:lnTo>
                      <a:pt x="1793606" y="1381494"/>
                    </a:lnTo>
                    <a:close/>
                    <a:moveTo>
                      <a:pt x="1521697" y="1472130"/>
                    </a:moveTo>
                    <a:lnTo>
                      <a:pt x="1610918" y="1465049"/>
                    </a:lnTo>
                    <a:lnTo>
                      <a:pt x="1428229" y="1548605"/>
                    </a:lnTo>
                    <a:lnTo>
                      <a:pt x="1525946" y="1491957"/>
                    </a:lnTo>
                    <a:lnTo>
                      <a:pt x="1525946" y="1491957"/>
                    </a:lnTo>
                    <a:lnTo>
                      <a:pt x="1521697" y="1472130"/>
                    </a:lnTo>
                    <a:close/>
                    <a:moveTo>
                      <a:pt x="1474963" y="1235626"/>
                    </a:moveTo>
                    <a:lnTo>
                      <a:pt x="1520281" y="1470714"/>
                    </a:lnTo>
                    <a:lnTo>
                      <a:pt x="1358835" y="1483460"/>
                    </a:lnTo>
                    <a:lnTo>
                      <a:pt x="1474963" y="1235626"/>
                    </a:lnTo>
                    <a:close/>
                    <a:moveTo>
                      <a:pt x="1746872" y="1453720"/>
                    </a:moveTo>
                    <a:lnTo>
                      <a:pt x="1668981" y="1574096"/>
                    </a:lnTo>
                    <a:lnTo>
                      <a:pt x="1688808" y="1457969"/>
                    </a:lnTo>
                    <a:lnTo>
                      <a:pt x="1746872" y="1453720"/>
                    </a:lnTo>
                    <a:close/>
                    <a:moveTo>
                      <a:pt x="1688808" y="1456552"/>
                    </a:moveTo>
                    <a:lnTo>
                      <a:pt x="1693057" y="1429645"/>
                    </a:lnTo>
                    <a:lnTo>
                      <a:pt x="1790774" y="1384327"/>
                    </a:lnTo>
                    <a:lnTo>
                      <a:pt x="1746872" y="1452304"/>
                    </a:lnTo>
                    <a:lnTo>
                      <a:pt x="1688808" y="1456552"/>
                    </a:lnTo>
                    <a:close/>
                    <a:moveTo>
                      <a:pt x="1838924" y="1314933"/>
                    </a:moveTo>
                    <a:lnTo>
                      <a:pt x="1882826" y="1330511"/>
                    </a:lnTo>
                    <a:lnTo>
                      <a:pt x="1882826" y="1330511"/>
                    </a:lnTo>
                    <a:lnTo>
                      <a:pt x="1959300" y="1234210"/>
                    </a:lnTo>
                    <a:lnTo>
                      <a:pt x="2000370" y="1285193"/>
                    </a:lnTo>
                    <a:lnTo>
                      <a:pt x="1797855" y="1378662"/>
                    </a:lnTo>
                    <a:lnTo>
                      <a:pt x="1838924" y="1314933"/>
                    </a:lnTo>
                    <a:close/>
                    <a:moveTo>
                      <a:pt x="1718548" y="1271031"/>
                    </a:moveTo>
                    <a:lnTo>
                      <a:pt x="1691640" y="1428229"/>
                    </a:lnTo>
                    <a:lnTo>
                      <a:pt x="1616582" y="1462217"/>
                    </a:lnTo>
                    <a:lnTo>
                      <a:pt x="1521697" y="1469298"/>
                    </a:lnTo>
                    <a:lnTo>
                      <a:pt x="1476380" y="1228546"/>
                    </a:lnTo>
                    <a:lnTo>
                      <a:pt x="1476380" y="1228546"/>
                    </a:lnTo>
                    <a:lnTo>
                      <a:pt x="1356003" y="1482044"/>
                    </a:lnTo>
                    <a:lnTo>
                      <a:pt x="1180395" y="1496206"/>
                    </a:lnTo>
                    <a:lnTo>
                      <a:pt x="1467882" y="1225713"/>
                    </a:lnTo>
                    <a:lnTo>
                      <a:pt x="1584010" y="1167649"/>
                    </a:lnTo>
                    <a:lnTo>
                      <a:pt x="1562767" y="1214384"/>
                    </a:lnTo>
                    <a:lnTo>
                      <a:pt x="1562767" y="1214384"/>
                    </a:lnTo>
                    <a:lnTo>
                      <a:pt x="1718548" y="1271031"/>
                    </a:lnTo>
                    <a:close/>
                    <a:moveTo>
                      <a:pt x="1751121" y="1452304"/>
                    </a:moveTo>
                    <a:lnTo>
                      <a:pt x="1796438" y="1382910"/>
                    </a:lnTo>
                    <a:lnTo>
                      <a:pt x="2003203" y="1288026"/>
                    </a:lnTo>
                    <a:lnTo>
                      <a:pt x="2112249" y="1423980"/>
                    </a:lnTo>
                    <a:lnTo>
                      <a:pt x="1751121" y="1452304"/>
                    </a:lnTo>
                    <a:close/>
                    <a:moveTo>
                      <a:pt x="1881410" y="1329095"/>
                    </a:moveTo>
                    <a:lnTo>
                      <a:pt x="1838924" y="1313517"/>
                    </a:lnTo>
                    <a:lnTo>
                      <a:pt x="1919647" y="1187476"/>
                    </a:lnTo>
                    <a:lnTo>
                      <a:pt x="1956468" y="1234210"/>
                    </a:lnTo>
                    <a:lnTo>
                      <a:pt x="1881410" y="1329095"/>
                    </a:lnTo>
                    <a:close/>
                    <a:moveTo>
                      <a:pt x="1837508" y="1313517"/>
                    </a:moveTo>
                    <a:lnTo>
                      <a:pt x="1719964" y="1271031"/>
                    </a:lnTo>
                    <a:lnTo>
                      <a:pt x="1751121" y="1084094"/>
                    </a:lnTo>
                    <a:lnTo>
                      <a:pt x="1812017" y="1054354"/>
                    </a:lnTo>
                    <a:lnTo>
                      <a:pt x="1918231" y="1187476"/>
                    </a:lnTo>
                    <a:lnTo>
                      <a:pt x="1837508" y="1313517"/>
                    </a:lnTo>
                    <a:close/>
                    <a:moveTo>
                      <a:pt x="1718548" y="1269615"/>
                    </a:moveTo>
                    <a:lnTo>
                      <a:pt x="1565599" y="1212967"/>
                    </a:lnTo>
                    <a:lnTo>
                      <a:pt x="1586842" y="1166233"/>
                    </a:lnTo>
                    <a:lnTo>
                      <a:pt x="1749704" y="1084094"/>
                    </a:lnTo>
                    <a:lnTo>
                      <a:pt x="1718548" y="1269615"/>
                    </a:lnTo>
                    <a:close/>
                    <a:moveTo>
                      <a:pt x="1316350" y="1571264"/>
                    </a:moveTo>
                    <a:lnTo>
                      <a:pt x="1409818" y="1572680"/>
                    </a:lnTo>
                    <a:lnTo>
                      <a:pt x="1448056" y="1646322"/>
                    </a:lnTo>
                    <a:lnTo>
                      <a:pt x="1428229" y="1646322"/>
                    </a:lnTo>
                    <a:lnTo>
                      <a:pt x="1309269" y="1588258"/>
                    </a:lnTo>
                    <a:lnTo>
                      <a:pt x="1316350" y="1571264"/>
                    </a:lnTo>
                    <a:close/>
                    <a:moveTo>
                      <a:pt x="2187307" y="2433724"/>
                    </a:moveTo>
                    <a:lnTo>
                      <a:pt x="2187307" y="2433724"/>
                    </a:lnTo>
                    <a:lnTo>
                      <a:pt x="2054185" y="2452135"/>
                    </a:lnTo>
                    <a:lnTo>
                      <a:pt x="2137741" y="1994705"/>
                    </a:lnTo>
                    <a:lnTo>
                      <a:pt x="2251036" y="2049936"/>
                    </a:lnTo>
                    <a:lnTo>
                      <a:pt x="2258117" y="2303435"/>
                    </a:lnTo>
                    <a:lnTo>
                      <a:pt x="2258117" y="2304851"/>
                    </a:lnTo>
                    <a:lnTo>
                      <a:pt x="2323262" y="2085341"/>
                    </a:lnTo>
                    <a:lnTo>
                      <a:pt x="2487540" y="2164648"/>
                    </a:lnTo>
                    <a:lnTo>
                      <a:pt x="2436557" y="2396903"/>
                    </a:lnTo>
                    <a:lnTo>
                      <a:pt x="2408233" y="2402568"/>
                    </a:lnTo>
                    <a:lnTo>
                      <a:pt x="2272279" y="2299186"/>
                    </a:lnTo>
                    <a:lnTo>
                      <a:pt x="2270863" y="2299186"/>
                    </a:lnTo>
                    <a:lnTo>
                      <a:pt x="2336008" y="2415314"/>
                    </a:lnTo>
                    <a:lnTo>
                      <a:pt x="2197221" y="2439389"/>
                    </a:lnTo>
                    <a:lnTo>
                      <a:pt x="2187307" y="2433724"/>
                    </a:lnTo>
                    <a:lnTo>
                      <a:pt x="2191556" y="2439389"/>
                    </a:lnTo>
                    <a:lnTo>
                      <a:pt x="2183059" y="2440805"/>
                    </a:lnTo>
                    <a:lnTo>
                      <a:pt x="2187307" y="2433724"/>
                    </a:lnTo>
                    <a:close/>
                    <a:moveTo>
                      <a:pt x="2336008" y="2415314"/>
                    </a:moveTo>
                    <a:lnTo>
                      <a:pt x="2377077" y="2488955"/>
                    </a:lnTo>
                    <a:lnTo>
                      <a:pt x="2277944" y="2440805"/>
                    </a:lnTo>
                    <a:lnTo>
                      <a:pt x="2276528" y="2440805"/>
                    </a:lnTo>
                    <a:lnTo>
                      <a:pt x="2399736" y="2555516"/>
                    </a:lnTo>
                    <a:lnTo>
                      <a:pt x="2395488" y="2578175"/>
                    </a:lnTo>
                    <a:lnTo>
                      <a:pt x="2198637" y="2439389"/>
                    </a:lnTo>
                    <a:lnTo>
                      <a:pt x="2336008" y="2415314"/>
                    </a:lnTo>
                    <a:close/>
                    <a:moveTo>
                      <a:pt x="2532858" y="2674476"/>
                    </a:moveTo>
                    <a:lnTo>
                      <a:pt x="2432309" y="2582424"/>
                    </a:lnTo>
                    <a:lnTo>
                      <a:pt x="2406817" y="2537106"/>
                    </a:lnTo>
                    <a:lnTo>
                      <a:pt x="2412482" y="2508782"/>
                    </a:lnTo>
                    <a:lnTo>
                      <a:pt x="2769362" y="2678725"/>
                    </a:lnTo>
                    <a:lnTo>
                      <a:pt x="2777859" y="2685806"/>
                    </a:lnTo>
                    <a:lnTo>
                      <a:pt x="2793438" y="2729708"/>
                    </a:lnTo>
                    <a:lnTo>
                      <a:pt x="2576761" y="2670228"/>
                    </a:lnTo>
                    <a:lnTo>
                      <a:pt x="2576761" y="2670228"/>
                    </a:lnTo>
                    <a:lnTo>
                      <a:pt x="2629159" y="2743870"/>
                    </a:lnTo>
                    <a:lnTo>
                      <a:pt x="2532858" y="2674476"/>
                    </a:lnTo>
                    <a:close/>
                    <a:moveTo>
                      <a:pt x="2923727" y="2792020"/>
                    </a:moveTo>
                    <a:lnTo>
                      <a:pt x="2942138" y="2772194"/>
                    </a:lnTo>
                    <a:lnTo>
                      <a:pt x="2998785" y="2787772"/>
                    </a:lnTo>
                    <a:lnTo>
                      <a:pt x="3140404" y="2855749"/>
                    </a:lnTo>
                    <a:lnTo>
                      <a:pt x="3197052" y="2981790"/>
                    </a:lnTo>
                    <a:lnTo>
                      <a:pt x="3185723" y="2993119"/>
                    </a:lnTo>
                    <a:lnTo>
                      <a:pt x="2923727" y="2792020"/>
                    </a:lnTo>
                    <a:close/>
                    <a:moveTo>
                      <a:pt x="3323093" y="2942136"/>
                    </a:moveTo>
                    <a:lnTo>
                      <a:pt x="3209797" y="2998784"/>
                    </a:lnTo>
                    <a:lnTo>
                      <a:pt x="3201301" y="2981790"/>
                    </a:lnTo>
                    <a:lnTo>
                      <a:pt x="3269278" y="2916645"/>
                    </a:lnTo>
                    <a:lnTo>
                      <a:pt x="3323093" y="2942136"/>
                    </a:lnTo>
                    <a:close/>
                    <a:moveTo>
                      <a:pt x="3325925" y="2943553"/>
                    </a:moveTo>
                    <a:lnTo>
                      <a:pt x="3342920" y="2952050"/>
                    </a:lnTo>
                    <a:lnTo>
                      <a:pt x="3372659" y="3103582"/>
                    </a:lnTo>
                    <a:lnTo>
                      <a:pt x="3216878" y="3017195"/>
                    </a:lnTo>
                    <a:lnTo>
                      <a:pt x="3209797" y="3001616"/>
                    </a:lnTo>
                    <a:lnTo>
                      <a:pt x="3325925" y="2943553"/>
                    </a:lnTo>
                    <a:close/>
                    <a:moveTo>
                      <a:pt x="3345752" y="2949217"/>
                    </a:moveTo>
                    <a:lnTo>
                      <a:pt x="3342920" y="2933639"/>
                    </a:lnTo>
                    <a:lnTo>
                      <a:pt x="3436388" y="2886905"/>
                    </a:lnTo>
                    <a:lnTo>
                      <a:pt x="3451967" y="2998784"/>
                    </a:lnTo>
                    <a:lnTo>
                      <a:pt x="3345752" y="2949217"/>
                    </a:lnTo>
                    <a:close/>
                    <a:moveTo>
                      <a:pt x="3623325" y="2716962"/>
                    </a:moveTo>
                    <a:lnTo>
                      <a:pt x="3570926" y="2690054"/>
                    </a:lnTo>
                    <a:lnTo>
                      <a:pt x="3507198" y="2658898"/>
                    </a:lnTo>
                    <a:lnTo>
                      <a:pt x="3369828" y="2403984"/>
                    </a:lnTo>
                    <a:lnTo>
                      <a:pt x="3369828" y="2402568"/>
                    </a:lnTo>
                    <a:lnTo>
                      <a:pt x="3398152" y="2605083"/>
                    </a:lnTo>
                    <a:lnTo>
                      <a:pt x="3189971" y="2503117"/>
                    </a:lnTo>
                    <a:lnTo>
                      <a:pt x="3325925" y="2354417"/>
                    </a:lnTo>
                    <a:lnTo>
                      <a:pt x="3701216" y="2456383"/>
                    </a:lnTo>
                    <a:lnTo>
                      <a:pt x="3702633" y="2456383"/>
                    </a:lnTo>
                    <a:lnTo>
                      <a:pt x="3395319" y="2277943"/>
                    </a:lnTo>
                    <a:lnTo>
                      <a:pt x="3549683" y="2109416"/>
                    </a:lnTo>
                    <a:lnTo>
                      <a:pt x="3552516" y="2110833"/>
                    </a:lnTo>
                    <a:lnTo>
                      <a:pt x="3552516" y="2110833"/>
                    </a:lnTo>
                    <a:lnTo>
                      <a:pt x="3551100" y="2106584"/>
                    </a:lnTo>
                    <a:lnTo>
                      <a:pt x="3553933" y="2103752"/>
                    </a:lnTo>
                    <a:lnTo>
                      <a:pt x="3553933" y="2103752"/>
                    </a:lnTo>
                    <a:lnTo>
                      <a:pt x="3549683" y="2103752"/>
                    </a:lnTo>
                    <a:lnTo>
                      <a:pt x="3497285" y="1974878"/>
                    </a:lnTo>
                    <a:lnTo>
                      <a:pt x="3746534" y="2068347"/>
                    </a:lnTo>
                    <a:lnTo>
                      <a:pt x="3780523" y="2343088"/>
                    </a:lnTo>
                    <a:lnTo>
                      <a:pt x="3623325" y="2716962"/>
                    </a:lnTo>
                    <a:close/>
                    <a:moveTo>
                      <a:pt x="3726707" y="1884242"/>
                    </a:moveTo>
                    <a:lnTo>
                      <a:pt x="3868326" y="1966381"/>
                    </a:lnTo>
                    <a:lnTo>
                      <a:pt x="3825841" y="2098087"/>
                    </a:lnTo>
                    <a:lnTo>
                      <a:pt x="3747950" y="2069763"/>
                    </a:lnTo>
                    <a:lnTo>
                      <a:pt x="3726707" y="1884242"/>
                    </a:lnTo>
                    <a:close/>
                    <a:moveTo>
                      <a:pt x="3893818" y="1892739"/>
                    </a:moveTo>
                    <a:lnTo>
                      <a:pt x="4041102" y="2065514"/>
                    </a:lnTo>
                    <a:lnTo>
                      <a:pt x="3869743" y="1966381"/>
                    </a:lnTo>
                    <a:lnTo>
                      <a:pt x="3893818" y="1892739"/>
                    </a:lnTo>
                    <a:close/>
                    <a:moveTo>
                      <a:pt x="3696968" y="1660484"/>
                    </a:moveTo>
                    <a:lnTo>
                      <a:pt x="3696968" y="1660484"/>
                    </a:lnTo>
                    <a:lnTo>
                      <a:pt x="3723876" y="1879993"/>
                    </a:lnTo>
                    <a:lnTo>
                      <a:pt x="3374076" y="1677478"/>
                    </a:lnTo>
                    <a:lnTo>
                      <a:pt x="3235289" y="1337592"/>
                    </a:lnTo>
                    <a:lnTo>
                      <a:pt x="3250867" y="1336176"/>
                    </a:lnTo>
                    <a:lnTo>
                      <a:pt x="3682806" y="1659068"/>
                    </a:lnTo>
                    <a:lnTo>
                      <a:pt x="3682806" y="1659068"/>
                    </a:lnTo>
                    <a:lnTo>
                      <a:pt x="3718210" y="1299355"/>
                    </a:lnTo>
                    <a:lnTo>
                      <a:pt x="3749367" y="1296523"/>
                    </a:lnTo>
                    <a:lnTo>
                      <a:pt x="3871159" y="1489125"/>
                    </a:lnTo>
                    <a:lnTo>
                      <a:pt x="3861245" y="1514616"/>
                    </a:lnTo>
                    <a:lnTo>
                      <a:pt x="3882488" y="1506119"/>
                    </a:lnTo>
                    <a:lnTo>
                      <a:pt x="3919310" y="1564183"/>
                    </a:lnTo>
                    <a:lnTo>
                      <a:pt x="3895234" y="1762449"/>
                    </a:lnTo>
                    <a:lnTo>
                      <a:pt x="3895234" y="1762449"/>
                    </a:lnTo>
                    <a:lnTo>
                      <a:pt x="3936304" y="1751120"/>
                    </a:lnTo>
                    <a:lnTo>
                      <a:pt x="3892402" y="1887074"/>
                    </a:lnTo>
                    <a:lnTo>
                      <a:pt x="3696968" y="1660484"/>
                    </a:lnTo>
                    <a:close/>
                    <a:moveTo>
                      <a:pt x="4308763" y="1474963"/>
                    </a:moveTo>
                    <a:lnTo>
                      <a:pt x="4308763" y="1474963"/>
                    </a:lnTo>
                    <a:lnTo>
                      <a:pt x="4177057" y="1389991"/>
                    </a:lnTo>
                    <a:lnTo>
                      <a:pt x="4270525" y="1353170"/>
                    </a:lnTo>
                    <a:lnTo>
                      <a:pt x="4402231" y="1622247"/>
                    </a:lnTo>
                    <a:lnTo>
                      <a:pt x="4269109" y="1659068"/>
                    </a:lnTo>
                    <a:lnTo>
                      <a:pt x="4308763" y="1474963"/>
                    </a:lnTo>
                    <a:close/>
                    <a:moveTo>
                      <a:pt x="4271941" y="1351754"/>
                    </a:moveTo>
                    <a:lnTo>
                      <a:pt x="4206797" y="1217216"/>
                    </a:lnTo>
                    <a:lnTo>
                      <a:pt x="4460295" y="1263950"/>
                    </a:lnTo>
                    <a:lnTo>
                      <a:pt x="4460295" y="1263950"/>
                    </a:lnTo>
                    <a:lnTo>
                      <a:pt x="4475873" y="1259702"/>
                    </a:lnTo>
                    <a:lnTo>
                      <a:pt x="4477289" y="1269615"/>
                    </a:lnTo>
                    <a:lnTo>
                      <a:pt x="4271941" y="1351754"/>
                    </a:lnTo>
                    <a:close/>
                    <a:moveTo>
                      <a:pt x="4539602" y="982128"/>
                    </a:moveTo>
                    <a:lnTo>
                      <a:pt x="4458878" y="1112418"/>
                    </a:lnTo>
                    <a:lnTo>
                      <a:pt x="4446133" y="1013285"/>
                    </a:lnTo>
                    <a:lnTo>
                      <a:pt x="4539602" y="982128"/>
                    </a:lnTo>
                    <a:close/>
                    <a:moveTo>
                      <a:pt x="4446133" y="1010452"/>
                    </a:moveTo>
                    <a:lnTo>
                      <a:pt x="4433387" y="911319"/>
                    </a:lnTo>
                    <a:lnTo>
                      <a:pt x="4569341" y="908486"/>
                    </a:lnTo>
                    <a:lnTo>
                      <a:pt x="4579255" y="918400"/>
                    </a:lnTo>
                    <a:lnTo>
                      <a:pt x="4541017" y="980712"/>
                    </a:lnTo>
                    <a:lnTo>
                      <a:pt x="4446133" y="1010452"/>
                    </a:lnTo>
                    <a:close/>
                    <a:moveTo>
                      <a:pt x="4652897" y="802272"/>
                    </a:moveTo>
                    <a:lnTo>
                      <a:pt x="4589168" y="905654"/>
                    </a:lnTo>
                    <a:lnTo>
                      <a:pt x="4572174" y="905654"/>
                    </a:lnTo>
                    <a:lnTo>
                      <a:pt x="4414977" y="749873"/>
                    </a:lnTo>
                    <a:lnTo>
                      <a:pt x="4397982" y="618167"/>
                    </a:lnTo>
                    <a:lnTo>
                      <a:pt x="4652897" y="802272"/>
                    </a:lnTo>
                    <a:close/>
                    <a:moveTo>
                      <a:pt x="3400983" y="92760"/>
                    </a:moveTo>
                    <a:lnTo>
                      <a:pt x="3528440" y="350507"/>
                    </a:lnTo>
                    <a:lnTo>
                      <a:pt x="3453382" y="731463"/>
                    </a:lnTo>
                    <a:lnTo>
                      <a:pt x="3177225" y="605422"/>
                    </a:lnTo>
                    <a:lnTo>
                      <a:pt x="3214047" y="404322"/>
                    </a:lnTo>
                    <a:lnTo>
                      <a:pt x="3313180" y="342010"/>
                    </a:lnTo>
                    <a:lnTo>
                      <a:pt x="3313180" y="342010"/>
                    </a:lnTo>
                    <a:lnTo>
                      <a:pt x="3231040" y="138079"/>
                    </a:lnTo>
                    <a:lnTo>
                      <a:pt x="3150318" y="13454"/>
                    </a:lnTo>
                    <a:lnTo>
                      <a:pt x="3400983" y="92760"/>
                    </a:lnTo>
                    <a:close/>
                    <a:moveTo>
                      <a:pt x="2412482" y="1399905"/>
                    </a:moveTo>
                    <a:lnTo>
                      <a:pt x="2238290" y="1414067"/>
                    </a:lnTo>
                    <a:lnTo>
                      <a:pt x="2234042" y="1231378"/>
                    </a:lnTo>
                    <a:lnTo>
                      <a:pt x="2412482" y="1399905"/>
                    </a:lnTo>
                    <a:close/>
                    <a:moveTo>
                      <a:pt x="1268199" y="1569848"/>
                    </a:moveTo>
                    <a:lnTo>
                      <a:pt x="1305020" y="1588258"/>
                    </a:lnTo>
                    <a:lnTo>
                      <a:pt x="1279529" y="1640657"/>
                    </a:lnTo>
                    <a:lnTo>
                      <a:pt x="1184644" y="1637825"/>
                    </a:lnTo>
                    <a:lnTo>
                      <a:pt x="1178979" y="1568431"/>
                    </a:lnTo>
                    <a:lnTo>
                      <a:pt x="1268199" y="1569848"/>
                    </a:lnTo>
                    <a:close/>
                    <a:moveTo>
                      <a:pt x="698890" y="1550021"/>
                    </a:moveTo>
                    <a:lnTo>
                      <a:pt x="904238" y="1497622"/>
                    </a:lnTo>
                    <a:lnTo>
                      <a:pt x="885828" y="1561350"/>
                    </a:lnTo>
                    <a:lnTo>
                      <a:pt x="885828" y="1561350"/>
                    </a:lnTo>
                    <a:lnTo>
                      <a:pt x="1176147" y="1567015"/>
                    </a:lnTo>
                    <a:lnTo>
                      <a:pt x="1181812" y="1636409"/>
                    </a:lnTo>
                    <a:lnTo>
                      <a:pt x="1060019" y="1632160"/>
                    </a:lnTo>
                    <a:lnTo>
                      <a:pt x="1060019" y="1632160"/>
                    </a:lnTo>
                    <a:lnTo>
                      <a:pt x="1197390" y="1796438"/>
                    </a:lnTo>
                    <a:lnTo>
                      <a:pt x="1197390" y="1803519"/>
                    </a:lnTo>
                    <a:lnTo>
                      <a:pt x="875914" y="1854502"/>
                    </a:lnTo>
                    <a:lnTo>
                      <a:pt x="844758" y="1807768"/>
                    </a:lnTo>
                    <a:lnTo>
                      <a:pt x="873082" y="1803519"/>
                    </a:lnTo>
                    <a:lnTo>
                      <a:pt x="873082" y="1803519"/>
                    </a:lnTo>
                    <a:lnTo>
                      <a:pt x="698890" y="1550021"/>
                    </a:lnTo>
                    <a:close/>
                    <a:moveTo>
                      <a:pt x="1263951" y="1567015"/>
                    </a:moveTo>
                    <a:lnTo>
                      <a:pt x="1178979" y="1565599"/>
                    </a:lnTo>
                    <a:lnTo>
                      <a:pt x="1174731" y="1524529"/>
                    </a:lnTo>
                    <a:lnTo>
                      <a:pt x="1263951" y="1567015"/>
                    </a:lnTo>
                    <a:close/>
                    <a:moveTo>
                      <a:pt x="1065684" y="1634992"/>
                    </a:moveTo>
                    <a:lnTo>
                      <a:pt x="1183228" y="1639241"/>
                    </a:lnTo>
                    <a:lnTo>
                      <a:pt x="1197390" y="1793606"/>
                    </a:lnTo>
                    <a:lnTo>
                      <a:pt x="1065684" y="1634992"/>
                    </a:lnTo>
                    <a:close/>
                    <a:moveTo>
                      <a:pt x="1200222" y="1796438"/>
                    </a:moveTo>
                    <a:lnTo>
                      <a:pt x="1186060" y="1639241"/>
                    </a:lnTo>
                    <a:lnTo>
                      <a:pt x="1280945" y="1642073"/>
                    </a:lnTo>
                    <a:lnTo>
                      <a:pt x="1205887" y="1802103"/>
                    </a:lnTo>
                    <a:lnTo>
                      <a:pt x="1200222" y="1796438"/>
                    </a:lnTo>
                    <a:close/>
                    <a:moveTo>
                      <a:pt x="1422564" y="1644906"/>
                    </a:moveTo>
                    <a:lnTo>
                      <a:pt x="1283777" y="1640657"/>
                    </a:lnTo>
                    <a:lnTo>
                      <a:pt x="1307852" y="1588258"/>
                    </a:lnTo>
                    <a:lnTo>
                      <a:pt x="1422564" y="1644906"/>
                    </a:lnTo>
                    <a:close/>
                    <a:moveTo>
                      <a:pt x="1449472" y="1647738"/>
                    </a:moveTo>
                    <a:lnTo>
                      <a:pt x="1455137" y="1657651"/>
                    </a:lnTo>
                    <a:lnTo>
                      <a:pt x="1432478" y="1646322"/>
                    </a:lnTo>
                    <a:lnTo>
                      <a:pt x="1449472" y="1647738"/>
                    </a:lnTo>
                    <a:close/>
                    <a:moveTo>
                      <a:pt x="2674477" y="2814679"/>
                    </a:moveTo>
                    <a:lnTo>
                      <a:pt x="2674477" y="2813263"/>
                    </a:lnTo>
                    <a:lnTo>
                      <a:pt x="2634824" y="2942136"/>
                    </a:lnTo>
                    <a:lnTo>
                      <a:pt x="2454968" y="2623494"/>
                    </a:lnTo>
                    <a:lnTo>
                      <a:pt x="2531442" y="2677309"/>
                    </a:lnTo>
                    <a:lnTo>
                      <a:pt x="2675894" y="2810431"/>
                    </a:lnTo>
                    <a:lnTo>
                      <a:pt x="2675894" y="2810431"/>
                    </a:lnTo>
                    <a:lnTo>
                      <a:pt x="2677310" y="2809015"/>
                    </a:lnTo>
                    <a:lnTo>
                      <a:pt x="2636240" y="2750951"/>
                    </a:lnTo>
                    <a:lnTo>
                      <a:pt x="2834507" y="2891154"/>
                    </a:lnTo>
                    <a:lnTo>
                      <a:pt x="2668813" y="2974709"/>
                    </a:lnTo>
                    <a:lnTo>
                      <a:pt x="2674477" y="2814679"/>
                    </a:lnTo>
                    <a:close/>
                    <a:moveTo>
                      <a:pt x="2520112" y="2665979"/>
                    </a:moveTo>
                    <a:lnTo>
                      <a:pt x="2452135" y="2619245"/>
                    </a:lnTo>
                    <a:lnTo>
                      <a:pt x="2435141" y="2589505"/>
                    </a:lnTo>
                    <a:lnTo>
                      <a:pt x="2520112" y="2665979"/>
                    </a:lnTo>
                    <a:close/>
                    <a:moveTo>
                      <a:pt x="2654651" y="2981790"/>
                    </a:moveTo>
                    <a:lnTo>
                      <a:pt x="2617830" y="3000200"/>
                    </a:lnTo>
                    <a:lnTo>
                      <a:pt x="2634824" y="2946385"/>
                    </a:lnTo>
                    <a:lnTo>
                      <a:pt x="2654651" y="2981790"/>
                    </a:lnTo>
                    <a:close/>
                    <a:moveTo>
                      <a:pt x="2671645" y="2827425"/>
                    </a:moveTo>
                    <a:lnTo>
                      <a:pt x="2668813" y="2974709"/>
                    </a:lnTo>
                    <a:lnTo>
                      <a:pt x="2657483" y="2980374"/>
                    </a:lnTo>
                    <a:lnTo>
                      <a:pt x="2636240" y="2943553"/>
                    </a:lnTo>
                    <a:lnTo>
                      <a:pt x="2671645" y="2827425"/>
                    </a:lnTo>
                    <a:close/>
                    <a:moveTo>
                      <a:pt x="2668813" y="2977541"/>
                    </a:moveTo>
                    <a:lnTo>
                      <a:pt x="2668813" y="3001616"/>
                    </a:lnTo>
                    <a:lnTo>
                      <a:pt x="2658899" y="2983206"/>
                    </a:lnTo>
                    <a:lnTo>
                      <a:pt x="2668813" y="2977541"/>
                    </a:lnTo>
                    <a:close/>
                    <a:moveTo>
                      <a:pt x="2695720" y="3054016"/>
                    </a:moveTo>
                    <a:lnTo>
                      <a:pt x="2661732" y="3381156"/>
                    </a:lnTo>
                    <a:lnTo>
                      <a:pt x="2670229" y="3008697"/>
                    </a:lnTo>
                    <a:lnTo>
                      <a:pt x="2695720" y="3054016"/>
                    </a:lnTo>
                    <a:close/>
                    <a:moveTo>
                      <a:pt x="2861415" y="2746702"/>
                    </a:moveTo>
                    <a:lnTo>
                      <a:pt x="2797686" y="2728292"/>
                    </a:lnTo>
                    <a:lnTo>
                      <a:pt x="2783524" y="2685806"/>
                    </a:lnTo>
                    <a:lnTo>
                      <a:pt x="2861415" y="2746702"/>
                    </a:lnTo>
                    <a:close/>
                    <a:moveTo>
                      <a:pt x="2865663" y="2750951"/>
                    </a:moveTo>
                    <a:lnTo>
                      <a:pt x="2920895" y="2793436"/>
                    </a:lnTo>
                    <a:lnTo>
                      <a:pt x="2847253" y="2874159"/>
                    </a:lnTo>
                    <a:lnTo>
                      <a:pt x="2797686" y="2732540"/>
                    </a:lnTo>
                    <a:lnTo>
                      <a:pt x="2865663" y="2750951"/>
                    </a:lnTo>
                    <a:close/>
                    <a:moveTo>
                      <a:pt x="2871328" y="2752367"/>
                    </a:moveTo>
                    <a:lnTo>
                      <a:pt x="2940721" y="2772194"/>
                    </a:lnTo>
                    <a:lnTo>
                      <a:pt x="2922311" y="2792020"/>
                    </a:lnTo>
                    <a:lnTo>
                      <a:pt x="2871328" y="2752367"/>
                    </a:lnTo>
                    <a:close/>
                    <a:moveTo>
                      <a:pt x="3208382" y="3001616"/>
                    </a:moveTo>
                    <a:lnTo>
                      <a:pt x="3214047" y="3015778"/>
                    </a:lnTo>
                    <a:lnTo>
                      <a:pt x="3198468" y="3007281"/>
                    </a:lnTo>
                    <a:lnTo>
                      <a:pt x="3208382" y="3001616"/>
                    </a:lnTo>
                    <a:close/>
                    <a:moveTo>
                      <a:pt x="4617492" y="955221"/>
                    </a:moveTo>
                    <a:lnTo>
                      <a:pt x="4545267" y="979296"/>
                    </a:lnTo>
                    <a:lnTo>
                      <a:pt x="4582087" y="919816"/>
                    </a:lnTo>
                    <a:lnTo>
                      <a:pt x="4617492" y="955221"/>
                    </a:lnTo>
                    <a:close/>
                    <a:moveTo>
                      <a:pt x="4781770" y="902822"/>
                    </a:moveTo>
                    <a:lnTo>
                      <a:pt x="4618908" y="955221"/>
                    </a:lnTo>
                    <a:lnTo>
                      <a:pt x="4582087" y="918400"/>
                    </a:lnTo>
                    <a:lnTo>
                      <a:pt x="4589168" y="908486"/>
                    </a:lnTo>
                    <a:lnTo>
                      <a:pt x="4781770" y="902822"/>
                    </a:lnTo>
                    <a:close/>
                    <a:moveTo>
                      <a:pt x="5083419" y="871665"/>
                    </a:moveTo>
                    <a:lnTo>
                      <a:pt x="5115992" y="868833"/>
                    </a:lnTo>
                    <a:lnTo>
                      <a:pt x="5098997" y="880163"/>
                    </a:lnTo>
                    <a:lnTo>
                      <a:pt x="5083419" y="871665"/>
                    </a:lnTo>
                    <a:close/>
                    <a:moveTo>
                      <a:pt x="5080587" y="870249"/>
                    </a:moveTo>
                    <a:lnTo>
                      <a:pt x="4951713" y="796607"/>
                    </a:lnTo>
                    <a:lnTo>
                      <a:pt x="5182553" y="822099"/>
                    </a:lnTo>
                    <a:lnTo>
                      <a:pt x="5118824" y="866001"/>
                    </a:lnTo>
                    <a:lnTo>
                      <a:pt x="5080587" y="870249"/>
                    </a:lnTo>
                    <a:close/>
                    <a:moveTo>
                      <a:pt x="5057927" y="874498"/>
                    </a:moveTo>
                    <a:lnTo>
                      <a:pt x="5080587" y="871665"/>
                    </a:lnTo>
                    <a:lnTo>
                      <a:pt x="5097581" y="881579"/>
                    </a:lnTo>
                    <a:lnTo>
                      <a:pt x="5086251" y="890076"/>
                    </a:lnTo>
                    <a:lnTo>
                      <a:pt x="5057927" y="874498"/>
                    </a:lnTo>
                    <a:close/>
                    <a:moveTo>
                      <a:pt x="5053679" y="873082"/>
                    </a:moveTo>
                    <a:lnTo>
                      <a:pt x="4910644" y="792359"/>
                    </a:lnTo>
                    <a:lnTo>
                      <a:pt x="4946049" y="796607"/>
                    </a:lnTo>
                    <a:lnTo>
                      <a:pt x="5076338" y="870249"/>
                    </a:lnTo>
                    <a:lnTo>
                      <a:pt x="5053679" y="873082"/>
                    </a:lnTo>
                    <a:close/>
                    <a:moveTo>
                      <a:pt x="4941800" y="793775"/>
                    </a:moveTo>
                    <a:lnTo>
                      <a:pt x="4902146" y="789526"/>
                    </a:lnTo>
                    <a:lnTo>
                      <a:pt x="4900730" y="789526"/>
                    </a:lnTo>
                    <a:lnTo>
                      <a:pt x="5050846" y="873082"/>
                    </a:lnTo>
                    <a:lnTo>
                      <a:pt x="4801597" y="899989"/>
                    </a:lnTo>
                    <a:lnTo>
                      <a:pt x="4791683" y="899989"/>
                    </a:lnTo>
                    <a:lnTo>
                      <a:pt x="4654313" y="800856"/>
                    </a:lnTo>
                    <a:lnTo>
                      <a:pt x="4732203" y="674815"/>
                    </a:lnTo>
                    <a:lnTo>
                      <a:pt x="4941800" y="793775"/>
                    </a:lnTo>
                    <a:close/>
                    <a:moveTo>
                      <a:pt x="4790268" y="902822"/>
                    </a:moveTo>
                    <a:lnTo>
                      <a:pt x="4803013" y="902822"/>
                    </a:lnTo>
                    <a:lnTo>
                      <a:pt x="5055096" y="875914"/>
                    </a:lnTo>
                    <a:lnTo>
                      <a:pt x="5083419" y="891492"/>
                    </a:lnTo>
                    <a:lnTo>
                      <a:pt x="4773273" y="1106753"/>
                    </a:lnTo>
                    <a:lnTo>
                      <a:pt x="4621740" y="956637"/>
                    </a:lnTo>
                    <a:lnTo>
                      <a:pt x="4790268" y="902822"/>
                    </a:lnTo>
                    <a:close/>
                    <a:moveTo>
                      <a:pt x="5086251" y="891492"/>
                    </a:moveTo>
                    <a:lnTo>
                      <a:pt x="5097581" y="882995"/>
                    </a:lnTo>
                    <a:lnTo>
                      <a:pt x="5268940" y="980712"/>
                    </a:lnTo>
                    <a:lnTo>
                      <a:pt x="5263275" y="989209"/>
                    </a:lnTo>
                    <a:lnTo>
                      <a:pt x="5086251" y="891492"/>
                    </a:lnTo>
                    <a:close/>
                    <a:moveTo>
                      <a:pt x="5365241" y="841925"/>
                    </a:moveTo>
                    <a:lnTo>
                      <a:pt x="5271773" y="979296"/>
                    </a:lnTo>
                    <a:lnTo>
                      <a:pt x="5100413" y="881579"/>
                    </a:lnTo>
                    <a:lnTo>
                      <a:pt x="5120240" y="867417"/>
                    </a:lnTo>
                    <a:lnTo>
                      <a:pt x="5365241" y="841925"/>
                    </a:lnTo>
                    <a:close/>
                    <a:moveTo>
                      <a:pt x="1812017" y="1051522"/>
                    </a:moveTo>
                    <a:lnTo>
                      <a:pt x="1752537" y="1081262"/>
                    </a:lnTo>
                    <a:lnTo>
                      <a:pt x="1766699" y="996290"/>
                    </a:lnTo>
                    <a:lnTo>
                      <a:pt x="1812017" y="1051522"/>
                    </a:lnTo>
                    <a:close/>
                    <a:moveTo>
                      <a:pt x="1108170" y="946724"/>
                    </a:moveTo>
                    <a:lnTo>
                      <a:pt x="1103921" y="959469"/>
                    </a:lnTo>
                    <a:lnTo>
                      <a:pt x="1092592" y="938226"/>
                    </a:lnTo>
                    <a:lnTo>
                      <a:pt x="1108170" y="946724"/>
                    </a:lnTo>
                    <a:close/>
                    <a:moveTo>
                      <a:pt x="1421148" y="1898404"/>
                    </a:moveTo>
                    <a:lnTo>
                      <a:pt x="1559935" y="1857334"/>
                    </a:lnTo>
                    <a:lnTo>
                      <a:pt x="1601004" y="1935225"/>
                    </a:lnTo>
                    <a:lnTo>
                      <a:pt x="1421148" y="1898404"/>
                    </a:lnTo>
                    <a:close/>
                    <a:moveTo>
                      <a:pt x="1742623" y="1800687"/>
                    </a:moveTo>
                    <a:lnTo>
                      <a:pt x="1561351" y="1854502"/>
                    </a:lnTo>
                    <a:lnTo>
                      <a:pt x="1459385" y="1663316"/>
                    </a:lnTo>
                    <a:lnTo>
                      <a:pt x="1742623" y="1800687"/>
                    </a:lnTo>
                    <a:close/>
                    <a:moveTo>
                      <a:pt x="2194388" y="2439389"/>
                    </a:moveTo>
                    <a:lnTo>
                      <a:pt x="2195805" y="2439389"/>
                    </a:lnTo>
                    <a:lnTo>
                      <a:pt x="2395488" y="2579592"/>
                    </a:lnTo>
                    <a:lnTo>
                      <a:pt x="2347337" y="2797685"/>
                    </a:lnTo>
                    <a:lnTo>
                      <a:pt x="2194388" y="2439389"/>
                    </a:lnTo>
                    <a:close/>
                    <a:moveTo>
                      <a:pt x="2192972" y="2437973"/>
                    </a:moveTo>
                    <a:lnTo>
                      <a:pt x="2192972" y="2437973"/>
                    </a:lnTo>
                    <a:lnTo>
                      <a:pt x="2192972" y="2437973"/>
                    </a:lnTo>
                    <a:lnTo>
                      <a:pt x="2192972" y="2437973"/>
                    </a:lnTo>
                    <a:close/>
                    <a:moveTo>
                      <a:pt x="4089253" y="1708634"/>
                    </a:moveTo>
                    <a:lnTo>
                      <a:pt x="3939136" y="1749704"/>
                    </a:lnTo>
                    <a:lnTo>
                      <a:pt x="3971709" y="1647738"/>
                    </a:lnTo>
                    <a:lnTo>
                      <a:pt x="4089253" y="1708634"/>
                    </a:lnTo>
                    <a:close/>
                    <a:moveTo>
                      <a:pt x="5284518" y="1140742"/>
                    </a:moveTo>
                    <a:lnTo>
                      <a:pt x="5356744" y="1031695"/>
                    </a:lnTo>
                    <a:lnTo>
                      <a:pt x="5400646" y="1057186"/>
                    </a:lnTo>
                    <a:lnTo>
                      <a:pt x="5284518" y="1140742"/>
                    </a:lnTo>
                    <a:close/>
                    <a:moveTo>
                      <a:pt x="2801934" y="629497"/>
                    </a:moveTo>
                    <a:lnTo>
                      <a:pt x="2818929" y="653572"/>
                    </a:lnTo>
                    <a:lnTo>
                      <a:pt x="2541355" y="829180"/>
                    </a:lnTo>
                    <a:lnTo>
                      <a:pt x="2801934" y="629497"/>
                    </a:lnTo>
                    <a:close/>
                    <a:moveTo>
                      <a:pt x="2532858" y="908486"/>
                    </a:moveTo>
                    <a:lnTo>
                      <a:pt x="1926728" y="796607"/>
                    </a:lnTo>
                    <a:lnTo>
                      <a:pt x="2129244" y="693225"/>
                    </a:lnTo>
                    <a:lnTo>
                      <a:pt x="2532858" y="908486"/>
                    </a:lnTo>
                    <a:close/>
                    <a:moveTo>
                      <a:pt x="1710051" y="897157"/>
                    </a:moveTo>
                    <a:lnTo>
                      <a:pt x="1753953" y="800856"/>
                    </a:lnTo>
                    <a:lnTo>
                      <a:pt x="1763866" y="973631"/>
                    </a:lnTo>
                    <a:lnTo>
                      <a:pt x="1710051" y="897157"/>
                    </a:lnTo>
                    <a:close/>
                    <a:moveTo>
                      <a:pt x="579930" y="1177563"/>
                    </a:moveTo>
                    <a:lnTo>
                      <a:pt x="570017" y="1207303"/>
                    </a:lnTo>
                    <a:lnTo>
                      <a:pt x="568601" y="1208719"/>
                    </a:lnTo>
                    <a:lnTo>
                      <a:pt x="554439" y="1197389"/>
                    </a:lnTo>
                    <a:lnTo>
                      <a:pt x="579930" y="1177563"/>
                    </a:lnTo>
                    <a:close/>
                    <a:moveTo>
                      <a:pt x="759787" y="871665"/>
                    </a:moveTo>
                    <a:lnTo>
                      <a:pt x="748457" y="882995"/>
                    </a:lnTo>
                    <a:lnTo>
                      <a:pt x="747041" y="861752"/>
                    </a:lnTo>
                    <a:lnTo>
                      <a:pt x="759787" y="871665"/>
                    </a:lnTo>
                    <a:close/>
                    <a:moveTo>
                      <a:pt x="762619" y="871665"/>
                    </a:moveTo>
                    <a:lnTo>
                      <a:pt x="948140" y="687561"/>
                    </a:lnTo>
                    <a:lnTo>
                      <a:pt x="983545" y="749873"/>
                    </a:lnTo>
                    <a:lnTo>
                      <a:pt x="822099" y="919816"/>
                    </a:lnTo>
                    <a:lnTo>
                      <a:pt x="762619" y="871665"/>
                    </a:lnTo>
                    <a:close/>
                    <a:moveTo>
                      <a:pt x="820683" y="921232"/>
                    </a:moveTo>
                    <a:lnTo>
                      <a:pt x="762619" y="982128"/>
                    </a:lnTo>
                    <a:lnTo>
                      <a:pt x="756954" y="986377"/>
                    </a:lnTo>
                    <a:lnTo>
                      <a:pt x="749873" y="884411"/>
                    </a:lnTo>
                    <a:lnTo>
                      <a:pt x="762619" y="871665"/>
                    </a:lnTo>
                    <a:lnTo>
                      <a:pt x="820683" y="921232"/>
                    </a:lnTo>
                    <a:close/>
                    <a:moveTo>
                      <a:pt x="756954" y="989209"/>
                    </a:moveTo>
                    <a:lnTo>
                      <a:pt x="764035" y="984961"/>
                    </a:lnTo>
                    <a:lnTo>
                      <a:pt x="822099" y="924064"/>
                    </a:lnTo>
                    <a:lnTo>
                      <a:pt x="871666" y="965134"/>
                    </a:lnTo>
                    <a:lnTo>
                      <a:pt x="761203" y="1045857"/>
                    </a:lnTo>
                    <a:lnTo>
                      <a:pt x="756954" y="989209"/>
                    </a:lnTo>
                    <a:close/>
                    <a:moveTo>
                      <a:pt x="584179" y="1171898"/>
                    </a:moveTo>
                    <a:lnTo>
                      <a:pt x="602589" y="1120915"/>
                    </a:lnTo>
                    <a:lnTo>
                      <a:pt x="616751" y="1118083"/>
                    </a:lnTo>
                    <a:lnTo>
                      <a:pt x="592676" y="1166233"/>
                    </a:lnTo>
                    <a:lnTo>
                      <a:pt x="584179" y="1171898"/>
                    </a:lnTo>
                    <a:close/>
                    <a:moveTo>
                      <a:pt x="591260" y="1169066"/>
                    </a:moveTo>
                    <a:lnTo>
                      <a:pt x="572849" y="1204470"/>
                    </a:lnTo>
                    <a:lnTo>
                      <a:pt x="571433" y="1204470"/>
                    </a:lnTo>
                    <a:lnTo>
                      <a:pt x="582763" y="1174730"/>
                    </a:lnTo>
                    <a:lnTo>
                      <a:pt x="591260" y="1169066"/>
                    </a:lnTo>
                    <a:close/>
                    <a:moveTo>
                      <a:pt x="490710" y="1139326"/>
                    </a:moveTo>
                    <a:lnTo>
                      <a:pt x="490710" y="1139326"/>
                    </a:lnTo>
                    <a:lnTo>
                      <a:pt x="599757" y="1120915"/>
                    </a:lnTo>
                    <a:lnTo>
                      <a:pt x="579930" y="1174730"/>
                    </a:lnTo>
                    <a:lnTo>
                      <a:pt x="550190" y="1195973"/>
                    </a:lnTo>
                    <a:lnTo>
                      <a:pt x="435479" y="1103921"/>
                    </a:lnTo>
                    <a:lnTo>
                      <a:pt x="608254" y="1021782"/>
                    </a:lnTo>
                    <a:lnTo>
                      <a:pt x="490710" y="1139326"/>
                    </a:lnTo>
                    <a:close/>
                    <a:moveTo>
                      <a:pt x="684728" y="984961"/>
                    </a:moveTo>
                    <a:lnTo>
                      <a:pt x="647908" y="1058603"/>
                    </a:lnTo>
                    <a:lnTo>
                      <a:pt x="615335" y="1079845"/>
                    </a:lnTo>
                    <a:lnTo>
                      <a:pt x="615335" y="1079845"/>
                    </a:lnTo>
                    <a:lnTo>
                      <a:pt x="601173" y="1118083"/>
                    </a:lnTo>
                    <a:lnTo>
                      <a:pt x="496375" y="1136493"/>
                    </a:lnTo>
                    <a:lnTo>
                      <a:pt x="615335" y="1017533"/>
                    </a:lnTo>
                    <a:lnTo>
                      <a:pt x="684728" y="984961"/>
                    </a:lnTo>
                    <a:close/>
                    <a:moveTo>
                      <a:pt x="645075" y="1062851"/>
                    </a:moveTo>
                    <a:lnTo>
                      <a:pt x="618167" y="1115250"/>
                    </a:lnTo>
                    <a:lnTo>
                      <a:pt x="602589" y="1118083"/>
                    </a:lnTo>
                    <a:lnTo>
                      <a:pt x="615335" y="1081262"/>
                    </a:lnTo>
                    <a:lnTo>
                      <a:pt x="645075" y="1062851"/>
                    </a:lnTo>
                    <a:close/>
                    <a:moveTo>
                      <a:pt x="650740" y="1057186"/>
                    </a:moveTo>
                    <a:lnTo>
                      <a:pt x="688977" y="982128"/>
                    </a:lnTo>
                    <a:lnTo>
                      <a:pt x="688977" y="982128"/>
                    </a:lnTo>
                    <a:lnTo>
                      <a:pt x="619584" y="1014701"/>
                    </a:lnTo>
                    <a:lnTo>
                      <a:pt x="747041" y="887244"/>
                    </a:lnTo>
                    <a:lnTo>
                      <a:pt x="754122" y="987793"/>
                    </a:lnTo>
                    <a:lnTo>
                      <a:pt x="650740" y="1057186"/>
                    </a:lnTo>
                    <a:close/>
                    <a:moveTo>
                      <a:pt x="647908" y="1060019"/>
                    </a:moveTo>
                    <a:lnTo>
                      <a:pt x="754122" y="989209"/>
                    </a:lnTo>
                    <a:lnTo>
                      <a:pt x="758370" y="1044441"/>
                    </a:lnTo>
                    <a:lnTo>
                      <a:pt x="676231" y="1103921"/>
                    </a:lnTo>
                    <a:lnTo>
                      <a:pt x="621000" y="1113834"/>
                    </a:lnTo>
                    <a:lnTo>
                      <a:pt x="647908" y="1060019"/>
                    </a:lnTo>
                    <a:close/>
                    <a:moveTo>
                      <a:pt x="551606" y="1197389"/>
                    </a:moveTo>
                    <a:lnTo>
                      <a:pt x="565768" y="1208719"/>
                    </a:lnTo>
                    <a:lnTo>
                      <a:pt x="459554" y="1265367"/>
                    </a:lnTo>
                    <a:lnTo>
                      <a:pt x="551606" y="1197389"/>
                    </a:lnTo>
                    <a:close/>
                    <a:moveTo>
                      <a:pt x="571433" y="1211551"/>
                    </a:moveTo>
                    <a:lnTo>
                      <a:pt x="574265" y="1205887"/>
                    </a:lnTo>
                    <a:lnTo>
                      <a:pt x="670566" y="1154904"/>
                    </a:lnTo>
                    <a:lnTo>
                      <a:pt x="681896" y="1300771"/>
                    </a:lnTo>
                    <a:lnTo>
                      <a:pt x="571433" y="1211551"/>
                    </a:lnTo>
                    <a:close/>
                    <a:moveTo>
                      <a:pt x="671983" y="1108169"/>
                    </a:moveTo>
                    <a:lnTo>
                      <a:pt x="596925" y="1163401"/>
                    </a:lnTo>
                    <a:lnTo>
                      <a:pt x="619584" y="1118083"/>
                    </a:lnTo>
                    <a:lnTo>
                      <a:pt x="671983" y="1108169"/>
                    </a:lnTo>
                    <a:close/>
                    <a:moveTo>
                      <a:pt x="758370" y="1047273"/>
                    </a:moveTo>
                    <a:lnTo>
                      <a:pt x="761203" y="1089759"/>
                    </a:lnTo>
                    <a:lnTo>
                      <a:pt x="680480" y="1103921"/>
                    </a:lnTo>
                    <a:lnTo>
                      <a:pt x="758370" y="1047273"/>
                    </a:lnTo>
                    <a:close/>
                    <a:moveTo>
                      <a:pt x="568601" y="1208719"/>
                    </a:moveTo>
                    <a:lnTo>
                      <a:pt x="568601" y="1208719"/>
                    </a:lnTo>
                    <a:lnTo>
                      <a:pt x="568601" y="1208719"/>
                    </a:lnTo>
                    <a:lnTo>
                      <a:pt x="568601" y="1208719"/>
                    </a:lnTo>
                    <a:close/>
                    <a:moveTo>
                      <a:pt x="568601" y="1211551"/>
                    </a:moveTo>
                    <a:lnTo>
                      <a:pt x="568601" y="1211551"/>
                    </a:lnTo>
                    <a:lnTo>
                      <a:pt x="567185" y="1214384"/>
                    </a:lnTo>
                    <a:lnTo>
                      <a:pt x="568601" y="1211551"/>
                    </a:lnTo>
                    <a:close/>
                    <a:moveTo>
                      <a:pt x="570017" y="1208719"/>
                    </a:moveTo>
                    <a:lnTo>
                      <a:pt x="570017" y="1208719"/>
                    </a:lnTo>
                    <a:lnTo>
                      <a:pt x="570017" y="1211551"/>
                    </a:lnTo>
                    <a:lnTo>
                      <a:pt x="570017" y="1211551"/>
                    </a:lnTo>
                    <a:lnTo>
                      <a:pt x="570017" y="1208719"/>
                    </a:lnTo>
                    <a:close/>
                    <a:moveTo>
                      <a:pt x="752706" y="2127827"/>
                    </a:moveTo>
                    <a:lnTo>
                      <a:pt x="728630" y="2195804"/>
                    </a:lnTo>
                    <a:lnTo>
                      <a:pt x="741376" y="2120746"/>
                    </a:lnTo>
                    <a:lnTo>
                      <a:pt x="752706" y="2127827"/>
                    </a:lnTo>
                    <a:close/>
                    <a:moveTo>
                      <a:pt x="605422" y="1766698"/>
                    </a:moveTo>
                    <a:lnTo>
                      <a:pt x="486461" y="1647738"/>
                    </a:lnTo>
                    <a:lnTo>
                      <a:pt x="649323" y="1517448"/>
                    </a:lnTo>
                    <a:lnTo>
                      <a:pt x="843342" y="1809184"/>
                    </a:lnTo>
                    <a:lnTo>
                      <a:pt x="751289" y="1824762"/>
                    </a:lnTo>
                    <a:lnTo>
                      <a:pt x="625248" y="1752536"/>
                    </a:lnTo>
                    <a:lnTo>
                      <a:pt x="625248" y="1752536"/>
                    </a:lnTo>
                    <a:lnTo>
                      <a:pt x="605422" y="1766698"/>
                    </a:lnTo>
                    <a:close/>
                    <a:moveTo>
                      <a:pt x="605422" y="1769530"/>
                    </a:moveTo>
                    <a:lnTo>
                      <a:pt x="674815" y="1838924"/>
                    </a:lnTo>
                    <a:lnTo>
                      <a:pt x="596925" y="1860167"/>
                    </a:lnTo>
                    <a:lnTo>
                      <a:pt x="595508" y="1851669"/>
                    </a:lnTo>
                    <a:lnTo>
                      <a:pt x="595508" y="1851669"/>
                    </a:lnTo>
                    <a:lnTo>
                      <a:pt x="456722" y="1885658"/>
                    </a:lnTo>
                    <a:lnTo>
                      <a:pt x="605422" y="1769530"/>
                    </a:lnTo>
                    <a:close/>
                    <a:moveTo>
                      <a:pt x="739960" y="2117913"/>
                    </a:moveTo>
                    <a:lnTo>
                      <a:pt x="690393" y="2086757"/>
                    </a:lnTo>
                    <a:lnTo>
                      <a:pt x="619584" y="1991873"/>
                    </a:lnTo>
                    <a:lnTo>
                      <a:pt x="592676" y="1862999"/>
                    </a:lnTo>
                    <a:lnTo>
                      <a:pt x="596925" y="1861583"/>
                    </a:lnTo>
                    <a:lnTo>
                      <a:pt x="626665" y="1990456"/>
                    </a:lnTo>
                    <a:lnTo>
                      <a:pt x="626665" y="1990456"/>
                    </a:lnTo>
                    <a:lnTo>
                      <a:pt x="748457" y="2074011"/>
                    </a:lnTo>
                    <a:lnTo>
                      <a:pt x="739960" y="2117913"/>
                    </a:lnTo>
                    <a:close/>
                    <a:moveTo>
                      <a:pt x="187645" y="2093838"/>
                    </a:moveTo>
                    <a:lnTo>
                      <a:pt x="230131" y="1996121"/>
                    </a:lnTo>
                    <a:lnTo>
                      <a:pt x="317935" y="1984792"/>
                    </a:lnTo>
                    <a:lnTo>
                      <a:pt x="302357" y="2004618"/>
                    </a:lnTo>
                    <a:lnTo>
                      <a:pt x="187645" y="2093838"/>
                    </a:lnTo>
                    <a:close/>
                    <a:moveTo>
                      <a:pt x="152241" y="2123578"/>
                    </a:moveTo>
                    <a:lnTo>
                      <a:pt x="180564" y="2102335"/>
                    </a:lnTo>
                    <a:lnTo>
                      <a:pt x="181980" y="2102335"/>
                    </a:lnTo>
                    <a:lnTo>
                      <a:pt x="172067" y="2126411"/>
                    </a:lnTo>
                    <a:lnTo>
                      <a:pt x="152241" y="2123578"/>
                    </a:lnTo>
                    <a:close/>
                    <a:moveTo>
                      <a:pt x="48858" y="2106584"/>
                    </a:moveTo>
                    <a:lnTo>
                      <a:pt x="77182" y="2085341"/>
                    </a:lnTo>
                    <a:lnTo>
                      <a:pt x="98425" y="2115081"/>
                    </a:lnTo>
                    <a:lnTo>
                      <a:pt x="48858" y="2106584"/>
                    </a:lnTo>
                    <a:close/>
                    <a:moveTo>
                      <a:pt x="157905" y="2083925"/>
                    </a:moveTo>
                    <a:lnTo>
                      <a:pt x="223050" y="1997537"/>
                    </a:lnTo>
                    <a:lnTo>
                      <a:pt x="228715" y="1997537"/>
                    </a:lnTo>
                    <a:lnTo>
                      <a:pt x="184813" y="2098087"/>
                    </a:lnTo>
                    <a:lnTo>
                      <a:pt x="180564" y="2100919"/>
                    </a:lnTo>
                    <a:lnTo>
                      <a:pt x="157905" y="2083925"/>
                    </a:lnTo>
                    <a:close/>
                    <a:moveTo>
                      <a:pt x="123917" y="2146237"/>
                    </a:moveTo>
                    <a:lnTo>
                      <a:pt x="150824" y="2124994"/>
                    </a:lnTo>
                    <a:lnTo>
                      <a:pt x="170651" y="2127827"/>
                    </a:lnTo>
                    <a:lnTo>
                      <a:pt x="147992" y="2178810"/>
                    </a:lnTo>
                    <a:lnTo>
                      <a:pt x="123917" y="2146237"/>
                    </a:lnTo>
                    <a:close/>
                    <a:moveTo>
                      <a:pt x="115420" y="2139156"/>
                    </a:moveTo>
                    <a:lnTo>
                      <a:pt x="119668" y="2146237"/>
                    </a:lnTo>
                    <a:lnTo>
                      <a:pt x="95593" y="2164648"/>
                    </a:lnTo>
                    <a:lnTo>
                      <a:pt x="115420" y="2139156"/>
                    </a:lnTo>
                    <a:close/>
                    <a:moveTo>
                      <a:pt x="128165" y="2122162"/>
                    </a:moveTo>
                    <a:lnTo>
                      <a:pt x="146575" y="2124994"/>
                    </a:lnTo>
                    <a:lnTo>
                      <a:pt x="122500" y="2144821"/>
                    </a:lnTo>
                    <a:lnTo>
                      <a:pt x="116836" y="2137740"/>
                    </a:lnTo>
                    <a:lnTo>
                      <a:pt x="128165" y="2122162"/>
                    </a:lnTo>
                    <a:close/>
                    <a:moveTo>
                      <a:pt x="116836" y="2057017"/>
                    </a:moveTo>
                    <a:lnTo>
                      <a:pt x="155073" y="2083925"/>
                    </a:lnTo>
                    <a:lnTo>
                      <a:pt x="128165" y="2119330"/>
                    </a:lnTo>
                    <a:lnTo>
                      <a:pt x="102674" y="2115081"/>
                    </a:lnTo>
                    <a:lnTo>
                      <a:pt x="80015" y="2083925"/>
                    </a:lnTo>
                    <a:lnTo>
                      <a:pt x="116836" y="2057017"/>
                    </a:lnTo>
                    <a:close/>
                    <a:moveTo>
                      <a:pt x="129581" y="2120746"/>
                    </a:moveTo>
                    <a:lnTo>
                      <a:pt x="155073" y="2085341"/>
                    </a:lnTo>
                    <a:lnTo>
                      <a:pt x="177732" y="2100919"/>
                    </a:lnTo>
                    <a:lnTo>
                      <a:pt x="149408" y="2123578"/>
                    </a:lnTo>
                    <a:lnTo>
                      <a:pt x="129581" y="2120746"/>
                    </a:lnTo>
                    <a:close/>
                    <a:moveTo>
                      <a:pt x="118252" y="2055601"/>
                    </a:moveTo>
                    <a:lnTo>
                      <a:pt x="193310" y="2000370"/>
                    </a:lnTo>
                    <a:lnTo>
                      <a:pt x="220218" y="1997537"/>
                    </a:lnTo>
                    <a:lnTo>
                      <a:pt x="156489" y="2082509"/>
                    </a:lnTo>
                    <a:lnTo>
                      <a:pt x="118252" y="2055601"/>
                    </a:lnTo>
                    <a:close/>
                    <a:moveTo>
                      <a:pt x="63020" y="2015948"/>
                    </a:moveTo>
                    <a:lnTo>
                      <a:pt x="189061" y="2000370"/>
                    </a:lnTo>
                    <a:lnTo>
                      <a:pt x="116836" y="2054185"/>
                    </a:lnTo>
                    <a:lnTo>
                      <a:pt x="63020" y="2015948"/>
                    </a:lnTo>
                    <a:close/>
                    <a:moveTo>
                      <a:pt x="126749" y="2122162"/>
                    </a:moveTo>
                    <a:lnTo>
                      <a:pt x="116836" y="2136324"/>
                    </a:lnTo>
                    <a:lnTo>
                      <a:pt x="104090" y="2119330"/>
                    </a:lnTo>
                    <a:lnTo>
                      <a:pt x="126749" y="2122162"/>
                    </a:lnTo>
                    <a:close/>
                    <a:moveTo>
                      <a:pt x="223050" y="1994705"/>
                    </a:moveTo>
                    <a:lnTo>
                      <a:pt x="232963" y="1980543"/>
                    </a:lnTo>
                    <a:lnTo>
                      <a:pt x="227299" y="1993289"/>
                    </a:lnTo>
                    <a:lnTo>
                      <a:pt x="223050" y="1994705"/>
                    </a:lnTo>
                    <a:close/>
                    <a:moveTo>
                      <a:pt x="238628" y="1973462"/>
                    </a:moveTo>
                    <a:lnTo>
                      <a:pt x="238628" y="1973462"/>
                    </a:lnTo>
                    <a:lnTo>
                      <a:pt x="237212" y="1972046"/>
                    </a:lnTo>
                    <a:lnTo>
                      <a:pt x="220218" y="1994705"/>
                    </a:lnTo>
                    <a:lnTo>
                      <a:pt x="194726" y="1997537"/>
                    </a:lnTo>
                    <a:lnTo>
                      <a:pt x="234380" y="1967797"/>
                    </a:lnTo>
                    <a:lnTo>
                      <a:pt x="234380" y="1967797"/>
                    </a:lnTo>
                    <a:lnTo>
                      <a:pt x="74350" y="1981959"/>
                    </a:lnTo>
                    <a:lnTo>
                      <a:pt x="370334" y="1909733"/>
                    </a:lnTo>
                    <a:lnTo>
                      <a:pt x="375999" y="1912566"/>
                    </a:lnTo>
                    <a:lnTo>
                      <a:pt x="317935" y="1984792"/>
                    </a:lnTo>
                    <a:lnTo>
                      <a:pt x="228715" y="1996121"/>
                    </a:lnTo>
                    <a:lnTo>
                      <a:pt x="238628" y="1973462"/>
                    </a:lnTo>
                    <a:close/>
                    <a:moveTo>
                      <a:pt x="230131" y="1970630"/>
                    </a:moveTo>
                    <a:lnTo>
                      <a:pt x="191894" y="1998953"/>
                    </a:lnTo>
                    <a:lnTo>
                      <a:pt x="57356" y="2015948"/>
                    </a:lnTo>
                    <a:lnTo>
                      <a:pt x="57356" y="2015948"/>
                    </a:lnTo>
                    <a:lnTo>
                      <a:pt x="115420" y="2057017"/>
                    </a:lnTo>
                    <a:lnTo>
                      <a:pt x="80015" y="2083925"/>
                    </a:lnTo>
                    <a:lnTo>
                      <a:pt x="19118" y="1997537"/>
                    </a:lnTo>
                    <a:lnTo>
                      <a:pt x="65853" y="1986208"/>
                    </a:lnTo>
                    <a:lnTo>
                      <a:pt x="230131" y="1970630"/>
                    </a:lnTo>
                    <a:close/>
                    <a:moveTo>
                      <a:pt x="13454" y="1994705"/>
                    </a:moveTo>
                    <a:lnTo>
                      <a:pt x="13454" y="1994705"/>
                    </a:lnTo>
                    <a:lnTo>
                      <a:pt x="75766" y="2083925"/>
                    </a:lnTo>
                    <a:lnTo>
                      <a:pt x="43194" y="2108000"/>
                    </a:lnTo>
                    <a:lnTo>
                      <a:pt x="99841" y="2117913"/>
                    </a:lnTo>
                    <a:lnTo>
                      <a:pt x="114003" y="2137740"/>
                    </a:lnTo>
                    <a:lnTo>
                      <a:pt x="89928" y="2170312"/>
                    </a:lnTo>
                    <a:lnTo>
                      <a:pt x="47442" y="2204301"/>
                    </a:lnTo>
                    <a:lnTo>
                      <a:pt x="10621" y="1990456"/>
                    </a:lnTo>
                    <a:lnTo>
                      <a:pt x="50275" y="1987624"/>
                    </a:lnTo>
                    <a:lnTo>
                      <a:pt x="13454" y="1994705"/>
                    </a:lnTo>
                    <a:close/>
                    <a:moveTo>
                      <a:pt x="58772" y="2215631"/>
                    </a:moveTo>
                    <a:lnTo>
                      <a:pt x="92760" y="2170312"/>
                    </a:lnTo>
                    <a:lnTo>
                      <a:pt x="122500" y="2147654"/>
                    </a:lnTo>
                    <a:lnTo>
                      <a:pt x="147992" y="2184474"/>
                    </a:lnTo>
                    <a:lnTo>
                      <a:pt x="147992" y="2184474"/>
                    </a:lnTo>
                    <a:lnTo>
                      <a:pt x="172067" y="2129243"/>
                    </a:lnTo>
                    <a:lnTo>
                      <a:pt x="196142" y="2133492"/>
                    </a:lnTo>
                    <a:lnTo>
                      <a:pt x="130998" y="2214214"/>
                    </a:lnTo>
                    <a:lnTo>
                      <a:pt x="58772" y="2215631"/>
                    </a:lnTo>
                    <a:close/>
                    <a:moveTo>
                      <a:pt x="181980" y="2100919"/>
                    </a:moveTo>
                    <a:lnTo>
                      <a:pt x="181980" y="2100919"/>
                    </a:lnTo>
                    <a:lnTo>
                      <a:pt x="181980" y="2100919"/>
                    </a:lnTo>
                    <a:lnTo>
                      <a:pt x="181980" y="2100919"/>
                    </a:lnTo>
                    <a:close/>
                    <a:moveTo>
                      <a:pt x="183397" y="2102335"/>
                    </a:moveTo>
                    <a:lnTo>
                      <a:pt x="184813" y="2098087"/>
                    </a:lnTo>
                    <a:lnTo>
                      <a:pt x="293860" y="2011699"/>
                    </a:lnTo>
                    <a:lnTo>
                      <a:pt x="206056" y="2119330"/>
                    </a:lnTo>
                    <a:lnTo>
                      <a:pt x="183397" y="2102335"/>
                    </a:lnTo>
                    <a:close/>
                    <a:moveTo>
                      <a:pt x="380247" y="1911149"/>
                    </a:moveTo>
                    <a:lnTo>
                      <a:pt x="384496" y="1905485"/>
                    </a:lnTo>
                    <a:lnTo>
                      <a:pt x="448224" y="1889907"/>
                    </a:lnTo>
                    <a:lnTo>
                      <a:pt x="405739" y="1923895"/>
                    </a:lnTo>
                    <a:lnTo>
                      <a:pt x="380247" y="1911149"/>
                    </a:lnTo>
                    <a:close/>
                    <a:moveTo>
                      <a:pt x="320767" y="1780860"/>
                    </a:moveTo>
                    <a:lnTo>
                      <a:pt x="485046" y="1776611"/>
                    </a:lnTo>
                    <a:lnTo>
                      <a:pt x="381663" y="1902652"/>
                    </a:lnTo>
                    <a:lnTo>
                      <a:pt x="370334" y="1905485"/>
                    </a:lnTo>
                    <a:lnTo>
                      <a:pt x="133830" y="1783692"/>
                    </a:lnTo>
                    <a:lnTo>
                      <a:pt x="254206" y="1780860"/>
                    </a:lnTo>
                    <a:lnTo>
                      <a:pt x="269784" y="1817681"/>
                    </a:lnTo>
                    <a:lnTo>
                      <a:pt x="269784" y="1817681"/>
                    </a:lnTo>
                    <a:lnTo>
                      <a:pt x="320767" y="1780860"/>
                    </a:lnTo>
                    <a:close/>
                    <a:moveTo>
                      <a:pt x="317935" y="1780860"/>
                    </a:moveTo>
                    <a:lnTo>
                      <a:pt x="274033" y="1816265"/>
                    </a:lnTo>
                    <a:lnTo>
                      <a:pt x="258455" y="1782276"/>
                    </a:lnTo>
                    <a:lnTo>
                      <a:pt x="317935" y="1780860"/>
                    </a:lnTo>
                    <a:close/>
                    <a:moveTo>
                      <a:pt x="320767" y="1779444"/>
                    </a:moveTo>
                    <a:lnTo>
                      <a:pt x="258455" y="1780860"/>
                    </a:lnTo>
                    <a:lnTo>
                      <a:pt x="235796" y="1729877"/>
                    </a:lnTo>
                    <a:lnTo>
                      <a:pt x="459554" y="1547188"/>
                    </a:lnTo>
                    <a:lnTo>
                      <a:pt x="459554" y="1625079"/>
                    </a:lnTo>
                    <a:lnTo>
                      <a:pt x="483629" y="1649154"/>
                    </a:lnTo>
                    <a:lnTo>
                      <a:pt x="320767" y="1779444"/>
                    </a:lnTo>
                    <a:close/>
                    <a:moveTo>
                      <a:pt x="387328" y="1902652"/>
                    </a:moveTo>
                    <a:lnTo>
                      <a:pt x="490710" y="1775195"/>
                    </a:lnTo>
                    <a:lnTo>
                      <a:pt x="490710" y="1775195"/>
                    </a:lnTo>
                    <a:lnTo>
                      <a:pt x="323599" y="1779444"/>
                    </a:lnTo>
                    <a:lnTo>
                      <a:pt x="485046" y="1650570"/>
                    </a:lnTo>
                    <a:lnTo>
                      <a:pt x="604006" y="1769530"/>
                    </a:lnTo>
                    <a:lnTo>
                      <a:pt x="452473" y="1888491"/>
                    </a:lnTo>
                    <a:lnTo>
                      <a:pt x="387328" y="1902652"/>
                    </a:lnTo>
                    <a:close/>
                    <a:moveTo>
                      <a:pt x="206056" y="2120746"/>
                    </a:moveTo>
                    <a:lnTo>
                      <a:pt x="197558" y="2132075"/>
                    </a:lnTo>
                    <a:lnTo>
                      <a:pt x="172067" y="2127827"/>
                    </a:lnTo>
                    <a:lnTo>
                      <a:pt x="181980" y="2105168"/>
                    </a:lnTo>
                    <a:lnTo>
                      <a:pt x="206056" y="2120746"/>
                    </a:lnTo>
                    <a:close/>
                    <a:moveTo>
                      <a:pt x="228715" y="2136324"/>
                    </a:moveTo>
                    <a:lnTo>
                      <a:pt x="200391" y="2132075"/>
                    </a:lnTo>
                    <a:lnTo>
                      <a:pt x="208888" y="2122162"/>
                    </a:lnTo>
                    <a:lnTo>
                      <a:pt x="228715" y="2136324"/>
                    </a:lnTo>
                    <a:close/>
                    <a:moveTo>
                      <a:pt x="327848" y="1983375"/>
                    </a:moveTo>
                    <a:lnTo>
                      <a:pt x="308022" y="1998953"/>
                    </a:lnTo>
                    <a:lnTo>
                      <a:pt x="319351" y="1984792"/>
                    </a:lnTo>
                    <a:lnTo>
                      <a:pt x="327848" y="1983375"/>
                    </a:lnTo>
                    <a:close/>
                    <a:moveTo>
                      <a:pt x="402906" y="1925311"/>
                    </a:moveTo>
                    <a:lnTo>
                      <a:pt x="330680" y="1981959"/>
                    </a:lnTo>
                    <a:lnTo>
                      <a:pt x="320767" y="1983375"/>
                    </a:lnTo>
                    <a:lnTo>
                      <a:pt x="377415" y="1912566"/>
                    </a:lnTo>
                    <a:lnTo>
                      <a:pt x="402906" y="1925311"/>
                    </a:lnTo>
                    <a:close/>
                    <a:moveTo>
                      <a:pt x="477965" y="1963549"/>
                    </a:moveTo>
                    <a:lnTo>
                      <a:pt x="334929" y="1980543"/>
                    </a:lnTo>
                    <a:lnTo>
                      <a:pt x="405739" y="1925311"/>
                    </a:lnTo>
                    <a:lnTo>
                      <a:pt x="477965" y="1963549"/>
                    </a:lnTo>
                    <a:close/>
                    <a:moveTo>
                      <a:pt x="687561" y="1836092"/>
                    </a:moveTo>
                    <a:lnTo>
                      <a:pt x="751289" y="1826178"/>
                    </a:lnTo>
                    <a:lnTo>
                      <a:pt x="977880" y="1956468"/>
                    </a:lnTo>
                    <a:lnTo>
                      <a:pt x="687561" y="1836092"/>
                    </a:lnTo>
                    <a:close/>
                    <a:moveTo>
                      <a:pt x="3391071" y="3753614"/>
                    </a:moveTo>
                    <a:lnTo>
                      <a:pt x="3575175" y="3889568"/>
                    </a:lnTo>
                    <a:lnTo>
                      <a:pt x="3572343" y="3899481"/>
                    </a:lnTo>
                    <a:lnTo>
                      <a:pt x="3393902" y="3808845"/>
                    </a:lnTo>
                    <a:lnTo>
                      <a:pt x="3391071" y="3753614"/>
                    </a:lnTo>
                    <a:close/>
                    <a:moveTo>
                      <a:pt x="3395319" y="3832921"/>
                    </a:moveTo>
                    <a:lnTo>
                      <a:pt x="3393902" y="3810261"/>
                    </a:lnTo>
                    <a:lnTo>
                      <a:pt x="3572343" y="3900898"/>
                    </a:lnTo>
                    <a:lnTo>
                      <a:pt x="3556764" y="3957545"/>
                    </a:lnTo>
                    <a:lnTo>
                      <a:pt x="3395319" y="3832921"/>
                    </a:lnTo>
                    <a:close/>
                    <a:moveTo>
                      <a:pt x="3357082" y="3803181"/>
                    </a:moveTo>
                    <a:lnTo>
                      <a:pt x="3347168" y="3786186"/>
                    </a:lnTo>
                    <a:lnTo>
                      <a:pt x="3392486" y="3810261"/>
                    </a:lnTo>
                    <a:lnTo>
                      <a:pt x="3393902" y="3831504"/>
                    </a:lnTo>
                    <a:lnTo>
                      <a:pt x="3357082" y="3803181"/>
                    </a:lnTo>
                    <a:close/>
                    <a:moveTo>
                      <a:pt x="3359914" y="3807429"/>
                    </a:moveTo>
                    <a:lnTo>
                      <a:pt x="3393902" y="3834337"/>
                    </a:lnTo>
                    <a:lnTo>
                      <a:pt x="3395319" y="3866909"/>
                    </a:lnTo>
                    <a:lnTo>
                      <a:pt x="3359914" y="3807429"/>
                    </a:lnTo>
                    <a:close/>
                    <a:moveTo>
                      <a:pt x="3342920" y="3784770"/>
                    </a:moveTo>
                    <a:lnTo>
                      <a:pt x="3351416" y="3800348"/>
                    </a:lnTo>
                    <a:lnTo>
                      <a:pt x="3311763" y="3770608"/>
                    </a:lnTo>
                    <a:lnTo>
                      <a:pt x="3342920" y="3784770"/>
                    </a:lnTo>
                    <a:close/>
                    <a:moveTo>
                      <a:pt x="3344336" y="3783354"/>
                    </a:moveTo>
                    <a:lnTo>
                      <a:pt x="3274943" y="3667226"/>
                    </a:lnTo>
                    <a:lnTo>
                      <a:pt x="3389654" y="3752198"/>
                    </a:lnTo>
                    <a:lnTo>
                      <a:pt x="3392486" y="3807429"/>
                    </a:lnTo>
                    <a:lnTo>
                      <a:pt x="3344336" y="3783354"/>
                    </a:lnTo>
                    <a:close/>
                    <a:moveTo>
                      <a:pt x="3575175" y="3900898"/>
                    </a:moveTo>
                    <a:lnTo>
                      <a:pt x="3578007" y="3890985"/>
                    </a:lnTo>
                    <a:lnTo>
                      <a:pt x="3630406" y="3929221"/>
                    </a:lnTo>
                    <a:lnTo>
                      <a:pt x="3575175" y="3900898"/>
                    </a:lnTo>
                    <a:close/>
                    <a:moveTo>
                      <a:pt x="3266445" y="3525607"/>
                    </a:moveTo>
                    <a:lnTo>
                      <a:pt x="3317428" y="3504364"/>
                    </a:lnTo>
                    <a:lnTo>
                      <a:pt x="3350001" y="3573757"/>
                    </a:lnTo>
                    <a:lnTo>
                      <a:pt x="3266445" y="3525607"/>
                    </a:lnTo>
                    <a:close/>
                    <a:moveTo>
                      <a:pt x="3265029" y="3524191"/>
                    </a:moveTo>
                    <a:lnTo>
                      <a:pt x="3170144" y="3468959"/>
                    </a:lnTo>
                    <a:lnTo>
                      <a:pt x="3317428" y="3501532"/>
                    </a:lnTo>
                    <a:lnTo>
                      <a:pt x="3265029" y="3524191"/>
                    </a:lnTo>
                    <a:close/>
                    <a:moveTo>
                      <a:pt x="3361330" y="3511445"/>
                    </a:moveTo>
                    <a:lnTo>
                      <a:pt x="3359914" y="3711128"/>
                    </a:lnTo>
                    <a:lnTo>
                      <a:pt x="3233873" y="3538353"/>
                    </a:lnTo>
                    <a:lnTo>
                      <a:pt x="3265029" y="3525607"/>
                    </a:lnTo>
                    <a:lnTo>
                      <a:pt x="3355666" y="3578006"/>
                    </a:lnTo>
                    <a:lnTo>
                      <a:pt x="3355666" y="3578006"/>
                    </a:lnTo>
                    <a:lnTo>
                      <a:pt x="3320261" y="3501532"/>
                    </a:lnTo>
                    <a:lnTo>
                      <a:pt x="3320261" y="3501532"/>
                    </a:lnTo>
                    <a:lnTo>
                      <a:pt x="3361330" y="3511445"/>
                    </a:lnTo>
                    <a:close/>
                    <a:moveTo>
                      <a:pt x="3668644" y="3749365"/>
                    </a:moveTo>
                    <a:lnTo>
                      <a:pt x="3780523" y="3692718"/>
                    </a:lnTo>
                    <a:lnTo>
                      <a:pt x="3756448" y="3757862"/>
                    </a:lnTo>
                    <a:lnTo>
                      <a:pt x="3668644" y="3749365"/>
                    </a:lnTo>
                    <a:close/>
                    <a:moveTo>
                      <a:pt x="4385236" y="3800348"/>
                    </a:moveTo>
                    <a:lnTo>
                      <a:pt x="4422058" y="3784770"/>
                    </a:lnTo>
                    <a:lnTo>
                      <a:pt x="4451797" y="3818759"/>
                    </a:lnTo>
                    <a:lnTo>
                      <a:pt x="4426306" y="3815926"/>
                    </a:lnTo>
                    <a:lnTo>
                      <a:pt x="4385236" y="3800348"/>
                    </a:lnTo>
                    <a:close/>
                    <a:moveTo>
                      <a:pt x="4431971" y="3820175"/>
                    </a:moveTo>
                    <a:lnTo>
                      <a:pt x="4453214" y="3821591"/>
                    </a:lnTo>
                    <a:lnTo>
                      <a:pt x="4461711" y="3831504"/>
                    </a:lnTo>
                    <a:lnTo>
                      <a:pt x="4431971" y="3820175"/>
                    </a:lnTo>
                    <a:close/>
                    <a:moveTo>
                      <a:pt x="4361162" y="3811678"/>
                    </a:moveTo>
                    <a:lnTo>
                      <a:pt x="4382405" y="3803181"/>
                    </a:lnTo>
                    <a:lnTo>
                      <a:pt x="4417809" y="3817342"/>
                    </a:lnTo>
                    <a:lnTo>
                      <a:pt x="4361162" y="3811678"/>
                    </a:lnTo>
                    <a:close/>
                    <a:moveTo>
                      <a:pt x="4514110" y="3895233"/>
                    </a:moveTo>
                    <a:lnTo>
                      <a:pt x="4361162" y="3837169"/>
                    </a:lnTo>
                    <a:lnTo>
                      <a:pt x="4473040" y="3845666"/>
                    </a:lnTo>
                    <a:lnTo>
                      <a:pt x="4514110" y="3895233"/>
                    </a:lnTo>
                    <a:close/>
                    <a:moveTo>
                      <a:pt x="4474457" y="3844250"/>
                    </a:moveTo>
                    <a:lnTo>
                      <a:pt x="4468792" y="3837169"/>
                    </a:lnTo>
                    <a:lnTo>
                      <a:pt x="4487202" y="3844250"/>
                    </a:lnTo>
                    <a:lnTo>
                      <a:pt x="4474457" y="3844250"/>
                    </a:lnTo>
                    <a:close/>
                    <a:moveTo>
                      <a:pt x="4521191" y="3899481"/>
                    </a:moveTo>
                    <a:lnTo>
                      <a:pt x="4702464" y="3967459"/>
                    </a:lnTo>
                    <a:lnTo>
                      <a:pt x="4586336" y="3990118"/>
                    </a:lnTo>
                    <a:lnTo>
                      <a:pt x="4446133" y="3963210"/>
                    </a:lnTo>
                    <a:lnTo>
                      <a:pt x="4539602" y="3922140"/>
                    </a:lnTo>
                    <a:lnTo>
                      <a:pt x="4539602" y="3922140"/>
                    </a:lnTo>
                    <a:lnTo>
                      <a:pt x="4521191" y="3899481"/>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49" name="Freeform: Shape 948">
                <a:extLst>
                  <a:ext uri="{FF2B5EF4-FFF2-40B4-BE49-F238E27FC236}">
                    <a16:creationId xmlns:a16="http://schemas.microsoft.com/office/drawing/2014/main" id="{637AEF78-A656-41E8-96FE-0D379B4076CE}"/>
                  </a:ext>
                </a:extLst>
              </p:cNvPr>
              <p:cNvSpPr/>
              <p:nvPr/>
            </p:nvSpPr>
            <p:spPr>
              <a:xfrm>
                <a:off x="5261155" y="2789590"/>
                <a:ext cx="2081801" cy="2563305"/>
              </a:xfrm>
              <a:custGeom>
                <a:avLst/>
                <a:gdLst>
                  <a:gd name="connsiteX0" fmla="*/ 1861584 w 2081801"/>
                  <a:gd name="connsiteY0" fmla="*/ 1065684 h 2563305"/>
                  <a:gd name="connsiteX1" fmla="*/ 1996122 w 2081801"/>
                  <a:gd name="connsiteY1" fmla="*/ 1212967 h 2563305"/>
                  <a:gd name="connsiteX2" fmla="*/ 1976295 w 2081801"/>
                  <a:gd name="connsiteY2" fmla="*/ 1265367 h 2563305"/>
                  <a:gd name="connsiteX3" fmla="*/ 1908318 w 2081801"/>
                  <a:gd name="connsiteY3" fmla="*/ 1344673 h 2563305"/>
                  <a:gd name="connsiteX4" fmla="*/ 1654820 w 2081801"/>
                  <a:gd name="connsiteY4" fmla="*/ 1440974 h 2563305"/>
                  <a:gd name="connsiteX5" fmla="*/ 1663317 w 2081801"/>
                  <a:gd name="connsiteY5" fmla="*/ 1357419 h 2563305"/>
                  <a:gd name="connsiteX6" fmla="*/ 1779445 w 2081801"/>
                  <a:gd name="connsiteY6" fmla="*/ 1259702 h 2563305"/>
                  <a:gd name="connsiteX7" fmla="*/ 1779445 w 2081801"/>
                  <a:gd name="connsiteY7" fmla="*/ 1259702 h 2563305"/>
                  <a:gd name="connsiteX8" fmla="*/ 1778029 w 2081801"/>
                  <a:gd name="connsiteY8" fmla="*/ 1258286 h 2563305"/>
                  <a:gd name="connsiteX9" fmla="*/ 1664733 w 2081801"/>
                  <a:gd name="connsiteY9" fmla="*/ 1339008 h 2563305"/>
                  <a:gd name="connsiteX10" fmla="*/ 1681727 w 2081801"/>
                  <a:gd name="connsiteY10" fmla="*/ 1174730 h 2563305"/>
                  <a:gd name="connsiteX11" fmla="*/ 1691641 w 2081801"/>
                  <a:gd name="connsiteY11" fmla="*/ 1113834 h 2563305"/>
                  <a:gd name="connsiteX12" fmla="*/ 1734127 w 2081801"/>
                  <a:gd name="connsiteY12" fmla="*/ 1109585 h 2563305"/>
                  <a:gd name="connsiteX13" fmla="*/ 1734127 w 2081801"/>
                  <a:gd name="connsiteY13" fmla="*/ 1109585 h 2563305"/>
                  <a:gd name="connsiteX14" fmla="*/ 1735543 w 2081801"/>
                  <a:gd name="connsiteY14" fmla="*/ 857503 h 2563305"/>
                  <a:gd name="connsiteX15" fmla="*/ 1735543 w 2081801"/>
                  <a:gd name="connsiteY15" fmla="*/ 857503 h 2563305"/>
                  <a:gd name="connsiteX16" fmla="*/ 1734127 w 2081801"/>
                  <a:gd name="connsiteY16" fmla="*/ 857503 h 2563305"/>
                  <a:gd name="connsiteX17" fmla="*/ 1690225 w 2081801"/>
                  <a:gd name="connsiteY17" fmla="*/ 1112418 h 2563305"/>
                  <a:gd name="connsiteX18" fmla="*/ 1616583 w 2081801"/>
                  <a:gd name="connsiteY18" fmla="*/ 1119499 h 2563305"/>
                  <a:gd name="connsiteX19" fmla="*/ 1667565 w 2081801"/>
                  <a:gd name="connsiteY19" fmla="*/ 1101088 h 2563305"/>
                  <a:gd name="connsiteX20" fmla="*/ 1667565 w 2081801"/>
                  <a:gd name="connsiteY20" fmla="*/ 1101088 h 2563305"/>
                  <a:gd name="connsiteX21" fmla="*/ 1567016 w 2081801"/>
                  <a:gd name="connsiteY21" fmla="*/ 1052938 h 2563305"/>
                  <a:gd name="connsiteX22" fmla="*/ 1610918 w 2081801"/>
                  <a:gd name="connsiteY22" fmla="*/ 1003371 h 2563305"/>
                  <a:gd name="connsiteX23" fmla="*/ 1610918 w 2081801"/>
                  <a:gd name="connsiteY23" fmla="*/ 1003371 h 2563305"/>
                  <a:gd name="connsiteX24" fmla="*/ 1564184 w 2081801"/>
                  <a:gd name="connsiteY24" fmla="*/ 837677 h 2563305"/>
                  <a:gd name="connsiteX25" fmla="*/ 1690225 w 2081801"/>
                  <a:gd name="connsiteY25" fmla="*/ 707387 h 2563305"/>
                  <a:gd name="connsiteX26" fmla="*/ 1690225 w 2081801"/>
                  <a:gd name="connsiteY26" fmla="*/ 707387 h 2563305"/>
                  <a:gd name="connsiteX27" fmla="*/ 1582594 w 2081801"/>
                  <a:gd name="connsiteY27" fmla="*/ 720133 h 2563305"/>
                  <a:gd name="connsiteX28" fmla="*/ 1650571 w 2081801"/>
                  <a:gd name="connsiteY28" fmla="*/ 643659 h 2563305"/>
                  <a:gd name="connsiteX29" fmla="*/ 1650571 w 2081801"/>
                  <a:gd name="connsiteY29" fmla="*/ 643659 h 2563305"/>
                  <a:gd name="connsiteX30" fmla="*/ 1406986 w 2081801"/>
                  <a:gd name="connsiteY30" fmla="*/ 670566 h 2563305"/>
                  <a:gd name="connsiteX31" fmla="*/ 1436726 w 2081801"/>
                  <a:gd name="connsiteY31" fmla="*/ 625248 h 2563305"/>
                  <a:gd name="connsiteX32" fmla="*/ 1450888 w 2081801"/>
                  <a:gd name="connsiteY32" fmla="*/ 477964 h 2563305"/>
                  <a:gd name="connsiteX33" fmla="*/ 1593924 w 2081801"/>
                  <a:gd name="connsiteY33" fmla="*/ 509121 h 2563305"/>
                  <a:gd name="connsiteX34" fmla="*/ 1620831 w 2081801"/>
                  <a:gd name="connsiteY34" fmla="*/ 585595 h 2563305"/>
                  <a:gd name="connsiteX35" fmla="*/ 1620831 w 2081801"/>
                  <a:gd name="connsiteY35" fmla="*/ 585595 h 2563305"/>
                  <a:gd name="connsiteX36" fmla="*/ 1622248 w 2081801"/>
                  <a:gd name="connsiteY36" fmla="*/ 585595 h 2563305"/>
                  <a:gd name="connsiteX37" fmla="*/ 1593924 w 2081801"/>
                  <a:gd name="connsiteY37" fmla="*/ 507704 h 2563305"/>
                  <a:gd name="connsiteX38" fmla="*/ 1593924 w 2081801"/>
                  <a:gd name="connsiteY38" fmla="*/ 507704 h 2563305"/>
                  <a:gd name="connsiteX39" fmla="*/ 1449472 w 2081801"/>
                  <a:gd name="connsiteY39" fmla="*/ 476548 h 2563305"/>
                  <a:gd name="connsiteX40" fmla="*/ 1473547 w 2081801"/>
                  <a:gd name="connsiteY40" fmla="*/ 215969 h 2563305"/>
                  <a:gd name="connsiteX41" fmla="*/ 1473547 w 2081801"/>
                  <a:gd name="connsiteY41" fmla="*/ 215969 h 2563305"/>
                  <a:gd name="connsiteX42" fmla="*/ 1472131 w 2081801"/>
                  <a:gd name="connsiteY42" fmla="*/ 215969 h 2563305"/>
                  <a:gd name="connsiteX43" fmla="*/ 1472131 w 2081801"/>
                  <a:gd name="connsiteY43" fmla="*/ 215969 h 2563305"/>
                  <a:gd name="connsiteX44" fmla="*/ 1392824 w 2081801"/>
                  <a:gd name="connsiteY44" fmla="*/ 465219 h 2563305"/>
                  <a:gd name="connsiteX45" fmla="*/ 1339009 w 2081801"/>
                  <a:gd name="connsiteY45" fmla="*/ 453889 h 2563305"/>
                  <a:gd name="connsiteX46" fmla="*/ 1310685 w 2081801"/>
                  <a:gd name="connsiteY46" fmla="*/ 208888 h 2563305"/>
                  <a:gd name="connsiteX47" fmla="*/ 1310685 w 2081801"/>
                  <a:gd name="connsiteY47" fmla="*/ 208888 h 2563305"/>
                  <a:gd name="connsiteX48" fmla="*/ 1309269 w 2081801"/>
                  <a:gd name="connsiteY48" fmla="*/ 208888 h 2563305"/>
                  <a:gd name="connsiteX49" fmla="*/ 1302188 w 2081801"/>
                  <a:gd name="connsiteY49" fmla="*/ 446808 h 2563305"/>
                  <a:gd name="connsiteX50" fmla="*/ 1184644 w 2081801"/>
                  <a:gd name="connsiteY50" fmla="*/ 421317 h 2563305"/>
                  <a:gd name="connsiteX51" fmla="*/ 1203055 w 2081801"/>
                  <a:gd name="connsiteY51" fmla="*/ 343426 h 2563305"/>
                  <a:gd name="connsiteX52" fmla="*/ 1203055 w 2081801"/>
                  <a:gd name="connsiteY52" fmla="*/ 343426 h 2563305"/>
                  <a:gd name="connsiteX53" fmla="*/ 1021782 w 2081801"/>
                  <a:gd name="connsiteY53" fmla="*/ 285362 h 2563305"/>
                  <a:gd name="connsiteX54" fmla="*/ 1043025 w 2081801"/>
                  <a:gd name="connsiteY54" fmla="*/ 274033 h 2563305"/>
                  <a:gd name="connsiteX55" fmla="*/ 958054 w 2081801"/>
                  <a:gd name="connsiteY55" fmla="*/ 264120 h 2563305"/>
                  <a:gd name="connsiteX56" fmla="*/ 783862 w 2081801"/>
                  <a:gd name="connsiteY56" fmla="*/ 207472 h 2563305"/>
                  <a:gd name="connsiteX57" fmla="*/ 921233 w 2081801"/>
                  <a:gd name="connsiteY57" fmla="*/ 206056 h 2563305"/>
                  <a:gd name="connsiteX58" fmla="*/ 921233 w 2081801"/>
                  <a:gd name="connsiteY58" fmla="*/ 206056 h 2563305"/>
                  <a:gd name="connsiteX59" fmla="*/ 921233 w 2081801"/>
                  <a:gd name="connsiteY59" fmla="*/ 204640 h 2563305"/>
                  <a:gd name="connsiteX60" fmla="*/ 657821 w 2081801"/>
                  <a:gd name="connsiteY60" fmla="*/ 146576 h 2563305"/>
                  <a:gd name="connsiteX61" fmla="*/ 837678 w 2081801"/>
                  <a:gd name="connsiteY61" fmla="*/ 12037 h 2563305"/>
                  <a:gd name="connsiteX62" fmla="*/ 839093 w 2081801"/>
                  <a:gd name="connsiteY62" fmla="*/ 12037 h 2563305"/>
                  <a:gd name="connsiteX63" fmla="*/ 405739 w 2081801"/>
                  <a:gd name="connsiteY63" fmla="*/ 92760 h 2563305"/>
                  <a:gd name="connsiteX64" fmla="*/ 404323 w 2081801"/>
                  <a:gd name="connsiteY64" fmla="*/ 92760 h 2563305"/>
                  <a:gd name="connsiteX65" fmla="*/ 653573 w 2081801"/>
                  <a:gd name="connsiteY65" fmla="*/ 147992 h 2563305"/>
                  <a:gd name="connsiteX66" fmla="*/ 636578 w 2081801"/>
                  <a:gd name="connsiteY66" fmla="*/ 160738 h 2563305"/>
                  <a:gd name="connsiteX67" fmla="*/ 537445 w 2081801"/>
                  <a:gd name="connsiteY67" fmla="*/ 128165 h 2563305"/>
                  <a:gd name="connsiteX68" fmla="*/ 536029 w 2081801"/>
                  <a:gd name="connsiteY68" fmla="*/ 128165 h 2563305"/>
                  <a:gd name="connsiteX69" fmla="*/ 598341 w 2081801"/>
                  <a:gd name="connsiteY69" fmla="*/ 189061 h 2563305"/>
                  <a:gd name="connsiteX70" fmla="*/ 571433 w 2081801"/>
                  <a:gd name="connsiteY70" fmla="*/ 208888 h 2563305"/>
                  <a:gd name="connsiteX71" fmla="*/ 493543 w 2081801"/>
                  <a:gd name="connsiteY71" fmla="*/ 210304 h 2563305"/>
                  <a:gd name="connsiteX72" fmla="*/ 281114 w 2081801"/>
                  <a:gd name="connsiteY72" fmla="*/ 184813 h 2563305"/>
                  <a:gd name="connsiteX73" fmla="*/ 279698 w 2081801"/>
                  <a:gd name="connsiteY73" fmla="*/ 184813 h 2563305"/>
                  <a:gd name="connsiteX74" fmla="*/ 315103 w 2081801"/>
                  <a:gd name="connsiteY74" fmla="*/ 211720 h 2563305"/>
                  <a:gd name="connsiteX75" fmla="*/ 227299 w 2081801"/>
                  <a:gd name="connsiteY75" fmla="*/ 213137 h 2563305"/>
                  <a:gd name="connsiteX76" fmla="*/ 227299 w 2081801"/>
                  <a:gd name="connsiteY76" fmla="*/ 213137 h 2563305"/>
                  <a:gd name="connsiteX77" fmla="*/ 227299 w 2081801"/>
                  <a:gd name="connsiteY77" fmla="*/ 214553 h 2563305"/>
                  <a:gd name="connsiteX78" fmla="*/ 227299 w 2081801"/>
                  <a:gd name="connsiteY78" fmla="*/ 214553 h 2563305"/>
                  <a:gd name="connsiteX79" fmla="*/ 357588 w 2081801"/>
                  <a:gd name="connsiteY79" fmla="*/ 242877 h 2563305"/>
                  <a:gd name="connsiteX80" fmla="*/ 441144 w 2081801"/>
                  <a:gd name="connsiteY80" fmla="*/ 306605 h 2563305"/>
                  <a:gd name="connsiteX81" fmla="*/ 367502 w 2081801"/>
                  <a:gd name="connsiteY81" fmla="*/ 361837 h 2563305"/>
                  <a:gd name="connsiteX82" fmla="*/ 367502 w 2081801"/>
                  <a:gd name="connsiteY82" fmla="*/ 361837 h 2563305"/>
                  <a:gd name="connsiteX83" fmla="*/ 446809 w 2081801"/>
                  <a:gd name="connsiteY83" fmla="*/ 534612 h 2563305"/>
                  <a:gd name="connsiteX84" fmla="*/ 381664 w 2081801"/>
                  <a:gd name="connsiteY84" fmla="*/ 509121 h 2563305"/>
                  <a:gd name="connsiteX85" fmla="*/ 381664 w 2081801"/>
                  <a:gd name="connsiteY85" fmla="*/ 509121 h 2563305"/>
                  <a:gd name="connsiteX86" fmla="*/ 310854 w 2081801"/>
                  <a:gd name="connsiteY86" fmla="*/ 656404 h 2563305"/>
                  <a:gd name="connsiteX87" fmla="*/ 298109 w 2081801"/>
                  <a:gd name="connsiteY87" fmla="*/ 653572 h 2563305"/>
                  <a:gd name="connsiteX88" fmla="*/ 262704 w 2081801"/>
                  <a:gd name="connsiteY88" fmla="*/ 596924 h 2563305"/>
                  <a:gd name="connsiteX89" fmla="*/ 296692 w 2081801"/>
                  <a:gd name="connsiteY89" fmla="*/ 557271 h 2563305"/>
                  <a:gd name="connsiteX90" fmla="*/ 298109 w 2081801"/>
                  <a:gd name="connsiteY90" fmla="*/ 555855 h 2563305"/>
                  <a:gd name="connsiteX91" fmla="*/ 254207 w 2081801"/>
                  <a:gd name="connsiteY91" fmla="*/ 582762 h 2563305"/>
                  <a:gd name="connsiteX92" fmla="*/ 191894 w 2081801"/>
                  <a:gd name="connsiteY92" fmla="*/ 485045 h 2563305"/>
                  <a:gd name="connsiteX93" fmla="*/ 223050 w 2081801"/>
                  <a:gd name="connsiteY93" fmla="*/ 308022 h 2563305"/>
                  <a:gd name="connsiteX94" fmla="*/ 223050 w 2081801"/>
                  <a:gd name="connsiteY94" fmla="*/ 308022 h 2563305"/>
                  <a:gd name="connsiteX95" fmla="*/ 221634 w 2081801"/>
                  <a:gd name="connsiteY95" fmla="*/ 308022 h 2563305"/>
                  <a:gd name="connsiteX96" fmla="*/ 156489 w 2081801"/>
                  <a:gd name="connsiteY96" fmla="*/ 520450 h 2563305"/>
                  <a:gd name="connsiteX97" fmla="*/ 115420 w 2081801"/>
                  <a:gd name="connsiteY97" fmla="*/ 594092 h 2563305"/>
                  <a:gd name="connsiteX98" fmla="*/ 54523 w 2081801"/>
                  <a:gd name="connsiteY98" fmla="*/ 487878 h 2563305"/>
                  <a:gd name="connsiteX99" fmla="*/ 53107 w 2081801"/>
                  <a:gd name="connsiteY99" fmla="*/ 486461 h 2563305"/>
                  <a:gd name="connsiteX100" fmla="*/ 99842 w 2081801"/>
                  <a:gd name="connsiteY100" fmla="*/ 676231 h 2563305"/>
                  <a:gd name="connsiteX101" fmla="*/ 99842 w 2081801"/>
                  <a:gd name="connsiteY101" fmla="*/ 676231 h 2563305"/>
                  <a:gd name="connsiteX102" fmla="*/ 109755 w 2081801"/>
                  <a:gd name="connsiteY102" fmla="*/ 670566 h 2563305"/>
                  <a:gd name="connsiteX103" fmla="*/ 10621 w 2081801"/>
                  <a:gd name="connsiteY103" fmla="*/ 993458 h 2563305"/>
                  <a:gd name="connsiteX104" fmla="*/ 10621 w 2081801"/>
                  <a:gd name="connsiteY104" fmla="*/ 993458 h 2563305"/>
                  <a:gd name="connsiteX105" fmla="*/ 84264 w 2081801"/>
                  <a:gd name="connsiteY105" fmla="*/ 1081262 h 2563305"/>
                  <a:gd name="connsiteX106" fmla="*/ 82847 w 2081801"/>
                  <a:gd name="connsiteY106" fmla="*/ 1091175 h 2563305"/>
                  <a:gd name="connsiteX107" fmla="*/ 82847 w 2081801"/>
                  <a:gd name="connsiteY107" fmla="*/ 1091175 h 2563305"/>
                  <a:gd name="connsiteX108" fmla="*/ 97009 w 2081801"/>
                  <a:gd name="connsiteY108" fmla="*/ 1095424 h 2563305"/>
                  <a:gd name="connsiteX109" fmla="*/ 268368 w 2081801"/>
                  <a:gd name="connsiteY109" fmla="*/ 1299355 h 2563305"/>
                  <a:gd name="connsiteX110" fmla="*/ 268368 w 2081801"/>
                  <a:gd name="connsiteY110" fmla="*/ 1299355 h 2563305"/>
                  <a:gd name="connsiteX111" fmla="*/ 305190 w 2081801"/>
                  <a:gd name="connsiteY111" fmla="*/ 1157736 h 2563305"/>
                  <a:gd name="connsiteX112" fmla="*/ 390161 w 2081801"/>
                  <a:gd name="connsiteY112" fmla="*/ 1183227 h 2563305"/>
                  <a:gd name="connsiteX113" fmla="*/ 354756 w 2081801"/>
                  <a:gd name="connsiteY113" fmla="*/ 1278112 h 2563305"/>
                  <a:gd name="connsiteX114" fmla="*/ 354756 w 2081801"/>
                  <a:gd name="connsiteY114" fmla="*/ 1278112 h 2563305"/>
                  <a:gd name="connsiteX115" fmla="*/ 536029 w 2081801"/>
                  <a:gd name="connsiteY115" fmla="*/ 1225713 h 2563305"/>
                  <a:gd name="connsiteX116" fmla="*/ 536029 w 2081801"/>
                  <a:gd name="connsiteY116" fmla="*/ 1225713 h 2563305"/>
                  <a:gd name="connsiteX117" fmla="*/ 392993 w 2081801"/>
                  <a:gd name="connsiteY117" fmla="*/ 1181811 h 2563305"/>
                  <a:gd name="connsiteX118" fmla="*/ 421317 w 2081801"/>
                  <a:gd name="connsiteY118" fmla="*/ 1106753 h 2563305"/>
                  <a:gd name="connsiteX119" fmla="*/ 565769 w 2081801"/>
                  <a:gd name="connsiteY119" fmla="*/ 1140742 h 2563305"/>
                  <a:gd name="connsiteX120" fmla="*/ 671983 w 2081801"/>
                  <a:gd name="connsiteY120" fmla="*/ 1256869 h 2563305"/>
                  <a:gd name="connsiteX121" fmla="*/ 943892 w 2081801"/>
                  <a:gd name="connsiteY121" fmla="*/ 1336176 h 2563305"/>
                  <a:gd name="connsiteX122" fmla="*/ 943892 w 2081801"/>
                  <a:gd name="connsiteY122" fmla="*/ 1367332 h 2563305"/>
                  <a:gd name="connsiteX123" fmla="*/ 943892 w 2081801"/>
                  <a:gd name="connsiteY123" fmla="*/ 1367332 h 2563305"/>
                  <a:gd name="connsiteX124" fmla="*/ 959470 w 2081801"/>
                  <a:gd name="connsiteY124" fmla="*/ 1344673 h 2563305"/>
                  <a:gd name="connsiteX125" fmla="*/ 982129 w 2081801"/>
                  <a:gd name="connsiteY125" fmla="*/ 1371581 h 2563305"/>
                  <a:gd name="connsiteX126" fmla="*/ 958054 w 2081801"/>
                  <a:gd name="connsiteY126" fmla="*/ 1439558 h 2563305"/>
                  <a:gd name="connsiteX127" fmla="*/ 847591 w 2081801"/>
                  <a:gd name="connsiteY127" fmla="*/ 1525946 h 2563305"/>
                  <a:gd name="connsiteX128" fmla="*/ 847591 w 2081801"/>
                  <a:gd name="connsiteY128" fmla="*/ 1525946 h 2563305"/>
                  <a:gd name="connsiteX129" fmla="*/ 914152 w 2081801"/>
                  <a:gd name="connsiteY129" fmla="*/ 1528778 h 2563305"/>
                  <a:gd name="connsiteX130" fmla="*/ 925481 w 2081801"/>
                  <a:gd name="connsiteY130" fmla="*/ 1530194 h 2563305"/>
                  <a:gd name="connsiteX131" fmla="*/ 853255 w 2081801"/>
                  <a:gd name="connsiteY131" fmla="*/ 1735542 h 2563305"/>
                  <a:gd name="connsiteX132" fmla="*/ 853255 w 2081801"/>
                  <a:gd name="connsiteY132" fmla="*/ 1735542 h 2563305"/>
                  <a:gd name="connsiteX133" fmla="*/ 977880 w 2081801"/>
                  <a:gd name="connsiteY133" fmla="*/ 1756785 h 2563305"/>
                  <a:gd name="connsiteX134" fmla="*/ 982129 w 2081801"/>
                  <a:gd name="connsiteY134" fmla="*/ 1797854 h 2563305"/>
                  <a:gd name="connsiteX135" fmla="*/ 929730 w 2081801"/>
                  <a:gd name="connsiteY135" fmla="*/ 1891323 h 2563305"/>
                  <a:gd name="connsiteX136" fmla="*/ 929730 w 2081801"/>
                  <a:gd name="connsiteY136" fmla="*/ 1891323 h 2563305"/>
                  <a:gd name="connsiteX137" fmla="*/ 935395 w 2081801"/>
                  <a:gd name="connsiteY137" fmla="*/ 1904068 h 2563305"/>
                  <a:gd name="connsiteX138" fmla="*/ 935395 w 2081801"/>
                  <a:gd name="connsiteY138" fmla="*/ 1905485 h 2563305"/>
                  <a:gd name="connsiteX139" fmla="*/ 953805 w 2081801"/>
                  <a:gd name="connsiteY139" fmla="*/ 1939473 h 2563305"/>
                  <a:gd name="connsiteX140" fmla="*/ 1010453 w 2081801"/>
                  <a:gd name="connsiteY140" fmla="*/ 2041439 h 2563305"/>
                  <a:gd name="connsiteX141" fmla="*/ 1040193 w 2081801"/>
                  <a:gd name="connsiteY141" fmla="*/ 2303434 h 2563305"/>
                  <a:gd name="connsiteX142" fmla="*/ 1040193 w 2081801"/>
                  <a:gd name="connsiteY142" fmla="*/ 2303434 h 2563305"/>
                  <a:gd name="connsiteX143" fmla="*/ 1113835 w 2081801"/>
                  <a:gd name="connsiteY143" fmla="*/ 2185891 h 2563305"/>
                  <a:gd name="connsiteX144" fmla="*/ 1174731 w 2081801"/>
                  <a:gd name="connsiteY144" fmla="*/ 2174561 h 2563305"/>
                  <a:gd name="connsiteX145" fmla="*/ 1136494 w 2081801"/>
                  <a:gd name="connsiteY145" fmla="*/ 2316180 h 2563305"/>
                  <a:gd name="connsiteX146" fmla="*/ 1048690 w 2081801"/>
                  <a:gd name="connsiteY146" fmla="*/ 2302018 h 2563305"/>
                  <a:gd name="connsiteX147" fmla="*/ 1047274 w 2081801"/>
                  <a:gd name="connsiteY147" fmla="*/ 2302018 h 2563305"/>
                  <a:gd name="connsiteX148" fmla="*/ 1129413 w 2081801"/>
                  <a:gd name="connsiteY148" fmla="*/ 2344504 h 2563305"/>
                  <a:gd name="connsiteX149" fmla="*/ 1102505 w 2081801"/>
                  <a:gd name="connsiteY149" fmla="*/ 2446470 h 2563305"/>
                  <a:gd name="connsiteX150" fmla="*/ 1102505 w 2081801"/>
                  <a:gd name="connsiteY150" fmla="*/ 2446470 h 2563305"/>
                  <a:gd name="connsiteX151" fmla="*/ 1224298 w 2081801"/>
                  <a:gd name="connsiteY151" fmla="*/ 2391238 h 2563305"/>
                  <a:gd name="connsiteX152" fmla="*/ 1307853 w 2081801"/>
                  <a:gd name="connsiteY152" fmla="*/ 2433724 h 2563305"/>
                  <a:gd name="connsiteX153" fmla="*/ 1163402 w 2081801"/>
                  <a:gd name="connsiteY153" fmla="*/ 2564013 h 2563305"/>
                  <a:gd name="connsiteX154" fmla="*/ 1163402 w 2081801"/>
                  <a:gd name="connsiteY154" fmla="*/ 2564013 h 2563305"/>
                  <a:gd name="connsiteX155" fmla="*/ 1164817 w 2081801"/>
                  <a:gd name="connsiteY155" fmla="*/ 2565430 h 2563305"/>
                  <a:gd name="connsiteX156" fmla="*/ 1310685 w 2081801"/>
                  <a:gd name="connsiteY156" fmla="*/ 2433724 h 2563305"/>
                  <a:gd name="connsiteX157" fmla="*/ 1310685 w 2081801"/>
                  <a:gd name="connsiteY157" fmla="*/ 2433724 h 2563305"/>
                  <a:gd name="connsiteX158" fmla="*/ 1225714 w 2081801"/>
                  <a:gd name="connsiteY158" fmla="*/ 2389822 h 2563305"/>
                  <a:gd name="connsiteX159" fmla="*/ 1319183 w 2081801"/>
                  <a:gd name="connsiteY159" fmla="*/ 2347336 h 2563305"/>
                  <a:gd name="connsiteX160" fmla="*/ 1387160 w 2081801"/>
                  <a:gd name="connsiteY160" fmla="*/ 2358666 h 2563305"/>
                  <a:gd name="connsiteX161" fmla="*/ 1387160 w 2081801"/>
                  <a:gd name="connsiteY161" fmla="*/ 2358666 h 2563305"/>
                  <a:gd name="connsiteX162" fmla="*/ 1414067 w 2081801"/>
                  <a:gd name="connsiteY162" fmla="*/ 2304851 h 2563305"/>
                  <a:gd name="connsiteX163" fmla="*/ 1525946 w 2081801"/>
                  <a:gd name="connsiteY163" fmla="*/ 2253868 h 2563305"/>
                  <a:gd name="connsiteX164" fmla="*/ 1525946 w 2081801"/>
                  <a:gd name="connsiteY164" fmla="*/ 2253868 h 2563305"/>
                  <a:gd name="connsiteX165" fmla="*/ 1525946 w 2081801"/>
                  <a:gd name="connsiteY165" fmla="*/ 2252451 h 2563305"/>
                  <a:gd name="connsiteX166" fmla="*/ 1525946 w 2081801"/>
                  <a:gd name="connsiteY166" fmla="*/ 2252451 h 2563305"/>
                  <a:gd name="connsiteX167" fmla="*/ 1432478 w 2081801"/>
                  <a:gd name="connsiteY167" fmla="*/ 2269446 h 2563305"/>
                  <a:gd name="connsiteX168" fmla="*/ 1490541 w 2081801"/>
                  <a:gd name="connsiteY168" fmla="*/ 2154734 h 2563305"/>
                  <a:gd name="connsiteX169" fmla="*/ 1595340 w 2081801"/>
                  <a:gd name="connsiteY169" fmla="*/ 2079676 h 2563305"/>
                  <a:gd name="connsiteX170" fmla="*/ 1595340 w 2081801"/>
                  <a:gd name="connsiteY170" fmla="*/ 2079676 h 2563305"/>
                  <a:gd name="connsiteX171" fmla="*/ 1540108 w 2081801"/>
                  <a:gd name="connsiteY171" fmla="*/ 2055601 h 2563305"/>
                  <a:gd name="connsiteX172" fmla="*/ 1660484 w 2081801"/>
                  <a:gd name="connsiteY172" fmla="*/ 1816265 h 2563305"/>
                  <a:gd name="connsiteX173" fmla="*/ 1670398 w 2081801"/>
                  <a:gd name="connsiteY173" fmla="*/ 1823346 h 2563305"/>
                  <a:gd name="connsiteX174" fmla="*/ 1853087 w 2081801"/>
                  <a:gd name="connsiteY174" fmla="*/ 2194388 h 2563305"/>
                  <a:gd name="connsiteX175" fmla="*/ 1853087 w 2081801"/>
                  <a:gd name="connsiteY175" fmla="*/ 2194388 h 2563305"/>
                  <a:gd name="connsiteX176" fmla="*/ 1906902 w 2081801"/>
                  <a:gd name="connsiteY176" fmla="*/ 2007451 h 2563305"/>
                  <a:gd name="connsiteX177" fmla="*/ 1915399 w 2081801"/>
                  <a:gd name="connsiteY177" fmla="*/ 2137740 h 2563305"/>
                  <a:gd name="connsiteX178" fmla="*/ 1894156 w 2081801"/>
                  <a:gd name="connsiteY178" fmla="*/ 2194388 h 2563305"/>
                  <a:gd name="connsiteX179" fmla="*/ 1894156 w 2081801"/>
                  <a:gd name="connsiteY179" fmla="*/ 2195804 h 2563305"/>
                  <a:gd name="connsiteX180" fmla="*/ 1918231 w 2081801"/>
                  <a:gd name="connsiteY180" fmla="*/ 2167480 h 2563305"/>
                  <a:gd name="connsiteX181" fmla="*/ 1923896 w 2081801"/>
                  <a:gd name="connsiteY181" fmla="*/ 2260949 h 2563305"/>
                  <a:gd name="connsiteX182" fmla="*/ 1923896 w 2081801"/>
                  <a:gd name="connsiteY182" fmla="*/ 2262365 h 2563305"/>
                  <a:gd name="connsiteX183" fmla="*/ 1987625 w 2081801"/>
                  <a:gd name="connsiteY183" fmla="*/ 2081092 h 2563305"/>
                  <a:gd name="connsiteX184" fmla="*/ 1987625 w 2081801"/>
                  <a:gd name="connsiteY184" fmla="*/ 2079676 h 2563305"/>
                  <a:gd name="connsiteX185" fmla="*/ 1919648 w 2081801"/>
                  <a:gd name="connsiteY185" fmla="*/ 2161815 h 2563305"/>
                  <a:gd name="connsiteX186" fmla="*/ 1918231 w 2081801"/>
                  <a:gd name="connsiteY186" fmla="*/ 2139156 h 2563305"/>
                  <a:gd name="connsiteX187" fmla="*/ 2021613 w 2081801"/>
                  <a:gd name="connsiteY187" fmla="*/ 1872912 h 2563305"/>
                  <a:gd name="connsiteX188" fmla="*/ 2021613 w 2081801"/>
                  <a:gd name="connsiteY188" fmla="*/ 1871496 h 2563305"/>
                  <a:gd name="connsiteX189" fmla="*/ 1908318 w 2081801"/>
                  <a:gd name="connsiteY189" fmla="*/ 1991872 h 2563305"/>
                  <a:gd name="connsiteX190" fmla="*/ 1673231 w 2081801"/>
                  <a:gd name="connsiteY190" fmla="*/ 1821929 h 2563305"/>
                  <a:gd name="connsiteX191" fmla="*/ 1664733 w 2081801"/>
                  <a:gd name="connsiteY191" fmla="*/ 1803519 h 2563305"/>
                  <a:gd name="connsiteX192" fmla="*/ 1684560 w 2081801"/>
                  <a:gd name="connsiteY192" fmla="*/ 1678894 h 2563305"/>
                  <a:gd name="connsiteX193" fmla="*/ 1684560 w 2081801"/>
                  <a:gd name="connsiteY193" fmla="*/ 1678894 h 2563305"/>
                  <a:gd name="connsiteX194" fmla="*/ 1472131 w 2081801"/>
                  <a:gd name="connsiteY194" fmla="*/ 1804935 h 2563305"/>
                  <a:gd name="connsiteX195" fmla="*/ 1443807 w 2081801"/>
                  <a:gd name="connsiteY195" fmla="*/ 1702970 h 2563305"/>
                  <a:gd name="connsiteX196" fmla="*/ 1637826 w 2081801"/>
                  <a:gd name="connsiteY196" fmla="*/ 1592506 h 2563305"/>
                  <a:gd name="connsiteX197" fmla="*/ 1637826 w 2081801"/>
                  <a:gd name="connsiteY197" fmla="*/ 1592506 h 2563305"/>
                  <a:gd name="connsiteX198" fmla="*/ 1643490 w 2081801"/>
                  <a:gd name="connsiteY198" fmla="*/ 1537275 h 2563305"/>
                  <a:gd name="connsiteX199" fmla="*/ 1724213 w 2081801"/>
                  <a:gd name="connsiteY199" fmla="*/ 1561350 h 2563305"/>
                  <a:gd name="connsiteX200" fmla="*/ 1724213 w 2081801"/>
                  <a:gd name="connsiteY200" fmla="*/ 1561350 h 2563305"/>
                  <a:gd name="connsiteX201" fmla="*/ 1908318 w 2081801"/>
                  <a:gd name="connsiteY201" fmla="*/ 1348922 h 2563305"/>
                  <a:gd name="connsiteX202" fmla="*/ 1953636 w 2081801"/>
                  <a:gd name="connsiteY202" fmla="*/ 1331927 h 2563305"/>
                  <a:gd name="connsiteX203" fmla="*/ 1953636 w 2081801"/>
                  <a:gd name="connsiteY203" fmla="*/ 1331927 h 2563305"/>
                  <a:gd name="connsiteX204" fmla="*/ 1977712 w 2081801"/>
                  <a:gd name="connsiteY204" fmla="*/ 1269615 h 2563305"/>
                  <a:gd name="connsiteX205" fmla="*/ 2011700 w 2081801"/>
                  <a:gd name="connsiteY205" fmla="*/ 1231378 h 2563305"/>
                  <a:gd name="connsiteX206" fmla="*/ 2011700 w 2081801"/>
                  <a:gd name="connsiteY206" fmla="*/ 1231378 h 2563305"/>
                  <a:gd name="connsiteX207" fmla="*/ 1998955 w 2081801"/>
                  <a:gd name="connsiteY207" fmla="*/ 1217216 h 2563305"/>
                  <a:gd name="connsiteX208" fmla="*/ 2072596 w 2081801"/>
                  <a:gd name="connsiteY208" fmla="*/ 1026030 h 2563305"/>
                  <a:gd name="connsiteX209" fmla="*/ 2072596 w 2081801"/>
                  <a:gd name="connsiteY209" fmla="*/ 1026030 h 2563305"/>
                  <a:gd name="connsiteX210" fmla="*/ 1861584 w 2081801"/>
                  <a:gd name="connsiteY210" fmla="*/ 1065684 h 2563305"/>
                  <a:gd name="connsiteX211" fmla="*/ 1861584 w 2081801"/>
                  <a:gd name="connsiteY211" fmla="*/ 1065684 h 2563305"/>
                  <a:gd name="connsiteX212" fmla="*/ 2008868 w 2081801"/>
                  <a:gd name="connsiteY212" fmla="*/ 1227129 h 2563305"/>
                  <a:gd name="connsiteX213" fmla="*/ 1980544 w 2081801"/>
                  <a:gd name="connsiteY213" fmla="*/ 1261118 h 2563305"/>
                  <a:gd name="connsiteX214" fmla="*/ 1997538 w 2081801"/>
                  <a:gd name="connsiteY214" fmla="*/ 1215800 h 2563305"/>
                  <a:gd name="connsiteX215" fmla="*/ 2008868 w 2081801"/>
                  <a:gd name="connsiteY215" fmla="*/ 1227129 h 2563305"/>
                  <a:gd name="connsiteX216" fmla="*/ 2068348 w 2081801"/>
                  <a:gd name="connsiteY216" fmla="*/ 1024614 h 2563305"/>
                  <a:gd name="connsiteX217" fmla="*/ 1996122 w 2081801"/>
                  <a:gd name="connsiteY217" fmla="*/ 1211551 h 2563305"/>
                  <a:gd name="connsiteX218" fmla="*/ 1864416 w 2081801"/>
                  <a:gd name="connsiteY218" fmla="*/ 1067100 h 2563305"/>
                  <a:gd name="connsiteX219" fmla="*/ 2068348 w 2081801"/>
                  <a:gd name="connsiteY219" fmla="*/ 1024614 h 2563305"/>
                  <a:gd name="connsiteX220" fmla="*/ 1973463 w 2081801"/>
                  <a:gd name="connsiteY220" fmla="*/ 1271031 h 2563305"/>
                  <a:gd name="connsiteX221" fmla="*/ 1952220 w 2081801"/>
                  <a:gd name="connsiteY221" fmla="*/ 1327679 h 2563305"/>
                  <a:gd name="connsiteX222" fmla="*/ 1911150 w 2081801"/>
                  <a:gd name="connsiteY222" fmla="*/ 1343257 h 2563305"/>
                  <a:gd name="connsiteX223" fmla="*/ 1973463 w 2081801"/>
                  <a:gd name="connsiteY223" fmla="*/ 1271031 h 2563305"/>
                  <a:gd name="connsiteX224" fmla="*/ 1324847 w 2081801"/>
                  <a:gd name="connsiteY224" fmla="*/ 2343088 h 2563305"/>
                  <a:gd name="connsiteX225" fmla="*/ 1414067 w 2081801"/>
                  <a:gd name="connsiteY225" fmla="*/ 2303434 h 2563305"/>
                  <a:gd name="connsiteX226" fmla="*/ 1388576 w 2081801"/>
                  <a:gd name="connsiteY226" fmla="*/ 2354417 h 2563305"/>
                  <a:gd name="connsiteX227" fmla="*/ 1324847 w 2081801"/>
                  <a:gd name="connsiteY227" fmla="*/ 2343088 h 2563305"/>
                  <a:gd name="connsiteX228" fmla="*/ 99842 w 2081801"/>
                  <a:gd name="connsiteY228" fmla="*/ 1091175 h 2563305"/>
                  <a:gd name="connsiteX229" fmla="*/ 302357 w 2081801"/>
                  <a:gd name="connsiteY229" fmla="*/ 1152071 h 2563305"/>
                  <a:gd name="connsiteX230" fmla="*/ 266952 w 2081801"/>
                  <a:gd name="connsiteY230" fmla="*/ 1289442 h 2563305"/>
                  <a:gd name="connsiteX231" fmla="*/ 99842 w 2081801"/>
                  <a:gd name="connsiteY231" fmla="*/ 1091175 h 2563305"/>
                  <a:gd name="connsiteX232" fmla="*/ 1395657 w 2081801"/>
                  <a:gd name="connsiteY232" fmla="*/ 462386 h 2563305"/>
                  <a:gd name="connsiteX233" fmla="*/ 1472131 w 2081801"/>
                  <a:gd name="connsiteY233" fmla="*/ 224466 h 2563305"/>
                  <a:gd name="connsiteX234" fmla="*/ 1448056 w 2081801"/>
                  <a:gd name="connsiteY234" fmla="*/ 475132 h 2563305"/>
                  <a:gd name="connsiteX235" fmla="*/ 1395657 w 2081801"/>
                  <a:gd name="connsiteY235" fmla="*/ 462386 h 2563305"/>
                  <a:gd name="connsiteX236" fmla="*/ 1317766 w 2081801"/>
                  <a:gd name="connsiteY236" fmla="*/ 2343088 h 2563305"/>
                  <a:gd name="connsiteX237" fmla="*/ 1225714 w 2081801"/>
                  <a:gd name="connsiteY237" fmla="*/ 2384157 h 2563305"/>
                  <a:gd name="connsiteX238" fmla="*/ 1133662 w 2081801"/>
                  <a:gd name="connsiteY238" fmla="*/ 2337423 h 2563305"/>
                  <a:gd name="connsiteX239" fmla="*/ 1139326 w 2081801"/>
                  <a:gd name="connsiteY239" fmla="*/ 2313348 h 2563305"/>
                  <a:gd name="connsiteX240" fmla="*/ 1317766 w 2081801"/>
                  <a:gd name="connsiteY240" fmla="*/ 2343088 h 2563305"/>
                  <a:gd name="connsiteX241" fmla="*/ 1095424 w 2081801"/>
                  <a:gd name="connsiteY241" fmla="*/ 2184474 h 2563305"/>
                  <a:gd name="connsiteX242" fmla="*/ 1095424 w 2081801"/>
                  <a:gd name="connsiteY242" fmla="*/ 2184474 h 2563305"/>
                  <a:gd name="connsiteX243" fmla="*/ 1112419 w 2081801"/>
                  <a:gd name="connsiteY243" fmla="*/ 2181642 h 2563305"/>
                  <a:gd name="connsiteX244" fmla="*/ 1043025 w 2081801"/>
                  <a:gd name="connsiteY244" fmla="*/ 2292105 h 2563305"/>
                  <a:gd name="connsiteX245" fmla="*/ 1014701 w 2081801"/>
                  <a:gd name="connsiteY245" fmla="*/ 2040023 h 2563305"/>
                  <a:gd name="connsiteX246" fmla="*/ 1095424 w 2081801"/>
                  <a:gd name="connsiteY246" fmla="*/ 2184474 h 2563305"/>
                  <a:gd name="connsiteX247" fmla="*/ 418485 w 2081801"/>
                  <a:gd name="connsiteY247" fmla="*/ 1102504 h 2563305"/>
                  <a:gd name="connsiteX248" fmla="*/ 390161 w 2081801"/>
                  <a:gd name="connsiteY248" fmla="*/ 1177563 h 2563305"/>
                  <a:gd name="connsiteX249" fmla="*/ 305190 w 2081801"/>
                  <a:gd name="connsiteY249" fmla="*/ 1152071 h 2563305"/>
                  <a:gd name="connsiteX250" fmla="*/ 323600 w 2081801"/>
                  <a:gd name="connsiteY250" fmla="*/ 1079846 h 2563305"/>
                  <a:gd name="connsiteX251" fmla="*/ 418485 w 2081801"/>
                  <a:gd name="connsiteY251" fmla="*/ 1102504 h 2563305"/>
                  <a:gd name="connsiteX252" fmla="*/ 357588 w 2081801"/>
                  <a:gd name="connsiteY252" fmla="*/ 1269615 h 2563305"/>
                  <a:gd name="connsiteX253" fmla="*/ 391577 w 2081801"/>
                  <a:gd name="connsiteY253" fmla="*/ 1178979 h 2563305"/>
                  <a:gd name="connsiteX254" fmla="*/ 528948 w 2081801"/>
                  <a:gd name="connsiteY254" fmla="*/ 1220048 h 2563305"/>
                  <a:gd name="connsiteX255" fmla="*/ 357588 w 2081801"/>
                  <a:gd name="connsiteY255" fmla="*/ 1269615 h 2563305"/>
                  <a:gd name="connsiteX256" fmla="*/ 94177 w 2081801"/>
                  <a:gd name="connsiteY256" fmla="*/ 1086927 h 2563305"/>
                  <a:gd name="connsiteX257" fmla="*/ 85680 w 2081801"/>
                  <a:gd name="connsiteY257" fmla="*/ 1084094 h 2563305"/>
                  <a:gd name="connsiteX258" fmla="*/ 87096 w 2081801"/>
                  <a:gd name="connsiteY258" fmla="*/ 1077013 h 2563305"/>
                  <a:gd name="connsiteX259" fmla="*/ 94177 w 2081801"/>
                  <a:gd name="connsiteY259" fmla="*/ 1086927 h 2563305"/>
                  <a:gd name="connsiteX260" fmla="*/ 108339 w 2081801"/>
                  <a:gd name="connsiteY260" fmla="*/ 605422 h 2563305"/>
                  <a:gd name="connsiteX261" fmla="*/ 115420 w 2081801"/>
                  <a:gd name="connsiteY261" fmla="*/ 592676 h 2563305"/>
                  <a:gd name="connsiteX262" fmla="*/ 125333 w 2081801"/>
                  <a:gd name="connsiteY262" fmla="*/ 609670 h 2563305"/>
                  <a:gd name="connsiteX263" fmla="*/ 108339 w 2081801"/>
                  <a:gd name="connsiteY263" fmla="*/ 605422 h 2563305"/>
                  <a:gd name="connsiteX264" fmla="*/ 1303604 w 2081801"/>
                  <a:gd name="connsiteY264" fmla="*/ 530363 h 2563305"/>
                  <a:gd name="connsiteX265" fmla="*/ 1306437 w 2081801"/>
                  <a:gd name="connsiteY265" fmla="*/ 445392 h 2563305"/>
                  <a:gd name="connsiteX266" fmla="*/ 1339009 w 2081801"/>
                  <a:gd name="connsiteY266" fmla="*/ 452473 h 2563305"/>
                  <a:gd name="connsiteX267" fmla="*/ 1346090 w 2081801"/>
                  <a:gd name="connsiteY267" fmla="*/ 511953 h 2563305"/>
                  <a:gd name="connsiteX268" fmla="*/ 1303604 w 2081801"/>
                  <a:gd name="connsiteY268" fmla="*/ 530363 h 2563305"/>
                  <a:gd name="connsiteX269" fmla="*/ 1664733 w 2081801"/>
                  <a:gd name="connsiteY269" fmla="*/ 1800687 h 2563305"/>
                  <a:gd name="connsiteX270" fmla="*/ 1664733 w 2081801"/>
                  <a:gd name="connsiteY270" fmla="*/ 1800687 h 2563305"/>
                  <a:gd name="connsiteX271" fmla="*/ 1671814 w 2081801"/>
                  <a:gd name="connsiteY271" fmla="*/ 1816265 h 2563305"/>
                  <a:gd name="connsiteX272" fmla="*/ 1663317 w 2081801"/>
                  <a:gd name="connsiteY272" fmla="*/ 1809184 h 2563305"/>
                  <a:gd name="connsiteX273" fmla="*/ 1663317 w 2081801"/>
                  <a:gd name="connsiteY273" fmla="*/ 1809184 h 2563305"/>
                  <a:gd name="connsiteX274" fmla="*/ 1541524 w 2081801"/>
                  <a:gd name="connsiteY274" fmla="*/ 2051353 h 2563305"/>
                  <a:gd name="connsiteX275" fmla="*/ 1446640 w 2081801"/>
                  <a:gd name="connsiteY275" fmla="*/ 2010283 h 2563305"/>
                  <a:gd name="connsiteX276" fmla="*/ 1496207 w 2081801"/>
                  <a:gd name="connsiteY276" fmla="*/ 1898404 h 2563305"/>
                  <a:gd name="connsiteX277" fmla="*/ 1496207 w 2081801"/>
                  <a:gd name="connsiteY277" fmla="*/ 1898404 h 2563305"/>
                  <a:gd name="connsiteX278" fmla="*/ 1487709 w 2081801"/>
                  <a:gd name="connsiteY278" fmla="*/ 1898404 h 2563305"/>
                  <a:gd name="connsiteX279" fmla="*/ 1499039 w 2081801"/>
                  <a:gd name="connsiteY279" fmla="*/ 1889906 h 2563305"/>
                  <a:gd name="connsiteX280" fmla="*/ 1499039 w 2081801"/>
                  <a:gd name="connsiteY280" fmla="*/ 1889906 h 2563305"/>
                  <a:gd name="connsiteX281" fmla="*/ 1474964 w 2081801"/>
                  <a:gd name="connsiteY281" fmla="*/ 1804935 h 2563305"/>
                  <a:gd name="connsiteX282" fmla="*/ 1684560 w 2081801"/>
                  <a:gd name="connsiteY282" fmla="*/ 1680310 h 2563305"/>
                  <a:gd name="connsiteX283" fmla="*/ 1664733 w 2081801"/>
                  <a:gd name="connsiteY283" fmla="*/ 1800687 h 2563305"/>
                  <a:gd name="connsiteX284" fmla="*/ 1292275 w 2081801"/>
                  <a:gd name="connsiteY284" fmla="*/ 2292105 h 2563305"/>
                  <a:gd name="connsiteX285" fmla="*/ 1292275 w 2081801"/>
                  <a:gd name="connsiteY285" fmla="*/ 2292105 h 2563305"/>
                  <a:gd name="connsiteX286" fmla="*/ 1431062 w 2081801"/>
                  <a:gd name="connsiteY286" fmla="*/ 2268030 h 2563305"/>
                  <a:gd name="connsiteX287" fmla="*/ 1415484 w 2081801"/>
                  <a:gd name="connsiteY287" fmla="*/ 2299186 h 2563305"/>
                  <a:gd name="connsiteX288" fmla="*/ 1320599 w 2081801"/>
                  <a:gd name="connsiteY288" fmla="*/ 2341672 h 2563305"/>
                  <a:gd name="connsiteX289" fmla="*/ 1139326 w 2081801"/>
                  <a:gd name="connsiteY289" fmla="*/ 2311932 h 2563305"/>
                  <a:gd name="connsiteX290" fmla="*/ 1177564 w 2081801"/>
                  <a:gd name="connsiteY290" fmla="*/ 2167480 h 2563305"/>
                  <a:gd name="connsiteX291" fmla="*/ 1177564 w 2081801"/>
                  <a:gd name="connsiteY291" fmla="*/ 2167480 h 2563305"/>
                  <a:gd name="connsiteX292" fmla="*/ 1115251 w 2081801"/>
                  <a:gd name="connsiteY292" fmla="*/ 2178810 h 2563305"/>
                  <a:gd name="connsiteX293" fmla="*/ 1163402 w 2081801"/>
                  <a:gd name="connsiteY293" fmla="*/ 2102335 h 2563305"/>
                  <a:gd name="connsiteX294" fmla="*/ 1170483 w 2081801"/>
                  <a:gd name="connsiteY294" fmla="*/ 2124994 h 2563305"/>
                  <a:gd name="connsiteX295" fmla="*/ 1166234 w 2081801"/>
                  <a:gd name="connsiteY295" fmla="*/ 2160399 h 2563305"/>
                  <a:gd name="connsiteX296" fmla="*/ 1166234 w 2081801"/>
                  <a:gd name="connsiteY296" fmla="*/ 2160399 h 2563305"/>
                  <a:gd name="connsiteX297" fmla="*/ 1178979 w 2081801"/>
                  <a:gd name="connsiteY297" fmla="*/ 2150486 h 2563305"/>
                  <a:gd name="connsiteX298" fmla="*/ 1181812 w 2081801"/>
                  <a:gd name="connsiteY298" fmla="*/ 2158983 h 2563305"/>
                  <a:gd name="connsiteX299" fmla="*/ 1181812 w 2081801"/>
                  <a:gd name="connsiteY299" fmla="*/ 2158983 h 2563305"/>
                  <a:gd name="connsiteX300" fmla="*/ 1323431 w 2081801"/>
                  <a:gd name="connsiteY300" fmla="*/ 2130659 h 2563305"/>
                  <a:gd name="connsiteX301" fmla="*/ 1323431 w 2081801"/>
                  <a:gd name="connsiteY301" fmla="*/ 2130659 h 2563305"/>
                  <a:gd name="connsiteX302" fmla="*/ 1255454 w 2081801"/>
                  <a:gd name="connsiteY302" fmla="*/ 2086757 h 2563305"/>
                  <a:gd name="connsiteX303" fmla="*/ 1483461 w 2081801"/>
                  <a:gd name="connsiteY303" fmla="*/ 1898404 h 2563305"/>
                  <a:gd name="connsiteX304" fmla="*/ 1490541 w 2081801"/>
                  <a:gd name="connsiteY304" fmla="*/ 1898404 h 2563305"/>
                  <a:gd name="connsiteX305" fmla="*/ 1442391 w 2081801"/>
                  <a:gd name="connsiteY305" fmla="*/ 2010283 h 2563305"/>
                  <a:gd name="connsiteX306" fmla="*/ 1442391 w 2081801"/>
                  <a:gd name="connsiteY306" fmla="*/ 2010283 h 2563305"/>
                  <a:gd name="connsiteX307" fmla="*/ 1540108 w 2081801"/>
                  <a:gd name="connsiteY307" fmla="*/ 2051353 h 2563305"/>
                  <a:gd name="connsiteX308" fmla="*/ 1490541 w 2081801"/>
                  <a:gd name="connsiteY308" fmla="*/ 2149070 h 2563305"/>
                  <a:gd name="connsiteX309" fmla="*/ 1292275 w 2081801"/>
                  <a:gd name="connsiteY309" fmla="*/ 2292105 h 2563305"/>
                  <a:gd name="connsiteX310" fmla="*/ 1096840 w 2081801"/>
                  <a:gd name="connsiteY310" fmla="*/ 2183058 h 2563305"/>
                  <a:gd name="connsiteX311" fmla="*/ 1013285 w 2081801"/>
                  <a:gd name="connsiteY311" fmla="*/ 2035774 h 2563305"/>
                  <a:gd name="connsiteX312" fmla="*/ 1013285 w 2081801"/>
                  <a:gd name="connsiteY312" fmla="*/ 2035774 h 2563305"/>
                  <a:gd name="connsiteX313" fmla="*/ 984961 w 2081801"/>
                  <a:gd name="connsiteY313" fmla="*/ 1793606 h 2563305"/>
                  <a:gd name="connsiteX314" fmla="*/ 1004788 w 2081801"/>
                  <a:gd name="connsiteY314" fmla="*/ 1755368 h 2563305"/>
                  <a:gd name="connsiteX315" fmla="*/ 1004788 w 2081801"/>
                  <a:gd name="connsiteY315" fmla="*/ 1753952 h 2563305"/>
                  <a:gd name="connsiteX316" fmla="*/ 979297 w 2081801"/>
                  <a:gd name="connsiteY316" fmla="*/ 1749704 h 2563305"/>
                  <a:gd name="connsiteX317" fmla="*/ 973632 w 2081801"/>
                  <a:gd name="connsiteY317" fmla="*/ 1701553 h 2563305"/>
                  <a:gd name="connsiteX318" fmla="*/ 1044441 w 2081801"/>
                  <a:gd name="connsiteY318" fmla="*/ 1674646 h 2563305"/>
                  <a:gd name="connsiteX319" fmla="*/ 1218633 w 2081801"/>
                  <a:gd name="connsiteY319" fmla="*/ 1663316 h 2563305"/>
                  <a:gd name="connsiteX320" fmla="*/ 1210136 w 2081801"/>
                  <a:gd name="connsiteY320" fmla="*/ 1751120 h 2563305"/>
                  <a:gd name="connsiteX321" fmla="*/ 1055771 w 2081801"/>
                  <a:gd name="connsiteY321" fmla="*/ 1770946 h 2563305"/>
                  <a:gd name="connsiteX322" fmla="*/ 1055771 w 2081801"/>
                  <a:gd name="connsiteY322" fmla="*/ 1770946 h 2563305"/>
                  <a:gd name="connsiteX323" fmla="*/ 1106754 w 2081801"/>
                  <a:gd name="connsiteY323" fmla="*/ 1925311 h 2563305"/>
                  <a:gd name="connsiteX324" fmla="*/ 1010453 w 2081801"/>
                  <a:gd name="connsiteY324" fmla="*/ 1932392 h 2563305"/>
                  <a:gd name="connsiteX325" fmla="*/ 1010453 w 2081801"/>
                  <a:gd name="connsiteY325" fmla="*/ 1932392 h 2563305"/>
                  <a:gd name="connsiteX326" fmla="*/ 1136494 w 2081801"/>
                  <a:gd name="connsiteY326" fmla="*/ 2013115 h 2563305"/>
                  <a:gd name="connsiteX327" fmla="*/ 1164817 w 2081801"/>
                  <a:gd name="connsiteY327" fmla="*/ 2100919 h 2563305"/>
                  <a:gd name="connsiteX328" fmla="*/ 1115251 w 2081801"/>
                  <a:gd name="connsiteY328" fmla="*/ 2180226 h 2563305"/>
                  <a:gd name="connsiteX329" fmla="*/ 1096840 w 2081801"/>
                  <a:gd name="connsiteY329" fmla="*/ 2183058 h 2563305"/>
                  <a:gd name="connsiteX330" fmla="*/ 114004 w 2081801"/>
                  <a:gd name="connsiteY330" fmla="*/ 589843 h 2563305"/>
                  <a:gd name="connsiteX331" fmla="*/ 104090 w 2081801"/>
                  <a:gd name="connsiteY331" fmla="*/ 606838 h 2563305"/>
                  <a:gd name="connsiteX332" fmla="*/ 125333 w 2081801"/>
                  <a:gd name="connsiteY332" fmla="*/ 611086 h 2563305"/>
                  <a:gd name="connsiteX333" fmla="*/ 109755 w 2081801"/>
                  <a:gd name="connsiteY333" fmla="*/ 662069 h 2563305"/>
                  <a:gd name="connsiteX334" fmla="*/ 101258 w 2081801"/>
                  <a:gd name="connsiteY334" fmla="*/ 667734 h 2563305"/>
                  <a:gd name="connsiteX335" fmla="*/ 58772 w 2081801"/>
                  <a:gd name="connsiteY335" fmla="*/ 493542 h 2563305"/>
                  <a:gd name="connsiteX336" fmla="*/ 114004 w 2081801"/>
                  <a:gd name="connsiteY336" fmla="*/ 589843 h 2563305"/>
                  <a:gd name="connsiteX337" fmla="*/ 225883 w 2081801"/>
                  <a:gd name="connsiteY337" fmla="*/ 632329 h 2563305"/>
                  <a:gd name="connsiteX338" fmla="*/ 181981 w 2081801"/>
                  <a:gd name="connsiteY338" fmla="*/ 622416 h 2563305"/>
                  <a:gd name="connsiteX339" fmla="*/ 252790 w 2081801"/>
                  <a:gd name="connsiteY339" fmla="*/ 579930 h 2563305"/>
                  <a:gd name="connsiteX340" fmla="*/ 259871 w 2081801"/>
                  <a:gd name="connsiteY340" fmla="*/ 591260 h 2563305"/>
                  <a:gd name="connsiteX341" fmla="*/ 225883 w 2081801"/>
                  <a:gd name="connsiteY341" fmla="*/ 632329 h 2563305"/>
                  <a:gd name="connsiteX342" fmla="*/ 640827 w 2081801"/>
                  <a:gd name="connsiteY342" fmla="*/ 156489 h 2563305"/>
                  <a:gd name="connsiteX343" fmla="*/ 657821 w 2081801"/>
                  <a:gd name="connsiteY343" fmla="*/ 143743 h 2563305"/>
                  <a:gd name="connsiteX344" fmla="*/ 914152 w 2081801"/>
                  <a:gd name="connsiteY344" fmla="*/ 200391 h 2563305"/>
                  <a:gd name="connsiteX345" fmla="*/ 781030 w 2081801"/>
                  <a:gd name="connsiteY345" fmla="*/ 201807 h 2563305"/>
                  <a:gd name="connsiteX346" fmla="*/ 640827 w 2081801"/>
                  <a:gd name="connsiteY346" fmla="*/ 156489 h 2563305"/>
                  <a:gd name="connsiteX347" fmla="*/ 884412 w 2081801"/>
                  <a:gd name="connsiteY347" fmla="*/ 351923 h 2563305"/>
                  <a:gd name="connsiteX348" fmla="*/ 1020366 w 2081801"/>
                  <a:gd name="connsiteY348" fmla="*/ 282530 h 2563305"/>
                  <a:gd name="connsiteX349" fmla="*/ 1201639 w 2081801"/>
                  <a:gd name="connsiteY349" fmla="*/ 340594 h 2563305"/>
                  <a:gd name="connsiteX350" fmla="*/ 1184644 w 2081801"/>
                  <a:gd name="connsiteY350" fmla="*/ 417068 h 2563305"/>
                  <a:gd name="connsiteX351" fmla="*/ 884412 w 2081801"/>
                  <a:gd name="connsiteY351" fmla="*/ 351923 h 2563305"/>
                  <a:gd name="connsiteX352" fmla="*/ 1493374 w 2081801"/>
                  <a:gd name="connsiteY352" fmla="*/ 1130828 h 2563305"/>
                  <a:gd name="connsiteX353" fmla="*/ 1562767 w 2081801"/>
                  <a:gd name="connsiteY353" fmla="*/ 1054354 h 2563305"/>
                  <a:gd name="connsiteX354" fmla="*/ 1659069 w 2081801"/>
                  <a:gd name="connsiteY354" fmla="*/ 1101088 h 2563305"/>
                  <a:gd name="connsiteX355" fmla="*/ 1605253 w 2081801"/>
                  <a:gd name="connsiteY355" fmla="*/ 1120915 h 2563305"/>
                  <a:gd name="connsiteX356" fmla="*/ 1493374 w 2081801"/>
                  <a:gd name="connsiteY356" fmla="*/ 1130828 h 2563305"/>
                  <a:gd name="connsiteX357" fmla="*/ 1513201 w 2081801"/>
                  <a:gd name="connsiteY357" fmla="*/ 1494789 h 2563305"/>
                  <a:gd name="connsiteX358" fmla="*/ 1501871 w 2081801"/>
                  <a:gd name="connsiteY358" fmla="*/ 1491957 h 2563305"/>
                  <a:gd name="connsiteX359" fmla="*/ 1659069 w 2081801"/>
                  <a:gd name="connsiteY359" fmla="*/ 1360251 h 2563305"/>
                  <a:gd name="connsiteX360" fmla="*/ 1650571 w 2081801"/>
                  <a:gd name="connsiteY360" fmla="*/ 1442390 h 2563305"/>
                  <a:gd name="connsiteX361" fmla="*/ 1513201 w 2081801"/>
                  <a:gd name="connsiteY361" fmla="*/ 1494789 h 2563305"/>
                  <a:gd name="connsiteX362" fmla="*/ 960886 w 2081801"/>
                  <a:gd name="connsiteY362" fmla="*/ 1336176 h 2563305"/>
                  <a:gd name="connsiteX363" fmla="*/ 989210 w 2081801"/>
                  <a:gd name="connsiteY363" fmla="*/ 1344673 h 2563305"/>
                  <a:gd name="connsiteX364" fmla="*/ 982129 w 2081801"/>
                  <a:gd name="connsiteY364" fmla="*/ 1364500 h 2563305"/>
                  <a:gd name="connsiteX365" fmla="*/ 959470 w 2081801"/>
                  <a:gd name="connsiteY365" fmla="*/ 1337592 h 2563305"/>
                  <a:gd name="connsiteX366" fmla="*/ 960886 w 2081801"/>
                  <a:gd name="connsiteY366" fmla="*/ 1336176 h 2563305"/>
                  <a:gd name="connsiteX367" fmla="*/ 945308 w 2081801"/>
                  <a:gd name="connsiteY367" fmla="*/ 1329095 h 2563305"/>
                  <a:gd name="connsiteX368" fmla="*/ 945308 w 2081801"/>
                  <a:gd name="connsiteY368" fmla="*/ 1323430 h 2563305"/>
                  <a:gd name="connsiteX369" fmla="*/ 950973 w 2081801"/>
                  <a:gd name="connsiteY369" fmla="*/ 1330511 h 2563305"/>
                  <a:gd name="connsiteX370" fmla="*/ 945308 w 2081801"/>
                  <a:gd name="connsiteY370" fmla="*/ 1329095 h 2563305"/>
                  <a:gd name="connsiteX371" fmla="*/ 114004 w 2081801"/>
                  <a:gd name="connsiteY371" fmla="*/ 660653 h 2563305"/>
                  <a:gd name="connsiteX372" fmla="*/ 128166 w 2081801"/>
                  <a:gd name="connsiteY372" fmla="*/ 613919 h 2563305"/>
                  <a:gd name="connsiteX373" fmla="*/ 145160 w 2081801"/>
                  <a:gd name="connsiteY373" fmla="*/ 642242 h 2563305"/>
                  <a:gd name="connsiteX374" fmla="*/ 114004 w 2081801"/>
                  <a:gd name="connsiteY374" fmla="*/ 660653 h 2563305"/>
                  <a:gd name="connsiteX375" fmla="*/ 180564 w 2081801"/>
                  <a:gd name="connsiteY375" fmla="*/ 621000 h 2563305"/>
                  <a:gd name="connsiteX376" fmla="*/ 167819 w 2081801"/>
                  <a:gd name="connsiteY376" fmla="*/ 618167 h 2563305"/>
                  <a:gd name="connsiteX377" fmla="*/ 191894 w 2081801"/>
                  <a:gd name="connsiteY377" fmla="*/ 482213 h 2563305"/>
                  <a:gd name="connsiteX378" fmla="*/ 252790 w 2081801"/>
                  <a:gd name="connsiteY378" fmla="*/ 578514 h 2563305"/>
                  <a:gd name="connsiteX379" fmla="*/ 180564 w 2081801"/>
                  <a:gd name="connsiteY379" fmla="*/ 621000 h 2563305"/>
                  <a:gd name="connsiteX380" fmla="*/ 507705 w 2081801"/>
                  <a:gd name="connsiteY380" fmla="*/ 660653 h 2563305"/>
                  <a:gd name="connsiteX381" fmla="*/ 524699 w 2081801"/>
                  <a:gd name="connsiteY381" fmla="*/ 698890 h 2563305"/>
                  <a:gd name="connsiteX382" fmla="*/ 516202 w 2081801"/>
                  <a:gd name="connsiteY382" fmla="*/ 697474 h 2563305"/>
                  <a:gd name="connsiteX383" fmla="*/ 492127 w 2081801"/>
                  <a:gd name="connsiteY383" fmla="*/ 664902 h 2563305"/>
                  <a:gd name="connsiteX384" fmla="*/ 507705 w 2081801"/>
                  <a:gd name="connsiteY384" fmla="*/ 660653 h 2563305"/>
                  <a:gd name="connsiteX385" fmla="*/ 489294 w 2081801"/>
                  <a:gd name="connsiteY385" fmla="*/ 266952 h 2563305"/>
                  <a:gd name="connsiteX386" fmla="*/ 443976 w 2081801"/>
                  <a:gd name="connsiteY386" fmla="*/ 300941 h 2563305"/>
                  <a:gd name="connsiteX387" fmla="*/ 363253 w 2081801"/>
                  <a:gd name="connsiteY387" fmla="*/ 240044 h 2563305"/>
                  <a:gd name="connsiteX388" fmla="*/ 489294 w 2081801"/>
                  <a:gd name="connsiteY388" fmla="*/ 266952 h 2563305"/>
                  <a:gd name="connsiteX389" fmla="*/ 643659 w 2081801"/>
                  <a:gd name="connsiteY389" fmla="*/ 223050 h 2563305"/>
                  <a:gd name="connsiteX390" fmla="*/ 626665 w 2081801"/>
                  <a:gd name="connsiteY390" fmla="*/ 206056 h 2563305"/>
                  <a:gd name="connsiteX391" fmla="*/ 781030 w 2081801"/>
                  <a:gd name="connsiteY391" fmla="*/ 204640 h 2563305"/>
                  <a:gd name="connsiteX392" fmla="*/ 950973 w 2081801"/>
                  <a:gd name="connsiteY392" fmla="*/ 259871 h 2563305"/>
                  <a:gd name="connsiteX393" fmla="*/ 643659 w 2081801"/>
                  <a:gd name="connsiteY393" fmla="*/ 223050 h 2563305"/>
                  <a:gd name="connsiteX394" fmla="*/ 642243 w 2081801"/>
                  <a:gd name="connsiteY394" fmla="*/ 224466 h 2563305"/>
                  <a:gd name="connsiteX395" fmla="*/ 739960 w 2081801"/>
                  <a:gd name="connsiteY395" fmla="*/ 319351 h 2563305"/>
                  <a:gd name="connsiteX396" fmla="*/ 493543 w 2081801"/>
                  <a:gd name="connsiteY396" fmla="*/ 265536 h 2563305"/>
                  <a:gd name="connsiteX397" fmla="*/ 561520 w 2081801"/>
                  <a:gd name="connsiteY397" fmla="*/ 214553 h 2563305"/>
                  <a:gd name="connsiteX398" fmla="*/ 642243 w 2081801"/>
                  <a:gd name="connsiteY398" fmla="*/ 224466 h 2563305"/>
                  <a:gd name="connsiteX399" fmla="*/ 1453721 w 2081801"/>
                  <a:gd name="connsiteY399" fmla="*/ 1174730 h 2563305"/>
                  <a:gd name="connsiteX400" fmla="*/ 1491958 w 2081801"/>
                  <a:gd name="connsiteY400" fmla="*/ 1132245 h 2563305"/>
                  <a:gd name="connsiteX401" fmla="*/ 1598172 w 2081801"/>
                  <a:gd name="connsiteY401" fmla="*/ 1122331 h 2563305"/>
                  <a:gd name="connsiteX402" fmla="*/ 1453721 w 2081801"/>
                  <a:gd name="connsiteY402" fmla="*/ 1174730 h 2563305"/>
                  <a:gd name="connsiteX403" fmla="*/ 1484877 w 2081801"/>
                  <a:gd name="connsiteY403" fmla="*/ 1504703 h 2563305"/>
                  <a:gd name="connsiteX404" fmla="*/ 1499039 w 2081801"/>
                  <a:gd name="connsiteY404" fmla="*/ 1491957 h 2563305"/>
                  <a:gd name="connsiteX405" fmla="*/ 1508952 w 2081801"/>
                  <a:gd name="connsiteY405" fmla="*/ 1494789 h 2563305"/>
                  <a:gd name="connsiteX406" fmla="*/ 1484877 w 2081801"/>
                  <a:gd name="connsiteY406" fmla="*/ 1504703 h 2563305"/>
                  <a:gd name="connsiteX407" fmla="*/ 1397073 w 2081801"/>
                  <a:gd name="connsiteY407" fmla="*/ 1727044 h 2563305"/>
                  <a:gd name="connsiteX408" fmla="*/ 1320599 w 2081801"/>
                  <a:gd name="connsiteY408" fmla="*/ 1848837 h 2563305"/>
                  <a:gd name="connsiteX409" fmla="*/ 1282362 w 2081801"/>
                  <a:gd name="connsiteY409" fmla="*/ 1744039 h 2563305"/>
                  <a:gd name="connsiteX410" fmla="*/ 1391408 w 2081801"/>
                  <a:gd name="connsiteY410" fmla="*/ 1729877 h 2563305"/>
                  <a:gd name="connsiteX411" fmla="*/ 1397073 w 2081801"/>
                  <a:gd name="connsiteY411" fmla="*/ 1727044 h 2563305"/>
                  <a:gd name="connsiteX412" fmla="*/ 1191725 w 2081801"/>
                  <a:gd name="connsiteY412" fmla="*/ 1921063 h 2563305"/>
                  <a:gd name="connsiteX413" fmla="*/ 1178979 w 2081801"/>
                  <a:gd name="connsiteY413" fmla="*/ 2038606 h 2563305"/>
                  <a:gd name="connsiteX414" fmla="*/ 1135078 w 2081801"/>
                  <a:gd name="connsiteY414" fmla="*/ 2010283 h 2563305"/>
                  <a:gd name="connsiteX415" fmla="*/ 1108170 w 2081801"/>
                  <a:gd name="connsiteY415" fmla="*/ 1926727 h 2563305"/>
                  <a:gd name="connsiteX416" fmla="*/ 1191725 w 2081801"/>
                  <a:gd name="connsiteY416" fmla="*/ 1921063 h 2563305"/>
                  <a:gd name="connsiteX417" fmla="*/ 1224298 w 2081801"/>
                  <a:gd name="connsiteY417" fmla="*/ 1606668 h 2563305"/>
                  <a:gd name="connsiteX418" fmla="*/ 1218633 w 2081801"/>
                  <a:gd name="connsiteY418" fmla="*/ 1661900 h 2563305"/>
                  <a:gd name="connsiteX419" fmla="*/ 1051522 w 2081801"/>
                  <a:gd name="connsiteY419" fmla="*/ 1673229 h 2563305"/>
                  <a:gd name="connsiteX420" fmla="*/ 1224298 w 2081801"/>
                  <a:gd name="connsiteY420" fmla="*/ 1606668 h 2563305"/>
                  <a:gd name="connsiteX421" fmla="*/ 1215800 w 2081801"/>
                  <a:gd name="connsiteY421" fmla="*/ 1565599 h 2563305"/>
                  <a:gd name="connsiteX422" fmla="*/ 1225714 w 2081801"/>
                  <a:gd name="connsiteY422" fmla="*/ 1593923 h 2563305"/>
                  <a:gd name="connsiteX423" fmla="*/ 1224298 w 2081801"/>
                  <a:gd name="connsiteY423" fmla="*/ 1603836 h 2563305"/>
                  <a:gd name="connsiteX424" fmla="*/ 1044441 w 2081801"/>
                  <a:gd name="connsiteY424" fmla="*/ 1671813 h 2563305"/>
                  <a:gd name="connsiteX425" fmla="*/ 999123 w 2081801"/>
                  <a:gd name="connsiteY425" fmla="*/ 1674646 h 2563305"/>
                  <a:gd name="connsiteX426" fmla="*/ 1112419 w 2081801"/>
                  <a:gd name="connsiteY426" fmla="*/ 1550021 h 2563305"/>
                  <a:gd name="connsiteX427" fmla="*/ 1215800 w 2081801"/>
                  <a:gd name="connsiteY427" fmla="*/ 1565599 h 2563305"/>
                  <a:gd name="connsiteX428" fmla="*/ 166402 w 2081801"/>
                  <a:gd name="connsiteY428" fmla="*/ 956637 h 2563305"/>
                  <a:gd name="connsiteX429" fmla="*/ 220218 w 2081801"/>
                  <a:gd name="connsiteY429" fmla="*/ 844758 h 2563305"/>
                  <a:gd name="connsiteX430" fmla="*/ 434063 w 2081801"/>
                  <a:gd name="connsiteY430" fmla="*/ 915567 h 2563305"/>
                  <a:gd name="connsiteX431" fmla="*/ 456722 w 2081801"/>
                  <a:gd name="connsiteY431" fmla="*/ 931145 h 2563305"/>
                  <a:gd name="connsiteX432" fmla="*/ 166402 w 2081801"/>
                  <a:gd name="connsiteY432" fmla="*/ 956637 h 2563305"/>
                  <a:gd name="connsiteX433" fmla="*/ 659237 w 2081801"/>
                  <a:gd name="connsiteY433" fmla="*/ 463803 h 2563305"/>
                  <a:gd name="connsiteX434" fmla="*/ 445392 w 2081801"/>
                  <a:gd name="connsiteY434" fmla="*/ 302357 h 2563305"/>
                  <a:gd name="connsiteX435" fmla="*/ 490711 w 2081801"/>
                  <a:gd name="connsiteY435" fmla="*/ 268368 h 2563305"/>
                  <a:gd name="connsiteX436" fmla="*/ 741376 w 2081801"/>
                  <a:gd name="connsiteY436" fmla="*/ 323599 h 2563305"/>
                  <a:gd name="connsiteX437" fmla="*/ 807937 w 2081801"/>
                  <a:gd name="connsiteY437" fmla="*/ 388744 h 2563305"/>
                  <a:gd name="connsiteX438" fmla="*/ 659237 w 2081801"/>
                  <a:gd name="connsiteY438" fmla="*/ 463803 h 2563305"/>
                  <a:gd name="connsiteX439" fmla="*/ 878747 w 2081801"/>
                  <a:gd name="connsiteY439" fmla="*/ 351923 h 2563305"/>
                  <a:gd name="connsiteX440" fmla="*/ 812186 w 2081801"/>
                  <a:gd name="connsiteY440" fmla="*/ 385912 h 2563305"/>
                  <a:gd name="connsiteX441" fmla="*/ 747041 w 2081801"/>
                  <a:gd name="connsiteY441" fmla="*/ 322183 h 2563305"/>
                  <a:gd name="connsiteX442" fmla="*/ 878747 w 2081801"/>
                  <a:gd name="connsiteY442" fmla="*/ 351923 h 2563305"/>
                  <a:gd name="connsiteX443" fmla="*/ 1197390 w 2081801"/>
                  <a:gd name="connsiteY443" fmla="*/ 2049936 h 2563305"/>
                  <a:gd name="connsiteX444" fmla="*/ 1282362 w 2081801"/>
                  <a:gd name="connsiteY444" fmla="*/ 1913982 h 2563305"/>
                  <a:gd name="connsiteX445" fmla="*/ 1480628 w 2081801"/>
                  <a:gd name="connsiteY445" fmla="*/ 1899820 h 2563305"/>
                  <a:gd name="connsiteX446" fmla="*/ 1254038 w 2081801"/>
                  <a:gd name="connsiteY446" fmla="*/ 2086757 h 2563305"/>
                  <a:gd name="connsiteX447" fmla="*/ 1197390 w 2081801"/>
                  <a:gd name="connsiteY447" fmla="*/ 2049936 h 2563305"/>
                  <a:gd name="connsiteX448" fmla="*/ 1183228 w 2081801"/>
                  <a:gd name="connsiteY448" fmla="*/ 2156151 h 2563305"/>
                  <a:gd name="connsiteX449" fmla="*/ 1180396 w 2081801"/>
                  <a:gd name="connsiteY449" fmla="*/ 2149070 h 2563305"/>
                  <a:gd name="connsiteX450" fmla="*/ 1254038 w 2081801"/>
                  <a:gd name="connsiteY450" fmla="*/ 2088173 h 2563305"/>
                  <a:gd name="connsiteX451" fmla="*/ 1317766 w 2081801"/>
                  <a:gd name="connsiteY451" fmla="*/ 2129243 h 2563305"/>
                  <a:gd name="connsiteX452" fmla="*/ 1183228 w 2081801"/>
                  <a:gd name="connsiteY452" fmla="*/ 2156151 h 2563305"/>
                  <a:gd name="connsiteX453" fmla="*/ 1178979 w 2081801"/>
                  <a:gd name="connsiteY453" fmla="*/ 2149070 h 2563305"/>
                  <a:gd name="connsiteX454" fmla="*/ 1170483 w 2081801"/>
                  <a:gd name="connsiteY454" fmla="*/ 2156151 h 2563305"/>
                  <a:gd name="connsiteX455" fmla="*/ 1173315 w 2081801"/>
                  <a:gd name="connsiteY455" fmla="*/ 2130659 h 2563305"/>
                  <a:gd name="connsiteX456" fmla="*/ 1178979 w 2081801"/>
                  <a:gd name="connsiteY456" fmla="*/ 2149070 h 2563305"/>
                  <a:gd name="connsiteX457" fmla="*/ 1194558 w 2081801"/>
                  <a:gd name="connsiteY457" fmla="*/ 1918230 h 2563305"/>
                  <a:gd name="connsiteX458" fmla="*/ 1211552 w 2081801"/>
                  <a:gd name="connsiteY458" fmla="*/ 1751120 h 2563305"/>
                  <a:gd name="connsiteX459" fmla="*/ 1279529 w 2081801"/>
                  <a:gd name="connsiteY459" fmla="*/ 1742623 h 2563305"/>
                  <a:gd name="connsiteX460" fmla="*/ 1317766 w 2081801"/>
                  <a:gd name="connsiteY460" fmla="*/ 1848837 h 2563305"/>
                  <a:gd name="connsiteX461" fmla="*/ 1279529 w 2081801"/>
                  <a:gd name="connsiteY461" fmla="*/ 1911149 h 2563305"/>
                  <a:gd name="connsiteX462" fmla="*/ 1194558 w 2081801"/>
                  <a:gd name="connsiteY462" fmla="*/ 1918230 h 2563305"/>
                  <a:gd name="connsiteX463" fmla="*/ 1252622 w 2081801"/>
                  <a:gd name="connsiteY463" fmla="*/ 2088173 h 2563305"/>
                  <a:gd name="connsiteX464" fmla="*/ 1180396 w 2081801"/>
                  <a:gd name="connsiteY464" fmla="*/ 2147653 h 2563305"/>
                  <a:gd name="connsiteX465" fmla="*/ 1173315 w 2081801"/>
                  <a:gd name="connsiteY465" fmla="*/ 2124994 h 2563305"/>
                  <a:gd name="connsiteX466" fmla="*/ 1177564 w 2081801"/>
                  <a:gd name="connsiteY466" fmla="*/ 2081092 h 2563305"/>
                  <a:gd name="connsiteX467" fmla="*/ 1195974 w 2081801"/>
                  <a:gd name="connsiteY467" fmla="*/ 2052768 h 2563305"/>
                  <a:gd name="connsiteX468" fmla="*/ 1252622 w 2081801"/>
                  <a:gd name="connsiteY468" fmla="*/ 2088173 h 2563305"/>
                  <a:gd name="connsiteX469" fmla="*/ 1279529 w 2081801"/>
                  <a:gd name="connsiteY469" fmla="*/ 1915398 h 2563305"/>
                  <a:gd name="connsiteX470" fmla="*/ 1195974 w 2081801"/>
                  <a:gd name="connsiteY470" fmla="*/ 2049936 h 2563305"/>
                  <a:gd name="connsiteX471" fmla="*/ 1183228 w 2081801"/>
                  <a:gd name="connsiteY471" fmla="*/ 2041439 h 2563305"/>
                  <a:gd name="connsiteX472" fmla="*/ 1195974 w 2081801"/>
                  <a:gd name="connsiteY472" fmla="*/ 1922479 h 2563305"/>
                  <a:gd name="connsiteX473" fmla="*/ 1279529 w 2081801"/>
                  <a:gd name="connsiteY473" fmla="*/ 1915398 h 2563305"/>
                  <a:gd name="connsiteX474" fmla="*/ 1194558 w 2081801"/>
                  <a:gd name="connsiteY474" fmla="*/ 2049936 h 2563305"/>
                  <a:gd name="connsiteX475" fmla="*/ 1178979 w 2081801"/>
                  <a:gd name="connsiteY475" fmla="*/ 2075428 h 2563305"/>
                  <a:gd name="connsiteX476" fmla="*/ 1181812 w 2081801"/>
                  <a:gd name="connsiteY476" fmla="*/ 2042855 h 2563305"/>
                  <a:gd name="connsiteX477" fmla="*/ 1194558 w 2081801"/>
                  <a:gd name="connsiteY477" fmla="*/ 2049936 h 2563305"/>
                  <a:gd name="connsiteX478" fmla="*/ 1174731 w 2081801"/>
                  <a:gd name="connsiteY478" fmla="*/ 2083925 h 2563305"/>
                  <a:gd name="connsiteX479" fmla="*/ 1170483 w 2081801"/>
                  <a:gd name="connsiteY479" fmla="*/ 2119330 h 2563305"/>
                  <a:gd name="connsiteX480" fmla="*/ 1163402 w 2081801"/>
                  <a:gd name="connsiteY480" fmla="*/ 2099503 h 2563305"/>
                  <a:gd name="connsiteX481" fmla="*/ 1174731 w 2081801"/>
                  <a:gd name="connsiteY481" fmla="*/ 2083925 h 2563305"/>
                  <a:gd name="connsiteX482" fmla="*/ 1229962 w 2081801"/>
                  <a:gd name="connsiteY482" fmla="*/ 1603836 h 2563305"/>
                  <a:gd name="connsiteX483" fmla="*/ 1249789 w 2081801"/>
                  <a:gd name="connsiteY483" fmla="*/ 1659068 h 2563305"/>
                  <a:gd name="connsiteX484" fmla="*/ 1221465 w 2081801"/>
                  <a:gd name="connsiteY484" fmla="*/ 1660484 h 2563305"/>
                  <a:gd name="connsiteX485" fmla="*/ 1227130 w 2081801"/>
                  <a:gd name="connsiteY485" fmla="*/ 1605252 h 2563305"/>
                  <a:gd name="connsiteX486" fmla="*/ 1229962 w 2081801"/>
                  <a:gd name="connsiteY486" fmla="*/ 1603836 h 2563305"/>
                  <a:gd name="connsiteX487" fmla="*/ 945308 w 2081801"/>
                  <a:gd name="connsiteY487" fmla="*/ 888660 h 2563305"/>
                  <a:gd name="connsiteX488" fmla="*/ 945308 w 2081801"/>
                  <a:gd name="connsiteY488" fmla="*/ 925481 h 2563305"/>
                  <a:gd name="connsiteX489" fmla="*/ 789527 w 2081801"/>
                  <a:gd name="connsiteY489" fmla="*/ 902822 h 2563305"/>
                  <a:gd name="connsiteX490" fmla="*/ 945308 w 2081801"/>
                  <a:gd name="connsiteY490" fmla="*/ 888660 h 2563305"/>
                  <a:gd name="connsiteX491" fmla="*/ 633746 w 2081801"/>
                  <a:gd name="connsiteY491" fmla="*/ 936810 h 2563305"/>
                  <a:gd name="connsiteX492" fmla="*/ 704555 w 2081801"/>
                  <a:gd name="connsiteY492" fmla="*/ 1092591 h 2563305"/>
                  <a:gd name="connsiteX493" fmla="*/ 690393 w 2081801"/>
                  <a:gd name="connsiteY493" fmla="*/ 1091175 h 2563305"/>
                  <a:gd name="connsiteX494" fmla="*/ 460971 w 2081801"/>
                  <a:gd name="connsiteY494" fmla="*/ 931145 h 2563305"/>
                  <a:gd name="connsiteX495" fmla="*/ 479381 w 2081801"/>
                  <a:gd name="connsiteY495" fmla="*/ 929729 h 2563305"/>
                  <a:gd name="connsiteX496" fmla="*/ 528948 w 2081801"/>
                  <a:gd name="connsiteY496" fmla="*/ 946723 h 2563305"/>
                  <a:gd name="connsiteX497" fmla="*/ 528948 w 2081801"/>
                  <a:gd name="connsiteY497" fmla="*/ 946723 h 2563305"/>
                  <a:gd name="connsiteX498" fmla="*/ 633746 w 2081801"/>
                  <a:gd name="connsiteY498" fmla="*/ 936810 h 2563305"/>
                  <a:gd name="connsiteX499" fmla="*/ 633746 w 2081801"/>
                  <a:gd name="connsiteY499" fmla="*/ 856087 h 2563305"/>
                  <a:gd name="connsiteX500" fmla="*/ 602590 w 2081801"/>
                  <a:gd name="connsiteY500" fmla="*/ 861752 h 2563305"/>
                  <a:gd name="connsiteX501" fmla="*/ 547358 w 2081801"/>
                  <a:gd name="connsiteY501" fmla="*/ 739960 h 2563305"/>
                  <a:gd name="connsiteX502" fmla="*/ 633746 w 2081801"/>
                  <a:gd name="connsiteY502" fmla="*/ 856087 h 2563305"/>
                  <a:gd name="connsiteX503" fmla="*/ 637995 w 2081801"/>
                  <a:gd name="connsiteY503" fmla="*/ 622416 h 2563305"/>
                  <a:gd name="connsiteX504" fmla="*/ 656405 w 2081801"/>
                  <a:gd name="connsiteY504" fmla="*/ 728630 h 2563305"/>
                  <a:gd name="connsiteX505" fmla="*/ 527531 w 2081801"/>
                  <a:gd name="connsiteY505" fmla="*/ 698890 h 2563305"/>
                  <a:gd name="connsiteX506" fmla="*/ 509121 w 2081801"/>
                  <a:gd name="connsiteY506" fmla="*/ 659237 h 2563305"/>
                  <a:gd name="connsiteX507" fmla="*/ 637995 w 2081801"/>
                  <a:gd name="connsiteY507" fmla="*/ 622416 h 2563305"/>
                  <a:gd name="connsiteX508" fmla="*/ 1173315 w 2081801"/>
                  <a:gd name="connsiteY508" fmla="*/ 591260 h 2563305"/>
                  <a:gd name="connsiteX509" fmla="*/ 1204471 w 2081801"/>
                  <a:gd name="connsiteY509" fmla="*/ 577098 h 2563305"/>
                  <a:gd name="connsiteX510" fmla="*/ 1224298 w 2081801"/>
                  <a:gd name="connsiteY510" fmla="*/ 594092 h 2563305"/>
                  <a:gd name="connsiteX511" fmla="*/ 1173315 w 2081801"/>
                  <a:gd name="connsiteY511" fmla="*/ 591260 h 2563305"/>
                  <a:gd name="connsiteX512" fmla="*/ 1227130 w 2081801"/>
                  <a:gd name="connsiteY512" fmla="*/ 594092 h 2563305"/>
                  <a:gd name="connsiteX513" fmla="*/ 1205887 w 2081801"/>
                  <a:gd name="connsiteY513" fmla="*/ 575682 h 2563305"/>
                  <a:gd name="connsiteX514" fmla="*/ 1300772 w 2081801"/>
                  <a:gd name="connsiteY514" fmla="*/ 533196 h 2563305"/>
                  <a:gd name="connsiteX515" fmla="*/ 1299356 w 2081801"/>
                  <a:gd name="connsiteY515" fmla="*/ 598341 h 2563305"/>
                  <a:gd name="connsiteX516" fmla="*/ 1227130 w 2081801"/>
                  <a:gd name="connsiteY516" fmla="*/ 594092 h 2563305"/>
                  <a:gd name="connsiteX517" fmla="*/ 1229962 w 2081801"/>
                  <a:gd name="connsiteY517" fmla="*/ 596924 h 2563305"/>
                  <a:gd name="connsiteX518" fmla="*/ 1299356 w 2081801"/>
                  <a:gd name="connsiteY518" fmla="*/ 601173 h 2563305"/>
                  <a:gd name="connsiteX519" fmla="*/ 1297940 w 2081801"/>
                  <a:gd name="connsiteY519" fmla="*/ 653572 h 2563305"/>
                  <a:gd name="connsiteX520" fmla="*/ 1229962 w 2081801"/>
                  <a:gd name="connsiteY520" fmla="*/ 596924 h 2563305"/>
                  <a:gd name="connsiteX521" fmla="*/ 1299356 w 2081801"/>
                  <a:gd name="connsiteY521" fmla="*/ 680480 h 2563305"/>
                  <a:gd name="connsiteX522" fmla="*/ 1299356 w 2081801"/>
                  <a:gd name="connsiteY522" fmla="*/ 657821 h 2563305"/>
                  <a:gd name="connsiteX523" fmla="*/ 1323431 w 2081801"/>
                  <a:gd name="connsiteY523" fmla="*/ 677647 h 2563305"/>
                  <a:gd name="connsiteX524" fmla="*/ 1299356 w 2081801"/>
                  <a:gd name="connsiteY524" fmla="*/ 680480 h 2563305"/>
                  <a:gd name="connsiteX525" fmla="*/ 1350339 w 2081801"/>
                  <a:gd name="connsiteY525" fmla="*/ 748457 h 2563305"/>
                  <a:gd name="connsiteX526" fmla="*/ 1348922 w 2081801"/>
                  <a:gd name="connsiteY526" fmla="*/ 749873 h 2563305"/>
                  <a:gd name="connsiteX527" fmla="*/ 1350339 w 2081801"/>
                  <a:gd name="connsiteY527" fmla="*/ 748457 h 2563305"/>
                  <a:gd name="connsiteX528" fmla="*/ 1350339 w 2081801"/>
                  <a:gd name="connsiteY528" fmla="*/ 748457 h 2563305"/>
                  <a:gd name="connsiteX529" fmla="*/ 1350339 w 2081801"/>
                  <a:gd name="connsiteY529" fmla="*/ 745624 h 2563305"/>
                  <a:gd name="connsiteX530" fmla="*/ 1357420 w 2081801"/>
                  <a:gd name="connsiteY530" fmla="*/ 703139 h 2563305"/>
                  <a:gd name="connsiteX531" fmla="*/ 1357420 w 2081801"/>
                  <a:gd name="connsiteY531" fmla="*/ 703139 h 2563305"/>
                  <a:gd name="connsiteX532" fmla="*/ 1327679 w 2081801"/>
                  <a:gd name="connsiteY532" fmla="*/ 679063 h 2563305"/>
                  <a:gd name="connsiteX533" fmla="*/ 1401322 w 2081801"/>
                  <a:gd name="connsiteY533" fmla="*/ 670566 h 2563305"/>
                  <a:gd name="connsiteX534" fmla="*/ 1350339 w 2081801"/>
                  <a:gd name="connsiteY534" fmla="*/ 745624 h 2563305"/>
                  <a:gd name="connsiteX535" fmla="*/ 1350339 w 2081801"/>
                  <a:gd name="connsiteY535" fmla="*/ 745624 h 2563305"/>
                  <a:gd name="connsiteX536" fmla="*/ 1561351 w 2081801"/>
                  <a:gd name="connsiteY536" fmla="*/ 837677 h 2563305"/>
                  <a:gd name="connsiteX537" fmla="*/ 1496207 w 2081801"/>
                  <a:gd name="connsiteY537" fmla="*/ 905654 h 2563305"/>
                  <a:gd name="connsiteX538" fmla="*/ 1339009 w 2081801"/>
                  <a:gd name="connsiteY538" fmla="*/ 941059 h 2563305"/>
                  <a:gd name="connsiteX539" fmla="*/ 1319183 w 2081801"/>
                  <a:gd name="connsiteY539" fmla="*/ 931145 h 2563305"/>
                  <a:gd name="connsiteX540" fmla="*/ 1350339 w 2081801"/>
                  <a:gd name="connsiteY540" fmla="*/ 752705 h 2563305"/>
                  <a:gd name="connsiteX541" fmla="*/ 1354587 w 2081801"/>
                  <a:gd name="connsiteY541" fmla="*/ 747041 h 2563305"/>
                  <a:gd name="connsiteX542" fmla="*/ 1578346 w 2081801"/>
                  <a:gd name="connsiteY542" fmla="*/ 721549 h 2563305"/>
                  <a:gd name="connsiteX543" fmla="*/ 1541524 w 2081801"/>
                  <a:gd name="connsiteY543" fmla="*/ 762619 h 2563305"/>
                  <a:gd name="connsiteX544" fmla="*/ 1541524 w 2081801"/>
                  <a:gd name="connsiteY544" fmla="*/ 762619 h 2563305"/>
                  <a:gd name="connsiteX545" fmla="*/ 1561351 w 2081801"/>
                  <a:gd name="connsiteY545" fmla="*/ 837677 h 2563305"/>
                  <a:gd name="connsiteX546" fmla="*/ 1392824 w 2081801"/>
                  <a:gd name="connsiteY546" fmla="*/ 1306436 h 2563305"/>
                  <a:gd name="connsiteX547" fmla="*/ 1421148 w 2081801"/>
                  <a:gd name="connsiteY547" fmla="*/ 1341841 h 2563305"/>
                  <a:gd name="connsiteX548" fmla="*/ 1322015 w 2081801"/>
                  <a:gd name="connsiteY548" fmla="*/ 1423980 h 2563305"/>
                  <a:gd name="connsiteX549" fmla="*/ 1367333 w 2081801"/>
                  <a:gd name="connsiteY549" fmla="*/ 1293690 h 2563305"/>
                  <a:gd name="connsiteX550" fmla="*/ 1392824 w 2081801"/>
                  <a:gd name="connsiteY550" fmla="*/ 1306436 h 2563305"/>
                  <a:gd name="connsiteX551" fmla="*/ 1378662 w 2081801"/>
                  <a:gd name="connsiteY551" fmla="*/ 1256869 h 2563305"/>
                  <a:gd name="connsiteX552" fmla="*/ 1367333 w 2081801"/>
                  <a:gd name="connsiteY552" fmla="*/ 1290858 h 2563305"/>
                  <a:gd name="connsiteX553" fmla="*/ 1354587 w 2081801"/>
                  <a:gd name="connsiteY553" fmla="*/ 1283777 h 2563305"/>
                  <a:gd name="connsiteX554" fmla="*/ 1378662 w 2081801"/>
                  <a:gd name="connsiteY554" fmla="*/ 1256869 h 2563305"/>
                  <a:gd name="connsiteX555" fmla="*/ 1391408 w 2081801"/>
                  <a:gd name="connsiteY555" fmla="*/ 1541524 h 2563305"/>
                  <a:gd name="connsiteX556" fmla="*/ 1450888 w 2081801"/>
                  <a:gd name="connsiteY556" fmla="*/ 1479211 h 2563305"/>
                  <a:gd name="connsiteX557" fmla="*/ 1497622 w 2081801"/>
                  <a:gd name="connsiteY557" fmla="*/ 1493373 h 2563305"/>
                  <a:gd name="connsiteX558" fmla="*/ 1479212 w 2081801"/>
                  <a:gd name="connsiteY558" fmla="*/ 1508951 h 2563305"/>
                  <a:gd name="connsiteX559" fmla="*/ 1391408 w 2081801"/>
                  <a:gd name="connsiteY559" fmla="*/ 1541524 h 2563305"/>
                  <a:gd name="connsiteX560" fmla="*/ 1382911 w 2081801"/>
                  <a:gd name="connsiteY560" fmla="*/ 1545772 h 2563305"/>
                  <a:gd name="connsiteX561" fmla="*/ 1348922 w 2081801"/>
                  <a:gd name="connsiteY561" fmla="*/ 1581177 h 2563305"/>
                  <a:gd name="connsiteX562" fmla="*/ 1306437 w 2081801"/>
                  <a:gd name="connsiteY562" fmla="*/ 1575512 h 2563305"/>
                  <a:gd name="connsiteX563" fmla="*/ 1382911 w 2081801"/>
                  <a:gd name="connsiteY563" fmla="*/ 1545772 h 2563305"/>
                  <a:gd name="connsiteX564" fmla="*/ 1224298 w 2081801"/>
                  <a:gd name="connsiteY564" fmla="*/ 1423980 h 2563305"/>
                  <a:gd name="connsiteX565" fmla="*/ 1183228 w 2081801"/>
                  <a:gd name="connsiteY565" fmla="*/ 1469298 h 2563305"/>
                  <a:gd name="connsiteX566" fmla="*/ 1163402 w 2081801"/>
                  <a:gd name="connsiteY566" fmla="*/ 1416899 h 2563305"/>
                  <a:gd name="connsiteX567" fmla="*/ 1224298 w 2081801"/>
                  <a:gd name="connsiteY567" fmla="*/ 1423980 h 2563305"/>
                  <a:gd name="connsiteX568" fmla="*/ 1237043 w 2081801"/>
                  <a:gd name="connsiteY568" fmla="*/ 1414067 h 2563305"/>
                  <a:gd name="connsiteX569" fmla="*/ 1246957 w 2081801"/>
                  <a:gd name="connsiteY569" fmla="*/ 1404153 h 2563305"/>
                  <a:gd name="connsiteX570" fmla="*/ 1245541 w 2081801"/>
                  <a:gd name="connsiteY570" fmla="*/ 1416899 h 2563305"/>
                  <a:gd name="connsiteX571" fmla="*/ 1237043 w 2081801"/>
                  <a:gd name="connsiteY571" fmla="*/ 1414067 h 2563305"/>
                  <a:gd name="connsiteX572" fmla="*/ 1245541 w 2081801"/>
                  <a:gd name="connsiteY572" fmla="*/ 1425396 h 2563305"/>
                  <a:gd name="connsiteX573" fmla="*/ 1245541 w 2081801"/>
                  <a:gd name="connsiteY573" fmla="*/ 1419731 h 2563305"/>
                  <a:gd name="connsiteX574" fmla="*/ 1285194 w 2081801"/>
                  <a:gd name="connsiteY574" fmla="*/ 1431061 h 2563305"/>
                  <a:gd name="connsiteX575" fmla="*/ 1245541 w 2081801"/>
                  <a:gd name="connsiteY575" fmla="*/ 1425396 h 2563305"/>
                  <a:gd name="connsiteX576" fmla="*/ 1347507 w 2081801"/>
                  <a:gd name="connsiteY576" fmla="*/ 1582593 h 2563305"/>
                  <a:gd name="connsiteX577" fmla="*/ 1275281 w 2081801"/>
                  <a:gd name="connsiteY577" fmla="*/ 1657651 h 2563305"/>
                  <a:gd name="connsiteX578" fmla="*/ 1251205 w 2081801"/>
                  <a:gd name="connsiteY578" fmla="*/ 1659068 h 2563305"/>
                  <a:gd name="connsiteX579" fmla="*/ 1231379 w 2081801"/>
                  <a:gd name="connsiteY579" fmla="*/ 1603836 h 2563305"/>
                  <a:gd name="connsiteX580" fmla="*/ 1302188 w 2081801"/>
                  <a:gd name="connsiteY580" fmla="*/ 1576929 h 2563305"/>
                  <a:gd name="connsiteX581" fmla="*/ 1347507 w 2081801"/>
                  <a:gd name="connsiteY581" fmla="*/ 1582593 h 2563305"/>
                  <a:gd name="connsiteX582" fmla="*/ 1231379 w 2081801"/>
                  <a:gd name="connsiteY582" fmla="*/ 1567015 h 2563305"/>
                  <a:gd name="connsiteX583" fmla="*/ 1299356 w 2081801"/>
                  <a:gd name="connsiteY583" fmla="*/ 1575512 h 2563305"/>
                  <a:gd name="connsiteX584" fmla="*/ 1232795 w 2081801"/>
                  <a:gd name="connsiteY584" fmla="*/ 1601004 h 2563305"/>
                  <a:gd name="connsiteX585" fmla="*/ 1229962 w 2081801"/>
                  <a:gd name="connsiteY585" fmla="*/ 1592506 h 2563305"/>
                  <a:gd name="connsiteX586" fmla="*/ 1231379 w 2081801"/>
                  <a:gd name="connsiteY586" fmla="*/ 1567015 h 2563305"/>
                  <a:gd name="connsiteX587" fmla="*/ 1231379 w 2081801"/>
                  <a:gd name="connsiteY587" fmla="*/ 1565599 h 2563305"/>
                  <a:gd name="connsiteX588" fmla="*/ 1245541 w 2081801"/>
                  <a:gd name="connsiteY588" fmla="*/ 1428229 h 2563305"/>
                  <a:gd name="connsiteX589" fmla="*/ 1299356 w 2081801"/>
                  <a:gd name="connsiteY589" fmla="*/ 1435310 h 2563305"/>
                  <a:gd name="connsiteX590" fmla="*/ 1449472 w 2081801"/>
                  <a:gd name="connsiteY590" fmla="*/ 1479211 h 2563305"/>
                  <a:gd name="connsiteX591" fmla="*/ 1387160 w 2081801"/>
                  <a:gd name="connsiteY591" fmla="*/ 1544356 h 2563305"/>
                  <a:gd name="connsiteX592" fmla="*/ 1303604 w 2081801"/>
                  <a:gd name="connsiteY592" fmla="*/ 1576929 h 2563305"/>
                  <a:gd name="connsiteX593" fmla="*/ 1231379 w 2081801"/>
                  <a:gd name="connsiteY593" fmla="*/ 1565599 h 2563305"/>
                  <a:gd name="connsiteX594" fmla="*/ 1228546 w 2081801"/>
                  <a:gd name="connsiteY594" fmla="*/ 1422563 h 2563305"/>
                  <a:gd name="connsiteX595" fmla="*/ 1235627 w 2081801"/>
                  <a:gd name="connsiteY595" fmla="*/ 1415483 h 2563305"/>
                  <a:gd name="connsiteX596" fmla="*/ 1245541 w 2081801"/>
                  <a:gd name="connsiteY596" fmla="*/ 1418315 h 2563305"/>
                  <a:gd name="connsiteX597" fmla="*/ 1245541 w 2081801"/>
                  <a:gd name="connsiteY597" fmla="*/ 1425396 h 2563305"/>
                  <a:gd name="connsiteX598" fmla="*/ 1228546 w 2081801"/>
                  <a:gd name="connsiteY598" fmla="*/ 1422563 h 2563305"/>
                  <a:gd name="connsiteX599" fmla="*/ 1227130 w 2081801"/>
                  <a:gd name="connsiteY599" fmla="*/ 1425396 h 2563305"/>
                  <a:gd name="connsiteX600" fmla="*/ 1244124 w 2081801"/>
                  <a:gd name="connsiteY600" fmla="*/ 1428229 h 2563305"/>
                  <a:gd name="connsiteX601" fmla="*/ 1229962 w 2081801"/>
                  <a:gd name="connsiteY601" fmla="*/ 1565599 h 2563305"/>
                  <a:gd name="connsiteX602" fmla="*/ 1218633 w 2081801"/>
                  <a:gd name="connsiteY602" fmla="*/ 1564183 h 2563305"/>
                  <a:gd name="connsiteX603" fmla="*/ 1186060 w 2081801"/>
                  <a:gd name="connsiteY603" fmla="*/ 1473546 h 2563305"/>
                  <a:gd name="connsiteX604" fmla="*/ 1227130 w 2081801"/>
                  <a:gd name="connsiteY604" fmla="*/ 1425396 h 2563305"/>
                  <a:gd name="connsiteX605" fmla="*/ 1232795 w 2081801"/>
                  <a:gd name="connsiteY605" fmla="*/ 1415483 h 2563305"/>
                  <a:gd name="connsiteX606" fmla="*/ 1225714 w 2081801"/>
                  <a:gd name="connsiteY606" fmla="*/ 1422563 h 2563305"/>
                  <a:gd name="connsiteX607" fmla="*/ 1163402 w 2081801"/>
                  <a:gd name="connsiteY607" fmla="*/ 1414067 h 2563305"/>
                  <a:gd name="connsiteX608" fmla="*/ 1154904 w 2081801"/>
                  <a:gd name="connsiteY608" fmla="*/ 1392824 h 2563305"/>
                  <a:gd name="connsiteX609" fmla="*/ 1232795 w 2081801"/>
                  <a:gd name="connsiteY609" fmla="*/ 1415483 h 2563305"/>
                  <a:gd name="connsiteX610" fmla="*/ 1474964 w 2081801"/>
                  <a:gd name="connsiteY610" fmla="*/ 1511784 h 2563305"/>
                  <a:gd name="connsiteX611" fmla="*/ 1385743 w 2081801"/>
                  <a:gd name="connsiteY611" fmla="*/ 1586842 h 2563305"/>
                  <a:gd name="connsiteX612" fmla="*/ 1353171 w 2081801"/>
                  <a:gd name="connsiteY612" fmla="*/ 1582593 h 2563305"/>
                  <a:gd name="connsiteX613" fmla="*/ 1388576 w 2081801"/>
                  <a:gd name="connsiteY613" fmla="*/ 1545772 h 2563305"/>
                  <a:gd name="connsiteX614" fmla="*/ 1474964 w 2081801"/>
                  <a:gd name="connsiteY614" fmla="*/ 1511784 h 2563305"/>
                  <a:gd name="connsiteX615" fmla="*/ 1312102 w 2081801"/>
                  <a:gd name="connsiteY615" fmla="*/ 1436725 h 2563305"/>
                  <a:gd name="connsiteX616" fmla="*/ 1469299 w 2081801"/>
                  <a:gd name="connsiteY616" fmla="*/ 1457968 h 2563305"/>
                  <a:gd name="connsiteX617" fmla="*/ 1450888 w 2081801"/>
                  <a:gd name="connsiteY617" fmla="*/ 1477795 h 2563305"/>
                  <a:gd name="connsiteX618" fmla="*/ 1312102 w 2081801"/>
                  <a:gd name="connsiteY618" fmla="*/ 1436725 h 2563305"/>
                  <a:gd name="connsiteX619" fmla="*/ 676231 w 2081801"/>
                  <a:gd name="connsiteY619" fmla="*/ 912735 h 2563305"/>
                  <a:gd name="connsiteX620" fmla="*/ 688977 w 2081801"/>
                  <a:gd name="connsiteY620" fmla="*/ 929729 h 2563305"/>
                  <a:gd name="connsiteX621" fmla="*/ 636578 w 2081801"/>
                  <a:gd name="connsiteY621" fmla="*/ 935394 h 2563305"/>
                  <a:gd name="connsiteX622" fmla="*/ 628081 w 2081801"/>
                  <a:gd name="connsiteY622" fmla="*/ 918400 h 2563305"/>
                  <a:gd name="connsiteX623" fmla="*/ 676231 w 2081801"/>
                  <a:gd name="connsiteY623" fmla="*/ 912735 h 2563305"/>
                  <a:gd name="connsiteX624" fmla="*/ 531780 w 2081801"/>
                  <a:gd name="connsiteY624" fmla="*/ 945307 h 2563305"/>
                  <a:gd name="connsiteX625" fmla="*/ 486462 w 2081801"/>
                  <a:gd name="connsiteY625" fmla="*/ 929729 h 2563305"/>
                  <a:gd name="connsiteX626" fmla="*/ 625249 w 2081801"/>
                  <a:gd name="connsiteY626" fmla="*/ 916984 h 2563305"/>
                  <a:gd name="connsiteX627" fmla="*/ 633746 w 2081801"/>
                  <a:gd name="connsiteY627" fmla="*/ 933978 h 2563305"/>
                  <a:gd name="connsiteX628" fmla="*/ 531780 w 2081801"/>
                  <a:gd name="connsiteY628" fmla="*/ 945307 h 2563305"/>
                  <a:gd name="connsiteX629" fmla="*/ 626665 w 2081801"/>
                  <a:gd name="connsiteY629" fmla="*/ 915567 h 2563305"/>
                  <a:gd name="connsiteX630" fmla="*/ 602590 w 2081801"/>
                  <a:gd name="connsiteY630" fmla="*/ 863168 h 2563305"/>
                  <a:gd name="connsiteX631" fmla="*/ 633746 w 2081801"/>
                  <a:gd name="connsiteY631" fmla="*/ 857503 h 2563305"/>
                  <a:gd name="connsiteX632" fmla="*/ 673399 w 2081801"/>
                  <a:gd name="connsiteY632" fmla="*/ 911319 h 2563305"/>
                  <a:gd name="connsiteX633" fmla="*/ 626665 w 2081801"/>
                  <a:gd name="connsiteY633" fmla="*/ 915567 h 2563305"/>
                  <a:gd name="connsiteX634" fmla="*/ 504873 w 2081801"/>
                  <a:gd name="connsiteY634" fmla="*/ 553022 h 2563305"/>
                  <a:gd name="connsiteX635" fmla="*/ 496375 w 2081801"/>
                  <a:gd name="connsiteY635" fmla="*/ 550190 h 2563305"/>
                  <a:gd name="connsiteX636" fmla="*/ 659237 w 2081801"/>
                  <a:gd name="connsiteY636" fmla="*/ 466635 h 2563305"/>
                  <a:gd name="connsiteX637" fmla="*/ 795192 w 2081801"/>
                  <a:gd name="connsiteY637" fmla="*/ 570017 h 2563305"/>
                  <a:gd name="connsiteX638" fmla="*/ 504873 w 2081801"/>
                  <a:gd name="connsiteY638" fmla="*/ 553022 h 2563305"/>
                  <a:gd name="connsiteX639" fmla="*/ 1094008 w 2081801"/>
                  <a:gd name="connsiteY639" fmla="*/ 485045 h 2563305"/>
                  <a:gd name="connsiteX640" fmla="*/ 1157737 w 2081801"/>
                  <a:gd name="connsiteY640" fmla="*/ 538860 h 2563305"/>
                  <a:gd name="connsiteX641" fmla="*/ 1146407 w 2081801"/>
                  <a:gd name="connsiteY641" fmla="*/ 591260 h 2563305"/>
                  <a:gd name="connsiteX642" fmla="*/ 1035944 w 2081801"/>
                  <a:gd name="connsiteY642" fmla="*/ 585595 h 2563305"/>
                  <a:gd name="connsiteX643" fmla="*/ 996291 w 2081801"/>
                  <a:gd name="connsiteY643" fmla="*/ 414236 h 2563305"/>
                  <a:gd name="connsiteX644" fmla="*/ 1094008 w 2081801"/>
                  <a:gd name="connsiteY644" fmla="*/ 485045 h 2563305"/>
                  <a:gd name="connsiteX645" fmla="*/ 1033112 w 2081801"/>
                  <a:gd name="connsiteY645" fmla="*/ 585595 h 2563305"/>
                  <a:gd name="connsiteX646" fmla="*/ 1037360 w 2081801"/>
                  <a:gd name="connsiteY646" fmla="*/ 605422 h 2563305"/>
                  <a:gd name="connsiteX647" fmla="*/ 1016117 w 2081801"/>
                  <a:gd name="connsiteY647" fmla="*/ 584179 h 2563305"/>
                  <a:gd name="connsiteX648" fmla="*/ 1033112 w 2081801"/>
                  <a:gd name="connsiteY648" fmla="*/ 585595 h 2563305"/>
                  <a:gd name="connsiteX649" fmla="*/ 1297940 w 2081801"/>
                  <a:gd name="connsiteY649" fmla="*/ 752705 h 2563305"/>
                  <a:gd name="connsiteX650" fmla="*/ 1299356 w 2081801"/>
                  <a:gd name="connsiteY650" fmla="*/ 681896 h 2563305"/>
                  <a:gd name="connsiteX651" fmla="*/ 1326264 w 2081801"/>
                  <a:gd name="connsiteY651" fmla="*/ 679063 h 2563305"/>
                  <a:gd name="connsiteX652" fmla="*/ 1356003 w 2081801"/>
                  <a:gd name="connsiteY652" fmla="*/ 704555 h 2563305"/>
                  <a:gd name="connsiteX653" fmla="*/ 1348922 w 2081801"/>
                  <a:gd name="connsiteY653" fmla="*/ 747041 h 2563305"/>
                  <a:gd name="connsiteX654" fmla="*/ 1297940 w 2081801"/>
                  <a:gd name="connsiteY654" fmla="*/ 752705 h 2563305"/>
                  <a:gd name="connsiteX655" fmla="*/ 1314934 w 2081801"/>
                  <a:gd name="connsiteY655" fmla="*/ 946723 h 2563305"/>
                  <a:gd name="connsiteX656" fmla="*/ 1317766 w 2081801"/>
                  <a:gd name="connsiteY656" fmla="*/ 933978 h 2563305"/>
                  <a:gd name="connsiteX657" fmla="*/ 1334760 w 2081801"/>
                  <a:gd name="connsiteY657" fmla="*/ 942475 h 2563305"/>
                  <a:gd name="connsiteX658" fmla="*/ 1314934 w 2081801"/>
                  <a:gd name="connsiteY658" fmla="*/ 946723 h 2563305"/>
                  <a:gd name="connsiteX659" fmla="*/ 1327679 w 2081801"/>
                  <a:gd name="connsiteY659" fmla="*/ 1146406 h 2563305"/>
                  <a:gd name="connsiteX660" fmla="*/ 1450888 w 2081801"/>
                  <a:gd name="connsiteY660" fmla="*/ 1048689 h 2563305"/>
                  <a:gd name="connsiteX661" fmla="*/ 1419732 w 2081801"/>
                  <a:gd name="connsiteY661" fmla="*/ 1136493 h 2563305"/>
                  <a:gd name="connsiteX662" fmla="*/ 1327679 w 2081801"/>
                  <a:gd name="connsiteY662" fmla="*/ 1146406 h 2563305"/>
                  <a:gd name="connsiteX663" fmla="*/ 1271032 w 2081801"/>
                  <a:gd name="connsiteY663" fmla="*/ 1190308 h 2563305"/>
                  <a:gd name="connsiteX664" fmla="*/ 1262535 w 2081801"/>
                  <a:gd name="connsiteY664" fmla="*/ 1235627 h 2563305"/>
                  <a:gd name="connsiteX665" fmla="*/ 1245541 w 2081801"/>
                  <a:gd name="connsiteY665" fmla="*/ 1401321 h 2563305"/>
                  <a:gd name="connsiteX666" fmla="*/ 1234211 w 2081801"/>
                  <a:gd name="connsiteY666" fmla="*/ 1414067 h 2563305"/>
                  <a:gd name="connsiteX667" fmla="*/ 1154904 w 2081801"/>
                  <a:gd name="connsiteY667" fmla="*/ 1391408 h 2563305"/>
                  <a:gd name="connsiteX668" fmla="*/ 1123748 w 2081801"/>
                  <a:gd name="connsiteY668" fmla="*/ 1306436 h 2563305"/>
                  <a:gd name="connsiteX669" fmla="*/ 1271032 w 2081801"/>
                  <a:gd name="connsiteY669" fmla="*/ 1190308 h 2563305"/>
                  <a:gd name="connsiteX670" fmla="*/ 781030 w 2081801"/>
                  <a:gd name="connsiteY670" fmla="*/ 901405 h 2563305"/>
                  <a:gd name="connsiteX671" fmla="*/ 687561 w 2081801"/>
                  <a:gd name="connsiteY671" fmla="*/ 887243 h 2563305"/>
                  <a:gd name="connsiteX672" fmla="*/ 680480 w 2081801"/>
                  <a:gd name="connsiteY672" fmla="*/ 850422 h 2563305"/>
                  <a:gd name="connsiteX673" fmla="*/ 1102505 w 2081801"/>
                  <a:gd name="connsiteY673" fmla="*/ 781029 h 2563305"/>
                  <a:gd name="connsiteX674" fmla="*/ 1102505 w 2081801"/>
                  <a:gd name="connsiteY674" fmla="*/ 781029 h 2563305"/>
                  <a:gd name="connsiteX675" fmla="*/ 1120916 w 2081801"/>
                  <a:gd name="connsiteY675" fmla="*/ 701722 h 2563305"/>
                  <a:gd name="connsiteX676" fmla="*/ 1130829 w 2081801"/>
                  <a:gd name="connsiteY676" fmla="*/ 700306 h 2563305"/>
                  <a:gd name="connsiteX677" fmla="*/ 1198806 w 2081801"/>
                  <a:gd name="connsiteY677" fmla="*/ 765451 h 2563305"/>
                  <a:gd name="connsiteX678" fmla="*/ 1198806 w 2081801"/>
                  <a:gd name="connsiteY678" fmla="*/ 765451 h 2563305"/>
                  <a:gd name="connsiteX679" fmla="*/ 1293691 w 2081801"/>
                  <a:gd name="connsiteY679" fmla="*/ 754122 h 2563305"/>
                  <a:gd name="connsiteX680" fmla="*/ 1290859 w 2081801"/>
                  <a:gd name="connsiteY680" fmla="*/ 833428 h 2563305"/>
                  <a:gd name="connsiteX681" fmla="*/ 1242708 w 2081801"/>
                  <a:gd name="connsiteY681" fmla="*/ 907070 h 2563305"/>
                  <a:gd name="connsiteX682" fmla="*/ 1132245 w 2081801"/>
                  <a:gd name="connsiteY682" fmla="*/ 911319 h 2563305"/>
                  <a:gd name="connsiteX683" fmla="*/ 1132245 w 2081801"/>
                  <a:gd name="connsiteY683" fmla="*/ 911319 h 2563305"/>
                  <a:gd name="connsiteX684" fmla="*/ 1112419 w 2081801"/>
                  <a:gd name="connsiteY684" fmla="*/ 950972 h 2563305"/>
                  <a:gd name="connsiteX685" fmla="*/ 946724 w 2081801"/>
                  <a:gd name="connsiteY685" fmla="*/ 925481 h 2563305"/>
                  <a:gd name="connsiteX686" fmla="*/ 946724 w 2081801"/>
                  <a:gd name="connsiteY686" fmla="*/ 885827 h 2563305"/>
                  <a:gd name="connsiteX687" fmla="*/ 946724 w 2081801"/>
                  <a:gd name="connsiteY687" fmla="*/ 885827 h 2563305"/>
                  <a:gd name="connsiteX688" fmla="*/ 781030 w 2081801"/>
                  <a:gd name="connsiteY688" fmla="*/ 901405 h 2563305"/>
                  <a:gd name="connsiteX689" fmla="*/ 1292275 w 2081801"/>
                  <a:gd name="connsiteY689" fmla="*/ 919816 h 2563305"/>
                  <a:gd name="connsiteX690" fmla="*/ 1295107 w 2081801"/>
                  <a:gd name="connsiteY690" fmla="*/ 834844 h 2563305"/>
                  <a:gd name="connsiteX691" fmla="*/ 1346090 w 2081801"/>
                  <a:gd name="connsiteY691" fmla="*/ 758370 h 2563305"/>
                  <a:gd name="connsiteX692" fmla="*/ 1316350 w 2081801"/>
                  <a:gd name="connsiteY692" fmla="*/ 931145 h 2563305"/>
                  <a:gd name="connsiteX693" fmla="*/ 1292275 w 2081801"/>
                  <a:gd name="connsiteY693" fmla="*/ 919816 h 2563305"/>
                  <a:gd name="connsiteX694" fmla="*/ 1320599 w 2081801"/>
                  <a:gd name="connsiteY694" fmla="*/ 1150655 h 2563305"/>
                  <a:gd name="connsiteX695" fmla="*/ 1324847 w 2081801"/>
                  <a:gd name="connsiteY695" fmla="*/ 1147823 h 2563305"/>
                  <a:gd name="connsiteX696" fmla="*/ 1419732 w 2081801"/>
                  <a:gd name="connsiteY696" fmla="*/ 1139326 h 2563305"/>
                  <a:gd name="connsiteX697" fmla="*/ 1409819 w 2081801"/>
                  <a:gd name="connsiteY697" fmla="*/ 1169065 h 2563305"/>
                  <a:gd name="connsiteX698" fmla="*/ 1320599 w 2081801"/>
                  <a:gd name="connsiteY698" fmla="*/ 1150655 h 2563305"/>
                  <a:gd name="connsiteX699" fmla="*/ 1278113 w 2081801"/>
                  <a:gd name="connsiteY699" fmla="*/ 1152071 h 2563305"/>
                  <a:gd name="connsiteX700" fmla="*/ 1272448 w 2081801"/>
                  <a:gd name="connsiteY700" fmla="*/ 1187476 h 2563305"/>
                  <a:gd name="connsiteX701" fmla="*/ 1123748 w 2081801"/>
                  <a:gd name="connsiteY701" fmla="*/ 1303604 h 2563305"/>
                  <a:gd name="connsiteX702" fmla="*/ 1075598 w 2081801"/>
                  <a:gd name="connsiteY702" fmla="*/ 1170482 h 2563305"/>
                  <a:gd name="connsiteX703" fmla="*/ 1278113 w 2081801"/>
                  <a:gd name="connsiteY703" fmla="*/ 1152071 h 2563305"/>
                  <a:gd name="connsiteX704" fmla="*/ 1273864 w 2081801"/>
                  <a:gd name="connsiteY704" fmla="*/ 1186060 h 2563305"/>
                  <a:gd name="connsiteX705" fmla="*/ 1279529 w 2081801"/>
                  <a:gd name="connsiteY705" fmla="*/ 1153487 h 2563305"/>
                  <a:gd name="connsiteX706" fmla="*/ 1305021 w 2081801"/>
                  <a:gd name="connsiteY706" fmla="*/ 1150655 h 2563305"/>
                  <a:gd name="connsiteX707" fmla="*/ 1316350 w 2081801"/>
                  <a:gd name="connsiteY707" fmla="*/ 1153487 h 2563305"/>
                  <a:gd name="connsiteX708" fmla="*/ 1273864 w 2081801"/>
                  <a:gd name="connsiteY708" fmla="*/ 1186060 h 2563305"/>
                  <a:gd name="connsiteX709" fmla="*/ 1273864 w 2081801"/>
                  <a:gd name="connsiteY709" fmla="*/ 1188892 h 2563305"/>
                  <a:gd name="connsiteX710" fmla="*/ 1319183 w 2081801"/>
                  <a:gd name="connsiteY710" fmla="*/ 1153487 h 2563305"/>
                  <a:gd name="connsiteX711" fmla="*/ 1409819 w 2081801"/>
                  <a:gd name="connsiteY711" fmla="*/ 1171898 h 2563305"/>
                  <a:gd name="connsiteX712" fmla="*/ 1401322 w 2081801"/>
                  <a:gd name="connsiteY712" fmla="*/ 1194557 h 2563305"/>
                  <a:gd name="connsiteX713" fmla="*/ 1265367 w 2081801"/>
                  <a:gd name="connsiteY713" fmla="*/ 1242707 h 2563305"/>
                  <a:gd name="connsiteX714" fmla="*/ 1266783 w 2081801"/>
                  <a:gd name="connsiteY714" fmla="*/ 1235627 h 2563305"/>
                  <a:gd name="connsiteX715" fmla="*/ 1273864 w 2081801"/>
                  <a:gd name="connsiteY715" fmla="*/ 1188892 h 2563305"/>
                  <a:gd name="connsiteX716" fmla="*/ 1263951 w 2081801"/>
                  <a:gd name="connsiteY716" fmla="*/ 1242707 h 2563305"/>
                  <a:gd name="connsiteX717" fmla="*/ 1348922 w 2081801"/>
                  <a:gd name="connsiteY717" fmla="*/ 1285193 h 2563305"/>
                  <a:gd name="connsiteX718" fmla="*/ 1246957 w 2081801"/>
                  <a:gd name="connsiteY718" fmla="*/ 1397072 h 2563305"/>
                  <a:gd name="connsiteX719" fmla="*/ 1263951 w 2081801"/>
                  <a:gd name="connsiteY719" fmla="*/ 1242707 h 2563305"/>
                  <a:gd name="connsiteX720" fmla="*/ 1067100 w 2081801"/>
                  <a:gd name="connsiteY720" fmla="*/ 636578 h 2563305"/>
                  <a:gd name="connsiteX721" fmla="*/ 1048690 w 2081801"/>
                  <a:gd name="connsiteY721" fmla="*/ 645075 h 2563305"/>
                  <a:gd name="connsiteX722" fmla="*/ 1040193 w 2081801"/>
                  <a:gd name="connsiteY722" fmla="*/ 611086 h 2563305"/>
                  <a:gd name="connsiteX723" fmla="*/ 1067100 w 2081801"/>
                  <a:gd name="connsiteY723" fmla="*/ 636578 h 2563305"/>
                  <a:gd name="connsiteX724" fmla="*/ 1200222 w 2081801"/>
                  <a:gd name="connsiteY724" fmla="*/ 764035 h 2563305"/>
                  <a:gd name="connsiteX725" fmla="*/ 1135078 w 2081801"/>
                  <a:gd name="connsiteY725" fmla="*/ 700306 h 2563305"/>
                  <a:gd name="connsiteX726" fmla="*/ 1297940 w 2081801"/>
                  <a:gd name="connsiteY726" fmla="*/ 683312 h 2563305"/>
                  <a:gd name="connsiteX727" fmla="*/ 1296524 w 2081801"/>
                  <a:gd name="connsiteY727" fmla="*/ 754122 h 2563305"/>
                  <a:gd name="connsiteX728" fmla="*/ 1200222 w 2081801"/>
                  <a:gd name="connsiteY728" fmla="*/ 764035 h 2563305"/>
                  <a:gd name="connsiteX729" fmla="*/ 1129413 w 2081801"/>
                  <a:gd name="connsiteY729" fmla="*/ 698890 h 2563305"/>
                  <a:gd name="connsiteX730" fmla="*/ 1120916 w 2081801"/>
                  <a:gd name="connsiteY730" fmla="*/ 700306 h 2563305"/>
                  <a:gd name="connsiteX731" fmla="*/ 1122332 w 2081801"/>
                  <a:gd name="connsiteY731" fmla="*/ 693225 h 2563305"/>
                  <a:gd name="connsiteX732" fmla="*/ 1129413 w 2081801"/>
                  <a:gd name="connsiteY732" fmla="*/ 698890 h 2563305"/>
                  <a:gd name="connsiteX733" fmla="*/ 1140742 w 2081801"/>
                  <a:gd name="connsiteY733" fmla="*/ 605422 h 2563305"/>
                  <a:gd name="connsiteX734" fmla="*/ 1122332 w 2081801"/>
                  <a:gd name="connsiteY734" fmla="*/ 687560 h 2563305"/>
                  <a:gd name="connsiteX735" fmla="*/ 1069933 w 2081801"/>
                  <a:gd name="connsiteY735" fmla="*/ 637994 h 2563305"/>
                  <a:gd name="connsiteX736" fmla="*/ 1140742 w 2081801"/>
                  <a:gd name="connsiteY736" fmla="*/ 605422 h 2563305"/>
                  <a:gd name="connsiteX737" fmla="*/ 1119500 w 2081801"/>
                  <a:gd name="connsiteY737" fmla="*/ 698890 h 2563305"/>
                  <a:gd name="connsiteX738" fmla="*/ 1062852 w 2081801"/>
                  <a:gd name="connsiteY738" fmla="*/ 704555 h 2563305"/>
                  <a:gd name="connsiteX739" fmla="*/ 1048690 w 2081801"/>
                  <a:gd name="connsiteY739" fmla="*/ 646491 h 2563305"/>
                  <a:gd name="connsiteX740" fmla="*/ 1068517 w 2081801"/>
                  <a:gd name="connsiteY740" fmla="*/ 637994 h 2563305"/>
                  <a:gd name="connsiteX741" fmla="*/ 1122332 w 2081801"/>
                  <a:gd name="connsiteY741" fmla="*/ 688977 h 2563305"/>
                  <a:gd name="connsiteX742" fmla="*/ 1119500 w 2081801"/>
                  <a:gd name="connsiteY742" fmla="*/ 698890 h 2563305"/>
                  <a:gd name="connsiteX743" fmla="*/ 1101089 w 2081801"/>
                  <a:gd name="connsiteY743" fmla="*/ 778197 h 2563305"/>
                  <a:gd name="connsiteX744" fmla="*/ 679064 w 2081801"/>
                  <a:gd name="connsiteY744" fmla="*/ 847590 h 2563305"/>
                  <a:gd name="connsiteX745" fmla="*/ 659237 w 2081801"/>
                  <a:gd name="connsiteY745" fmla="*/ 731462 h 2563305"/>
                  <a:gd name="connsiteX746" fmla="*/ 681897 w 2081801"/>
                  <a:gd name="connsiteY746" fmla="*/ 737127 h 2563305"/>
                  <a:gd name="connsiteX747" fmla="*/ 681897 w 2081801"/>
                  <a:gd name="connsiteY747" fmla="*/ 737127 h 2563305"/>
                  <a:gd name="connsiteX748" fmla="*/ 764035 w 2081801"/>
                  <a:gd name="connsiteY748" fmla="*/ 659237 h 2563305"/>
                  <a:gd name="connsiteX749" fmla="*/ 901406 w 2081801"/>
                  <a:gd name="connsiteY749" fmla="*/ 714468 h 2563305"/>
                  <a:gd name="connsiteX750" fmla="*/ 901406 w 2081801"/>
                  <a:gd name="connsiteY750" fmla="*/ 714468 h 2563305"/>
                  <a:gd name="connsiteX751" fmla="*/ 1045857 w 2081801"/>
                  <a:gd name="connsiteY751" fmla="*/ 649323 h 2563305"/>
                  <a:gd name="connsiteX752" fmla="*/ 1060019 w 2081801"/>
                  <a:gd name="connsiteY752" fmla="*/ 708803 h 2563305"/>
                  <a:gd name="connsiteX753" fmla="*/ 1060019 w 2081801"/>
                  <a:gd name="connsiteY753" fmla="*/ 708803 h 2563305"/>
                  <a:gd name="connsiteX754" fmla="*/ 1118083 w 2081801"/>
                  <a:gd name="connsiteY754" fmla="*/ 703139 h 2563305"/>
                  <a:gd name="connsiteX755" fmla="*/ 1101089 w 2081801"/>
                  <a:gd name="connsiteY755" fmla="*/ 778197 h 2563305"/>
                  <a:gd name="connsiteX756" fmla="*/ 1292275 w 2081801"/>
                  <a:gd name="connsiteY756" fmla="*/ 952388 h 2563305"/>
                  <a:gd name="connsiteX757" fmla="*/ 1293691 w 2081801"/>
                  <a:gd name="connsiteY757" fmla="*/ 922648 h 2563305"/>
                  <a:gd name="connsiteX758" fmla="*/ 1316350 w 2081801"/>
                  <a:gd name="connsiteY758" fmla="*/ 933978 h 2563305"/>
                  <a:gd name="connsiteX759" fmla="*/ 1313518 w 2081801"/>
                  <a:gd name="connsiteY759" fmla="*/ 948140 h 2563305"/>
                  <a:gd name="connsiteX760" fmla="*/ 1292275 w 2081801"/>
                  <a:gd name="connsiteY760" fmla="*/ 952388 h 2563305"/>
                  <a:gd name="connsiteX761" fmla="*/ 1279529 w 2081801"/>
                  <a:gd name="connsiteY761" fmla="*/ 1150655 h 2563305"/>
                  <a:gd name="connsiteX762" fmla="*/ 1280945 w 2081801"/>
                  <a:gd name="connsiteY762" fmla="*/ 1146406 h 2563305"/>
                  <a:gd name="connsiteX763" fmla="*/ 1297940 w 2081801"/>
                  <a:gd name="connsiteY763" fmla="*/ 1149239 h 2563305"/>
                  <a:gd name="connsiteX764" fmla="*/ 1279529 w 2081801"/>
                  <a:gd name="connsiteY764" fmla="*/ 1150655 h 2563305"/>
                  <a:gd name="connsiteX765" fmla="*/ 1204471 w 2081801"/>
                  <a:gd name="connsiteY765" fmla="*/ 966550 h 2563305"/>
                  <a:gd name="connsiteX766" fmla="*/ 1200222 w 2081801"/>
                  <a:gd name="connsiteY766" fmla="*/ 973631 h 2563305"/>
                  <a:gd name="connsiteX767" fmla="*/ 1091176 w 2081801"/>
                  <a:gd name="connsiteY767" fmla="*/ 999122 h 2563305"/>
                  <a:gd name="connsiteX768" fmla="*/ 1113835 w 2081801"/>
                  <a:gd name="connsiteY768" fmla="*/ 953804 h 2563305"/>
                  <a:gd name="connsiteX769" fmla="*/ 1204471 w 2081801"/>
                  <a:gd name="connsiteY769" fmla="*/ 966550 h 2563305"/>
                  <a:gd name="connsiteX770" fmla="*/ 1265367 w 2081801"/>
                  <a:gd name="connsiteY770" fmla="*/ 905654 h 2563305"/>
                  <a:gd name="connsiteX771" fmla="*/ 1265367 w 2081801"/>
                  <a:gd name="connsiteY771" fmla="*/ 905654 h 2563305"/>
                  <a:gd name="connsiteX772" fmla="*/ 1246957 w 2081801"/>
                  <a:gd name="connsiteY772" fmla="*/ 905654 h 2563305"/>
                  <a:gd name="connsiteX773" fmla="*/ 1293691 w 2081801"/>
                  <a:gd name="connsiteY773" fmla="*/ 836261 h 2563305"/>
                  <a:gd name="connsiteX774" fmla="*/ 1290859 w 2081801"/>
                  <a:gd name="connsiteY774" fmla="*/ 916984 h 2563305"/>
                  <a:gd name="connsiteX775" fmla="*/ 1265367 w 2081801"/>
                  <a:gd name="connsiteY775" fmla="*/ 905654 h 2563305"/>
                  <a:gd name="connsiteX776" fmla="*/ 1220049 w 2081801"/>
                  <a:gd name="connsiteY776" fmla="*/ 969383 h 2563305"/>
                  <a:gd name="connsiteX777" fmla="*/ 1203055 w 2081801"/>
                  <a:gd name="connsiteY777" fmla="*/ 972215 h 2563305"/>
                  <a:gd name="connsiteX778" fmla="*/ 1207303 w 2081801"/>
                  <a:gd name="connsiteY778" fmla="*/ 966550 h 2563305"/>
                  <a:gd name="connsiteX779" fmla="*/ 1220049 w 2081801"/>
                  <a:gd name="connsiteY779" fmla="*/ 969383 h 2563305"/>
                  <a:gd name="connsiteX780" fmla="*/ 1289443 w 2081801"/>
                  <a:gd name="connsiteY780" fmla="*/ 955221 h 2563305"/>
                  <a:gd name="connsiteX781" fmla="*/ 1289443 w 2081801"/>
                  <a:gd name="connsiteY781" fmla="*/ 977880 h 2563305"/>
                  <a:gd name="connsiteX782" fmla="*/ 1231379 w 2081801"/>
                  <a:gd name="connsiteY782" fmla="*/ 969383 h 2563305"/>
                  <a:gd name="connsiteX783" fmla="*/ 1289443 w 2081801"/>
                  <a:gd name="connsiteY783" fmla="*/ 955221 h 2563305"/>
                  <a:gd name="connsiteX784" fmla="*/ 1289443 w 2081801"/>
                  <a:gd name="connsiteY784" fmla="*/ 952388 h 2563305"/>
                  <a:gd name="connsiteX785" fmla="*/ 1224298 w 2081801"/>
                  <a:gd name="connsiteY785" fmla="*/ 966550 h 2563305"/>
                  <a:gd name="connsiteX786" fmla="*/ 1207303 w 2081801"/>
                  <a:gd name="connsiteY786" fmla="*/ 963718 h 2563305"/>
                  <a:gd name="connsiteX787" fmla="*/ 1244124 w 2081801"/>
                  <a:gd name="connsiteY787" fmla="*/ 907070 h 2563305"/>
                  <a:gd name="connsiteX788" fmla="*/ 1262535 w 2081801"/>
                  <a:gd name="connsiteY788" fmla="*/ 907070 h 2563305"/>
                  <a:gd name="connsiteX789" fmla="*/ 1289443 w 2081801"/>
                  <a:gd name="connsiteY789" fmla="*/ 919816 h 2563305"/>
                  <a:gd name="connsiteX790" fmla="*/ 1289443 w 2081801"/>
                  <a:gd name="connsiteY790" fmla="*/ 952388 h 2563305"/>
                  <a:gd name="connsiteX791" fmla="*/ 1242708 w 2081801"/>
                  <a:gd name="connsiteY791" fmla="*/ 908486 h 2563305"/>
                  <a:gd name="connsiteX792" fmla="*/ 1205887 w 2081801"/>
                  <a:gd name="connsiteY792" fmla="*/ 963718 h 2563305"/>
                  <a:gd name="connsiteX793" fmla="*/ 1115251 w 2081801"/>
                  <a:gd name="connsiteY793" fmla="*/ 949556 h 2563305"/>
                  <a:gd name="connsiteX794" fmla="*/ 1135078 w 2081801"/>
                  <a:gd name="connsiteY794" fmla="*/ 911319 h 2563305"/>
                  <a:gd name="connsiteX795" fmla="*/ 1242708 w 2081801"/>
                  <a:gd name="connsiteY795" fmla="*/ 908486 h 2563305"/>
                  <a:gd name="connsiteX796" fmla="*/ 1195974 w 2081801"/>
                  <a:gd name="connsiteY796" fmla="*/ 1126580 h 2563305"/>
                  <a:gd name="connsiteX797" fmla="*/ 1103921 w 2081801"/>
                  <a:gd name="connsiteY797" fmla="*/ 1120915 h 2563305"/>
                  <a:gd name="connsiteX798" fmla="*/ 1200222 w 2081801"/>
                  <a:gd name="connsiteY798" fmla="*/ 976464 h 2563305"/>
                  <a:gd name="connsiteX799" fmla="*/ 1224298 w 2081801"/>
                  <a:gd name="connsiteY799" fmla="*/ 970799 h 2563305"/>
                  <a:gd name="connsiteX800" fmla="*/ 1289443 w 2081801"/>
                  <a:gd name="connsiteY800" fmla="*/ 980712 h 2563305"/>
                  <a:gd name="connsiteX801" fmla="*/ 1289443 w 2081801"/>
                  <a:gd name="connsiteY801" fmla="*/ 980712 h 2563305"/>
                  <a:gd name="connsiteX802" fmla="*/ 1289443 w 2081801"/>
                  <a:gd name="connsiteY802" fmla="*/ 955221 h 2563305"/>
                  <a:gd name="connsiteX803" fmla="*/ 1310685 w 2081801"/>
                  <a:gd name="connsiteY803" fmla="*/ 950972 h 2563305"/>
                  <a:gd name="connsiteX804" fmla="*/ 1276697 w 2081801"/>
                  <a:gd name="connsiteY804" fmla="*/ 1144990 h 2563305"/>
                  <a:gd name="connsiteX805" fmla="*/ 1195974 w 2081801"/>
                  <a:gd name="connsiteY805" fmla="*/ 1126580 h 2563305"/>
                  <a:gd name="connsiteX806" fmla="*/ 1054355 w 2081801"/>
                  <a:gd name="connsiteY806" fmla="*/ 1119499 h 2563305"/>
                  <a:gd name="connsiteX807" fmla="*/ 1071349 w 2081801"/>
                  <a:gd name="connsiteY807" fmla="*/ 1166233 h 2563305"/>
                  <a:gd name="connsiteX808" fmla="*/ 1068517 w 2081801"/>
                  <a:gd name="connsiteY808" fmla="*/ 1170482 h 2563305"/>
                  <a:gd name="connsiteX809" fmla="*/ 1000540 w 2081801"/>
                  <a:gd name="connsiteY809" fmla="*/ 1176146 h 2563305"/>
                  <a:gd name="connsiteX810" fmla="*/ 1030279 w 2081801"/>
                  <a:gd name="connsiteY810" fmla="*/ 1116666 h 2563305"/>
                  <a:gd name="connsiteX811" fmla="*/ 1054355 w 2081801"/>
                  <a:gd name="connsiteY811" fmla="*/ 1119499 h 2563305"/>
                  <a:gd name="connsiteX812" fmla="*/ 1198806 w 2081801"/>
                  <a:gd name="connsiteY812" fmla="*/ 976464 h 2563305"/>
                  <a:gd name="connsiteX813" fmla="*/ 1102505 w 2081801"/>
                  <a:gd name="connsiteY813" fmla="*/ 1120915 h 2563305"/>
                  <a:gd name="connsiteX814" fmla="*/ 1055771 w 2081801"/>
                  <a:gd name="connsiteY814" fmla="*/ 1118083 h 2563305"/>
                  <a:gd name="connsiteX815" fmla="*/ 1045857 w 2081801"/>
                  <a:gd name="connsiteY815" fmla="*/ 1089759 h 2563305"/>
                  <a:gd name="connsiteX816" fmla="*/ 1091176 w 2081801"/>
                  <a:gd name="connsiteY816" fmla="*/ 1001955 h 2563305"/>
                  <a:gd name="connsiteX817" fmla="*/ 1198806 w 2081801"/>
                  <a:gd name="connsiteY817" fmla="*/ 976464 h 2563305"/>
                  <a:gd name="connsiteX818" fmla="*/ 1031696 w 2081801"/>
                  <a:gd name="connsiteY818" fmla="*/ 1115250 h 2563305"/>
                  <a:gd name="connsiteX819" fmla="*/ 1044441 w 2081801"/>
                  <a:gd name="connsiteY819" fmla="*/ 1091175 h 2563305"/>
                  <a:gd name="connsiteX820" fmla="*/ 1052938 w 2081801"/>
                  <a:gd name="connsiteY820" fmla="*/ 1116666 h 2563305"/>
                  <a:gd name="connsiteX821" fmla="*/ 1031696 w 2081801"/>
                  <a:gd name="connsiteY821" fmla="*/ 1115250 h 2563305"/>
                  <a:gd name="connsiteX822" fmla="*/ 1088343 w 2081801"/>
                  <a:gd name="connsiteY822" fmla="*/ 1000539 h 2563305"/>
                  <a:gd name="connsiteX823" fmla="*/ 1045857 w 2081801"/>
                  <a:gd name="connsiteY823" fmla="*/ 1085510 h 2563305"/>
                  <a:gd name="connsiteX824" fmla="*/ 1020366 w 2081801"/>
                  <a:gd name="connsiteY824" fmla="*/ 1016117 h 2563305"/>
                  <a:gd name="connsiteX825" fmla="*/ 1088343 w 2081801"/>
                  <a:gd name="connsiteY825" fmla="*/ 1000539 h 2563305"/>
                  <a:gd name="connsiteX826" fmla="*/ 1088343 w 2081801"/>
                  <a:gd name="connsiteY826" fmla="*/ 999122 h 2563305"/>
                  <a:gd name="connsiteX827" fmla="*/ 1016117 w 2081801"/>
                  <a:gd name="connsiteY827" fmla="*/ 1016117 h 2563305"/>
                  <a:gd name="connsiteX828" fmla="*/ 1016117 w 2081801"/>
                  <a:gd name="connsiteY828" fmla="*/ 1016117 h 2563305"/>
                  <a:gd name="connsiteX829" fmla="*/ 1043025 w 2081801"/>
                  <a:gd name="connsiteY829" fmla="*/ 1089759 h 2563305"/>
                  <a:gd name="connsiteX830" fmla="*/ 1030279 w 2081801"/>
                  <a:gd name="connsiteY830" fmla="*/ 1116666 h 2563305"/>
                  <a:gd name="connsiteX831" fmla="*/ 946724 w 2081801"/>
                  <a:gd name="connsiteY831" fmla="*/ 1111002 h 2563305"/>
                  <a:gd name="connsiteX832" fmla="*/ 948140 w 2081801"/>
                  <a:gd name="connsiteY832" fmla="*/ 929729 h 2563305"/>
                  <a:gd name="connsiteX833" fmla="*/ 1113835 w 2081801"/>
                  <a:gd name="connsiteY833" fmla="*/ 953804 h 2563305"/>
                  <a:gd name="connsiteX834" fmla="*/ 1088343 w 2081801"/>
                  <a:gd name="connsiteY834" fmla="*/ 999122 h 2563305"/>
                  <a:gd name="connsiteX835" fmla="*/ 1101089 w 2081801"/>
                  <a:gd name="connsiteY835" fmla="*/ 1122331 h 2563305"/>
                  <a:gd name="connsiteX836" fmla="*/ 1072765 w 2081801"/>
                  <a:gd name="connsiteY836" fmla="*/ 1164817 h 2563305"/>
                  <a:gd name="connsiteX837" fmla="*/ 1055771 w 2081801"/>
                  <a:gd name="connsiteY837" fmla="*/ 1119499 h 2563305"/>
                  <a:gd name="connsiteX838" fmla="*/ 1101089 w 2081801"/>
                  <a:gd name="connsiteY838" fmla="*/ 1122331 h 2563305"/>
                  <a:gd name="connsiteX839" fmla="*/ 1102505 w 2081801"/>
                  <a:gd name="connsiteY839" fmla="*/ 1122331 h 2563305"/>
                  <a:gd name="connsiteX840" fmla="*/ 1195974 w 2081801"/>
                  <a:gd name="connsiteY840" fmla="*/ 1129412 h 2563305"/>
                  <a:gd name="connsiteX841" fmla="*/ 1279529 w 2081801"/>
                  <a:gd name="connsiteY841" fmla="*/ 1146406 h 2563305"/>
                  <a:gd name="connsiteX842" fmla="*/ 1278113 w 2081801"/>
                  <a:gd name="connsiteY842" fmla="*/ 1152071 h 2563305"/>
                  <a:gd name="connsiteX843" fmla="*/ 1074181 w 2081801"/>
                  <a:gd name="connsiteY843" fmla="*/ 1170482 h 2563305"/>
                  <a:gd name="connsiteX844" fmla="*/ 1072765 w 2081801"/>
                  <a:gd name="connsiteY844" fmla="*/ 1167649 h 2563305"/>
                  <a:gd name="connsiteX845" fmla="*/ 1102505 w 2081801"/>
                  <a:gd name="connsiteY845" fmla="*/ 1122331 h 2563305"/>
                  <a:gd name="connsiteX846" fmla="*/ 1296524 w 2081801"/>
                  <a:gd name="connsiteY846" fmla="*/ 680480 h 2563305"/>
                  <a:gd name="connsiteX847" fmla="*/ 1132245 w 2081801"/>
                  <a:gd name="connsiteY847" fmla="*/ 697474 h 2563305"/>
                  <a:gd name="connsiteX848" fmla="*/ 1123748 w 2081801"/>
                  <a:gd name="connsiteY848" fmla="*/ 688977 h 2563305"/>
                  <a:gd name="connsiteX849" fmla="*/ 1143575 w 2081801"/>
                  <a:gd name="connsiteY849" fmla="*/ 604005 h 2563305"/>
                  <a:gd name="connsiteX850" fmla="*/ 1169066 w 2081801"/>
                  <a:gd name="connsiteY850" fmla="*/ 592676 h 2563305"/>
                  <a:gd name="connsiteX851" fmla="*/ 1227130 w 2081801"/>
                  <a:gd name="connsiteY851" fmla="*/ 595508 h 2563305"/>
                  <a:gd name="connsiteX852" fmla="*/ 1297940 w 2081801"/>
                  <a:gd name="connsiteY852" fmla="*/ 654988 h 2563305"/>
                  <a:gd name="connsiteX853" fmla="*/ 1296524 w 2081801"/>
                  <a:gd name="connsiteY853" fmla="*/ 680480 h 2563305"/>
                  <a:gd name="connsiteX854" fmla="*/ 1144991 w 2081801"/>
                  <a:gd name="connsiteY854" fmla="*/ 591260 h 2563305"/>
                  <a:gd name="connsiteX855" fmla="*/ 1142159 w 2081801"/>
                  <a:gd name="connsiteY855" fmla="*/ 602589 h 2563305"/>
                  <a:gd name="connsiteX856" fmla="*/ 1069933 w 2081801"/>
                  <a:gd name="connsiteY856" fmla="*/ 635161 h 2563305"/>
                  <a:gd name="connsiteX857" fmla="*/ 1040193 w 2081801"/>
                  <a:gd name="connsiteY857" fmla="*/ 606838 h 2563305"/>
                  <a:gd name="connsiteX858" fmla="*/ 1034528 w 2081801"/>
                  <a:gd name="connsiteY858" fmla="*/ 584179 h 2563305"/>
                  <a:gd name="connsiteX859" fmla="*/ 1144991 w 2081801"/>
                  <a:gd name="connsiteY859" fmla="*/ 591260 h 2563305"/>
                  <a:gd name="connsiteX860" fmla="*/ 510537 w 2081801"/>
                  <a:gd name="connsiteY860" fmla="*/ 555855 h 2563305"/>
                  <a:gd name="connsiteX861" fmla="*/ 798024 w 2081801"/>
                  <a:gd name="connsiteY861" fmla="*/ 572849 h 2563305"/>
                  <a:gd name="connsiteX862" fmla="*/ 827764 w 2081801"/>
                  <a:gd name="connsiteY862" fmla="*/ 595508 h 2563305"/>
                  <a:gd name="connsiteX863" fmla="*/ 762619 w 2081801"/>
                  <a:gd name="connsiteY863" fmla="*/ 657821 h 2563305"/>
                  <a:gd name="connsiteX864" fmla="*/ 510537 w 2081801"/>
                  <a:gd name="connsiteY864" fmla="*/ 555855 h 2563305"/>
                  <a:gd name="connsiteX865" fmla="*/ 679064 w 2081801"/>
                  <a:gd name="connsiteY865" fmla="*/ 850422 h 2563305"/>
                  <a:gd name="connsiteX866" fmla="*/ 686145 w 2081801"/>
                  <a:gd name="connsiteY866" fmla="*/ 888660 h 2563305"/>
                  <a:gd name="connsiteX867" fmla="*/ 686145 w 2081801"/>
                  <a:gd name="connsiteY867" fmla="*/ 888660 h 2563305"/>
                  <a:gd name="connsiteX868" fmla="*/ 772533 w 2081801"/>
                  <a:gd name="connsiteY868" fmla="*/ 901405 h 2563305"/>
                  <a:gd name="connsiteX869" fmla="*/ 677648 w 2081801"/>
                  <a:gd name="connsiteY869" fmla="*/ 909903 h 2563305"/>
                  <a:gd name="connsiteX870" fmla="*/ 637995 w 2081801"/>
                  <a:gd name="connsiteY870" fmla="*/ 856087 h 2563305"/>
                  <a:gd name="connsiteX871" fmla="*/ 679064 w 2081801"/>
                  <a:gd name="connsiteY871" fmla="*/ 850422 h 2563305"/>
                  <a:gd name="connsiteX872" fmla="*/ 1071349 w 2081801"/>
                  <a:gd name="connsiteY872" fmla="*/ 1170482 h 2563305"/>
                  <a:gd name="connsiteX873" fmla="*/ 1072765 w 2081801"/>
                  <a:gd name="connsiteY873" fmla="*/ 1169065 h 2563305"/>
                  <a:gd name="connsiteX874" fmla="*/ 1072765 w 2081801"/>
                  <a:gd name="connsiteY874" fmla="*/ 1170482 h 2563305"/>
                  <a:gd name="connsiteX875" fmla="*/ 1071349 w 2081801"/>
                  <a:gd name="connsiteY875" fmla="*/ 1170482 h 2563305"/>
                  <a:gd name="connsiteX876" fmla="*/ 1402738 w 2081801"/>
                  <a:gd name="connsiteY876" fmla="*/ 1193141 h 2563305"/>
                  <a:gd name="connsiteX877" fmla="*/ 1409819 w 2081801"/>
                  <a:gd name="connsiteY877" fmla="*/ 1171898 h 2563305"/>
                  <a:gd name="connsiteX878" fmla="*/ 1443807 w 2081801"/>
                  <a:gd name="connsiteY878" fmla="*/ 1178979 h 2563305"/>
                  <a:gd name="connsiteX879" fmla="*/ 1402738 w 2081801"/>
                  <a:gd name="connsiteY879" fmla="*/ 1193141 h 2563305"/>
                  <a:gd name="connsiteX880" fmla="*/ 1347507 w 2081801"/>
                  <a:gd name="connsiteY880" fmla="*/ 748457 h 2563305"/>
                  <a:gd name="connsiteX881" fmla="*/ 1346090 w 2081801"/>
                  <a:gd name="connsiteY881" fmla="*/ 752705 h 2563305"/>
                  <a:gd name="connsiteX882" fmla="*/ 1293691 w 2081801"/>
                  <a:gd name="connsiteY882" fmla="*/ 830596 h 2563305"/>
                  <a:gd name="connsiteX883" fmla="*/ 1295107 w 2081801"/>
                  <a:gd name="connsiteY883" fmla="*/ 754122 h 2563305"/>
                  <a:gd name="connsiteX884" fmla="*/ 1347507 w 2081801"/>
                  <a:gd name="connsiteY884" fmla="*/ 748457 h 2563305"/>
                  <a:gd name="connsiteX885" fmla="*/ 1144991 w 2081801"/>
                  <a:gd name="connsiteY885" fmla="*/ 602589 h 2563305"/>
                  <a:gd name="connsiteX886" fmla="*/ 1147823 w 2081801"/>
                  <a:gd name="connsiteY886" fmla="*/ 592676 h 2563305"/>
                  <a:gd name="connsiteX887" fmla="*/ 1166234 w 2081801"/>
                  <a:gd name="connsiteY887" fmla="*/ 594092 h 2563305"/>
                  <a:gd name="connsiteX888" fmla="*/ 1144991 w 2081801"/>
                  <a:gd name="connsiteY888" fmla="*/ 602589 h 2563305"/>
                  <a:gd name="connsiteX889" fmla="*/ 901406 w 2081801"/>
                  <a:gd name="connsiteY889" fmla="*/ 711636 h 2563305"/>
                  <a:gd name="connsiteX890" fmla="*/ 765452 w 2081801"/>
                  <a:gd name="connsiteY890" fmla="*/ 657821 h 2563305"/>
                  <a:gd name="connsiteX891" fmla="*/ 832012 w 2081801"/>
                  <a:gd name="connsiteY891" fmla="*/ 595508 h 2563305"/>
                  <a:gd name="connsiteX892" fmla="*/ 832012 w 2081801"/>
                  <a:gd name="connsiteY892" fmla="*/ 595508 h 2563305"/>
                  <a:gd name="connsiteX893" fmla="*/ 802273 w 2081801"/>
                  <a:gd name="connsiteY893" fmla="*/ 572849 h 2563305"/>
                  <a:gd name="connsiteX894" fmla="*/ 1011869 w 2081801"/>
                  <a:gd name="connsiteY894" fmla="*/ 584179 h 2563305"/>
                  <a:gd name="connsiteX895" fmla="*/ 1037360 w 2081801"/>
                  <a:gd name="connsiteY895" fmla="*/ 608254 h 2563305"/>
                  <a:gd name="connsiteX896" fmla="*/ 1045857 w 2081801"/>
                  <a:gd name="connsiteY896" fmla="*/ 645075 h 2563305"/>
                  <a:gd name="connsiteX897" fmla="*/ 901406 w 2081801"/>
                  <a:gd name="connsiteY897" fmla="*/ 711636 h 2563305"/>
                  <a:gd name="connsiteX898" fmla="*/ 1000540 w 2081801"/>
                  <a:gd name="connsiteY898" fmla="*/ 1317765 h 2563305"/>
                  <a:gd name="connsiteX899" fmla="*/ 1000540 w 2081801"/>
                  <a:gd name="connsiteY899" fmla="*/ 1317765 h 2563305"/>
                  <a:gd name="connsiteX900" fmla="*/ 992042 w 2081801"/>
                  <a:gd name="connsiteY900" fmla="*/ 1289442 h 2563305"/>
                  <a:gd name="connsiteX901" fmla="*/ 1069933 w 2081801"/>
                  <a:gd name="connsiteY901" fmla="*/ 1171898 h 2563305"/>
                  <a:gd name="connsiteX902" fmla="*/ 1072765 w 2081801"/>
                  <a:gd name="connsiteY902" fmla="*/ 1171898 h 2563305"/>
                  <a:gd name="connsiteX903" fmla="*/ 1120916 w 2081801"/>
                  <a:gd name="connsiteY903" fmla="*/ 1305020 h 2563305"/>
                  <a:gd name="connsiteX904" fmla="*/ 1050106 w 2081801"/>
                  <a:gd name="connsiteY904" fmla="*/ 1360251 h 2563305"/>
                  <a:gd name="connsiteX905" fmla="*/ 990626 w 2081801"/>
                  <a:gd name="connsiteY905" fmla="*/ 1343257 h 2563305"/>
                  <a:gd name="connsiteX906" fmla="*/ 1000540 w 2081801"/>
                  <a:gd name="connsiteY906" fmla="*/ 1317765 h 2563305"/>
                  <a:gd name="connsiteX907" fmla="*/ 1054355 w 2081801"/>
                  <a:gd name="connsiteY907" fmla="*/ 1361667 h 2563305"/>
                  <a:gd name="connsiteX908" fmla="*/ 1122332 w 2081801"/>
                  <a:gd name="connsiteY908" fmla="*/ 1307852 h 2563305"/>
                  <a:gd name="connsiteX909" fmla="*/ 1152072 w 2081801"/>
                  <a:gd name="connsiteY909" fmla="*/ 1389991 h 2563305"/>
                  <a:gd name="connsiteX910" fmla="*/ 1054355 w 2081801"/>
                  <a:gd name="connsiteY910" fmla="*/ 1361667 h 2563305"/>
                  <a:gd name="connsiteX911" fmla="*/ 1351755 w 2081801"/>
                  <a:gd name="connsiteY911" fmla="*/ 1283777 h 2563305"/>
                  <a:gd name="connsiteX912" fmla="*/ 1269616 w 2081801"/>
                  <a:gd name="connsiteY912" fmla="*/ 1242707 h 2563305"/>
                  <a:gd name="connsiteX913" fmla="*/ 1399905 w 2081801"/>
                  <a:gd name="connsiteY913" fmla="*/ 1195973 h 2563305"/>
                  <a:gd name="connsiteX914" fmla="*/ 1380079 w 2081801"/>
                  <a:gd name="connsiteY914" fmla="*/ 1252621 h 2563305"/>
                  <a:gd name="connsiteX915" fmla="*/ 1351755 w 2081801"/>
                  <a:gd name="connsiteY915" fmla="*/ 1283777 h 2563305"/>
                  <a:gd name="connsiteX916" fmla="*/ 1446640 w 2081801"/>
                  <a:gd name="connsiteY916" fmla="*/ 1178979 h 2563305"/>
                  <a:gd name="connsiteX917" fmla="*/ 1384327 w 2081801"/>
                  <a:gd name="connsiteY917" fmla="*/ 1248372 h 2563305"/>
                  <a:gd name="connsiteX918" fmla="*/ 1402738 w 2081801"/>
                  <a:gd name="connsiteY918" fmla="*/ 1194557 h 2563305"/>
                  <a:gd name="connsiteX919" fmla="*/ 1446640 w 2081801"/>
                  <a:gd name="connsiteY919" fmla="*/ 1178979 h 2563305"/>
                  <a:gd name="connsiteX920" fmla="*/ 1146407 w 2081801"/>
                  <a:gd name="connsiteY920" fmla="*/ 589843 h 2563305"/>
                  <a:gd name="connsiteX921" fmla="*/ 1157737 w 2081801"/>
                  <a:gd name="connsiteY921" fmla="*/ 538860 h 2563305"/>
                  <a:gd name="connsiteX922" fmla="*/ 1201639 w 2081801"/>
                  <a:gd name="connsiteY922" fmla="*/ 575682 h 2563305"/>
                  <a:gd name="connsiteX923" fmla="*/ 1167650 w 2081801"/>
                  <a:gd name="connsiteY923" fmla="*/ 591260 h 2563305"/>
                  <a:gd name="connsiteX924" fmla="*/ 1146407 w 2081801"/>
                  <a:gd name="connsiteY924" fmla="*/ 589843 h 2563305"/>
                  <a:gd name="connsiteX925" fmla="*/ 799440 w 2081801"/>
                  <a:gd name="connsiteY925" fmla="*/ 570017 h 2563305"/>
                  <a:gd name="connsiteX926" fmla="*/ 662069 w 2081801"/>
                  <a:gd name="connsiteY926" fmla="*/ 465219 h 2563305"/>
                  <a:gd name="connsiteX927" fmla="*/ 812186 w 2081801"/>
                  <a:gd name="connsiteY927" fmla="*/ 388744 h 2563305"/>
                  <a:gd name="connsiteX928" fmla="*/ 1010453 w 2081801"/>
                  <a:gd name="connsiteY928" fmla="*/ 581346 h 2563305"/>
                  <a:gd name="connsiteX929" fmla="*/ 799440 w 2081801"/>
                  <a:gd name="connsiteY929" fmla="*/ 570017 h 2563305"/>
                  <a:gd name="connsiteX930" fmla="*/ 492127 w 2081801"/>
                  <a:gd name="connsiteY930" fmla="*/ 550190 h 2563305"/>
                  <a:gd name="connsiteX931" fmla="*/ 483630 w 2081801"/>
                  <a:gd name="connsiteY931" fmla="*/ 554439 h 2563305"/>
                  <a:gd name="connsiteX932" fmla="*/ 504873 w 2081801"/>
                  <a:gd name="connsiteY932" fmla="*/ 555855 h 2563305"/>
                  <a:gd name="connsiteX933" fmla="*/ 762619 w 2081801"/>
                  <a:gd name="connsiteY933" fmla="*/ 659237 h 2563305"/>
                  <a:gd name="connsiteX934" fmla="*/ 681897 w 2081801"/>
                  <a:gd name="connsiteY934" fmla="*/ 735711 h 2563305"/>
                  <a:gd name="connsiteX935" fmla="*/ 659237 w 2081801"/>
                  <a:gd name="connsiteY935" fmla="*/ 730046 h 2563305"/>
                  <a:gd name="connsiteX936" fmla="*/ 639411 w 2081801"/>
                  <a:gd name="connsiteY936" fmla="*/ 621000 h 2563305"/>
                  <a:gd name="connsiteX937" fmla="*/ 639411 w 2081801"/>
                  <a:gd name="connsiteY937" fmla="*/ 621000 h 2563305"/>
                  <a:gd name="connsiteX938" fmla="*/ 509121 w 2081801"/>
                  <a:gd name="connsiteY938" fmla="*/ 659237 h 2563305"/>
                  <a:gd name="connsiteX939" fmla="*/ 452473 w 2081801"/>
                  <a:gd name="connsiteY939" fmla="*/ 534612 h 2563305"/>
                  <a:gd name="connsiteX940" fmla="*/ 492127 w 2081801"/>
                  <a:gd name="connsiteY940" fmla="*/ 550190 h 2563305"/>
                  <a:gd name="connsiteX941" fmla="*/ 657821 w 2081801"/>
                  <a:gd name="connsiteY941" fmla="*/ 731462 h 2563305"/>
                  <a:gd name="connsiteX942" fmla="*/ 679064 w 2081801"/>
                  <a:gd name="connsiteY942" fmla="*/ 847590 h 2563305"/>
                  <a:gd name="connsiteX943" fmla="*/ 636578 w 2081801"/>
                  <a:gd name="connsiteY943" fmla="*/ 854671 h 2563305"/>
                  <a:gd name="connsiteX944" fmla="*/ 543110 w 2081801"/>
                  <a:gd name="connsiteY944" fmla="*/ 730046 h 2563305"/>
                  <a:gd name="connsiteX945" fmla="*/ 530364 w 2081801"/>
                  <a:gd name="connsiteY945" fmla="*/ 701722 h 2563305"/>
                  <a:gd name="connsiteX946" fmla="*/ 657821 w 2081801"/>
                  <a:gd name="connsiteY946" fmla="*/ 731462 h 2563305"/>
                  <a:gd name="connsiteX947" fmla="*/ 691810 w 2081801"/>
                  <a:gd name="connsiteY947" fmla="*/ 931145 h 2563305"/>
                  <a:gd name="connsiteX948" fmla="*/ 691810 w 2081801"/>
                  <a:gd name="connsiteY948" fmla="*/ 931145 h 2563305"/>
                  <a:gd name="connsiteX949" fmla="*/ 677648 w 2081801"/>
                  <a:gd name="connsiteY949" fmla="*/ 912735 h 2563305"/>
                  <a:gd name="connsiteX950" fmla="*/ 779614 w 2081801"/>
                  <a:gd name="connsiteY950" fmla="*/ 902822 h 2563305"/>
                  <a:gd name="connsiteX951" fmla="*/ 943892 w 2081801"/>
                  <a:gd name="connsiteY951" fmla="*/ 926897 h 2563305"/>
                  <a:gd name="connsiteX952" fmla="*/ 942476 w 2081801"/>
                  <a:gd name="connsiteY952" fmla="*/ 1108169 h 2563305"/>
                  <a:gd name="connsiteX953" fmla="*/ 705972 w 2081801"/>
                  <a:gd name="connsiteY953" fmla="*/ 1091175 h 2563305"/>
                  <a:gd name="connsiteX954" fmla="*/ 633746 w 2081801"/>
                  <a:gd name="connsiteY954" fmla="*/ 935394 h 2563305"/>
                  <a:gd name="connsiteX955" fmla="*/ 691810 w 2081801"/>
                  <a:gd name="connsiteY955" fmla="*/ 931145 h 2563305"/>
                  <a:gd name="connsiteX956" fmla="*/ 946724 w 2081801"/>
                  <a:gd name="connsiteY956" fmla="*/ 1111002 h 2563305"/>
                  <a:gd name="connsiteX957" fmla="*/ 1028863 w 2081801"/>
                  <a:gd name="connsiteY957" fmla="*/ 1116666 h 2563305"/>
                  <a:gd name="connsiteX958" fmla="*/ 997707 w 2081801"/>
                  <a:gd name="connsiteY958" fmla="*/ 1177563 h 2563305"/>
                  <a:gd name="connsiteX959" fmla="*/ 997707 w 2081801"/>
                  <a:gd name="connsiteY959" fmla="*/ 1177563 h 2563305"/>
                  <a:gd name="connsiteX960" fmla="*/ 1067100 w 2081801"/>
                  <a:gd name="connsiteY960" fmla="*/ 1170482 h 2563305"/>
                  <a:gd name="connsiteX961" fmla="*/ 990626 w 2081801"/>
                  <a:gd name="connsiteY961" fmla="*/ 1285193 h 2563305"/>
                  <a:gd name="connsiteX962" fmla="*/ 962302 w 2081801"/>
                  <a:gd name="connsiteY962" fmla="*/ 1188892 h 2563305"/>
                  <a:gd name="connsiteX963" fmla="*/ 962302 w 2081801"/>
                  <a:gd name="connsiteY963" fmla="*/ 1188892 h 2563305"/>
                  <a:gd name="connsiteX964" fmla="*/ 945308 w 2081801"/>
                  <a:gd name="connsiteY964" fmla="*/ 1188892 h 2563305"/>
                  <a:gd name="connsiteX965" fmla="*/ 946724 w 2081801"/>
                  <a:gd name="connsiteY965" fmla="*/ 1111002 h 2563305"/>
                  <a:gd name="connsiteX966" fmla="*/ 1153488 w 2081801"/>
                  <a:gd name="connsiteY966" fmla="*/ 1392824 h 2563305"/>
                  <a:gd name="connsiteX967" fmla="*/ 1161985 w 2081801"/>
                  <a:gd name="connsiteY967" fmla="*/ 1414067 h 2563305"/>
                  <a:gd name="connsiteX968" fmla="*/ 1011869 w 2081801"/>
                  <a:gd name="connsiteY968" fmla="*/ 1394240 h 2563305"/>
                  <a:gd name="connsiteX969" fmla="*/ 1051522 w 2081801"/>
                  <a:gd name="connsiteY969" fmla="*/ 1363084 h 2563305"/>
                  <a:gd name="connsiteX970" fmla="*/ 1153488 w 2081801"/>
                  <a:gd name="connsiteY970" fmla="*/ 1392824 h 2563305"/>
                  <a:gd name="connsiteX971" fmla="*/ 1113835 w 2081801"/>
                  <a:gd name="connsiteY971" fmla="*/ 1548605 h 2563305"/>
                  <a:gd name="connsiteX972" fmla="*/ 1181812 w 2081801"/>
                  <a:gd name="connsiteY972" fmla="*/ 1473546 h 2563305"/>
                  <a:gd name="connsiteX973" fmla="*/ 1214384 w 2081801"/>
                  <a:gd name="connsiteY973" fmla="*/ 1562767 h 2563305"/>
                  <a:gd name="connsiteX974" fmla="*/ 1113835 w 2081801"/>
                  <a:gd name="connsiteY974" fmla="*/ 1548605 h 2563305"/>
                  <a:gd name="connsiteX975" fmla="*/ 1228546 w 2081801"/>
                  <a:gd name="connsiteY975" fmla="*/ 1567015 h 2563305"/>
                  <a:gd name="connsiteX976" fmla="*/ 1225714 w 2081801"/>
                  <a:gd name="connsiteY976" fmla="*/ 1589674 h 2563305"/>
                  <a:gd name="connsiteX977" fmla="*/ 1217217 w 2081801"/>
                  <a:gd name="connsiteY977" fmla="*/ 1565599 h 2563305"/>
                  <a:gd name="connsiteX978" fmla="*/ 1228546 w 2081801"/>
                  <a:gd name="connsiteY978" fmla="*/ 1567015 h 2563305"/>
                  <a:gd name="connsiteX979" fmla="*/ 1251205 w 2081801"/>
                  <a:gd name="connsiteY979" fmla="*/ 1661900 h 2563305"/>
                  <a:gd name="connsiteX980" fmla="*/ 1280945 w 2081801"/>
                  <a:gd name="connsiteY980" fmla="*/ 1742623 h 2563305"/>
                  <a:gd name="connsiteX981" fmla="*/ 1212968 w 2081801"/>
                  <a:gd name="connsiteY981" fmla="*/ 1751120 h 2563305"/>
                  <a:gd name="connsiteX982" fmla="*/ 1221465 w 2081801"/>
                  <a:gd name="connsiteY982" fmla="*/ 1664732 h 2563305"/>
                  <a:gd name="connsiteX983" fmla="*/ 1251205 w 2081801"/>
                  <a:gd name="connsiteY983" fmla="*/ 1661900 h 2563305"/>
                  <a:gd name="connsiteX984" fmla="*/ 1368749 w 2081801"/>
                  <a:gd name="connsiteY984" fmla="*/ 1292274 h 2563305"/>
                  <a:gd name="connsiteX985" fmla="*/ 1382911 w 2081801"/>
                  <a:gd name="connsiteY985" fmla="*/ 1252621 h 2563305"/>
                  <a:gd name="connsiteX986" fmla="*/ 1450888 w 2081801"/>
                  <a:gd name="connsiteY986" fmla="*/ 1177563 h 2563305"/>
                  <a:gd name="connsiteX987" fmla="*/ 1586843 w 2081801"/>
                  <a:gd name="connsiteY987" fmla="*/ 1204470 h 2563305"/>
                  <a:gd name="connsiteX988" fmla="*/ 1423981 w 2081801"/>
                  <a:gd name="connsiteY988" fmla="*/ 1340425 h 2563305"/>
                  <a:gd name="connsiteX989" fmla="*/ 1394241 w 2081801"/>
                  <a:gd name="connsiteY989" fmla="*/ 1303604 h 2563305"/>
                  <a:gd name="connsiteX990" fmla="*/ 1368749 w 2081801"/>
                  <a:gd name="connsiteY990" fmla="*/ 1292274 h 2563305"/>
                  <a:gd name="connsiteX991" fmla="*/ 1449472 w 2081801"/>
                  <a:gd name="connsiteY991" fmla="*/ 1176146 h 2563305"/>
                  <a:gd name="connsiteX992" fmla="*/ 1411235 w 2081801"/>
                  <a:gd name="connsiteY992" fmla="*/ 1169065 h 2563305"/>
                  <a:gd name="connsiteX993" fmla="*/ 1421148 w 2081801"/>
                  <a:gd name="connsiteY993" fmla="*/ 1139326 h 2563305"/>
                  <a:gd name="connsiteX994" fmla="*/ 1487709 w 2081801"/>
                  <a:gd name="connsiteY994" fmla="*/ 1133661 h 2563305"/>
                  <a:gd name="connsiteX995" fmla="*/ 1449472 w 2081801"/>
                  <a:gd name="connsiteY995" fmla="*/ 1176146 h 2563305"/>
                  <a:gd name="connsiteX996" fmla="*/ 1449472 w 2081801"/>
                  <a:gd name="connsiteY996" fmla="*/ 1176146 h 2563305"/>
                  <a:gd name="connsiteX997" fmla="*/ 1422564 w 2081801"/>
                  <a:gd name="connsiteY997" fmla="*/ 1136493 h 2563305"/>
                  <a:gd name="connsiteX998" fmla="*/ 1455137 w 2081801"/>
                  <a:gd name="connsiteY998" fmla="*/ 1043024 h 2563305"/>
                  <a:gd name="connsiteX999" fmla="*/ 1455137 w 2081801"/>
                  <a:gd name="connsiteY999" fmla="*/ 1043024 h 2563305"/>
                  <a:gd name="connsiteX1000" fmla="*/ 1323431 w 2081801"/>
                  <a:gd name="connsiteY1000" fmla="*/ 1146406 h 2563305"/>
                  <a:gd name="connsiteX1001" fmla="*/ 1305021 w 2081801"/>
                  <a:gd name="connsiteY1001" fmla="*/ 1147823 h 2563305"/>
                  <a:gd name="connsiteX1002" fmla="*/ 1280945 w 2081801"/>
                  <a:gd name="connsiteY1002" fmla="*/ 1143574 h 2563305"/>
                  <a:gd name="connsiteX1003" fmla="*/ 1314934 w 2081801"/>
                  <a:gd name="connsiteY1003" fmla="*/ 949556 h 2563305"/>
                  <a:gd name="connsiteX1004" fmla="*/ 1337593 w 2081801"/>
                  <a:gd name="connsiteY1004" fmla="*/ 943891 h 2563305"/>
                  <a:gd name="connsiteX1005" fmla="*/ 1561351 w 2081801"/>
                  <a:gd name="connsiteY1005" fmla="*/ 1052938 h 2563305"/>
                  <a:gd name="connsiteX1006" fmla="*/ 1490541 w 2081801"/>
                  <a:gd name="connsiteY1006" fmla="*/ 1130828 h 2563305"/>
                  <a:gd name="connsiteX1007" fmla="*/ 1422564 w 2081801"/>
                  <a:gd name="connsiteY1007" fmla="*/ 1136493 h 2563305"/>
                  <a:gd name="connsiteX1008" fmla="*/ 1157737 w 2081801"/>
                  <a:gd name="connsiteY1008" fmla="*/ 536028 h 2563305"/>
                  <a:gd name="connsiteX1009" fmla="*/ 1095424 w 2081801"/>
                  <a:gd name="connsiteY1009" fmla="*/ 483629 h 2563305"/>
                  <a:gd name="connsiteX1010" fmla="*/ 992042 w 2081801"/>
                  <a:gd name="connsiteY1010" fmla="*/ 408571 h 2563305"/>
                  <a:gd name="connsiteX1011" fmla="*/ 992042 w 2081801"/>
                  <a:gd name="connsiteY1011" fmla="*/ 408571 h 2563305"/>
                  <a:gd name="connsiteX1012" fmla="*/ 1033112 w 2081801"/>
                  <a:gd name="connsiteY1012" fmla="*/ 584179 h 2563305"/>
                  <a:gd name="connsiteX1013" fmla="*/ 1014701 w 2081801"/>
                  <a:gd name="connsiteY1013" fmla="*/ 582762 h 2563305"/>
                  <a:gd name="connsiteX1014" fmla="*/ 815018 w 2081801"/>
                  <a:gd name="connsiteY1014" fmla="*/ 388744 h 2563305"/>
                  <a:gd name="connsiteX1015" fmla="*/ 884412 w 2081801"/>
                  <a:gd name="connsiteY1015" fmla="*/ 353340 h 2563305"/>
                  <a:gd name="connsiteX1016" fmla="*/ 1186060 w 2081801"/>
                  <a:gd name="connsiteY1016" fmla="*/ 419901 h 2563305"/>
                  <a:gd name="connsiteX1017" fmla="*/ 1157737 w 2081801"/>
                  <a:gd name="connsiteY1017" fmla="*/ 536028 h 2563305"/>
                  <a:gd name="connsiteX1018" fmla="*/ 527531 w 2081801"/>
                  <a:gd name="connsiteY1018" fmla="*/ 701722 h 2563305"/>
                  <a:gd name="connsiteX1019" fmla="*/ 537445 w 2081801"/>
                  <a:gd name="connsiteY1019" fmla="*/ 722965 h 2563305"/>
                  <a:gd name="connsiteX1020" fmla="*/ 520450 w 2081801"/>
                  <a:gd name="connsiteY1020" fmla="*/ 700306 h 2563305"/>
                  <a:gd name="connsiteX1021" fmla="*/ 527531 w 2081801"/>
                  <a:gd name="connsiteY1021" fmla="*/ 701722 h 2563305"/>
                  <a:gd name="connsiteX1022" fmla="*/ 476549 w 2081801"/>
                  <a:gd name="connsiteY1022" fmla="*/ 928313 h 2563305"/>
                  <a:gd name="connsiteX1023" fmla="*/ 460971 w 2081801"/>
                  <a:gd name="connsiteY1023" fmla="*/ 929729 h 2563305"/>
                  <a:gd name="connsiteX1024" fmla="*/ 442560 w 2081801"/>
                  <a:gd name="connsiteY1024" fmla="*/ 916984 h 2563305"/>
                  <a:gd name="connsiteX1025" fmla="*/ 476549 w 2081801"/>
                  <a:gd name="connsiteY1025" fmla="*/ 928313 h 2563305"/>
                  <a:gd name="connsiteX1026" fmla="*/ 962302 w 2081801"/>
                  <a:gd name="connsiteY1026" fmla="*/ 1334760 h 2563305"/>
                  <a:gd name="connsiteX1027" fmla="*/ 990626 w 2081801"/>
                  <a:gd name="connsiteY1027" fmla="*/ 1292274 h 2563305"/>
                  <a:gd name="connsiteX1028" fmla="*/ 997707 w 2081801"/>
                  <a:gd name="connsiteY1028" fmla="*/ 1317765 h 2563305"/>
                  <a:gd name="connsiteX1029" fmla="*/ 989210 w 2081801"/>
                  <a:gd name="connsiteY1029" fmla="*/ 1343257 h 2563305"/>
                  <a:gd name="connsiteX1030" fmla="*/ 962302 w 2081801"/>
                  <a:gd name="connsiteY1030" fmla="*/ 1334760 h 2563305"/>
                  <a:gd name="connsiteX1031" fmla="*/ 1014701 w 2081801"/>
                  <a:gd name="connsiteY1031" fmla="*/ 1933808 h 2563305"/>
                  <a:gd name="connsiteX1032" fmla="*/ 1106754 w 2081801"/>
                  <a:gd name="connsiteY1032" fmla="*/ 1926727 h 2563305"/>
                  <a:gd name="connsiteX1033" fmla="*/ 1133662 w 2081801"/>
                  <a:gd name="connsiteY1033" fmla="*/ 2008867 h 2563305"/>
                  <a:gd name="connsiteX1034" fmla="*/ 1014701 w 2081801"/>
                  <a:gd name="connsiteY1034" fmla="*/ 1933808 h 2563305"/>
                  <a:gd name="connsiteX1035" fmla="*/ 1210136 w 2081801"/>
                  <a:gd name="connsiteY1035" fmla="*/ 1752536 h 2563305"/>
                  <a:gd name="connsiteX1036" fmla="*/ 1193141 w 2081801"/>
                  <a:gd name="connsiteY1036" fmla="*/ 1918230 h 2563305"/>
                  <a:gd name="connsiteX1037" fmla="*/ 1108170 w 2081801"/>
                  <a:gd name="connsiteY1037" fmla="*/ 1923895 h 2563305"/>
                  <a:gd name="connsiteX1038" fmla="*/ 1058603 w 2081801"/>
                  <a:gd name="connsiteY1038" fmla="*/ 1770946 h 2563305"/>
                  <a:gd name="connsiteX1039" fmla="*/ 1210136 w 2081801"/>
                  <a:gd name="connsiteY1039" fmla="*/ 1752536 h 2563305"/>
                  <a:gd name="connsiteX1040" fmla="*/ 1180396 w 2081801"/>
                  <a:gd name="connsiteY1040" fmla="*/ 2041439 h 2563305"/>
                  <a:gd name="connsiteX1041" fmla="*/ 1176147 w 2081801"/>
                  <a:gd name="connsiteY1041" fmla="*/ 2079676 h 2563305"/>
                  <a:gd name="connsiteX1042" fmla="*/ 1164817 w 2081801"/>
                  <a:gd name="connsiteY1042" fmla="*/ 2098087 h 2563305"/>
                  <a:gd name="connsiteX1043" fmla="*/ 1137910 w 2081801"/>
                  <a:gd name="connsiteY1043" fmla="*/ 2014531 h 2563305"/>
                  <a:gd name="connsiteX1044" fmla="*/ 1180396 w 2081801"/>
                  <a:gd name="connsiteY1044" fmla="*/ 2041439 h 2563305"/>
                  <a:gd name="connsiteX1045" fmla="*/ 1340426 w 2081801"/>
                  <a:gd name="connsiteY1045" fmla="*/ 943891 h 2563305"/>
                  <a:gd name="connsiteX1046" fmla="*/ 1496207 w 2081801"/>
                  <a:gd name="connsiteY1046" fmla="*/ 908486 h 2563305"/>
                  <a:gd name="connsiteX1047" fmla="*/ 1496207 w 2081801"/>
                  <a:gd name="connsiteY1047" fmla="*/ 908486 h 2563305"/>
                  <a:gd name="connsiteX1048" fmla="*/ 1561351 w 2081801"/>
                  <a:gd name="connsiteY1048" fmla="*/ 840509 h 2563305"/>
                  <a:gd name="connsiteX1049" fmla="*/ 1606669 w 2081801"/>
                  <a:gd name="connsiteY1049" fmla="*/ 1003371 h 2563305"/>
                  <a:gd name="connsiteX1050" fmla="*/ 1562767 w 2081801"/>
                  <a:gd name="connsiteY1050" fmla="*/ 1051522 h 2563305"/>
                  <a:gd name="connsiteX1051" fmla="*/ 1340426 w 2081801"/>
                  <a:gd name="connsiteY1051" fmla="*/ 943891 h 2563305"/>
                  <a:gd name="connsiteX1052" fmla="*/ 451057 w 2081801"/>
                  <a:gd name="connsiteY1052" fmla="*/ 531780 h 2563305"/>
                  <a:gd name="connsiteX1053" fmla="*/ 371750 w 2081801"/>
                  <a:gd name="connsiteY1053" fmla="*/ 357588 h 2563305"/>
                  <a:gd name="connsiteX1054" fmla="*/ 443976 w 2081801"/>
                  <a:gd name="connsiteY1054" fmla="*/ 303773 h 2563305"/>
                  <a:gd name="connsiteX1055" fmla="*/ 657821 w 2081801"/>
                  <a:gd name="connsiteY1055" fmla="*/ 465219 h 2563305"/>
                  <a:gd name="connsiteX1056" fmla="*/ 493543 w 2081801"/>
                  <a:gd name="connsiteY1056" fmla="*/ 548774 h 2563305"/>
                  <a:gd name="connsiteX1057" fmla="*/ 451057 w 2081801"/>
                  <a:gd name="connsiteY1057" fmla="*/ 531780 h 2563305"/>
                  <a:gd name="connsiteX1058" fmla="*/ 448225 w 2081801"/>
                  <a:gd name="connsiteY1058" fmla="*/ 888660 h 2563305"/>
                  <a:gd name="connsiteX1059" fmla="*/ 448225 w 2081801"/>
                  <a:gd name="connsiteY1059" fmla="*/ 888660 h 2563305"/>
                  <a:gd name="connsiteX1060" fmla="*/ 601173 w 2081801"/>
                  <a:gd name="connsiteY1060" fmla="*/ 863168 h 2563305"/>
                  <a:gd name="connsiteX1061" fmla="*/ 625249 w 2081801"/>
                  <a:gd name="connsiteY1061" fmla="*/ 915567 h 2563305"/>
                  <a:gd name="connsiteX1062" fmla="*/ 482213 w 2081801"/>
                  <a:gd name="connsiteY1062" fmla="*/ 928313 h 2563305"/>
                  <a:gd name="connsiteX1063" fmla="*/ 436895 w 2081801"/>
                  <a:gd name="connsiteY1063" fmla="*/ 912735 h 2563305"/>
                  <a:gd name="connsiteX1064" fmla="*/ 251374 w 2081801"/>
                  <a:gd name="connsiteY1064" fmla="*/ 783862 h 2563305"/>
                  <a:gd name="connsiteX1065" fmla="*/ 308022 w 2081801"/>
                  <a:gd name="connsiteY1065" fmla="*/ 666318 h 2563305"/>
                  <a:gd name="connsiteX1066" fmla="*/ 448225 w 2081801"/>
                  <a:gd name="connsiteY1066" fmla="*/ 888660 h 2563305"/>
                  <a:gd name="connsiteX1067" fmla="*/ 174900 w 2081801"/>
                  <a:gd name="connsiteY1067" fmla="*/ 696058 h 2563305"/>
                  <a:gd name="connsiteX1068" fmla="*/ 211721 w 2081801"/>
                  <a:gd name="connsiteY1068" fmla="*/ 759786 h 2563305"/>
                  <a:gd name="connsiteX1069" fmla="*/ 248542 w 2081801"/>
                  <a:gd name="connsiteY1069" fmla="*/ 785278 h 2563305"/>
                  <a:gd name="connsiteX1070" fmla="*/ 220218 w 2081801"/>
                  <a:gd name="connsiteY1070" fmla="*/ 843341 h 2563305"/>
                  <a:gd name="connsiteX1071" fmla="*/ 133830 w 2081801"/>
                  <a:gd name="connsiteY1071" fmla="*/ 815018 h 2563305"/>
                  <a:gd name="connsiteX1072" fmla="*/ 149408 w 2081801"/>
                  <a:gd name="connsiteY1072" fmla="*/ 728630 h 2563305"/>
                  <a:gd name="connsiteX1073" fmla="*/ 174900 w 2081801"/>
                  <a:gd name="connsiteY1073" fmla="*/ 696058 h 2563305"/>
                  <a:gd name="connsiteX1074" fmla="*/ 173483 w 2081801"/>
                  <a:gd name="connsiteY1074" fmla="*/ 693225 h 2563305"/>
                  <a:gd name="connsiteX1075" fmla="*/ 147992 w 2081801"/>
                  <a:gd name="connsiteY1075" fmla="*/ 722965 h 2563305"/>
                  <a:gd name="connsiteX1076" fmla="*/ 157906 w 2081801"/>
                  <a:gd name="connsiteY1076" fmla="*/ 667734 h 2563305"/>
                  <a:gd name="connsiteX1077" fmla="*/ 173483 w 2081801"/>
                  <a:gd name="connsiteY1077" fmla="*/ 693225 h 2563305"/>
                  <a:gd name="connsiteX1078" fmla="*/ 162154 w 2081801"/>
                  <a:gd name="connsiteY1078" fmla="*/ 633745 h 2563305"/>
                  <a:gd name="connsiteX1079" fmla="*/ 157906 w 2081801"/>
                  <a:gd name="connsiteY1079" fmla="*/ 660653 h 2563305"/>
                  <a:gd name="connsiteX1080" fmla="*/ 147992 w 2081801"/>
                  <a:gd name="connsiteY1080" fmla="*/ 642242 h 2563305"/>
                  <a:gd name="connsiteX1081" fmla="*/ 162154 w 2081801"/>
                  <a:gd name="connsiteY1081" fmla="*/ 633745 h 2563305"/>
                  <a:gd name="connsiteX1082" fmla="*/ 159322 w 2081801"/>
                  <a:gd name="connsiteY1082" fmla="*/ 664902 h 2563305"/>
                  <a:gd name="connsiteX1083" fmla="*/ 164987 w 2081801"/>
                  <a:gd name="connsiteY1083" fmla="*/ 633745 h 2563305"/>
                  <a:gd name="connsiteX1084" fmla="*/ 180564 w 2081801"/>
                  <a:gd name="connsiteY1084" fmla="*/ 625248 h 2563305"/>
                  <a:gd name="connsiteX1085" fmla="*/ 225883 w 2081801"/>
                  <a:gd name="connsiteY1085" fmla="*/ 635161 h 2563305"/>
                  <a:gd name="connsiteX1086" fmla="*/ 176316 w 2081801"/>
                  <a:gd name="connsiteY1086" fmla="*/ 693225 h 2563305"/>
                  <a:gd name="connsiteX1087" fmla="*/ 159322 w 2081801"/>
                  <a:gd name="connsiteY1087" fmla="*/ 664902 h 2563305"/>
                  <a:gd name="connsiteX1088" fmla="*/ 163570 w 2081801"/>
                  <a:gd name="connsiteY1088" fmla="*/ 630913 h 2563305"/>
                  <a:gd name="connsiteX1089" fmla="*/ 146576 w 2081801"/>
                  <a:gd name="connsiteY1089" fmla="*/ 640826 h 2563305"/>
                  <a:gd name="connsiteX1090" fmla="*/ 129582 w 2081801"/>
                  <a:gd name="connsiteY1090" fmla="*/ 611086 h 2563305"/>
                  <a:gd name="connsiteX1091" fmla="*/ 164987 w 2081801"/>
                  <a:gd name="connsiteY1091" fmla="*/ 619584 h 2563305"/>
                  <a:gd name="connsiteX1092" fmla="*/ 163570 w 2081801"/>
                  <a:gd name="connsiteY1092" fmla="*/ 630913 h 2563305"/>
                  <a:gd name="connsiteX1093" fmla="*/ 177732 w 2081801"/>
                  <a:gd name="connsiteY1093" fmla="*/ 622416 h 2563305"/>
                  <a:gd name="connsiteX1094" fmla="*/ 166402 w 2081801"/>
                  <a:gd name="connsiteY1094" fmla="*/ 629497 h 2563305"/>
                  <a:gd name="connsiteX1095" fmla="*/ 167819 w 2081801"/>
                  <a:gd name="connsiteY1095" fmla="*/ 619584 h 2563305"/>
                  <a:gd name="connsiteX1096" fmla="*/ 177732 w 2081801"/>
                  <a:gd name="connsiteY1096" fmla="*/ 622416 h 2563305"/>
                  <a:gd name="connsiteX1097" fmla="*/ 145160 w 2081801"/>
                  <a:gd name="connsiteY1097" fmla="*/ 643659 h 2563305"/>
                  <a:gd name="connsiteX1098" fmla="*/ 156489 w 2081801"/>
                  <a:gd name="connsiteY1098" fmla="*/ 663485 h 2563305"/>
                  <a:gd name="connsiteX1099" fmla="*/ 145160 w 2081801"/>
                  <a:gd name="connsiteY1099" fmla="*/ 724382 h 2563305"/>
                  <a:gd name="connsiteX1100" fmla="*/ 82847 w 2081801"/>
                  <a:gd name="connsiteY1100" fmla="*/ 798023 h 2563305"/>
                  <a:gd name="connsiteX1101" fmla="*/ 82847 w 2081801"/>
                  <a:gd name="connsiteY1101" fmla="*/ 798023 h 2563305"/>
                  <a:gd name="connsiteX1102" fmla="*/ 129582 w 2081801"/>
                  <a:gd name="connsiteY1102" fmla="*/ 813602 h 2563305"/>
                  <a:gd name="connsiteX1103" fmla="*/ 82847 w 2081801"/>
                  <a:gd name="connsiteY1103" fmla="*/ 1071348 h 2563305"/>
                  <a:gd name="connsiteX1104" fmla="*/ 12038 w 2081801"/>
                  <a:gd name="connsiteY1104" fmla="*/ 986377 h 2563305"/>
                  <a:gd name="connsiteX1105" fmla="*/ 111171 w 2081801"/>
                  <a:gd name="connsiteY1105" fmla="*/ 662069 h 2563305"/>
                  <a:gd name="connsiteX1106" fmla="*/ 145160 w 2081801"/>
                  <a:gd name="connsiteY1106" fmla="*/ 643659 h 2563305"/>
                  <a:gd name="connsiteX1107" fmla="*/ 145160 w 2081801"/>
                  <a:gd name="connsiteY1107" fmla="*/ 730046 h 2563305"/>
                  <a:gd name="connsiteX1108" fmla="*/ 130998 w 2081801"/>
                  <a:gd name="connsiteY1108" fmla="*/ 812185 h 2563305"/>
                  <a:gd name="connsiteX1109" fmla="*/ 87096 w 2081801"/>
                  <a:gd name="connsiteY1109" fmla="*/ 798023 h 2563305"/>
                  <a:gd name="connsiteX1110" fmla="*/ 145160 w 2081801"/>
                  <a:gd name="connsiteY1110" fmla="*/ 730046 h 2563305"/>
                  <a:gd name="connsiteX1111" fmla="*/ 945308 w 2081801"/>
                  <a:gd name="connsiteY1111" fmla="*/ 1191725 h 2563305"/>
                  <a:gd name="connsiteX1112" fmla="*/ 960886 w 2081801"/>
                  <a:gd name="connsiteY1112" fmla="*/ 1191725 h 2563305"/>
                  <a:gd name="connsiteX1113" fmla="*/ 989210 w 2081801"/>
                  <a:gd name="connsiteY1113" fmla="*/ 1288025 h 2563305"/>
                  <a:gd name="connsiteX1114" fmla="*/ 959470 w 2081801"/>
                  <a:gd name="connsiteY1114" fmla="*/ 1333344 h 2563305"/>
                  <a:gd name="connsiteX1115" fmla="*/ 955221 w 2081801"/>
                  <a:gd name="connsiteY1115" fmla="*/ 1331927 h 2563305"/>
                  <a:gd name="connsiteX1116" fmla="*/ 945308 w 2081801"/>
                  <a:gd name="connsiteY1116" fmla="*/ 1320598 h 2563305"/>
                  <a:gd name="connsiteX1117" fmla="*/ 945308 w 2081801"/>
                  <a:gd name="connsiteY1117" fmla="*/ 1191725 h 2563305"/>
                  <a:gd name="connsiteX1118" fmla="*/ 1048690 w 2081801"/>
                  <a:gd name="connsiteY1118" fmla="*/ 1361667 h 2563305"/>
                  <a:gd name="connsiteX1119" fmla="*/ 1007621 w 2081801"/>
                  <a:gd name="connsiteY1119" fmla="*/ 1392824 h 2563305"/>
                  <a:gd name="connsiteX1120" fmla="*/ 1003372 w 2081801"/>
                  <a:gd name="connsiteY1120" fmla="*/ 1392824 h 2563305"/>
                  <a:gd name="connsiteX1121" fmla="*/ 980713 w 2081801"/>
                  <a:gd name="connsiteY1121" fmla="*/ 1365916 h 2563305"/>
                  <a:gd name="connsiteX1122" fmla="*/ 987794 w 2081801"/>
                  <a:gd name="connsiteY1122" fmla="*/ 1344673 h 2563305"/>
                  <a:gd name="connsiteX1123" fmla="*/ 1048690 w 2081801"/>
                  <a:gd name="connsiteY1123" fmla="*/ 1361667 h 2563305"/>
                  <a:gd name="connsiteX1124" fmla="*/ 1003372 w 2081801"/>
                  <a:gd name="connsiteY1124" fmla="*/ 1395656 h 2563305"/>
                  <a:gd name="connsiteX1125" fmla="*/ 1003372 w 2081801"/>
                  <a:gd name="connsiteY1125" fmla="*/ 1395656 h 2563305"/>
                  <a:gd name="connsiteX1126" fmla="*/ 1006204 w 2081801"/>
                  <a:gd name="connsiteY1126" fmla="*/ 1395656 h 2563305"/>
                  <a:gd name="connsiteX1127" fmla="*/ 959470 w 2081801"/>
                  <a:gd name="connsiteY1127" fmla="*/ 1432477 h 2563305"/>
                  <a:gd name="connsiteX1128" fmla="*/ 982129 w 2081801"/>
                  <a:gd name="connsiteY1128" fmla="*/ 1368748 h 2563305"/>
                  <a:gd name="connsiteX1129" fmla="*/ 1003372 w 2081801"/>
                  <a:gd name="connsiteY1129" fmla="*/ 1395656 h 2563305"/>
                  <a:gd name="connsiteX1130" fmla="*/ 1333345 w 2081801"/>
                  <a:gd name="connsiteY1130" fmla="*/ 1884242 h 2563305"/>
                  <a:gd name="connsiteX1131" fmla="*/ 1322015 w 2081801"/>
                  <a:gd name="connsiteY1131" fmla="*/ 1851670 h 2563305"/>
                  <a:gd name="connsiteX1132" fmla="*/ 1401322 w 2081801"/>
                  <a:gd name="connsiteY1132" fmla="*/ 1725629 h 2563305"/>
                  <a:gd name="connsiteX1133" fmla="*/ 1443807 w 2081801"/>
                  <a:gd name="connsiteY1133" fmla="*/ 1701553 h 2563305"/>
                  <a:gd name="connsiteX1134" fmla="*/ 1472131 w 2081801"/>
                  <a:gd name="connsiteY1134" fmla="*/ 1803519 h 2563305"/>
                  <a:gd name="connsiteX1135" fmla="*/ 1333345 w 2081801"/>
                  <a:gd name="connsiteY1135" fmla="*/ 1884242 h 2563305"/>
                  <a:gd name="connsiteX1136" fmla="*/ 1402738 w 2081801"/>
                  <a:gd name="connsiteY1136" fmla="*/ 1721380 h 2563305"/>
                  <a:gd name="connsiteX1137" fmla="*/ 1433894 w 2081801"/>
                  <a:gd name="connsiteY1137" fmla="*/ 1670397 h 2563305"/>
                  <a:gd name="connsiteX1138" fmla="*/ 1442391 w 2081801"/>
                  <a:gd name="connsiteY1138" fmla="*/ 1698721 h 2563305"/>
                  <a:gd name="connsiteX1139" fmla="*/ 1402738 w 2081801"/>
                  <a:gd name="connsiteY1139" fmla="*/ 1721380 h 2563305"/>
                  <a:gd name="connsiteX1140" fmla="*/ 1499039 w 2081801"/>
                  <a:gd name="connsiteY1140" fmla="*/ 1490541 h 2563305"/>
                  <a:gd name="connsiteX1141" fmla="*/ 1452305 w 2081801"/>
                  <a:gd name="connsiteY1141" fmla="*/ 1476379 h 2563305"/>
                  <a:gd name="connsiteX1142" fmla="*/ 1472131 w 2081801"/>
                  <a:gd name="connsiteY1142" fmla="*/ 1455136 h 2563305"/>
                  <a:gd name="connsiteX1143" fmla="*/ 1472131 w 2081801"/>
                  <a:gd name="connsiteY1143" fmla="*/ 1455136 h 2563305"/>
                  <a:gd name="connsiteX1144" fmla="*/ 1297940 w 2081801"/>
                  <a:gd name="connsiteY1144" fmla="*/ 1432477 h 2563305"/>
                  <a:gd name="connsiteX1145" fmla="*/ 1245541 w 2081801"/>
                  <a:gd name="connsiteY1145" fmla="*/ 1416899 h 2563305"/>
                  <a:gd name="connsiteX1146" fmla="*/ 1246957 w 2081801"/>
                  <a:gd name="connsiteY1146" fmla="*/ 1401321 h 2563305"/>
                  <a:gd name="connsiteX1147" fmla="*/ 1350339 w 2081801"/>
                  <a:gd name="connsiteY1147" fmla="*/ 1286609 h 2563305"/>
                  <a:gd name="connsiteX1148" fmla="*/ 1364501 w 2081801"/>
                  <a:gd name="connsiteY1148" fmla="*/ 1293690 h 2563305"/>
                  <a:gd name="connsiteX1149" fmla="*/ 1316350 w 2081801"/>
                  <a:gd name="connsiteY1149" fmla="*/ 1431061 h 2563305"/>
                  <a:gd name="connsiteX1150" fmla="*/ 1316350 w 2081801"/>
                  <a:gd name="connsiteY1150" fmla="*/ 1432477 h 2563305"/>
                  <a:gd name="connsiteX1151" fmla="*/ 1421148 w 2081801"/>
                  <a:gd name="connsiteY1151" fmla="*/ 1346089 h 2563305"/>
                  <a:gd name="connsiteX1152" fmla="*/ 1507536 w 2081801"/>
                  <a:gd name="connsiteY1152" fmla="*/ 1453720 h 2563305"/>
                  <a:gd name="connsiteX1153" fmla="*/ 1507536 w 2081801"/>
                  <a:gd name="connsiteY1153" fmla="*/ 1453720 h 2563305"/>
                  <a:gd name="connsiteX1154" fmla="*/ 1659069 w 2081801"/>
                  <a:gd name="connsiteY1154" fmla="*/ 1346089 h 2563305"/>
                  <a:gd name="connsiteX1155" fmla="*/ 1657652 w 2081801"/>
                  <a:gd name="connsiteY1155" fmla="*/ 1358835 h 2563305"/>
                  <a:gd name="connsiteX1156" fmla="*/ 1499039 w 2081801"/>
                  <a:gd name="connsiteY1156" fmla="*/ 1490541 h 2563305"/>
                  <a:gd name="connsiteX1157" fmla="*/ 1660484 w 2081801"/>
                  <a:gd name="connsiteY1157" fmla="*/ 1341841 h 2563305"/>
                  <a:gd name="connsiteX1158" fmla="*/ 1508952 w 2081801"/>
                  <a:gd name="connsiteY1158" fmla="*/ 1449471 h 2563305"/>
                  <a:gd name="connsiteX1159" fmla="*/ 1423981 w 2081801"/>
                  <a:gd name="connsiteY1159" fmla="*/ 1343257 h 2563305"/>
                  <a:gd name="connsiteX1160" fmla="*/ 1591091 w 2081801"/>
                  <a:gd name="connsiteY1160" fmla="*/ 1204470 h 2563305"/>
                  <a:gd name="connsiteX1161" fmla="*/ 1591091 w 2081801"/>
                  <a:gd name="connsiteY1161" fmla="*/ 1204470 h 2563305"/>
                  <a:gd name="connsiteX1162" fmla="*/ 1453721 w 2081801"/>
                  <a:gd name="connsiteY1162" fmla="*/ 1177563 h 2563305"/>
                  <a:gd name="connsiteX1163" fmla="*/ 1606669 w 2081801"/>
                  <a:gd name="connsiteY1163" fmla="*/ 1122331 h 2563305"/>
                  <a:gd name="connsiteX1164" fmla="*/ 1688808 w 2081801"/>
                  <a:gd name="connsiteY1164" fmla="*/ 1115250 h 2563305"/>
                  <a:gd name="connsiteX1165" fmla="*/ 1678895 w 2081801"/>
                  <a:gd name="connsiteY1165" fmla="*/ 1176146 h 2563305"/>
                  <a:gd name="connsiteX1166" fmla="*/ 1660484 w 2081801"/>
                  <a:gd name="connsiteY1166" fmla="*/ 1341841 h 2563305"/>
                  <a:gd name="connsiteX1167" fmla="*/ 1542941 w 2081801"/>
                  <a:gd name="connsiteY1167" fmla="*/ 764035 h 2563305"/>
                  <a:gd name="connsiteX1168" fmla="*/ 1579762 w 2081801"/>
                  <a:gd name="connsiteY1168" fmla="*/ 721549 h 2563305"/>
                  <a:gd name="connsiteX1169" fmla="*/ 1684560 w 2081801"/>
                  <a:gd name="connsiteY1169" fmla="*/ 708803 h 2563305"/>
                  <a:gd name="connsiteX1170" fmla="*/ 1562767 w 2081801"/>
                  <a:gd name="connsiteY1170" fmla="*/ 834844 h 2563305"/>
                  <a:gd name="connsiteX1171" fmla="*/ 1542941 w 2081801"/>
                  <a:gd name="connsiteY1171" fmla="*/ 764035 h 2563305"/>
                  <a:gd name="connsiteX1172" fmla="*/ 1354587 w 2081801"/>
                  <a:gd name="connsiteY1172" fmla="*/ 745624 h 2563305"/>
                  <a:gd name="connsiteX1173" fmla="*/ 1404154 w 2081801"/>
                  <a:gd name="connsiteY1173" fmla="*/ 670566 h 2563305"/>
                  <a:gd name="connsiteX1174" fmla="*/ 1644907 w 2081801"/>
                  <a:gd name="connsiteY1174" fmla="*/ 645075 h 2563305"/>
                  <a:gd name="connsiteX1175" fmla="*/ 1578346 w 2081801"/>
                  <a:gd name="connsiteY1175" fmla="*/ 720133 h 2563305"/>
                  <a:gd name="connsiteX1176" fmla="*/ 1354587 w 2081801"/>
                  <a:gd name="connsiteY1176" fmla="*/ 745624 h 2563305"/>
                  <a:gd name="connsiteX1177" fmla="*/ 1402738 w 2081801"/>
                  <a:gd name="connsiteY1177" fmla="*/ 669150 h 2563305"/>
                  <a:gd name="connsiteX1178" fmla="*/ 1326264 w 2081801"/>
                  <a:gd name="connsiteY1178" fmla="*/ 677647 h 2563305"/>
                  <a:gd name="connsiteX1179" fmla="*/ 1299356 w 2081801"/>
                  <a:gd name="connsiteY1179" fmla="*/ 654988 h 2563305"/>
                  <a:gd name="connsiteX1180" fmla="*/ 1300772 w 2081801"/>
                  <a:gd name="connsiteY1180" fmla="*/ 601173 h 2563305"/>
                  <a:gd name="connsiteX1181" fmla="*/ 1348922 w 2081801"/>
                  <a:gd name="connsiteY1181" fmla="*/ 604005 h 2563305"/>
                  <a:gd name="connsiteX1182" fmla="*/ 1348922 w 2081801"/>
                  <a:gd name="connsiteY1182" fmla="*/ 604005 h 2563305"/>
                  <a:gd name="connsiteX1183" fmla="*/ 1392824 w 2081801"/>
                  <a:gd name="connsiteY1183" fmla="*/ 465219 h 2563305"/>
                  <a:gd name="connsiteX1184" fmla="*/ 1446640 w 2081801"/>
                  <a:gd name="connsiteY1184" fmla="*/ 476548 h 2563305"/>
                  <a:gd name="connsiteX1185" fmla="*/ 1432478 w 2081801"/>
                  <a:gd name="connsiteY1185" fmla="*/ 623832 h 2563305"/>
                  <a:gd name="connsiteX1186" fmla="*/ 1402738 w 2081801"/>
                  <a:gd name="connsiteY1186" fmla="*/ 669150 h 2563305"/>
                  <a:gd name="connsiteX1187" fmla="*/ 1348922 w 2081801"/>
                  <a:gd name="connsiteY1187" fmla="*/ 601173 h 2563305"/>
                  <a:gd name="connsiteX1188" fmla="*/ 1302188 w 2081801"/>
                  <a:gd name="connsiteY1188" fmla="*/ 598341 h 2563305"/>
                  <a:gd name="connsiteX1189" fmla="*/ 1303604 w 2081801"/>
                  <a:gd name="connsiteY1189" fmla="*/ 531780 h 2563305"/>
                  <a:gd name="connsiteX1190" fmla="*/ 1347507 w 2081801"/>
                  <a:gd name="connsiteY1190" fmla="*/ 511953 h 2563305"/>
                  <a:gd name="connsiteX1191" fmla="*/ 1347507 w 2081801"/>
                  <a:gd name="connsiteY1191" fmla="*/ 511953 h 2563305"/>
                  <a:gd name="connsiteX1192" fmla="*/ 1340426 w 2081801"/>
                  <a:gd name="connsiteY1192" fmla="*/ 452473 h 2563305"/>
                  <a:gd name="connsiteX1193" fmla="*/ 1392824 w 2081801"/>
                  <a:gd name="connsiteY1193" fmla="*/ 463803 h 2563305"/>
                  <a:gd name="connsiteX1194" fmla="*/ 1348922 w 2081801"/>
                  <a:gd name="connsiteY1194" fmla="*/ 601173 h 2563305"/>
                  <a:gd name="connsiteX1195" fmla="*/ 1300772 w 2081801"/>
                  <a:gd name="connsiteY1195" fmla="*/ 530363 h 2563305"/>
                  <a:gd name="connsiteX1196" fmla="*/ 1204471 w 2081801"/>
                  <a:gd name="connsiteY1196" fmla="*/ 574265 h 2563305"/>
                  <a:gd name="connsiteX1197" fmla="*/ 1159153 w 2081801"/>
                  <a:gd name="connsiteY1197" fmla="*/ 536028 h 2563305"/>
                  <a:gd name="connsiteX1198" fmla="*/ 1186060 w 2081801"/>
                  <a:gd name="connsiteY1198" fmla="*/ 418484 h 2563305"/>
                  <a:gd name="connsiteX1199" fmla="*/ 1303604 w 2081801"/>
                  <a:gd name="connsiteY1199" fmla="*/ 443976 h 2563305"/>
                  <a:gd name="connsiteX1200" fmla="*/ 1300772 w 2081801"/>
                  <a:gd name="connsiteY1200" fmla="*/ 530363 h 2563305"/>
                  <a:gd name="connsiteX1201" fmla="*/ 881579 w 2081801"/>
                  <a:gd name="connsiteY1201" fmla="*/ 350507 h 2563305"/>
                  <a:gd name="connsiteX1202" fmla="*/ 744209 w 2081801"/>
                  <a:gd name="connsiteY1202" fmla="*/ 320767 h 2563305"/>
                  <a:gd name="connsiteX1203" fmla="*/ 645075 w 2081801"/>
                  <a:gd name="connsiteY1203" fmla="*/ 225882 h 2563305"/>
                  <a:gd name="connsiteX1204" fmla="*/ 959470 w 2081801"/>
                  <a:gd name="connsiteY1204" fmla="*/ 262703 h 2563305"/>
                  <a:gd name="connsiteX1205" fmla="*/ 1017534 w 2081801"/>
                  <a:gd name="connsiteY1205" fmla="*/ 281114 h 2563305"/>
                  <a:gd name="connsiteX1206" fmla="*/ 881579 w 2081801"/>
                  <a:gd name="connsiteY1206" fmla="*/ 350507 h 2563305"/>
                  <a:gd name="connsiteX1207" fmla="*/ 773949 w 2081801"/>
                  <a:gd name="connsiteY1207" fmla="*/ 201807 h 2563305"/>
                  <a:gd name="connsiteX1208" fmla="*/ 623833 w 2081801"/>
                  <a:gd name="connsiteY1208" fmla="*/ 203223 h 2563305"/>
                  <a:gd name="connsiteX1209" fmla="*/ 604006 w 2081801"/>
                  <a:gd name="connsiteY1209" fmla="*/ 183397 h 2563305"/>
                  <a:gd name="connsiteX1210" fmla="*/ 639411 w 2081801"/>
                  <a:gd name="connsiteY1210" fmla="*/ 157905 h 2563305"/>
                  <a:gd name="connsiteX1211" fmla="*/ 773949 w 2081801"/>
                  <a:gd name="connsiteY1211" fmla="*/ 201807 h 2563305"/>
                  <a:gd name="connsiteX1212" fmla="*/ 622416 w 2081801"/>
                  <a:gd name="connsiteY1212" fmla="*/ 206056 h 2563305"/>
                  <a:gd name="connsiteX1213" fmla="*/ 639411 w 2081801"/>
                  <a:gd name="connsiteY1213" fmla="*/ 223050 h 2563305"/>
                  <a:gd name="connsiteX1214" fmla="*/ 564352 w 2081801"/>
                  <a:gd name="connsiteY1214" fmla="*/ 214553 h 2563305"/>
                  <a:gd name="connsiteX1215" fmla="*/ 574266 w 2081801"/>
                  <a:gd name="connsiteY1215" fmla="*/ 207472 h 2563305"/>
                  <a:gd name="connsiteX1216" fmla="*/ 622416 w 2081801"/>
                  <a:gd name="connsiteY1216" fmla="*/ 206056 h 2563305"/>
                  <a:gd name="connsiteX1217" fmla="*/ 449641 w 2081801"/>
                  <a:gd name="connsiteY1217" fmla="*/ 533196 h 2563305"/>
                  <a:gd name="connsiteX1218" fmla="*/ 507705 w 2081801"/>
                  <a:gd name="connsiteY1218" fmla="*/ 659237 h 2563305"/>
                  <a:gd name="connsiteX1219" fmla="*/ 490711 w 2081801"/>
                  <a:gd name="connsiteY1219" fmla="*/ 664902 h 2563305"/>
                  <a:gd name="connsiteX1220" fmla="*/ 490711 w 2081801"/>
                  <a:gd name="connsiteY1220" fmla="*/ 664902 h 2563305"/>
                  <a:gd name="connsiteX1221" fmla="*/ 514786 w 2081801"/>
                  <a:gd name="connsiteY1221" fmla="*/ 697474 h 2563305"/>
                  <a:gd name="connsiteX1222" fmla="*/ 313687 w 2081801"/>
                  <a:gd name="connsiteY1222" fmla="*/ 652156 h 2563305"/>
                  <a:gd name="connsiteX1223" fmla="*/ 383080 w 2081801"/>
                  <a:gd name="connsiteY1223" fmla="*/ 507704 h 2563305"/>
                  <a:gd name="connsiteX1224" fmla="*/ 449641 w 2081801"/>
                  <a:gd name="connsiteY1224" fmla="*/ 533196 h 2563305"/>
                  <a:gd name="connsiteX1225" fmla="*/ 448225 w 2081801"/>
                  <a:gd name="connsiteY1225" fmla="*/ 885827 h 2563305"/>
                  <a:gd name="connsiteX1226" fmla="*/ 308022 w 2081801"/>
                  <a:gd name="connsiteY1226" fmla="*/ 663485 h 2563305"/>
                  <a:gd name="connsiteX1227" fmla="*/ 312270 w 2081801"/>
                  <a:gd name="connsiteY1227" fmla="*/ 653572 h 2563305"/>
                  <a:gd name="connsiteX1228" fmla="*/ 516202 w 2081801"/>
                  <a:gd name="connsiteY1228" fmla="*/ 698890 h 2563305"/>
                  <a:gd name="connsiteX1229" fmla="*/ 540277 w 2081801"/>
                  <a:gd name="connsiteY1229" fmla="*/ 731462 h 2563305"/>
                  <a:gd name="connsiteX1230" fmla="*/ 599757 w 2081801"/>
                  <a:gd name="connsiteY1230" fmla="*/ 860336 h 2563305"/>
                  <a:gd name="connsiteX1231" fmla="*/ 448225 w 2081801"/>
                  <a:gd name="connsiteY1231" fmla="*/ 885827 h 2563305"/>
                  <a:gd name="connsiteX1232" fmla="*/ 221634 w 2081801"/>
                  <a:gd name="connsiteY1232" fmla="*/ 841925 h 2563305"/>
                  <a:gd name="connsiteX1233" fmla="*/ 248542 w 2081801"/>
                  <a:gd name="connsiteY1233" fmla="*/ 785278 h 2563305"/>
                  <a:gd name="connsiteX1234" fmla="*/ 428398 w 2081801"/>
                  <a:gd name="connsiteY1234" fmla="*/ 911319 h 2563305"/>
                  <a:gd name="connsiteX1235" fmla="*/ 221634 w 2081801"/>
                  <a:gd name="connsiteY1235" fmla="*/ 841925 h 2563305"/>
                  <a:gd name="connsiteX1236" fmla="*/ 248542 w 2081801"/>
                  <a:gd name="connsiteY1236" fmla="*/ 782445 h 2563305"/>
                  <a:gd name="connsiteX1237" fmla="*/ 213137 w 2081801"/>
                  <a:gd name="connsiteY1237" fmla="*/ 756954 h 2563305"/>
                  <a:gd name="connsiteX1238" fmla="*/ 176316 w 2081801"/>
                  <a:gd name="connsiteY1238" fmla="*/ 693225 h 2563305"/>
                  <a:gd name="connsiteX1239" fmla="*/ 227299 w 2081801"/>
                  <a:gd name="connsiteY1239" fmla="*/ 633745 h 2563305"/>
                  <a:gd name="connsiteX1240" fmla="*/ 298109 w 2081801"/>
                  <a:gd name="connsiteY1240" fmla="*/ 649323 h 2563305"/>
                  <a:gd name="connsiteX1241" fmla="*/ 306606 w 2081801"/>
                  <a:gd name="connsiteY1241" fmla="*/ 662069 h 2563305"/>
                  <a:gd name="connsiteX1242" fmla="*/ 248542 w 2081801"/>
                  <a:gd name="connsiteY1242" fmla="*/ 782445 h 2563305"/>
                  <a:gd name="connsiteX1243" fmla="*/ 190478 w 2081801"/>
                  <a:gd name="connsiteY1243" fmla="*/ 479380 h 2563305"/>
                  <a:gd name="connsiteX1244" fmla="*/ 166402 w 2081801"/>
                  <a:gd name="connsiteY1244" fmla="*/ 618167 h 2563305"/>
                  <a:gd name="connsiteX1245" fmla="*/ 129582 w 2081801"/>
                  <a:gd name="connsiteY1245" fmla="*/ 609670 h 2563305"/>
                  <a:gd name="connsiteX1246" fmla="*/ 159322 w 2081801"/>
                  <a:gd name="connsiteY1246" fmla="*/ 514785 h 2563305"/>
                  <a:gd name="connsiteX1247" fmla="*/ 184813 w 2081801"/>
                  <a:gd name="connsiteY1247" fmla="*/ 469467 h 2563305"/>
                  <a:gd name="connsiteX1248" fmla="*/ 190478 w 2081801"/>
                  <a:gd name="connsiteY1248" fmla="*/ 479380 h 2563305"/>
                  <a:gd name="connsiteX1249" fmla="*/ 132414 w 2081801"/>
                  <a:gd name="connsiteY1249" fmla="*/ 815018 h 2563305"/>
                  <a:gd name="connsiteX1250" fmla="*/ 218802 w 2081801"/>
                  <a:gd name="connsiteY1250" fmla="*/ 843341 h 2563305"/>
                  <a:gd name="connsiteX1251" fmla="*/ 163570 w 2081801"/>
                  <a:gd name="connsiteY1251" fmla="*/ 958053 h 2563305"/>
                  <a:gd name="connsiteX1252" fmla="*/ 163570 w 2081801"/>
                  <a:gd name="connsiteY1252" fmla="*/ 958053 h 2563305"/>
                  <a:gd name="connsiteX1253" fmla="*/ 459554 w 2081801"/>
                  <a:gd name="connsiteY1253" fmla="*/ 931145 h 2563305"/>
                  <a:gd name="connsiteX1254" fmla="*/ 690393 w 2081801"/>
                  <a:gd name="connsiteY1254" fmla="*/ 1092591 h 2563305"/>
                  <a:gd name="connsiteX1255" fmla="*/ 705972 w 2081801"/>
                  <a:gd name="connsiteY1255" fmla="*/ 1094007 h 2563305"/>
                  <a:gd name="connsiteX1256" fmla="*/ 742793 w 2081801"/>
                  <a:gd name="connsiteY1256" fmla="*/ 1176146 h 2563305"/>
                  <a:gd name="connsiteX1257" fmla="*/ 564352 w 2081801"/>
                  <a:gd name="connsiteY1257" fmla="*/ 1133661 h 2563305"/>
                  <a:gd name="connsiteX1258" fmla="*/ 452473 w 2081801"/>
                  <a:gd name="connsiteY1258" fmla="*/ 1010452 h 2563305"/>
                  <a:gd name="connsiteX1259" fmla="*/ 452473 w 2081801"/>
                  <a:gd name="connsiteY1259" fmla="*/ 1010452 h 2563305"/>
                  <a:gd name="connsiteX1260" fmla="*/ 418485 w 2081801"/>
                  <a:gd name="connsiteY1260" fmla="*/ 1098256 h 2563305"/>
                  <a:gd name="connsiteX1261" fmla="*/ 320768 w 2081801"/>
                  <a:gd name="connsiteY1261" fmla="*/ 1075597 h 2563305"/>
                  <a:gd name="connsiteX1262" fmla="*/ 320768 w 2081801"/>
                  <a:gd name="connsiteY1262" fmla="*/ 1075597 h 2563305"/>
                  <a:gd name="connsiteX1263" fmla="*/ 300941 w 2081801"/>
                  <a:gd name="connsiteY1263" fmla="*/ 1149239 h 2563305"/>
                  <a:gd name="connsiteX1264" fmla="*/ 95593 w 2081801"/>
                  <a:gd name="connsiteY1264" fmla="*/ 1086927 h 2563305"/>
                  <a:gd name="connsiteX1265" fmla="*/ 84264 w 2081801"/>
                  <a:gd name="connsiteY1265" fmla="*/ 1074181 h 2563305"/>
                  <a:gd name="connsiteX1266" fmla="*/ 132414 w 2081801"/>
                  <a:gd name="connsiteY1266" fmla="*/ 815018 h 2563305"/>
                  <a:gd name="connsiteX1267" fmla="*/ 747041 w 2081801"/>
                  <a:gd name="connsiteY1267" fmla="*/ 1178979 h 2563305"/>
                  <a:gd name="connsiteX1268" fmla="*/ 747041 w 2081801"/>
                  <a:gd name="connsiteY1268" fmla="*/ 1178979 h 2563305"/>
                  <a:gd name="connsiteX1269" fmla="*/ 708804 w 2081801"/>
                  <a:gd name="connsiteY1269" fmla="*/ 1094007 h 2563305"/>
                  <a:gd name="connsiteX1270" fmla="*/ 943892 w 2081801"/>
                  <a:gd name="connsiteY1270" fmla="*/ 1109585 h 2563305"/>
                  <a:gd name="connsiteX1271" fmla="*/ 943892 w 2081801"/>
                  <a:gd name="connsiteY1271" fmla="*/ 1188892 h 2563305"/>
                  <a:gd name="connsiteX1272" fmla="*/ 833429 w 2081801"/>
                  <a:gd name="connsiteY1272" fmla="*/ 1186060 h 2563305"/>
                  <a:gd name="connsiteX1273" fmla="*/ 833429 w 2081801"/>
                  <a:gd name="connsiteY1273" fmla="*/ 1186060 h 2563305"/>
                  <a:gd name="connsiteX1274" fmla="*/ 943892 w 2081801"/>
                  <a:gd name="connsiteY1274" fmla="*/ 1320598 h 2563305"/>
                  <a:gd name="connsiteX1275" fmla="*/ 943892 w 2081801"/>
                  <a:gd name="connsiteY1275" fmla="*/ 1327679 h 2563305"/>
                  <a:gd name="connsiteX1276" fmla="*/ 673399 w 2081801"/>
                  <a:gd name="connsiteY1276" fmla="*/ 1248372 h 2563305"/>
                  <a:gd name="connsiteX1277" fmla="*/ 570017 w 2081801"/>
                  <a:gd name="connsiteY1277" fmla="*/ 1135077 h 2563305"/>
                  <a:gd name="connsiteX1278" fmla="*/ 747041 w 2081801"/>
                  <a:gd name="connsiteY1278" fmla="*/ 1178979 h 2563305"/>
                  <a:gd name="connsiteX1279" fmla="*/ 837678 w 2081801"/>
                  <a:gd name="connsiteY1279" fmla="*/ 1190308 h 2563305"/>
                  <a:gd name="connsiteX1280" fmla="*/ 943892 w 2081801"/>
                  <a:gd name="connsiteY1280" fmla="*/ 1193141 h 2563305"/>
                  <a:gd name="connsiteX1281" fmla="*/ 943892 w 2081801"/>
                  <a:gd name="connsiteY1281" fmla="*/ 1319182 h 2563305"/>
                  <a:gd name="connsiteX1282" fmla="*/ 837678 w 2081801"/>
                  <a:gd name="connsiteY1282" fmla="*/ 1190308 h 2563305"/>
                  <a:gd name="connsiteX1283" fmla="*/ 953805 w 2081801"/>
                  <a:gd name="connsiteY1283" fmla="*/ 1334760 h 2563305"/>
                  <a:gd name="connsiteX1284" fmla="*/ 956638 w 2081801"/>
                  <a:gd name="connsiteY1284" fmla="*/ 1339008 h 2563305"/>
                  <a:gd name="connsiteX1285" fmla="*/ 945308 w 2081801"/>
                  <a:gd name="connsiteY1285" fmla="*/ 1356003 h 2563305"/>
                  <a:gd name="connsiteX1286" fmla="*/ 945308 w 2081801"/>
                  <a:gd name="connsiteY1286" fmla="*/ 1331927 h 2563305"/>
                  <a:gd name="connsiteX1287" fmla="*/ 953805 w 2081801"/>
                  <a:gd name="connsiteY1287" fmla="*/ 1334760 h 2563305"/>
                  <a:gd name="connsiteX1288" fmla="*/ 1009036 w 2081801"/>
                  <a:gd name="connsiteY1288" fmla="*/ 1395656 h 2563305"/>
                  <a:gd name="connsiteX1289" fmla="*/ 1161985 w 2081801"/>
                  <a:gd name="connsiteY1289" fmla="*/ 1415483 h 2563305"/>
                  <a:gd name="connsiteX1290" fmla="*/ 1181812 w 2081801"/>
                  <a:gd name="connsiteY1290" fmla="*/ 1470714 h 2563305"/>
                  <a:gd name="connsiteX1291" fmla="*/ 1111002 w 2081801"/>
                  <a:gd name="connsiteY1291" fmla="*/ 1548605 h 2563305"/>
                  <a:gd name="connsiteX1292" fmla="*/ 926897 w 2081801"/>
                  <a:gd name="connsiteY1292" fmla="*/ 1523113 h 2563305"/>
                  <a:gd name="connsiteX1293" fmla="*/ 958054 w 2081801"/>
                  <a:gd name="connsiteY1293" fmla="*/ 1435310 h 2563305"/>
                  <a:gd name="connsiteX1294" fmla="*/ 1009036 w 2081801"/>
                  <a:gd name="connsiteY1294" fmla="*/ 1395656 h 2563305"/>
                  <a:gd name="connsiteX1295" fmla="*/ 926897 w 2081801"/>
                  <a:gd name="connsiteY1295" fmla="*/ 1525946 h 2563305"/>
                  <a:gd name="connsiteX1296" fmla="*/ 1109586 w 2081801"/>
                  <a:gd name="connsiteY1296" fmla="*/ 1551437 h 2563305"/>
                  <a:gd name="connsiteX1297" fmla="*/ 994874 w 2081801"/>
                  <a:gd name="connsiteY1297" fmla="*/ 1678894 h 2563305"/>
                  <a:gd name="connsiteX1298" fmla="*/ 994874 w 2081801"/>
                  <a:gd name="connsiteY1298" fmla="*/ 1678894 h 2563305"/>
                  <a:gd name="connsiteX1299" fmla="*/ 1038776 w 2081801"/>
                  <a:gd name="connsiteY1299" fmla="*/ 1676062 h 2563305"/>
                  <a:gd name="connsiteX1300" fmla="*/ 973632 w 2081801"/>
                  <a:gd name="connsiteY1300" fmla="*/ 1701553 h 2563305"/>
                  <a:gd name="connsiteX1301" fmla="*/ 973632 w 2081801"/>
                  <a:gd name="connsiteY1301" fmla="*/ 1701553 h 2563305"/>
                  <a:gd name="connsiteX1302" fmla="*/ 979297 w 2081801"/>
                  <a:gd name="connsiteY1302" fmla="*/ 1751120 h 2563305"/>
                  <a:gd name="connsiteX1303" fmla="*/ 857504 w 2081801"/>
                  <a:gd name="connsiteY1303" fmla="*/ 1731293 h 2563305"/>
                  <a:gd name="connsiteX1304" fmla="*/ 926897 w 2081801"/>
                  <a:gd name="connsiteY1304" fmla="*/ 1525946 h 2563305"/>
                  <a:gd name="connsiteX1305" fmla="*/ 1483461 w 2081801"/>
                  <a:gd name="connsiteY1305" fmla="*/ 1898404 h 2563305"/>
                  <a:gd name="connsiteX1306" fmla="*/ 1283778 w 2081801"/>
                  <a:gd name="connsiteY1306" fmla="*/ 1912566 h 2563305"/>
                  <a:gd name="connsiteX1307" fmla="*/ 1320599 w 2081801"/>
                  <a:gd name="connsiteY1307" fmla="*/ 1853086 h 2563305"/>
                  <a:gd name="connsiteX1308" fmla="*/ 1333345 w 2081801"/>
                  <a:gd name="connsiteY1308" fmla="*/ 1887074 h 2563305"/>
                  <a:gd name="connsiteX1309" fmla="*/ 1333345 w 2081801"/>
                  <a:gd name="connsiteY1309" fmla="*/ 1887074 h 2563305"/>
                  <a:gd name="connsiteX1310" fmla="*/ 1472131 w 2081801"/>
                  <a:gd name="connsiteY1310" fmla="*/ 1804935 h 2563305"/>
                  <a:gd name="connsiteX1311" fmla="*/ 1496207 w 2081801"/>
                  <a:gd name="connsiteY1311" fmla="*/ 1888491 h 2563305"/>
                  <a:gd name="connsiteX1312" fmla="*/ 1483461 w 2081801"/>
                  <a:gd name="connsiteY1312" fmla="*/ 1898404 h 2563305"/>
                  <a:gd name="connsiteX1313" fmla="*/ 1443807 w 2081801"/>
                  <a:gd name="connsiteY1313" fmla="*/ 1697305 h 2563305"/>
                  <a:gd name="connsiteX1314" fmla="*/ 1435310 w 2081801"/>
                  <a:gd name="connsiteY1314" fmla="*/ 1666148 h 2563305"/>
                  <a:gd name="connsiteX1315" fmla="*/ 1435310 w 2081801"/>
                  <a:gd name="connsiteY1315" fmla="*/ 1666148 h 2563305"/>
                  <a:gd name="connsiteX1316" fmla="*/ 1399905 w 2081801"/>
                  <a:gd name="connsiteY1316" fmla="*/ 1724212 h 2563305"/>
                  <a:gd name="connsiteX1317" fmla="*/ 1392824 w 2081801"/>
                  <a:gd name="connsiteY1317" fmla="*/ 1728461 h 2563305"/>
                  <a:gd name="connsiteX1318" fmla="*/ 1283778 w 2081801"/>
                  <a:gd name="connsiteY1318" fmla="*/ 1742623 h 2563305"/>
                  <a:gd name="connsiteX1319" fmla="*/ 1254038 w 2081801"/>
                  <a:gd name="connsiteY1319" fmla="*/ 1661900 h 2563305"/>
                  <a:gd name="connsiteX1320" fmla="*/ 1278113 w 2081801"/>
                  <a:gd name="connsiteY1320" fmla="*/ 1660484 h 2563305"/>
                  <a:gd name="connsiteX1321" fmla="*/ 1278113 w 2081801"/>
                  <a:gd name="connsiteY1321" fmla="*/ 1660484 h 2563305"/>
                  <a:gd name="connsiteX1322" fmla="*/ 1351755 w 2081801"/>
                  <a:gd name="connsiteY1322" fmla="*/ 1584010 h 2563305"/>
                  <a:gd name="connsiteX1323" fmla="*/ 1387160 w 2081801"/>
                  <a:gd name="connsiteY1323" fmla="*/ 1588258 h 2563305"/>
                  <a:gd name="connsiteX1324" fmla="*/ 1387160 w 2081801"/>
                  <a:gd name="connsiteY1324" fmla="*/ 1588258 h 2563305"/>
                  <a:gd name="connsiteX1325" fmla="*/ 1482045 w 2081801"/>
                  <a:gd name="connsiteY1325" fmla="*/ 1508951 h 2563305"/>
                  <a:gd name="connsiteX1326" fmla="*/ 1514617 w 2081801"/>
                  <a:gd name="connsiteY1326" fmla="*/ 1496206 h 2563305"/>
                  <a:gd name="connsiteX1327" fmla="*/ 1643490 w 2081801"/>
                  <a:gd name="connsiteY1327" fmla="*/ 1533027 h 2563305"/>
                  <a:gd name="connsiteX1328" fmla="*/ 1637826 w 2081801"/>
                  <a:gd name="connsiteY1328" fmla="*/ 1586842 h 2563305"/>
                  <a:gd name="connsiteX1329" fmla="*/ 1443807 w 2081801"/>
                  <a:gd name="connsiteY1329" fmla="*/ 1697305 h 2563305"/>
                  <a:gd name="connsiteX1330" fmla="*/ 1755369 w 2081801"/>
                  <a:gd name="connsiteY1330" fmla="*/ 1276696 h 2563305"/>
                  <a:gd name="connsiteX1331" fmla="*/ 1661901 w 2081801"/>
                  <a:gd name="connsiteY1331" fmla="*/ 1354586 h 2563305"/>
                  <a:gd name="connsiteX1332" fmla="*/ 1663317 w 2081801"/>
                  <a:gd name="connsiteY1332" fmla="*/ 1341841 h 2563305"/>
                  <a:gd name="connsiteX1333" fmla="*/ 1755369 w 2081801"/>
                  <a:gd name="connsiteY1333" fmla="*/ 1276696 h 2563305"/>
                  <a:gd name="connsiteX1334" fmla="*/ 970799 w 2081801"/>
                  <a:gd name="connsiteY1334" fmla="*/ 264120 h 2563305"/>
                  <a:gd name="connsiteX1335" fmla="*/ 1038776 w 2081801"/>
                  <a:gd name="connsiteY1335" fmla="*/ 272617 h 2563305"/>
                  <a:gd name="connsiteX1336" fmla="*/ 1021782 w 2081801"/>
                  <a:gd name="connsiteY1336" fmla="*/ 281114 h 2563305"/>
                  <a:gd name="connsiteX1337" fmla="*/ 970799 w 2081801"/>
                  <a:gd name="connsiteY1337" fmla="*/ 264120 h 2563305"/>
                  <a:gd name="connsiteX1338" fmla="*/ 833429 w 2081801"/>
                  <a:gd name="connsiteY1338" fmla="*/ 10621 h 2563305"/>
                  <a:gd name="connsiteX1339" fmla="*/ 657821 w 2081801"/>
                  <a:gd name="connsiteY1339" fmla="*/ 142327 h 2563305"/>
                  <a:gd name="connsiteX1340" fmla="*/ 417069 w 2081801"/>
                  <a:gd name="connsiteY1340" fmla="*/ 88512 h 2563305"/>
                  <a:gd name="connsiteX1341" fmla="*/ 833429 w 2081801"/>
                  <a:gd name="connsiteY1341" fmla="*/ 10621 h 2563305"/>
                  <a:gd name="connsiteX1342" fmla="*/ 577098 w 2081801"/>
                  <a:gd name="connsiteY1342" fmla="*/ 204640 h 2563305"/>
                  <a:gd name="connsiteX1343" fmla="*/ 602590 w 2081801"/>
                  <a:gd name="connsiteY1343" fmla="*/ 186229 h 2563305"/>
                  <a:gd name="connsiteX1344" fmla="*/ 621000 w 2081801"/>
                  <a:gd name="connsiteY1344" fmla="*/ 204640 h 2563305"/>
                  <a:gd name="connsiteX1345" fmla="*/ 577098 w 2081801"/>
                  <a:gd name="connsiteY1345" fmla="*/ 204640 h 2563305"/>
                  <a:gd name="connsiteX1346" fmla="*/ 636578 w 2081801"/>
                  <a:gd name="connsiteY1346" fmla="*/ 157905 h 2563305"/>
                  <a:gd name="connsiteX1347" fmla="*/ 602590 w 2081801"/>
                  <a:gd name="connsiteY1347" fmla="*/ 183397 h 2563305"/>
                  <a:gd name="connsiteX1348" fmla="*/ 545942 w 2081801"/>
                  <a:gd name="connsiteY1348" fmla="*/ 129581 h 2563305"/>
                  <a:gd name="connsiteX1349" fmla="*/ 636578 w 2081801"/>
                  <a:gd name="connsiteY1349" fmla="*/ 157905 h 2563305"/>
                  <a:gd name="connsiteX1350" fmla="*/ 511954 w 2081801"/>
                  <a:gd name="connsiteY1350" fmla="*/ 207472 h 2563305"/>
                  <a:gd name="connsiteX1351" fmla="*/ 571433 w 2081801"/>
                  <a:gd name="connsiteY1351" fmla="*/ 206056 h 2563305"/>
                  <a:gd name="connsiteX1352" fmla="*/ 562936 w 2081801"/>
                  <a:gd name="connsiteY1352" fmla="*/ 213137 h 2563305"/>
                  <a:gd name="connsiteX1353" fmla="*/ 511954 w 2081801"/>
                  <a:gd name="connsiteY1353" fmla="*/ 207472 h 2563305"/>
                  <a:gd name="connsiteX1354" fmla="*/ 494959 w 2081801"/>
                  <a:gd name="connsiteY1354" fmla="*/ 207472 h 2563305"/>
                  <a:gd name="connsiteX1355" fmla="*/ 558688 w 2081801"/>
                  <a:gd name="connsiteY1355" fmla="*/ 214553 h 2563305"/>
                  <a:gd name="connsiteX1356" fmla="*/ 490711 w 2081801"/>
                  <a:gd name="connsiteY1356" fmla="*/ 265536 h 2563305"/>
                  <a:gd name="connsiteX1357" fmla="*/ 359005 w 2081801"/>
                  <a:gd name="connsiteY1357" fmla="*/ 237212 h 2563305"/>
                  <a:gd name="connsiteX1358" fmla="*/ 323600 w 2081801"/>
                  <a:gd name="connsiteY1358" fmla="*/ 210304 h 2563305"/>
                  <a:gd name="connsiteX1359" fmla="*/ 494959 w 2081801"/>
                  <a:gd name="connsiteY1359" fmla="*/ 207472 h 2563305"/>
                  <a:gd name="connsiteX1360" fmla="*/ 479381 w 2081801"/>
                  <a:gd name="connsiteY1360" fmla="*/ 206056 h 2563305"/>
                  <a:gd name="connsiteX1361" fmla="*/ 320768 w 2081801"/>
                  <a:gd name="connsiteY1361" fmla="*/ 207472 h 2563305"/>
                  <a:gd name="connsiteX1362" fmla="*/ 288195 w 2081801"/>
                  <a:gd name="connsiteY1362" fmla="*/ 183397 h 2563305"/>
                  <a:gd name="connsiteX1363" fmla="*/ 479381 w 2081801"/>
                  <a:gd name="connsiteY1363" fmla="*/ 206056 h 2563305"/>
                  <a:gd name="connsiteX1364" fmla="*/ 320768 w 2081801"/>
                  <a:gd name="connsiteY1364" fmla="*/ 210304 h 2563305"/>
                  <a:gd name="connsiteX1365" fmla="*/ 354756 w 2081801"/>
                  <a:gd name="connsiteY1365" fmla="*/ 237212 h 2563305"/>
                  <a:gd name="connsiteX1366" fmla="*/ 238628 w 2081801"/>
                  <a:gd name="connsiteY1366" fmla="*/ 211720 h 2563305"/>
                  <a:gd name="connsiteX1367" fmla="*/ 320768 w 2081801"/>
                  <a:gd name="connsiteY1367" fmla="*/ 210304 h 2563305"/>
                  <a:gd name="connsiteX1368" fmla="*/ 300941 w 2081801"/>
                  <a:gd name="connsiteY1368" fmla="*/ 650740 h 2563305"/>
                  <a:gd name="connsiteX1369" fmla="*/ 310854 w 2081801"/>
                  <a:gd name="connsiteY1369" fmla="*/ 653572 h 2563305"/>
                  <a:gd name="connsiteX1370" fmla="*/ 306606 w 2081801"/>
                  <a:gd name="connsiteY1370" fmla="*/ 662069 h 2563305"/>
                  <a:gd name="connsiteX1371" fmla="*/ 300941 w 2081801"/>
                  <a:gd name="connsiteY1371" fmla="*/ 650740 h 2563305"/>
                  <a:gd name="connsiteX1372" fmla="*/ 228715 w 2081801"/>
                  <a:gd name="connsiteY1372" fmla="*/ 632329 h 2563305"/>
                  <a:gd name="connsiteX1373" fmla="*/ 262704 w 2081801"/>
                  <a:gd name="connsiteY1373" fmla="*/ 592676 h 2563305"/>
                  <a:gd name="connsiteX1374" fmla="*/ 296692 w 2081801"/>
                  <a:gd name="connsiteY1374" fmla="*/ 646491 h 2563305"/>
                  <a:gd name="connsiteX1375" fmla="*/ 228715 w 2081801"/>
                  <a:gd name="connsiteY1375" fmla="*/ 632329 h 2563305"/>
                  <a:gd name="connsiteX1376" fmla="*/ 262704 w 2081801"/>
                  <a:gd name="connsiteY1376" fmla="*/ 589843 h 2563305"/>
                  <a:gd name="connsiteX1377" fmla="*/ 255623 w 2081801"/>
                  <a:gd name="connsiteY1377" fmla="*/ 578514 h 2563305"/>
                  <a:gd name="connsiteX1378" fmla="*/ 289611 w 2081801"/>
                  <a:gd name="connsiteY1378" fmla="*/ 558687 h 2563305"/>
                  <a:gd name="connsiteX1379" fmla="*/ 262704 w 2081801"/>
                  <a:gd name="connsiteY1379" fmla="*/ 589843 h 2563305"/>
                  <a:gd name="connsiteX1380" fmla="*/ 162154 w 2081801"/>
                  <a:gd name="connsiteY1380" fmla="*/ 506288 h 2563305"/>
                  <a:gd name="connsiteX1381" fmla="*/ 218802 w 2081801"/>
                  <a:gd name="connsiteY1381" fmla="*/ 320767 h 2563305"/>
                  <a:gd name="connsiteX1382" fmla="*/ 190478 w 2081801"/>
                  <a:gd name="connsiteY1382" fmla="*/ 477964 h 2563305"/>
                  <a:gd name="connsiteX1383" fmla="*/ 183397 w 2081801"/>
                  <a:gd name="connsiteY1383" fmla="*/ 466635 h 2563305"/>
                  <a:gd name="connsiteX1384" fmla="*/ 183397 w 2081801"/>
                  <a:gd name="connsiteY1384" fmla="*/ 466635 h 2563305"/>
                  <a:gd name="connsiteX1385" fmla="*/ 162154 w 2081801"/>
                  <a:gd name="connsiteY1385" fmla="*/ 506288 h 2563305"/>
                  <a:gd name="connsiteX1386" fmla="*/ 116836 w 2081801"/>
                  <a:gd name="connsiteY1386" fmla="*/ 589843 h 2563305"/>
                  <a:gd name="connsiteX1387" fmla="*/ 153657 w 2081801"/>
                  <a:gd name="connsiteY1387" fmla="*/ 523282 h 2563305"/>
                  <a:gd name="connsiteX1388" fmla="*/ 128166 w 2081801"/>
                  <a:gd name="connsiteY1388" fmla="*/ 608254 h 2563305"/>
                  <a:gd name="connsiteX1389" fmla="*/ 116836 w 2081801"/>
                  <a:gd name="connsiteY1389" fmla="*/ 589843 h 2563305"/>
                  <a:gd name="connsiteX1390" fmla="*/ 914152 w 2081801"/>
                  <a:gd name="connsiteY1390" fmla="*/ 1521697 h 2563305"/>
                  <a:gd name="connsiteX1391" fmla="*/ 853255 w 2081801"/>
                  <a:gd name="connsiteY1391" fmla="*/ 1518865 h 2563305"/>
                  <a:gd name="connsiteX1392" fmla="*/ 956638 w 2081801"/>
                  <a:gd name="connsiteY1392" fmla="*/ 1438142 h 2563305"/>
                  <a:gd name="connsiteX1393" fmla="*/ 926897 w 2081801"/>
                  <a:gd name="connsiteY1393" fmla="*/ 1523113 h 2563305"/>
                  <a:gd name="connsiteX1394" fmla="*/ 914152 w 2081801"/>
                  <a:gd name="connsiteY1394" fmla="*/ 1521697 h 2563305"/>
                  <a:gd name="connsiteX1395" fmla="*/ 1003372 w 2081801"/>
                  <a:gd name="connsiteY1395" fmla="*/ 1755368 h 2563305"/>
                  <a:gd name="connsiteX1396" fmla="*/ 1000540 w 2081801"/>
                  <a:gd name="connsiteY1396" fmla="*/ 1761033 h 2563305"/>
                  <a:gd name="connsiteX1397" fmla="*/ 984961 w 2081801"/>
                  <a:gd name="connsiteY1397" fmla="*/ 1789357 h 2563305"/>
                  <a:gd name="connsiteX1398" fmla="*/ 980713 w 2081801"/>
                  <a:gd name="connsiteY1398" fmla="*/ 1751120 h 2563305"/>
                  <a:gd name="connsiteX1399" fmla="*/ 1003372 w 2081801"/>
                  <a:gd name="connsiteY1399" fmla="*/ 1755368 h 2563305"/>
                  <a:gd name="connsiteX1400" fmla="*/ 983545 w 2081801"/>
                  <a:gd name="connsiteY1400" fmla="*/ 1796438 h 2563305"/>
                  <a:gd name="connsiteX1401" fmla="*/ 1010453 w 2081801"/>
                  <a:gd name="connsiteY1401" fmla="*/ 2031526 h 2563305"/>
                  <a:gd name="connsiteX1402" fmla="*/ 932562 w 2081801"/>
                  <a:gd name="connsiteY1402" fmla="*/ 1887074 h 2563305"/>
                  <a:gd name="connsiteX1403" fmla="*/ 983545 w 2081801"/>
                  <a:gd name="connsiteY1403" fmla="*/ 1796438 h 2563305"/>
                  <a:gd name="connsiteX1404" fmla="*/ 1299356 w 2081801"/>
                  <a:gd name="connsiteY1404" fmla="*/ 2289272 h 2563305"/>
                  <a:gd name="connsiteX1405" fmla="*/ 1489126 w 2081801"/>
                  <a:gd name="connsiteY1405" fmla="*/ 2153318 h 2563305"/>
                  <a:gd name="connsiteX1406" fmla="*/ 1432478 w 2081801"/>
                  <a:gd name="connsiteY1406" fmla="*/ 2265197 h 2563305"/>
                  <a:gd name="connsiteX1407" fmla="*/ 1299356 w 2081801"/>
                  <a:gd name="connsiteY1407" fmla="*/ 2289272 h 2563305"/>
                  <a:gd name="connsiteX1408" fmla="*/ 1520282 w 2081801"/>
                  <a:gd name="connsiteY1408" fmla="*/ 2252451 h 2563305"/>
                  <a:gd name="connsiteX1409" fmla="*/ 1418316 w 2081801"/>
                  <a:gd name="connsiteY1409" fmla="*/ 2297770 h 2563305"/>
                  <a:gd name="connsiteX1410" fmla="*/ 1433894 w 2081801"/>
                  <a:gd name="connsiteY1410" fmla="*/ 2266613 h 2563305"/>
                  <a:gd name="connsiteX1411" fmla="*/ 1520282 w 2081801"/>
                  <a:gd name="connsiteY1411" fmla="*/ 2252451 h 2563305"/>
                  <a:gd name="connsiteX1412" fmla="*/ 1593924 w 2081801"/>
                  <a:gd name="connsiteY1412" fmla="*/ 2075428 h 2563305"/>
                  <a:gd name="connsiteX1413" fmla="*/ 1494790 w 2081801"/>
                  <a:gd name="connsiteY1413" fmla="*/ 2146237 h 2563305"/>
                  <a:gd name="connsiteX1414" fmla="*/ 1541524 w 2081801"/>
                  <a:gd name="connsiteY1414" fmla="*/ 2052768 h 2563305"/>
                  <a:gd name="connsiteX1415" fmla="*/ 1593924 w 2081801"/>
                  <a:gd name="connsiteY1415" fmla="*/ 2075428 h 2563305"/>
                  <a:gd name="connsiteX1416" fmla="*/ 1650571 w 2081801"/>
                  <a:gd name="connsiteY1416" fmla="*/ 1443806 h 2563305"/>
                  <a:gd name="connsiteX1417" fmla="*/ 1642074 w 2081801"/>
                  <a:gd name="connsiteY1417" fmla="*/ 1531610 h 2563305"/>
                  <a:gd name="connsiteX1418" fmla="*/ 1516033 w 2081801"/>
                  <a:gd name="connsiteY1418" fmla="*/ 1494789 h 2563305"/>
                  <a:gd name="connsiteX1419" fmla="*/ 1650571 w 2081801"/>
                  <a:gd name="connsiteY1419" fmla="*/ 1443806 h 2563305"/>
                  <a:gd name="connsiteX1420" fmla="*/ 1904070 w 2081801"/>
                  <a:gd name="connsiteY1420" fmla="*/ 1347506 h 2563305"/>
                  <a:gd name="connsiteX1421" fmla="*/ 1724213 w 2081801"/>
                  <a:gd name="connsiteY1421" fmla="*/ 1555686 h 2563305"/>
                  <a:gd name="connsiteX1422" fmla="*/ 1643490 w 2081801"/>
                  <a:gd name="connsiteY1422" fmla="*/ 1533027 h 2563305"/>
                  <a:gd name="connsiteX1423" fmla="*/ 1651988 w 2081801"/>
                  <a:gd name="connsiteY1423" fmla="*/ 1443806 h 2563305"/>
                  <a:gd name="connsiteX1424" fmla="*/ 1904070 w 2081801"/>
                  <a:gd name="connsiteY1424" fmla="*/ 1347506 h 2563305"/>
                  <a:gd name="connsiteX1425" fmla="*/ 1305021 w 2081801"/>
                  <a:gd name="connsiteY1425" fmla="*/ 442560 h 2563305"/>
                  <a:gd name="connsiteX1426" fmla="*/ 1310685 w 2081801"/>
                  <a:gd name="connsiteY1426" fmla="*/ 220218 h 2563305"/>
                  <a:gd name="connsiteX1427" fmla="*/ 1336177 w 2081801"/>
                  <a:gd name="connsiteY1427" fmla="*/ 449641 h 2563305"/>
                  <a:gd name="connsiteX1428" fmla="*/ 1305021 w 2081801"/>
                  <a:gd name="connsiteY1428" fmla="*/ 442560 h 2563305"/>
                  <a:gd name="connsiteX1429" fmla="*/ 562936 w 2081801"/>
                  <a:gd name="connsiteY1429" fmla="*/ 1133661 h 2563305"/>
                  <a:gd name="connsiteX1430" fmla="*/ 422733 w 2081801"/>
                  <a:gd name="connsiteY1430" fmla="*/ 1099672 h 2563305"/>
                  <a:gd name="connsiteX1431" fmla="*/ 455306 w 2081801"/>
                  <a:gd name="connsiteY1431" fmla="*/ 1014701 h 2563305"/>
                  <a:gd name="connsiteX1432" fmla="*/ 562936 w 2081801"/>
                  <a:gd name="connsiteY1432" fmla="*/ 1133661 h 2563305"/>
                  <a:gd name="connsiteX1433" fmla="*/ 956638 w 2081801"/>
                  <a:gd name="connsiteY1433" fmla="*/ 1334760 h 2563305"/>
                  <a:gd name="connsiteX1434" fmla="*/ 959470 w 2081801"/>
                  <a:gd name="connsiteY1434" fmla="*/ 1334760 h 2563305"/>
                  <a:gd name="connsiteX1435" fmla="*/ 958054 w 2081801"/>
                  <a:gd name="connsiteY1435" fmla="*/ 1336176 h 2563305"/>
                  <a:gd name="connsiteX1436" fmla="*/ 956638 w 2081801"/>
                  <a:gd name="connsiteY1436" fmla="*/ 1334760 h 2563305"/>
                  <a:gd name="connsiteX1437" fmla="*/ 1136494 w 2081801"/>
                  <a:gd name="connsiteY1437" fmla="*/ 2314764 h 2563305"/>
                  <a:gd name="connsiteX1438" fmla="*/ 1130829 w 2081801"/>
                  <a:gd name="connsiteY1438" fmla="*/ 2337423 h 2563305"/>
                  <a:gd name="connsiteX1439" fmla="*/ 1061436 w 2081801"/>
                  <a:gd name="connsiteY1439" fmla="*/ 2302018 h 2563305"/>
                  <a:gd name="connsiteX1440" fmla="*/ 1136494 w 2081801"/>
                  <a:gd name="connsiteY1440" fmla="*/ 2314764 h 2563305"/>
                  <a:gd name="connsiteX1441" fmla="*/ 1221465 w 2081801"/>
                  <a:gd name="connsiteY1441" fmla="*/ 2386990 h 2563305"/>
                  <a:gd name="connsiteX1442" fmla="*/ 1105338 w 2081801"/>
                  <a:gd name="connsiteY1442" fmla="*/ 2439389 h 2563305"/>
                  <a:gd name="connsiteX1443" fmla="*/ 1130829 w 2081801"/>
                  <a:gd name="connsiteY1443" fmla="*/ 2341672 h 2563305"/>
                  <a:gd name="connsiteX1444" fmla="*/ 1221465 w 2081801"/>
                  <a:gd name="connsiteY1444" fmla="*/ 2386990 h 2563305"/>
                  <a:gd name="connsiteX1445" fmla="*/ 1690225 w 2081801"/>
                  <a:gd name="connsiteY1445" fmla="*/ 1112418 h 2563305"/>
                  <a:gd name="connsiteX1446" fmla="*/ 1731294 w 2081801"/>
                  <a:gd name="connsiteY1446" fmla="*/ 871665 h 2563305"/>
                  <a:gd name="connsiteX1447" fmla="*/ 1729878 w 2081801"/>
                  <a:gd name="connsiteY1447" fmla="*/ 1109585 h 2563305"/>
                  <a:gd name="connsiteX1448" fmla="*/ 1690225 w 2081801"/>
                  <a:gd name="connsiteY1448" fmla="*/ 1112418 h 2563305"/>
                  <a:gd name="connsiteX1449" fmla="*/ 2017365 w 2081801"/>
                  <a:gd name="connsiteY1449" fmla="*/ 1875745 h 2563305"/>
                  <a:gd name="connsiteX1450" fmla="*/ 1918231 w 2081801"/>
                  <a:gd name="connsiteY1450" fmla="*/ 2129243 h 2563305"/>
                  <a:gd name="connsiteX1451" fmla="*/ 1911150 w 2081801"/>
                  <a:gd name="connsiteY1451" fmla="*/ 1991872 h 2563305"/>
                  <a:gd name="connsiteX1452" fmla="*/ 1911150 w 2081801"/>
                  <a:gd name="connsiteY1452" fmla="*/ 1990456 h 2563305"/>
                  <a:gd name="connsiteX1453" fmla="*/ 1855919 w 2081801"/>
                  <a:gd name="connsiteY1453" fmla="*/ 2184474 h 2563305"/>
                  <a:gd name="connsiteX1454" fmla="*/ 1677479 w 2081801"/>
                  <a:gd name="connsiteY1454" fmla="*/ 1821929 h 2563305"/>
                  <a:gd name="connsiteX1455" fmla="*/ 1909734 w 2081801"/>
                  <a:gd name="connsiteY1455" fmla="*/ 1990456 h 2563305"/>
                  <a:gd name="connsiteX1456" fmla="*/ 1909734 w 2081801"/>
                  <a:gd name="connsiteY1456" fmla="*/ 1990456 h 2563305"/>
                  <a:gd name="connsiteX1457" fmla="*/ 2017365 w 2081801"/>
                  <a:gd name="connsiteY1457" fmla="*/ 1875745 h 2563305"/>
                  <a:gd name="connsiteX1458" fmla="*/ 1916815 w 2081801"/>
                  <a:gd name="connsiteY1458" fmla="*/ 2139156 h 2563305"/>
                  <a:gd name="connsiteX1459" fmla="*/ 1918231 w 2081801"/>
                  <a:gd name="connsiteY1459" fmla="*/ 2158983 h 2563305"/>
                  <a:gd name="connsiteX1460" fmla="*/ 1901237 w 2081801"/>
                  <a:gd name="connsiteY1460" fmla="*/ 2180226 h 2563305"/>
                  <a:gd name="connsiteX1461" fmla="*/ 1916815 w 2081801"/>
                  <a:gd name="connsiteY1461" fmla="*/ 2139156 h 2563305"/>
                  <a:gd name="connsiteX1462" fmla="*/ 1925312 w 2081801"/>
                  <a:gd name="connsiteY1462" fmla="*/ 2246787 h 2563305"/>
                  <a:gd name="connsiteX1463" fmla="*/ 1919648 w 2081801"/>
                  <a:gd name="connsiteY1463" fmla="*/ 2160399 h 2563305"/>
                  <a:gd name="connsiteX1464" fmla="*/ 1981960 w 2081801"/>
                  <a:gd name="connsiteY1464" fmla="*/ 2085341 h 2563305"/>
                  <a:gd name="connsiteX1465" fmla="*/ 1925312 w 2081801"/>
                  <a:gd name="connsiteY1465" fmla="*/ 2246787 h 2563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Lst>
                <a:rect l="l" t="t" r="r" b="b"/>
                <a:pathLst>
                  <a:path w="2081801" h="2563305">
                    <a:moveTo>
                      <a:pt x="1861584" y="1065684"/>
                    </a:moveTo>
                    <a:lnTo>
                      <a:pt x="1996122" y="1212967"/>
                    </a:lnTo>
                    <a:lnTo>
                      <a:pt x="1976295" y="1265367"/>
                    </a:lnTo>
                    <a:lnTo>
                      <a:pt x="1908318" y="1344673"/>
                    </a:lnTo>
                    <a:lnTo>
                      <a:pt x="1654820" y="1440974"/>
                    </a:lnTo>
                    <a:lnTo>
                      <a:pt x="1663317" y="1357419"/>
                    </a:lnTo>
                    <a:lnTo>
                      <a:pt x="1779445" y="1259702"/>
                    </a:lnTo>
                    <a:lnTo>
                      <a:pt x="1779445" y="1259702"/>
                    </a:lnTo>
                    <a:lnTo>
                      <a:pt x="1778029" y="1258286"/>
                    </a:lnTo>
                    <a:lnTo>
                      <a:pt x="1664733" y="1339008"/>
                    </a:lnTo>
                    <a:lnTo>
                      <a:pt x="1681727" y="1174730"/>
                    </a:lnTo>
                    <a:lnTo>
                      <a:pt x="1691641" y="1113834"/>
                    </a:lnTo>
                    <a:lnTo>
                      <a:pt x="1734127" y="1109585"/>
                    </a:lnTo>
                    <a:lnTo>
                      <a:pt x="1734127" y="1109585"/>
                    </a:lnTo>
                    <a:lnTo>
                      <a:pt x="1735543" y="857503"/>
                    </a:lnTo>
                    <a:lnTo>
                      <a:pt x="1735543" y="857503"/>
                    </a:lnTo>
                    <a:lnTo>
                      <a:pt x="1734127" y="857503"/>
                    </a:lnTo>
                    <a:lnTo>
                      <a:pt x="1690225" y="1112418"/>
                    </a:lnTo>
                    <a:lnTo>
                      <a:pt x="1616583" y="1119499"/>
                    </a:lnTo>
                    <a:lnTo>
                      <a:pt x="1667565" y="1101088"/>
                    </a:lnTo>
                    <a:lnTo>
                      <a:pt x="1667565" y="1101088"/>
                    </a:lnTo>
                    <a:lnTo>
                      <a:pt x="1567016" y="1052938"/>
                    </a:lnTo>
                    <a:lnTo>
                      <a:pt x="1610918" y="1003371"/>
                    </a:lnTo>
                    <a:lnTo>
                      <a:pt x="1610918" y="1003371"/>
                    </a:lnTo>
                    <a:lnTo>
                      <a:pt x="1564184" y="837677"/>
                    </a:lnTo>
                    <a:lnTo>
                      <a:pt x="1690225" y="707387"/>
                    </a:lnTo>
                    <a:lnTo>
                      <a:pt x="1690225" y="707387"/>
                    </a:lnTo>
                    <a:lnTo>
                      <a:pt x="1582594" y="720133"/>
                    </a:lnTo>
                    <a:lnTo>
                      <a:pt x="1650571" y="643659"/>
                    </a:lnTo>
                    <a:lnTo>
                      <a:pt x="1650571" y="643659"/>
                    </a:lnTo>
                    <a:lnTo>
                      <a:pt x="1406986" y="670566"/>
                    </a:lnTo>
                    <a:lnTo>
                      <a:pt x="1436726" y="625248"/>
                    </a:lnTo>
                    <a:lnTo>
                      <a:pt x="1450888" y="477964"/>
                    </a:lnTo>
                    <a:lnTo>
                      <a:pt x="1593924" y="509121"/>
                    </a:lnTo>
                    <a:lnTo>
                      <a:pt x="1620831" y="585595"/>
                    </a:lnTo>
                    <a:lnTo>
                      <a:pt x="1620831" y="585595"/>
                    </a:lnTo>
                    <a:lnTo>
                      <a:pt x="1622248" y="585595"/>
                    </a:lnTo>
                    <a:lnTo>
                      <a:pt x="1593924" y="507704"/>
                    </a:lnTo>
                    <a:lnTo>
                      <a:pt x="1593924" y="507704"/>
                    </a:lnTo>
                    <a:lnTo>
                      <a:pt x="1449472" y="476548"/>
                    </a:lnTo>
                    <a:lnTo>
                      <a:pt x="1473547" y="215969"/>
                    </a:lnTo>
                    <a:lnTo>
                      <a:pt x="1473547" y="215969"/>
                    </a:lnTo>
                    <a:lnTo>
                      <a:pt x="1472131" y="215969"/>
                    </a:lnTo>
                    <a:lnTo>
                      <a:pt x="1472131" y="215969"/>
                    </a:lnTo>
                    <a:lnTo>
                      <a:pt x="1392824" y="465219"/>
                    </a:lnTo>
                    <a:lnTo>
                      <a:pt x="1339009" y="453889"/>
                    </a:lnTo>
                    <a:lnTo>
                      <a:pt x="1310685" y="208888"/>
                    </a:lnTo>
                    <a:lnTo>
                      <a:pt x="1310685" y="208888"/>
                    </a:lnTo>
                    <a:lnTo>
                      <a:pt x="1309269" y="208888"/>
                    </a:lnTo>
                    <a:lnTo>
                      <a:pt x="1302188" y="446808"/>
                    </a:lnTo>
                    <a:lnTo>
                      <a:pt x="1184644" y="421317"/>
                    </a:lnTo>
                    <a:lnTo>
                      <a:pt x="1203055" y="343426"/>
                    </a:lnTo>
                    <a:lnTo>
                      <a:pt x="1203055" y="343426"/>
                    </a:lnTo>
                    <a:lnTo>
                      <a:pt x="1021782" y="285362"/>
                    </a:lnTo>
                    <a:lnTo>
                      <a:pt x="1043025" y="274033"/>
                    </a:lnTo>
                    <a:lnTo>
                      <a:pt x="958054" y="264120"/>
                    </a:lnTo>
                    <a:lnTo>
                      <a:pt x="783862" y="207472"/>
                    </a:lnTo>
                    <a:lnTo>
                      <a:pt x="921233" y="206056"/>
                    </a:lnTo>
                    <a:lnTo>
                      <a:pt x="921233" y="206056"/>
                    </a:lnTo>
                    <a:lnTo>
                      <a:pt x="921233" y="204640"/>
                    </a:lnTo>
                    <a:lnTo>
                      <a:pt x="657821" y="146576"/>
                    </a:lnTo>
                    <a:lnTo>
                      <a:pt x="837678" y="12037"/>
                    </a:lnTo>
                    <a:lnTo>
                      <a:pt x="839093" y="12037"/>
                    </a:lnTo>
                    <a:lnTo>
                      <a:pt x="405739" y="92760"/>
                    </a:lnTo>
                    <a:lnTo>
                      <a:pt x="404323" y="92760"/>
                    </a:lnTo>
                    <a:lnTo>
                      <a:pt x="653573" y="147992"/>
                    </a:lnTo>
                    <a:lnTo>
                      <a:pt x="636578" y="160738"/>
                    </a:lnTo>
                    <a:lnTo>
                      <a:pt x="537445" y="128165"/>
                    </a:lnTo>
                    <a:lnTo>
                      <a:pt x="536029" y="128165"/>
                    </a:lnTo>
                    <a:lnTo>
                      <a:pt x="598341" y="189061"/>
                    </a:lnTo>
                    <a:lnTo>
                      <a:pt x="571433" y="208888"/>
                    </a:lnTo>
                    <a:lnTo>
                      <a:pt x="493543" y="210304"/>
                    </a:lnTo>
                    <a:lnTo>
                      <a:pt x="281114" y="184813"/>
                    </a:lnTo>
                    <a:lnTo>
                      <a:pt x="279698" y="184813"/>
                    </a:lnTo>
                    <a:lnTo>
                      <a:pt x="315103" y="211720"/>
                    </a:lnTo>
                    <a:lnTo>
                      <a:pt x="227299" y="213137"/>
                    </a:lnTo>
                    <a:lnTo>
                      <a:pt x="227299" y="213137"/>
                    </a:lnTo>
                    <a:lnTo>
                      <a:pt x="227299" y="214553"/>
                    </a:lnTo>
                    <a:lnTo>
                      <a:pt x="227299" y="214553"/>
                    </a:lnTo>
                    <a:lnTo>
                      <a:pt x="357588" y="242877"/>
                    </a:lnTo>
                    <a:lnTo>
                      <a:pt x="441144" y="306605"/>
                    </a:lnTo>
                    <a:lnTo>
                      <a:pt x="367502" y="361837"/>
                    </a:lnTo>
                    <a:lnTo>
                      <a:pt x="367502" y="361837"/>
                    </a:lnTo>
                    <a:lnTo>
                      <a:pt x="446809" y="534612"/>
                    </a:lnTo>
                    <a:lnTo>
                      <a:pt x="381664" y="509121"/>
                    </a:lnTo>
                    <a:lnTo>
                      <a:pt x="381664" y="509121"/>
                    </a:lnTo>
                    <a:lnTo>
                      <a:pt x="310854" y="656404"/>
                    </a:lnTo>
                    <a:lnTo>
                      <a:pt x="298109" y="653572"/>
                    </a:lnTo>
                    <a:lnTo>
                      <a:pt x="262704" y="596924"/>
                    </a:lnTo>
                    <a:lnTo>
                      <a:pt x="296692" y="557271"/>
                    </a:lnTo>
                    <a:lnTo>
                      <a:pt x="298109" y="555855"/>
                    </a:lnTo>
                    <a:lnTo>
                      <a:pt x="254207" y="582762"/>
                    </a:lnTo>
                    <a:lnTo>
                      <a:pt x="191894" y="485045"/>
                    </a:lnTo>
                    <a:lnTo>
                      <a:pt x="223050" y="308022"/>
                    </a:lnTo>
                    <a:lnTo>
                      <a:pt x="223050" y="308022"/>
                    </a:lnTo>
                    <a:lnTo>
                      <a:pt x="221634" y="308022"/>
                    </a:lnTo>
                    <a:lnTo>
                      <a:pt x="156489" y="520450"/>
                    </a:lnTo>
                    <a:lnTo>
                      <a:pt x="115420" y="594092"/>
                    </a:lnTo>
                    <a:lnTo>
                      <a:pt x="54523" y="487878"/>
                    </a:lnTo>
                    <a:lnTo>
                      <a:pt x="53107" y="486461"/>
                    </a:lnTo>
                    <a:lnTo>
                      <a:pt x="99842" y="676231"/>
                    </a:lnTo>
                    <a:lnTo>
                      <a:pt x="99842" y="676231"/>
                    </a:lnTo>
                    <a:lnTo>
                      <a:pt x="109755" y="670566"/>
                    </a:lnTo>
                    <a:lnTo>
                      <a:pt x="10621" y="993458"/>
                    </a:lnTo>
                    <a:lnTo>
                      <a:pt x="10621" y="993458"/>
                    </a:lnTo>
                    <a:lnTo>
                      <a:pt x="84264" y="1081262"/>
                    </a:lnTo>
                    <a:lnTo>
                      <a:pt x="82847" y="1091175"/>
                    </a:lnTo>
                    <a:lnTo>
                      <a:pt x="82847" y="1091175"/>
                    </a:lnTo>
                    <a:lnTo>
                      <a:pt x="97009" y="1095424"/>
                    </a:lnTo>
                    <a:lnTo>
                      <a:pt x="268368" y="1299355"/>
                    </a:lnTo>
                    <a:lnTo>
                      <a:pt x="268368" y="1299355"/>
                    </a:lnTo>
                    <a:lnTo>
                      <a:pt x="305190" y="1157736"/>
                    </a:lnTo>
                    <a:lnTo>
                      <a:pt x="390161" y="1183227"/>
                    </a:lnTo>
                    <a:lnTo>
                      <a:pt x="354756" y="1278112"/>
                    </a:lnTo>
                    <a:lnTo>
                      <a:pt x="354756" y="1278112"/>
                    </a:lnTo>
                    <a:lnTo>
                      <a:pt x="536029" y="1225713"/>
                    </a:lnTo>
                    <a:lnTo>
                      <a:pt x="536029" y="1225713"/>
                    </a:lnTo>
                    <a:lnTo>
                      <a:pt x="392993" y="1181811"/>
                    </a:lnTo>
                    <a:lnTo>
                      <a:pt x="421317" y="1106753"/>
                    </a:lnTo>
                    <a:lnTo>
                      <a:pt x="565769" y="1140742"/>
                    </a:lnTo>
                    <a:lnTo>
                      <a:pt x="671983" y="1256869"/>
                    </a:lnTo>
                    <a:lnTo>
                      <a:pt x="943892" y="1336176"/>
                    </a:lnTo>
                    <a:lnTo>
                      <a:pt x="943892" y="1367332"/>
                    </a:lnTo>
                    <a:lnTo>
                      <a:pt x="943892" y="1367332"/>
                    </a:lnTo>
                    <a:lnTo>
                      <a:pt x="959470" y="1344673"/>
                    </a:lnTo>
                    <a:lnTo>
                      <a:pt x="982129" y="1371581"/>
                    </a:lnTo>
                    <a:lnTo>
                      <a:pt x="958054" y="1439558"/>
                    </a:lnTo>
                    <a:lnTo>
                      <a:pt x="847591" y="1525946"/>
                    </a:lnTo>
                    <a:lnTo>
                      <a:pt x="847591" y="1525946"/>
                    </a:lnTo>
                    <a:lnTo>
                      <a:pt x="914152" y="1528778"/>
                    </a:lnTo>
                    <a:lnTo>
                      <a:pt x="925481" y="1530194"/>
                    </a:lnTo>
                    <a:lnTo>
                      <a:pt x="853255" y="1735542"/>
                    </a:lnTo>
                    <a:lnTo>
                      <a:pt x="853255" y="1735542"/>
                    </a:lnTo>
                    <a:lnTo>
                      <a:pt x="977880" y="1756785"/>
                    </a:lnTo>
                    <a:lnTo>
                      <a:pt x="982129" y="1797854"/>
                    </a:lnTo>
                    <a:cubicBezTo>
                      <a:pt x="950973" y="1855918"/>
                      <a:pt x="932562" y="1889906"/>
                      <a:pt x="929730" y="1891323"/>
                    </a:cubicBezTo>
                    <a:cubicBezTo>
                      <a:pt x="929730" y="1891323"/>
                      <a:pt x="929730" y="1891323"/>
                      <a:pt x="929730" y="1891323"/>
                    </a:cubicBezTo>
                    <a:cubicBezTo>
                      <a:pt x="928314" y="1892739"/>
                      <a:pt x="932562" y="1899820"/>
                      <a:pt x="935395" y="1904068"/>
                    </a:cubicBezTo>
                    <a:cubicBezTo>
                      <a:pt x="935395" y="1904068"/>
                      <a:pt x="935395" y="1905485"/>
                      <a:pt x="935395" y="1905485"/>
                    </a:cubicBezTo>
                    <a:cubicBezTo>
                      <a:pt x="941059" y="1916814"/>
                      <a:pt x="946724" y="1928144"/>
                      <a:pt x="953805" y="1939473"/>
                    </a:cubicBezTo>
                    <a:cubicBezTo>
                      <a:pt x="972216" y="1973462"/>
                      <a:pt x="992042" y="2008867"/>
                      <a:pt x="1010453" y="2041439"/>
                    </a:cubicBezTo>
                    <a:lnTo>
                      <a:pt x="1040193" y="2303434"/>
                    </a:lnTo>
                    <a:lnTo>
                      <a:pt x="1040193" y="2303434"/>
                    </a:lnTo>
                    <a:lnTo>
                      <a:pt x="1113835" y="2185891"/>
                    </a:lnTo>
                    <a:lnTo>
                      <a:pt x="1174731" y="2174561"/>
                    </a:lnTo>
                    <a:lnTo>
                      <a:pt x="1136494" y="2316180"/>
                    </a:lnTo>
                    <a:lnTo>
                      <a:pt x="1048690" y="2302018"/>
                    </a:lnTo>
                    <a:lnTo>
                      <a:pt x="1047274" y="2302018"/>
                    </a:lnTo>
                    <a:lnTo>
                      <a:pt x="1129413" y="2344504"/>
                    </a:lnTo>
                    <a:lnTo>
                      <a:pt x="1102505" y="2446470"/>
                    </a:lnTo>
                    <a:lnTo>
                      <a:pt x="1102505" y="2446470"/>
                    </a:lnTo>
                    <a:lnTo>
                      <a:pt x="1224298" y="2391238"/>
                    </a:lnTo>
                    <a:lnTo>
                      <a:pt x="1307853" y="2433724"/>
                    </a:lnTo>
                    <a:lnTo>
                      <a:pt x="1163402" y="2564013"/>
                    </a:lnTo>
                    <a:lnTo>
                      <a:pt x="1163402" y="2564013"/>
                    </a:lnTo>
                    <a:lnTo>
                      <a:pt x="1164817" y="2565430"/>
                    </a:lnTo>
                    <a:lnTo>
                      <a:pt x="1310685" y="2433724"/>
                    </a:lnTo>
                    <a:lnTo>
                      <a:pt x="1310685" y="2433724"/>
                    </a:lnTo>
                    <a:lnTo>
                      <a:pt x="1225714" y="2389822"/>
                    </a:lnTo>
                    <a:lnTo>
                      <a:pt x="1319183" y="2347336"/>
                    </a:lnTo>
                    <a:lnTo>
                      <a:pt x="1387160" y="2358666"/>
                    </a:lnTo>
                    <a:lnTo>
                      <a:pt x="1387160" y="2358666"/>
                    </a:lnTo>
                    <a:lnTo>
                      <a:pt x="1414067" y="2304851"/>
                    </a:lnTo>
                    <a:lnTo>
                      <a:pt x="1525946" y="2253868"/>
                    </a:lnTo>
                    <a:lnTo>
                      <a:pt x="1525946" y="2253868"/>
                    </a:lnTo>
                    <a:lnTo>
                      <a:pt x="1525946" y="2252451"/>
                    </a:lnTo>
                    <a:lnTo>
                      <a:pt x="1525946" y="2252451"/>
                    </a:lnTo>
                    <a:lnTo>
                      <a:pt x="1432478" y="2269446"/>
                    </a:lnTo>
                    <a:lnTo>
                      <a:pt x="1490541" y="2154734"/>
                    </a:lnTo>
                    <a:lnTo>
                      <a:pt x="1595340" y="2079676"/>
                    </a:lnTo>
                    <a:lnTo>
                      <a:pt x="1595340" y="2079676"/>
                    </a:lnTo>
                    <a:lnTo>
                      <a:pt x="1540108" y="2055601"/>
                    </a:lnTo>
                    <a:lnTo>
                      <a:pt x="1660484" y="1816265"/>
                    </a:lnTo>
                    <a:lnTo>
                      <a:pt x="1670398" y="1823346"/>
                    </a:lnTo>
                    <a:lnTo>
                      <a:pt x="1853087" y="2194388"/>
                    </a:lnTo>
                    <a:lnTo>
                      <a:pt x="1853087" y="2194388"/>
                    </a:lnTo>
                    <a:lnTo>
                      <a:pt x="1906902" y="2007451"/>
                    </a:lnTo>
                    <a:lnTo>
                      <a:pt x="1915399" y="2137740"/>
                    </a:lnTo>
                    <a:lnTo>
                      <a:pt x="1894156" y="2194388"/>
                    </a:lnTo>
                    <a:lnTo>
                      <a:pt x="1894156" y="2195804"/>
                    </a:lnTo>
                    <a:lnTo>
                      <a:pt x="1918231" y="2167480"/>
                    </a:lnTo>
                    <a:lnTo>
                      <a:pt x="1923896" y="2260949"/>
                    </a:lnTo>
                    <a:lnTo>
                      <a:pt x="1923896" y="2262365"/>
                    </a:lnTo>
                    <a:lnTo>
                      <a:pt x="1987625" y="2081092"/>
                    </a:lnTo>
                    <a:lnTo>
                      <a:pt x="1987625" y="2079676"/>
                    </a:lnTo>
                    <a:lnTo>
                      <a:pt x="1919648" y="2161815"/>
                    </a:lnTo>
                    <a:lnTo>
                      <a:pt x="1918231" y="2139156"/>
                    </a:lnTo>
                    <a:lnTo>
                      <a:pt x="2021613" y="1872912"/>
                    </a:lnTo>
                    <a:lnTo>
                      <a:pt x="2021613" y="1871496"/>
                    </a:lnTo>
                    <a:lnTo>
                      <a:pt x="1908318" y="1991872"/>
                    </a:lnTo>
                    <a:lnTo>
                      <a:pt x="1673231" y="1821929"/>
                    </a:lnTo>
                    <a:lnTo>
                      <a:pt x="1664733" y="1803519"/>
                    </a:lnTo>
                    <a:lnTo>
                      <a:pt x="1684560" y="1678894"/>
                    </a:lnTo>
                    <a:lnTo>
                      <a:pt x="1684560" y="1678894"/>
                    </a:lnTo>
                    <a:lnTo>
                      <a:pt x="1472131" y="1804935"/>
                    </a:lnTo>
                    <a:lnTo>
                      <a:pt x="1443807" y="1702970"/>
                    </a:lnTo>
                    <a:lnTo>
                      <a:pt x="1637826" y="1592506"/>
                    </a:lnTo>
                    <a:lnTo>
                      <a:pt x="1637826" y="1592506"/>
                    </a:lnTo>
                    <a:lnTo>
                      <a:pt x="1643490" y="1537275"/>
                    </a:lnTo>
                    <a:lnTo>
                      <a:pt x="1724213" y="1561350"/>
                    </a:lnTo>
                    <a:lnTo>
                      <a:pt x="1724213" y="1561350"/>
                    </a:lnTo>
                    <a:lnTo>
                      <a:pt x="1908318" y="1348922"/>
                    </a:lnTo>
                    <a:lnTo>
                      <a:pt x="1953636" y="1331927"/>
                    </a:lnTo>
                    <a:lnTo>
                      <a:pt x="1953636" y="1331927"/>
                    </a:lnTo>
                    <a:lnTo>
                      <a:pt x="1977712" y="1269615"/>
                    </a:lnTo>
                    <a:lnTo>
                      <a:pt x="2011700" y="1231378"/>
                    </a:lnTo>
                    <a:lnTo>
                      <a:pt x="2011700" y="1231378"/>
                    </a:lnTo>
                    <a:lnTo>
                      <a:pt x="1998955" y="1217216"/>
                    </a:lnTo>
                    <a:lnTo>
                      <a:pt x="2072596" y="1026030"/>
                    </a:lnTo>
                    <a:lnTo>
                      <a:pt x="2072596" y="1026030"/>
                    </a:lnTo>
                    <a:lnTo>
                      <a:pt x="1861584" y="1065684"/>
                    </a:lnTo>
                    <a:lnTo>
                      <a:pt x="1861584" y="1065684"/>
                    </a:lnTo>
                    <a:close/>
                    <a:moveTo>
                      <a:pt x="2008868" y="1227129"/>
                    </a:moveTo>
                    <a:lnTo>
                      <a:pt x="1980544" y="1261118"/>
                    </a:lnTo>
                    <a:lnTo>
                      <a:pt x="1997538" y="1215800"/>
                    </a:lnTo>
                    <a:lnTo>
                      <a:pt x="2008868" y="1227129"/>
                    </a:lnTo>
                    <a:close/>
                    <a:moveTo>
                      <a:pt x="2068348" y="1024614"/>
                    </a:moveTo>
                    <a:lnTo>
                      <a:pt x="1996122" y="1211551"/>
                    </a:lnTo>
                    <a:lnTo>
                      <a:pt x="1864416" y="1067100"/>
                    </a:lnTo>
                    <a:lnTo>
                      <a:pt x="2068348" y="1024614"/>
                    </a:lnTo>
                    <a:close/>
                    <a:moveTo>
                      <a:pt x="1973463" y="1271031"/>
                    </a:moveTo>
                    <a:lnTo>
                      <a:pt x="1952220" y="1327679"/>
                    </a:lnTo>
                    <a:lnTo>
                      <a:pt x="1911150" y="1343257"/>
                    </a:lnTo>
                    <a:lnTo>
                      <a:pt x="1973463" y="1271031"/>
                    </a:lnTo>
                    <a:close/>
                    <a:moveTo>
                      <a:pt x="1324847" y="2343088"/>
                    </a:moveTo>
                    <a:lnTo>
                      <a:pt x="1414067" y="2303434"/>
                    </a:lnTo>
                    <a:lnTo>
                      <a:pt x="1388576" y="2354417"/>
                    </a:lnTo>
                    <a:lnTo>
                      <a:pt x="1324847" y="2343088"/>
                    </a:lnTo>
                    <a:close/>
                    <a:moveTo>
                      <a:pt x="99842" y="1091175"/>
                    </a:moveTo>
                    <a:lnTo>
                      <a:pt x="302357" y="1152071"/>
                    </a:lnTo>
                    <a:lnTo>
                      <a:pt x="266952" y="1289442"/>
                    </a:lnTo>
                    <a:lnTo>
                      <a:pt x="99842" y="1091175"/>
                    </a:lnTo>
                    <a:close/>
                    <a:moveTo>
                      <a:pt x="1395657" y="462386"/>
                    </a:moveTo>
                    <a:lnTo>
                      <a:pt x="1472131" y="224466"/>
                    </a:lnTo>
                    <a:lnTo>
                      <a:pt x="1448056" y="475132"/>
                    </a:lnTo>
                    <a:lnTo>
                      <a:pt x="1395657" y="462386"/>
                    </a:lnTo>
                    <a:close/>
                    <a:moveTo>
                      <a:pt x="1317766" y="2343088"/>
                    </a:moveTo>
                    <a:lnTo>
                      <a:pt x="1225714" y="2384157"/>
                    </a:lnTo>
                    <a:lnTo>
                      <a:pt x="1133662" y="2337423"/>
                    </a:lnTo>
                    <a:lnTo>
                      <a:pt x="1139326" y="2313348"/>
                    </a:lnTo>
                    <a:lnTo>
                      <a:pt x="1317766" y="2343088"/>
                    </a:lnTo>
                    <a:close/>
                    <a:moveTo>
                      <a:pt x="1095424" y="2184474"/>
                    </a:moveTo>
                    <a:lnTo>
                      <a:pt x="1095424" y="2184474"/>
                    </a:lnTo>
                    <a:lnTo>
                      <a:pt x="1112419" y="2181642"/>
                    </a:lnTo>
                    <a:lnTo>
                      <a:pt x="1043025" y="2292105"/>
                    </a:lnTo>
                    <a:lnTo>
                      <a:pt x="1014701" y="2040023"/>
                    </a:lnTo>
                    <a:cubicBezTo>
                      <a:pt x="1038776" y="2083925"/>
                      <a:pt x="1064268" y="2132075"/>
                      <a:pt x="1095424" y="2184474"/>
                    </a:cubicBezTo>
                    <a:close/>
                    <a:moveTo>
                      <a:pt x="418485" y="1102504"/>
                    </a:moveTo>
                    <a:lnTo>
                      <a:pt x="390161" y="1177563"/>
                    </a:lnTo>
                    <a:lnTo>
                      <a:pt x="305190" y="1152071"/>
                    </a:lnTo>
                    <a:lnTo>
                      <a:pt x="323600" y="1079846"/>
                    </a:lnTo>
                    <a:lnTo>
                      <a:pt x="418485" y="1102504"/>
                    </a:lnTo>
                    <a:close/>
                    <a:moveTo>
                      <a:pt x="357588" y="1269615"/>
                    </a:moveTo>
                    <a:lnTo>
                      <a:pt x="391577" y="1178979"/>
                    </a:lnTo>
                    <a:lnTo>
                      <a:pt x="528948" y="1220048"/>
                    </a:lnTo>
                    <a:lnTo>
                      <a:pt x="357588" y="1269615"/>
                    </a:lnTo>
                    <a:close/>
                    <a:moveTo>
                      <a:pt x="94177" y="1086927"/>
                    </a:moveTo>
                    <a:lnTo>
                      <a:pt x="85680" y="1084094"/>
                    </a:lnTo>
                    <a:lnTo>
                      <a:pt x="87096" y="1077013"/>
                    </a:lnTo>
                    <a:lnTo>
                      <a:pt x="94177" y="1086927"/>
                    </a:lnTo>
                    <a:close/>
                    <a:moveTo>
                      <a:pt x="108339" y="605422"/>
                    </a:moveTo>
                    <a:lnTo>
                      <a:pt x="115420" y="592676"/>
                    </a:lnTo>
                    <a:lnTo>
                      <a:pt x="125333" y="609670"/>
                    </a:lnTo>
                    <a:lnTo>
                      <a:pt x="108339" y="605422"/>
                    </a:lnTo>
                    <a:close/>
                    <a:moveTo>
                      <a:pt x="1303604" y="530363"/>
                    </a:moveTo>
                    <a:lnTo>
                      <a:pt x="1306437" y="445392"/>
                    </a:lnTo>
                    <a:lnTo>
                      <a:pt x="1339009" y="452473"/>
                    </a:lnTo>
                    <a:lnTo>
                      <a:pt x="1346090" y="511953"/>
                    </a:lnTo>
                    <a:lnTo>
                      <a:pt x="1303604" y="530363"/>
                    </a:lnTo>
                    <a:close/>
                    <a:moveTo>
                      <a:pt x="1664733" y="1800687"/>
                    </a:moveTo>
                    <a:lnTo>
                      <a:pt x="1664733" y="1800687"/>
                    </a:lnTo>
                    <a:lnTo>
                      <a:pt x="1671814" y="1816265"/>
                    </a:lnTo>
                    <a:lnTo>
                      <a:pt x="1663317" y="1809184"/>
                    </a:lnTo>
                    <a:lnTo>
                      <a:pt x="1663317" y="1809184"/>
                    </a:lnTo>
                    <a:lnTo>
                      <a:pt x="1541524" y="2051353"/>
                    </a:lnTo>
                    <a:lnTo>
                      <a:pt x="1446640" y="2010283"/>
                    </a:lnTo>
                    <a:lnTo>
                      <a:pt x="1496207" y="1898404"/>
                    </a:lnTo>
                    <a:lnTo>
                      <a:pt x="1496207" y="1898404"/>
                    </a:lnTo>
                    <a:lnTo>
                      <a:pt x="1487709" y="1898404"/>
                    </a:lnTo>
                    <a:lnTo>
                      <a:pt x="1499039" y="1889906"/>
                    </a:lnTo>
                    <a:lnTo>
                      <a:pt x="1499039" y="1889906"/>
                    </a:lnTo>
                    <a:lnTo>
                      <a:pt x="1474964" y="1804935"/>
                    </a:lnTo>
                    <a:lnTo>
                      <a:pt x="1684560" y="1680310"/>
                    </a:lnTo>
                    <a:lnTo>
                      <a:pt x="1664733" y="1800687"/>
                    </a:lnTo>
                    <a:close/>
                    <a:moveTo>
                      <a:pt x="1292275" y="2292105"/>
                    </a:moveTo>
                    <a:lnTo>
                      <a:pt x="1292275" y="2292105"/>
                    </a:lnTo>
                    <a:lnTo>
                      <a:pt x="1431062" y="2268030"/>
                    </a:lnTo>
                    <a:lnTo>
                      <a:pt x="1415484" y="2299186"/>
                    </a:lnTo>
                    <a:lnTo>
                      <a:pt x="1320599" y="2341672"/>
                    </a:lnTo>
                    <a:lnTo>
                      <a:pt x="1139326" y="2311932"/>
                    </a:lnTo>
                    <a:lnTo>
                      <a:pt x="1177564" y="2167480"/>
                    </a:lnTo>
                    <a:lnTo>
                      <a:pt x="1177564" y="2167480"/>
                    </a:lnTo>
                    <a:lnTo>
                      <a:pt x="1115251" y="2178810"/>
                    </a:lnTo>
                    <a:lnTo>
                      <a:pt x="1163402" y="2102335"/>
                    </a:lnTo>
                    <a:lnTo>
                      <a:pt x="1170483" y="2124994"/>
                    </a:lnTo>
                    <a:lnTo>
                      <a:pt x="1166234" y="2160399"/>
                    </a:lnTo>
                    <a:lnTo>
                      <a:pt x="1166234" y="2160399"/>
                    </a:lnTo>
                    <a:lnTo>
                      <a:pt x="1178979" y="2150486"/>
                    </a:lnTo>
                    <a:lnTo>
                      <a:pt x="1181812" y="2158983"/>
                    </a:lnTo>
                    <a:lnTo>
                      <a:pt x="1181812" y="2158983"/>
                    </a:lnTo>
                    <a:lnTo>
                      <a:pt x="1323431" y="2130659"/>
                    </a:lnTo>
                    <a:lnTo>
                      <a:pt x="1323431" y="2130659"/>
                    </a:lnTo>
                    <a:lnTo>
                      <a:pt x="1255454" y="2086757"/>
                    </a:lnTo>
                    <a:lnTo>
                      <a:pt x="1483461" y="1898404"/>
                    </a:lnTo>
                    <a:lnTo>
                      <a:pt x="1490541" y="1898404"/>
                    </a:lnTo>
                    <a:lnTo>
                      <a:pt x="1442391" y="2010283"/>
                    </a:lnTo>
                    <a:lnTo>
                      <a:pt x="1442391" y="2010283"/>
                    </a:lnTo>
                    <a:lnTo>
                      <a:pt x="1540108" y="2051353"/>
                    </a:lnTo>
                    <a:lnTo>
                      <a:pt x="1490541" y="2149070"/>
                    </a:lnTo>
                    <a:lnTo>
                      <a:pt x="1292275" y="2292105"/>
                    </a:lnTo>
                    <a:close/>
                    <a:moveTo>
                      <a:pt x="1096840" y="2183058"/>
                    </a:moveTo>
                    <a:cubicBezTo>
                      <a:pt x="1069933" y="2134908"/>
                      <a:pt x="1041609" y="2085341"/>
                      <a:pt x="1013285" y="2035774"/>
                    </a:cubicBezTo>
                    <a:lnTo>
                      <a:pt x="1013285" y="2035774"/>
                    </a:lnTo>
                    <a:lnTo>
                      <a:pt x="984961" y="1793606"/>
                    </a:lnTo>
                    <a:cubicBezTo>
                      <a:pt x="994874" y="1775195"/>
                      <a:pt x="1003372" y="1759617"/>
                      <a:pt x="1004788" y="1755368"/>
                    </a:cubicBezTo>
                    <a:lnTo>
                      <a:pt x="1004788" y="1753952"/>
                    </a:lnTo>
                    <a:lnTo>
                      <a:pt x="979297" y="1749704"/>
                    </a:lnTo>
                    <a:lnTo>
                      <a:pt x="973632" y="1701553"/>
                    </a:lnTo>
                    <a:lnTo>
                      <a:pt x="1044441" y="1674646"/>
                    </a:lnTo>
                    <a:lnTo>
                      <a:pt x="1218633" y="1663316"/>
                    </a:lnTo>
                    <a:lnTo>
                      <a:pt x="1210136" y="1751120"/>
                    </a:lnTo>
                    <a:lnTo>
                      <a:pt x="1055771" y="1770946"/>
                    </a:lnTo>
                    <a:lnTo>
                      <a:pt x="1055771" y="1770946"/>
                    </a:lnTo>
                    <a:lnTo>
                      <a:pt x="1106754" y="1925311"/>
                    </a:lnTo>
                    <a:lnTo>
                      <a:pt x="1010453" y="1932392"/>
                    </a:lnTo>
                    <a:lnTo>
                      <a:pt x="1010453" y="1932392"/>
                    </a:lnTo>
                    <a:lnTo>
                      <a:pt x="1136494" y="2013115"/>
                    </a:lnTo>
                    <a:lnTo>
                      <a:pt x="1164817" y="2100919"/>
                    </a:lnTo>
                    <a:lnTo>
                      <a:pt x="1115251" y="2180226"/>
                    </a:lnTo>
                    <a:lnTo>
                      <a:pt x="1096840" y="2183058"/>
                    </a:lnTo>
                    <a:close/>
                    <a:moveTo>
                      <a:pt x="114004" y="589843"/>
                    </a:moveTo>
                    <a:lnTo>
                      <a:pt x="104090" y="606838"/>
                    </a:lnTo>
                    <a:lnTo>
                      <a:pt x="125333" y="611086"/>
                    </a:lnTo>
                    <a:lnTo>
                      <a:pt x="109755" y="662069"/>
                    </a:lnTo>
                    <a:lnTo>
                      <a:pt x="101258" y="667734"/>
                    </a:lnTo>
                    <a:lnTo>
                      <a:pt x="58772" y="493542"/>
                    </a:lnTo>
                    <a:lnTo>
                      <a:pt x="114004" y="589843"/>
                    </a:lnTo>
                    <a:close/>
                    <a:moveTo>
                      <a:pt x="225883" y="632329"/>
                    </a:moveTo>
                    <a:lnTo>
                      <a:pt x="181981" y="622416"/>
                    </a:lnTo>
                    <a:lnTo>
                      <a:pt x="252790" y="579930"/>
                    </a:lnTo>
                    <a:lnTo>
                      <a:pt x="259871" y="591260"/>
                    </a:lnTo>
                    <a:lnTo>
                      <a:pt x="225883" y="632329"/>
                    </a:lnTo>
                    <a:close/>
                    <a:moveTo>
                      <a:pt x="640827" y="156489"/>
                    </a:moveTo>
                    <a:lnTo>
                      <a:pt x="657821" y="143743"/>
                    </a:lnTo>
                    <a:lnTo>
                      <a:pt x="914152" y="200391"/>
                    </a:lnTo>
                    <a:lnTo>
                      <a:pt x="781030" y="201807"/>
                    </a:lnTo>
                    <a:lnTo>
                      <a:pt x="640827" y="156489"/>
                    </a:lnTo>
                    <a:close/>
                    <a:moveTo>
                      <a:pt x="884412" y="351923"/>
                    </a:moveTo>
                    <a:lnTo>
                      <a:pt x="1020366" y="282530"/>
                    </a:lnTo>
                    <a:lnTo>
                      <a:pt x="1201639" y="340594"/>
                    </a:lnTo>
                    <a:lnTo>
                      <a:pt x="1184644" y="417068"/>
                    </a:lnTo>
                    <a:lnTo>
                      <a:pt x="884412" y="351923"/>
                    </a:lnTo>
                    <a:close/>
                    <a:moveTo>
                      <a:pt x="1493374" y="1130828"/>
                    </a:moveTo>
                    <a:lnTo>
                      <a:pt x="1562767" y="1054354"/>
                    </a:lnTo>
                    <a:lnTo>
                      <a:pt x="1659069" y="1101088"/>
                    </a:lnTo>
                    <a:lnTo>
                      <a:pt x="1605253" y="1120915"/>
                    </a:lnTo>
                    <a:lnTo>
                      <a:pt x="1493374" y="1130828"/>
                    </a:lnTo>
                    <a:close/>
                    <a:moveTo>
                      <a:pt x="1513201" y="1494789"/>
                    </a:moveTo>
                    <a:lnTo>
                      <a:pt x="1501871" y="1491957"/>
                    </a:lnTo>
                    <a:lnTo>
                      <a:pt x="1659069" y="1360251"/>
                    </a:lnTo>
                    <a:lnTo>
                      <a:pt x="1650571" y="1442390"/>
                    </a:lnTo>
                    <a:lnTo>
                      <a:pt x="1513201" y="1494789"/>
                    </a:lnTo>
                    <a:close/>
                    <a:moveTo>
                      <a:pt x="960886" y="1336176"/>
                    </a:moveTo>
                    <a:lnTo>
                      <a:pt x="989210" y="1344673"/>
                    </a:lnTo>
                    <a:lnTo>
                      <a:pt x="982129" y="1364500"/>
                    </a:lnTo>
                    <a:lnTo>
                      <a:pt x="959470" y="1337592"/>
                    </a:lnTo>
                    <a:lnTo>
                      <a:pt x="960886" y="1336176"/>
                    </a:lnTo>
                    <a:close/>
                    <a:moveTo>
                      <a:pt x="945308" y="1329095"/>
                    </a:moveTo>
                    <a:lnTo>
                      <a:pt x="945308" y="1323430"/>
                    </a:lnTo>
                    <a:lnTo>
                      <a:pt x="950973" y="1330511"/>
                    </a:lnTo>
                    <a:lnTo>
                      <a:pt x="945308" y="1329095"/>
                    </a:lnTo>
                    <a:close/>
                    <a:moveTo>
                      <a:pt x="114004" y="660653"/>
                    </a:moveTo>
                    <a:lnTo>
                      <a:pt x="128166" y="613919"/>
                    </a:lnTo>
                    <a:lnTo>
                      <a:pt x="145160" y="642242"/>
                    </a:lnTo>
                    <a:lnTo>
                      <a:pt x="114004" y="660653"/>
                    </a:lnTo>
                    <a:close/>
                    <a:moveTo>
                      <a:pt x="180564" y="621000"/>
                    </a:moveTo>
                    <a:lnTo>
                      <a:pt x="167819" y="618167"/>
                    </a:lnTo>
                    <a:lnTo>
                      <a:pt x="191894" y="482213"/>
                    </a:lnTo>
                    <a:lnTo>
                      <a:pt x="252790" y="578514"/>
                    </a:lnTo>
                    <a:lnTo>
                      <a:pt x="180564" y="621000"/>
                    </a:lnTo>
                    <a:close/>
                    <a:moveTo>
                      <a:pt x="507705" y="660653"/>
                    </a:moveTo>
                    <a:lnTo>
                      <a:pt x="524699" y="698890"/>
                    </a:lnTo>
                    <a:lnTo>
                      <a:pt x="516202" y="697474"/>
                    </a:lnTo>
                    <a:lnTo>
                      <a:pt x="492127" y="664902"/>
                    </a:lnTo>
                    <a:lnTo>
                      <a:pt x="507705" y="660653"/>
                    </a:lnTo>
                    <a:close/>
                    <a:moveTo>
                      <a:pt x="489294" y="266952"/>
                    </a:moveTo>
                    <a:lnTo>
                      <a:pt x="443976" y="300941"/>
                    </a:lnTo>
                    <a:lnTo>
                      <a:pt x="363253" y="240044"/>
                    </a:lnTo>
                    <a:lnTo>
                      <a:pt x="489294" y="266952"/>
                    </a:lnTo>
                    <a:close/>
                    <a:moveTo>
                      <a:pt x="643659" y="223050"/>
                    </a:moveTo>
                    <a:lnTo>
                      <a:pt x="626665" y="206056"/>
                    </a:lnTo>
                    <a:lnTo>
                      <a:pt x="781030" y="204640"/>
                    </a:lnTo>
                    <a:lnTo>
                      <a:pt x="950973" y="259871"/>
                    </a:lnTo>
                    <a:lnTo>
                      <a:pt x="643659" y="223050"/>
                    </a:lnTo>
                    <a:close/>
                    <a:moveTo>
                      <a:pt x="642243" y="224466"/>
                    </a:moveTo>
                    <a:lnTo>
                      <a:pt x="739960" y="319351"/>
                    </a:lnTo>
                    <a:lnTo>
                      <a:pt x="493543" y="265536"/>
                    </a:lnTo>
                    <a:lnTo>
                      <a:pt x="561520" y="214553"/>
                    </a:lnTo>
                    <a:lnTo>
                      <a:pt x="642243" y="224466"/>
                    </a:lnTo>
                    <a:close/>
                    <a:moveTo>
                      <a:pt x="1453721" y="1174730"/>
                    </a:moveTo>
                    <a:lnTo>
                      <a:pt x="1491958" y="1132245"/>
                    </a:lnTo>
                    <a:lnTo>
                      <a:pt x="1598172" y="1122331"/>
                    </a:lnTo>
                    <a:lnTo>
                      <a:pt x="1453721" y="1174730"/>
                    </a:lnTo>
                    <a:close/>
                    <a:moveTo>
                      <a:pt x="1484877" y="1504703"/>
                    </a:moveTo>
                    <a:lnTo>
                      <a:pt x="1499039" y="1491957"/>
                    </a:lnTo>
                    <a:lnTo>
                      <a:pt x="1508952" y="1494789"/>
                    </a:lnTo>
                    <a:lnTo>
                      <a:pt x="1484877" y="1504703"/>
                    </a:lnTo>
                    <a:close/>
                    <a:moveTo>
                      <a:pt x="1397073" y="1727044"/>
                    </a:moveTo>
                    <a:lnTo>
                      <a:pt x="1320599" y="1848837"/>
                    </a:lnTo>
                    <a:lnTo>
                      <a:pt x="1282362" y="1744039"/>
                    </a:lnTo>
                    <a:lnTo>
                      <a:pt x="1391408" y="1729877"/>
                    </a:lnTo>
                    <a:lnTo>
                      <a:pt x="1397073" y="1727044"/>
                    </a:lnTo>
                    <a:close/>
                    <a:moveTo>
                      <a:pt x="1191725" y="1921063"/>
                    </a:moveTo>
                    <a:lnTo>
                      <a:pt x="1178979" y="2038606"/>
                    </a:lnTo>
                    <a:lnTo>
                      <a:pt x="1135078" y="2010283"/>
                    </a:lnTo>
                    <a:lnTo>
                      <a:pt x="1108170" y="1926727"/>
                    </a:lnTo>
                    <a:lnTo>
                      <a:pt x="1191725" y="1921063"/>
                    </a:lnTo>
                    <a:close/>
                    <a:moveTo>
                      <a:pt x="1224298" y="1606668"/>
                    </a:moveTo>
                    <a:lnTo>
                      <a:pt x="1218633" y="1661900"/>
                    </a:lnTo>
                    <a:lnTo>
                      <a:pt x="1051522" y="1673229"/>
                    </a:lnTo>
                    <a:lnTo>
                      <a:pt x="1224298" y="1606668"/>
                    </a:lnTo>
                    <a:close/>
                    <a:moveTo>
                      <a:pt x="1215800" y="1565599"/>
                    </a:moveTo>
                    <a:lnTo>
                      <a:pt x="1225714" y="1593923"/>
                    </a:lnTo>
                    <a:lnTo>
                      <a:pt x="1224298" y="1603836"/>
                    </a:lnTo>
                    <a:lnTo>
                      <a:pt x="1044441" y="1671813"/>
                    </a:lnTo>
                    <a:lnTo>
                      <a:pt x="999123" y="1674646"/>
                    </a:lnTo>
                    <a:lnTo>
                      <a:pt x="1112419" y="1550021"/>
                    </a:lnTo>
                    <a:lnTo>
                      <a:pt x="1215800" y="1565599"/>
                    </a:lnTo>
                    <a:close/>
                    <a:moveTo>
                      <a:pt x="166402" y="956637"/>
                    </a:moveTo>
                    <a:lnTo>
                      <a:pt x="220218" y="844758"/>
                    </a:lnTo>
                    <a:lnTo>
                      <a:pt x="434063" y="915567"/>
                    </a:lnTo>
                    <a:lnTo>
                      <a:pt x="456722" y="931145"/>
                    </a:lnTo>
                    <a:lnTo>
                      <a:pt x="166402" y="956637"/>
                    </a:lnTo>
                    <a:close/>
                    <a:moveTo>
                      <a:pt x="659237" y="463803"/>
                    </a:moveTo>
                    <a:lnTo>
                      <a:pt x="445392" y="302357"/>
                    </a:lnTo>
                    <a:lnTo>
                      <a:pt x="490711" y="268368"/>
                    </a:lnTo>
                    <a:lnTo>
                      <a:pt x="741376" y="323599"/>
                    </a:lnTo>
                    <a:lnTo>
                      <a:pt x="807937" y="388744"/>
                    </a:lnTo>
                    <a:lnTo>
                      <a:pt x="659237" y="463803"/>
                    </a:lnTo>
                    <a:close/>
                    <a:moveTo>
                      <a:pt x="878747" y="351923"/>
                    </a:moveTo>
                    <a:lnTo>
                      <a:pt x="812186" y="385912"/>
                    </a:lnTo>
                    <a:lnTo>
                      <a:pt x="747041" y="322183"/>
                    </a:lnTo>
                    <a:lnTo>
                      <a:pt x="878747" y="351923"/>
                    </a:lnTo>
                    <a:close/>
                    <a:moveTo>
                      <a:pt x="1197390" y="2049936"/>
                    </a:moveTo>
                    <a:lnTo>
                      <a:pt x="1282362" y="1913982"/>
                    </a:lnTo>
                    <a:lnTo>
                      <a:pt x="1480628" y="1899820"/>
                    </a:lnTo>
                    <a:lnTo>
                      <a:pt x="1254038" y="2086757"/>
                    </a:lnTo>
                    <a:lnTo>
                      <a:pt x="1197390" y="2049936"/>
                    </a:lnTo>
                    <a:close/>
                    <a:moveTo>
                      <a:pt x="1183228" y="2156151"/>
                    </a:moveTo>
                    <a:lnTo>
                      <a:pt x="1180396" y="2149070"/>
                    </a:lnTo>
                    <a:lnTo>
                      <a:pt x="1254038" y="2088173"/>
                    </a:lnTo>
                    <a:lnTo>
                      <a:pt x="1317766" y="2129243"/>
                    </a:lnTo>
                    <a:lnTo>
                      <a:pt x="1183228" y="2156151"/>
                    </a:lnTo>
                    <a:close/>
                    <a:moveTo>
                      <a:pt x="1178979" y="2149070"/>
                    </a:moveTo>
                    <a:lnTo>
                      <a:pt x="1170483" y="2156151"/>
                    </a:lnTo>
                    <a:lnTo>
                      <a:pt x="1173315" y="2130659"/>
                    </a:lnTo>
                    <a:lnTo>
                      <a:pt x="1178979" y="2149070"/>
                    </a:lnTo>
                    <a:close/>
                    <a:moveTo>
                      <a:pt x="1194558" y="1918230"/>
                    </a:moveTo>
                    <a:lnTo>
                      <a:pt x="1211552" y="1751120"/>
                    </a:lnTo>
                    <a:lnTo>
                      <a:pt x="1279529" y="1742623"/>
                    </a:lnTo>
                    <a:lnTo>
                      <a:pt x="1317766" y="1848837"/>
                    </a:lnTo>
                    <a:lnTo>
                      <a:pt x="1279529" y="1911149"/>
                    </a:lnTo>
                    <a:lnTo>
                      <a:pt x="1194558" y="1918230"/>
                    </a:lnTo>
                    <a:close/>
                    <a:moveTo>
                      <a:pt x="1252622" y="2088173"/>
                    </a:moveTo>
                    <a:lnTo>
                      <a:pt x="1180396" y="2147653"/>
                    </a:lnTo>
                    <a:lnTo>
                      <a:pt x="1173315" y="2124994"/>
                    </a:lnTo>
                    <a:lnTo>
                      <a:pt x="1177564" y="2081092"/>
                    </a:lnTo>
                    <a:lnTo>
                      <a:pt x="1195974" y="2052768"/>
                    </a:lnTo>
                    <a:lnTo>
                      <a:pt x="1252622" y="2088173"/>
                    </a:lnTo>
                    <a:close/>
                    <a:moveTo>
                      <a:pt x="1279529" y="1915398"/>
                    </a:moveTo>
                    <a:lnTo>
                      <a:pt x="1195974" y="2049936"/>
                    </a:lnTo>
                    <a:lnTo>
                      <a:pt x="1183228" y="2041439"/>
                    </a:lnTo>
                    <a:lnTo>
                      <a:pt x="1195974" y="1922479"/>
                    </a:lnTo>
                    <a:lnTo>
                      <a:pt x="1279529" y="1915398"/>
                    </a:lnTo>
                    <a:close/>
                    <a:moveTo>
                      <a:pt x="1194558" y="2049936"/>
                    </a:moveTo>
                    <a:lnTo>
                      <a:pt x="1178979" y="2075428"/>
                    </a:lnTo>
                    <a:lnTo>
                      <a:pt x="1181812" y="2042855"/>
                    </a:lnTo>
                    <a:lnTo>
                      <a:pt x="1194558" y="2049936"/>
                    </a:lnTo>
                    <a:close/>
                    <a:moveTo>
                      <a:pt x="1174731" y="2083925"/>
                    </a:moveTo>
                    <a:lnTo>
                      <a:pt x="1170483" y="2119330"/>
                    </a:lnTo>
                    <a:lnTo>
                      <a:pt x="1163402" y="2099503"/>
                    </a:lnTo>
                    <a:lnTo>
                      <a:pt x="1174731" y="2083925"/>
                    </a:lnTo>
                    <a:close/>
                    <a:moveTo>
                      <a:pt x="1229962" y="1603836"/>
                    </a:moveTo>
                    <a:lnTo>
                      <a:pt x="1249789" y="1659068"/>
                    </a:lnTo>
                    <a:lnTo>
                      <a:pt x="1221465" y="1660484"/>
                    </a:lnTo>
                    <a:lnTo>
                      <a:pt x="1227130" y="1605252"/>
                    </a:lnTo>
                    <a:lnTo>
                      <a:pt x="1229962" y="1603836"/>
                    </a:lnTo>
                    <a:close/>
                    <a:moveTo>
                      <a:pt x="945308" y="888660"/>
                    </a:moveTo>
                    <a:lnTo>
                      <a:pt x="945308" y="925481"/>
                    </a:lnTo>
                    <a:lnTo>
                      <a:pt x="789527" y="902822"/>
                    </a:lnTo>
                    <a:lnTo>
                      <a:pt x="945308" y="888660"/>
                    </a:lnTo>
                    <a:close/>
                    <a:moveTo>
                      <a:pt x="633746" y="936810"/>
                    </a:moveTo>
                    <a:lnTo>
                      <a:pt x="704555" y="1092591"/>
                    </a:lnTo>
                    <a:lnTo>
                      <a:pt x="690393" y="1091175"/>
                    </a:lnTo>
                    <a:lnTo>
                      <a:pt x="460971" y="931145"/>
                    </a:lnTo>
                    <a:lnTo>
                      <a:pt x="479381" y="929729"/>
                    </a:lnTo>
                    <a:lnTo>
                      <a:pt x="528948" y="946723"/>
                    </a:lnTo>
                    <a:lnTo>
                      <a:pt x="528948" y="946723"/>
                    </a:lnTo>
                    <a:lnTo>
                      <a:pt x="633746" y="936810"/>
                    </a:lnTo>
                    <a:close/>
                    <a:moveTo>
                      <a:pt x="633746" y="856087"/>
                    </a:moveTo>
                    <a:lnTo>
                      <a:pt x="602590" y="861752"/>
                    </a:lnTo>
                    <a:lnTo>
                      <a:pt x="547358" y="739960"/>
                    </a:lnTo>
                    <a:lnTo>
                      <a:pt x="633746" y="856087"/>
                    </a:lnTo>
                    <a:close/>
                    <a:moveTo>
                      <a:pt x="637995" y="622416"/>
                    </a:moveTo>
                    <a:lnTo>
                      <a:pt x="656405" y="728630"/>
                    </a:lnTo>
                    <a:lnTo>
                      <a:pt x="527531" y="698890"/>
                    </a:lnTo>
                    <a:lnTo>
                      <a:pt x="509121" y="659237"/>
                    </a:lnTo>
                    <a:lnTo>
                      <a:pt x="637995" y="622416"/>
                    </a:lnTo>
                    <a:close/>
                    <a:moveTo>
                      <a:pt x="1173315" y="591260"/>
                    </a:moveTo>
                    <a:lnTo>
                      <a:pt x="1204471" y="577098"/>
                    </a:lnTo>
                    <a:lnTo>
                      <a:pt x="1224298" y="594092"/>
                    </a:lnTo>
                    <a:lnTo>
                      <a:pt x="1173315" y="591260"/>
                    </a:lnTo>
                    <a:close/>
                    <a:moveTo>
                      <a:pt x="1227130" y="594092"/>
                    </a:moveTo>
                    <a:lnTo>
                      <a:pt x="1205887" y="575682"/>
                    </a:lnTo>
                    <a:lnTo>
                      <a:pt x="1300772" y="533196"/>
                    </a:lnTo>
                    <a:lnTo>
                      <a:pt x="1299356" y="598341"/>
                    </a:lnTo>
                    <a:lnTo>
                      <a:pt x="1227130" y="594092"/>
                    </a:lnTo>
                    <a:close/>
                    <a:moveTo>
                      <a:pt x="1229962" y="596924"/>
                    </a:moveTo>
                    <a:lnTo>
                      <a:pt x="1299356" y="601173"/>
                    </a:lnTo>
                    <a:lnTo>
                      <a:pt x="1297940" y="653572"/>
                    </a:lnTo>
                    <a:lnTo>
                      <a:pt x="1229962" y="596924"/>
                    </a:lnTo>
                    <a:close/>
                    <a:moveTo>
                      <a:pt x="1299356" y="680480"/>
                    </a:moveTo>
                    <a:lnTo>
                      <a:pt x="1299356" y="657821"/>
                    </a:lnTo>
                    <a:lnTo>
                      <a:pt x="1323431" y="677647"/>
                    </a:lnTo>
                    <a:lnTo>
                      <a:pt x="1299356" y="680480"/>
                    </a:lnTo>
                    <a:close/>
                    <a:moveTo>
                      <a:pt x="1350339" y="748457"/>
                    </a:moveTo>
                    <a:lnTo>
                      <a:pt x="1348922" y="749873"/>
                    </a:lnTo>
                    <a:lnTo>
                      <a:pt x="1350339" y="748457"/>
                    </a:lnTo>
                    <a:lnTo>
                      <a:pt x="1350339" y="748457"/>
                    </a:lnTo>
                    <a:close/>
                    <a:moveTo>
                      <a:pt x="1350339" y="745624"/>
                    </a:moveTo>
                    <a:lnTo>
                      <a:pt x="1357420" y="703139"/>
                    </a:lnTo>
                    <a:lnTo>
                      <a:pt x="1357420" y="703139"/>
                    </a:lnTo>
                    <a:lnTo>
                      <a:pt x="1327679" y="679063"/>
                    </a:lnTo>
                    <a:lnTo>
                      <a:pt x="1401322" y="670566"/>
                    </a:lnTo>
                    <a:lnTo>
                      <a:pt x="1350339" y="745624"/>
                    </a:lnTo>
                    <a:lnTo>
                      <a:pt x="1350339" y="745624"/>
                    </a:lnTo>
                    <a:close/>
                    <a:moveTo>
                      <a:pt x="1561351" y="837677"/>
                    </a:moveTo>
                    <a:lnTo>
                      <a:pt x="1496207" y="905654"/>
                    </a:lnTo>
                    <a:lnTo>
                      <a:pt x="1339009" y="941059"/>
                    </a:lnTo>
                    <a:lnTo>
                      <a:pt x="1319183" y="931145"/>
                    </a:lnTo>
                    <a:lnTo>
                      <a:pt x="1350339" y="752705"/>
                    </a:lnTo>
                    <a:lnTo>
                      <a:pt x="1354587" y="747041"/>
                    </a:lnTo>
                    <a:lnTo>
                      <a:pt x="1578346" y="721549"/>
                    </a:lnTo>
                    <a:lnTo>
                      <a:pt x="1541524" y="762619"/>
                    </a:lnTo>
                    <a:lnTo>
                      <a:pt x="1541524" y="762619"/>
                    </a:lnTo>
                    <a:lnTo>
                      <a:pt x="1561351" y="837677"/>
                    </a:lnTo>
                    <a:close/>
                    <a:moveTo>
                      <a:pt x="1392824" y="1306436"/>
                    </a:moveTo>
                    <a:lnTo>
                      <a:pt x="1421148" y="1341841"/>
                    </a:lnTo>
                    <a:lnTo>
                      <a:pt x="1322015" y="1423980"/>
                    </a:lnTo>
                    <a:lnTo>
                      <a:pt x="1367333" y="1293690"/>
                    </a:lnTo>
                    <a:lnTo>
                      <a:pt x="1392824" y="1306436"/>
                    </a:lnTo>
                    <a:close/>
                    <a:moveTo>
                      <a:pt x="1378662" y="1256869"/>
                    </a:moveTo>
                    <a:lnTo>
                      <a:pt x="1367333" y="1290858"/>
                    </a:lnTo>
                    <a:lnTo>
                      <a:pt x="1354587" y="1283777"/>
                    </a:lnTo>
                    <a:lnTo>
                      <a:pt x="1378662" y="1256869"/>
                    </a:lnTo>
                    <a:close/>
                    <a:moveTo>
                      <a:pt x="1391408" y="1541524"/>
                    </a:moveTo>
                    <a:lnTo>
                      <a:pt x="1450888" y="1479211"/>
                    </a:lnTo>
                    <a:lnTo>
                      <a:pt x="1497622" y="1493373"/>
                    </a:lnTo>
                    <a:lnTo>
                      <a:pt x="1479212" y="1508951"/>
                    </a:lnTo>
                    <a:lnTo>
                      <a:pt x="1391408" y="1541524"/>
                    </a:lnTo>
                    <a:close/>
                    <a:moveTo>
                      <a:pt x="1382911" y="1545772"/>
                    </a:moveTo>
                    <a:lnTo>
                      <a:pt x="1348922" y="1581177"/>
                    </a:lnTo>
                    <a:lnTo>
                      <a:pt x="1306437" y="1575512"/>
                    </a:lnTo>
                    <a:lnTo>
                      <a:pt x="1382911" y="1545772"/>
                    </a:lnTo>
                    <a:close/>
                    <a:moveTo>
                      <a:pt x="1224298" y="1423980"/>
                    </a:moveTo>
                    <a:lnTo>
                      <a:pt x="1183228" y="1469298"/>
                    </a:lnTo>
                    <a:lnTo>
                      <a:pt x="1163402" y="1416899"/>
                    </a:lnTo>
                    <a:lnTo>
                      <a:pt x="1224298" y="1423980"/>
                    </a:lnTo>
                    <a:close/>
                    <a:moveTo>
                      <a:pt x="1237043" y="1414067"/>
                    </a:moveTo>
                    <a:lnTo>
                      <a:pt x="1246957" y="1404153"/>
                    </a:lnTo>
                    <a:lnTo>
                      <a:pt x="1245541" y="1416899"/>
                    </a:lnTo>
                    <a:lnTo>
                      <a:pt x="1237043" y="1414067"/>
                    </a:lnTo>
                    <a:close/>
                    <a:moveTo>
                      <a:pt x="1245541" y="1425396"/>
                    </a:moveTo>
                    <a:lnTo>
                      <a:pt x="1245541" y="1419731"/>
                    </a:lnTo>
                    <a:lnTo>
                      <a:pt x="1285194" y="1431061"/>
                    </a:lnTo>
                    <a:lnTo>
                      <a:pt x="1245541" y="1425396"/>
                    </a:lnTo>
                    <a:close/>
                    <a:moveTo>
                      <a:pt x="1347507" y="1582593"/>
                    </a:moveTo>
                    <a:lnTo>
                      <a:pt x="1275281" y="1657651"/>
                    </a:lnTo>
                    <a:lnTo>
                      <a:pt x="1251205" y="1659068"/>
                    </a:lnTo>
                    <a:lnTo>
                      <a:pt x="1231379" y="1603836"/>
                    </a:lnTo>
                    <a:lnTo>
                      <a:pt x="1302188" y="1576929"/>
                    </a:lnTo>
                    <a:lnTo>
                      <a:pt x="1347507" y="1582593"/>
                    </a:lnTo>
                    <a:close/>
                    <a:moveTo>
                      <a:pt x="1231379" y="1567015"/>
                    </a:moveTo>
                    <a:lnTo>
                      <a:pt x="1299356" y="1575512"/>
                    </a:lnTo>
                    <a:lnTo>
                      <a:pt x="1232795" y="1601004"/>
                    </a:lnTo>
                    <a:lnTo>
                      <a:pt x="1229962" y="1592506"/>
                    </a:lnTo>
                    <a:lnTo>
                      <a:pt x="1231379" y="1567015"/>
                    </a:lnTo>
                    <a:close/>
                    <a:moveTo>
                      <a:pt x="1231379" y="1565599"/>
                    </a:moveTo>
                    <a:lnTo>
                      <a:pt x="1245541" y="1428229"/>
                    </a:lnTo>
                    <a:lnTo>
                      <a:pt x="1299356" y="1435310"/>
                    </a:lnTo>
                    <a:lnTo>
                      <a:pt x="1449472" y="1479211"/>
                    </a:lnTo>
                    <a:lnTo>
                      <a:pt x="1387160" y="1544356"/>
                    </a:lnTo>
                    <a:lnTo>
                      <a:pt x="1303604" y="1576929"/>
                    </a:lnTo>
                    <a:lnTo>
                      <a:pt x="1231379" y="1565599"/>
                    </a:lnTo>
                    <a:close/>
                    <a:moveTo>
                      <a:pt x="1228546" y="1422563"/>
                    </a:moveTo>
                    <a:lnTo>
                      <a:pt x="1235627" y="1415483"/>
                    </a:lnTo>
                    <a:lnTo>
                      <a:pt x="1245541" y="1418315"/>
                    </a:lnTo>
                    <a:lnTo>
                      <a:pt x="1245541" y="1425396"/>
                    </a:lnTo>
                    <a:lnTo>
                      <a:pt x="1228546" y="1422563"/>
                    </a:lnTo>
                    <a:close/>
                    <a:moveTo>
                      <a:pt x="1227130" y="1425396"/>
                    </a:moveTo>
                    <a:lnTo>
                      <a:pt x="1244124" y="1428229"/>
                    </a:lnTo>
                    <a:lnTo>
                      <a:pt x="1229962" y="1565599"/>
                    </a:lnTo>
                    <a:lnTo>
                      <a:pt x="1218633" y="1564183"/>
                    </a:lnTo>
                    <a:lnTo>
                      <a:pt x="1186060" y="1473546"/>
                    </a:lnTo>
                    <a:lnTo>
                      <a:pt x="1227130" y="1425396"/>
                    </a:lnTo>
                    <a:close/>
                    <a:moveTo>
                      <a:pt x="1232795" y="1415483"/>
                    </a:moveTo>
                    <a:lnTo>
                      <a:pt x="1225714" y="1422563"/>
                    </a:lnTo>
                    <a:lnTo>
                      <a:pt x="1163402" y="1414067"/>
                    </a:lnTo>
                    <a:lnTo>
                      <a:pt x="1154904" y="1392824"/>
                    </a:lnTo>
                    <a:lnTo>
                      <a:pt x="1232795" y="1415483"/>
                    </a:lnTo>
                    <a:close/>
                    <a:moveTo>
                      <a:pt x="1474964" y="1511784"/>
                    </a:moveTo>
                    <a:lnTo>
                      <a:pt x="1385743" y="1586842"/>
                    </a:lnTo>
                    <a:lnTo>
                      <a:pt x="1353171" y="1582593"/>
                    </a:lnTo>
                    <a:lnTo>
                      <a:pt x="1388576" y="1545772"/>
                    </a:lnTo>
                    <a:lnTo>
                      <a:pt x="1474964" y="1511784"/>
                    </a:lnTo>
                    <a:close/>
                    <a:moveTo>
                      <a:pt x="1312102" y="1436725"/>
                    </a:moveTo>
                    <a:lnTo>
                      <a:pt x="1469299" y="1457968"/>
                    </a:lnTo>
                    <a:lnTo>
                      <a:pt x="1450888" y="1477795"/>
                    </a:lnTo>
                    <a:lnTo>
                      <a:pt x="1312102" y="1436725"/>
                    </a:lnTo>
                    <a:close/>
                    <a:moveTo>
                      <a:pt x="676231" y="912735"/>
                    </a:moveTo>
                    <a:lnTo>
                      <a:pt x="688977" y="929729"/>
                    </a:lnTo>
                    <a:lnTo>
                      <a:pt x="636578" y="935394"/>
                    </a:lnTo>
                    <a:lnTo>
                      <a:pt x="628081" y="918400"/>
                    </a:lnTo>
                    <a:lnTo>
                      <a:pt x="676231" y="912735"/>
                    </a:lnTo>
                    <a:close/>
                    <a:moveTo>
                      <a:pt x="531780" y="945307"/>
                    </a:moveTo>
                    <a:lnTo>
                      <a:pt x="486462" y="929729"/>
                    </a:lnTo>
                    <a:lnTo>
                      <a:pt x="625249" y="916984"/>
                    </a:lnTo>
                    <a:lnTo>
                      <a:pt x="633746" y="933978"/>
                    </a:lnTo>
                    <a:lnTo>
                      <a:pt x="531780" y="945307"/>
                    </a:lnTo>
                    <a:close/>
                    <a:moveTo>
                      <a:pt x="626665" y="915567"/>
                    </a:moveTo>
                    <a:lnTo>
                      <a:pt x="602590" y="863168"/>
                    </a:lnTo>
                    <a:lnTo>
                      <a:pt x="633746" y="857503"/>
                    </a:lnTo>
                    <a:lnTo>
                      <a:pt x="673399" y="911319"/>
                    </a:lnTo>
                    <a:lnTo>
                      <a:pt x="626665" y="915567"/>
                    </a:lnTo>
                    <a:close/>
                    <a:moveTo>
                      <a:pt x="504873" y="553022"/>
                    </a:moveTo>
                    <a:lnTo>
                      <a:pt x="496375" y="550190"/>
                    </a:lnTo>
                    <a:lnTo>
                      <a:pt x="659237" y="466635"/>
                    </a:lnTo>
                    <a:lnTo>
                      <a:pt x="795192" y="570017"/>
                    </a:lnTo>
                    <a:lnTo>
                      <a:pt x="504873" y="553022"/>
                    </a:lnTo>
                    <a:close/>
                    <a:moveTo>
                      <a:pt x="1094008" y="485045"/>
                    </a:moveTo>
                    <a:lnTo>
                      <a:pt x="1157737" y="538860"/>
                    </a:lnTo>
                    <a:lnTo>
                      <a:pt x="1146407" y="591260"/>
                    </a:lnTo>
                    <a:lnTo>
                      <a:pt x="1035944" y="585595"/>
                    </a:lnTo>
                    <a:lnTo>
                      <a:pt x="996291" y="414236"/>
                    </a:lnTo>
                    <a:lnTo>
                      <a:pt x="1094008" y="485045"/>
                    </a:lnTo>
                    <a:close/>
                    <a:moveTo>
                      <a:pt x="1033112" y="585595"/>
                    </a:moveTo>
                    <a:lnTo>
                      <a:pt x="1037360" y="605422"/>
                    </a:lnTo>
                    <a:lnTo>
                      <a:pt x="1016117" y="584179"/>
                    </a:lnTo>
                    <a:lnTo>
                      <a:pt x="1033112" y="585595"/>
                    </a:lnTo>
                    <a:close/>
                    <a:moveTo>
                      <a:pt x="1297940" y="752705"/>
                    </a:moveTo>
                    <a:lnTo>
                      <a:pt x="1299356" y="681896"/>
                    </a:lnTo>
                    <a:lnTo>
                      <a:pt x="1326264" y="679063"/>
                    </a:lnTo>
                    <a:lnTo>
                      <a:pt x="1356003" y="704555"/>
                    </a:lnTo>
                    <a:lnTo>
                      <a:pt x="1348922" y="747041"/>
                    </a:lnTo>
                    <a:lnTo>
                      <a:pt x="1297940" y="752705"/>
                    </a:lnTo>
                    <a:close/>
                    <a:moveTo>
                      <a:pt x="1314934" y="946723"/>
                    </a:moveTo>
                    <a:lnTo>
                      <a:pt x="1317766" y="933978"/>
                    </a:lnTo>
                    <a:lnTo>
                      <a:pt x="1334760" y="942475"/>
                    </a:lnTo>
                    <a:lnTo>
                      <a:pt x="1314934" y="946723"/>
                    </a:lnTo>
                    <a:close/>
                    <a:moveTo>
                      <a:pt x="1327679" y="1146406"/>
                    </a:moveTo>
                    <a:lnTo>
                      <a:pt x="1450888" y="1048689"/>
                    </a:lnTo>
                    <a:lnTo>
                      <a:pt x="1419732" y="1136493"/>
                    </a:lnTo>
                    <a:lnTo>
                      <a:pt x="1327679" y="1146406"/>
                    </a:lnTo>
                    <a:close/>
                    <a:moveTo>
                      <a:pt x="1271032" y="1190308"/>
                    </a:moveTo>
                    <a:lnTo>
                      <a:pt x="1262535" y="1235627"/>
                    </a:lnTo>
                    <a:lnTo>
                      <a:pt x="1245541" y="1401321"/>
                    </a:lnTo>
                    <a:lnTo>
                      <a:pt x="1234211" y="1414067"/>
                    </a:lnTo>
                    <a:lnTo>
                      <a:pt x="1154904" y="1391408"/>
                    </a:lnTo>
                    <a:lnTo>
                      <a:pt x="1123748" y="1306436"/>
                    </a:lnTo>
                    <a:lnTo>
                      <a:pt x="1271032" y="1190308"/>
                    </a:lnTo>
                    <a:close/>
                    <a:moveTo>
                      <a:pt x="781030" y="901405"/>
                    </a:moveTo>
                    <a:lnTo>
                      <a:pt x="687561" y="887243"/>
                    </a:lnTo>
                    <a:lnTo>
                      <a:pt x="680480" y="850422"/>
                    </a:lnTo>
                    <a:lnTo>
                      <a:pt x="1102505" y="781029"/>
                    </a:lnTo>
                    <a:lnTo>
                      <a:pt x="1102505" y="781029"/>
                    </a:lnTo>
                    <a:lnTo>
                      <a:pt x="1120916" y="701722"/>
                    </a:lnTo>
                    <a:lnTo>
                      <a:pt x="1130829" y="700306"/>
                    </a:lnTo>
                    <a:lnTo>
                      <a:pt x="1198806" y="765451"/>
                    </a:lnTo>
                    <a:lnTo>
                      <a:pt x="1198806" y="765451"/>
                    </a:lnTo>
                    <a:lnTo>
                      <a:pt x="1293691" y="754122"/>
                    </a:lnTo>
                    <a:lnTo>
                      <a:pt x="1290859" y="833428"/>
                    </a:lnTo>
                    <a:lnTo>
                      <a:pt x="1242708" y="907070"/>
                    </a:lnTo>
                    <a:lnTo>
                      <a:pt x="1132245" y="911319"/>
                    </a:lnTo>
                    <a:lnTo>
                      <a:pt x="1132245" y="911319"/>
                    </a:lnTo>
                    <a:lnTo>
                      <a:pt x="1112419" y="950972"/>
                    </a:lnTo>
                    <a:lnTo>
                      <a:pt x="946724" y="925481"/>
                    </a:lnTo>
                    <a:lnTo>
                      <a:pt x="946724" y="885827"/>
                    </a:lnTo>
                    <a:lnTo>
                      <a:pt x="946724" y="885827"/>
                    </a:lnTo>
                    <a:lnTo>
                      <a:pt x="781030" y="901405"/>
                    </a:lnTo>
                    <a:close/>
                    <a:moveTo>
                      <a:pt x="1292275" y="919816"/>
                    </a:moveTo>
                    <a:lnTo>
                      <a:pt x="1295107" y="834844"/>
                    </a:lnTo>
                    <a:lnTo>
                      <a:pt x="1346090" y="758370"/>
                    </a:lnTo>
                    <a:lnTo>
                      <a:pt x="1316350" y="931145"/>
                    </a:lnTo>
                    <a:lnTo>
                      <a:pt x="1292275" y="919816"/>
                    </a:lnTo>
                    <a:close/>
                    <a:moveTo>
                      <a:pt x="1320599" y="1150655"/>
                    </a:moveTo>
                    <a:lnTo>
                      <a:pt x="1324847" y="1147823"/>
                    </a:lnTo>
                    <a:lnTo>
                      <a:pt x="1419732" y="1139326"/>
                    </a:lnTo>
                    <a:lnTo>
                      <a:pt x="1409819" y="1169065"/>
                    </a:lnTo>
                    <a:lnTo>
                      <a:pt x="1320599" y="1150655"/>
                    </a:lnTo>
                    <a:close/>
                    <a:moveTo>
                      <a:pt x="1278113" y="1152071"/>
                    </a:moveTo>
                    <a:lnTo>
                      <a:pt x="1272448" y="1187476"/>
                    </a:lnTo>
                    <a:lnTo>
                      <a:pt x="1123748" y="1303604"/>
                    </a:lnTo>
                    <a:lnTo>
                      <a:pt x="1075598" y="1170482"/>
                    </a:lnTo>
                    <a:lnTo>
                      <a:pt x="1278113" y="1152071"/>
                    </a:lnTo>
                    <a:close/>
                    <a:moveTo>
                      <a:pt x="1273864" y="1186060"/>
                    </a:moveTo>
                    <a:lnTo>
                      <a:pt x="1279529" y="1153487"/>
                    </a:lnTo>
                    <a:lnTo>
                      <a:pt x="1305021" y="1150655"/>
                    </a:lnTo>
                    <a:lnTo>
                      <a:pt x="1316350" y="1153487"/>
                    </a:lnTo>
                    <a:lnTo>
                      <a:pt x="1273864" y="1186060"/>
                    </a:lnTo>
                    <a:close/>
                    <a:moveTo>
                      <a:pt x="1273864" y="1188892"/>
                    </a:moveTo>
                    <a:lnTo>
                      <a:pt x="1319183" y="1153487"/>
                    </a:lnTo>
                    <a:lnTo>
                      <a:pt x="1409819" y="1171898"/>
                    </a:lnTo>
                    <a:lnTo>
                      <a:pt x="1401322" y="1194557"/>
                    </a:lnTo>
                    <a:lnTo>
                      <a:pt x="1265367" y="1242707"/>
                    </a:lnTo>
                    <a:lnTo>
                      <a:pt x="1266783" y="1235627"/>
                    </a:lnTo>
                    <a:lnTo>
                      <a:pt x="1273864" y="1188892"/>
                    </a:lnTo>
                    <a:close/>
                    <a:moveTo>
                      <a:pt x="1263951" y="1242707"/>
                    </a:moveTo>
                    <a:lnTo>
                      <a:pt x="1348922" y="1285193"/>
                    </a:lnTo>
                    <a:lnTo>
                      <a:pt x="1246957" y="1397072"/>
                    </a:lnTo>
                    <a:lnTo>
                      <a:pt x="1263951" y="1242707"/>
                    </a:lnTo>
                    <a:close/>
                    <a:moveTo>
                      <a:pt x="1067100" y="636578"/>
                    </a:moveTo>
                    <a:lnTo>
                      <a:pt x="1048690" y="645075"/>
                    </a:lnTo>
                    <a:lnTo>
                      <a:pt x="1040193" y="611086"/>
                    </a:lnTo>
                    <a:lnTo>
                      <a:pt x="1067100" y="636578"/>
                    </a:lnTo>
                    <a:close/>
                    <a:moveTo>
                      <a:pt x="1200222" y="764035"/>
                    </a:moveTo>
                    <a:lnTo>
                      <a:pt x="1135078" y="700306"/>
                    </a:lnTo>
                    <a:lnTo>
                      <a:pt x="1297940" y="683312"/>
                    </a:lnTo>
                    <a:lnTo>
                      <a:pt x="1296524" y="754122"/>
                    </a:lnTo>
                    <a:lnTo>
                      <a:pt x="1200222" y="764035"/>
                    </a:lnTo>
                    <a:close/>
                    <a:moveTo>
                      <a:pt x="1129413" y="698890"/>
                    </a:moveTo>
                    <a:lnTo>
                      <a:pt x="1120916" y="700306"/>
                    </a:lnTo>
                    <a:lnTo>
                      <a:pt x="1122332" y="693225"/>
                    </a:lnTo>
                    <a:lnTo>
                      <a:pt x="1129413" y="698890"/>
                    </a:lnTo>
                    <a:close/>
                    <a:moveTo>
                      <a:pt x="1140742" y="605422"/>
                    </a:moveTo>
                    <a:lnTo>
                      <a:pt x="1122332" y="687560"/>
                    </a:lnTo>
                    <a:lnTo>
                      <a:pt x="1069933" y="637994"/>
                    </a:lnTo>
                    <a:lnTo>
                      <a:pt x="1140742" y="605422"/>
                    </a:lnTo>
                    <a:close/>
                    <a:moveTo>
                      <a:pt x="1119500" y="698890"/>
                    </a:moveTo>
                    <a:lnTo>
                      <a:pt x="1062852" y="704555"/>
                    </a:lnTo>
                    <a:lnTo>
                      <a:pt x="1048690" y="646491"/>
                    </a:lnTo>
                    <a:lnTo>
                      <a:pt x="1068517" y="637994"/>
                    </a:lnTo>
                    <a:lnTo>
                      <a:pt x="1122332" y="688977"/>
                    </a:lnTo>
                    <a:lnTo>
                      <a:pt x="1119500" y="698890"/>
                    </a:lnTo>
                    <a:close/>
                    <a:moveTo>
                      <a:pt x="1101089" y="778197"/>
                    </a:moveTo>
                    <a:lnTo>
                      <a:pt x="679064" y="847590"/>
                    </a:lnTo>
                    <a:lnTo>
                      <a:pt x="659237" y="731462"/>
                    </a:lnTo>
                    <a:lnTo>
                      <a:pt x="681897" y="737127"/>
                    </a:lnTo>
                    <a:lnTo>
                      <a:pt x="681897" y="737127"/>
                    </a:lnTo>
                    <a:lnTo>
                      <a:pt x="764035" y="659237"/>
                    </a:lnTo>
                    <a:lnTo>
                      <a:pt x="901406" y="714468"/>
                    </a:lnTo>
                    <a:lnTo>
                      <a:pt x="901406" y="714468"/>
                    </a:lnTo>
                    <a:lnTo>
                      <a:pt x="1045857" y="649323"/>
                    </a:lnTo>
                    <a:lnTo>
                      <a:pt x="1060019" y="708803"/>
                    </a:lnTo>
                    <a:lnTo>
                      <a:pt x="1060019" y="708803"/>
                    </a:lnTo>
                    <a:lnTo>
                      <a:pt x="1118083" y="703139"/>
                    </a:lnTo>
                    <a:lnTo>
                      <a:pt x="1101089" y="778197"/>
                    </a:lnTo>
                    <a:close/>
                    <a:moveTo>
                      <a:pt x="1292275" y="952388"/>
                    </a:moveTo>
                    <a:lnTo>
                      <a:pt x="1293691" y="922648"/>
                    </a:lnTo>
                    <a:lnTo>
                      <a:pt x="1316350" y="933978"/>
                    </a:lnTo>
                    <a:lnTo>
                      <a:pt x="1313518" y="948140"/>
                    </a:lnTo>
                    <a:lnTo>
                      <a:pt x="1292275" y="952388"/>
                    </a:lnTo>
                    <a:close/>
                    <a:moveTo>
                      <a:pt x="1279529" y="1150655"/>
                    </a:moveTo>
                    <a:lnTo>
                      <a:pt x="1280945" y="1146406"/>
                    </a:lnTo>
                    <a:lnTo>
                      <a:pt x="1297940" y="1149239"/>
                    </a:lnTo>
                    <a:lnTo>
                      <a:pt x="1279529" y="1150655"/>
                    </a:lnTo>
                    <a:close/>
                    <a:moveTo>
                      <a:pt x="1204471" y="966550"/>
                    </a:moveTo>
                    <a:lnTo>
                      <a:pt x="1200222" y="973631"/>
                    </a:lnTo>
                    <a:lnTo>
                      <a:pt x="1091176" y="999122"/>
                    </a:lnTo>
                    <a:lnTo>
                      <a:pt x="1113835" y="953804"/>
                    </a:lnTo>
                    <a:lnTo>
                      <a:pt x="1204471" y="966550"/>
                    </a:lnTo>
                    <a:close/>
                    <a:moveTo>
                      <a:pt x="1265367" y="905654"/>
                    </a:moveTo>
                    <a:lnTo>
                      <a:pt x="1265367" y="905654"/>
                    </a:lnTo>
                    <a:lnTo>
                      <a:pt x="1246957" y="905654"/>
                    </a:lnTo>
                    <a:lnTo>
                      <a:pt x="1293691" y="836261"/>
                    </a:lnTo>
                    <a:lnTo>
                      <a:pt x="1290859" y="916984"/>
                    </a:lnTo>
                    <a:lnTo>
                      <a:pt x="1265367" y="905654"/>
                    </a:lnTo>
                    <a:close/>
                    <a:moveTo>
                      <a:pt x="1220049" y="969383"/>
                    </a:moveTo>
                    <a:lnTo>
                      <a:pt x="1203055" y="972215"/>
                    </a:lnTo>
                    <a:lnTo>
                      <a:pt x="1207303" y="966550"/>
                    </a:lnTo>
                    <a:lnTo>
                      <a:pt x="1220049" y="969383"/>
                    </a:lnTo>
                    <a:close/>
                    <a:moveTo>
                      <a:pt x="1289443" y="955221"/>
                    </a:moveTo>
                    <a:lnTo>
                      <a:pt x="1289443" y="977880"/>
                    </a:lnTo>
                    <a:lnTo>
                      <a:pt x="1231379" y="969383"/>
                    </a:lnTo>
                    <a:lnTo>
                      <a:pt x="1289443" y="955221"/>
                    </a:lnTo>
                    <a:close/>
                    <a:moveTo>
                      <a:pt x="1289443" y="952388"/>
                    </a:moveTo>
                    <a:lnTo>
                      <a:pt x="1224298" y="966550"/>
                    </a:lnTo>
                    <a:lnTo>
                      <a:pt x="1207303" y="963718"/>
                    </a:lnTo>
                    <a:lnTo>
                      <a:pt x="1244124" y="907070"/>
                    </a:lnTo>
                    <a:lnTo>
                      <a:pt x="1262535" y="907070"/>
                    </a:lnTo>
                    <a:lnTo>
                      <a:pt x="1289443" y="919816"/>
                    </a:lnTo>
                    <a:lnTo>
                      <a:pt x="1289443" y="952388"/>
                    </a:lnTo>
                    <a:close/>
                    <a:moveTo>
                      <a:pt x="1242708" y="908486"/>
                    </a:moveTo>
                    <a:lnTo>
                      <a:pt x="1205887" y="963718"/>
                    </a:lnTo>
                    <a:lnTo>
                      <a:pt x="1115251" y="949556"/>
                    </a:lnTo>
                    <a:lnTo>
                      <a:pt x="1135078" y="911319"/>
                    </a:lnTo>
                    <a:lnTo>
                      <a:pt x="1242708" y="908486"/>
                    </a:lnTo>
                    <a:close/>
                    <a:moveTo>
                      <a:pt x="1195974" y="1126580"/>
                    </a:moveTo>
                    <a:lnTo>
                      <a:pt x="1103921" y="1120915"/>
                    </a:lnTo>
                    <a:lnTo>
                      <a:pt x="1200222" y="976464"/>
                    </a:lnTo>
                    <a:lnTo>
                      <a:pt x="1224298" y="970799"/>
                    </a:lnTo>
                    <a:lnTo>
                      <a:pt x="1289443" y="980712"/>
                    </a:lnTo>
                    <a:lnTo>
                      <a:pt x="1289443" y="980712"/>
                    </a:lnTo>
                    <a:lnTo>
                      <a:pt x="1289443" y="955221"/>
                    </a:lnTo>
                    <a:lnTo>
                      <a:pt x="1310685" y="950972"/>
                    </a:lnTo>
                    <a:lnTo>
                      <a:pt x="1276697" y="1144990"/>
                    </a:lnTo>
                    <a:lnTo>
                      <a:pt x="1195974" y="1126580"/>
                    </a:lnTo>
                    <a:close/>
                    <a:moveTo>
                      <a:pt x="1054355" y="1119499"/>
                    </a:moveTo>
                    <a:lnTo>
                      <a:pt x="1071349" y="1166233"/>
                    </a:lnTo>
                    <a:lnTo>
                      <a:pt x="1068517" y="1170482"/>
                    </a:lnTo>
                    <a:lnTo>
                      <a:pt x="1000540" y="1176146"/>
                    </a:lnTo>
                    <a:lnTo>
                      <a:pt x="1030279" y="1116666"/>
                    </a:lnTo>
                    <a:lnTo>
                      <a:pt x="1054355" y="1119499"/>
                    </a:lnTo>
                    <a:close/>
                    <a:moveTo>
                      <a:pt x="1198806" y="976464"/>
                    </a:moveTo>
                    <a:lnTo>
                      <a:pt x="1102505" y="1120915"/>
                    </a:lnTo>
                    <a:lnTo>
                      <a:pt x="1055771" y="1118083"/>
                    </a:lnTo>
                    <a:lnTo>
                      <a:pt x="1045857" y="1089759"/>
                    </a:lnTo>
                    <a:lnTo>
                      <a:pt x="1091176" y="1001955"/>
                    </a:lnTo>
                    <a:lnTo>
                      <a:pt x="1198806" y="976464"/>
                    </a:lnTo>
                    <a:close/>
                    <a:moveTo>
                      <a:pt x="1031696" y="1115250"/>
                    </a:moveTo>
                    <a:lnTo>
                      <a:pt x="1044441" y="1091175"/>
                    </a:lnTo>
                    <a:lnTo>
                      <a:pt x="1052938" y="1116666"/>
                    </a:lnTo>
                    <a:lnTo>
                      <a:pt x="1031696" y="1115250"/>
                    </a:lnTo>
                    <a:close/>
                    <a:moveTo>
                      <a:pt x="1088343" y="1000539"/>
                    </a:moveTo>
                    <a:lnTo>
                      <a:pt x="1045857" y="1085510"/>
                    </a:lnTo>
                    <a:lnTo>
                      <a:pt x="1020366" y="1016117"/>
                    </a:lnTo>
                    <a:lnTo>
                      <a:pt x="1088343" y="1000539"/>
                    </a:lnTo>
                    <a:close/>
                    <a:moveTo>
                      <a:pt x="1088343" y="999122"/>
                    </a:moveTo>
                    <a:lnTo>
                      <a:pt x="1016117" y="1016117"/>
                    </a:lnTo>
                    <a:lnTo>
                      <a:pt x="1016117" y="1016117"/>
                    </a:lnTo>
                    <a:lnTo>
                      <a:pt x="1043025" y="1089759"/>
                    </a:lnTo>
                    <a:lnTo>
                      <a:pt x="1030279" y="1116666"/>
                    </a:lnTo>
                    <a:lnTo>
                      <a:pt x="946724" y="1111002"/>
                    </a:lnTo>
                    <a:lnTo>
                      <a:pt x="948140" y="929729"/>
                    </a:lnTo>
                    <a:lnTo>
                      <a:pt x="1113835" y="953804"/>
                    </a:lnTo>
                    <a:lnTo>
                      <a:pt x="1088343" y="999122"/>
                    </a:lnTo>
                    <a:close/>
                    <a:moveTo>
                      <a:pt x="1101089" y="1122331"/>
                    </a:moveTo>
                    <a:lnTo>
                      <a:pt x="1072765" y="1164817"/>
                    </a:lnTo>
                    <a:lnTo>
                      <a:pt x="1055771" y="1119499"/>
                    </a:lnTo>
                    <a:lnTo>
                      <a:pt x="1101089" y="1122331"/>
                    </a:lnTo>
                    <a:close/>
                    <a:moveTo>
                      <a:pt x="1102505" y="1122331"/>
                    </a:moveTo>
                    <a:lnTo>
                      <a:pt x="1195974" y="1129412"/>
                    </a:lnTo>
                    <a:lnTo>
                      <a:pt x="1279529" y="1146406"/>
                    </a:lnTo>
                    <a:lnTo>
                      <a:pt x="1278113" y="1152071"/>
                    </a:lnTo>
                    <a:lnTo>
                      <a:pt x="1074181" y="1170482"/>
                    </a:lnTo>
                    <a:lnTo>
                      <a:pt x="1072765" y="1167649"/>
                    </a:lnTo>
                    <a:lnTo>
                      <a:pt x="1102505" y="1122331"/>
                    </a:lnTo>
                    <a:close/>
                    <a:moveTo>
                      <a:pt x="1296524" y="680480"/>
                    </a:moveTo>
                    <a:lnTo>
                      <a:pt x="1132245" y="697474"/>
                    </a:lnTo>
                    <a:lnTo>
                      <a:pt x="1123748" y="688977"/>
                    </a:lnTo>
                    <a:lnTo>
                      <a:pt x="1143575" y="604005"/>
                    </a:lnTo>
                    <a:lnTo>
                      <a:pt x="1169066" y="592676"/>
                    </a:lnTo>
                    <a:lnTo>
                      <a:pt x="1227130" y="595508"/>
                    </a:lnTo>
                    <a:lnTo>
                      <a:pt x="1297940" y="654988"/>
                    </a:lnTo>
                    <a:lnTo>
                      <a:pt x="1296524" y="680480"/>
                    </a:lnTo>
                    <a:close/>
                    <a:moveTo>
                      <a:pt x="1144991" y="591260"/>
                    </a:moveTo>
                    <a:lnTo>
                      <a:pt x="1142159" y="602589"/>
                    </a:lnTo>
                    <a:lnTo>
                      <a:pt x="1069933" y="635161"/>
                    </a:lnTo>
                    <a:lnTo>
                      <a:pt x="1040193" y="606838"/>
                    </a:lnTo>
                    <a:lnTo>
                      <a:pt x="1034528" y="584179"/>
                    </a:lnTo>
                    <a:lnTo>
                      <a:pt x="1144991" y="591260"/>
                    </a:lnTo>
                    <a:close/>
                    <a:moveTo>
                      <a:pt x="510537" y="555855"/>
                    </a:moveTo>
                    <a:lnTo>
                      <a:pt x="798024" y="572849"/>
                    </a:lnTo>
                    <a:lnTo>
                      <a:pt x="827764" y="595508"/>
                    </a:lnTo>
                    <a:lnTo>
                      <a:pt x="762619" y="657821"/>
                    </a:lnTo>
                    <a:lnTo>
                      <a:pt x="510537" y="555855"/>
                    </a:lnTo>
                    <a:close/>
                    <a:moveTo>
                      <a:pt x="679064" y="850422"/>
                    </a:moveTo>
                    <a:lnTo>
                      <a:pt x="686145" y="888660"/>
                    </a:lnTo>
                    <a:lnTo>
                      <a:pt x="686145" y="888660"/>
                    </a:lnTo>
                    <a:lnTo>
                      <a:pt x="772533" y="901405"/>
                    </a:lnTo>
                    <a:lnTo>
                      <a:pt x="677648" y="909903"/>
                    </a:lnTo>
                    <a:lnTo>
                      <a:pt x="637995" y="856087"/>
                    </a:lnTo>
                    <a:lnTo>
                      <a:pt x="679064" y="850422"/>
                    </a:lnTo>
                    <a:close/>
                    <a:moveTo>
                      <a:pt x="1071349" y="1170482"/>
                    </a:moveTo>
                    <a:lnTo>
                      <a:pt x="1072765" y="1169065"/>
                    </a:lnTo>
                    <a:lnTo>
                      <a:pt x="1072765" y="1170482"/>
                    </a:lnTo>
                    <a:lnTo>
                      <a:pt x="1071349" y="1170482"/>
                    </a:lnTo>
                    <a:close/>
                    <a:moveTo>
                      <a:pt x="1402738" y="1193141"/>
                    </a:moveTo>
                    <a:lnTo>
                      <a:pt x="1409819" y="1171898"/>
                    </a:lnTo>
                    <a:lnTo>
                      <a:pt x="1443807" y="1178979"/>
                    </a:lnTo>
                    <a:lnTo>
                      <a:pt x="1402738" y="1193141"/>
                    </a:lnTo>
                    <a:close/>
                    <a:moveTo>
                      <a:pt x="1347507" y="748457"/>
                    </a:moveTo>
                    <a:lnTo>
                      <a:pt x="1346090" y="752705"/>
                    </a:lnTo>
                    <a:lnTo>
                      <a:pt x="1293691" y="830596"/>
                    </a:lnTo>
                    <a:lnTo>
                      <a:pt x="1295107" y="754122"/>
                    </a:lnTo>
                    <a:lnTo>
                      <a:pt x="1347507" y="748457"/>
                    </a:lnTo>
                    <a:close/>
                    <a:moveTo>
                      <a:pt x="1144991" y="602589"/>
                    </a:moveTo>
                    <a:lnTo>
                      <a:pt x="1147823" y="592676"/>
                    </a:lnTo>
                    <a:lnTo>
                      <a:pt x="1166234" y="594092"/>
                    </a:lnTo>
                    <a:lnTo>
                      <a:pt x="1144991" y="602589"/>
                    </a:lnTo>
                    <a:close/>
                    <a:moveTo>
                      <a:pt x="901406" y="711636"/>
                    </a:moveTo>
                    <a:lnTo>
                      <a:pt x="765452" y="657821"/>
                    </a:lnTo>
                    <a:lnTo>
                      <a:pt x="832012" y="595508"/>
                    </a:lnTo>
                    <a:lnTo>
                      <a:pt x="832012" y="595508"/>
                    </a:lnTo>
                    <a:lnTo>
                      <a:pt x="802273" y="572849"/>
                    </a:lnTo>
                    <a:lnTo>
                      <a:pt x="1011869" y="584179"/>
                    </a:lnTo>
                    <a:lnTo>
                      <a:pt x="1037360" y="608254"/>
                    </a:lnTo>
                    <a:lnTo>
                      <a:pt x="1045857" y="645075"/>
                    </a:lnTo>
                    <a:lnTo>
                      <a:pt x="901406" y="711636"/>
                    </a:lnTo>
                    <a:close/>
                    <a:moveTo>
                      <a:pt x="1000540" y="1317765"/>
                    </a:moveTo>
                    <a:lnTo>
                      <a:pt x="1000540" y="1317765"/>
                    </a:lnTo>
                    <a:lnTo>
                      <a:pt x="992042" y="1289442"/>
                    </a:lnTo>
                    <a:lnTo>
                      <a:pt x="1069933" y="1171898"/>
                    </a:lnTo>
                    <a:lnTo>
                      <a:pt x="1072765" y="1171898"/>
                    </a:lnTo>
                    <a:lnTo>
                      <a:pt x="1120916" y="1305020"/>
                    </a:lnTo>
                    <a:lnTo>
                      <a:pt x="1050106" y="1360251"/>
                    </a:lnTo>
                    <a:lnTo>
                      <a:pt x="990626" y="1343257"/>
                    </a:lnTo>
                    <a:lnTo>
                      <a:pt x="1000540" y="1317765"/>
                    </a:lnTo>
                    <a:close/>
                    <a:moveTo>
                      <a:pt x="1054355" y="1361667"/>
                    </a:moveTo>
                    <a:lnTo>
                      <a:pt x="1122332" y="1307852"/>
                    </a:lnTo>
                    <a:lnTo>
                      <a:pt x="1152072" y="1389991"/>
                    </a:lnTo>
                    <a:lnTo>
                      <a:pt x="1054355" y="1361667"/>
                    </a:lnTo>
                    <a:close/>
                    <a:moveTo>
                      <a:pt x="1351755" y="1283777"/>
                    </a:moveTo>
                    <a:lnTo>
                      <a:pt x="1269616" y="1242707"/>
                    </a:lnTo>
                    <a:lnTo>
                      <a:pt x="1399905" y="1195973"/>
                    </a:lnTo>
                    <a:lnTo>
                      <a:pt x="1380079" y="1252621"/>
                    </a:lnTo>
                    <a:lnTo>
                      <a:pt x="1351755" y="1283777"/>
                    </a:lnTo>
                    <a:close/>
                    <a:moveTo>
                      <a:pt x="1446640" y="1178979"/>
                    </a:moveTo>
                    <a:lnTo>
                      <a:pt x="1384327" y="1248372"/>
                    </a:lnTo>
                    <a:lnTo>
                      <a:pt x="1402738" y="1194557"/>
                    </a:lnTo>
                    <a:lnTo>
                      <a:pt x="1446640" y="1178979"/>
                    </a:lnTo>
                    <a:close/>
                    <a:moveTo>
                      <a:pt x="1146407" y="589843"/>
                    </a:moveTo>
                    <a:lnTo>
                      <a:pt x="1157737" y="538860"/>
                    </a:lnTo>
                    <a:lnTo>
                      <a:pt x="1201639" y="575682"/>
                    </a:lnTo>
                    <a:lnTo>
                      <a:pt x="1167650" y="591260"/>
                    </a:lnTo>
                    <a:lnTo>
                      <a:pt x="1146407" y="589843"/>
                    </a:lnTo>
                    <a:close/>
                    <a:moveTo>
                      <a:pt x="799440" y="570017"/>
                    </a:moveTo>
                    <a:lnTo>
                      <a:pt x="662069" y="465219"/>
                    </a:lnTo>
                    <a:lnTo>
                      <a:pt x="812186" y="388744"/>
                    </a:lnTo>
                    <a:lnTo>
                      <a:pt x="1010453" y="581346"/>
                    </a:lnTo>
                    <a:lnTo>
                      <a:pt x="799440" y="570017"/>
                    </a:lnTo>
                    <a:close/>
                    <a:moveTo>
                      <a:pt x="492127" y="550190"/>
                    </a:moveTo>
                    <a:lnTo>
                      <a:pt x="483630" y="554439"/>
                    </a:lnTo>
                    <a:lnTo>
                      <a:pt x="504873" y="555855"/>
                    </a:lnTo>
                    <a:lnTo>
                      <a:pt x="762619" y="659237"/>
                    </a:lnTo>
                    <a:lnTo>
                      <a:pt x="681897" y="735711"/>
                    </a:lnTo>
                    <a:lnTo>
                      <a:pt x="659237" y="730046"/>
                    </a:lnTo>
                    <a:lnTo>
                      <a:pt x="639411" y="621000"/>
                    </a:lnTo>
                    <a:lnTo>
                      <a:pt x="639411" y="621000"/>
                    </a:lnTo>
                    <a:lnTo>
                      <a:pt x="509121" y="659237"/>
                    </a:lnTo>
                    <a:lnTo>
                      <a:pt x="452473" y="534612"/>
                    </a:lnTo>
                    <a:lnTo>
                      <a:pt x="492127" y="550190"/>
                    </a:lnTo>
                    <a:close/>
                    <a:moveTo>
                      <a:pt x="657821" y="731462"/>
                    </a:moveTo>
                    <a:lnTo>
                      <a:pt x="679064" y="847590"/>
                    </a:lnTo>
                    <a:lnTo>
                      <a:pt x="636578" y="854671"/>
                    </a:lnTo>
                    <a:lnTo>
                      <a:pt x="543110" y="730046"/>
                    </a:lnTo>
                    <a:lnTo>
                      <a:pt x="530364" y="701722"/>
                    </a:lnTo>
                    <a:lnTo>
                      <a:pt x="657821" y="731462"/>
                    </a:lnTo>
                    <a:close/>
                    <a:moveTo>
                      <a:pt x="691810" y="931145"/>
                    </a:moveTo>
                    <a:lnTo>
                      <a:pt x="691810" y="931145"/>
                    </a:lnTo>
                    <a:lnTo>
                      <a:pt x="677648" y="912735"/>
                    </a:lnTo>
                    <a:lnTo>
                      <a:pt x="779614" y="902822"/>
                    </a:lnTo>
                    <a:lnTo>
                      <a:pt x="943892" y="926897"/>
                    </a:lnTo>
                    <a:lnTo>
                      <a:pt x="942476" y="1108169"/>
                    </a:lnTo>
                    <a:lnTo>
                      <a:pt x="705972" y="1091175"/>
                    </a:lnTo>
                    <a:lnTo>
                      <a:pt x="633746" y="935394"/>
                    </a:lnTo>
                    <a:lnTo>
                      <a:pt x="691810" y="931145"/>
                    </a:lnTo>
                    <a:close/>
                    <a:moveTo>
                      <a:pt x="946724" y="1111002"/>
                    </a:moveTo>
                    <a:lnTo>
                      <a:pt x="1028863" y="1116666"/>
                    </a:lnTo>
                    <a:lnTo>
                      <a:pt x="997707" y="1177563"/>
                    </a:lnTo>
                    <a:lnTo>
                      <a:pt x="997707" y="1177563"/>
                    </a:lnTo>
                    <a:lnTo>
                      <a:pt x="1067100" y="1170482"/>
                    </a:lnTo>
                    <a:lnTo>
                      <a:pt x="990626" y="1285193"/>
                    </a:lnTo>
                    <a:lnTo>
                      <a:pt x="962302" y="1188892"/>
                    </a:lnTo>
                    <a:lnTo>
                      <a:pt x="962302" y="1188892"/>
                    </a:lnTo>
                    <a:lnTo>
                      <a:pt x="945308" y="1188892"/>
                    </a:lnTo>
                    <a:lnTo>
                      <a:pt x="946724" y="1111002"/>
                    </a:lnTo>
                    <a:close/>
                    <a:moveTo>
                      <a:pt x="1153488" y="1392824"/>
                    </a:moveTo>
                    <a:lnTo>
                      <a:pt x="1161985" y="1414067"/>
                    </a:lnTo>
                    <a:lnTo>
                      <a:pt x="1011869" y="1394240"/>
                    </a:lnTo>
                    <a:lnTo>
                      <a:pt x="1051522" y="1363084"/>
                    </a:lnTo>
                    <a:lnTo>
                      <a:pt x="1153488" y="1392824"/>
                    </a:lnTo>
                    <a:close/>
                    <a:moveTo>
                      <a:pt x="1113835" y="1548605"/>
                    </a:moveTo>
                    <a:lnTo>
                      <a:pt x="1181812" y="1473546"/>
                    </a:lnTo>
                    <a:lnTo>
                      <a:pt x="1214384" y="1562767"/>
                    </a:lnTo>
                    <a:lnTo>
                      <a:pt x="1113835" y="1548605"/>
                    </a:lnTo>
                    <a:close/>
                    <a:moveTo>
                      <a:pt x="1228546" y="1567015"/>
                    </a:moveTo>
                    <a:lnTo>
                      <a:pt x="1225714" y="1589674"/>
                    </a:lnTo>
                    <a:lnTo>
                      <a:pt x="1217217" y="1565599"/>
                    </a:lnTo>
                    <a:lnTo>
                      <a:pt x="1228546" y="1567015"/>
                    </a:lnTo>
                    <a:close/>
                    <a:moveTo>
                      <a:pt x="1251205" y="1661900"/>
                    </a:moveTo>
                    <a:lnTo>
                      <a:pt x="1280945" y="1742623"/>
                    </a:lnTo>
                    <a:lnTo>
                      <a:pt x="1212968" y="1751120"/>
                    </a:lnTo>
                    <a:lnTo>
                      <a:pt x="1221465" y="1664732"/>
                    </a:lnTo>
                    <a:lnTo>
                      <a:pt x="1251205" y="1661900"/>
                    </a:lnTo>
                    <a:close/>
                    <a:moveTo>
                      <a:pt x="1368749" y="1292274"/>
                    </a:moveTo>
                    <a:lnTo>
                      <a:pt x="1382911" y="1252621"/>
                    </a:lnTo>
                    <a:lnTo>
                      <a:pt x="1450888" y="1177563"/>
                    </a:lnTo>
                    <a:lnTo>
                      <a:pt x="1586843" y="1204470"/>
                    </a:lnTo>
                    <a:lnTo>
                      <a:pt x="1423981" y="1340425"/>
                    </a:lnTo>
                    <a:lnTo>
                      <a:pt x="1394241" y="1303604"/>
                    </a:lnTo>
                    <a:lnTo>
                      <a:pt x="1368749" y="1292274"/>
                    </a:lnTo>
                    <a:close/>
                    <a:moveTo>
                      <a:pt x="1449472" y="1176146"/>
                    </a:moveTo>
                    <a:lnTo>
                      <a:pt x="1411235" y="1169065"/>
                    </a:lnTo>
                    <a:lnTo>
                      <a:pt x="1421148" y="1139326"/>
                    </a:lnTo>
                    <a:lnTo>
                      <a:pt x="1487709" y="1133661"/>
                    </a:lnTo>
                    <a:lnTo>
                      <a:pt x="1449472" y="1176146"/>
                    </a:lnTo>
                    <a:lnTo>
                      <a:pt x="1449472" y="1176146"/>
                    </a:lnTo>
                    <a:close/>
                    <a:moveTo>
                      <a:pt x="1422564" y="1136493"/>
                    </a:moveTo>
                    <a:lnTo>
                      <a:pt x="1455137" y="1043024"/>
                    </a:lnTo>
                    <a:lnTo>
                      <a:pt x="1455137" y="1043024"/>
                    </a:lnTo>
                    <a:lnTo>
                      <a:pt x="1323431" y="1146406"/>
                    </a:lnTo>
                    <a:lnTo>
                      <a:pt x="1305021" y="1147823"/>
                    </a:lnTo>
                    <a:lnTo>
                      <a:pt x="1280945" y="1143574"/>
                    </a:lnTo>
                    <a:lnTo>
                      <a:pt x="1314934" y="949556"/>
                    </a:lnTo>
                    <a:lnTo>
                      <a:pt x="1337593" y="943891"/>
                    </a:lnTo>
                    <a:lnTo>
                      <a:pt x="1561351" y="1052938"/>
                    </a:lnTo>
                    <a:lnTo>
                      <a:pt x="1490541" y="1130828"/>
                    </a:lnTo>
                    <a:lnTo>
                      <a:pt x="1422564" y="1136493"/>
                    </a:lnTo>
                    <a:close/>
                    <a:moveTo>
                      <a:pt x="1157737" y="536028"/>
                    </a:moveTo>
                    <a:lnTo>
                      <a:pt x="1095424" y="483629"/>
                    </a:lnTo>
                    <a:lnTo>
                      <a:pt x="992042" y="408571"/>
                    </a:lnTo>
                    <a:lnTo>
                      <a:pt x="992042" y="408571"/>
                    </a:lnTo>
                    <a:lnTo>
                      <a:pt x="1033112" y="584179"/>
                    </a:lnTo>
                    <a:lnTo>
                      <a:pt x="1014701" y="582762"/>
                    </a:lnTo>
                    <a:lnTo>
                      <a:pt x="815018" y="388744"/>
                    </a:lnTo>
                    <a:lnTo>
                      <a:pt x="884412" y="353340"/>
                    </a:lnTo>
                    <a:lnTo>
                      <a:pt x="1186060" y="419901"/>
                    </a:lnTo>
                    <a:lnTo>
                      <a:pt x="1157737" y="536028"/>
                    </a:lnTo>
                    <a:close/>
                    <a:moveTo>
                      <a:pt x="527531" y="701722"/>
                    </a:moveTo>
                    <a:lnTo>
                      <a:pt x="537445" y="722965"/>
                    </a:lnTo>
                    <a:lnTo>
                      <a:pt x="520450" y="700306"/>
                    </a:lnTo>
                    <a:lnTo>
                      <a:pt x="527531" y="701722"/>
                    </a:lnTo>
                    <a:close/>
                    <a:moveTo>
                      <a:pt x="476549" y="928313"/>
                    </a:moveTo>
                    <a:lnTo>
                      <a:pt x="460971" y="929729"/>
                    </a:lnTo>
                    <a:lnTo>
                      <a:pt x="442560" y="916984"/>
                    </a:lnTo>
                    <a:lnTo>
                      <a:pt x="476549" y="928313"/>
                    </a:lnTo>
                    <a:close/>
                    <a:moveTo>
                      <a:pt x="962302" y="1334760"/>
                    </a:moveTo>
                    <a:lnTo>
                      <a:pt x="990626" y="1292274"/>
                    </a:lnTo>
                    <a:lnTo>
                      <a:pt x="997707" y="1317765"/>
                    </a:lnTo>
                    <a:lnTo>
                      <a:pt x="989210" y="1343257"/>
                    </a:lnTo>
                    <a:lnTo>
                      <a:pt x="962302" y="1334760"/>
                    </a:lnTo>
                    <a:close/>
                    <a:moveTo>
                      <a:pt x="1014701" y="1933808"/>
                    </a:moveTo>
                    <a:lnTo>
                      <a:pt x="1106754" y="1926727"/>
                    </a:lnTo>
                    <a:lnTo>
                      <a:pt x="1133662" y="2008867"/>
                    </a:lnTo>
                    <a:lnTo>
                      <a:pt x="1014701" y="1933808"/>
                    </a:lnTo>
                    <a:close/>
                    <a:moveTo>
                      <a:pt x="1210136" y="1752536"/>
                    </a:moveTo>
                    <a:lnTo>
                      <a:pt x="1193141" y="1918230"/>
                    </a:lnTo>
                    <a:lnTo>
                      <a:pt x="1108170" y="1923895"/>
                    </a:lnTo>
                    <a:lnTo>
                      <a:pt x="1058603" y="1770946"/>
                    </a:lnTo>
                    <a:lnTo>
                      <a:pt x="1210136" y="1752536"/>
                    </a:lnTo>
                    <a:close/>
                    <a:moveTo>
                      <a:pt x="1180396" y="2041439"/>
                    </a:moveTo>
                    <a:lnTo>
                      <a:pt x="1176147" y="2079676"/>
                    </a:lnTo>
                    <a:lnTo>
                      <a:pt x="1164817" y="2098087"/>
                    </a:lnTo>
                    <a:lnTo>
                      <a:pt x="1137910" y="2014531"/>
                    </a:lnTo>
                    <a:lnTo>
                      <a:pt x="1180396" y="2041439"/>
                    </a:lnTo>
                    <a:close/>
                    <a:moveTo>
                      <a:pt x="1340426" y="943891"/>
                    </a:moveTo>
                    <a:lnTo>
                      <a:pt x="1496207" y="908486"/>
                    </a:lnTo>
                    <a:lnTo>
                      <a:pt x="1496207" y="908486"/>
                    </a:lnTo>
                    <a:lnTo>
                      <a:pt x="1561351" y="840509"/>
                    </a:lnTo>
                    <a:lnTo>
                      <a:pt x="1606669" y="1003371"/>
                    </a:lnTo>
                    <a:lnTo>
                      <a:pt x="1562767" y="1051522"/>
                    </a:lnTo>
                    <a:lnTo>
                      <a:pt x="1340426" y="943891"/>
                    </a:lnTo>
                    <a:close/>
                    <a:moveTo>
                      <a:pt x="451057" y="531780"/>
                    </a:moveTo>
                    <a:lnTo>
                      <a:pt x="371750" y="357588"/>
                    </a:lnTo>
                    <a:lnTo>
                      <a:pt x="443976" y="303773"/>
                    </a:lnTo>
                    <a:lnTo>
                      <a:pt x="657821" y="465219"/>
                    </a:lnTo>
                    <a:lnTo>
                      <a:pt x="493543" y="548774"/>
                    </a:lnTo>
                    <a:lnTo>
                      <a:pt x="451057" y="531780"/>
                    </a:lnTo>
                    <a:close/>
                    <a:moveTo>
                      <a:pt x="448225" y="888660"/>
                    </a:moveTo>
                    <a:lnTo>
                      <a:pt x="448225" y="888660"/>
                    </a:lnTo>
                    <a:lnTo>
                      <a:pt x="601173" y="863168"/>
                    </a:lnTo>
                    <a:lnTo>
                      <a:pt x="625249" y="915567"/>
                    </a:lnTo>
                    <a:lnTo>
                      <a:pt x="482213" y="928313"/>
                    </a:lnTo>
                    <a:lnTo>
                      <a:pt x="436895" y="912735"/>
                    </a:lnTo>
                    <a:lnTo>
                      <a:pt x="251374" y="783862"/>
                    </a:lnTo>
                    <a:lnTo>
                      <a:pt x="308022" y="666318"/>
                    </a:lnTo>
                    <a:lnTo>
                      <a:pt x="448225" y="888660"/>
                    </a:lnTo>
                    <a:close/>
                    <a:moveTo>
                      <a:pt x="174900" y="696058"/>
                    </a:moveTo>
                    <a:lnTo>
                      <a:pt x="211721" y="759786"/>
                    </a:lnTo>
                    <a:lnTo>
                      <a:pt x="248542" y="785278"/>
                    </a:lnTo>
                    <a:lnTo>
                      <a:pt x="220218" y="843341"/>
                    </a:lnTo>
                    <a:lnTo>
                      <a:pt x="133830" y="815018"/>
                    </a:lnTo>
                    <a:lnTo>
                      <a:pt x="149408" y="728630"/>
                    </a:lnTo>
                    <a:lnTo>
                      <a:pt x="174900" y="696058"/>
                    </a:lnTo>
                    <a:close/>
                    <a:moveTo>
                      <a:pt x="173483" y="693225"/>
                    </a:moveTo>
                    <a:lnTo>
                      <a:pt x="147992" y="722965"/>
                    </a:lnTo>
                    <a:lnTo>
                      <a:pt x="157906" y="667734"/>
                    </a:lnTo>
                    <a:lnTo>
                      <a:pt x="173483" y="693225"/>
                    </a:lnTo>
                    <a:close/>
                    <a:moveTo>
                      <a:pt x="162154" y="633745"/>
                    </a:moveTo>
                    <a:lnTo>
                      <a:pt x="157906" y="660653"/>
                    </a:lnTo>
                    <a:lnTo>
                      <a:pt x="147992" y="642242"/>
                    </a:lnTo>
                    <a:lnTo>
                      <a:pt x="162154" y="633745"/>
                    </a:lnTo>
                    <a:close/>
                    <a:moveTo>
                      <a:pt x="159322" y="664902"/>
                    </a:moveTo>
                    <a:lnTo>
                      <a:pt x="164987" y="633745"/>
                    </a:lnTo>
                    <a:lnTo>
                      <a:pt x="180564" y="625248"/>
                    </a:lnTo>
                    <a:lnTo>
                      <a:pt x="225883" y="635161"/>
                    </a:lnTo>
                    <a:lnTo>
                      <a:pt x="176316" y="693225"/>
                    </a:lnTo>
                    <a:lnTo>
                      <a:pt x="159322" y="664902"/>
                    </a:lnTo>
                    <a:close/>
                    <a:moveTo>
                      <a:pt x="163570" y="630913"/>
                    </a:moveTo>
                    <a:lnTo>
                      <a:pt x="146576" y="640826"/>
                    </a:lnTo>
                    <a:lnTo>
                      <a:pt x="129582" y="611086"/>
                    </a:lnTo>
                    <a:lnTo>
                      <a:pt x="164987" y="619584"/>
                    </a:lnTo>
                    <a:lnTo>
                      <a:pt x="163570" y="630913"/>
                    </a:lnTo>
                    <a:close/>
                    <a:moveTo>
                      <a:pt x="177732" y="622416"/>
                    </a:moveTo>
                    <a:lnTo>
                      <a:pt x="166402" y="629497"/>
                    </a:lnTo>
                    <a:lnTo>
                      <a:pt x="167819" y="619584"/>
                    </a:lnTo>
                    <a:lnTo>
                      <a:pt x="177732" y="622416"/>
                    </a:lnTo>
                    <a:close/>
                    <a:moveTo>
                      <a:pt x="145160" y="643659"/>
                    </a:moveTo>
                    <a:lnTo>
                      <a:pt x="156489" y="663485"/>
                    </a:lnTo>
                    <a:lnTo>
                      <a:pt x="145160" y="724382"/>
                    </a:lnTo>
                    <a:lnTo>
                      <a:pt x="82847" y="798023"/>
                    </a:lnTo>
                    <a:lnTo>
                      <a:pt x="82847" y="798023"/>
                    </a:lnTo>
                    <a:lnTo>
                      <a:pt x="129582" y="813602"/>
                    </a:lnTo>
                    <a:lnTo>
                      <a:pt x="82847" y="1071348"/>
                    </a:lnTo>
                    <a:lnTo>
                      <a:pt x="12038" y="986377"/>
                    </a:lnTo>
                    <a:lnTo>
                      <a:pt x="111171" y="662069"/>
                    </a:lnTo>
                    <a:lnTo>
                      <a:pt x="145160" y="643659"/>
                    </a:lnTo>
                    <a:close/>
                    <a:moveTo>
                      <a:pt x="145160" y="730046"/>
                    </a:moveTo>
                    <a:lnTo>
                      <a:pt x="130998" y="812185"/>
                    </a:lnTo>
                    <a:lnTo>
                      <a:pt x="87096" y="798023"/>
                    </a:lnTo>
                    <a:lnTo>
                      <a:pt x="145160" y="730046"/>
                    </a:lnTo>
                    <a:close/>
                    <a:moveTo>
                      <a:pt x="945308" y="1191725"/>
                    </a:moveTo>
                    <a:lnTo>
                      <a:pt x="960886" y="1191725"/>
                    </a:lnTo>
                    <a:lnTo>
                      <a:pt x="989210" y="1288025"/>
                    </a:lnTo>
                    <a:lnTo>
                      <a:pt x="959470" y="1333344"/>
                    </a:lnTo>
                    <a:lnTo>
                      <a:pt x="955221" y="1331927"/>
                    </a:lnTo>
                    <a:lnTo>
                      <a:pt x="945308" y="1320598"/>
                    </a:lnTo>
                    <a:lnTo>
                      <a:pt x="945308" y="1191725"/>
                    </a:lnTo>
                    <a:close/>
                    <a:moveTo>
                      <a:pt x="1048690" y="1361667"/>
                    </a:moveTo>
                    <a:lnTo>
                      <a:pt x="1007621" y="1392824"/>
                    </a:lnTo>
                    <a:lnTo>
                      <a:pt x="1003372" y="1392824"/>
                    </a:lnTo>
                    <a:lnTo>
                      <a:pt x="980713" y="1365916"/>
                    </a:lnTo>
                    <a:lnTo>
                      <a:pt x="987794" y="1344673"/>
                    </a:lnTo>
                    <a:lnTo>
                      <a:pt x="1048690" y="1361667"/>
                    </a:lnTo>
                    <a:close/>
                    <a:moveTo>
                      <a:pt x="1003372" y="1395656"/>
                    </a:moveTo>
                    <a:lnTo>
                      <a:pt x="1003372" y="1395656"/>
                    </a:lnTo>
                    <a:lnTo>
                      <a:pt x="1006204" y="1395656"/>
                    </a:lnTo>
                    <a:lnTo>
                      <a:pt x="959470" y="1432477"/>
                    </a:lnTo>
                    <a:lnTo>
                      <a:pt x="982129" y="1368748"/>
                    </a:lnTo>
                    <a:lnTo>
                      <a:pt x="1003372" y="1395656"/>
                    </a:lnTo>
                    <a:close/>
                    <a:moveTo>
                      <a:pt x="1333345" y="1884242"/>
                    </a:moveTo>
                    <a:lnTo>
                      <a:pt x="1322015" y="1851670"/>
                    </a:lnTo>
                    <a:lnTo>
                      <a:pt x="1401322" y="1725629"/>
                    </a:lnTo>
                    <a:lnTo>
                      <a:pt x="1443807" y="1701553"/>
                    </a:lnTo>
                    <a:lnTo>
                      <a:pt x="1472131" y="1803519"/>
                    </a:lnTo>
                    <a:lnTo>
                      <a:pt x="1333345" y="1884242"/>
                    </a:lnTo>
                    <a:close/>
                    <a:moveTo>
                      <a:pt x="1402738" y="1721380"/>
                    </a:moveTo>
                    <a:lnTo>
                      <a:pt x="1433894" y="1670397"/>
                    </a:lnTo>
                    <a:lnTo>
                      <a:pt x="1442391" y="1698721"/>
                    </a:lnTo>
                    <a:lnTo>
                      <a:pt x="1402738" y="1721380"/>
                    </a:lnTo>
                    <a:close/>
                    <a:moveTo>
                      <a:pt x="1499039" y="1490541"/>
                    </a:moveTo>
                    <a:lnTo>
                      <a:pt x="1452305" y="1476379"/>
                    </a:lnTo>
                    <a:lnTo>
                      <a:pt x="1472131" y="1455136"/>
                    </a:lnTo>
                    <a:lnTo>
                      <a:pt x="1472131" y="1455136"/>
                    </a:lnTo>
                    <a:lnTo>
                      <a:pt x="1297940" y="1432477"/>
                    </a:lnTo>
                    <a:lnTo>
                      <a:pt x="1245541" y="1416899"/>
                    </a:lnTo>
                    <a:lnTo>
                      <a:pt x="1246957" y="1401321"/>
                    </a:lnTo>
                    <a:lnTo>
                      <a:pt x="1350339" y="1286609"/>
                    </a:lnTo>
                    <a:lnTo>
                      <a:pt x="1364501" y="1293690"/>
                    </a:lnTo>
                    <a:lnTo>
                      <a:pt x="1316350" y="1431061"/>
                    </a:lnTo>
                    <a:lnTo>
                      <a:pt x="1316350" y="1432477"/>
                    </a:lnTo>
                    <a:lnTo>
                      <a:pt x="1421148" y="1346089"/>
                    </a:lnTo>
                    <a:lnTo>
                      <a:pt x="1507536" y="1453720"/>
                    </a:lnTo>
                    <a:lnTo>
                      <a:pt x="1507536" y="1453720"/>
                    </a:lnTo>
                    <a:lnTo>
                      <a:pt x="1659069" y="1346089"/>
                    </a:lnTo>
                    <a:lnTo>
                      <a:pt x="1657652" y="1358835"/>
                    </a:lnTo>
                    <a:lnTo>
                      <a:pt x="1499039" y="1490541"/>
                    </a:lnTo>
                    <a:close/>
                    <a:moveTo>
                      <a:pt x="1660484" y="1341841"/>
                    </a:moveTo>
                    <a:lnTo>
                      <a:pt x="1508952" y="1449471"/>
                    </a:lnTo>
                    <a:lnTo>
                      <a:pt x="1423981" y="1343257"/>
                    </a:lnTo>
                    <a:lnTo>
                      <a:pt x="1591091" y="1204470"/>
                    </a:lnTo>
                    <a:lnTo>
                      <a:pt x="1591091" y="1204470"/>
                    </a:lnTo>
                    <a:lnTo>
                      <a:pt x="1453721" y="1177563"/>
                    </a:lnTo>
                    <a:lnTo>
                      <a:pt x="1606669" y="1122331"/>
                    </a:lnTo>
                    <a:lnTo>
                      <a:pt x="1688808" y="1115250"/>
                    </a:lnTo>
                    <a:lnTo>
                      <a:pt x="1678895" y="1176146"/>
                    </a:lnTo>
                    <a:lnTo>
                      <a:pt x="1660484" y="1341841"/>
                    </a:lnTo>
                    <a:close/>
                    <a:moveTo>
                      <a:pt x="1542941" y="764035"/>
                    </a:moveTo>
                    <a:lnTo>
                      <a:pt x="1579762" y="721549"/>
                    </a:lnTo>
                    <a:lnTo>
                      <a:pt x="1684560" y="708803"/>
                    </a:lnTo>
                    <a:lnTo>
                      <a:pt x="1562767" y="834844"/>
                    </a:lnTo>
                    <a:lnTo>
                      <a:pt x="1542941" y="764035"/>
                    </a:lnTo>
                    <a:close/>
                    <a:moveTo>
                      <a:pt x="1354587" y="745624"/>
                    </a:moveTo>
                    <a:lnTo>
                      <a:pt x="1404154" y="670566"/>
                    </a:lnTo>
                    <a:lnTo>
                      <a:pt x="1644907" y="645075"/>
                    </a:lnTo>
                    <a:lnTo>
                      <a:pt x="1578346" y="720133"/>
                    </a:lnTo>
                    <a:lnTo>
                      <a:pt x="1354587" y="745624"/>
                    </a:lnTo>
                    <a:close/>
                    <a:moveTo>
                      <a:pt x="1402738" y="669150"/>
                    </a:moveTo>
                    <a:lnTo>
                      <a:pt x="1326264" y="677647"/>
                    </a:lnTo>
                    <a:lnTo>
                      <a:pt x="1299356" y="654988"/>
                    </a:lnTo>
                    <a:lnTo>
                      <a:pt x="1300772" y="601173"/>
                    </a:lnTo>
                    <a:lnTo>
                      <a:pt x="1348922" y="604005"/>
                    </a:lnTo>
                    <a:lnTo>
                      <a:pt x="1348922" y="604005"/>
                    </a:lnTo>
                    <a:lnTo>
                      <a:pt x="1392824" y="465219"/>
                    </a:lnTo>
                    <a:lnTo>
                      <a:pt x="1446640" y="476548"/>
                    </a:lnTo>
                    <a:lnTo>
                      <a:pt x="1432478" y="623832"/>
                    </a:lnTo>
                    <a:lnTo>
                      <a:pt x="1402738" y="669150"/>
                    </a:lnTo>
                    <a:close/>
                    <a:moveTo>
                      <a:pt x="1348922" y="601173"/>
                    </a:moveTo>
                    <a:lnTo>
                      <a:pt x="1302188" y="598341"/>
                    </a:lnTo>
                    <a:lnTo>
                      <a:pt x="1303604" y="531780"/>
                    </a:lnTo>
                    <a:lnTo>
                      <a:pt x="1347507" y="511953"/>
                    </a:lnTo>
                    <a:lnTo>
                      <a:pt x="1347507" y="511953"/>
                    </a:lnTo>
                    <a:lnTo>
                      <a:pt x="1340426" y="452473"/>
                    </a:lnTo>
                    <a:lnTo>
                      <a:pt x="1392824" y="463803"/>
                    </a:lnTo>
                    <a:lnTo>
                      <a:pt x="1348922" y="601173"/>
                    </a:lnTo>
                    <a:close/>
                    <a:moveTo>
                      <a:pt x="1300772" y="530363"/>
                    </a:moveTo>
                    <a:lnTo>
                      <a:pt x="1204471" y="574265"/>
                    </a:lnTo>
                    <a:lnTo>
                      <a:pt x="1159153" y="536028"/>
                    </a:lnTo>
                    <a:lnTo>
                      <a:pt x="1186060" y="418484"/>
                    </a:lnTo>
                    <a:lnTo>
                      <a:pt x="1303604" y="443976"/>
                    </a:lnTo>
                    <a:lnTo>
                      <a:pt x="1300772" y="530363"/>
                    </a:lnTo>
                    <a:close/>
                    <a:moveTo>
                      <a:pt x="881579" y="350507"/>
                    </a:moveTo>
                    <a:lnTo>
                      <a:pt x="744209" y="320767"/>
                    </a:lnTo>
                    <a:lnTo>
                      <a:pt x="645075" y="225882"/>
                    </a:lnTo>
                    <a:lnTo>
                      <a:pt x="959470" y="262703"/>
                    </a:lnTo>
                    <a:lnTo>
                      <a:pt x="1017534" y="281114"/>
                    </a:lnTo>
                    <a:lnTo>
                      <a:pt x="881579" y="350507"/>
                    </a:lnTo>
                    <a:close/>
                    <a:moveTo>
                      <a:pt x="773949" y="201807"/>
                    </a:moveTo>
                    <a:lnTo>
                      <a:pt x="623833" y="203223"/>
                    </a:lnTo>
                    <a:lnTo>
                      <a:pt x="604006" y="183397"/>
                    </a:lnTo>
                    <a:lnTo>
                      <a:pt x="639411" y="157905"/>
                    </a:lnTo>
                    <a:lnTo>
                      <a:pt x="773949" y="201807"/>
                    </a:lnTo>
                    <a:close/>
                    <a:moveTo>
                      <a:pt x="622416" y="206056"/>
                    </a:moveTo>
                    <a:lnTo>
                      <a:pt x="639411" y="223050"/>
                    </a:lnTo>
                    <a:lnTo>
                      <a:pt x="564352" y="214553"/>
                    </a:lnTo>
                    <a:lnTo>
                      <a:pt x="574266" y="207472"/>
                    </a:lnTo>
                    <a:lnTo>
                      <a:pt x="622416" y="206056"/>
                    </a:lnTo>
                    <a:close/>
                    <a:moveTo>
                      <a:pt x="449641" y="533196"/>
                    </a:moveTo>
                    <a:lnTo>
                      <a:pt x="507705" y="659237"/>
                    </a:lnTo>
                    <a:lnTo>
                      <a:pt x="490711" y="664902"/>
                    </a:lnTo>
                    <a:lnTo>
                      <a:pt x="490711" y="664902"/>
                    </a:lnTo>
                    <a:lnTo>
                      <a:pt x="514786" y="697474"/>
                    </a:lnTo>
                    <a:lnTo>
                      <a:pt x="313687" y="652156"/>
                    </a:lnTo>
                    <a:lnTo>
                      <a:pt x="383080" y="507704"/>
                    </a:lnTo>
                    <a:lnTo>
                      <a:pt x="449641" y="533196"/>
                    </a:lnTo>
                    <a:close/>
                    <a:moveTo>
                      <a:pt x="448225" y="885827"/>
                    </a:moveTo>
                    <a:lnTo>
                      <a:pt x="308022" y="663485"/>
                    </a:lnTo>
                    <a:lnTo>
                      <a:pt x="312270" y="653572"/>
                    </a:lnTo>
                    <a:lnTo>
                      <a:pt x="516202" y="698890"/>
                    </a:lnTo>
                    <a:lnTo>
                      <a:pt x="540277" y="731462"/>
                    </a:lnTo>
                    <a:lnTo>
                      <a:pt x="599757" y="860336"/>
                    </a:lnTo>
                    <a:lnTo>
                      <a:pt x="448225" y="885827"/>
                    </a:lnTo>
                    <a:close/>
                    <a:moveTo>
                      <a:pt x="221634" y="841925"/>
                    </a:moveTo>
                    <a:lnTo>
                      <a:pt x="248542" y="785278"/>
                    </a:lnTo>
                    <a:lnTo>
                      <a:pt x="428398" y="911319"/>
                    </a:lnTo>
                    <a:lnTo>
                      <a:pt x="221634" y="841925"/>
                    </a:lnTo>
                    <a:close/>
                    <a:moveTo>
                      <a:pt x="248542" y="782445"/>
                    </a:moveTo>
                    <a:lnTo>
                      <a:pt x="213137" y="756954"/>
                    </a:lnTo>
                    <a:lnTo>
                      <a:pt x="176316" y="693225"/>
                    </a:lnTo>
                    <a:lnTo>
                      <a:pt x="227299" y="633745"/>
                    </a:lnTo>
                    <a:lnTo>
                      <a:pt x="298109" y="649323"/>
                    </a:lnTo>
                    <a:lnTo>
                      <a:pt x="306606" y="662069"/>
                    </a:lnTo>
                    <a:lnTo>
                      <a:pt x="248542" y="782445"/>
                    </a:lnTo>
                    <a:close/>
                    <a:moveTo>
                      <a:pt x="190478" y="479380"/>
                    </a:moveTo>
                    <a:lnTo>
                      <a:pt x="166402" y="618167"/>
                    </a:lnTo>
                    <a:lnTo>
                      <a:pt x="129582" y="609670"/>
                    </a:lnTo>
                    <a:lnTo>
                      <a:pt x="159322" y="514785"/>
                    </a:lnTo>
                    <a:lnTo>
                      <a:pt x="184813" y="469467"/>
                    </a:lnTo>
                    <a:lnTo>
                      <a:pt x="190478" y="479380"/>
                    </a:lnTo>
                    <a:close/>
                    <a:moveTo>
                      <a:pt x="132414" y="815018"/>
                    </a:moveTo>
                    <a:lnTo>
                      <a:pt x="218802" y="843341"/>
                    </a:lnTo>
                    <a:lnTo>
                      <a:pt x="163570" y="958053"/>
                    </a:lnTo>
                    <a:lnTo>
                      <a:pt x="163570" y="958053"/>
                    </a:lnTo>
                    <a:lnTo>
                      <a:pt x="459554" y="931145"/>
                    </a:lnTo>
                    <a:lnTo>
                      <a:pt x="690393" y="1092591"/>
                    </a:lnTo>
                    <a:lnTo>
                      <a:pt x="705972" y="1094007"/>
                    </a:lnTo>
                    <a:lnTo>
                      <a:pt x="742793" y="1176146"/>
                    </a:lnTo>
                    <a:lnTo>
                      <a:pt x="564352" y="1133661"/>
                    </a:lnTo>
                    <a:lnTo>
                      <a:pt x="452473" y="1010452"/>
                    </a:lnTo>
                    <a:lnTo>
                      <a:pt x="452473" y="1010452"/>
                    </a:lnTo>
                    <a:lnTo>
                      <a:pt x="418485" y="1098256"/>
                    </a:lnTo>
                    <a:lnTo>
                      <a:pt x="320768" y="1075597"/>
                    </a:lnTo>
                    <a:lnTo>
                      <a:pt x="320768" y="1075597"/>
                    </a:lnTo>
                    <a:lnTo>
                      <a:pt x="300941" y="1149239"/>
                    </a:lnTo>
                    <a:lnTo>
                      <a:pt x="95593" y="1086927"/>
                    </a:lnTo>
                    <a:lnTo>
                      <a:pt x="84264" y="1074181"/>
                    </a:lnTo>
                    <a:lnTo>
                      <a:pt x="132414" y="815018"/>
                    </a:lnTo>
                    <a:close/>
                    <a:moveTo>
                      <a:pt x="747041" y="1178979"/>
                    </a:moveTo>
                    <a:lnTo>
                      <a:pt x="747041" y="1178979"/>
                    </a:lnTo>
                    <a:lnTo>
                      <a:pt x="708804" y="1094007"/>
                    </a:lnTo>
                    <a:lnTo>
                      <a:pt x="943892" y="1109585"/>
                    </a:lnTo>
                    <a:lnTo>
                      <a:pt x="943892" y="1188892"/>
                    </a:lnTo>
                    <a:lnTo>
                      <a:pt x="833429" y="1186060"/>
                    </a:lnTo>
                    <a:lnTo>
                      <a:pt x="833429" y="1186060"/>
                    </a:lnTo>
                    <a:lnTo>
                      <a:pt x="943892" y="1320598"/>
                    </a:lnTo>
                    <a:lnTo>
                      <a:pt x="943892" y="1327679"/>
                    </a:lnTo>
                    <a:lnTo>
                      <a:pt x="673399" y="1248372"/>
                    </a:lnTo>
                    <a:lnTo>
                      <a:pt x="570017" y="1135077"/>
                    </a:lnTo>
                    <a:lnTo>
                      <a:pt x="747041" y="1178979"/>
                    </a:lnTo>
                    <a:close/>
                    <a:moveTo>
                      <a:pt x="837678" y="1190308"/>
                    </a:moveTo>
                    <a:lnTo>
                      <a:pt x="943892" y="1193141"/>
                    </a:lnTo>
                    <a:lnTo>
                      <a:pt x="943892" y="1319182"/>
                    </a:lnTo>
                    <a:lnTo>
                      <a:pt x="837678" y="1190308"/>
                    </a:lnTo>
                    <a:close/>
                    <a:moveTo>
                      <a:pt x="953805" y="1334760"/>
                    </a:moveTo>
                    <a:lnTo>
                      <a:pt x="956638" y="1339008"/>
                    </a:lnTo>
                    <a:lnTo>
                      <a:pt x="945308" y="1356003"/>
                    </a:lnTo>
                    <a:lnTo>
                      <a:pt x="945308" y="1331927"/>
                    </a:lnTo>
                    <a:lnTo>
                      <a:pt x="953805" y="1334760"/>
                    </a:lnTo>
                    <a:close/>
                    <a:moveTo>
                      <a:pt x="1009036" y="1395656"/>
                    </a:moveTo>
                    <a:lnTo>
                      <a:pt x="1161985" y="1415483"/>
                    </a:lnTo>
                    <a:lnTo>
                      <a:pt x="1181812" y="1470714"/>
                    </a:lnTo>
                    <a:lnTo>
                      <a:pt x="1111002" y="1548605"/>
                    </a:lnTo>
                    <a:lnTo>
                      <a:pt x="926897" y="1523113"/>
                    </a:lnTo>
                    <a:lnTo>
                      <a:pt x="958054" y="1435310"/>
                    </a:lnTo>
                    <a:lnTo>
                      <a:pt x="1009036" y="1395656"/>
                    </a:lnTo>
                    <a:close/>
                    <a:moveTo>
                      <a:pt x="926897" y="1525946"/>
                    </a:moveTo>
                    <a:lnTo>
                      <a:pt x="1109586" y="1551437"/>
                    </a:lnTo>
                    <a:lnTo>
                      <a:pt x="994874" y="1678894"/>
                    </a:lnTo>
                    <a:lnTo>
                      <a:pt x="994874" y="1678894"/>
                    </a:lnTo>
                    <a:lnTo>
                      <a:pt x="1038776" y="1676062"/>
                    </a:lnTo>
                    <a:lnTo>
                      <a:pt x="973632" y="1701553"/>
                    </a:lnTo>
                    <a:lnTo>
                      <a:pt x="973632" y="1701553"/>
                    </a:lnTo>
                    <a:lnTo>
                      <a:pt x="979297" y="1751120"/>
                    </a:lnTo>
                    <a:lnTo>
                      <a:pt x="857504" y="1731293"/>
                    </a:lnTo>
                    <a:lnTo>
                      <a:pt x="926897" y="1525946"/>
                    </a:lnTo>
                    <a:close/>
                    <a:moveTo>
                      <a:pt x="1483461" y="1898404"/>
                    </a:moveTo>
                    <a:lnTo>
                      <a:pt x="1283778" y="1912566"/>
                    </a:lnTo>
                    <a:lnTo>
                      <a:pt x="1320599" y="1853086"/>
                    </a:lnTo>
                    <a:lnTo>
                      <a:pt x="1333345" y="1887074"/>
                    </a:lnTo>
                    <a:lnTo>
                      <a:pt x="1333345" y="1887074"/>
                    </a:lnTo>
                    <a:lnTo>
                      <a:pt x="1472131" y="1804935"/>
                    </a:lnTo>
                    <a:lnTo>
                      <a:pt x="1496207" y="1888491"/>
                    </a:lnTo>
                    <a:lnTo>
                      <a:pt x="1483461" y="1898404"/>
                    </a:lnTo>
                    <a:close/>
                    <a:moveTo>
                      <a:pt x="1443807" y="1697305"/>
                    </a:moveTo>
                    <a:lnTo>
                      <a:pt x="1435310" y="1666148"/>
                    </a:lnTo>
                    <a:lnTo>
                      <a:pt x="1435310" y="1666148"/>
                    </a:lnTo>
                    <a:lnTo>
                      <a:pt x="1399905" y="1724212"/>
                    </a:lnTo>
                    <a:lnTo>
                      <a:pt x="1392824" y="1728461"/>
                    </a:lnTo>
                    <a:lnTo>
                      <a:pt x="1283778" y="1742623"/>
                    </a:lnTo>
                    <a:lnTo>
                      <a:pt x="1254038" y="1661900"/>
                    </a:lnTo>
                    <a:lnTo>
                      <a:pt x="1278113" y="1660484"/>
                    </a:lnTo>
                    <a:lnTo>
                      <a:pt x="1278113" y="1660484"/>
                    </a:lnTo>
                    <a:lnTo>
                      <a:pt x="1351755" y="1584010"/>
                    </a:lnTo>
                    <a:lnTo>
                      <a:pt x="1387160" y="1588258"/>
                    </a:lnTo>
                    <a:lnTo>
                      <a:pt x="1387160" y="1588258"/>
                    </a:lnTo>
                    <a:lnTo>
                      <a:pt x="1482045" y="1508951"/>
                    </a:lnTo>
                    <a:lnTo>
                      <a:pt x="1514617" y="1496206"/>
                    </a:lnTo>
                    <a:lnTo>
                      <a:pt x="1643490" y="1533027"/>
                    </a:lnTo>
                    <a:lnTo>
                      <a:pt x="1637826" y="1586842"/>
                    </a:lnTo>
                    <a:lnTo>
                      <a:pt x="1443807" y="1697305"/>
                    </a:lnTo>
                    <a:close/>
                    <a:moveTo>
                      <a:pt x="1755369" y="1276696"/>
                    </a:moveTo>
                    <a:lnTo>
                      <a:pt x="1661901" y="1354586"/>
                    </a:lnTo>
                    <a:lnTo>
                      <a:pt x="1663317" y="1341841"/>
                    </a:lnTo>
                    <a:lnTo>
                      <a:pt x="1755369" y="1276696"/>
                    </a:lnTo>
                    <a:close/>
                    <a:moveTo>
                      <a:pt x="970799" y="264120"/>
                    </a:moveTo>
                    <a:lnTo>
                      <a:pt x="1038776" y="272617"/>
                    </a:lnTo>
                    <a:lnTo>
                      <a:pt x="1021782" y="281114"/>
                    </a:lnTo>
                    <a:lnTo>
                      <a:pt x="970799" y="264120"/>
                    </a:lnTo>
                    <a:close/>
                    <a:moveTo>
                      <a:pt x="833429" y="10621"/>
                    </a:moveTo>
                    <a:lnTo>
                      <a:pt x="657821" y="142327"/>
                    </a:lnTo>
                    <a:lnTo>
                      <a:pt x="417069" y="88512"/>
                    </a:lnTo>
                    <a:lnTo>
                      <a:pt x="833429" y="10621"/>
                    </a:lnTo>
                    <a:close/>
                    <a:moveTo>
                      <a:pt x="577098" y="204640"/>
                    </a:moveTo>
                    <a:lnTo>
                      <a:pt x="602590" y="186229"/>
                    </a:lnTo>
                    <a:lnTo>
                      <a:pt x="621000" y="204640"/>
                    </a:lnTo>
                    <a:lnTo>
                      <a:pt x="577098" y="204640"/>
                    </a:lnTo>
                    <a:close/>
                    <a:moveTo>
                      <a:pt x="636578" y="157905"/>
                    </a:moveTo>
                    <a:lnTo>
                      <a:pt x="602590" y="183397"/>
                    </a:lnTo>
                    <a:lnTo>
                      <a:pt x="545942" y="129581"/>
                    </a:lnTo>
                    <a:lnTo>
                      <a:pt x="636578" y="157905"/>
                    </a:lnTo>
                    <a:close/>
                    <a:moveTo>
                      <a:pt x="511954" y="207472"/>
                    </a:moveTo>
                    <a:lnTo>
                      <a:pt x="571433" y="206056"/>
                    </a:lnTo>
                    <a:lnTo>
                      <a:pt x="562936" y="213137"/>
                    </a:lnTo>
                    <a:lnTo>
                      <a:pt x="511954" y="207472"/>
                    </a:lnTo>
                    <a:close/>
                    <a:moveTo>
                      <a:pt x="494959" y="207472"/>
                    </a:moveTo>
                    <a:lnTo>
                      <a:pt x="558688" y="214553"/>
                    </a:lnTo>
                    <a:lnTo>
                      <a:pt x="490711" y="265536"/>
                    </a:lnTo>
                    <a:lnTo>
                      <a:pt x="359005" y="237212"/>
                    </a:lnTo>
                    <a:lnTo>
                      <a:pt x="323600" y="210304"/>
                    </a:lnTo>
                    <a:lnTo>
                      <a:pt x="494959" y="207472"/>
                    </a:lnTo>
                    <a:close/>
                    <a:moveTo>
                      <a:pt x="479381" y="206056"/>
                    </a:moveTo>
                    <a:lnTo>
                      <a:pt x="320768" y="207472"/>
                    </a:lnTo>
                    <a:lnTo>
                      <a:pt x="288195" y="183397"/>
                    </a:lnTo>
                    <a:lnTo>
                      <a:pt x="479381" y="206056"/>
                    </a:lnTo>
                    <a:close/>
                    <a:moveTo>
                      <a:pt x="320768" y="210304"/>
                    </a:moveTo>
                    <a:lnTo>
                      <a:pt x="354756" y="237212"/>
                    </a:lnTo>
                    <a:lnTo>
                      <a:pt x="238628" y="211720"/>
                    </a:lnTo>
                    <a:lnTo>
                      <a:pt x="320768" y="210304"/>
                    </a:lnTo>
                    <a:close/>
                    <a:moveTo>
                      <a:pt x="300941" y="650740"/>
                    </a:moveTo>
                    <a:lnTo>
                      <a:pt x="310854" y="653572"/>
                    </a:lnTo>
                    <a:lnTo>
                      <a:pt x="306606" y="662069"/>
                    </a:lnTo>
                    <a:lnTo>
                      <a:pt x="300941" y="650740"/>
                    </a:lnTo>
                    <a:close/>
                    <a:moveTo>
                      <a:pt x="228715" y="632329"/>
                    </a:moveTo>
                    <a:lnTo>
                      <a:pt x="262704" y="592676"/>
                    </a:lnTo>
                    <a:lnTo>
                      <a:pt x="296692" y="646491"/>
                    </a:lnTo>
                    <a:lnTo>
                      <a:pt x="228715" y="632329"/>
                    </a:lnTo>
                    <a:close/>
                    <a:moveTo>
                      <a:pt x="262704" y="589843"/>
                    </a:moveTo>
                    <a:lnTo>
                      <a:pt x="255623" y="578514"/>
                    </a:lnTo>
                    <a:lnTo>
                      <a:pt x="289611" y="558687"/>
                    </a:lnTo>
                    <a:lnTo>
                      <a:pt x="262704" y="589843"/>
                    </a:lnTo>
                    <a:close/>
                    <a:moveTo>
                      <a:pt x="162154" y="506288"/>
                    </a:moveTo>
                    <a:lnTo>
                      <a:pt x="218802" y="320767"/>
                    </a:lnTo>
                    <a:lnTo>
                      <a:pt x="190478" y="477964"/>
                    </a:lnTo>
                    <a:lnTo>
                      <a:pt x="183397" y="466635"/>
                    </a:lnTo>
                    <a:lnTo>
                      <a:pt x="183397" y="466635"/>
                    </a:lnTo>
                    <a:lnTo>
                      <a:pt x="162154" y="506288"/>
                    </a:lnTo>
                    <a:close/>
                    <a:moveTo>
                      <a:pt x="116836" y="589843"/>
                    </a:moveTo>
                    <a:lnTo>
                      <a:pt x="153657" y="523282"/>
                    </a:lnTo>
                    <a:lnTo>
                      <a:pt x="128166" y="608254"/>
                    </a:lnTo>
                    <a:lnTo>
                      <a:pt x="116836" y="589843"/>
                    </a:lnTo>
                    <a:close/>
                    <a:moveTo>
                      <a:pt x="914152" y="1521697"/>
                    </a:moveTo>
                    <a:lnTo>
                      <a:pt x="853255" y="1518865"/>
                    </a:lnTo>
                    <a:lnTo>
                      <a:pt x="956638" y="1438142"/>
                    </a:lnTo>
                    <a:lnTo>
                      <a:pt x="926897" y="1523113"/>
                    </a:lnTo>
                    <a:lnTo>
                      <a:pt x="914152" y="1521697"/>
                    </a:lnTo>
                    <a:close/>
                    <a:moveTo>
                      <a:pt x="1003372" y="1755368"/>
                    </a:moveTo>
                    <a:lnTo>
                      <a:pt x="1000540" y="1761033"/>
                    </a:lnTo>
                    <a:cubicBezTo>
                      <a:pt x="996291" y="1768114"/>
                      <a:pt x="992042" y="1778027"/>
                      <a:pt x="984961" y="1789357"/>
                    </a:cubicBezTo>
                    <a:lnTo>
                      <a:pt x="980713" y="1751120"/>
                    </a:lnTo>
                    <a:lnTo>
                      <a:pt x="1003372" y="1755368"/>
                    </a:lnTo>
                    <a:close/>
                    <a:moveTo>
                      <a:pt x="983545" y="1796438"/>
                    </a:moveTo>
                    <a:lnTo>
                      <a:pt x="1010453" y="2031526"/>
                    </a:lnTo>
                    <a:cubicBezTo>
                      <a:pt x="992042" y="1997537"/>
                      <a:pt x="932562" y="1894155"/>
                      <a:pt x="932562" y="1887074"/>
                    </a:cubicBezTo>
                    <a:cubicBezTo>
                      <a:pt x="935395" y="1884242"/>
                      <a:pt x="965135" y="1829010"/>
                      <a:pt x="983545" y="1796438"/>
                    </a:cubicBezTo>
                    <a:close/>
                    <a:moveTo>
                      <a:pt x="1299356" y="2289272"/>
                    </a:moveTo>
                    <a:lnTo>
                      <a:pt x="1489126" y="2153318"/>
                    </a:lnTo>
                    <a:lnTo>
                      <a:pt x="1432478" y="2265197"/>
                    </a:lnTo>
                    <a:lnTo>
                      <a:pt x="1299356" y="2289272"/>
                    </a:lnTo>
                    <a:close/>
                    <a:moveTo>
                      <a:pt x="1520282" y="2252451"/>
                    </a:moveTo>
                    <a:lnTo>
                      <a:pt x="1418316" y="2297770"/>
                    </a:lnTo>
                    <a:lnTo>
                      <a:pt x="1433894" y="2266613"/>
                    </a:lnTo>
                    <a:lnTo>
                      <a:pt x="1520282" y="2252451"/>
                    </a:lnTo>
                    <a:close/>
                    <a:moveTo>
                      <a:pt x="1593924" y="2075428"/>
                    </a:moveTo>
                    <a:lnTo>
                      <a:pt x="1494790" y="2146237"/>
                    </a:lnTo>
                    <a:lnTo>
                      <a:pt x="1541524" y="2052768"/>
                    </a:lnTo>
                    <a:lnTo>
                      <a:pt x="1593924" y="2075428"/>
                    </a:lnTo>
                    <a:close/>
                    <a:moveTo>
                      <a:pt x="1650571" y="1443806"/>
                    </a:moveTo>
                    <a:lnTo>
                      <a:pt x="1642074" y="1531610"/>
                    </a:lnTo>
                    <a:lnTo>
                      <a:pt x="1516033" y="1494789"/>
                    </a:lnTo>
                    <a:lnTo>
                      <a:pt x="1650571" y="1443806"/>
                    </a:lnTo>
                    <a:close/>
                    <a:moveTo>
                      <a:pt x="1904070" y="1347506"/>
                    </a:moveTo>
                    <a:lnTo>
                      <a:pt x="1724213" y="1555686"/>
                    </a:lnTo>
                    <a:lnTo>
                      <a:pt x="1643490" y="1533027"/>
                    </a:lnTo>
                    <a:lnTo>
                      <a:pt x="1651988" y="1443806"/>
                    </a:lnTo>
                    <a:lnTo>
                      <a:pt x="1904070" y="1347506"/>
                    </a:lnTo>
                    <a:close/>
                    <a:moveTo>
                      <a:pt x="1305021" y="442560"/>
                    </a:moveTo>
                    <a:lnTo>
                      <a:pt x="1310685" y="220218"/>
                    </a:lnTo>
                    <a:lnTo>
                      <a:pt x="1336177" y="449641"/>
                    </a:lnTo>
                    <a:lnTo>
                      <a:pt x="1305021" y="442560"/>
                    </a:lnTo>
                    <a:close/>
                    <a:moveTo>
                      <a:pt x="562936" y="1133661"/>
                    </a:moveTo>
                    <a:lnTo>
                      <a:pt x="422733" y="1099672"/>
                    </a:lnTo>
                    <a:lnTo>
                      <a:pt x="455306" y="1014701"/>
                    </a:lnTo>
                    <a:lnTo>
                      <a:pt x="562936" y="1133661"/>
                    </a:lnTo>
                    <a:close/>
                    <a:moveTo>
                      <a:pt x="956638" y="1334760"/>
                    </a:moveTo>
                    <a:lnTo>
                      <a:pt x="959470" y="1334760"/>
                    </a:lnTo>
                    <a:lnTo>
                      <a:pt x="958054" y="1336176"/>
                    </a:lnTo>
                    <a:lnTo>
                      <a:pt x="956638" y="1334760"/>
                    </a:lnTo>
                    <a:close/>
                    <a:moveTo>
                      <a:pt x="1136494" y="2314764"/>
                    </a:moveTo>
                    <a:lnTo>
                      <a:pt x="1130829" y="2337423"/>
                    </a:lnTo>
                    <a:lnTo>
                      <a:pt x="1061436" y="2302018"/>
                    </a:lnTo>
                    <a:lnTo>
                      <a:pt x="1136494" y="2314764"/>
                    </a:lnTo>
                    <a:close/>
                    <a:moveTo>
                      <a:pt x="1221465" y="2386990"/>
                    </a:moveTo>
                    <a:lnTo>
                      <a:pt x="1105338" y="2439389"/>
                    </a:lnTo>
                    <a:lnTo>
                      <a:pt x="1130829" y="2341672"/>
                    </a:lnTo>
                    <a:lnTo>
                      <a:pt x="1221465" y="2386990"/>
                    </a:lnTo>
                    <a:close/>
                    <a:moveTo>
                      <a:pt x="1690225" y="1112418"/>
                    </a:moveTo>
                    <a:lnTo>
                      <a:pt x="1731294" y="871665"/>
                    </a:lnTo>
                    <a:lnTo>
                      <a:pt x="1729878" y="1109585"/>
                    </a:lnTo>
                    <a:lnTo>
                      <a:pt x="1690225" y="1112418"/>
                    </a:lnTo>
                    <a:close/>
                    <a:moveTo>
                      <a:pt x="2017365" y="1875745"/>
                    </a:moveTo>
                    <a:lnTo>
                      <a:pt x="1918231" y="2129243"/>
                    </a:lnTo>
                    <a:lnTo>
                      <a:pt x="1911150" y="1991872"/>
                    </a:lnTo>
                    <a:lnTo>
                      <a:pt x="1911150" y="1990456"/>
                    </a:lnTo>
                    <a:lnTo>
                      <a:pt x="1855919" y="2184474"/>
                    </a:lnTo>
                    <a:lnTo>
                      <a:pt x="1677479" y="1821929"/>
                    </a:lnTo>
                    <a:lnTo>
                      <a:pt x="1909734" y="1990456"/>
                    </a:lnTo>
                    <a:lnTo>
                      <a:pt x="1909734" y="1990456"/>
                    </a:lnTo>
                    <a:lnTo>
                      <a:pt x="2017365" y="1875745"/>
                    </a:lnTo>
                    <a:close/>
                    <a:moveTo>
                      <a:pt x="1916815" y="2139156"/>
                    </a:moveTo>
                    <a:lnTo>
                      <a:pt x="1918231" y="2158983"/>
                    </a:lnTo>
                    <a:lnTo>
                      <a:pt x="1901237" y="2180226"/>
                    </a:lnTo>
                    <a:lnTo>
                      <a:pt x="1916815" y="2139156"/>
                    </a:lnTo>
                    <a:close/>
                    <a:moveTo>
                      <a:pt x="1925312" y="2246787"/>
                    </a:moveTo>
                    <a:lnTo>
                      <a:pt x="1919648" y="2160399"/>
                    </a:lnTo>
                    <a:lnTo>
                      <a:pt x="1981960" y="2085341"/>
                    </a:lnTo>
                    <a:lnTo>
                      <a:pt x="1925312" y="2246787"/>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50" name="Freeform: Shape 949">
                <a:extLst>
                  <a:ext uri="{FF2B5EF4-FFF2-40B4-BE49-F238E27FC236}">
                    <a16:creationId xmlns:a16="http://schemas.microsoft.com/office/drawing/2014/main" id="{5AE1C5AE-5749-4E14-91E7-AF097A978D37}"/>
                  </a:ext>
                </a:extLst>
              </p:cNvPr>
              <p:cNvSpPr/>
              <p:nvPr/>
            </p:nvSpPr>
            <p:spPr>
              <a:xfrm>
                <a:off x="3308227" y="3786588"/>
                <a:ext cx="1416191" cy="2719086"/>
              </a:xfrm>
              <a:custGeom>
                <a:avLst/>
                <a:gdLst>
                  <a:gd name="connsiteX0" fmla="*/ 1330512 w 1416191"/>
                  <a:gd name="connsiteY0" fmla="*/ 660653 h 2719086"/>
                  <a:gd name="connsiteX1" fmla="*/ 1330512 w 1416191"/>
                  <a:gd name="connsiteY1" fmla="*/ 660653 h 2719086"/>
                  <a:gd name="connsiteX2" fmla="*/ 1125164 w 1416191"/>
                  <a:gd name="connsiteY2" fmla="*/ 676231 h 2719086"/>
                  <a:gd name="connsiteX3" fmla="*/ 1123748 w 1416191"/>
                  <a:gd name="connsiteY3" fmla="*/ 653572 h 2719086"/>
                  <a:gd name="connsiteX4" fmla="*/ 1157737 w 1416191"/>
                  <a:gd name="connsiteY4" fmla="*/ 643659 h 2719086"/>
                  <a:gd name="connsiteX5" fmla="*/ 1115251 w 1416191"/>
                  <a:gd name="connsiteY5" fmla="*/ 543109 h 2719086"/>
                  <a:gd name="connsiteX6" fmla="*/ 1115251 w 1416191"/>
                  <a:gd name="connsiteY6" fmla="*/ 541693 h 2719086"/>
                  <a:gd name="connsiteX7" fmla="*/ 1122332 w 1416191"/>
                  <a:gd name="connsiteY7" fmla="*/ 650740 h 2719086"/>
                  <a:gd name="connsiteX8" fmla="*/ 1081262 w 1416191"/>
                  <a:gd name="connsiteY8" fmla="*/ 663486 h 2719086"/>
                  <a:gd name="connsiteX9" fmla="*/ 1081262 w 1416191"/>
                  <a:gd name="connsiteY9" fmla="*/ 618167 h 2719086"/>
                  <a:gd name="connsiteX10" fmla="*/ 1081262 w 1416191"/>
                  <a:gd name="connsiteY10" fmla="*/ 616751 h 2719086"/>
                  <a:gd name="connsiteX11" fmla="*/ 1067100 w 1416191"/>
                  <a:gd name="connsiteY11" fmla="*/ 667734 h 2719086"/>
                  <a:gd name="connsiteX12" fmla="*/ 1014701 w 1416191"/>
                  <a:gd name="connsiteY12" fmla="*/ 683312 h 2719086"/>
                  <a:gd name="connsiteX13" fmla="*/ 963718 w 1416191"/>
                  <a:gd name="connsiteY13" fmla="*/ 687560 h 2719086"/>
                  <a:gd name="connsiteX14" fmla="*/ 766868 w 1416191"/>
                  <a:gd name="connsiteY14" fmla="*/ 632329 h 2719086"/>
                  <a:gd name="connsiteX15" fmla="*/ 888660 w 1416191"/>
                  <a:gd name="connsiteY15" fmla="*/ 453889 h 2719086"/>
                  <a:gd name="connsiteX16" fmla="*/ 953805 w 1416191"/>
                  <a:gd name="connsiteY16" fmla="*/ 486462 h 2719086"/>
                  <a:gd name="connsiteX17" fmla="*/ 953805 w 1416191"/>
                  <a:gd name="connsiteY17" fmla="*/ 486462 h 2719086"/>
                  <a:gd name="connsiteX18" fmla="*/ 942475 w 1416191"/>
                  <a:gd name="connsiteY18" fmla="*/ 371750 h 2719086"/>
                  <a:gd name="connsiteX19" fmla="*/ 942475 w 1416191"/>
                  <a:gd name="connsiteY19" fmla="*/ 371750 h 2719086"/>
                  <a:gd name="connsiteX20" fmla="*/ 887244 w 1416191"/>
                  <a:gd name="connsiteY20" fmla="*/ 451057 h 2719086"/>
                  <a:gd name="connsiteX21" fmla="*/ 795192 w 1416191"/>
                  <a:gd name="connsiteY21" fmla="*/ 404322 h 2719086"/>
                  <a:gd name="connsiteX22" fmla="*/ 793775 w 1416191"/>
                  <a:gd name="connsiteY22" fmla="*/ 356172 h 2719086"/>
                  <a:gd name="connsiteX23" fmla="*/ 907071 w 1416191"/>
                  <a:gd name="connsiteY23" fmla="*/ 289611 h 2719086"/>
                  <a:gd name="connsiteX24" fmla="*/ 907071 w 1416191"/>
                  <a:gd name="connsiteY24" fmla="*/ 289611 h 2719086"/>
                  <a:gd name="connsiteX25" fmla="*/ 660653 w 1416191"/>
                  <a:gd name="connsiteY25" fmla="*/ 149408 h 2719086"/>
                  <a:gd name="connsiteX26" fmla="*/ 659237 w 1416191"/>
                  <a:gd name="connsiteY26" fmla="*/ 149408 h 2719086"/>
                  <a:gd name="connsiteX27" fmla="*/ 735712 w 1416191"/>
                  <a:gd name="connsiteY27" fmla="*/ 241460 h 2719086"/>
                  <a:gd name="connsiteX28" fmla="*/ 514786 w 1416191"/>
                  <a:gd name="connsiteY28" fmla="*/ 167819 h 2719086"/>
                  <a:gd name="connsiteX29" fmla="*/ 570017 w 1416191"/>
                  <a:gd name="connsiteY29" fmla="*/ 63020 h 2719086"/>
                  <a:gd name="connsiteX30" fmla="*/ 570017 w 1416191"/>
                  <a:gd name="connsiteY30" fmla="*/ 61604 h 2719086"/>
                  <a:gd name="connsiteX31" fmla="*/ 475132 w 1416191"/>
                  <a:gd name="connsiteY31" fmla="*/ 155073 h 2719086"/>
                  <a:gd name="connsiteX32" fmla="*/ 343426 w 1416191"/>
                  <a:gd name="connsiteY32" fmla="*/ 111171 h 2719086"/>
                  <a:gd name="connsiteX33" fmla="*/ 303773 w 1416191"/>
                  <a:gd name="connsiteY33" fmla="*/ 98425 h 2719086"/>
                  <a:gd name="connsiteX34" fmla="*/ 350507 w 1416191"/>
                  <a:gd name="connsiteY34" fmla="*/ 10621 h 2719086"/>
                  <a:gd name="connsiteX35" fmla="*/ 350507 w 1416191"/>
                  <a:gd name="connsiteY35" fmla="*/ 10621 h 2719086"/>
                  <a:gd name="connsiteX36" fmla="*/ 262704 w 1416191"/>
                  <a:gd name="connsiteY36" fmla="*/ 57356 h 2719086"/>
                  <a:gd name="connsiteX37" fmla="*/ 262704 w 1416191"/>
                  <a:gd name="connsiteY37" fmla="*/ 57356 h 2719086"/>
                  <a:gd name="connsiteX38" fmla="*/ 264120 w 1416191"/>
                  <a:gd name="connsiteY38" fmla="*/ 87096 h 2719086"/>
                  <a:gd name="connsiteX39" fmla="*/ 204640 w 1416191"/>
                  <a:gd name="connsiteY39" fmla="*/ 67269 h 2719086"/>
                  <a:gd name="connsiteX40" fmla="*/ 204640 w 1416191"/>
                  <a:gd name="connsiteY40" fmla="*/ 67269 h 2719086"/>
                  <a:gd name="connsiteX41" fmla="*/ 40362 w 1416191"/>
                  <a:gd name="connsiteY41" fmla="*/ 147992 h 2719086"/>
                  <a:gd name="connsiteX42" fmla="*/ 40362 w 1416191"/>
                  <a:gd name="connsiteY42" fmla="*/ 147992 h 2719086"/>
                  <a:gd name="connsiteX43" fmla="*/ 41778 w 1416191"/>
                  <a:gd name="connsiteY43" fmla="*/ 149408 h 2719086"/>
                  <a:gd name="connsiteX44" fmla="*/ 206056 w 1416191"/>
                  <a:gd name="connsiteY44" fmla="*/ 68685 h 2719086"/>
                  <a:gd name="connsiteX45" fmla="*/ 265536 w 1416191"/>
                  <a:gd name="connsiteY45" fmla="*/ 88512 h 2719086"/>
                  <a:gd name="connsiteX46" fmla="*/ 266952 w 1416191"/>
                  <a:gd name="connsiteY46" fmla="*/ 167819 h 2719086"/>
                  <a:gd name="connsiteX47" fmla="*/ 201807 w 1416191"/>
                  <a:gd name="connsiteY47" fmla="*/ 292443 h 2719086"/>
                  <a:gd name="connsiteX48" fmla="*/ 121084 w 1416191"/>
                  <a:gd name="connsiteY48" fmla="*/ 266952 h 2719086"/>
                  <a:gd name="connsiteX49" fmla="*/ 186229 w 1416191"/>
                  <a:gd name="connsiteY49" fmla="*/ 320767 h 2719086"/>
                  <a:gd name="connsiteX50" fmla="*/ 130998 w 1416191"/>
                  <a:gd name="connsiteY50" fmla="*/ 425565 h 2719086"/>
                  <a:gd name="connsiteX51" fmla="*/ 101258 w 1416191"/>
                  <a:gd name="connsiteY51" fmla="*/ 383079 h 2719086"/>
                  <a:gd name="connsiteX52" fmla="*/ 101258 w 1416191"/>
                  <a:gd name="connsiteY52" fmla="*/ 383079 h 2719086"/>
                  <a:gd name="connsiteX53" fmla="*/ 10621 w 1416191"/>
                  <a:gd name="connsiteY53" fmla="*/ 630913 h 2719086"/>
                  <a:gd name="connsiteX54" fmla="*/ 10621 w 1416191"/>
                  <a:gd name="connsiteY54" fmla="*/ 630913 h 2719086"/>
                  <a:gd name="connsiteX55" fmla="*/ 189062 w 1416191"/>
                  <a:gd name="connsiteY55" fmla="*/ 510537 h 2719086"/>
                  <a:gd name="connsiteX56" fmla="*/ 288195 w 1416191"/>
                  <a:gd name="connsiteY56" fmla="*/ 653572 h 2719086"/>
                  <a:gd name="connsiteX57" fmla="*/ 225883 w 1416191"/>
                  <a:gd name="connsiteY57" fmla="*/ 690393 h 2719086"/>
                  <a:gd name="connsiteX58" fmla="*/ 143744 w 1416191"/>
                  <a:gd name="connsiteY58" fmla="*/ 647907 h 2719086"/>
                  <a:gd name="connsiteX59" fmla="*/ 143744 w 1416191"/>
                  <a:gd name="connsiteY59" fmla="*/ 647907 h 2719086"/>
                  <a:gd name="connsiteX60" fmla="*/ 160738 w 1416191"/>
                  <a:gd name="connsiteY60" fmla="*/ 728630 h 2719086"/>
                  <a:gd name="connsiteX61" fmla="*/ 89928 w 1416191"/>
                  <a:gd name="connsiteY61" fmla="*/ 771116 h 2719086"/>
                  <a:gd name="connsiteX62" fmla="*/ 172067 w 1416191"/>
                  <a:gd name="connsiteY62" fmla="*/ 782445 h 2719086"/>
                  <a:gd name="connsiteX63" fmla="*/ 198975 w 1416191"/>
                  <a:gd name="connsiteY63" fmla="*/ 909903 h 2719086"/>
                  <a:gd name="connsiteX64" fmla="*/ 198975 w 1416191"/>
                  <a:gd name="connsiteY64" fmla="*/ 909903 h 2719086"/>
                  <a:gd name="connsiteX65" fmla="*/ 289611 w 1416191"/>
                  <a:gd name="connsiteY65" fmla="*/ 798024 h 2719086"/>
                  <a:gd name="connsiteX66" fmla="*/ 349091 w 1416191"/>
                  <a:gd name="connsiteY66" fmla="*/ 806521 h 2719086"/>
                  <a:gd name="connsiteX67" fmla="*/ 344843 w 1416191"/>
                  <a:gd name="connsiteY67" fmla="*/ 986377 h 2719086"/>
                  <a:gd name="connsiteX68" fmla="*/ 344843 w 1416191"/>
                  <a:gd name="connsiteY68" fmla="*/ 986377 h 2719086"/>
                  <a:gd name="connsiteX69" fmla="*/ 584179 w 1416191"/>
                  <a:gd name="connsiteY69" fmla="*/ 880163 h 2719086"/>
                  <a:gd name="connsiteX70" fmla="*/ 598341 w 1416191"/>
                  <a:gd name="connsiteY70" fmla="*/ 986377 h 2719086"/>
                  <a:gd name="connsiteX71" fmla="*/ 561520 w 1416191"/>
                  <a:gd name="connsiteY71" fmla="*/ 1020365 h 2719086"/>
                  <a:gd name="connsiteX72" fmla="*/ 241461 w 1416191"/>
                  <a:gd name="connsiteY72" fmla="*/ 1033111 h 2719086"/>
                  <a:gd name="connsiteX73" fmla="*/ 241461 w 1416191"/>
                  <a:gd name="connsiteY73" fmla="*/ 1033111 h 2719086"/>
                  <a:gd name="connsiteX74" fmla="*/ 353340 w 1416191"/>
                  <a:gd name="connsiteY74" fmla="*/ 1126580 h 2719086"/>
                  <a:gd name="connsiteX75" fmla="*/ 422733 w 1416191"/>
                  <a:gd name="connsiteY75" fmla="*/ 1147823 h 2719086"/>
                  <a:gd name="connsiteX76" fmla="*/ 361837 w 1416191"/>
                  <a:gd name="connsiteY76" fmla="*/ 1204470 h 2719086"/>
                  <a:gd name="connsiteX77" fmla="*/ 361837 w 1416191"/>
                  <a:gd name="connsiteY77" fmla="*/ 1204470 h 2719086"/>
                  <a:gd name="connsiteX78" fmla="*/ 363253 w 1416191"/>
                  <a:gd name="connsiteY78" fmla="*/ 1205886 h 2719086"/>
                  <a:gd name="connsiteX79" fmla="*/ 449641 w 1416191"/>
                  <a:gd name="connsiteY79" fmla="*/ 1156320 h 2719086"/>
                  <a:gd name="connsiteX80" fmla="*/ 572850 w 1416191"/>
                  <a:gd name="connsiteY80" fmla="*/ 1193141 h 2719086"/>
                  <a:gd name="connsiteX81" fmla="*/ 553023 w 1416191"/>
                  <a:gd name="connsiteY81" fmla="*/ 1238459 h 2719086"/>
                  <a:gd name="connsiteX82" fmla="*/ 449641 w 1416191"/>
                  <a:gd name="connsiteY82" fmla="*/ 1288026 h 2719086"/>
                  <a:gd name="connsiteX83" fmla="*/ 368918 w 1416191"/>
                  <a:gd name="connsiteY83" fmla="*/ 1330511 h 2719086"/>
                  <a:gd name="connsiteX84" fmla="*/ 368918 w 1416191"/>
                  <a:gd name="connsiteY84" fmla="*/ 1330511 h 2719086"/>
                  <a:gd name="connsiteX85" fmla="*/ 336345 w 1416191"/>
                  <a:gd name="connsiteY85" fmla="*/ 1463633 h 2719086"/>
                  <a:gd name="connsiteX86" fmla="*/ 336345 w 1416191"/>
                  <a:gd name="connsiteY86" fmla="*/ 1463633 h 2719086"/>
                  <a:gd name="connsiteX87" fmla="*/ 435479 w 1416191"/>
                  <a:gd name="connsiteY87" fmla="*/ 1497622 h 2719086"/>
                  <a:gd name="connsiteX88" fmla="*/ 385912 w 1416191"/>
                  <a:gd name="connsiteY88" fmla="*/ 1605252 h 2719086"/>
                  <a:gd name="connsiteX89" fmla="*/ 333513 w 1416191"/>
                  <a:gd name="connsiteY89" fmla="*/ 1584010 h 2719086"/>
                  <a:gd name="connsiteX90" fmla="*/ 333513 w 1416191"/>
                  <a:gd name="connsiteY90" fmla="*/ 1584010 h 2719086"/>
                  <a:gd name="connsiteX91" fmla="*/ 332097 w 1416191"/>
                  <a:gd name="connsiteY91" fmla="*/ 1585426 h 2719086"/>
                  <a:gd name="connsiteX92" fmla="*/ 381664 w 1416191"/>
                  <a:gd name="connsiteY92" fmla="*/ 1612333 h 2719086"/>
                  <a:gd name="connsiteX93" fmla="*/ 342010 w 1416191"/>
                  <a:gd name="connsiteY93" fmla="*/ 1698721 h 2719086"/>
                  <a:gd name="connsiteX94" fmla="*/ 342010 w 1416191"/>
                  <a:gd name="connsiteY94" fmla="*/ 1698721 h 2719086"/>
                  <a:gd name="connsiteX95" fmla="*/ 448225 w 1416191"/>
                  <a:gd name="connsiteY95" fmla="*/ 1646322 h 2719086"/>
                  <a:gd name="connsiteX96" fmla="*/ 509121 w 1416191"/>
                  <a:gd name="connsiteY96" fmla="*/ 1678894 h 2719086"/>
                  <a:gd name="connsiteX97" fmla="*/ 509121 w 1416191"/>
                  <a:gd name="connsiteY97" fmla="*/ 1678894 h 2719086"/>
                  <a:gd name="connsiteX98" fmla="*/ 544526 w 1416191"/>
                  <a:gd name="connsiteY98" fmla="*/ 1663316 h 2719086"/>
                  <a:gd name="connsiteX99" fmla="*/ 534612 w 1416191"/>
                  <a:gd name="connsiteY99" fmla="*/ 1719964 h 2719086"/>
                  <a:gd name="connsiteX100" fmla="*/ 350507 w 1416191"/>
                  <a:gd name="connsiteY100" fmla="*/ 1751120 h 2719086"/>
                  <a:gd name="connsiteX101" fmla="*/ 350507 w 1416191"/>
                  <a:gd name="connsiteY101" fmla="*/ 1751120 h 2719086"/>
                  <a:gd name="connsiteX102" fmla="*/ 351924 w 1416191"/>
                  <a:gd name="connsiteY102" fmla="*/ 1916814 h 2719086"/>
                  <a:gd name="connsiteX103" fmla="*/ 268368 w 1416191"/>
                  <a:gd name="connsiteY103" fmla="*/ 1912566 h 2719086"/>
                  <a:gd name="connsiteX104" fmla="*/ 268368 w 1416191"/>
                  <a:gd name="connsiteY104" fmla="*/ 1912566 h 2719086"/>
                  <a:gd name="connsiteX105" fmla="*/ 295276 w 1416191"/>
                  <a:gd name="connsiteY105" fmla="*/ 1991872 h 2719086"/>
                  <a:gd name="connsiteX106" fmla="*/ 240045 w 1416191"/>
                  <a:gd name="connsiteY106" fmla="*/ 1984791 h 2719086"/>
                  <a:gd name="connsiteX107" fmla="*/ 240045 w 1416191"/>
                  <a:gd name="connsiteY107" fmla="*/ 1984791 h 2719086"/>
                  <a:gd name="connsiteX108" fmla="*/ 308022 w 1416191"/>
                  <a:gd name="connsiteY108" fmla="*/ 2054185 h 2719086"/>
                  <a:gd name="connsiteX109" fmla="*/ 264120 w 1416191"/>
                  <a:gd name="connsiteY109" fmla="*/ 2228376 h 2719086"/>
                  <a:gd name="connsiteX110" fmla="*/ 264120 w 1416191"/>
                  <a:gd name="connsiteY110" fmla="*/ 2228376 h 2719086"/>
                  <a:gd name="connsiteX111" fmla="*/ 317935 w 1416191"/>
                  <a:gd name="connsiteY111" fmla="*/ 2252451 h 2719086"/>
                  <a:gd name="connsiteX112" fmla="*/ 249958 w 1416191"/>
                  <a:gd name="connsiteY112" fmla="*/ 2319013 h 2719086"/>
                  <a:gd name="connsiteX113" fmla="*/ 249958 w 1416191"/>
                  <a:gd name="connsiteY113" fmla="*/ 2319013 h 2719086"/>
                  <a:gd name="connsiteX114" fmla="*/ 285363 w 1416191"/>
                  <a:gd name="connsiteY114" fmla="*/ 2429475 h 2719086"/>
                  <a:gd name="connsiteX115" fmla="*/ 164986 w 1416191"/>
                  <a:gd name="connsiteY115" fmla="*/ 2432308 h 2719086"/>
                  <a:gd name="connsiteX116" fmla="*/ 164986 w 1416191"/>
                  <a:gd name="connsiteY116" fmla="*/ 2432308 h 2719086"/>
                  <a:gd name="connsiteX117" fmla="*/ 218802 w 1416191"/>
                  <a:gd name="connsiteY117" fmla="*/ 2498869 h 2719086"/>
                  <a:gd name="connsiteX118" fmla="*/ 218802 w 1416191"/>
                  <a:gd name="connsiteY118" fmla="*/ 2498869 h 2719086"/>
                  <a:gd name="connsiteX119" fmla="*/ 288195 w 1416191"/>
                  <a:gd name="connsiteY119" fmla="*/ 2433724 h 2719086"/>
                  <a:gd name="connsiteX120" fmla="*/ 306606 w 1416191"/>
                  <a:gd name="connsiteY120" fmla="*/ 2490372 h 2719086"/>
                  <a:gd name="connsiteX121" fmla="*/ 228715 w 1416191"/>
                  <a:gd name="connsiteY121" fmla="*/ 2633407 h 2719086"/>
                  <a:gd name="connsiteX122" fmla="*/ 228715 w 1416191"/>
                  <a:gd name="connsiteY122" fmla="*/ 2633407 h 2719086"/>
                  <a:gd name="connsiteX123" fmla="*/ 344843 w 1416191"/>
                  <a:gd name="connsiteY123" fmla="*/ 2610748 h 2719086"/>
                  <a:gd name="connsiteX124" fmla="*/ 356172 w 1416191"/>
                  <a:gd name="connsiteY124" fmla="*/ 2648985 h 2719086"/>
                  <a:gd name="connsiteX125" fmla="*/ 325016 w 1416191"/>
                  <a:gd name="connsiteY125" fmla="*/ 2639072 h 2719086"/>
                  <a:gd name="connsiteX126" fmla="*/ 223050 w 1416191"/>
                  <a:gd name="connsiteY126" fmla="*/ 2637655 h 2719086"/>
                  <a:gd name="connsiteX127" fmla="*/ 221634 w 1416191"/>
                  <a:gd name="connsiteY127" fmla="*/ 2637655 h 2719086"/>
                  <a:gd name="connsiteX128" fmla="*/ 366086 w 1416191"/>
                  <a:gd name="connsiteY128" fmla="*/ 2708465 h 2719086"/>
                  <a:gd name="connsiteX129" fmla="*/ 366086 w 1416191"/>
                  <a:gd name="connsiteY129" fmla="*/ 2708465 h 2719086"/>
                  <a:gd name="connsiteX130" fmla="*/ 350507 w 1416191"/>
                  <a:gd name="connsiteY130" fmla="*/ 2657482 h 2719086"/>
                  <a:gd name="connsiteX131" fmla="*/ 452473 w 1416191"/>
                  <a:gd name="connsiteY131" fmla="*/ 2690055 h 2719086"/>
                  <a:gd name="connsiteX132" fmla="*/ 452473 w 1416191"/>
                  <a:gd name="connsiteY132" fmla="*/ 2690055 h 2719086"/>
                  <a:gd name="connsiteX133" fmla="*/ 390161 w 1416191"/>
                  <a:gd name="connsiteY133" fmla="*/ 2603667 h 2719086"/>
                  <a:gd name="connsiteX134" fmla="*/ 390161 w 1416191"/>
                  <a:gd name="connsiteY134" fmla="*/ 2603667 h 2719086"/>
                  <a:gd name="connsiteX135" fmla="*/ 336345 w 1416191"/>
                  <a:gd name="connsiteY135" fmla="*/ 2613580 h 2719086"/>
                  <a:gd name="connsiteX136" fmla="*/ 299525 w 1416191"/>
                  <a:gd name="connsiteY136" fmla="*/ 2494620 h 2719086"/>
                  <a:gd name="connsiteX137" fmla="*/ 303773 w 1416191"/>
                  <a:gd name="connsiteY137" fmla="*/ 2486123 h 2719086"/>
                  <a:gd name="connsiteX138" fmla="*/ 330681 w 1416191"/>
                  <a:gd name="connsiteY138" fmla="*/ 2573927 h 2719086"/>
                  <a:gd name="connsiteX139" fmla="*/ 330681 w 1416191"/>
                  <a:gd name="connsiteY139" fmla="*/ 2575343 h 2719086"/>
                  <a:gd name="connsiteX140" fmla="*/ 337762 w 1416191"/>
                  <a:gd name="connsiteY140" fmla="*/ 2449302 h 2719086"/>
                  <a:gd name="connsiteX141" fmla="*/ 373167 w 1416191"/>
                  <a:gd name="connsiteY141" fmla="*/ 2432308 h 2719086"/>
                  <a:gd name="connsiteX142" fmla="*/ 401490 w 1416191"/>
                  <a:gd name="connsiteY142" fmla="*/ 2430892 h 2719086"/>
                  <a:gd name="connsiteX143" fmla="*/ 490710 w 1416191"/>
                  <a:gd name="connsiteY143" fmla="*/ 2374244 h 2719086"/>
                  <a:gd name="connsiteX144" fmla="*/ 490710 w 1416191"/>
                  <a:gd name="connsiteY144" fmla="*/ 2374244 h 2719086"/>
                  <a:gd name="connsiteX145" fmla="*/ 489294 w 1416191"/>
                  <a:gd name="connsiteY145" fmla="*/ 2372828 h 2719086"/>
                  <a:gd name="connsiteX146" fmla="*/ 371750 w 1416191"/>
                  <a:gd name="connsiteY146" fmla="*/ 2430892 h 2719086"/>
                  <a:gd name="connsiteX147" fmla="*/ 337762 w 1416191"/>
                  <a:gd name="connsiteY147" fmla="*/ 2432308 h 2719086"/>
                  <a:gd name="connsiteX148" fmla="*/ 340594 w 1416191"/>
                  <a:gd name="connsiteY148" fmla="*/ 2381325 h 2719086"/>
                  <a:gd name="connsiteX149" fmla="*/ 421317 w 1416191"/>
                  <a:gd name="connsiteY149" fmla="*/ 2304851 h 2719086"/>
                  <a:gd name="connsiteX150" fmla="*/ 421317 w 1416191"/>
                  <a:gd name="connsiteY150" fmla="*/ 2304851 h 2719086"/>
                  <a:gd name="connsiteX151" fmla="*/ 343426 w 1416191"/>
                  <a:gd name="connsiteY151" fmla="*/ 2313348 h 2719086"/>
                  <a:gd name="connsiteX152" fmla="*/ 346259 w 1416191"/>
                  <a:gd name="connsiteY152" fmla="*/ 2272278 h 2719086"/>
                  <a:gd name="connsiteX153" fmla="*/ 414236 w 1416191"/>
                  <a:gd name="connsiteY153" fmla="*/ 2302018 h 2719086"/>
                  <a:gd name="connsiteX154" fmla="*/ 414236 w 1416191"/>
                  <a:gd name="connsiteY154" fmla="*/ 2302018 h 2719086"/>
                  <a:gd name="connsiteX155" fmla="*/ 409988 w 1416191"/>
                  <a:gd name="connsiteY155" fmla="*/ 2184474 h 2719086"/>
                  <a:gd name="connsiteX156" fmla="*/ 421317 w 1416191"/>
                  <a:gd name="connsiteY156" fmla="*/ 2178810 h 2719086"/>
                  <a:gd name="connsiteX157" fmla="*/ 462387 w 1416191"/>
                  <a:gd name="connsiteY157" fmla="*/ 2219879 h 2719086"/>
                  <a:gd name="connsiteX158" fmla="*/ 462387 w 1416191"/>
                  <a:gd name="connsiteY158" fmla="*/ 2219879 h 2719086"/>
                  <a:gd name="connsiteX159" fmla="*/ 494959 w 1416191"/>
                  <a:gd name="connsiteY159" fmla="*/ 2140572 h 2719086"/>
                  <a:gd name="connsiteX160" fmla="*/ 494959 w 1416191"/>
                  <a:gd name="connsiteY160" fmla="*/ 2140572 h 2719086"/>
                  <a:gd name="connsiteX161" fmla="*/ 421317 w 1416191"/>
                  <a:gd name="connsiteY161" fmla="*/ 2175977 h 2719086"/>
                  <a:gd name="connsiteX162" fmla="*/ 408571 w 1416191"/>
                  <a:gd name="connsiteY162" fmla="*/ 2163232 h 2719086"/>
                  <a:gd name="connsiteX163" fmla="*/ 408571 w 1416191"/>
                  <a:gd name="connsiteY163" fmla="*/ 2158983 h 2719086"/>
                  <a:gd name="connsiteX164" fmla="*/ 533196 w 1416191"/>
                  <a:gd name="connsiteY164" fmla="*/ 2035774 h 2719086"/>
                  <a:gd name="connsiteX165" fmla="*/ 533196 w 1416191"/>
                  <a:gd name="connsiteY165" fmla="*/ 2035774 h 2719086"/>
                  <a:gd name="connsiteX166" fmla="*/ 534612 w 1416191"/>
                  <a:gd name="connsiteY166" fmla="*/ 2027277 h 2719086"/>
                  <a:gd name="connsiteX167" fmla="*/ 543110 w 1416191"/>
                  <a:gd name="connsiteY167" fmla="*/ 2028693 h 2719086"/>
                  <a:gd name="connsiteX168" fmla="*/ 544526 w 1416191"/>
                  <a:gd name="connsiteY168" fmla="*/ 2028693 h 2719086"/>
                  <a:gd name="connsiteX169" fmla="*/ 536029 w 1416191"/>
                  <a:gd name="connsiteY169" fmla="*/ 2023029 h 2719086"/>
                  <a:gd name="connsiteX170" fmla="*/ 550190 w 1416191"/>
                  <a:gd name="connsiteY170" fmla="*/ 1930976 h 2719086"/>
                  <a:gd name="connsiteX171" fmla="*/ 626665 w 1416191"/>
                  <a:gd name="connsiteY171" fmla="*/ 1935225 h 2719086"/>
                  <a:gd name="connsiteX172" fmla="*/ 626665 w 1416191"/>
                  <a:gd name="connsiteY172" fmla="*/ 1935225 h 2719086"/>
                  <a:gd name="connsiteX173" fmla="*/ 628081 w 1416191"/>
                  <a:gd name="connsiteY173" fmla="*/ 1844589 h 2719086"/>
                  <a:gd name="connsiteX174" fmla="*/ 660653 w 1416191"/>
                  <a:gd name="connsiteY174" fmla="*/ 1844589 h 2719086"/>
                  <a:gd name="connsiteX175" fmla="*/ 691810 w 1416191"/>
                  <a:gd name="connsiteY175" fmla="*/ 1952219 h 2719086"/>
                  <a:gd name="connsiteX176" fmla="*/ 691810 w 1416191"/>
                  <a:gd name="connsiteY176" fmla="*/ 1953635 h 2719086"/>
                  <a:gd name="connsiteX177" fmla="*/ 704555 w 1416191"/>
                  <a:gd name="connsiteY177" fmla="*/ 1860167 h 2719086"/>
                  <a:gd name="connsiteX178" fmla="*/ 660653 w 1416191"/>
                  <a:gd name="connsiteY178" fmla="*/ 2555517 h 2719086"/>
                  <a:gd name="connsiteX179" fmla="*/ 660653 w 1416191"/>
                  <a:gd name="connsiteY179" fmla="*/ 2555517 h 2719086"/>
                  <a:gd name="connsiteX180" fmla="*/ 662069 w 1416191"/>
                  <a:gd name="connsiteY180" fmla="*/ 2555517 h 2719086"/>
                  <a:gd name="connsiteX181" fmla="*/ 662069 w 1416191"/>
                  <a:gd name="connsiteY181" fmla="*/ 2555517 h 2719086"/>
                  <a:gd name="connsiteX182" fmla="*/ 720133 w 1416191"/>
                  <a:gd name="connsiteY182" fmla="*/ 1626495 h 2719086"/>
                  <a:gd name="connsiteX183" fmla="*/ 754122 w 1416191"/>
                  <a:gd name="connsiteY183" fmla="*/ 1744039 h 2719086"/>
                  <a:gd name="connsiteX184" fmla="*/ 713052 w 1416191"/>
                  <a:gd name="connsiteY184" fmla="*/ 1789357 h 2719086"/>
                  <a:gd name="connsiteX185" fmla="*/ 713052 w 1416191"/>
                  <a:gd name="connsiteY185" fmla="*/ 1789357 h 2719086"/>
                  <a:gd name="connsiteX186" fmla="*/ 772532 w 1416191"/>
                  <a:gd name="connsiteY186" fmla="*/ 1800687 h 2719086"/>
                  <a:gd name="connsiteX187" fmla="*/ 772532 w 1416191"/>
                  <a:gd name="connsiteY187" fmla="*/ 1800687 h 2719086"/>
                  <a:gd name="connsiteX188" fmla="*/ 756954 w 1416191"/>
                  <a:gd name="connsiteY188" fmla="*/ 1744039 h 2719086"/>
                  <a:gd name="connsiteX189" fmla="*/ 850423 w 1416191"/>
                  <a:gd name="connsiteY189" fmla="*/ 1642073 h 2719086"/>
                  <a:gd name="connsiteX190" fmla="*/ 880163 w 1416191"/>
                  <a:gd name="connsiteY190" fmla="*/ 1651987 h 2719086"/>
                  <a:gd name="connsiteX191" fmla="*/ 880163 w 1416191"/>
                  <a:gd name="connsiteY191" fmla="*/ 1651987 h 2719086"/>
                  <a:gd name="connsiteX192" fmla="*/ 966551 w 1416191"/>
                  <a:gd name="connsiteY192" fmla="*/ 1513200 h 2719086"/>
                  <a:gd name="connsiteX193" fmla="*/ 1119499 w 1416191"/>
                  <a:gd name="connsiteY193" fmla="*/ 1346089 h 2719086"/>
                  <a:gd name="connsiteX194" fmla="*/ 1119499 w 1416191"/>
                  <a:gd name="connsiteY194" fmla="*/ 1346089 h 2719086"/>
                  <a:gd name="connsiteX195" fmla="*/ 1118083 w 1416191"/>
                  <a:gd name="connsiteY195" fmla="*/ 1344673 h 2719086"/>
                  <a:gd name="connsiteX196" fmla="*/ 1027447 w 1416191"/>
                  <a:gd name="connsiteY196" fmla="*/ 1412650 h 2719086"/>
                  <a:gd name="connsiteX197" fmla="*/ 965135 w 1416191"/>
                  <a:gd name="connsiteY197" fmla="*/ 1511784 h 2719086"/>
                  <a:gd name="connsiteX198" fmla="*/ 849007 w 1416191"/>
                  <a:gd name="connsiteY198" fmla="*/ 1639241 h 2719086"/>
                  <a:gd name="connsiteX199" fmla="*/ 713052 w 1416191"/>
                  <a:gd name="connsiteY199" fmla="*/ 1592507 h 2719086"/>
                  <a:gd name="connsiteX200" fmla="*/ 713052 w 1416191"/>
                  <a:gd name="connsiteY200" fmla="*/ 1592507 h 2719086"/>
                  <a:gd name="connsiteX201" fmla="*/ 705972 w 1416191"/>
                  <a:gd name="connsiteY201" fmla="*/ 1589674 h 2719086"/>
                  <a:gd name="connsiteX202" fmla="*/ 756954 w 1416191"/>
                  <a:gd name="connsiteY202" fmla="*/ 1567015 h 2719086"/>
                  <a:gd name="connsiteX203" fmla="*/ 812186 w 1416191"/>
                  <a:gd name="connsiteY203" fmla="*/ 1591091 h 2719086"/>
                  <a:gd name="connsiteX204" fmla="*/ 812186 w 1416191"/>
                  <a:gd name="connsiteY204" fmla="*/ 1591091 h 2719086"/>
                  <a:gd name="connsiteX205" fmla="*/ 796608 w 1416191"/>
                  <a:gd name="connsiteY205" fmla="*/ 1548605 h 2719086"/>
                  <a:gd name="connsiteX206" fmla="*/ 853255 w 1416191"/>
                  <a:gd name="connsiteY206" fmla="*/ 1588258 h 2719086"/>
                  <a:gd name="connsiteX207" fmla="*/ 853255 w 1416191"/>
                  <a:gd name="connsiteY207" fmla="*/ 1588258 h 2719086"/>
                  <a:gd name="connsiteX208" fmla="*/ 943892 w 1416191"/>
                  <a:gd name="connsiteY208" fmla="*/ 1479212 h 2719086"/>
                  <a:gd name="connsiteX209" fmla="*/ 943892 w 1416191"/>
                  <a:gd name="connsiteY209" fmla="*/ 1477795 h 2719086"/>
                  <a:gd name="connsiteX210" fmla="*/ 796608 w 1416191"/>
                  <a:gd name="connsiteY210" fmla="*/ 1545772 h 2719086"/>
                  <a:gd name="connsiteX211" fmla="*/ 795192 w 1416191"/>
                  <a:gd name="connsiteY211" fmla="*/ 1544356 h 2719086"/>
                  <a:gd name="connsiteX212" fmla="*/ 773949 w 1416191"/>
                  <a:gd name="connsiteY212" fmla="*/ 1486292 h 2719086"/>
                  <a:gd name="connsiteX213" fmla="*/ 1201639 w 1416191"/>
                  <a:gd name="connsiteY213" fmla="*/ 1275280 h 2719086"/>
                  <a:gd name="connsiteX214" fmla="*/ 1201639 w 1416191"/>
                  <a:gd name="connsiteY214" fmla="*/ 1275280 h 2719086"/>
                  <a:gd name="connsiteX215" fmla="*/ 1061436 w 1416191"/>
                  <a:gd name="connsiteY215" fmla="*/ 1142158 h 2719086"/>
                  <a:gd name="connsiteX216" fmla="*/ 1256870 w 1416191"/>
                  <a:gd name="connsiteY216" fmla="*/ 1154903 h 2719086"/>
                  <a:gd name="connsiteX217" fmla="*/ 1256870 w 1416191"/>
                  <a:gd name="connsiteY217" fmla="*/ 1154903 h 2719086"/>
                  <a:gd name="connsiteX218" fmla="*/ 1288026 w 1416191"/>
                  <a:gd name="connsiteY218" fmla="*/ 994874 h 2719086"/>
                  <a:gd name="connsiteX219" fmla="*/ 1324847 w 1416191"/>
                  <a:gd name="connsiteY219" fmla="*/ 993458 h 2719086"/>
                  <a:gd name="connsiteX220" fmla="*/ 1324847 w 1416191"/>
                  <a:gd name="connsiteY220" fmla="*/ 993458 h 2719086"/>
                  <a:gd name="connsiteX221" fmla="*/ 1324847 w 1416191"/>
                  <a:gd name="connsiteY221" fmla="*/ 992042 h 2719086"/>
                  <a:gd name="connsiteX222" fmla="*/ 1288026 w 1416191"/>
                  <a:gd name="connsiteY222" fmla="*/ 987793 h 2719086"/>
                  <a:gd name="connsiteX223" fmla="*/ 1314934 w 1416191"/>
                  <a:gd name="connsiteY223" fmla="*/ 843341 h 2719086"/>
                  <a:gd name="connsiteX224" fmla="*/ 1416900 w 1416191"/>
                  <a:gd name="connsiteY224" fmla="*/ 761203 h 2719086"/>
                  <a:gd name="connsiteX225" fmla="*/ 1416900 w 1416191"/>
                  <a:gd name="connsiteY225" fmla="*/ 761203 h 2719086"/>
                  <a:gd name="connsiteX226" fmla="*/ 1238460 w 1416191"/>
                  <a:gd name="connsiteY226" fmla="*/ 790943 h 2719086"/>
                  <a:gd name="connsiteX227" fmla="*/ 1330512 w 1416191"/>
                  <a:gd name="connsiteY227" fmla="*/ 660653 h 2719086"/>
                  <a:gd name="connsiteX228" fmla="*/ 799440 w 1416191"/>
                  <a:gd name="connsiteY228" fmla="*/ 1547189 h 2719086"/>
                  <a:gd name="connsiteX229" fmla="*/ 938227 w 1416191"/>
                  <a:gd name="connsiteY229" fmla="*/ 1483460 h 2719086"/>
                  <a:gd name="connsiteX230" fmla="*/ 854672 w 1416191"/>
                  <a:gd name="connsiteY230" fmla="*/ 1585426 h 2719086"/>
                  <a:gd name="connsiteX231" fmla="*/ 799440 w 1416191"/>
                  <a:gd name="connsiteY231" fmla="*/ 1547189 h 2719086"/>
                  <a:gd name="connsiteX232" fmla="*/ 425566 w 1416191"/>
                  <a:gd name="connsiteY232" fmla="*/ 2178810 h 2719086"/>
                  <a:gd name="connsiteX233" fmla="*/ 493543 w 1416191"/>
                  <a:gd name="connsiteY233" fmla="*/ 2146237 h 2719086"/>
                  <a:gd name="connsiteX234" fmla="*/ 463803 w 1416191"/>
                  <a:gd name="connsiteY234" fmla="*/ 2218463 h 2719086"/>
                  <a:gd name="connsiteX235" fmla="*/ 425566 w 1416191"/>
                  <a:gd name="connsiteY235" fmla="*/ 2178810 h 2719086"/>
                  <a:gd name="connsiteX236" fmla="*/ 337762 w 1416191"/>
                  <a:gd name="connsiteY236" fmla="*/ 2449302 h 2719086"/>
                  <a:gd name="connsiteX237" fmla="*/ 339178 w 1416191"/>
                  <a:gd name="connsiteY237" fmla="*/ 2435140 h 2719086"/>
                  <a:gd name="connsiteX238" fmla="*/ 368918 w 1416191"/>
                  <a:gd name="connsiteY238" fmla="*/ 2433724 h 2719086"/>
                  <a:gd name="connsiteX239" fmla="*/ 337762 w 1416191"/>
                  <a:gd name="connsiteY239" fmla="*/ 2449302 h 2719086"/>
                  <a:gd name="connsiteX240" fmla="*/ 223050 w 1416191"/>
                  <a:gd name="connsiteY240" fmla="*/ 2646153 h 2719086"/>
                  <a:gd name="connsiteX241" fmla="*/ 315103 w 1416191"/>
                  <a:gd name="connsiteY241" fmla="*/ 2647569 h 2719086"/>
                  <a:gd name="connsiteX242" fmla="*/ 347675 w 1416191"/>
                  <a:gd name="connsiteY242" fmla="*/ 2657482 h 2719086"/>
                  <a:gd name="connsiteX243" fmla="*/ 363253 w 1416191"/>
                  <a:gd name="connsiteY243" fmla="*/ 2705632 h 2719086"/>
                  <a:gd name="connsiteX244" fmla="*/ 223050 w 1416191"/>
                  <a:gd name="connsiteY244" fmla="*/ 2646153 h 2719086"/>
                  <a:gd name="connsiteX245" fmla="*/ 350507 w 1416191"/>
                  <a:gd name="connsiteY245" fmla="*/ 2656066 h 2719086"/>
                  <a:gd name="connsiteX246" fmla="*/ 337762 w 1416191"/>
                  <a:gd name="connsiteY246" fmla="*/ 2616413 h 2719086"/>
                  <a:gd name="connsiteX247" fmla="*/ 390161 w 1416191"/>
                  <a:gd name="connsiteY247" fmla="*/ 2606499 h 2719086"/>
                  <a:gd name="connsiteX248" fmla="*/ 448225 w 1416191"/>
                  <a:gd name="connsiteY248" fmla="*/ 2685806 h 2719086"/>
                  <a:gd name="connsiteX249" fmla="*/ 350507 w 1416191"/>
                  <a:gd name="connsiteY249" fmla="*/ 2656066 h 2719086"/>
                  <a:gd name="connsiteX250" fmla="*/ 278282 w 1416191"/>
                  <a:gd name="connsiteY250" fmla="*/ 2437973 h 2719086"/>
                  <a:gd name="connsiteX251" fmla="*/ 210305 w 1416191"/>
                  <a:gd name="connsiteY251" fmla="*/ 2501701 h 2719086"/>
                  <a:gd name="connsiteX252" fmla="*/ 160738 w 1416191"/>
                  <a:gd name="connsiteY252" fmla="*/ 2439389 h 2719086"/>
                  <a:gd name="connsiteX253" fmla="*/ 278282 w 1416191"/>
                  <a:gd name="connsiteY253" fmla="*/ 2437973 h 2719086"/>
                  <a:gd name="connsiteX254" fmla="*/ 278282 w 1416191"/>
                  <a:gd name="connsiteY254" fmla="*/ 2437973 h 2719086"/>
                  <a:gd name="connsiteX255" fmla="*/ 759787 w 1416191"/>
                  <a:gd name="connsiteY255" fmla="*/ 1564183 h 2719086"/>
                  <a:gd name="connsiteX256" fmla="*/ 795192 w 1416191"/>
                  <a:gd name="connsiteY256" fmla="*/ 1547189 h 2719086"/>
                  <a:gd name="connsiteX257" fmla="*/ 809354 w 1416191"/>
                  <a:gd name="connsiteY257" fmla="*/ 1585426 h 2719086"/>
                  <a:gd name="connsiteX258" fmla="*/ 759787 w 1416191"/>
                  <a:gd name="connsiteY258" fmla="*/ 1564183 h 2719086"/>
                  <a:gd name="connsiteX259" fmla="*/ 717301 w 1416191"/>
                  <a:gd name="connsiteY259" fmla="*/ 1789357 h 2719086"/>
                  <a:gd name="connsiteX260" fmla="*/ 755538 w 1416191"/>
                  <a:gd name="connsiteY260" fmla="*/ 1748288 h 2719086"/>
                  <a:gd name="connsiteX261" fmla="*/ 771116 w 1416191"/>
                  <a:gd name="connsiteY261" fmla="*/ 1799270 h 2719086"/>
                  <a:gd name="connsiteX262" fmla="*/ 717301 w 1416191"/>
                  <a:gd name="connsiteY262" fmla="*/ 1789357 h 2719086"/>
                  <a:gd name="connsiteX263" fmla="*/ 626665 w 1416191"/>
                  <a:gd name="connsiteY263" fmla="*/ 1708634 h 2719086"/>
                  <a:gd name="connsiteX264" fmla="*/ 626665 w 1416191"/>
                  <a:gd name="connsiteY264" fmla="*/ 1728461 h 2719086"/>
                  <a:gd name="connsiteX265" fmla="*/ 621000 w 1416191"/>
                  <a:gd name="connsiteY265" fmla="*/ 1710050 h 2719086"/>
                  <a:gd name="connsiteX266" fmla="*/ 626665 w 1416191"/>
                  <a:gd name="connsiteY266" fmla="*/ 1708634 h 2719086"/>
                  <a:gd name="connsiteX267" fmla="*/ 659237 w 1416191"/>
                  <a:gd name="connsiteY267" fmla="*/ 1844589 h 2719086"/>
                  <a:gd name="connsiteX268" fmla="*/ 628081 w 1416191"/>
                  <a:gd name="connsiteY268" fmla="*/ 1844589 h 2719086"/>
                  <a:gd name="connsiteX269" fmla="*/ 629497 w 1416191"/>
                  <a:gd name="connsiteY269" fmla="*/ 1742623 h 2719086"/>
                  <a:gd name="connsiteX270" fmla="*/ 659237 w 1416191"/>
                  <a:gd name="connsiteY270" fmla="*/ 1844589 h 2719086"/>
                  <a:gd name="connsiteX271" fmla="*/ 562936 w 1416191"/>
                  <a:gd name="connsiteY271" fmla="*/ 1846005 h 2719086"/>
                  <a:gd name="connsiteX272" fmla="*/ 626665 w 1416191"/>
                  <a:gd name="connsiteY272" fmla="*/ 1846005 h 2719086"/>
                  <a:gd name="connsiteX273" fmla="*/ 625249 w 1416191"/>
                  <a:gd name="connsiteY273" fmla="*/ 1935225 h 2719086"/>
                  <a:gd name="connsiteX274" fmla="*/ 550190 w 1416191"/>
                  <a:gd name="connsiteY274" fmla="*/ 1930976 h 2719086"/>
                  <a:gd name="connsiteX275" fmla="*/ 562936 w 1416191"/>
                  <a:gd name="connsiteY275" fmla="*/ 1846005 h 2719086"/>
                  <a:gd name="connsiteX276" fmla="*/ 421317 w 1416191"/>
                  <a:gd name="connsiteY276" fmla="*/ 2178810 h 2719086"/>
                  <a:gd name="connsiteX277" fmla="*/ 411404 w 1416191"/>
                  <a:gd name="connsiteY277" fmla="*/ 2184474 h 2719086"/>
                  <a:gd name="connsiteX278" fmla="*/ 411404 w 1416191"/>
                  <a:gd name="connsiteY278" fmla="*/ 2167480 h 2719086"/>
                  <a:gd name="connsiteX279" fmla="*/ 421317 w 1416191"/>
                  <a:gd name="connsiteY279" fmla="*/ 2178810 h 2719086"/>
                  <a:gd name="connsiteX280" fmla="*/ 317935 w 1416191"/>
                  <a:gd name="connsiteY280" fmla="*/ 2459215 h 2719086"/>
                  <a:gd name="connsiteX281" fmla="*/ 305189 w 1416191"/>
                  <a:gd name="connsiteY281" fmla="*/ 2483291 h 2719086"/>
                  <a:gd name="connsiteX282" fmla="*/ 291027 w 1416191"/>
                  <a:gd name="connsiteY282" fmla="*/ 2436556 h 2719086"/>
                  <a:gd name="connsiteX283" fmla="*/ 336345 w 1416191"/>
                  <a:gd name="connsiteY283" fmla="*/ 2435140 h 2719086"/>
                  <a:gd name="connsiteX284" fmla="*/ 334929 w 1416191"/>
                  <a:gd name="connsiteY284" fmla="*/ 2450718 h 2719086"/>
                  <a:gd name="connsiteX285" fmla="*/ 317935 w 1416191"/>
                  <a:gd name="connsiteY285" fmla="*/ 2459215 h 2719086"/>
                  <a:gd name="connsiteX286" fmla="*/ 305189 w 1416191"/>
                  <a:gd name="connsiteY286" fmla="*/ 2486123 h 2719086"/>
                  <a:gd name="connsiteX287" fmla="*/ 319351 w 1416191"/>
                  <a:gd name="connsiteY287" fmla="*/ 2460632 h 2719086"/>
                  <a:gd name="connsiteX288" fmla="*/ 336345 w 1416191"/>
                  <a:gd name="connsiteY288" fmla="*/ 2452134 h 2719086"/>
                  <a:gd name="connsiteX289" fmla="*/ 330681 w 1416191"/>
                  <a:gd name="connsiteY289" fmla="*/ 2565430 h 2719086"/>
                  <a:gd name="connsiteX290" fmla="*/ 305189 w 1416191"/>
                  <a:gd name="connsiteY290" fmla="*/ 2486123 h 2719086"/>
                  <a:gd name="connsiteX291" fmla="*/ 453889 w 1416191"/>
                  <a:gd name="connsiteY291" fmla="*/ 1640657 h 2719086"/>
                  <a:gd name="connsiteX292" fmla="*/ 439727 w 1416191"/>
                  <a:gd name="connsiteY292" fmla="*/ 1647738 h 2719086"/>
                  <a:gd name="connsiteX293" fmla="*/ 375999 w 1416191"/>
                  <a:gd name="connsiteY293" fmla="*/ 1613750 h 2719086"/>
                  <a:gd name="connsiteX294" fmla="*/ 377415 w 1416191"/>
                  <a:gd name="connsiteY294" fmla="*/ 1609501 h 2719086"/>
                  <a:gd name="connsiteX295" fmla="*/ 453889 w 1416191"/>
                  <a:gd name="connsiteY295" fmla="*/ 1640657 h 2719086"/>
                  <a:gd name="connsiteX296" fmla="*/ 438311 w 1416191"/>
                  <a:gd name="connsiteY296" fmla="*/ 1157736 h 2719086"/>
                  <a:gd name="connsiteX297" fmla="*/ 363253 w 1416191"/>
                  <a:gd name="connsiteY297" fmla="*/ 1201638 h 2719086"/>
                  <a:gd name="connsiteX298" fmla="*/ 418485 w 1416191"/>
                  <a:gd name="connsiteY298" fmla="*/ 1152071 h 2719086"/>
                  <a:gd name="connsiteX299" fmla="*/ 438311 w 1416191"/>
                  <a:gd name="connsiteY299" fmla="*/ 1157736 h 2719086"/>
                  <a:gd name="connsiteX300" fmla="*/ 347675 w 1416191"/>
                  <a:gd name="connsiteY300" fmla="*/ 1127996 h 2719086"/>
                  <a:gd name="connsiteX301" fmla="*/ 240045 w 1416191"/>
                  <a:gd name="connsiteY301" fmla="*/ 1037360 h 2719086"/>
                  <a:gd name="connsiteX302" fmla="*/ 553023 w 1416191"/>
                  <a:gd name="connsiteY302" fmla="*/ 1024614 h 2719086"/>
                  <a:gd name="connsiteX303" fmla="*/ 418485 w 1416191"/>
                  <a:gd name="connsiteY303" fmla="*/ 1149239 h 2719086"/>
                  <a:gd name="connsiteX304" fmla="*/ 347675 w 1416191"/>
                  <a:gd name="connsiteY304" fmla="*/ 1127996 h 2719086"/>
                  <a:gd name="connsiteX305" fmla="*/ 419901 w 1416191"/>
                  <a:gd name="connsiteY305" fmla="*/ 1149239 h 2719086"/>
                  <a:gd name="connsiteX306" fmla="*/ 555855 w 1416191"/>
                  <a:gd name="connsiteY306" fmla="*/ 1024614 h 2719086"/>
                  <a:gd name="connsiteX307" fmla="*/ 674815 w 1416191"/>
                  <a:gd name="connsiteY307" fmla="*/ 1018949 h 2719086"/>
                  <a:gd name="connsiteX308" fmla="*/ 441144 w 1416191"/>
                  <a:gd name="connsiteY308" fmla="*/ 1154903 h 2719086"/>
                  <a:gd name="connsiteX309" fmla="*/ 419901 w 1416191"/>
                  <a:gd name="connsiteY309" fmla="*/ 1149239 h 2719086"/>
                  <a:gd name="connsiteX310" fmla="*/ 326432 w 1416191"/>
                  <a:gd name="connsiteY310" fmla="*/ 747041 h 2719086"/>
                  <a:gd name="connsiteX311" fmla="*/ 283946 w 1416191"/>
                  <a:gd name="connsiteY311" fmla="*/ 799440 h 2719086"/>
                  <a:gd name="connsiteX312" fmla="*/ 169235 w 1416191"/>
                  <a:gd name="connsiteY312" fmla="*/ 782445 h 2719086"/>
                  <a:gd name="connsiteX313" fmla="*/ 159322 w 1416191"/>
                  <a:gd name="connsiteY313" fmla="*/ 731462 h 2719086"/>
                  <a:gd name="connsiteX314" fmla="*/ 223050 w 1416191"/>
                  <a:gd name="connsiteY314" fmla="*/ 694641 h 2719086"/>
                  <a:gd name="connsiteX315" fmla="*/ 326432 w 1416191"/>
                  <a:gd name="connsiteY315" fmla="*/ 747041 h 2719086"/>
                  <a:gd name="connsiteX316" fmla="*/ 1069933 w 1416191"/>
                  <a:gd name="connsiteY316" fmla="*/ 667734 h 2719086"/>
                  <a:gd name="connsiteX317" fmla="*/ 1079846 w 1416191"/>
                  <a:gd name="connsiteY317" fmla="*/ 632329 h 2719086"/>
                  <a:gd name="connsiteX318" fmla="*/ 1079846 w 1416191"/>
                  <a:gd name="connsiteY318" fmla="*/ 664902 h 2719086"/>
                  <a:gd name="connsiteX319" fmla="*/ 1069933 w 1416191"/>
                  <a:gd name="connsiteY319" fmla="*/ 667734 h 2719086"/>
                  <a:gd name="connsiteX320" fmla="*/ 1135078 w 1416191"/>
                  <a:gd name="connsiteY320" fmla="*/ 809353 h 2719086"/>
                  <a:gd name="connsiteX321" fmla="*/ 1126580 w 1416191"/>
                  <a:gd name="connsiteY321" fmla="*/ 679064 h 2719086"/>
                  <a:gd name="connsiteX322" fmla="*/ 1327679 w 1416191"/>
                  <a:gd name="connsiteY322" fmla="*/ 663486 h 2719086"/>
                  <a:gd name="connsiteX323" fmla="*/ 1239876 w 1416191"/>
                  <a:gd name="connsiteY323" fmla="*/ 790943 h 2719086"/>
                  <a:gd name="connsiteX324" fmla="*/ 1135078 w 1416191"/>
                  <a:gd name="connsiteY324" fmla="*/ 809353 h 2719086"/>
                  <a:gd name="connsiteX325" fmla="*/ 1082679 w 1416191"/>
                  <a:gd name="connsiteY325" fmla="*/ 965134 h 2719086"/>
                  <a:gd name="connsiteX326" fmla="*/ 1082679 w 1416191"/>
                  <a:gd name="connsiteY326" fmla="*/ 680480 h 2719086"/>
                  <a:gd name="connsiteX327" fmla="*/ 1125164 w 1416191"/>
                  <a:gd name="connsiteY327" fmla="*/ 677647 h 2719086"/>
                  <a:gd name="connsiteX328" fmla="*/ 1133661 w 1416191"/>
                  <a:gd name="connsiteY328" fmla="*/ 810769 h 2719086"/>
                  <a:gd name="connsiteX329" fmla="*/ 1133661 w 1416191"/>
                  <a:gd name="connsiteY329" fmla="*/ 810769 h 2719086"/>
                  <a:gd name="connsiteX330" fmla="*/ 1238460 w 1416191"/>
                  <a:gd name="connsiteY330" fmla="*/ 793775 h 2719086"/>
                  <a:gd name="connsiteX331" fmla="*/ 1118083 w 1416191"/>
                  <a:gd name="connsiteY331" fmla="*/ 969383 h 2719086"/>
                  <a:gd name="connsiteX332" fmla="*/ 1082679 w 1416191"/>
                  <a:gd name="connsiteY332" fmla="*/ 965134 h 2719086"/>
                  <a:gd name="connsiteX333" fmla="*/ 1082679 w 1416191"/>
                  <a:gd name="connsiteY333" fmla="*/ 1000539 h 2719086"/>
                  <a:gd name="connsiteX334" fmla="*/ 1082679 w 1416191"/>
                  <a:gd name="connsiteY334" fmla="*/ 967967 h 2719086"/>
                  <a:gd name="connsiteX335" fmla="*/ 1115251 w 1416191"/>
                  <a:gd name="connsiteY335" fmla="*/ 970799 h 2719086"/>
                  <a:gd name="connsiteX336" fmla="*/ 1095424 w 1416191"/>
                  <a:gd name="connsiteY336" fmla="*/ 1000539 h 2719086"/>
                  <a:gd name="connsiteX337" fmla="*/ 1082679 w 1416191"/>
                  <a:gd name="connsiteY337" fmla="*/ 1000539 h 2719086"/>
                  <a:gd name="connsiteX338" fmla="*/ 1094008 w 1416191"/>
                  <a:gd name="connsiteY338" fmla="*/ 1001955 h 2719086"/>
                  <a:gd name="connsiteX339" fmla="*/ 1082679 w 1416191"/>
                  <a:gd name="connsiteY339" fmla="*/ 1018949 h 2719086"/>
                  <a:gd name="connsiteX340" fmla="*/ 1082679 w 1416191"/>
                  <a:gd name="connsiteY340" fmla="*/ 1003371 h 2719086"/>
                  <a:gd name="connsiteX341" fmla="*/ 1094008 w 1416191"/>
                  <a:gd name="connsiteY341" fmla="*/ 1001955 h 2719086"/>
                  <a:gd name="connsiteX342" fmla="*/ 1156320 w 1416191"/>
                  <a:gd name="connsiteY342" fmla="*/ 642243 h 2719086"/>
                  <a:gd name="connsiteX343" fmla="*/ 1125164 w 1416191"/>
                  <a:gd name="connsiteY343" fmla="*/ 652156 h 2719086"/>
                  <a:gd name="connsiteX344" fmla="*/ 1119499 w 1416191"/>
                  <a:gd name="connsiteY344" fmla="*/ 554439 h 2719086"/>
                  <a:gd name="connsiteX345" fmla="*/ 1156320 w 1416191"/>
                  <a:gd name="connsiteY345" fmla="*/ 642243 h 2719086"/>
                  <a:gd name="connsiteX346" fmla="*/ 1081262 w 1416191"/>
                  <a:gd name="connsiteY346" fmla="*/ 666318 h 2719086"/>
                  <a:gd name="connsiteX347" fmla="*/ 1122332 w 1416191"/>
                  <a:gd name="connsiteY347" fmla="*/ 653572 h 2719086"/>
                  <a:gd name="connsiteX348" fmla="*/ 1123748 w 1416191"/>
                  <a:gd name="connsiteY348" fmla="*/ 676231 h 2719086"/>
                  <a:gd name="connsiteX349" fmla="*/ 1081262 w 1416191"/>
                  <a:gd name="connsiteY349" fmla="*/ 679064 h 2719086"/>
                  <a:gd name="connsiteX350" fmla="*/ 1081262 w 1416191"/>
                  <a:gd name="connsiteY350" fmla="*/ 666318 h 2719086"/>
                  <a:gd name="connsiteX351" fmla="*/ 735712 w 1416191"/>
                  <a:gd name="connsiteY351" fmla="*/ 1504703 h 2719086"/>
                  <a:gd name="connsiteX352" fmla="*/ 793775 w 1416191"/>
                  <a:gd name="connsiteY352" fmla="*/ 1545772 h 2719086"/>
                  <a:gd name="connsiteX353" fmla="*/ 793775 w 1416191"/>
                  <a:gd name="connsiteY353" fmla="*/ 1547189 h 2719086"/>
                  <a:gd name="connsiteX354" fmla="*/ 755538 w 1416191"/>
                  <a:gd name="connsiteY354" fmla="*/ 1564183 h 2719086"/>
                  <a:gd name="connsiteX355" fmla="*/ 680480 w 1416191"/>
                  <a:gd name="connsiteY355" fmla="*/ 1531610 h 2719086"/>
                  <a:gd name="connsiteX356" fmla="*/ 735712 w 1416191"/>
                  <a:gd name="connsiteY356" fmla="*/ 1504703 h 2719086"/>
                  <a:gd name="connsiteX357" fmla="*/ 231547 w 1416191"/>
                  <a:gd name="connsiteY357" fmla="*/ 361837 h 2719086"/>
                  <a:gd name="connsiteX358" fmla="*/ 309438 w 1416191"/>
                  <a:gd name="connsiteY358" fmla="*/ 425565 h 2719086"/>
                  <a:gd name="connsiteX359" fmla="*/ 186229 w 1416191"/>
                  <a:gd name="connsiteY359" fmla="*/ 509121 h 2719086"/>
                  <a:gd name="connsiteX360" fmla="*/ 142327 w 1416191"/>
                  <a:gd name="connsiteY360" fmla="*/ 445392 h 2719086"/>
                  <a:gd name="connsiteX361" fmla="*/ 231547 w 1416191"/>
                  <a:gd name="connsiteY361" fmla="*/ 361837 h 2719086"/>
                  <a:gd name="connsiteX362" fmla="*/ 275449 w 1416191"/>
                  <a:gd name="connsiteY362" fmla="*/ 317935 h 2719086"/>
                  <a:gd name="connsiteX363" fmla="*/ 232964 w 1416191"/>
                  <a:gd name="connsiteY363" fmla="*/ 357588 h 2719086"/>
                  <a:gd name="connsiteX364" fmla="*/ 186229 w 1416191"/>
                  <a:gd name="connsiteY364" fmla="*/ 319351 h 2719086"/>
                  <a:gd name="connsiteX365" fmla="*/ 200391 w 1416191"/>
                  <a:gd name="connsiteY365" fmla="*/ 293860 h 2719086"/>
                  <a:gd name="connsiteX366" fmla="*/ 275449 w 1416191"/>
                  <a:gd name="connsiteY366" fmla="*/ 317935 h 2719086"/>
                  <a:gd name="connsiteX367" fmla="*/ 476549 w 1416191"/>
                  <a:gd name="connsiteY367" fmla="*/ 157905 h 2719086"/>
                  <a:gd name="connsiteX368" fmla="*/ 561520 w 1416191"/>
                  <a:gd name="connsiteY368" fmla="*/ 74350 h 2719086"/>
                  <a:gd name="connsiteX369" fmla="*/ 511953 w 1416191"/>
                  <a:gd name="connsiteY369" fmla="*/ 169235 h 2719086"/>
                  <a:gd name="connsiteX370" fmla="*/ 476549 w 1416191"/>
                  <a:gd name="connsiteY370" fmla="*/ 157905 h 2719086"/>
                  <a:gd name="connsiteX371" fmla="*/ 487878 w 1416191"/>
                  <a:gd name="connsiteY371" fmla="*/ 220218 h 2719086"/>
                  <a:gd name="connsiteX372" fmla="*/ 513369 w 1416191"/>
                  <a:gd name="connsiteY372" fmla="*/ 172067 h 2719086"/>
                  <a:gd name="connsiteX373" fmla="*/ 732879 w 1416191"/>
                  <a:gd name="connsiteY373" fmla="*/ 244293 h 2719086"/>
                  <a:gd name="connsiteX374" fmla="*/ 487878 w 1416191"/>
                  <a:gd name="connsiteY374" fmla="*/ 220218 h 2719086"/>
                  <a:gd name="connsiteX375" fmla="*/ 762619 w 1416191"/>
                  <a:gd name="connsiteY375" fmla="*/ 633745 h 2719086"/>
                  <a:gd name="connsiteX376" fmla="*/ 762619 w 1416191"/>
                  <a:gd name="connsiteY376" fmla="*/ 633745 h 2719086"/>
                  <a:gd name="connsiteX377" fmla="*/ 962302 w 1416191"/>
                  <a:gd name="connsiteY377" fmla="*/ 690393 h 2719086"/>
                  <a:gd name="connsiteX378" fmla="*/ 962302 w 1416191"/>
                  <a:gd name="connsiteY378" fmla="*/ 690393 h 2719086"/>
                  <a:gd name="connsiteX379" fmla="*/ 1004788 w 1416191"/>
                  <a:gd name="connsiteY379" fmla="*/ 687560 h 2719086"/>
                  <a:gd name="connsiteX380" fmla="*/ 727214 w 1416191"/>
                  <a:gd name="connsiteY380" fmla="*/ 771116 h 2719086"/>
                  <a:gd name="connsiteX381" fmla="*/ 571433 w 1416191"/>
                  <a:gd name="connsiteY381" fmla="*/ 640826 h 2719086"/>
                  <a:gd name="connsiteX382" fmla="*/ 735712 w 1416191"/>
                  <a:gd name="connsiteY382" fmla="*/ 662069 h 2719086"/>
                  <a:gd name="connsiteX383" fmla="*/ 737128 w 1416191"/>
                  <a:gd name="connsiteY383" fmla="*/ 662069 h 2719086"/>
                  <a:gd name="connsiteX384" fmla="*/ 536029 w 1416191"/>
                  <a:gd name="connsiteY384" fmla="*/ 541693 h 2719086"/>
                  <a:gd name="connsiteX385" fmla="*/ 536029 w 1416191"/>
                  <a:gd name="connsiteY385" fmla="*/ 541693 h 2719086"/>
                  <a:gd name="connsiteX386" fmla="*/ 545942 w 1416191"/>
                  <a:gd name="connsiteY386" fmla="*/ 618167 h 2719086"/>
                  <a:gd name="connsiteX387" fmla="*/ 465219 w 1416191"/>
                  <a:gd name="connsiteY387" fmla="*/ 551607 h 2719086"/>
                  <a:gd name="connsiteX388" fmla="*/ 621000 w 1416191"/>
                  <a:gd name="connsiteY388" fmla="*/ 459554 h 2719086"/>
                  <a:gd name="connsiteX389" fmla="*/ 662069 w 1416191"/>
                  <a:gd name="connsiteY389" fmla="*/ 490710 h 2719086"/>
                  <a:gd name="connsiteX390" fmla="*/ 662069 w 1416191"/>
                  <a:gd name="connsiteY390" fmla="*/ 490710 h 2719086"/>
                  <a:gd name="connsiteX391" fmla="*/ 669150 w 1416191"/>
                  <a:gd name="connsiteY391" fmla="*/ 431230 h 2719086"/>
                  <a:gd name="connsiteX392" fmla="*/ 725798 w 1416191"/>
                  <a:gd name="connsiteY392" fmla="*/ 397241 h 2719086"/>
                  <a:gd name="connsiteX393" fmla="*/ 795192 w 1416191"/>
                  <a:gd name="connsiteY393" fmla="*/ 418484 h 2719086"/>
                  <a:gd name="connsiteX394" fmla="*/ 795192 w 1416191"/>
                  <a:gd name="connsiteY394" fmla="*/ 418484 h 2719086"/>
                  <a:gd name="connsiteX395" fmla="*/ 795192 w 1416191"/>
                  <a:gd name="connsiteY395" fmla="*/ 407155 h 2719086"/>
                  <a:gd name="connsiteX396" fmla="*/ 887244 w 1416191"/>
                  <a:gd name="connsiteY396" fmla="*/ 452473 h 2719086"/>
                  <a:gd name="connsiteX397" fmla="*/ 762619 w 1416191"/>
                  <a:gd name="connsiteY397" fmla="*/ 633745 h 2719086"/>
                  <a:gd name="connsiteX398" fmla="*/ 987794 w 1416191"/>
                  <a:gd name="connsiteY398" fmla="*/ 956637 h 2719086"/>
                  <a:gd name="connsiteX399" fmla="*/ 1064268 w 1416191"/>
                  <a:gd name="connsiteY399" fmla="*/ 683312 h 2719086"/>
                  <a:gd name="connsiteX400" fmla="*/ 1078430 w 1416191"/>
                  <a:gd name="connsiteY400" fmla="*/ 681896 h 2719086"/>
                  <a:gd name="connsiteX401" fmla="*/ 1078430 w 1416191"/>
                  <a:gd name="connsiteY401" fmla="*/ 965134 h 2719086"/>
                  <a:gd name="connsiteX402" fmla="*/ 987794 w 1416191"/>
                  <a:gd name="connsiteY402" fmla="*/ 956637 h 2719086"/>
                  <a:gd name="connsiteX403" fmla="*/ 738544 w 1416191"/>
                  <a:gd name="connsiteY403" fmla="*/ 1503287 h 2719086"/>
                  <a:gd name="connsiteX404" fmla="*/ 772532 w 1416191"/>
                  <a:gd name="connsiteY404" fmla="*/ 1486292 h 2719086"/>
                  <a:gd name="connsiteX405" fmla="*/ 793775 w 1416191"/>
                  <a:gd name="connsiteY405" fmla="*/ 1541524 h 2719086"/>
                  <a:gd name="connsiteX406" fmla="*/ 738544 w 1416191"/>
                  <a:gd name="connsiteY406" fmla="*/ 1503287 h 2719086"/>
                  <a:gd name="connsiteX407" fmla="*/ 754122 w 1416191"/>
                  <a:gd name="connsiteY407" fmla="*/ 1564183 h 2719086"/>
                  <a:gd name="connsiteX408" fmla="*/ 703139 w 1416191"/>
                  <a:gd name="connsiteY408" fmla="*/ 1586842 h 2719086"/>
                  <a:gd name="connsiteX409" fmla="*/ 649324 w 1416191"/>
                  <a:gd name="connsiteY409" fmla="*/ 1547189 h 2719086"/>
                  <a:gd name="connsiteX410" fmla="*/ 679064 w 1416191"/>
                  <a:gd name="connsiteY410" fmla="*/ 1533027 h 2719086"/>
                  <a:gd name="connsiteX411" fmla="*/ 754122 w 1416191"/>
                  <a:gd name="connsiteY411" fmla="*/ 1564183 h 2719086"/>
                  <a:gd name="connsiteX412" fmla="*/ 558688 w 1416191"/>
                  <a:gd name="connsiteY412" fmla="*/ 1544356 h 2719086"/>
                  <a:gd name="connsiteX413" fmla="*/ 550190 w 1416191"/>
                  <a:gd name="connsiteY413" fmla="*/ 1593923 h 2719086"/>
                  <a:gd name="connsiteX414" fmla="*/ 458138 w 1416191"/>
                  <a:gd name="connsiteY414" fmla="*/ 1639241 h 2719086"/>
                  <a:gd name="connsiteX415" fmla="*/ 380247 w 1416191"/>
                  <a:gd name="connsiteY415" fmla="*/ 1608085 h 2719086"/>
                  <a:gd name="connsiteX416" fmla="*/ 429814 w 1416191"/>
                  <a:gd name="connsiteY416" fmla="*/ 1500454 h 2719086"/>
                  <a:gd name="connsiteX417" fmla="*/ 558688 w 1416191"/>
                  <a:gd name="connsiteY417" fmla="*/ 1544356 h 2719086"/>
                  <a:gd name="connsiteX418" fmla="*/ 299525 w 1416191"/>
                  <a:gd name="connsiteY418" fmla="*/ 101258 h 2719086"/>
                  <a:gd name="connsiteX419" fmla="*/ 265536 w 1416191"/>
                  <a:gd name="connsiteY419" fmla="*/ 164986 h 2719086"/>
                  <a:gd name="connsiteX420" fmla="*/ 264120 w 1416191"/>
                  <a:gd name="connsiteY420" fmla="*/ 89928 h 2719086"/>
                  <a:gd name="connsiteX421" fmla="*/ 299525 w 1416191"/>
                  <a:gd name="connsiteY421" fmla="*/ 101258 h 2719086"/>
                  <a:gd name="connsiteX422" fmla="*/ 346259 w 1416191"/>
                  <a:gd name="connsiteY422" fmla="*/ 724382 h 2719086"/>
                  <a:gd name="connsiteX423" fmla="*/ 346259 w 1416191"/>
                  <a:gd name="connsiteY423" fmla="*/ 738543 h 2719086"/>
                  <a:gd name="connsiteX424" fmla="*/ 340594 w 1416191"/>
                  <a:gd name="connsiteY424" fmla="*/ 731462 h 2719086"/>
                  <a:gd name="connsiteX425" fmla="*/ 346259 w 1416191"/>
                  <a:gd name="connsiteY425" fmla="*/ 724382 h 2719086"/>
                  <a:gd name="connsiteX426" fmla="*/ 329265 w 1416191"/>
                  <a:gd name="connsiteY426" fmla="*/ 745624 h 2719086"/>
                  <a:gd name="connsiteX427" fmla="*/ 339178 w 1416191"/>
                  <a:gd name="connsiteY427" fmla="*/ 732879 h 2719086"/>
                  <a:gd name="connsiteX428" fmla="*/ 346259 w 1416191"/>
                  <a:gd name="connsiteY428" fmla="*/ 742792 h 2719086"/>
                  <a:gd name="connsiteX429" fmla="*/ 346259 w 1416191"/>
                  <a:gd name="connsiteY429" fmla="*/ 754122 h 2719086"/>
                  <a:gd name="connsiteX430" fmla="*/ 329265 w 1416191"/>
                  <a:gd name="connsiteY430" fmla="*/ 745624 h 2719086"/>
                  <a:gd name="connsiteX431" fmla="*/ 568601 w 1416191"/>
                  <a:gd name="connsiteY431" fmla="*/ 640826 h 2719086"/>
                  <a:gd name="connsiteX432" fmla="*/ 725798 w 1416191"/>
                  <a:gd name="connsiteY432" fmla="*/ 772532 h 2719086"/>
                  <a:gd name="connsiteX433" fmla="*/ 571433 w 1416191"/>
                  <a:gd name="connsiteY433" fmla="*/ 819266 h 2719086"/>
                  <a:gd name="connsiteX434" fmla="*/ 548774 w 1416191"/>
                  <a:gd name="connsiteY434" fmla="*/ 639410 h 2719086"/>
                  <a:gd name="connsiteX435" fmla="*/ 568601 w 1416191"/>
                  <a:gd name="connsiteY435" fmla="*/ 640826 h 2719086"/>
                  <a:gd name="connsiteX436" fmla="*/ 528948 w 1416191"/>
                  <a:gd name="connsiteY436" fmla="*/ 833428 h 2719086"/>
                  <a:gd name="connsiteX437" fmla="*/ 570017 w 1416191"/>
                  <a:gd name="connsiteY437" fmla="*/ 820683 h 2719086"/>
                  <a:gd name="connsiteX438" fmla="*/ 572850 w 1416191"/>
                  <a:gd name="connsiteY438" fmla="*/ 839093 h 2719086"/>
                  <a:gd name="connsiteX439" fmla="*/ 528948 w 1416191"/>
                  <a:gd name="connsiteY439" fmla="*/ 833428 h 2719086"/>
                  <a:gd name="connsiteX440" fmla="*/ 360421 w 1416191"/>
                  <a:gd name="connsiteY440" fmla="*/ 764035 h 2719086"/>
                  <a:gd name="connsiteX441" fmla="*/ 394409 w 1416191"/>
                  <a:gd name="connsiteY441" fmla="*/ 813602 h 2719086"/>
                  <a:gd name="connsiteX442" fmla="*/ 344843 w 1416191"/>
                  <a:gd name="connsiteY442" fmla="*/ 806521 h 2719086"/>
                  <a:gd name="connsiteX443" fmla="*/ 346259 w 1416191"/>
                  <a:gd name="connsiteY443" fmla="*/ 756954 h 2719086"/>
                  <a:gd name="connsiteX444" fmla="*/ 360421 w 1416191"/>
                  <a:gd name="connsiteY444" fmla="*/ 764035 h 2719086"/>
                  <a:gd name="connsiteX445" fmla="*/ 357588 w 1416191"/>
                  <a:gd name="connsiteY445" fmla="*/ 761203 h 2719086"/>
                  <a:gd name="connsiteX446" fmla="*/ 346259 w 1416191"/>
                  <a:gd name="connsiteY446" fmla="*/ 755538 h 2719086"/>
                  <a:gd name="connsiteX447" fmla="*/ 346259 w 1416191"/>
                  <a:gd name="connsiteY447" fmla="*/ 745624 h 2719086"/>
                  <a:gd name="connsiteX448" fmla="*/ 357588 w 1416191"/>
                  <a:gd name="connsiteY448" fmla="*/ 761203 h 2719086"/>
                  <a:gd name="connsiteX449" fmla="*/ 356172 w 1416191"/>
                  <a:gd name="connsiteY449" fmla="*/ 462386 h 2719086"/>
                  <a:gd name="connsiteX450" fmla="*/ 500624 w 1416191"/>
                  <a:gd name="connsiteY450" fmla="*/ 370334 h 2719086"/>
                  <a:gd name="connsiteX451" fmla="*/ 540277 w 1416191"/>
                  <a:gd name="connsiteY451" fmla="*/ 400074 h 2719086"/>
                  <a:gd name="connsiteX452" fmla="*/ 421317 w 1416191"/>
                  <a:gd name="connsiteY452" fmla="*/ 516202 h 2719086"/>
                  <a:gd name="connsiteX453" fmla="*/ 356172 w 1416191"/>
                  <a:gd name="connsiteY453" fmla="*/ 462386 h 2719086"/>
                  <a:gd name="connsiteX454" fmla="*/ 623832 w 1416191"/>
                  <a:gd name="connsiteY454" fmla="*/ 320767 h 2719086"/>
                  <a:gd name="connsiteX455" fmla="*/ 684729 w 1416191"/>
                  <a:gd name="connsiteY455" fmla="*/ 261287 h 2719086"/>
                  <a:gd name="connsiteX456" fmla="*/ 676231 w 1416191"/>
                  <a:gd name="connsiteY456" fmla="*/ 346259 h 2719086"/>
                  <a:gd name="connsiteX457" fmla="*/ 623832 w 1416191"/>
                  <a:gd name="connsiteY457" fmla="*/ 320767 h 2719086"/>
                  <a:gd name="connsiteX458" fmla="*/ 666318 w 1416191"/>
                  <a:gd name="connsiteY458" fmla="*/ 432646 h 2719086"/>
                  <a:gd name="connsiteX459" fmla="*/ 660653 w 1416191"/>
                  <a:gd name="connsiteY459" fmla="*/ 487878 h 2719086"/>
                  <a:gd name="connsiteX460" fmla="*/ 622416 w 1416191"/>
                  <a:gd name="connsiteY460" fmla="*/ 458138 h 2719086"/>
                  <a:gd name="connsiteX461" fmla="*/ 666318 w 1416191"/>
                  <a:gd name="connsiteY461" fmla="*/ 432646 h 2719086"/>
                  <a:gd name="connsiteX462" fmla="*/ 727214 w 1416191"/>
                  <a:gd name="connsiteY462" fmla="*/ 659237 h 2719086"/>
                  <a:gd name="connsiteX463" fmla="*/ 568601 w 1416191"/>
                  <a:gd name="connsiteY463" fmla="*/ 637994 h 2719086"/>
                  <a:gd name="connsiteX464" fmla="*/ 545942 w 1416191"/>
                  <a:gd name="connsiteY464" fmla="*/ 619584 h 2719086"/>
                  <a:gd name="connsiteX465" fmla="*/ 536029 w 1416191"/>
                  <a:gd name="connsiteY465" fmla="*/ 544526 h 2719086"/>
                  <a:gd name="connsiteX466" fmla="*/ 727214 w 1416191"/>
                  <a:gd name="connsiteY466" fmla="*/ 659237 h 2719086"/>
                  <a:gd name="connsiteX467" fmla="*/ 353340 w 1416191"/>
                  <a:gd name="connsiteY467" fmla="*/ 538860 h 2719086"/>
                  <a:gd name="connsiteX468" fmla="*/ 354756 w 1416191"/>
                  <a:gd name="connsiteY468" fmla="*/ 463803 h 2719086"/>
                  <a:gd name="connsiteX469" fmla="*/ 421317 w 1416191"/>
                  <a:gd name="connsiteY469" fmla="*/ 519034 h 2719086"/>
                  <a:gd name="connsiteX470" fmla="*/ 388745 w 1416191"/>
                  <a:gd name="connsiteY470" fmla="*/ 551607 h 2719086"/>
                  <a:gd name="connsiteX471" fmla="*/ 353340 w 1416191"/>
                  <a:gd name="connsiteY471" fmla="*/ 538860 h 2719086"/>
                  <a:gd name="connsiteX472" fmla="*/ 548774 w 1416191"/>
                  <a:gd name="connsiteY472" fmla="*/ 340594 h 2719086"/>
                  <a:gd name="connsiteX473" fmla="*/ 596925 w 1416191"/>
                  <a:gd name="connsiteY473" fmla="*/ 309438 h 2719086"/>
                  <a:gd name="connsiteX474" fmla="*/ 621000 w 1416191"/>
                  <a:gd name="connsiteY474" fmla="*/ 322183 h 2719086"/>
                  <a:gd name="connsiteX475" fmla="*/ 589844 w 1416191"/>
                  <a:gd name="connsiteY475" fmla="*/ 353340 h 2719086"/>
                  <a:gd name="connsiteX476" fmla="*/ 548774 w 1416191"/>
                  <a:gd name="connsiteY476" fmla="*/ 340594 h 2719086"/>
                  <a:gd name="connsiteX477" fmla="*/ 618168 w 1416191"/>
                  <a:gd name="connsiteY477" fmla="*/ 458138 h 2719086"/>
                  <a:gd name="connsiteX478" fmla="*/ 462387 w 1416191"/>
                  <a:gd name="connsiteY478" fmla="*/ 550190 h 2719086"/>
                  <a:gd name="connsiteX479" fmla="*/ 424150 w 1416191"/>
                  <a:gd name="connsiteY479" fmla="*/ 517618 h 2719086"/>
                  <a:gd name="connsiteX480" fmla="*/ 543110 w 1416191"/>
                  <a:gd name="connsiteY480" fmla="*/ 401490 h 2719086"/>
                  <a:gd name="connsiteX481" fmla="*/ 618168 w 1416191"/>
                  <a:gd name="connsiteY481" fmla="*/ 458138 h 2719086"/>
                  <a:gd name="connsiteX482" fmla="*/ 462387 w 1416191"/>
                  <a:gd name="connsiteY482" fmla="*/ 553022 h 2719086"/>
                  <a:gd name="connsiteX483" fmla="*/ 544526 w 1416191"/>
                  <a:gd name="connsiteY483" fmla="*/ 622416 h 2719086"/>
                  <a:gd name="connsiteX484" fmla="*/ 545942 w 1416191"/>
                  <a:gd name="connsiteY484" fmla="*/ 636578 h 2719086"/>
                  <a:gd name="connsiteX485" fmla="*/ 428398 w 1416191"/>
                  <a:gd name="connsiteY485" fmla="*/ 621000 h 2719086"/>
                  <a:gd name="connsiteX486" fmla="*/ 428398 w 1416191"/>
                  <a:gd name="connsiteY486" fmla="*/ 621000 h 2719086"/>
                  <a:gd name="connsiteX487" fmla="*/ 347675 w 1416191"/>
                  <a:gd name="connsiteY487" fmla="*/ 720133 h 2719086"/>
                  <a:gd name="connsiteX488" fmla="*/ 350507 w 1416191"/>
                  <a:gd name="connsiteY488" fmla="*/ 619584 h 2719086"/>
                  <a:gd name="connsiteX489" fmla="*/ 462387 w 1416191"/>
                  <a:gd name="connsiteY489" fmla="*/ 553022 h 2719086"/>
                  <a:gd name="connsiteX490" fmla="*/ 460970 w 1416191"/>
                  <a:gd name="connsiteY490" fmla="*/ 551607 h 2719086"/>
                  <a:gd name="connsiteX491" fmla="*/ 351924 w 1416191"/>
                  <a:gd name="connsiteY491" fmla="*/ 615335 h 2719086"/>
                  <a:gd name="connsiteX492" fmla="*/ 353340 w 1416191"/>
                  <a:gd name="connsiteY492" fmla="*/ 540277 h 2719086"/>
                  <a:gd name="connsiteX493" fmla="*/ 388745 w 1416191"/>
                  <a:gd name="connsiteY493" fmla="*/ 553022 h 2719086"/>
                  <a:gd name="connsiteX494" fmla="*/ 388745 w 1416191"/>
                  <a:gd name="connsiteY494" fmla="*/ 553022 h 2719086"/>
                  <a:gd name="connsiteX495" fmla="*/ 422733 w 1416191"/>
                  <a:gd name="connsiteY495" fmla="*/ 519034 h 2719086"/>
                  <a:gd name="connsiteX496" fmla="*/ 460970 w 1416191"/>
                  <a:gd name="connsiteY496" fmla="*/ 551607 h 2719086"/>
                  <a:gd name="connsiteX497" fmla="*/ 278282 w 1416191"/>
                  <a:gd name="connsiteY497" fmla="*/ 511953 h 2719086"/>
                  <a:gd name="connsiteX498" fmla="*/ 351924 w 1416191"/>
                  <a:gd name="connsiteY498" fmla="*/ 465219 h 2719086"/>
                  <a:gd name="connsiteX499" fmla="*/ 350507 w 1416191"/>
                  <a:gd name="connsiteY499" fmla="*/ 538860 h 2719086"/>
                  <a:gd name="connsiteX500" fmla="*/ 278282 w 1416191"/>
                  <a:gd name="connsiteY500" fmla="*/ 511953 h 2719086"/>
                  <a:gd name="connsiteX501" fmla="*/ 565769 w 1416191"/>
                  <a:gd name="connsiteY501" fmla="*/ 637994 h 2719086"/>
                  <a:gd name="connsiteX502" fmla="*/ 550190 w 1416191"/>
                  <a:gd name="connsiteY502" fmla="*/ 635162 h 2719086"/>
                  <a:gd name="connsiteX503" fmla="*/ 548774 w 1416191"/>
                  <a:gd name="connsiteY503" fmla="*/ 622416 h 2719086"/>
                  <a:gd name="connsiteX504" fmla="*/ 565769 w 1416191"/>
                  <a:gd name="connsiteY504" fmla="*/ 637994 h 2719086"/>
                  <a:gd name="connsiteX505" fmla="*/ 621000 w 1416191"/>
                  <a:gd name="connsiteY505" fmla="*/ 458138 h 2719086"/>
                  <a:gd name="connsiteX506" fmla="*/ 544526 w 1416191"/>
                  <a:gd name="connsiteY506" fmla="*/ 400074 h 2719086"/>
                  <a:gd name="connsiteX507" fmla="*/ 589844 w 1416191"/>
                  <a:gd name="connsiteY507" fmla="*/ 356172 h 2719086"/>
                  <a:gd name="connsiteX508" fmla="*/ 671983 w 1416191"/>
                  <a:gd name="connsiteY508" fmla="*/ 381664 h 2719086"/>
                  <a:gd name="connsiteX509" fmla="*/ 666318 w 1416191"/>
                  <a:gd name="connsiteY509" fmla="*/ 431230 h 2719086"/>
                  <a:gd name="connsiteX510" fmla="*/ 621000 w 1416191"/>
                  <a:gd name="connsiteY510" fmla="*/ 458138 h 2719086"/>
                  <a:gd name="connsiteX511" fmla="*/ 591260 w 1416191"/>
                  <a:gd name="connsiteY511" fmla="*/ 353340 h 2719086"/>
                  <a:gd name="connsiteX512" fmla="*/ 622416 w 1416191"/>
                  <a:gd name="connsiteY512" fmla="*/ 322183 h 2719086"/>
                  <a:gd name="connsiteX513" fmla="*/ 674815 w 1416191"/>
                  <a:gd name="connsiteY513" fmla="*/ 347675 h 2719086"/>
                  <a:gd name="connsiteX514" fmla="*/ 671983 w 1416191"/>
                  <a:gd name="connsiteY514" fmla="*/ 377415 h 2719086"/>
                  <a:gd name="connsiteX515" fmla="*/ 591260 w 1416191"/>
                  <a:gd name="connsiteY515" fmla="*/ 353340 h 2719086"/>
                  <a:gd name="connsiteX516" fmla="*/ 587012 w 1416191"/>
                  <a:gd name="connsiteY516" fmla="*/ 354756 h 2719086"/>
                  <a:gd name="connsiteX517" fmla="*/ 541693 w 1416191"/>
                  <a:gd name="connsiteY517" fmla="*/ 398658 h 2719086"/>
                  <a:gd name="connsiteX518" fmla="*/ 502040 w 1416191"/>
                  <a:gd name="connsiteY518" fmla="*/ 368918 h 2719086"/>
                  <a:gd name="connsiteX519" fmla="*/ 544526 w 1416191"/>
                  <a:gd name="connsiteY519" fmla="*/ 342010 h 2719086"/>
                  <a:gd name="connsiteX520" fmla="*/ 587012 w 1416191"/>
                  <a:gd name="connsiteY520" fmla="*/ 354756 h 2719086"/>
                  <a:gd name="connsiteX521" fmla="*/ 349091 w 1416191"/>
                  <a:gd name="connsiteY521" fmla="*/ 722965 h 2719086"/>
                  <a:gd name="connsiteX522" fmla="*/ 429814 w 1416191"/>
                  <a:gd name="connsiteY522" fmla="*/ 622416 h 2719086"/>
                  <a:gd name="connsiteX523" fmla="*/ 547358 w 1416191"/>
                  <a:gd name="connsiteY523" fmla="*/ 637994 h 2719086"/>
                  <a:gd name="connsiteX524" fmla="*/ 570017 w 1416191"/>
                  <a:gd name="connsiteY524" fmla="*/ 819266 h 2719086"/>
                  <a:gd name="connsiteX525" fmla="*/ 524699 w 1416191"/>
                  <a:gd name="connsiteY525" fmla="*/ 833428 h 2719086"/>
                  <a:gd name="connsiteX526" fmla="*/ 489294 w 1416191"/>
                  <a:gd name="connsiteY526" fmla="*/ 827764 h 2719086"/>
                  <a:gd name="connsiteX527" fmla="*/ 361837 w 1416191"/>
                  <a:gd name="connsiteY527" fmla="*/ 762619 h 2719086"/>
                  <a:gd name="connsiteX528" fmla="*/ 347675 w 1416191"/>
                  <a:gd name="connsiteY528" fmla="*/ 742792 h 2719086"/>
                  <a:gd name="connsiteX529" fmla="*/ 349091 w 1416191"/>
                  <a:gd name="connsiteY529" fmla="*/ 722965 h 2719086"/>
                  <a:gd name="connsiteX530" fmla="*/ 722966 w 1416191"/>
                  <a:gd name="connsiteY530" fmla="*/ 397241 h 2719086"/>
                  <a:gd name="connsiteX531" fmla="*/ 669150 w 1416191"/>
                  <a:gd name="connsiteY531" fmla="*/ 429814 h 2719086"/>
                  <a:gd name="connsiteX532" fmla="*/ 674815 w 1416191"/>
                  <a:gd name="connsiteY532" fmla="*/ 383079 h 2719086"/>
                  <a:gd name="connsiteX533" fmla="*/ 722966 w 1416191"/>
                  <a:gd name="connsiteY533" fmla="*/ 397241 h 2719086"/>
                  <a:gd name="connsiteX534" fmla="*/ 543110 w 1416191"/>
                  <a:gd name="connsiteY534" fmla="*/ 340594 h 2719086"/>
                  <a:gd name="connsiteX535" fmla="*/ 500624 w 1416191"/>
                  <a:gd name="connsiteY535" fmla="*/ 367502 h 2719086"/>
                  <a:gd name="connsiteX536" fmla="*/ 411404 w 1416191"/>
                  <a:gd name="connsiteY536" fmla="*/ 299524 h 2719086"/>
                  <a:gd name="connsiteX537" fmla="*/ 543110 w 1416191"/>
                  <a:gd name="connsiteY537" fmla="*/ 340594 h 2719086"/>
                  <a:gd name="connsiteX538" fmla="*/ 327848 w 1416191"/>
                  <a:gd name="connsiteY538" fmla="*/ 271200 h 2719086"/>
                  <a:gd name="connsiteX539" fmla="*/ 357588 w 1416191"/>
                  <a:gd name="connsiteY539" fmla="*/ 242877 h 2719086"/>
                  <a:gd name="connsiteX540" fmla="*/ 356172 w 1416191"/>
                  <a:gd name="connsiteY540" fmla="*/ 279698 h 2719086"/>
                  <a:gd name="connsiteX541" fmla="*/ 327848 w 1416191"/>
                  <a:gd name="connsiteY541" fmla="*/ 271200 h 2719086"/>
                  <a:gd name="connsiteX542" fmla="*/ 407155 w 1416191"/>
                  <a:gd name="connsiteY542" fmla="*/ 360421 h 2719086"/>
                  <a:gd name="connsiteX543" fmla="*/ 356172 w 1416191"/>
                  <a:gd name="connsiteY543" fmla="*/ 394409 h 2719086"/>
                  <a:gd name="connsiteX544" fmla="*/ 357588 w 1416191"/>
                  <a:gd name="connsiteY544" fmla="*/ 344843 h 2719086"/>
                  <a:gd name="connsiteX545" fmla="*/ 407155 w 1416191"/>
                  <a:gd name="connsiteY545" fmla="*/ 360421 h 2719086"/>
                  <a:gd name="connsiteX546" fmla="*/ 357588 w 1416191"/>
                  <a:gd name="connsiteY546" fmla="*/ 282530 h 2719086"/>
                  <a:gd name="connsiteX547" fmla="*/ 356172 w 1416191"/>
                  <a:gd name="connsiteY547" fmla="*/ 342010 h 2719086"/>
                  <a:gd name="connsiteX548" fmla="*/ 279698 w 1416191"/>
                  <a:gd name="connsiteY548" fmla="*/ 317935 h 2719086"/>
                  <a:gd name="connsiteX549" fmla="*/ 326432 w 1416191"/>
                  <a:gd name="connsiteY549" fmla="*/ 274033 h 2719086"/>
                  <a:gd name="connsiteX550" fmla="*/ 357588 w 1416191"/>
                  <a:gd name="connsiteY550" fmla="*/ 282530 h 2719086"/>
                  <a:gd name="connsiteX551" fmla="*/ 354756 w 1416191"/>
                  <a:gd name="connsiteY551" fmla="*/ 397241 h 2719086"/>
                  <a:gd name="connsiteX552" fmla="*/ 353340 w 1416191"/>
                  <a:gd name="connsiteY552" fmla="*/ 458138 h 2719086"/>
                  <a:gd name="connsiteX553" fmla="*/ 313687 w 1416191"/>
                  <a:gd name="connsiteY553" fmla="*/ 425565 h 2719086"/>
                  <a:gd name="connsiteX554" fmla="*/ 354756 w 1416191"/>
                  <a:gd name="connsiteY554" fmla="*/ 397241 h 2719086"/>
                  <a:gd name="connsiteX555" fmla="*/ 354756 w 1416191"/>
                  <a:gd name="connsiteY555" fmla="*/ 460970 h 2719086"/>
                  <a:gd name="connsiteX556" fmla="*/ 356172 w 1416191"/>
                  <a:gd name="connsiteY556" fmla="*/ 397241 h 2719086"/>
                  <a:gd name="connsiteX557" fmla="*/ 411404 w 1416191"/>
                  <a:gd name="connsiteY557" fmla="*/ 360421 h 2719086"/>
                  <a:gd name="connsiteX558" fmla="*/ 411404 w 1416191"/>
                  <a:gd name="connsiteY558" fmla="*/ 360421 h 2719086"/>
                  <a:gd name="connsiteX559" fmla="*/ 357588 w 1416191"/>
                  <a:gd name="connsiteY559" fmla="*/ 343426 h 2719086"/>
                  <a:gd name="connsiteX560" fmla="*/ 359005 w 1416191"/>
                  <a:gd name="connsiteY560" fmla="*/ 283946 h 2719086"/>
                  <a:gd name="connsiteX561" fmla="*/ 405739 w 1416191"/>
                  <a:gd name="connsiteY561" fmla="*/ 298108 h 2719086"/>
                  <a:gd name="connsiteX562" fmla="*/ 499207 w 1416191"/>
                  <a:gd name="connsiteY562" fmla="*/ 368918 h 2719086"/>
                  <a:gd name="connsiteX563" fmla="*/ 354756 w 1416191"/>
                  <a:gd name="connsiteY563" fmla="*/ 460970 h 2719086"/>
                  <a:gd name="connsiteX564" fmla="*/ 356172 w 1416191"/>
                  <a:gd name="connsiteY564" fmla="*/ 343426 h 2719086"/>
                  <a:gd name="connsiteX565" fmla="*/ 354756 w 1416191"/>
                  <a:gd name="connsiteY565" fmla="*/ 394409 h 2719086"/>
                  <a:gd name="connsiteX566" fmla="*/ 310854 w 1416191"/>
                  <a:gd name="connsiteY566" fmla="*/ 424149 h 2719086"/>
                  <a:gd name="connsiteX567" fmla="*/ 232964 w 1416191"/>
                  <a:gd name="connsiteY567" fmla="*/ 359004 h 2719086"/>
                  <a:gd name="connsiteX568" fmla="*/ 276865 w 1416191"/>
                  <a:gd name="connsiteY568" fmla="*/ 317935 h 2719086"/>
                  <a:gd name="connsiteX569" fmla="*/ 356172 w 1416191"/>
                  <a:gd name="connsiteY569" fmla="*/ 343426 h 2719086"/>
                  <a:gd name="connsiteX570" fmla="*/ 349091 w 1416191"/>
                  <a:gd name="connsiteY570" fmla="*/ 619584 h 2719086"/>
                  <a:gd name="connsiteX571" fmla="*/ 346259 w 1416191"/>
                  <a:gd name="connsiteY571" fmla="*/ 721549 h 2719086"/>
                  <a:gd name="connsiteX572" fmla="*/ 339178 w 1416191"/>
                  <a:gd name="connsiteY572" fmla="*/ 730046 h 2719086"/>
                  <a:gd name="connsiteX573" fmla="*/ 286779 w 1416191"/>
                  <a:gd name="connsiteY573" fmla="*/ 654988 h 2719086"/>
                  <a:gd name="connsiteX574" fmla="*/ 349091 w 1416191"/>
                  <a:gd name="connsiteY574" fmla="*/ 619584 h 2719086"/>
                  <a:gd name="connsiteX575" fmla="*/ 398658 w 1416191"/>
                  <a:gd name="connsiteY575" fmla="*/ 815018 h 2719086"/>
                  <a:gd name="connsiteX576" fmla="*/ 364669 w 1416191"/>
                  <a:gd name="connsiteY576" fmla="*/ 766867 h 2719086"/>
                  <a:gd name="connsiteX577" fmla="*/ 482213 w 1416191"/>
                  <a:gd name="connsiteY577" fmla="*/ 827764 h 2719086"/>
                  <a:gd name="connsiteX578" fmla="*/ 398658 w 1416191"/>
                  <a:gd name="connsiteY578" fmla="*/ 815018 h 2719086"/>
                  <a:gd name="connsiteX579" fmla="*/ 426982 w 1416191"/>
                  <a:gd name="connsiteY579" fmla="*/ 856088 h 2719086"/>
                  <a:gd name="connsiteX580" fmla="*/ 400074 w 1416191"/>
                  <a:gd name="connsiteY580" fmla="*/ 817850 h 2719086"/>
                  <a:gd name="connsiteX581" fmla="*/ 489294 w 1416191"/>
                  <a:gd name="connsiteY581" fmla="*/ 830596 h 2719086"/>
                  <a:gd name="connsiteX582" fmla="*/ 506288 w 1416191"/>
                  <a:gd name="connsiteY582" fmla="*/ 839093 h 2719086"/>
                  <a:gd name="connsiteX583" fmla="*/ 465219 w 1416191"/>
                  <a:gd name="connsiteY583" fmla="*/ 851839 h 2719086"/>
                  <a:gd name="connsiteX584" fmla="*/ 426982 w 1416191"/>
                  <a:gd name="connsiteY584" fmla="*/ 856088 h 2719086"/>
                  <a:gd name="connsiteX585" fmla="*/ 674815 w 1416191"/>
                  <a:gd name="connsiteY585" fmla="*/ 380247 h 2719086"/>
                  <a:gd name="connsiteX586" fmla="*/ 677648 w 1416191"/>
                  <a:gd name="connsiteY586" fmla="*/ 350507 h 2719086"/>
                  <a:gd name="connsiteX587" fmla="*/ 745625 w 1416191"/>
                  <a:gd name="connsiteY587" fmla="*/ 384496 h 2719086"/>
                  <a:gd name="connsiteX588" fmla="*/ 725798 w 1416191"/>
                  <a:gd name="connsiteY588" fmla="*/ 395826 h 2719086"/>
                  <a:gd name="connsiteX589" fmla="*/ 674815 w 1416191"/>
                  <a:gd name="connsiteY589" fmla="*/ 380247 h 2719086"/>
                  <a:gd name="connsiteX590" fmla="*/ 200391 w 1416191"/>
                  <a:gd name="connsiteY590" fmla="*/ 292443 h 2719086"/>
                  <a:gd name="connsiteX591" fmla="*/ 264120 w 1416191"/>
                  <a:gd name="connsiteY591" fmla="*/ 172067 h 2719086"/>
                  <a:gd name="connsiteX592" fmla="*/ 266952 w 1416191"/>
                  <a:gd name="connsiteY592" fmla="*/ 254206 h 2719086"/>
                  <a:gd name="connsiteX593" fmla="*/ 266952 w 1416191"/>
                  <a:gd name="connsiteY593" fmla="*/ 254206 h 2719086"/>
                  <a:gd name="connsiteX594" fmla="*/ 325016 w 1416191"/>
                  <a:gd name="connsiteY594" fmla="*/ 272617 h 2719086"/>
                  <a:gd name="connsiteX595" fmla="*/ 278282 w 1416191"/>
                  <a:gd name="connsiteY595" fmla="*/ 316519 h 2719086"/>
                  <a:gd name="connsiteX596" fmla="*/ 200391 w 1416191"/>
                  <a:gd name="connsiteY596" fmla="*/ 292443 h 2719086"/>
                  <a:gd name="connsiteX597" fmla="*/ 310854 w 1416191"/>
                  <a:gd name="connsiteY597" fmla="*/ 426981 h 2719086"/>
                  <a:gd name="connsiteX598" fmla="*/ 353340 w 1416191"/>
                  <a:gd name="connsiteY598" fmla="*/ 462386 h 2719086"/>
                  <a:gd name="connsiteX599" fmla="*/ 275449 w 1416191"/>
                  <a:gd name="connsiteY599" fmla="*/ 511953 h 2719086"/>
                  <a:gd name="connsiteX600" fmla="*/ 275449 w 1416191"/>
                  <a:gd name="connsiteY600" fmla="*/ 511953 h 2719086"/>
                  <a:gd name="connsiteX601" fmla="*/ 351924 w 1416191"/>
                  <a:gd name="connsiteY601" fmla="*/ 540277 h 2719086"/>
                  <a:gd name="connsiteX602" fmla="*/ 350507 w 1416191"/>
                  <a:gd name="connsiteY602" fmla="*/ 618167 h 2719086"/>
                  <a:gd name="connsiteX603" fmla="*/ 288195 w 1416191"/>
                  <a:gd name="connsiteY603" fmla="*/ 654988 h 2719086"/>
                  <a:gd name="connsiteX604" fmla="*/ 189062 w 1416191"/>
                  <a:gd name="connsiteY604" fmla="*/ 511953 h 2719086"/>
                  <a:gd name="connsiteX605" fmla="*/ 310854 w 1416191"/>
                  <a:gd name="connsiteY605" fmla="*/ 426981 h 2719086"/>
                  <a:gd name="connsiteX606" fmla="*/ 519034 w 1416191"/>
                  <a:gd name="connsiteY606" fmla="*/ 834845 h 2719086"/>
                  <a:gd name="connsiteX607" fmla="*/ 507705 w 1416191"/>
                  <a:gd name="connsiteY607" fmla="*/ 837677 h 2719086"/>
                  <a:gd name="connsiteX608" fmla="*/ 493543 w 1416191"/>
                  <a:gd name="connsiteY608" fmla="*/ 830596 h 2719086"/>
                  <a:gd name="connsiteX609" fmla="*/ 519034 w 1416191"/>
                  <a:gd name="connsiteY609" fmla="*/ 834845 h 2719086"/>
                  <a:gd name="connsiteX610" fmla="*/ 510537 w 1416191"/>
                  <a:gd name="connsiteY610" fmla="*/ 839093 h 2719086"/>
                  <a:gd name="connsiteX611" fmla="*/ 524699 w 1416191"/>
                  <a:gd name="connsiteY611" fmla="*/ 834845 h 2719086"/>
                  <a:gd name="connsiteX612" fmla="*/ 572850 w 1416191"/>
                  <a:gd name="connsiteY612" fmla="*/ 841926 h 2719086"/>
                  <a:gd name="connsiteX613" fmla="*/ 577098 w 1416191"/>
                  <a:gd name="connsiteY613" fmla="*/ 873082 h 2719086"/>
                  <a:gd name="connsiteX614" fmla="*/ 510537 w 1416191"/>
                  <a:gd name="connsiteY614" fmla="*/ 839093 h 2719086"/>
                  <a:gd name="connsiteX615" fmla="*/ 1016117 w 1416191"/>
                  <a:gd name="connsiteY615" fmla="*/ 1001955 h 2719086"/>
                  <a:gd name="connsiteX616" fmla="*/ 1016117 w 1416191"/>
                  <a:gd name="connsiteY616" fmla="*/ 1001955 h 2719086"/>
                  <a:gd name="connsiteX617" fmla="*/ 975048 w 1416191"/>
                  <a:gd name="connsiteY617" fmla="*/ 1004788 h 2719086"/>
                  <a:gd name="connsiteX618" fmla="*/ 980713 w 1416191"/>
                  <a:gd name="connsiteY618" fmla="*/ 982128 h 2719086"/>
                  <a:gd name="connsiteX619" fmla="*/ 1016117 w 1416191"/>
                  <a:gd name="connsiteY619" fmla="*/ 1001955 h 2719086"/>
                  <a:gd name="connsiteX620" fmla="*/ 962302 w 1416191"/>
                  <a:gd name="connsiteY620" fmla="*/ 1048689 h 2719086"/>
                  <a:gd name="connsiteX621" fmla="*/ 973632 w 1416191"/>
                  <a:gd name="connsiteY621" fmla="*/ 1007620 h 2719086"/>
                  <a:gd name="connsiteX622" fmla="*/ 1011869 w 1416191"/>
                  <a:gd name="connsiteY622" fmla="*/ 1006203 h 2719086"/>
                  <a:gd name="connsiteX623" fmla="*/ 966551 w 1416191"/>
                  <a:gd name="connsiteY623" fmla="*/ 1052938 h 2719086"/>
                  <a:gd name="connsiteX624" fmla="*/ 962302 w 1416191"/>
                  <a:gd name="connsiteY624" fmla="*/ 1048689 h 2719086"/>
                  <a:gd name="connsiteX625" fmla="*/ 938227 w 1416191"/>
                  <a:gd name="connsiteY625" fmla="*/ 1132245 h 2719086"/>
                  <a:gd name="connsiteX626" fmla="*/ 958054 w 1416191"/>
                  <a:gd name="connsiteY626" fmla="*/ 1064267 h 2719086"/>
                  <a:gd name="connsiteX627" fmla="*/ 966551 w 1416191"/>
                  <a:gd name="connsiteY627" fmla="*/ 1055770 h 2719086"/>
                  <a:gd name="connsiteX628" fmla="*/ 1055771 w 1416191"/>
                  <a:gd name="connsiteY628" fmla="*/ 1140742 h 2719086"/>
                  <a:gd name="connsiteX629" fmla="*/ 938227 w 1416191"/>
                  <a:gd name="connsiteY629" fmla="*/ 1132245 h 2719086"/>
                  <a:gd name="connsiteX630" fmla="*/ 686145 w 1416191"/>
                  <a:gd name="connsiteY630" fmla="*/ 1258286 h 2719086"/>
                  <a:gd name="connsiteX631" fmla="*/ 697474 w 1416191"/>
                  <a:gd name="connsiteY631" fmla="*/ 1288026 h 2719086"/>
                  <a:gd name="connsiteX632" fmla="*/ 630913 w 1416191"/>
                  <a:gd name="connsiteY632" fmla="*/ 1290858 h 2719086"/>
                  <a:gd name="connsiteX633" fmla="*/ 686145 w 1416191"/>
                  <a:gd name="connsiteY633" fmla="*/ 1258286 h 2719086"/>
                  <a:gd name="connsiteX634" fmla="*/ 745625 w 1416191"/>
                  <a:gd name="connsiteY634" fmla="*/ 1014701 h 2719086"/>
                  <a:gd name="connsiteX635" fmla="*/ 738544 w 1416191"/>
                  <a:gd name="connsiteY635" fmla="*/ 994874 h 2719086"/>
                  <a:gd name="connsiteX636" fmla="*/ 738544 w 1416191"/>
                  <a:gd name="connsiteY636" fmla="*/ 994874 h 2719086"/>
                  <a:gd name="connsiteX637" fmla="*/ 725798 w 1416191"/>
                  <a:gd name="connsiteY637" fmla="*/ 1016117 h 2719086"/>
                  <a:gd name="connsiteX638" fmla="*/ 680480 w 1416191"/>
                  <a:gd name="connsiteY638" fmla="*/ 1017533 h 2719086"/>
                  <a:gd name="connsiteX639" fmla="*/ 832012 w 1416191"/>
                  <a:gd name="connsiteY639" fmla="*/ 928313 h 2719086"/>
                  <a:gd name="connsiteX640" fmla="*/ 915568 w 1416191"/>
                  <a:gd name="connsiteY640" fmla="*/ 1007620 h 2719086"/>
                  <a:gd name="connsiteX641" fmla="*/ 745625 w 1416191"/>
                  <a:gd name="connsiteY641" fmla="*/ 1014701 h 2719086"/>
                  <a:gd name="connsiteX642" fmla="*/ 959470 w 1416191"/>
                  <a:gd name="connsiteY642" fmla="*/ 1060019 h 2719086"/>
                  <a:gd name="connsiteX643" fmla="*/ 962302 w 1416191"/>
                  <a:gd name="connsiteY643" fmla="*/ 1050105 h 2719086"/>
                  <a:gd name="connsiteX644" fmla="*/ 965135 w 1416191"/>
                  <a:gd name="connsiteY644" fmla="*/ 1052938 h 2719086"/>
                  <a:gd name="connsiteX645" fmla="*/ 959470 w 1416191"/>
                  <a:gd name="connsiteY645" fmla="*/ 1060019 h 2719086"/>
                  <a:gd name="connsiteX646" fmla="*/ 894325 w 1416191"/>
                  <a:gd name="connsiteY646" fmla="*/ 1129412 h 2719086"/>
                  <a:gd name="connsiteX647" fmla="*/ 955221 w 1416191"/>
                  <a:gd name="connsiteY647" fmla="*/ 1067100 h 2719086"/>
                  <a:gd name="connsiteX648" fmla="*/ 936811 w 1416191"/>
                  <a:gd name="connsiteY648" fmla="*/ 1132245 h 2719086"/>
                  <a:gd name="connsiteX649" fmla="*/ 894325 w 1416191"/>
                  <a:gd name="connsiteY649" fmla="*/ 1129412 h 2719086"/>
                  <a:gd name="connsiteX650" fmla="*/ 894325 w 1416191"/>
                  <a:gd name="connsiteY650" fmla="*/ 1282361 h 2719086"/>
                  <a:gd name="connsiteX651" fmla="*/ 864585 w 1416191"/>
                  <a:gd name="connsiteY651" fmla="*/ 1385743 h 2719086"/>
                  <a:gd name="connsiteX652" fmla="*/ 832012 w 1416191"/>
                  <a:gd name="connsiteY652" fmla="*/ 1283777 h 2719086"/>
                  <a:gd name="connsiteX653" fmla="*/ 894325 w 1416191"/>
                  <a:gd name="connsiteY653" fmla="*/ 1282361 h 2719086"/>
                  <a:gd name="connsiteX654" fmla="*/ 897157 w 1416191"/>
                  <a:gd name="connsiteY654" fmla="*/ 1279529 h 2719086"/>
                  <a:gd name="connsiteX655" fmla="*/ 904238 w 1416191"/>
                  <a:gd name="connsiteY655" fmla="*/ 1252621 h 2719086"/>
                  <a:gd name="connsiteX656" fmla="*/ 1040193 w 1416191"/>
                  <a:gd name="connsiteY656" fmla="*/ 1273864 h 2719086"/>
                  <a:gd name="connsiteX657" fmla="*/ 897157 w 1416191"/>
                  <a:gd name="connsiteY657" fmla="*/ 1279529 h 2719086"/>
                  <a:gd name="connsiteX658" fmla="*/ 902822 w 1416191"/>
                  <a:gd name="connsiteY658" fmla="*/ 1252621 h 2719086"/>
                  <a:gd name="connsiteX659" fmla="*/ 895741 w 1416191"/>
                  <a:gd name="connsiteY659" fmla="*/ 1279529 h 2719086"/>
                  <a:gd name="connsiteX660" fmla="*/ 833429 w 1416191"/>
                  <a:gd name="connsiteY660" fmla="*/ 1282361 h 2719086"/>
                  <a:gd name="connsiteX661" fmla="*/ 819267 w 1416191"/>
                  <a:gd name="connsiteY661" fmla="*/ 1238459 h 2719086"/>
                  <a:gd name="connsiteX662" fmla="*/ 902822 w 1416191"/>
                  <a:gd name="connsiteY662" fmla="*/ 1252621 h 2719086"/>
                  <a:gd name="connsiteX663" fmla="*/ 890076 w 1416191"/>
                  <a:gd name="connsiteY663" fmla="*/ 1130829 h 2719086"/>
                  <a:gd name="connsiteX664" fmla="*/ 890076 w 1416191"/>
                  <a:gd name="connsiteY664" fmla="*/ 1130829 h 2719086"/>
                  <a:gd name="connsiteX665" fmla="*/ 936811 w 1416191"/>
                  <a:gd name="connsiteY665" fmla="*/ 1133661 h 2719086"/>
                  <a:gd name="connsiteX666" fmla="*/ 904238 w 1416191"/>
                  <a:gd name="connsiteY666" fmla="*/ 1249788 h 2719086"/>
                  <a:gd name="connsiteX667" fmla="*/ 817851 w 1416191"/>
                  <a:gd name="connsiteY667" fmla="*/ 1235627 h 2719086"/>
                  <a:gd name="connsiteX668" fmla="*/ 747041 w 1416191"/>
                  <a:gd name="connsiteY668" fmla="*/ 1016117 h 2719086"/>
                  <a:gd name="connsiteX669" fmla="*/ 919817 w 1416191"/>
                  <a:gd name="connsiteY669" fmla="*/ 1009036 h 2719086"/>
                  <a:gd name="connsiteX670" fmla="*/ 960886 w 1416191"/>
                  <a:gd name="connsiteY670" fmla="*/ 1047273 h 2719086"/>
                  <a:gd name="connsiteX671" fmla="*/ 956637 w 1416191"/>
                  <a:gd name="connsiteY671" fmla="*/ 1061435 h 2719086"/>
                  <a:gd name="connsiteX672" fmla="*/ 890076 w 1416191"/>
                  <a:gd name="connsiteY672" fmla="*/ 1130829 h 2719086"/>
                  <a:gd name="connsiteX673" fmla="*/ 922649 w 1416191"/>
                  <a:gd name="connsiteY673" fmla="*/ 1009036 h 2719086"/>
                  <a:gd name="connsiteX674" fmla="*/ 972216 w 1416191"/>
                  <a:gd name="connsiteY674" fmla="*/ 1007620 h 2719086"/>
                  <a:gd name="connsiteX675" fmla="*/ 960886 w 1416191"/>
                  <a:gd name="connsiteY675" fmla="*/ 1045857 h 2719086"/>
                  <a:gd name="connsiteX676" fmla="*/ 922649 w 1416191"/>
                  <a:gd name="connsiteY676" fmla="*/ 1009036 h 2719086"/>
                  <a:gd name="connsiteX677" fmla="*/ 856088 w 1416191"/>
                  <a:gd name="connsiteY677" fmla="*/ 915567 h 2719086"/>
                  <a:gd name="connsiteX678" fmla="*/ 977880 w 1416191"/>
                  <a:gd name="connsiteY678" fmla="*/ 982128 h 2719086"/>
                  <a:gd name="connsiteX679" fmla="*/ 970799 w 1416191"/>
                  <a:gd name="connsiteY679" fmla="*/ 1004788 h 2719086"/>
                  <a:gd name="connsiteX680" fmla="*/ 918400 w 1416191"/>
                  <a:gd name="connsiteY680" fmla="*/ 1007620 h 2719086"/>
                  <a:gd name="connsiteX681" fmla="*/ 834845 w 1416191"/>
                  <a:gd name="connsiteY681" fmla="*/ 928313 h 2719086"/>
                  <a:gd name="connsiteX682" fmla="*/ 856088 w 1416191"/>
                  <a:gd name="connsiteY682" fmla="*/ 915567 h 2719086"/>
                  <a:gd name="connsiteX683" fmla="*/ 730047 w 1416191"/>
                  <a:gd name="connsiteY683" fmla="*/ 1016117 h 2719086"/>
                  <a:gd name="connsiteX684" fmla="*/ 738544 w 1416191"/>
                  <a:gd name="connsiteY684" fmla="*/ 1000539 h 2719086"/>
                  <a:gd name="connsiteX685" fmla="*/ 744209 w 1416191"/>
                  <a:gd name="connsiteY685" fmla="*/ 1016117 h 2719086"/>
                  <a:gd name="connsiteX686" fmla="*/ 730047 w 1416191"/>
                  <a:gd name="connsiteY686" fmla="*/ 1016117 h 2719086"/>
                  <a:gd name="connsiteX687" fmla="*/ 744209 w 1416191"/>
                  <a:gd name="connsiteY687" fmla="*/ 1017533 h 2719086"/>
                  <a:gd name="connsiteX688" fmla="*/ 815018 w 1416191"/>
                  <a:gd name="connsiteY688" fmla="*/ 1237043 h 2719086"/>
                  <a:gd name="connsiteX689" fmla="*/ 741376 w 1416191"/>
                  <a:gd name="connsiteY689" fmla="*/ 1225713 h 2719086"/>
                  <a:gd name="connsiteX690" fmla="*/ 741376 w 1416191"/>
                  <a:gd name="connsiteY690" fmla="*/ 1225713 h 2719086"/>
                  <a:gd name="connsiteX691" fmla="*/ 687561 w 1416191"/>
                  <a:gd name="connsiteY691" fmla="*/ 1256869 h 2719086"/>
                  <a:gd name="connsiteX692" fmla="*/ 650740 w 1416191"/>
                  <a:gd name="connsiteY692" fmla="*/ 1157736 h 2719086"/>
                  <a:gd name="connsiteX693" fmla="*/ 728631 w 1416191"/>
                  <a:gd name="connsiteY693" fmla="*/ 1018949 h 2719086"/>
                  <a:gd name="connsiteX694" fmla="*/ 744209 w 1416191"/>
                  <a:gd name="connsiteY694" fmla="*/ 1017533 h 2719086"/>
                  <a:gd name="connsiteX695" fmla="*/ 742793 w 1416191"/>
                  <a:gd name="connsiteY695" fmla="*/ 1227129 h 2719086"/>
                  <a:gd name="connsiteX696" fmla="*/ 816434 w 1416191"/>
                  <a:gd name="connsiteY696" fmla="*/ 1238459 h 2719086"/>
                  <a:gd name="connsiteX697" fmla="*/ 830596 w 1416191"/>
                  <a:gd name="connsiteY697" fmla="*/ 1282361 h 2719086"/>
                  <a:gd name="connsiteX698" fmla="*/ 700307 w 1416191"/>
                  <a:gd name="connsiteY698" fmla="*/ 1288026 h 2719086"/>
                  <a:gd name="connsiteX699" fmla="*/ 688977 w 1416191"/>
                  <a:gd name="connsiteY699" fmla="*/ 1258286 h 2719086"/>
                  <a:gd name="connsiteX700" fmla="*/ 742793 w 1416191"/>
                  <a:gd name="connsiteY700" fmla="*/ 1227129 h 2719086"/>
                  <a:gd name="connsiteX701" fmla="*/ 686145 w 1416191"/>
                  <a:gd name="connsiteY701" fmla="*/ 1256869 h 2719086"/>
                  <a:gd name="connsiteX702" fmla="*/ 626665 w 1416191"/>
                  <a:gd name="connsiteY702" fmla="*/ 1290858 h 2719086"/>
                  <a:gd name="connsiteX703" fmla="*/ 605422 w 1416191"/>
                  <a:gd name="connsiteY703" fmla="*/ 1292274 h 2719086"/>
                  <a:gd name="connsiteX704" fmla="*/ 619584 w 1416191"/>
                  <a:gd name="connsiteY704" fmla="*/ 1211551 h 2719086"/>
                  <a:gd name="connsiteX705" fmla="*/ 649324 w 1416191"/>
                  <a:gd name="connsiteY705" fmla="*/ 1159152 h 2719086"/>
                  <a:gd name="connsiteX706" fmla="*/ 686145 w 1416191"/>
                  <a:gd name="connsiteY706" fmla="*/ 1256869 h 2719086"/>
                  <a:gd name="connsiteX707" fmla="*/ 602590 w 1416191"/>
                  <a:gd name="connsiteY707" fmla="*/ 1306436 h 2719086"/>
                  <a:gd name="connsiteX708" fmla="*/ 626665 w 1416191"/>
                  <a:gd name="connsiteY708" fmla="*/ 1292274 h 2719086"/>
                  <a:gd name="connsiteX709" fmla="*/ 698891 w 1416191"/>
                  <a:gd name="connsiteY709" fmla="*/ 1289442 h 2719086"/>
                  <a:gd name="connsiteX710" fmla="*/ 771116 w 1416191"/>
                  <a:gd name="connsiteY710" fmla="*/ 1484876 h 2719086"/>
                  <a:gd name="connsiteX711" fmla="*/ 735712 w 1416191"/>
                  <a:gd name="connsiteY711" fmla="*/ 1501870 h 2719086"/>
                  <a:gd name="connsiteX712" fmla="*/ 585595 w 1416191"/>
                  <a:gd name="connsiteY712" fmla="*/ 1395656 h 2719086"/>
                  <a:gd name="connsiteX713" fmla="*/ 602590 w 1416191"/>
                  <a:gd name="connsiteY713" fmla="*/ 1306436 h 2719086"/>
                  <a:gd name="connsiteX714" fmla="*/ 1017534 w 1416191"/>
                  <a:gd name="connsiteY714" fmla="*/ 1003371 h 2719086"/>
                  <a:gd name="connsiteX715" fmla="*/ 1018950 w 1416191"/>
                  <a:gd name="connsiteY715" fmla="*/ 1001955 h 2719086"/>
                  <a:gd name="connsiteX716" fmla="*/ 980713 w 1416191"/>
                  <a:gd name="connsiteY716" fmla="*/ 982128 h 2719086"/>
                  <a:gd name="connsiteX717" fmla="*/ 987794 w 1416191"/>
                  <a:gd name="connsiteY717" fmla="*/ 958053 h 2719086"/>
                  <a:gd name="connsiteX718" fmla="*/ 1079846 w 1416191"/>
                  <a:gd name="connsiteY718" fmla="*/ 967967 h 2719086"/>
                  <a:gd name="connsiteX719" fmla="*/ 1079846 w 1416191"/>
                  <a:gd name="connsiteY719" fmla="*/ 1001955 h 2719086"/>
                  <a:gd name="connsiteX720" fmla="*/ 1017534 w 1416191"/>
                  <a:gd name="connsiteY720" fmla="*/ 1003371 h 2719086"/>
                  <a:gd name="connsiteX721" fmla="*/ 728631 w 1416191"/>
                  <a:gd name="connsiteY721" fmla="*/ 773948 h 2719086"/>
                  <a:gd name="connsiteX722" fmla="*/ 945308 w 1416191"/>
                  <a:gd name="connsiteY722" fmla="*/ 953805 h 2719086"/>
                  <a:gd name="connsiteX723" fmla="*/ 945308 w 1416191"/>
                  <a:gd name="connsiteY723" fmla="*/ 953805 h 2719086"/>
                  <a:gd name="connsiteX724" fmla="*/ 986377 w 1416191"/>
                  <a:gd name="connsiteY724" fmla="*/ 958053 h 2719086"/>
                  <a:gd name="connsiteX725" fmla="*/ 979296 w 1416191"/>
                  <a:gd name="connsiteY725" fmla="*/ 980712 h 2719086"/>
                  <a:gd name="connsiteX726" fmla="*/ 856088 w 1416191"/>
                  <a:gd name="connsiteY726" fmla="*/ 914151 h 2719086"/>
                  <a:gd name="connsiteX727" fmla="*/ 856088 w 1416191"/>
                  <a:gd name="connsiteY727" fmla="*/ 914151 h 2719086"/>
                  <a:gd name="connsiteX728" fmla="*/ 833429 w 1416191"/>
                  <a:gd name="connsiteY728" fmla="*/ 926897 h 2719086"/>
                  <a:gd name="connsiteX729" fmla="*/ 772532 w 1416191"/>
                  <a:gd name="connsiteY729" fmla="*/ 868833 h 2719086"/>
                  <a:gd name="connsiteX730" fmla="*/ 772532 w 1416191"/>
                  <a:gd name="connsiteY730" fmla="*/ 868833 h 2719086"/>
                  <a:gd name="connsiteX731" fmla="*/ 574266 w 1416191"/>
                  <a:gd name="connsiteY731" fmla="*/ 840509 h 2719086"/>
                  <a:gd name="connsiteX732" fmla="*/ 571433 w 1416191"/>
                  <a:gd name="connsiteY732" fmla="*/ 820683 h 2719086"/>
                  <a:gd name="connsiteX733" fmla="*/ 728631 w 1416191"/>
                  <a:gd name="connsiteY733" fmla="*/ 773948 h 2719086"/>
                  <a:gd name="connsiteX734" fmla="*/ 725798 w 1416191"/>
                  <a:gd name="connsiteY734" fmla="*/ 1017533 h 2719086"/>
                  <a:gd name="connsiteX735" fmla="*/ 649324 w 1416191"/>
                  <a:gd name="connsiteY735" fmla="*/ 1153488 h 2719086"/>
                  <a:gd name="connsiteX736" fmla="*/ 619584 w 1416191"/>
                  <a:gd name="connsiteY736" fmla="*/ 1075597 h 2719086"/>
                  <a:gd name="connsiteX737" fmla="*/ 619584 w 1416191"/>
                  <a:gd name="connsiteY737" fmla="*/ 1075597 h 2719086"/>
                  <a:gd name="connsiteX738" fmla="*/ 565769 w 1416191"/>
                  <a:gd name="connsiteY738" fmla="*/ 1194557 h 2719086"/>
                  <a:gd name="connsiteX739" fmla="*/ 443976 w 1416191"/>
                  <a:gd name="connsiteY739" fmla="*/ 1157736 h 2719086"/>
                  <a:gd name="connsiteX740" fmla="*/ 679064 w 1416191"/>
                  <a:gd name="connsiteY740" fmla="*/ 1020365 h 2719086"/>
                  <a:gd name="connsiteX741" fmla="*/ 725798 w 1416191"/>
                  <a:gd name="connsiteY741" fmla="*/ 1017533 h 2719086"/>
                  <a:gd name="connsiteX742" fmla="*/ 622416 w 1416191"/>
                  <a:gd name="connsiteY742" fmla="*/ 1293690 h 2719086"/>
                  <a:gd name="connsiteX743" fmla="*/ 602590 w 1416191"/>
                  <a:gd name="connsiteY743" fmla="*/ 1305020 h 2719086"/>
                  <a:gd name="connsiteX744" fmla="*/ 604006 w 1416191"/>
                  <a:gd name="connsiteY744" fmla="*/ 1295107 h 2719086"/>
                  <a:gd name="connsiteX745" fmla="*/ 622416 w 1416191"/>
                  <a:gd name="connsiteY745" fmla="*/ 1293690 h 2719086"/>
                  <a:gd name="connsiteX746" fmla="*/ 657821 w 1416191"/>
                  <a:gd name="connsiteY746" fmla="*/ 1608085 h 2719086"/>
                  <a:gd name="connsiteX747" fmla="*/ 599757 w 1416191"/>
                  <a:gd name="connsiteY747" fmla="*/ 1634993 h 2719086"/>
                  <a:gd name="connsiteX748" fmla="*/ 596925 w 1416191"/>
                  <a:gd name="connsiteY748" fmla="*/ 1623663 h 2719086"/>
                  <a:gd name="connsiteX749" fmla="*/ 657821 w 1416191"/>
                  <a:gd name="connsiteY749" fmla="*/ 1608085 h 2719086"/>
                  <a:gd name="connsiteX750" fmla="*/ 459554 w 1416191"/>
                  <a:gd name="connsiteY750" fmla="*/ 1640657 h 2719086"/>
                  <a:gd name="connsiteX751" fmla="*/ 548774 w 1416191"/>
                  <a:gd name="connsiteY751" fmla="*/ 1596755 h 2719086"/>
                  <a:gd name="connsiteX752" fmla="*/ 541693 w 1416191"/>
                  <a:gd name="connsiteY752" fmla="*/ 1634993 h 2719086"/>
                  <a:gd name="connsiteX753" fmla="*/ 482213 w 1416191"/>
                  <a:gd name="connsiteY753" fmla="*/ 1649154 h 2719086"/>
                  <a:gd name="connsiteX754" fmla="*/ 459554 w 1416191"/>
                  <a:gd name="connsiteY754" fmla="*/ 1640657 h 2719086"/>
                  <a:gd name="connsiteX755" fmla="*/ 451057 w 1416191"/>
                  <a:gd name="connsiteY755" fmla="*/ 1300771 h 2719086"/>
                  <a:gd name="connsiteX756" fmla="*/ 519034 w 1416191"/>
                  <a:gd name="connsiteY756" fmla="*/ 1297939 h 2719086"/>
                  <a:gd name="connsiteX757" fmla="*/ 502040 w 1416191"/>
                  <a:gd name="connsiteY757" fmla="*/ 1336176 h 2719086"/>
                  <a:gd name="connsiteX758" fmla="*/ 451057 w 1416191"/>
                  <a:gd name="connsiteY758" fmla="*/ 1300771 h 2719086"/>
                  <a:gd name="connsiteX759" fmla="*/ 594092 w 1416191"/>
                  <a:gd name="connsiteY759" fmla="*/ 1625079 h 2719086"/>
                  <a:gd name="connsiteX760" fmla="*/ 596925 w 1416191"/>
                  <a:gd name="connsiteY760" fmla="*/ 1636408 h 2719086"/>
                  <a:gd name="connsiteX761" fmla="*/ 538861 w 1416191"/>
                  <a:gd name="connsiteY761" fmla="*/ 1663316 h 2719086"/>
                  <a:gd name="connsiteX762" fmla="*/ 543110 w 1416191"/>
                  <a:gd name="connsiteY762" fmla="*/ 1637825 h 2719086"/>
                  <a:gd name="connsiteX763" fmla="*/ 594092 w 1416191"/>
                  <a:gd name="connsiteY763" fmla="*/ 1625079 h 2719086"/>
                  <a:gd name="connsiteX764" fmla="*/ 483629 w 1416191"/>
                  <a:gd name="connsiteY764" fmla="*/ 1374413 h 2719086"/>
                  <a:gd name="connsiteX765" fmla="*/ 456722 w 1416191"/>
                  <a:gd name="connsiteY765" fmla="*/ 1433893 h 2719086"/>
                  <a:gd name="connsiteX766" fmla="*/ 412820 w 1416191"/>
                  <a:gd name="connsiteY766" fmla="*/ 1415483 h 2719086"/>
                  <a:gd name="connsiteX767" fmla="*/ 483629 w 1416191"/>
                  <a:gd name="connsiteY767" fmla="*/ 1374413 h 2719086"/>
                  <a:gd name="connsiteX768" fmla="*/ 523283 w 1416191"/>
                  <a:gd name="connsiteY768" fmla="*/ 1351754 h 2719086"/>
                  <a:gd name="connsiteX769" fmla="*/ 599757 w 1416191"/>
                  <a:gd name="connsiteY769" fmla="*/ 1307852 h 2719086"/>
                  <a:gd name="connsiteX770" fmla="*/ 584179 w 1416191"/>
                  <a:gd name="connsiteY770" fmla="*/ 1394240 h 2719086"/>
                  <a:gd name="connsiteX771" fmla="*/ 523283 w 1416191"/>
                  <a:gd name="connsiteY771" fmla="*/ 1351754 h 2719086"/>
                  <a:gd name="connsiteX772" fmla="*/ 571433 w 1416191"/>
                  <a:gd name="connsiteY772" fmla="*/ 1547189 h 2719086"/>
                  <a:gd name="connsiteX773" fmla="*/ 561520 w 1416191"/>
                  <a:gd name="connsiteY773" fmla="*/ 1542940 h 2719086"/>
                  <a:gd name="connsiteX774" fmla="*/ 565769 w 1416191"/>
                  <a:gd name="connsiteY774" fmla="*/ 1523113 h 2719086"/>
                  <a:gd name="connsiteX775" fmla="*/ 571433 w 1416191"/>
                  <a:gd name="connsiteY775" fmla="*/ 1547189 h 2719086"/>
                  <a:gd name="connsiteX776" fmla="*/ 568601 w 1416191"/>
                  <a:gd name="connsiteY776" fmla="*/ 1487708 h 2719086"/>
                  <a:gd name="connsiteX777" fmla="*/ 564352 w 1416191"/>
                  <a:gd name="connsiteY777" fmla="*/ 1513200 h 2719086"/>
                  <a:gd name="connsiteX778" fmla="*/ 553023 w 1416191"/>
                  <a:gd name="connsiteY778" fmla="*/ 1476379 h 2719086"/>
                  <a:gd name="connsiteX779" fmla="*/ 555855 w 1416191"/>
                  <a:gd name="connsiteY779" fmla="*/ 1477795 h 2719086"/>
                  <a:gd name="connsiteX780" fmla="*/ 568601 w 1416191"/>
                  <a:gd name="connsiteY780" fmla="*/ 1487708 h 2719086"/>
                  <a:gd name="connsiteX781" fmla="*/ 557271 w 1416191"/>
                  <a:gd name="connsiteY781" fmla="*/ 1477795 h 2719086"/>
                  <a:gd name="connsiteX782" fmla="*/ 548774 w 1416191"/>
                  <a:gd name="connsiteY782" fmla="*/ 1472131 h 2719086"/>
                  <a:gd name="connsiteX783" fmla="*/ 548774 w 1416191"/>
                  <a:gd name="connsiteY783" fmla="*/ 1472131 h 2719086"/>
                  <a:gd name="connsiteX784" fmla="*/ 550190 w 1416191"/>
                  <a:gd name="connsiteY784" fmla="*/ 1474963 h 2719086"/>
                  <a:gd name="connsiteX785" fmla="*/ 458138 w 1416191"/>
                  <a:gd name="connsiteY785" fmla="*/ 1435310 h 2719086"/>
                  <a:gd name="connsiteX786" fmla="*/ 486462 w 1416191"/>
                  <a:gd name="connsiteY786" fmla="*/ 1372997 h 2719086"/>
                  <a:gd name="connsiteX787" fmla="*/ 521867 w 1416191"/>
                  <a:gd name="connsiteY787" fmla="*/ 1353170 h 2719086"/>
                  <a:gd name="connsiteX788" fmla="*/ 584179 w 1416191"/>
                  <a:gd name="connsiteY788" fmla="*/ 1397072 h 2719086"/>
                  <a:gd name="connsiteX789" fmla="*/ 568601 w 1416191"/>
                  <a:gd name="connsiteY789" fmla="*/ 1483460 h 2719086"/>
                  <a:gd name="connsiteX790" fmla="*/ 557271 w 1416191"/>
                  <a:gd name="connsiteY790" fmla="*/ 1477795 h 2719086"/>
                  <a:gd name="connsiteX791" fmla="*/ 571433 w 1416191"/>
                  <a:gd name="connsiteY791" fmla="*/ 1548605 h 2719086"/>
                  <a:gd name="connsiteX792" fmla="*/ 579931 w 1416191"/>
                  <a:gd name="connsiteY792" fmla="*/ 1578345 h 2719086"/>
                  <a:gd name="connsiteX793" fmla="*/ 551607 w 1416191"/>
                  <a:gd name="connsiteY793" fmla="*/ 1592507 h 2719086"/>
                  <a:gd name="connsiteX794" fmla="*/ 560104 w 1416191"/>
                  <a:gd name="connsiteY794" fmla="*/ 1544356 h 2719086"/>
                  <a:gd name="connsiteX795" fmla="*/ 571433 w 1416191"/>
                  <a:gd name="connsiteY795" fmla="*/ 1548605 h 2719086"/>
                  <a:gd name="connsiteX796" fmla="*/ 612503 w 1416191"/>
                  <a:gd name="connsiteY796" fmla="*/ 1562767 h 2719086"/>
                  <a:gd name="connsiteX797" fmla="*/ 582763 w 1416191"/>
                  <a:gd name="connsiteY797" fmla="*/ 1576929 h 2719086"/>
                  <a:gd name="connsiteX798" fmla="*/ 574266 w 1416191"/>
                  <a:gd name="connsiteY798" fmla="*/ 1548605 h 2719086"/>
                  <a:gd name="connsiteX799" fmla="*/ 612503 w 1416191"/>
                  <a:gd name="connsiteY799" fmla="*/ 1562767 h 2719086"/>
                  <a:gd name="connsiteX800" fmla="*/ 572850 w 1416191"/>
                  <a:gd name="connsiteY800" fmla="*/ 1547189 h 2719086"/>
                  <a:gd name="connsiteX801" fmla="*/ 564352 w 1416191"/>
                  <a:gd name="connsiteY801" fmla="*/ 1518865 h 2719086"/>
                  <a:gd name="connsiteX802" fmla="*/ 570017 w 1416191"/>
                  <a:gd name="connsiteY802" fmla="*/ 1490541 h 2719086"/>
                  <a:gd name="connsiteX803" fmla="*/ 645075 w 1416191"/>
                  <a:gd name="connsiteY803" fmla="*/ 1547189 h 2719086"/>
                  <a:gd name="connsiteX804" fmla="*/ 613919 w 1416191"/>
                  <a:gd name="connsiteY804" fmla="*/ 1562767 h 2719086"/>
                  <a:gd name="connsiteX805" fmla="*/ 572850 w 1416191"/>
                  <a:gd name="connsiteY805" fmla="*/ 1547189 h 2719086"/>
                  <a:gd name="connsiteX806" fmla="*/ 550190 w 1416191"/>
                  <a:gd name="connsiteY806" fmla="*/ 1476379 h 2719086"/>
                  <a:gd name="connsiteX807" fmla="*/ 562936 w 1416191"/>
                  <a:gd name="connsiteY807" fmla="*/ 1518865 h 2719086"/>
                  <a:gd name="connsiteX808" fmla="*/ 558688 w 1416191"/>
                  <a:gd name="connsiteY808" fmla="*/ 1542940 h 2719086"/>
                  <a:gd name="connsiteX809" fmla="*/ 429814 w 1416191"/>
                  <a:gd name="connsiteY809" fmla="*/ 1499038 h 2719086"/>
                  <a:gd name="connsiteX810" fmla="*/ 458138 w 1416191"/>
                  <a:gd name="connsiteY810" fmla="*/ 1436726 h 2719086"/>
                  <a:gd name="connsiteX811" fmla="*/ 550190 w 1416191"/>
                  <a:gd name="connsiteY811" fmla="*/ 1476379 h 2719086"/>
                  <a:gd name="connsiteX812" fmla="*/ 581347 w 1416191"/>
                  <a:gd name="connsiteY812" fmla="*/ 1581177 h 2719086"/>
                  <a:gd name="connsiteX813" fmla="*/ 594092 w 1416191"/>
                  <a:gd name="connsiteY813" fmla="*/ 1623663 h 2719086"/>
                  <a:gd name="connsiteX814" fmla="*/ 544526 w 1416191"/>
                  <a:gd name="connsiteY814" fmla="*/ 1636408 h 2719086"/>
                  <a:gd name="connsiteX815" fmla="*/ 551607 w 1416191"/>
                  <a:gd name="connsiteY815" fmla="*/ 1596755 h 2719086"/>
                  <a:gd name="connsiteX816" fmla="*/ 581347 w 1416191"/>
                  <a:gd name="connsiteY816" fmla="*/ 1581177 h 2719086"/>
                  <a:gd name="connsiteX817" fmla="*/ 676231 w 1416191"/>
                  <a:gd name="connsiteY817" fmla="*/ 1531610 h 2719086"/>
                  <a:gd name="connsiteX818" fmla="*/ 647908 w 1416191"/>
                  <a:gd name="connsiteY818" fmla="*/ 1545772 h 2719086"/>
                  <a:gd name="connsiteX819" fmla="*/ 570017 w 1416191"/>
                  <a:gd name="connsiteY819" fmla="*/ 1487708 h 2719086"/>
                  <a:gd name="connsiteX820" fmla="*/ 570017 w 1416191"/>
                  <a:gd name="connsiteY820" fmla="*/ 1486292 h 2719086"/>
                  <a:gd name="connsiteX821" fmla="*/ 676231 w 1416191"/>
                  <a:gd name="connsiteY821" fmla="*/ 1531610 h 2719086"/>
                  <a:gd name="connsiteX822" fmla="*/ 487878 w 1416191"/>
                  <a:gd name="connsiteY822" fmla="*/ 1370165 h 2719086"/>
                  <a:gd name="connsiteX823" fmla="*/ 502040 w 1416191"/>
                  <a:gd name="connsiteY823" fmla="*/ 1339008 h 2719086"/>
                  <a:gd name="connsiteX824" fmla="*/ 520450 w 1416191"/>
                  <a:gd name="connsiteY824" fmla="*/ 1351754 h 2719086"/>
                  <a:gd name="connsiteX825" fmla="*/ 487878 w 1416191"/>
                  <a:gd name="connsiteY825" fmla="*/ 1370165 h 2719086"/>
                  <a:gd name="connsiteX826" fmla="*/ 595509 w 1416191"/>
                  <a:gd name="connsiteY826" fmla="*/ 1622246 h 2719086"/>
                  <a:gd name="connsiteX827" fmla="*/ 582763 w 1416191"/>
                  <a:gd name="connsiteY827" fmla="*/ 1579761 h 2719086"/>
                  <a:gd name="connsiteX828" fmla="*/ 615335 w 1416191"/>
                  <a:gd name="connsiteY828" fmla="*/ 1564183 h 2719086"/>
                  <a:gd name="connsiteX829" fmla="*/ 696058 w 1416191"/>
                  <a:gd name="connsiteY829" fmla="*/ 1591091 h 2719086"/>
                  <a:gd name="connsiteX830" fmla="*/ 667734 w 1416191"/>
                  <a:gd name="connsiteY830" fmla="*/ 1603836 h 2719086"/>
                  <a:gd name="connsiteX831" fmla="*/ 595509 w 1416191"/>
                  <a:gd name="connsiteY831" fmla="*/ 1622246 h 2719086"/>
                  <a:gd name="connsiteX832" fmla="*/ 647908 w 1416191"/>
                  <a:gd name="connsiteY832" fmla="*/ 1548605 h 2719086"/>
                  <a:gd name="connsiteX833" fmla="*/ 701723 w 1416191"/>
                  <a:gd name="connsiteY833" fmla="*/ 1589674 h 2719086"/>
                  <a:gd name="connsiteX834" fmla="*/ 698891 w 1416191"/>
                  <a:gd name="connsiteY834" fmla="*/ 1591091 h 2719086"/>
                  <a:gd name="connsiteX835" fmla="*/ 618168 w 1416191"/>
                  <a:gd name="connsiteY835" fmla="*/ 1564183 h 2719086"/>
                  <a:gd name="connsiteX836" fmla="*/ 647908 w 1416191"/>
                  <a:gd name="connsiteY836" fmla="*/ 1548605 h 2719086"/>
                  <a:gd name="connsiteX837" fmla="*/ 571433 w 1416191"/>
                  <a:gd name="connsiteY837" fmla="*/ 1483460 h 2719086"/>
                  <a:gd name="connsiteX838" fmla="*/ 587012 w 1416191"/>
                  <a:gd name="connsiteY838" fmla="*/ 1398488 h 2719086"/>
                  <a:gd name="connsiteX839" fmla="*/ 734295 w 1416191"/>
                  <a:gd name="connsiteY839" fmla="*/ 1503287 h 2719086"/>
                  <a:gd name="connsiteX840" fmla="*/ 679064 w 1416191"/>
                  <a:gd name="connsiteY840" fmla="*/ 1530194 h 2719086"/>
                  <a:gd name="connsiteX841" fmla="*/ 571433 w 1416191"/>
                  <a:gd name="connsiteY841" fmla="*/ 1483460 h 2719086"/>
                  <a:gd name="connsiteX842" fmla="*/ 599757 w 1416191"/>
                  <a:gd name="connsiteY842" fmla="*/ 1305020 h 2719086"/>
                  <a:gd name="connsiteX843" fmla="*/ 521867 w 1416191"/>
                  <a:gd name="connsiteY843" fmla="*/ 1350338 h 2719086"/>
                  <a:gd name="connsiteX844" fmla="*/ 503456 w 1416191"/>
                  <a:gd name="connsiteY844" fmla="*/ 1336176 h 2719086"/>
                  <a:gd name="connsiteX845" fmla="*/ 521867 w 1416191"/>
                  <a:gd name="connsiteY845" fmla="*/ 1296523 h 2719086"/>
                  <a:gd name="connsiteX846" fmla="*/ 604006 w 1416191"/>
                  <a:gd name="connsiteY846" fmla="*/ 1293690 h 2719086"/>
                  <a:gd name="connsiteX847" fmla="*/ 599757 w 1416191"/>
                  <a:gd name="connsiteY847" fmla="*/ 1305020 h 2719086"/>
                  <a:gd name="connsiteX848" fmla="*/ 598341 w 1416191"/>
                  <a:gd name="connsiteY848" fmla="*/ 1637825 h 2719086"/>
                  <a:gd name="connsiteX849" fmla="*/ 619584 w 1416191"/>
                  <a:gd name="connsiteY849" fmla="*/ 1707218 h 2719086"/>
                  <a:gd name="connsiteX850" fmla="*/ 528948 w 1416191"/>
                  <a:gd name="connsiteY850" fmla="*/ 1722796 h 2719086"/>
                  <a:gd name="connsiteX851" fmla="*/ 538861 w 1416191"/>
                  <a:gd name="connsiteY851" fmla="*/ 1664732 h 2719086"/>
                  <a:gd name="connsiteX852" fmla="*/ 598341 w 1416191"/>
                  <a:gd name="connsiteY852" fmla="*/ 1637825 h 2719086"/>
                  <a:gd name="connsiteX853" fmla="*/ 705972 w 1416191"/>
                  <a:gd name="connsiteY853" fmla="*/ 1595339 h 2719086"/>
                  <a:gd name="connsiteX854" fmla="*/ 679064 w 1416191"/>
                  <a:gd name="connsiteY854" fmla="*/ 1602420 h 2719086"/>
                  <a:gd name="connsiteX855" fmla="*/ 698891 w 1416191"/>
                  <a:gd name="connsiteY855" fmla="*/ 1593923 h 2719086"/>
                  <a:gd name="connsiteX856" fmla="*/ 705972 w 1416191"/>
                  <a:gd name="connsiteY856" fmla="*/ 1595339 h 2719086"/>
                  <a:gd name="connsiteX857" fmla="*/ 830596 w 1416191"/>
                  <a:gd name="connsiteY857" fmla="*/ 1285193 h 2719086"/>
                  <a:gd name="connsiteX858" fmla="*/ 864585 w 1416191"/>
                  <a:gd name="connsiteY858" fmla="*/ 1392824 h 2719086"/>
                  <a:gd name="connsiteX859" fmla="*/ 864585 w 1416191"/>
                  <a:gd name="connsiteY859" fmla="*/ 1392824 h 2719086"/>
                  <a:gd name="connsiteX860" fmla="*/ 895741 w 1416191"/>
                  <a:gd name="connsiteY860" fmla="*/ 1282361 h 2719086"/>
                  <a:gd name="connsiteX861" fmla="*/ 1051522 w 1416191"/>
                  <a:gd name="connsiteY861" fmla="*/ 1276696 h 2719086"/>
                  <a:gd name="connsiteX862" fmla="*/ 1051522 w 1416191"/>
                  <a:gd name="connsiteY862" fmla="*/ 1276696 h 2719086"/>
                  <a:gd name="connsiteX863" fmla="*/ 1051522 w 1416191"/>
                  <a:gd name="connsiteY863" fmla="*/ 1275280 h 2719086"/>
                  <a:gd name="connsiteX864" fmla="*/ 1051522 w 1416191"/>
                  <a:gd name="connsiteY864" fmla="*/ 1275280 h 2719086"/>
                  <a:gd name="connsiteX865" fmla="*/ 904238 w 1416191"/>
                  <a:gd name="connsiteY865" fmla="*/ 1252621 h 2719086"/>
                  <a:gd name="connsiteX866" fmla="*/ 936811 w 1416191"/>
                  <a:gd name="connsiteY866" fmla="*/ 1136493 h 2719086"/>
                  <a:gd name="connsiteX867" fmla="*/ 1057187 w 1416191"/>
                  <a:gd name="connsiteY867" fmla="*/ 1143574 h 2719086"/>
                  <a:gd name="connsiteX868" fmla="*/ 1197390 w 1416191"/>
                  <a:gd name="connsiteY868" fmla="*/ 1276696 h 2719086"/>
                  <a:gd name="connsiteX869" fmla="*/ 772532 w 1416191"/>
                  <a:gd name="connsiteY869" fmla="*/ 1486292 h 2719086"/>
                  <a:gd name="connsiteX870" fmla="*/ 700307 w 1416191"/>
                  <a:gd name="connsiteY870" fmla="*/ 1292274 h 2719086"/>
                  <a:gd name="connsiteX871" fmla="*/ 830596 w 1416191"/>
                  <a:gd name="connsiteY871" fmla="*/ 1285193 h 2719086"/>
                  <a:gd name="connsiteX872" fmla="*/ 986377 w 1416191"/>
                  <a:gd name="connsiteY872" fmla="*/ 955221 h 2719086"/>
                  <a:gd name="connsiteX873" fmla="*/ 945308 w 1416191"/>
                  <a:gd name="connsiteY873" fmla="*/ 950972 h 2719086"/>
                  <a:gd name="connsiteX874" fmla="*/ 730047 w 1416191"/>
                  <a:gd name="connsiteY874" fmla="*/ 772532 h 2719086"/>
                  <a:gd name="connsiteX875" fmla="*/ 1014701 w 1416191"/>
                  <a:gd name="connsiteY875" fmla="*/ 686145 h 2719086"/>
                  <a:gd name="connsiteX876" fmla="*/ 1062852 w 1416191"/>
                  <a:gd name="connsiteY876" fmla="*/ 681896 h 2719086"/>
                  <a:gd name="connsiteX877" fmla="*/ 986377 w 1416191"/>
                  <a:gd name="connsiteY877" fmla="*/ 955221 h 2719086"/>
                  <a:gd name="connsiteX878" fmla="*/ 728631 w 1416191"/>
                  <a:gd name="connsiteY878" fmla="*/ 397241 h 2719086"/>
                  <a:gd name="connsiteX879" fmla="*/ 748457 w 1416191"/>
                  <a:gd name="connsiteY879" fmla="*/ 385912 h 2719086"/>
                  <a:gd name="connsiteX880" fmla="*/ 793775 w 1416191"/>
                  <a:gd name="connsiteY880" fmla="*/ 408571 h 2719086"/>
                  <a:gd name="connsiteX881" fmla="*/ 793775 w 1416191"/>
                  <a:gd name="connsiteY881" fmla="*/ 418484 h 2719086"/>
                  <a:gd name="connsiteX882" fmla="*/ 728631 w 1416191"/>
                  <a:gd name="connsiteY882" fmla="*/ 397241 h 2719086"/>
                  <a:gd name="connsiteX883" fmla="*/ 749874 w 1416191"/>
                  <a:gd name="connsiteY883" fmla="*/ 384496 h 2719086"/>
                  <a:gd name="connsiteX884" fmla="*/ 790943 w 1416191"/>
                  <a:gd name="connsiteY884" fmla="*/ 360421 h 2719086"/>
                  <a:gd name="connsiteX885" fmla="*/ 792359 w 1416191"/>
                  <a:gd name="connsiteY885" fmla="*/ 405739 h 2719086"/>
                  <a:gd name="connsiteX886" fmla="*/ 749874 w 1416191"/>
                  <a:gd name="connsiteY886" fmla="*/ 384496 h 2719086"/>
                  <a:gd name="connsiteX887" fmla="*/ 902822 w 1416191"/>
                  <a:gd name="connsiteY887" fmla="*/ 292443 h 2719086"/>
                  <a:gd name="connsiteX888" fmla="*/ 793775 w 1416191"/>
                  <a:gd name="connsiteY888" fmla="*/ 356172 h 2719086"/>
                  <a:gd name="connsiteX889" fmla="*/ 792359 w 1416191"/>
                  <a:gd name="connsiteY889" fmla="*/ 306605 h 2719086"/>
                  <a:gd name="connsiteX890" fmla="*/ 792359 w 1416191"/>
                  <a:gd name="connsiteY890" fmla="*/ 306605 h 2719086"/>
                  <a:gd name="connsiteX891" fmla="*/ 742793 w 1416191"/>
                  <a:gd name="connsiteY891" fmla="*/ 247125 h 2719086"/>
                  <a:gd name="connsiteX892" fmla="*/ 744209 w 1416191"/>
                  <a:gd name="connsiteY892" fmla="*/ 247125 h 2719086"/>
                  <a:gd name="connsiteX893" fmla="*/ 744209 w 1416191"/>
                  <a:gd name="connsiteY893" fmla="*/ 245709 h 2719086"/>
                  <a:gd name="connsiteX894" fmla="*/ 739960 w 1416191"/>
                  <a:gd name="connsiteY894" fmla="*/ 244293 h 2719086"/>
                  <a:gd name="connsiteX895" fmla="*/ 669150 w 1416191"/>
                  <a:gd name="connsiteY895" fmla="*/ 159321 h 2719086"/>
                  <a:gd name="connsiteX896" fmla="*/ 902822 w 1416191"/>
                  <a:gd name="connsiteY896" fmla="*/ 292443 h 2719086"/>
                  <a:gd name="connsiteX897" fmla="*/ 511953 w 1416191"/>
                  <a:gd name="connsiteY897" fmla="*/ 170651 h 2719086"/>
                  <a:gd name="connsiteX898" fmla="*/ 485046 w 1416191"/>
                  <a:gd name="connsiteY898" fmla="*/ 221634 h 2719086"/>
                  <a:gd name="connsiteX899" fmla="*/ 738544 w 1416191"/>
                  <a:gd name="connsiteY899" fmla="*/ 247125 h 2719086"/>
                  <a:gd name="connsiteX900" fmla="*/ 788111 w 1416191"/>
                  <a:gd name="connsiteY900" fmla="*/ 308022 h 2719086"/>
                  <a:gd name="connsiteX901" fmla="*/ 789527 w 1416191"/>
                  <a:gd name="connsiteY901" fmla="*/ 359004 h 2719086"/>
                  <a:gd name="connsiteX902" fmla="*/ 747041 w 1416191"/>
                  <a:gd name="connsiteY902" fmla="*/ 384496 h 2719086"/>
                  <a:gd name="connsiteX903" fmla="*/ 676231 w 1416191"/>
                  <a:gd name="connsiteY903" fmla="*/ 349091 h 2719086"/>
                  <a:gd name="connsiteX904" fmla="*/ 686145 w 1416191"/>
                  <a:gd name="connsiteY904" fmla="*/ 258455 h 2719086"/>
                  <a:gd name="connsiteX905" fmla="*/ 686145 w 1416191"/>
                  <a:gd name="connsiteY905" fmla="*/ 258455 h 2719086"/>
                  <a:gd name="connsiteX906" fmla="*/ 621000 w 1416191"/>
                  <a:gd name="connsiteY906" fmla="*/ 322183 h 2719086"/>
                  <a:gd name="connsiteX907" fmla="*/ 595509 w 1416191"/>
                  <a:gd name="connsiteY907" fmla="*/ 309438 h 2719086"/>
                  <a:gd name="connsiteX908" fmla="*/ 595509 w 1416191"/>
                  <a:gd name="connsiteY908" fmla="*/ 309438 h 2719086"/>
                  <a:gd name="connsiteX909" fmla="*/ 544526 w 1416191"/>
                  <a:gd name="connsiteY909" fmla="*/ 342010 h 2719086"/>
                  <a:gd name="connsiteX910" fmla="*/ 407155 w 1416191"/>
                  <a:gd name="connsiteY910" fmla="*/ 299524 h 2719086"/>
                  <a:gd name="connsiteX911" fmla="*/ 366086 w 1416191"/>
                  <a:gd name="connsiteY911" fmla="*/ 268368 h 2719086"/>
                  <a:gd name="connsiteX912" fmla="*/ 475132 w 1416191"/>
                  <a:gd name="connsiteY912" fmla="*/ 162154 h 2719086"/>
                  <a:gd name="connsiteX913" fmla="*/ 511953 w 1416191"/>
                  <a:gd name="connsiteY913" fmla="*/ 170651 h 2719086"/>
                  <a:gd name="connsiteX914" fmla="*/ 363253 w 1416191"/>
                  <a:gd name="connsiteY914" fmla="*/ 265536 h 2719086"/>
                  <a:gd name="connsiteX915" fmla="*/ 363253 w 1416191"/>
                  <a:gd name="connsiteY915" fmla="*/ 265536 h 2719086"/>
                  <a:gd name="connsiteX916" fmla="*/ 401490 w 1416191"/>
                  <a:gd name="connsiteY916" fmla="*/ 295276 h 2719086"/>
                  <a:gd name="connsiteX917" fmla="*/ 359005 w 1416191"/>
                  <a:gd name="connsiteY917" fmla="*/ 282530 h 2719086"/>
                  <a:gd name="connsiteX918" fmla="*/ 360421 w 1416191"/>
                  <a:gd name="connsiteY918" fmla="*/ 240045 h 2719086"/>
                  <a:gd name="connsiteX919" fmla="*/ 360421 w 1416191"/>
                  <a:gd name="connsiteY919" fmla="*/ 240045 h 2719086"/>
                  <a:gd name="connsiteX920" fmla="*/ 326432 w 1416191"/>
                  <a:gd name="connsiteY920" fmla="*/ 272617 h 2719086"/>
                  <a:gd name="connsiteX921" fmla="*/ 269785 w 1416191"/>
                  <a:gd name="connsiteY921" fmla="*/ 254206 h 2719086"/>
                  <a:gd name="connsiteX922" fmla="*/ 266952 w 1416191"/>
                  <a:gd name="connsiteY922" fmla="*/ 169235 h 2719086"/>
                  <a:gd name="connsiteX923" fmla="*/ 302357 w 1416191"/>
                  <a:gd name="connsiteY923" fmla="*/ 102674 h 2719086"/>
                  <a:gd name="connsiteX924" fmla="*/ 343426 w 1416191"/>
                  <a:gd name="connsiteY924" fmla="*/ 115419 h 2719086"/>
                  <a:gd name="connsiteX925" fmla="*/ 475132 w 1416191"/>
                  <a:gd name="connsiteY925" fmla="*/ 159321 h 2719086"/>
                  <a:gd name="connsiteX926" fmla="*/ 363253 w 1416191"/>
                  <a:gd name="connsiteY926" fmla="*/ 265536 h 2719086"/>
                  <a:gd name="connsiteX927" fmla="*/ 224466 w 1416191"/>
                  <a:gd name="connsiteY927" fmla="*/ 693226 h 2719086"/>
                  <a:gd name="connsiteX928" fmla="*/ 285363 w 1416191"/>
                  <a:gd name="connsiteY928" fmla="*/ 657821 h 2719086"/>
                  <a:gd name="connsiteX929" fmla="*/ 337762 w 1416191"/>
                  <a:gd name="connsiteY929" fmla="*/ 732879 h 2719086"/>
                  <a:gd name="connsiteX930" fmla="*/ 326432 w 1416191"/>
                  <a:gd name="connsiteY930" fmla="*/ 745624 h 2719086"/>
                  <a:gd name="connsiteX931" fmla="*/ 224466 w 1416191"/>
                  <a:gd name="connsiteY931" fmla="*/ 693226 h 2719086"/>
                  <a:gd name="connsiteX932" fmla="*/ 344843 w 1416191"/>
                  <a:gd name="connsiteY932" fmla="*/ 756954 h 2719086"/>
                  <a:gd name="connsiteX933" fmla="*/ 343426 w 1416191"/>
                  <a:gd name="connsiteY933" fmla="*/ 807937 h 2719086"/>
                  <a:gd name="connsiteX934" fmla="*/ 285363 w 1416191"/>
                  <a:gd name="connsiteY934" fmla="*/ 799440 h 2719086"/>
                  <a:gd name="connsiteX935" fmla="*/ 326432 w 1416191"/>
                  <a:gd name="connsiteY935" fmla="*/ 748457 h 2719086"/>
                  <a:gd name="connsiteX936" fmla="*/ 344843 w 1416191"/>
                  <a:gd name="connsiteY936" fmla="*/ 756954 h 2719086"/>
                  <a:gd name="connsiteX937" fmla="*/ 346259 w 1416191"/>
                  <a:gd name="connsiteY937" fmla="*/ 809353 h 2719086"/>
                  <a:gd name="connsiteX938" fmla="*/ 397242 w 1416191"/>
                  <a:gd name="connsiteY938" fmla="*/ 816434 h 2719086"/>
                  <a:gd name="connsiteX939" fmla="*/ 425566 w 1416191"/>
                  <a:gd name="connsiteY939" fmla="*/ 857503 h 2719086"/>
                  <a:gd name="connsiteX940" fmla="*/ 425566 w 1416191"/>
                  <a:gd name="connsiteY940" fmla="*/ 857503 h 2719086"/>
                  <a:gd name="connsiteX941" fmla="*/ 465219 w 1416191"/>
                  <a:gd name="connsiteY941" fmla="*/ 851839 h 2719086"/>
                  <a:gd name="connsiteX942" fmla="*/ 507705 w 1416191"/>
                  <a:gd name="connsiteY942" fmla="*/ 839093 h 2719086"/>
                  <a:gd name="connsiteX943" fmla="*/ 577098 w 1416191"/>
                  <a:gd name="connsiteY943" fmla="*/ 874498 h 2719086"/>
                  <a:gd name="connsiteX944" fmla="*/ 577098 w 1416191"/>
                  <a:gd name="connsiteY944" fmla="*/ 880163 h 2719086"/>
                  <a:gd name="connsiteX945" fmla="*/ 340594 w 1416191"/>
                  <a:gd name="connsiteY945" fmla="*/ 986377 h 2719086"/>
                  <a:gd name="connsiteX946" fmla="*/ 346259 w 1416191"/>
                  <a:gd name="connsiteY946" fmla="*/ 809353 h 2719086"/>
                  <a:gd name="connsiteX947" fmla="*/ 772532 w 1416191"/>
                  <a:gd name="connsiteY947" fmla="*/ 870249 h 2719086"/>
                  <a:gd name="connsiteX948" fmla="*/ 832012 w 1416191"/>
                  <a:gd name="connsiteY948" fmla="*/ 926897 h 2719086"/>
                  <a:gd name="connsiteX949" fmla="*/ 677648 w 1416191"/>
                  <a:gd name="connsiteY949" fmla="*/ 1017533 h 2719086"/>
                  <a:gd name="connsiteX950" fmla="*/ 557271 w 1416191"/>
                  <a:gd name="connsiteY950" fmla="*/ 1023198 h 2719086"/>
                  <a:gd name="connsiteX951" fmla="*/ 592676 w 1416191"/>
                  <a:gd name="connsiteY951" fmla="*/ 990626 h 2719086"/>
                  <a:gd name="connsiteX952" fmla="*/ 592676 w 1416191"/>
                  <a:gd name="connsiteY952" fmla="*/ 990626 h 2719086"/>
                  <a:gd name="connsiteX953" fmla="*/ 578514 w 1416191"/>
                  <a:gd name="connsiteY953" fmla="*/ 882995 h 2719086"/>
                  <a:gd name="connsiteX954" fmla="*/ 585595 w 1416191"/>
                  <a:gd name="connsiteY954" fmla="*/ 880163 h 2719086"/>
                  <a:gd name="connsiteX955" fmla="*/ 577098 w 1416191"/>
                  <a:gd name="connsiteY955" fmla="*/ 875914 h 2719086"/>
                  <a:gd name="connsiteX956" fmla="*/ 572850 w 1416191"/>
                  <a:gd name="connsiteY956" fmla="*/ 844758 h 2719086"/>
                  <a:gd name="connsiteX957" fmla="*/ 772532 w 1416191"/>
                  <a:gd name="connsiteY957" fmla="*/ 870249 h 2719086"/>
                  <a:gd name="connsiteX958" fmla="*/ 609670 w 1416191"/>
                  <a:gd name="connsiteY958" fmla="*/ 1208719 h 2719086"/>
                  <a:gd name="connsiteX959" fmla="*/ 547358 w 1416191"/>
                  <a:gd name="connsiteY959" fmla="*/ 1238459 h 2719086"/>
                  <a:gd name="connsiteX960" fmla="*/ 567185 w 1416191"/>
                  <a:gd name="connsiteY960" fmla="*/ 1195973 h 2719086"/>
                  <a:gd name="connsiteX961" fmla="*/ 609670 w 1416191"/>
                  <a:gd name="connsiteY961" fmla="*/ 1208719 h 2719086"/>
                  <a:gd name="connsiteX962" fmla="*/ 615335 w 1416191"/>
                  <a:gd name="connsiteY962" fmla="*/ 1208719 h 2719086"/>
                  <a:gd name="connsiteX963" fmla="*/ 615335 w 1416191"/>
                  <a:gd name="connsiteY963" fmla="*/ 1208719 h 2719086"/>
                  <a:gd name="connsiteX964" fmla="*/ 568601 w 1416191"/>
                  <a:gd name="connsiteY964" fmla="*/ 1194557 h 2719086"/>
                  <a:gd name="connsiteX965" fmla="*/ 621000 w 1416191"/>
                  <a:gd name="connsiteY965" fmla="*/ 1081262 h 2719086"/>
                  <a:gd name="connsiteX966" fmla="*/ 649324 w 1416191"/>
                  <a:gd name="connsiteY966" fmla="*/ 1156320 h 2719086"/>
                  <a:gd name="connsiteX967" fmla="*/ 618168 w 1416191"/>
                  <a:gd name="connsiteY967" fmla="*/ 1211551 h 2719086"/>
                  <a:gd name="connsiteX968" fmla="*/ 604006 w 1416191"/>
                  <a:gd name="connsiteY968" fmla="*/ 1292274 h 2719086"/>
                  <a:gd name="connsiteX969" fmla="*/ 523283 w 1416191"/>
                  <a:gd name="connsiteY969" fmla="*/ 1295107 h 2719086"/>
                  <a:gd name="connsiteX970" fmla="*/ 547358 w 1416191"/>
                  <a:gd name="connsiteY970" fmla="*/ 1241291 h 2719086"/>
                  <a:gd name="connsiteX971" fmla="*/ 615335 w 1416191"/>
                  <a:gd name="connsiteY971" fmla="*/ 1208719 h 2719086"/>
                  <a:gd name="connsiteX972" fmla="*/ 519034 w 1416191"/>
                  <a:gd name="connsiteY972" fmla="*/ 1295107 h 2719086"/>
                  <a:gd name="connsiteX973" fmla="*/ 445392 w 1416191"/>
                  <a:gd name="connsiteY973" fmla="*/ 1297939 h 2719086"/>
                  <a:gd name="connsiteX974" fmla="*/ 445392 w 1416191"/>
                  <a:gd name="connsiteY974" fmla="*/ 1297939 h 2719086"/>
                  <a:gd name="connsiteX975" fmla="*/ 500624 w 1416191"/>
                  <a:gd name="connsiteY975" fmla="*/ 1337592 h 2719086"/>
                  <a:gd name="connsiteX976" fmla="*/ 485046 w 1416191"/>
                  <a:gd name="connsiteY976" fmla="*/ 1371581 h 2719086"/>
                  <a:gd name="connsiteX977" fmla="*/ 408571 w 1416191"/>
                  <a:gd name="connsiteY977" fmla="*/ 1415483 h 2719086"/>
                  <a:gd name="connsiteX978" fmla="*/ 408571 w 1416191"/>
                  <a:gd name="connsiteY978" fmla="*/ 1415483 h 2719086"/>
                  <a:gd name="connsiteX979" fmla="*/ 456722 w 1416191"/>
                  <a:gd name="connsiteY979" fmla="*/ 1436726 h 2719086"/>
                  <a:gd name="connsiteX980" fmla="*/ 428398 w 1416191"/>
                  <a:gd name="connsiteY980" fmla="*/ 1499038 h 2719086"/>
                  <a:gd name="connsiteX981" fmla="*/ 330681 w 1416191"/>
                  <a:gd name="connsiteY981" fmla="*/ 1466465 h 2719086"/>
                  <a:gd name="connsiteX982" fmla="*/ 363253 w 1416191"/>
                  <a:gd name="connsiteY982" fmla="*/ 1334760 h 2719086"/>
                  <a:gd name="connsiteX983" fmla="*/ 443976 w 1416191"/>
                  <a:gd name="connsiteY983" fmla="*/ 1293690 h 2719086"/>
                  <a:gd name="connsiteX984" fmla="*/ 544526 w 1416191"/>
                  <a:gd name="connsiteY984" fmla="*/ 1244124 h 2719086"/>
                  <a:gd name="connsiteX985" fmla="*/ 519034 w 1416191"/>
                  <a:gd name="connsiteY985" fmla="*/ 1295107 h 2719086"/>
                  <a:gd name="connsiteX986" fmla="*/ 456722 w 1416191"/>
                  <a:gd name="connsiteY986" fmla="*/ 1642073 h 2719086"/>
                  <a:gd name="connsiteX987" fmla="*/ 482213 w 1416191"/>
                  <a:gd name="connsiteY987" fmla="*/ 1651987 h 2719086"/>
                  <a:gd name="connsiteX988" fmla="*/ 482213 w 1416191"/>
                  <a:gd name="connsiteY988" fmla="*/ 1651987 h 2719086"/>
                  <a:gd name="connsiteX989" fmla="*/ 541693 w 1416191"/>
                  <a:gd name="connsiteY989" fmla="*/ 1637825 h 2719086"/>
                  <a:gd name="connsiteX990" fmla="*/ 537445 w 1416191"/>
                  <a:gd name="connsiteY990" fmla="*/ 1664732 h 2719086"/>
                  <a:gd name="connsiteX991" fmla="*/ 502040 w 1416191"/>
                  <a:gd name="connsiteY991" fmla="*/ 1681727 h 2719086"/>
                  <a:gd name="connsiteX992" fmla="*/ 442560 w 1416191"/>
                  <a:gd name="connsiteY992" fmla="*/ 1650570 h 2719086"/>
                  <a:gd name="connsiteX993" fmla="*/ 456722 w 1416191"/>
                  <a:gd name="connsiteY993" fmla="*/ 1642073 h 2719086"/>
                  <a:gd name="connsiteX994" fmla="*/ 629497 w 1416191"/>
                  <a:gd name="connsiteY994" fmla="*/ 1707218 h 2719086"/>
                  <a:gd name="connsiteX995" fmla="*/ 629497 w 1416191"/>
                  <a:gd name="connsiteY995" fmla="*/ 1707218 h 2719086"/>
                  <a:gd name="connsiteX996" fmla="*/ 621000 w 1416191"/>
                  <a:gd name="connsiteY996" fmla="*/ 1708634 h 2719086"/>
                  <a:gd name="connsiteX997" fmla="*/ 599757 w 1416191"/>
                  <a:gd name="connsiteY997" fmla="*/ 1637825 h 2719086"/>
                  <a:gd name="connsiteX998" fmla="*/ 669150 w 1416191"/>
                  <a:gd name="connsiteY998" fmla="*/ 1606669 h 2719086"/>
                  <a:gd name="connsiteX999" fmla="*/ 710220 w 1416191"/>
                  <a:gd name="connsiteY999" fmla="*/ 1596755 h 2719086"/>
                  <a:gd name="connsiteX1000" fmla="*/ 849007 w 1416191"/>
                  <a:gd name="connsiteY1000" fmla="*/ 1643489 h 2719086"/>
                  <a:gd name="connsiteX1001" fmla="*/ 756954 w 1416191"/>
                  <a:gd name="connsiteY1001" fmla="*/ 1744039 h 2719086"/>
                  <a:gd name="connsiteX1002" fmla="*/ 720133 w 1416191"/>
                  <a:gd name="connsiteY1002" fmla="*/ 1617998 h 2719086"/>
                  <a:gd name="connsiteX1003" fmla="*/ 720133 w 1416191"/>
                  <a:gd name="connsiteY1003" fmla="*/ 1616582 h 2719086"/>
                  <a:gd name="connsiteX1004" fmla="*/ 705972 w 1416191"/>
                  <a:gd name="connsiteY1004" fmla="*/ 1846005 h 2719086"/>
                  <a:gd name="connsiteX1005" fmla="*/ 662069 w 1416191"/>
                  <a:gd name="connsiteY1005" fmla="*/ 1846005 h 2719086"/>
                  <a:gd name="connsiteX1006" fmla="*/ 629497 w 1416191"/>
                  <a:gd name="connsiteY1006" fmla="*/ 1736958 h 2719086"/>
                  <a:gd name="connsiteX1007" fmla="*/ 629497 w 1416191"/>
                  <a:gd name="connsiteY1007" fmla="*/ 1707218 h 2719086"/>
                  <a:gd name="connsiteX1008" fmla="*/ 1060019 w 1416191"/>
                  <a:gd name="connsiteY1008" fmla="*/ 1140742 h 2719086"/>
                  <a:gd name="connsiteX1009" fmla="*/ 969383 w 1416191"/>
                  <a:gd name="connsiteY1009" fmla="*/ 1054354 h 2719086"/>
                  <a:gd name="connsiteX1010" fmla="*/ 1016117 w 1416191"/>
                  <a:gd name="connsiteY1010" fmla="*/ 1006203 h 2719086"/>
                  <a:gd name="connsiteX1011" fmla="*/ 1081262 w 1416191"/>
                  <a:gd name="connsiteY1011" fmla="*/ 1003371 h 2719086"/>
                  <a:gd name="connsiteX1012" fmla="*/ 1081262 w 1416191"/>
                  <a:gd name="connsiteY1012" fmla="*/ 1024614 h 2719086"/>
                  <a:gd name="connsiteX1013" fmla="*/ 1081262 w 1416191"/>
                  <a:gd name="connsiteY1013" fmla="*/ 1024614 h 2719086"/>
                  <a:gd name="connsiteX1014" fmla="*/ 1096840 w 1416191"/>
                  <a:gd name="connsiteY1014" fmla="*/ 1001955 h 2719086"/>
                  <a:gd name="connsiteX1015" fmla="*/ 1286610 w 1416191"/>
                  <a:gd name="connsiteY1015" fmla="*/ 994874 h 2719086"/>
                  <a:gd name="connsiteX1016" fmla="*/ 1256870 w 1416191"/>
                  <a:gd name="connsiteY1016" fmla="*/ 1153488 h 2719086"/>
                  <a:gd name="connsiteX1017" fmla="*/ 1060019 w 1416191"/>
                  <a:gd name="connsiteY1017" fmla="*/ 1140742 h 2719086"/>
                  <a:gd name="connsiteX1018" fmla="*/ 1079846 w 1416191"/>
                  <a:gd name="connsiteY1018" fmla="*/ 667734 h 2719086"/>
                  <a:gd name="connsiteX1019" fmla="*/ 1079846 w 1416191"/>
                  <a:gd name="connsiteY1019" fmla="*/ 680480 h 2719086"/>
                  <a:gd name="connsiteX1020" fmla="*/ 1065684 w 1416191"/>
                  <a:gd name="connsiteY1020" fmla="*/ 681896 h 2719086"/>
                  <a:gd name="connsiteX1021" fmla="*/ 1068517 w 1416191"/>
                  <a:gd name="connsiteY1021" fmla="*/ 671983 h 2719086"/>
                  <a:gd name="connsiteX1022" fmla="*/ 1079846 w 1416191"/>
                  <a:gd name="connsiteY1022" fmla="*/ 667734 h 2719086"/>
                  <a:gd name="connsiteX1023" fmla="*/ 1023198 w 1416191"/>
                  <a:gd name="connsiteY1023" fmla="*/ 683312 h 2719086"/>
                  <a:gd name="connsiteX1024" fmla="*/ 1065684 w 1416191"/>
                  <a:gd name="connsiteY1024" fmla="*/ 670566 h 2719086"/>
                  <a:gd name="connsiteX1025" fmla="*/ 1062852 w 1416191"/>
                  <a:gd name="connsiteY1025" fmla="*/ 680480 h 2719086"/>
                  <a:gd name="connsiteX1026" fmla="*/ 1023198 w 1416191"/>
                  <a:gd name="connsiteY1026" fmla="*/ 683312 h 2719086"/>
                  <a:gd name="connsiteX1027" fmla="*/ 344843 w 1416191"/>
                  <a:gd name="connsiteY1027" fmla="*/ 16286 h 2719086"/>
                  <a:gd name="connsiteX1028" fmla="*/ 300941 w 1416191"/>
                  <a:gd name="connsiteY1028" fmla="*/ 99841 h 2719086"/>
                  <a:gd name="connsiteX1029" fmla="*/ 264120 w 1416191"/>
                  <a:gd name="connsiteY1029" fmla="*/ 88512 h 2719086"/>
                  <a:gd name="connsiteX1030" fmla="*/ 262704 w 1416191"/>
                  <a:gd name="connsiteY1030" fmla="*/ 60188 h 2719086"/>
                  <a:gd name="connsiteX1031" fmla="*/ 344843 w 1416191"/>
                  <a:gd name="connsiteY1031" fmla="*/ 16286 h 2719086"/>
                  <a:gd name="connsiteX1032" fmla="*/ 126749 w 1416191"/>
                  <a:gd name="connsiteY1032" fmla="*/ 426981 h 2719086"/>
                  <a:gd name="connsiteX1033" fmla="*/ 92761 w 1416191"/>
                  <a:gd name="connsiteY1033" fmla="*/ 492126 h 2719086"/>
                  <a:gd name="connsiteX1034" fmla="*/ 140911 w 1416191"/>
                  <a:gd name="connsiteY1034" fmla="*/ 446808 h 2719086"/>
                  <a:gd name="connsiteX1035" fmla="*/ 184813 w 1416191"/>
                  <a:gd name="connsiteY1035" fmla="*/ 509121 h 2719086"/>
                  <a:gd name="connsiteX1036" fmla="*/ 12038 w 1416191"/>
                  <a:gd name="connsiteY1036" fmla="*/ 625248 h 2719086"/>
                  <a:gd name="connsiteX1037" fmla="*/ 99842 w 1416191"/>
                  <a:gd name="connsiteY1037" fmla="*/ 385912 h 2719086"/>
                  <a:gd name="connsiteX1038" fmla="*/ 126749 w 1416191"/>
                  <a:gd name="connsiteY1038" fmla="*/ 426981 h 2719086"/>
                  <a:gd name="connsiteX1039" fmla="*/ 230131 w 1416191"/>
                  <a:gd name="connsiteY1039" fmla="*/ 360421 h 2719086"/>
                  <a:gd name="connsiteX1040" fmla="*/ 139495 w 1416191"/>
                  <a:gd name="connsiteY1040" fmla="*/ 443976 h 2719086"/>
                  <a:gd name="connsiteX1041" fmla="*/ 128165 w 1416191"/>
                  <a:gd name="connsiteY1041" fmla="*/ 426981 h 2719086"/>
                  <a:gd name="connsiteX1042" fmla="*/ 183397 w 1416191"/>
                  <a:gd name="connsiteY1042" fmla="*/ 322183 h 2719086"/>
                  <a:gd name="connsiteX1043" fmla="*/ 230131 w 1416191"/>
                  <a:gd name="connsiteY1043" fmla="*/ 360421 h 2719086"/>
                  <a:gd name="connsiteX1044" fmla="*/ 197559 w 1416191"/>
                  <a:gd name="connsiteY1044" fmla="*/ 293860 h 2719086"/>
                  <a:gd name="connsiteX1045" fmla="*/ 184813 w 1416191"/>
                  <a:gd name="connsiteY1045" fmla="*/ 319351 h 2719086"/>
                  <a:gd name="connsiteX1046" fmla="*/ 128165 w 1416191"/>
                  <a:gd name="connsiteY1046" fmla="*/ 272617 h 2719086"/>
                  <a:gd name="connsiteX1047" fmla="*/ 197559 w 1416191"/>
                  <a:gd name="connsiteY1047" fmla="*/ 293860 h 2719086"/>
                  <a:gd name="connsiteX1048" fmla="*/ 139495 w 1416191"/>
                  <a:gd name="connsiteY1048" fmla="*/ 445392 h 2719086"/>
                  <a:gd name="connsiteX1049" fmla="*/ 99842 w 1416191"/>
                  <a:gd name="connsiteY1049" fmla="*/ 482213 h 2719086"/>
                  <a:gd name="connsiteX1050" fmla="*/ 128165 w 1416191"/>
                  <a:gd name="connsiteY1050" fmla="*/ 429814 h 2719086"/>
                  <a:gd name="connsiteX1051" fmla="*/ 139495 w 1416191"/>
                  <a:gd name="connsiteY1051" fmla="*/ 445392 h 2719086"/>
                  <a:gd name="connsiteX1052" fmla="*/ 469468 w 1416191"/>
                  <a:gd name="connsiteY1052" fmla="*/ 1926727 h 2719086"/>
                  <a:gd name="connsiteX1053" fmla="*/ 509121 w 1416191"/>
                  <a:gd name="connsiteY1053" fmla="*/ 1829010 h 2719086"/>
                  <a:gd name="connsiteX1054" fmla="*/ 527531 w 1416191"/>
                  <a:gd name="connsiteY1054" fmla="*/ 1724212 h 2719086"/>
                  <a:gd name="connsiteX1055" fmla="*/ 618168 w 1416191"/>
                  <a:gd name="connsiteY1055" fmla="*/ 1708634 h 2719086"/>
                  <a:gd name="connsiteX1056" fmla="*/ 625249 w 1416191"/>
                  <a:gd name="connsiteY1056" fmla="*/ 1734126 h 2719086"/>
                  <a:gd name="connsiteX1057" fmla="*/ 623832 w 1416191"/>
                  <a:gd name="connsiteY1057" fmla="*/ 1843172 h 2719086"/>
                  <a:gd name="connsiteX1058" fmla="*/ 558688 w 1416191"/>
                  <a:gd name="connsiteY1058" fmla="*/ 1843172 h 2719086"/>
                  <a:gd name="connsiteX1059" fmla="*/ 558688 w 1416191"/>
                  <a:gd name="connsiteY1059" fmla="*/ 1843172 h 2719086"/>
                  <a:gd name="connsiteX1060" fmla="*/ 545942 w 1416191"/>
                  <a:gd name="connsiteY1060" fmla="*/ 1930976 h 2719086"/>
                  <a:gd name="connsiteX1061" fmla="*/ 469468 w 1416191"/>
                  <a:gd name="connsiteY1061" fmla="*/ 1926727 h 2719086"/>
                  <a:gd name="connsiteX1062" fmla="*/ 547358 w 1416191"/>
                  <a:gd name="connsiteY1062" fmla="*/ 1933808 h 2719086"/>
                  <a:gd name="connsiteX1063" fmla="*/ 533196 w 1416191"/>
                  <a:gd name="connsiteY1063" fmla="*/ 2025861 h 2719086"/>
                  <a:gd name="connsiteX1064" fmla="*/ 448225 w 1416191"/>
                  <a:gd name="connsiteY1064" fmla="*/ 1974878 h 2719086"/>
                  <a:gd name="connsiteX1065" fmla="*/ 466635 w 1416191"/>
                  <a:gd name="connsiteY1065" fmla="*/ 1929560 h 2719086"/>
                  <a:gd name="connsiteX1066" fmla="*/ 547358 w 1416191"/>
                  <a:gd name="connsiteY1066" fmla="*/ 1933808 h 2719086"/>
                  <a:gd name="connsiteX1067" fmla="*/ 533196 w 1416191"/>
                  <a:gd name="connsiteY1067" fmla="*/ 2027277 h 2719086"/>
                  <a:gd name="connsiteX1068" fmla="*/ 533196 w 1416191"/>
                  <a:gd name="connsiteY1068" fmla="*/ 2027277 h 2719086"/>
                  <a:gd name="connsiteX1069" fmla="*/ 432647 w 1416191"/>
                  <a:gd name="connsiteY1069" fmla="*/ 2014531 h 2719086"/>
                  <a:gd name="connsiteX1070" fmla="*/ 448225 w 1416191"/>
                  <a:gd name="connsiteY1070" fmla="*/ 1976294 h 2719086"/>
                  <a:gd name="connsiteX1071" fmla="*/ 533196 w 1416191"/>
                  <a:gd name="connsiteY1071" fmla="*/ 2027277 h 2719086"/>
                  <a:gd name="connsiteX1072" fmla="*/ 313687 w 1416191"/>
                  <a:gd name="connsiteY1072" fmla="*/ 2255284 h 2719086"/>
                  <a:gd name="connsiteX1073" fmla="*/ 347675 w 1416191"/>
                  <a:gd name="connsiteY1073" fmla="*/ 2221295 h 2719086"/>
                  <a:gd name="connsiteX1074" fmla="*/ 344843 w 1416191"/>
                  <a:gd name="connsiteY1074" fmla="*/ 2269446 h 2719086"/>
                  <a:gd name="connsiteX1075" fmla="*/ 313687 w 1416191"/>
                  <a:gd name="connsiteY1075" fmla="*/ 2255284 h 2719086"/>
                  <a:gd name="connsiteX1076" fmla="*/ 288195 w 1416191"/>
                  <a:gd name="connsiteY1076" fmla="*/ 2428059 h 2719086"/>
                  <a:gd name="connsiteX1077" fmla="*/ 257039 w 1416191"/>
                  <a:gd name="connsiteY1077" fmla="*/ 2323261 h 2719086"/>
                  <a:gd name="connsiteX1078" fmla="*/ 343426 w 1416191"/>
                  <a:gd name="connsiteY1078" fmla="*/ 2314764 h 2719086"/>
                  <a:gd name="connsiteX1079" fmla="*/ 339178 w 1416191"/>
                  <a:gd name="connsiteY1079" fmla="*/ 2379909 h 2719086"/>
                  <a:gd name="connsiteX1080" fmla="*/ 288195 w 1416191"/>
                  <a:gd name="connsiteY1080" fmla="*/ 2428059 h 2719086"/>
                  <a:gd name="connsiteX1081" fmla="*/ 289611 w 1416191"/>
                  <a:gd name="connsiteY1081" fmla="*/ 2433724 h 2719086"/>
                  <a:gd name="connsiteX1082" fmla="*/ 288195 w 1416191"/>
                  <a:gd name="connsiteY1082" fmla="*/ 2430892 h 2719086"/>
                  <a:gd name="connsiteX1083" fmla="*/ 339178 w 1416191"/>
                  <a:gd name="connsiteY1083" fmla="*/ 2384157 h 2719086"/>
                  <a:gd name="connsiteX1084" fmla="*/ 336345 w 1416191"/>
                  <a:gd name="connsiteY1084" fmla="*/ 2433724 h 2719086"/>
                  <a:gd name="connsiteX1085" fmla="*/ 289611 w 1416191"/>
                  <a:gd name="connsiteY1085" fmla="*/ 2433724 h 2719086"/>
                  <a:gd name="connsiteX1086" fmla="*/ 282530 w 1416191"/>
                  <a:gd name="connsiteY1086" fmla="*/ 2436556 h 2719086"/>
                  <a:gd name="connsiteX1087" fmla="*/ 288195 w 1416191"/>
                  <a:gd name="connsiteY1087" fmla="*/ 2436556 h 2719086"/>
                  <a:gd name="connsiteX1088" fmla="*/ 302357 w 1416191"/>
                  <a:gd name="connsiteY1088" fmla="*/ 2486123 h 2719086"/>
                  <a:gd name="connsiteX1089" fmla="*/ 298108 w 1416191"/>
                  <a:gd name="connsiteY1089" fmla="*/ 2494620 h 2719086"/>
                  <a:gd name="connsiteX1090" fmla="*/ 281114 w 1416191"/>
                  <a:gd name="connsiteY1090" fmla="*/ 2439389 h 2719086"/>
                  <a:gd name="connsiteX1091" fmla="*/ 282530 w 1416191"/>
                  <a:gd name="connsiteY1091" fmla="*/ 2436556 h 2719086"/>
                  <a:gd name="connsiteX1092" fmla="*/ 285363 w 1416191"/>
                  <a:gd name="connsiteY1092" fmla="*/ 2435140 h 2719086"/>
                  <a:gd name="connsiteX1093" fmla="*/ 288195 w 1416191"/>
                  <a:gd name="connsiteY1093" fmla="*/ 2432308 h 2719086"/>
                  <a:gd name="connsiteX1094" fmla="*/ 289611 w 1416191"/>
                  <a:gd name="connsiteY1094" fmla="*/ 2435140 h 2719086"/>
                  <a:gd name="connsiteX1095" fmla="*/ 285363 w 1416191"/>
                  <a:gd name="connsiteY1095" fmla="*/ 2435140 h 2719086"/>
                  <a:gd name="connsiteX1096" fmla="*/ 312270 w 1416191"/>
                  <a:gd name="connsiteY1096" fmla="*/ 2256700 h 2719086"/>
                  <a:gd name="connsiteX1097" fmla="*/ 344843 w 1416191"/>
                  <a:gd name="connsiteY1097" fmla="*/ 2270862 h 2719086"/>
                  <a:gd name="connsiteX1098" fmla="*/ 342010 w 1416191"/>
                  <a:gd name="connsiteY1098" fmla="*/ 2311932 h 2719086"/>
                  <a:gd name="connsiteX1099" fmla="*/ 252790 w 1416191"/>
                  <a:gd name="connsiteY1099" fmla="*/ 2320429 h 2719086"/>
                  <a:gd name="connsiteX1100" fmla="*/ 252790 w 1416191"/>
                  <a:gd name="connsiteY1100" fmla="*/ 2320429 h 2719086"/>
                  <a:gd name="connsiteX1101" fmla="*/ 285363 w 1416191"/>
                  <a:gd name="connsiteY1101" fmla="*/ 2428059 h 2719086"/>
                  <a:gd name="connsiteX1102" fmla="*/ 281114 w 1416191"/>
                  <a:gd name="connsiteY1102" fmla="*/ 2432308 h 2719086"/>
                  <a:gd name="connsiteX1103" fmla="*/ 278282 w 1416191"/>
                  <a:gd name="connsiteY1103" fmla="*/ 2432308 h 2719086"/>
                  <a:gd name="connsiteX1104" fmla="*/ 242877 w 1416191"/>
                  <a:gd name="connsiteY1104" fmla="*/ 2321845 h 2719086"/>
                  <a:gd name="connsiteX1105" fmla="*/ 312270 w 1416191"/>
                  <a:gd name="connsiteY1105" fmla="*/ 2256700 h 2719086"/>
                  <a:gd name="connsiteX1106" fmla="*/ 350507 w 1416191"/>
                  <a:gd name="connsiteY1106" fmla="*/ 2217047 h 2719086"/>
                  <a:gd name="connsiteX1107" fmla="*/ 350507 w 1416191"/>
                  <a:gd name="connsiteY1107" fmla="*/ 2215631 h 2719086"/>
                  <a:gd name="connsiteX1108" fmla="*/ 353340 w 1416191"/>
                  <a:gd name="connsiteY1108" fmla="*/ 2214215 h 2719086"/>
                  <a:gd name="connsiteX1109" fmla="*/ 350507 w 1416191"/>
                  <a:gd name="connsiteY1109" fmla="*/ 2217047 h 2719086"/>
                  <a:gd name="connsiteX1110" fmla="*/ 303773 w 1416191"/>
                  <a:gd name="connsiteY1110" fmla="*/ 2057017 h 2719086"/>
                  <a:gd name="connsiteX1111" fmla="*/ 308022 w 1416191"/>
                  <a:gd name="connsiteY1111" fmla="*/ 2042855 h 2719086"/>
                  <a:gd name="connsiteX1112" fmla="*/ 308022 w 1416191"/>
                  <a:gd name="connsiteY1112" fmla="*/ 2042855 h 2719086"/>
                  <a:gd name="connsiteX1113" fmla="*/ 292444 w 1416191"/>
                  <a:gd name="connsiteY1113" fmla="*/ 1998953 h 2719086"/>
                  <a:gd name="connsiteX1114" fmla="*/ 346259 w 1416191"/>
                  <a:gd name="connsiteY1114" fmla="*/ 2006034 h 2719086"/>
                  <a:gd name="connsiteX1115" fmla="*/ 347675 w 1416191"/>
                  <a:gd name="connsiteY1115" fmla="*/ 2102336 h 2719086"/>
                  <a:gd name="connsiteX1116" fmla="*/ 303773 w 1416191"/>
                  <a:gd name="connsiteY1116" fmla="*/ 2057017 h 2719086"/>
                  <a:gd name="connsiteX1117" fmla="*/ 404323 w 1416191"/>
                  <a:gd name="connsiteY1117" fmla="*/ 2010283 h 2719086"/>
                  <a:gd name="connsiteX1118" fmla="*/ 401490 w 1416191"/>
                  <a:gd name="connsiteY1118" fmla="*/ 1947970 h 2719086"/>
                  <a:gd name="connsiteX1119" fmla="*/ 446808 w 1416191"/>
                  <a:gd name="connsiteY1119" fmla="*/ 1974878 h 2719086"/>
                  <a:gd name="connsiteX1120" fmla="*/ 431230 w 1416191"/>
                  <a:gd name="connsiteY1120" fmla="*/ 2014531 h 2719086"/>
                  <a:gd name="connsiteX1121" fmla="*/ 404323 w 1416191"/>
                  <a:gd name="connsiteY1121" fmla="*/ 2010283 h 2719086"/>
                  <a:gd name="connsiteX1122" fmla="*/ 408571 w 1416191"/>
                  <a:gd name="connsiteY1122" fmla="*/ 2163232 h 2719086"/>
                  <a:gd name="connsiteX1123" fmla="*/ 408571 w 1416191"/>
                  <a:gd name="connsiteY1123" fmla="*/ 2163232 h 2719086"/>
                  <a:gd name="connsiteX1124" fmla="*/ 408571 w 1416191"/>
                  <a:gd name="connsiteY1124" fmla="*/ 2163232 h 2719086"/>
                  <a:gd name="connsiteX1125" fmla="*/ 408571 w 1416191"/>
                  <a:gd name="connsiteY1125" fmla="*/ 2163232 h 2719086"/>
                  <a:gd name="connsiteX1126" fmla="*/ 363253 w 1416191"/>
                  <a:gd name="connsiteY1126" fmla="*/ 2207134 h 2719086"/>
                  <a:gd name="connsiteX1127" fmla="*/ 407155 w 1416191"/>
                  <a:gd name="connsiteY1127" fmla="*/ 2163232 h 2719086"/>
                  <a:gd name="connsiteX1128" fmla="*/ 408571 w 1416191"/>
                  <a:gd name="connsiteY1128" fmla="*/ 2164648 h 2719086"/>
                  <a:gd name="connsiteX1129" fmla="*/ 409988 w 1416191"/>
                  <a:gd name="connsiteY1129" fmla="*/ 2184474 h 2719086"/>
                  <a:gd name="connsiteX1130" fmla="*/ 363253 w 1416191"/>
                  <a:gd name="connsiteY1130" fmla="*/ 2207134 h 2719086"/>
                  <a:gd name="connsiteX1131" fmla="*/ 405739 w 1416191"/>
                  <a:gd name="connsiteY1131" fmla="*/ 2163232 h 2719086"/>
                  <a:gd name="connsiteX1132" fmla="*/ 357588 w 1416191"/>
                  <a:gd name="connsiteY1132" fmla="*/ 2211382 h 2719086"/>
                  <a:gd name="connsiteX1133" fmla="*/ 350507 w 1416191"/>
                  <a:gd name="connsiteY1133" fmla="*/ 2214215 h 2719086"/>
                  <a:gd name="connsiteX1134" fmla="*/ 381664 w 1416191"/>
                  <a:gd name="connsiteY1134" fmla="*/ 2139156 h 2719086"/>
                  <a:gd name="connsiteX1135" fmla="*/ 405739 w 1416191"/>
                  <a:gd name="connsiteY1135" fmla="*/ 2163232 h 2719086"/>
                  <a:gd name="connsiteX1136" fmla="*/ 402907 w 1416191"/>
                  <a:gd name="connsiteY1136" fmla="*/ 2013115 h 2719086"/>
                  <a:gd name="connsiteX1137" fmla="*/ 405739 w 1416191"/>
                  <a:gd name="connsiteY1137" fmla="*/ 2078260 h 2719086"/>
                  <a:gd name="connsiteX1138" fmla="*/ 381664 w 1416191"/>
                  <a:gd name="connsiteY1138" fmla="*/ 2134908 h 2719086"/>
                  <a:gd name="connsiteX1139" fmla="*/ 350507 w 1416191"/>
                  <a:gd name="connsiteY1139" fmla="*/ 2103751 h 2719086"/>
                  <a:gd name="connsiteX1140" fmla="*/ 349091 w 1416191"/>
                  <a:gd name="connsiteY1140" fmla="*/ 2006034 h 2719086"/>
                  <a:gd name="connsiteX1141" fmla="*/ 402907 w 1416191"/>
                  <a:gd name="connsiteY1141" fmla="*/ 2013115 h 2719086"/>
                  <a:gd name="connsiteX1142" fmla="*/ 407155 w 1416191"/>
                  <a:gd name="connsiteY1142" fmla="*/ 2160399 h 2719086"/>
                  <a:gd name="connsiteX1143" fmla="*/ 383080 w 1416191"/>
                  <a:gd name="connsiteY1143" fmla="*/ 2136324 h 2719086"/>
                  <a:gd name="connsiteX1144" fmla="*/ 405739 w 1416191"/>
                  <a:gd name="connsiteY1144" fmla="*/ 2082508 h 2719086"/>
                  <a:gd name="connsiteX1145" fmla="*/ 407155 w 1416191"/>
                  <a:gd name="connsiteY1145" fmla="*/ 2160399 h 2719086"/>
                  <a:gd name="connsiteX1146" fmla="*/ 407155 w 1416191"/>
                  <a:gd name="connsiteY1146" fmla="*/ 2160399 h 2719086"/>
                  <a:gd name="connsiteX1147" fmla="*/ 429814 w 1416191"/>
                  <a:gd name="connsiteY1147" fmla="*/ 2015948 h 2719086"/>
                  <a:gd name="connsiteX1148" fmla="*/ 405739 w 1416191"/>
                  <a:gd name="connsiteY1148" fmla="*/ 2072595 h 2719086"/>
                  <a:gd name="connsiteX1149" fmla="*/ 402907 w 1416191"/>
                  <a:gd name="connsiteY1149" fmla="*/ 2011699 h 2719086"/>
                  <a:gd name="connsiteX1150" fmla="*/ 429814 w 1416191"/>
                  <a:gd name="connsiteY1150" fmla="*/ 2015948 h 2719086"/>
                  <a:gd name="connsiteX1151" fmla="*/ 400074 w 1416191"/>
                  <a:gd name="connsiteY1151" fmla="*/ 1945138 h 2719086"/>
                  <a:gd name="connsiteX1152" fmla="*/ 400074 w 1416191"/>
                  <a:gd name="connsiteY1152" fmla="*/ 1945138 h 2719086"/>
                  <a:gd name="connsiteX1153" fmla="*/ 402907 w 1416191"/>
                  <a:gd name="connsiteY1153" fmla="*/ 2011699 h 2719086"/>
                  <a:gd name="connsiteX1154" fmla="*/ 349091 w 1416191"/>
                  <a:gd name="connsiteY1154" fmla="*/ 2004618 h 2719086"/>
                  <a:gd name="connsiteX1155" fmla="*/ 347675 w 1416191"/>
                  <a:gd name="connsiteY1155" fmla="*/ 1923895 h 2719086"/>
                  <a:gd name="connsiteX1156" fmla="*/ 466635 w 1416191"/>
                  <a:gd name="connsiteY1156" fmla="*/ 1929560 h 2719086"/>
                  <a:gd name="connsiteX1157" fmla="*/ 448225 w 1416191"/>
                  <a:gd name="connsiteY1157" fmla="*/ 1973462 h 2719086"/>
                  <a:gd name="connsiteX1158" fmla="*/ 400074 w 1416191"/>
                  <a:gd name="connsiteY1158" fmla="*/ 1945138 h 2719086"/>
                  <a:gd name="connsiteX1159" fmla="*/ 347675 w 1416191"/>
                  <a:gd name="connsiteY1159" fmla="*/ 2103751 h 2719086"/>
                  <a:gd name="connsiteX1160" fmla="*/ 349091 w 1416191"/>
                  <a:gd name="connsiteY1160" fmla="*/ 2214215 h 2719086"/>
                  <a:gd name="connsiteX1161" fmla="*/ 349091 w 1416191"/>
                  <a:gd name="connsiteY1161" fmla="*/ 2214215 h 2719086"/>
                  <a:gd name="connsiteX1162" fmla="*/ 349091 w 1416191"/>
                  <a:gd name="connsiteY1162" fmla="*/ 2218463 h 2719086"/>
                  <a:gd name="connsiteX1163" fmla="*/ 312270 w 1416191"/>
                  <a:gd name="connsiteY1163" fmla="*/ 2253868 h 2719086"/>
                  <a:gd name="connsiteX1164" fmla="*/ 259871 w 1416191"/>
                  <a:gd name="connsiteY1164" fmla="*/ 2229793 h 2719086"/>
                  <a:gd name="connsiteX1165" fmla="*/ 303773 w 1416191"/>
                  <a:gd name="connsiteY1165" fmla="*/ 2058433 h 2719086"/>
                  <a:gd name="connsiteX1166" fmla="*/ 347675 w 1416191"/>
                  <a:gd name="connsiteY1166" fmla="*/ 2103751 h 2719086"/>
                  <a:gd name="connsiteX1167" fmla="*/ 380247 w 1416191"/>
                  <a:gd name="connsiteY1167" fmla="*/ 2137740 h 2719086"/>
                  <a:gd name="connsiteX1168" fmla="*/ 350507 w 1416191"/>
                  <a:gd name="connsiteY1168" fmla="*/ 2208550 h 2719086"/>
                  <a:gd name="connsiteX1169" fmla="*/ 349091 w 1416191"/>
                  <a:gd name="connsiteY1169" fmla="*/ 2106584 h 2719086"/>
                  <a:gd name="connsiteX1170" fmla="*/ 380247 w 1416191"/>
                  <a:gd name="connsiteY1170" fmla="*/ 2137740 h 2719086"/>
                  <a:gd name="connsiteX1171" fmla="*/ 507705 w 1416191"/>
                  <a:gd name="connsiteY1171" fmla="*/ 1829010 h 2719086"/>
                  <a:gd name="connsiteX1172" fmla="*/ 466635 w 1416191"/>
                  <a:gd name="connsiteY1172" fmla="*/ 1926727 h 2719086"/>
                  <a:gd name="connsiteX1173" fmla="*/ 346259 w 1416191"/>
                  <a:gd name="connsiteY1173" fmla="*/ 1921063 h 2719086"/>
                  <a:gd name="connsiteX1174" fmla="*/ 344843 w 1416191"/>
                  <a:gd name="connsiteY1174" fmla="*/ 1756785 h 2719086"/>
                  <a:gd name="connsiteX1175" fmla="*/ 526115 w 1416191"/>
                  <a:gd name="connsiteY1175" fmla="*/ 1727045 h 2719086"/>
                  <a:gd name="connsiteX1176" fmla="*/ 507705 w 1416191"/>
                  <a:gd name="connsiteY1176" fmla="*/ 1829010 h 2719086"/>
                  <a:gd name="connsiteX1177" fmla="*/ 344843 w 1416191"/>
                  <a:gd name="connsiteY1177" fmla="*/ 1922479 h 2719086"/>
                  <a:gd name="connsiteX1178" fmla="*/ 346259 w 1416191"/>
                  <a:gd name="connsiteY1178" fmla="*/ 2003202 h 2719086"/>
                  <a:gd name="connsiteX1179" fmla="*/ 291027 w 1416191"/>
                  <a:gd name="connsiteY1179" fmla="*/ 1996121 h 2719086"/>
                  <a:gd name="connsiteX1180" fmla="*/ 264120 w 1416191"/>
                  <a:gd name="connsiteY1180" fmla="*/ 1918231 h 2719086"/>
                  <a:gd name="connsiteX1181" fmla="*/ 344843 w 1416191"/>
                  <a:gd name="connsiteY1181" fmla="*/ 1922479 h 2719086"/>
                  <a:gd name="connsiteX1182" fmla="*/ 289611 w 1416191"/>
                  <a:gd name="connsiteY1182" fmla="*/ 1997537 h 2719086"/>
                  <a:gd name="connsiteX1183" fmla="*/ 305189 w 1416191"/>
                  <a:gd name="connsiteY1183" fmla="*/ 2042855 h 2719086"/>
                  <a:gd name="connsiteX1184" fmla="*/ 302357 w 1416191"/>
                  <a:gd name="connsiteY1184" fmla="*/ 2055601 h 2719086"/>
                  <a:gd name="connsiteX1185" fmla="*/ 238628 w 1416191"/>
                  <a:gd name="connsiteY1185" fmla="*/ 1991872 h 2719086"/>
                  <a:gd name="connsiteX1186" fmla="*/ 289611 w 1416191"/>
                  <a:gd name="connsiteY1186" fmla="*/ 1997537 h 2719086"/>
                  <a:gd name="connsiteX1187" fmla="*/ 350507 w 1416191"/>
                  <a:gd name="connsiteY1187" fmla="*/ 2219879 h 2719086"/>
                  <a:gd name="connsiteX1188" fmla="*/ 359005 w 1416191"/>
                  <a:gd name="connsiteY1188" fmla="*/ 2211382 h 2719086"/>
                  <a:gd name="connsiteX1189" fmla="*/ 409988 w 1416191"/>
                  <a:gd name="connsiteY1189" fmla="*/ 2185891 h 2719086"/>
                  <a:gd name="connsiteX1190" fmla="*/ 414236 w 1416191"/>
                  <a:gd name="connsiteY1190" fmla="*/ 2299186 h 2719086"/>
                  <a:gd name="connsiteX1191" fmla="*/ 349091 w 1416191"/>
                  <a:gd name="connsiteY1191" fmla="*/ 2269446 h 2719086"/>
                  <a:gd name="connsiteX1192" fmla="*/ 350507 w 1416191"/>
                  <a:gd name="connsiteY1192" fmla="*/ 2219879 h 2719086"/>
                  <a:gd name="connsiteX1193" fmla="*/ 531780 w 1416191"/>
                  <a:gd name="connsiteY1193" fmla="*/ 2037191 h 2719086"/>
                  <a:gd name="connsiteX1194" fmla="*/ 409988 w 1416191"/>
                  <a:gd name="connsiteY1194" fmla="*/ 2158983 h 2719086"/>
                  <a:gd name="connsiteX1195" fmla="*/ 407155 w 1416191"/>
                  <a:gd name="connsiteY1195" fmla="*/ 2079676 h 2719086"/>
                  <a:gd name="connsiteX1196" fmla="*/ 432647 w 1416191"/>
                  <a:gd name="connsiteY1196" fmla="*/ 2018780 h 2719086"/>
                  <a:gd name="connsiteX1197" fmla="*/ 533196 w 1416191"/>
                  <a:gd name="connsiteY1197" fmla="*/ 2031526 h 2719086"/>
                  <a:gd name="connsiteX1198" fmla="*/ 531780 w 1416191"/>
                  <a:gd name="connsiteY1198" fmla="*/ 2037191 h 2719086"/>
                  <a:gd name="connsiteX1199" fmla="*/ 298108 w 1416191"/>
                  <a:gd name="connsiteY1199" fmla="*/ 2498869 h 2719086"/>
                  <a:gd name="connsiteX1200" fmla="*/ 334929 w 1416191"/>
                  <a:gd name="connsiteY1200" fmla="*/ 2614996 h 2719086"/>
                  <a:gd name="connsiteX1201" fmla="*/ 223050 w 1416191"/>
                  <a:gd name="connsiteY1201" fmla="*/ 2636239 h 2719086"/>
                  <a:gd name="connsiteX1202" fmla="*/ 298108 w 1416191"/>
                  <a:gd name="connsiteY1202" fmla="*/ 2498869 h 2719086"/>
                  <a:gd name="connsiteX1203" fmla="*/ 417069 w 1416191"/>
                  <a:gd name="connsiteY1203" fmla="*/ 2307683 h 2719086"/>
                  <a:gd name="connsiteX1204" fmla="*/ 342010 w 1416191"/>
                  <a:gd name="connsiteY1204" fmla="*/ 2378493 h 2719086"/>
                  <a:gd name="connsiteX1205" fmla="*/ 344843 w 1416191"/>
                  <a:gd name="connsiteY1205" fmla="*/ 2314764 h 2719086"/>
                  <a:gd name="connsiteX1206" fmla="*/ 417069 w 1416191"/>
                  <a:gd name="connsiteY1206" fmla="*/ 2307683 h 2719086"/>
                  <a:gd name="connsiteX1207" fmla="*/ 1286610 w 1416191"/>
                  <a:gd name="connsiteY1207" fmla="*/ 989209 h 2719086"/>
                  <a:gd name="connsiteX1208" fmla="*/ 1286610 w 1416191"/>
                  <a:gd name="connsiteY1208" fmla="*/ 992042 h 2719086"/>
                  <a:gd name="connsiteX1209" fmla="*/ 1098257 w 1416191"/>
                  <a:gd name="connsiteY1209" fmla="*/ 1000539 h 2719086"/>
                  <a:gd name="connsiteX1210" fmla="*/ 1118083 w 1416191"/>
                  <a:gd name="connsiteY1210" fmla="*/ 972215 h 2719086"/>
                  <a:gd name="connsiteX1211" fmla="*/ 1286610 w 1416191"/>
                  <a:gd name="connsiteY1211" fmla="*/ 989209 h 2719086"/>
                  <a:gd name="connsiteX1212" fmla="*/ 1412651 w 1416191"/>
                  <a:gd name="connsiteY1212" fmla="*/ 764035 h 2719086"/>
                  <a:gd name="connsiteX1213" fmla="*/ 1314934 w 1416191"/>
                  <a:gd name="connsiteY1213" fmla="*/ 841926 h 2719086"/>
                  <a:gd name="connsiteX1214" fmla="*/ 1314934 w 1416191"/>
                  <a:gd name="connsiteY1214" fmla="*/ 841926 h 2719086"/>
                  <a:gd name="connsiteX1215" fmla="*/ 1286610 w 1416191"/>
                  <a:gd name="connsiteY1215" fmla="*/ 986377 h 2719086"/>
                  <a:gd name="connsiteX1216" fmla="*/ 1118083 w 1416191"/>
                  <a:gd name="connsiteY1216" fmla="*/ 969383 h 2719086"/>
                  <a:gd name="connsiteX1217" fmla="*/ 1239876 w 1416191"/>
                  <a:gd name="connsiteY1217" fmla="*/ 792359 h 2719086"/>
                  <a:gd name="connsiteX1218" fmla="*/ 1412651 w 1416191"/>
                  <a:gd name="connsiteY1218" fmla="*/ 764035 h 2719086"/>
                  <a:gd name="connsiteX1219" fmla="*/ 220218 w 1416191"/>
                  <a:gd name="connsiteY1219" fmla="*/ 693226 h 2719086"/>
                  <a:gd name="connsiteX1220" fmla="*/ 157905 w 1416191"/>
                  <a:gd name="connsiteY1220" fmla="*/ 730046 h 2719086"/>
                  <a:gd name="connsiteX1221" fmla="*/ 142327 w 1416191"/>
                  <a:gd name="connsiteY1221" fmla="*/ 653572 h 2719086"/>
                  <a:gd name="connsiteX1222" fmla="*/ 220218 w 1416191"/>
                  <a:gd name="connsiteY1222" fmla="*/ 693226 h 2719086"/>
                  <a:gd name="connsiteX1223" fmla="*/ 156489 w 1416191"/>
                  <a:gd name="connsiteY1223" fmla="*/ 732879 h 2719086"/>
                  <a:gd name="connsiteX1224" fmla="*/ 166402 w 1416191"/>
                  <a:gd name="connsiteY1224" fmla="*/ 782445 h 2719086"/>
                  <a:gd name="connsiteX1225" fmla="*/ 91345 w 1416191"/>
                  <a:gd name="connsiteY1225" fmla="*/ 771116 h 2719086"/>
                  <a:gd name="connsiteX1226" fmla="*/ 156489 w 1416191"/>
                  <a:gd name="connsiteY1226" fmla="*/ 732879 h 2719086"/>
                  <a:gd name="connsiteX1227" fmla="*/ 282530 w 1416191"/>
                  <a:gd name="connsiteY1227" fmla="*/ 800856 h 2719086"/>
                  <a:gd name="connsiteX1228" fmla="*/ 194726 w 1416191"/>
                  <a:gd name="connsiteY1228" fmla="*/ 908486 h 2719086"/>
                  <a:gd name="connsiteX1229" fmla="*/ 169235 w 1416191"/>
                  <a:gd name="connsiteY1229" fmla="*/ 785278 h 2719086"/>
                  <a:gd name="connsiteX1230" fmla="*/ 282530 w 1416191"/>
                  <a:gd name="connsiteY1230" fmla="*/ 800856 h 2719086"/>
                  <a:gd name="connsiteX1231" fmla="*/ 375999 w 1416191"/>
                  <a:gd name="connsiteY1231" fmla="*/ 1609501 h 2719086"/>
                  <a:gd name="connsiteX1232" fmla="*/ 374583 w 1416191"/>
                  <a:gd name="connsiteY1232" fmla="*/ 1613750 h 2719086"/>
                  <a:gd name="connsiteX1233" fmla="*/ 342010 w 1416191"/>
                  <a:gd name="connsiteY1233" fmla="*/ 1596755 h 2719086"/>
                  <a:gd name="connsiteX1234" fmla="*/ 375999 w 1416191"/>
                  <a:gd name="connsiteY1234" fmla="*/ 1609501 h 2719086"/>
                  <a:gd name="connsiteX1235" fmla="*/ 438311 w 1416191"/>
                  <a:gd name="connsiteY1235" fmla="*/ 1649154 h 2719086"/>
                  <a:gd name="connsiteX1236" fmla="*/ 339178 w 1416191"/>
                  <a:gd name="connsiteY1236" fmla="*/ 1697305 h 2719086"/>
                  <a:gd name="connsiteX1237" fmla="*/ 375999 w 1416191"/>
                  <a:gd name="connsiteY1237" fmla="*/ 1615166 h 2719086"/>
                  <a:gd name="connsiteX1238" fmla="*/ 438311 w 1416191"/>
                  <a:gd name="connsiteY1238" fmla="*/ 1649154 h 2719086"/>
                  <a:gd name="connsiteX1239" fmla="*/ 281114 w 1416191"/>
                  <a:gd name="connsiteY1239" fmla="*/ 2436556 h 2719086"/>
                  <a:gd name="connsiteX1240" fmla="*/ 281114 w 1416191"/>
                  <a:gd name="connsiteY1240" fmla="*/ 2436556 h 2719086"/>
                  <a:gd name="connsiteX1241" fmla="*/ 281114 w 1416191"/>
                  <a:gd name="connsiteY1241" fmla="*/ 2436556 h 2719086"/>
                  <a:gd name="connsiteX1242" fmla="*/ 281114 w 1416191"/>
                  <a:gd name="connsiteY1242" fmla="*/ 2436556 h 2719086"/>
                  <a:gd name="connsiteX1243" fmla="*/ 536029 w 1416191"/>
                  <a:gd name="connsiteY1243" fmla="*/ 2027277 h 2719086"/>
                  <a:gd name="connsiteX1244" fmla="*/ 536029 w 1416191"/>
                  <a:gd name="connsiteY1244" fmla="*/ 2027277 h 2719086"/>
                  <a:gd name="connsiteX1245" fmla="*/ 536029 w 1416191"/>
                  <a:gd name="connsiteY1245" fmla="*/ 2027277 h 2719086"/>
                  <a:gd name="connsiteX1246" fmla="*/ 536029 w 1416191"/>
                  <a:gd name="connsiteY1246" fmla="*/ 2027277 h 2719086"/>
                  <a:gd name="connsiteX1247" fmla="*/ 662069 w 1416191"/>
                  <a:gd name="connsiteY1247" fmla="*/ 1847421 h 2719086"/>
                  <a:gd name="connsiteX1248" fmla="*/ 704555 w 1416191"/>
                  <a:gd name="connsiteY1248" fmla="*/ 1847421 h 2719086"/>
                  <a:gd name="connsiteX1249" fmla="*/ 690393 w 1416191"/>
                  <a:gd name="connsiteY1249" fmla="*/ 1946554 h 2719086"/>
                  <a:gd name="connsiteX1250" fmla="*/ 662069 w 1416191"/>
                  <a:gd name="connsiteY1250" fmla="*/ 1847421 h 2719086"/>
                  <a:gd name="connsiteX1251" fmla="*/ 1310685 w 1416191"/>
                  <a:gd name="connsiteY1251" fmla="*/ 992042 h 2719086"/>
                  <a:gd name="connsiteX1252" fmla="*/ 1288026 w 1416191"/>
                  <a:gd name="connsiteY1252" fmla="*/ 993458 h 2719086"/>
                  <a:gd name="connsiteX1253" fmla="*/ 1288026 w 1416191"/>
                  <a:gd name="connsiteY1253" fmla="*/ 990626 h 2719086"/>
                  <a:gd name="connsiteX1254" fmla="*/ 1310685 w 1416191"/>
                  <a:gd name="connsiteY1254" fmla="*/ 992042 h 2719086"/>
                  <a:gd name="connsiteX1255" fmla="*/ 890076 w 1416191"/>
                  <a:gd name="connsiteY1255" fmla="*/ 452473 h 2719086"/>
                  <a:gd name="connsiteX1256" fmla="*/ 941059 w 1416191"/>
                  <a:gd name="connsiteY1256" fmla="*/ 377415 h 2719086"/>
                  <a:gd name="connsiteX1257" fmla="*/ 950973 w 1416191"/>
                  <a:gd name="connsiteY1257" fmla="*/ 483629 h 2719086"/>
                  <a:gd name="connsiteX1258" fmla="*/ 890076 w 1416191"/>
                  <a:gd name="connsiteY1258" fmla="*/ 452473 h 2719086"/>
                  <a:gd name="connsiteX1259" fmla="*/ 473716 w 1416191"/>
                  <a:gd name="connsiteY1259" fmla="*/ 2384157 h 2719086"/>
                  <a:gd name="connsiteX1260" fmla="*/ 401490 w 1416191"/>
                  <a:gd name="connsiteY1260" fmla="*/ 2430892 h 2719086"/>
                  <a:gd name="connsiteX1261" fmla="*/ 377415 w 1416191"/>
                  <a:gd name="connsiteY1261" fmla="*/ 2430892 h 2719086"/>
                  <a:gd name="connsiteX1262" fmla="*/ 473716 w 1416191"/>
                  <a:gd name="connsiteY1262" fmla="*/ 2384157 h 2719086"/>
                  <a:gd name="connsiteX1263" fmla="*/ 851839 w 1416191"/>
                  <a:gd name="connsiteY1263" fmla="*/ 1642073 h 2719086"/>
                  <a:gd name="connsiteX1264" fmla="*/ 959470 w 1416191"/>
                  <a:gd name="connsiteY1264" fmla="*/ 1524529 h 2719086"/>
                  <a:gd name="connsiteX1265" fmla="*/ 880163 w 1416191"/>
                  <a:gd name="connsiteY1265" fmla="*/ 1651987 h 2719086"/>
                  <a:gd name="connsiteX1266" fmla="*/ 851839 w 1416191"/>
                  <a:gd name="connsiteY1266" fmla="*/ 1642073 h 2719086"/>
                  <a:gd name="connsiteX1267" fmla="*/ 1111002 w 1416191"/>
                  <a:gd name="connsiteY1267" fmla="*/ 1356003 h 2719086"/>
                  <a:gd name="connsiteX1268" fmla="*/ 973632 w 1416191"/>
                  <a:gd name="connsiteY1268" fmla="*/ 1506119 h 2719086"/>
                  <a:gd name="connsiteX1269" fmla="*/ 1028863 w 1416191"/>
                  <a:gd name="connsiteY1269" fmla="*/ 1416899 h 2719086"/>
                  <a:gd name="connsiteX1270" fmla="*/ 1111002 w 1416191"/>
                  <a:gd name="connsiteY1270" fmla="*/ 1356003 h 271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Lst>
                <a:rect l="l" t="t" r="r" b="b"/>
                <a:pathLst>
                  <a:path w="1416191" h="2719086">
                    <a:moveTo>
                      <a:pt x="1330512" y="660653"/>
                    </a:moveTo>
                    <a:lnTo>
                      <a:pt x="1330512" y="660653"/>
                    </a:lnTo>
                    <a:lnTo>
                      <a:pt x="1125164" y="676231"/>
                    </a:lnTo>
                    <a:lnTo>
                      <a:pt x="1123748" y="653572"/>
                    </a:lnTo>
                    <a:lnTo>
                      <a:pt x="1157737" y="643659"/>
                    </a:lnTo>
                    <a:lnTo>
                      <a:pt x="1115251" y="543109"/>
                    </a:lnTo>
                    <a:lnTo>
                      <a:pt x="1115251" y="541693"/>
                    </a:lnTo>
                    <a:lnTo>
                      <a:pt x="1122332" y="650740"/>
                    </a:lnTo>
                    <a:lnTo>
                      <a:pt x="1081262" y="663486"/>
                    </a:lnTo>
                    <a:lnTo>
                      <a:pt x="1081262" y="618167"/>
                    </a:lnTo>
                    <a:lnTo>
                      <a:pt x="1081262" y="616751"/>
                    </a:lnTo>
                    <a:lnTo>
                      <a:pt x="1067100" y="667734"/>
                    </a:lnTo>
                    <a:lnTo>
                      <a:pt x="1014701" y="683312"/>
                    </a:lnTo>
                    <a:lnTo>
                      <a:pt x="963718" y="687560"/>
                    </a:lnTo>
                    <a:lnTo>
                      <a:pt x="766868" y="632329"/>
                    </a:lnTo>
                    <a:lnTo>
                      <a:pt x="888660" y="453889"/>
                    </a:lnTo>
                    <a:lnTo>
                      <a:pt x="953805" y="486462"/>
                    </a:lnTo>
                    <a:lnTo>
                      <a:pt x="953805" y="486462"/>
                    </a:lnTo>
                    <a:lnTo>
                      <a:pt x="942475" y="371750"/>
                    </a:lnTo>
                    <a:lnTo>
                      <a:pt x="942475" y="371750"/>
                    </a:lnTo>
                    <a:lnTo>
                      <a:pt x="887244" y="451057"/>
                    </a:lnTo>
                    <a:lnTo>
                      <a:pt x="795192" y="404322"/>
                    </a:lnTo>
                    <a:lnTo>
                      <a:pt x="793775" y="356172"/>
                    </a:lnTo>
                    <a:lnTo>
                      <a:pt x="907071" y="289611"/>
                    </a:lnTo>
                    <a:lnTo>
                      <a:pt x="907071" y="289611"/>
                    </a:lnTo>
                    <a:lnTo>
                      <a:pt x="660653" y="149408"/>
                    </a:lnTo>
                    <a:lnTo>
                      <a:pt x="659237" y="149408"/>
                    </a:lnTo>
                    <a:lnTo>
                      <a:pt x="735712" y="241460"/>
                    </a:lnTo>
                    <a:lnTo>
                      <a:pt x="514786" y="167819"/>
                    </a:lnTo>
                    <a:lnTo>
                      <a:pt x="570017" y="63020"/>
                    </a:lnTo>
                    <a:lnTo>
                      <a:pt x="570017" y="61604"/>
                    </a:lnTo>
                    <a:lnTo>
                      <a:pt x="475132" y="155073"/>
                    </a:lnTo>
                    <a:lnTo>
                      <a:pt x="343426" y="111171"/>
                    </a:lnTo>
                    <a:lnTo>
                      <a:pt x="303773" y="98425"/>
                    </a:lnTo>
                    <a:lnTo>
                      <a:pt x="350507" y="10621"/>
                    </a:lnTo>
                    <a:lnTo>
                      <a:pt x="350507" y="10621"/>
                    </a:lnTo>
                    <a:lnTo>
                      <a:pt x="262704" y="57356"/>
                    </a:lnTo>
                    <a:lnTo>
                      <a:pt x="262704" y="57356"/>
                    </a:lnTo>
                    <a:lnTo>
                      <a:pt x="264120" y="87096"/>
                    </a:lnTo>
                    <a:lnTo>
                      <a:pt x="204640" y="67269"/>
                    </a:lnTo>
                    <a:lnTo>
                      <a:pt x="204640" y="67269"/>
                    </a:lnTo>
                    <a:lnTo>
                      <a:pt x="40362" y="147992"/>
                    </a:lnTo>
                    <a:lnTo>
                      <a:pt x="40362" y="147992"/>
                    </a:lnTo>
                    <a:lnTo>
                      <a:pt x="41778" y="149408"/>
                    </a:lnTo>
                    <a:lnTo>
                      <a:pt x="206056" y="68685"/>
                    </a:lnTo>
                    <a:lnTo>
                      <a:pt x="265536" y="88512"/>
                    </a:lnTo>
                    <a:lnTo>
                      <a:pt x="266952" y="167819"/>
                    </a:lnTo>
                    <a:lnTo>
                      <a:pt x="201807" y="292443"/>
                    </a:lnTo>
                    <a:lnTo>
                      <a:pt x="121084" y="266952"/>
                    </a:lnTo>
                    <a:lnTo>
                      <a:pt x="186229" y="320767"/>
                    </a:lnTo>
                    <a:lnTo>
                      <a:pt x="130998" y="425565"/>
                    </a:lnTo>
                    <a:lnTo>
                      <a:pt x="101258" y="383079"/>
                    </a:lnTo>
                    <a:lnTo>
                      <a:pt x="101258" y="383079"/>
                    </a:lnTo>
                    <a:lnTo>
                      <a:pt x="10621" y="630913"/>
                    </a:lnTo>
                    <a:lnTo>
                      <a:pt x="10621" y="630913"/>
                    </a:lnTo>
                    <a:lnTo>
                      <a:pt x="189062" y="510537"/>
                    </a:lnTo>
                    <a:lnTo>
                      <a:pt x="288195" y="653572"/>
                    </a:lnTo>
                    <a:lnTo>
                      <a:pt x="225883" y="690393"/>
                    </a:lnTo>
                    <a:lnTo>
                      <a:pt x="143744" y="647907"/>
                    </a:lnTo>
                    <a:lnTo>
                      <a:pt x="143744" y="647907"/>
                    </a:lnTo>
                    <a:lnTo>
                      <a:pt x="160738" y="728630"/>
                    </a:lnTo>
                    <a:lnTo>
                      <a:pt x="89928" y="771116"/>
                    </a:lnTo>
                    <a:lnTo>
                      <a:pt x="172067" y="782445"/>
                    </a:lnTo>
                    <a:lnTo>
                      <a:pt x="198975" y="909903"/>
                    </a:lnTo>
                    <a:lnTo>
                      <a:pt x="198975" y="909903"/>
                    </a:lnTo>
                    <a:lnTo>
                      <a:pt x="289611" y="798024"/>
                    </a:lnTo>
                    <a:lnTo>
                      <a:pt x="349091" y="806521"/>
                    </a:lnTo>
                    <a:lnTo>
                      <a:pt x="344843" y="986377"/>
                    </a:lnTo>
                    <a:lnTo>
                      <a:pt x="344843" y="986377"/>
                    </a:lnTo>
                    <a:lnTo>
                      <a:pt x="584179" y="880163"/>
                    </a:lnTo>
                    <a:lnTo>
                      <a:pt x="598341" y="986377"/>
                    </a:lnTo>
                    <a:lnTo>
                      <a:pt x="561520" y="1020365"/>
                    </a:lnTo>
                    <a:lnTo>
                      <a:pt x="241461" y="1033111"/>
                    </a:lnTo>
                    <a:lnTo>
                      <a:pt x="241461" y="1033111"/>
                    </a:lnTo>
                    <a:lnTo>
                      <a:pt x="353340" y="1126580"/>
                    </a:lnTo>
                    <a:lnTo>
                      <a:pt x="422733" y="1147823"/>
                    </a:lnTo>
                    <a:lnTo>
                      <a:pt x="361837" y="1204470"/>
                    </a:lnTo>
                    <a:lnTo>
                      <a:pt x="361837" y="1204470"/>
                    </a:lnTo>
                    <a:lnTo>
                      <a:pt x="363253" y="1205886"/>
                    </a:lnTo>
                    <a:lnTo>
                      <a:pt x="449641" y="1156320"/>
                    </a:lnTo>
                    <a:lnTo>
                      <a:pt x="572850" y="1193141"/>
                    </a:lnTo>
                    <a:lnTo>
                      <a:pt x="553023" y="1238459"/>
                    </a:lnTo>
                    <a:lnTo>
                      <a:pt x="449641" y="1288026"/>
                    </a:lnTo>
                    <a:lnTo>
                      <a:pt x="368918" y="1330511"/>
                    </a:lnTo>
                    <a:lnTo>
                      <a:pt x="368918" y="1330511"/>
                    </a:lnTo>
                    <a:lnTo>
                      <a:pt x="336345" y="1463633"/>
                    </a:lnTo>
                    <a:lnTo>
                      <a:pt x="336345" y="1463633"/>
                    </a:lnTo>
                    <a:lnTo>
                      <a:pt x="435479" y="1497622"/>
                    </a:lnTo>
                    <a:lnTo>
                      <a:pt x="385912" y="1605252"/>
                    </a:lnTo>
                    <a:lnTo>
                      <a:pt x="333513" y="1584010"/>
                    </a:lnTo>
                    <a:lnTo>
                      <a:pt x="333513" y="1584010"/>
                    </a:lnTo>
                    <a:lnTo>
                      <a:pt x="332097" y="1585426"/>
                    </a:lnTo>
                    <a:lnTo>
                      <a:pt x="381664" y="1612333"/>
                    </a:lnTo>
                    <a:lnTo>
                      <a:pt x="342010" y="1698721"/>
                    </a:lnTo>
                    <a:lnTo>
                      <a:pt x="342010" y="1698721"/>
                    </a:lnTo>
                    <a:lnTo>
                      <a:pt x="448225" y="1646322"/>
                    </a:lnTo>
                    <a:lnTo>
                      <a:pt x="509121" y="1678894"/>
                    </a:lnTo>
                    <a:lnTo>
                      <a:pt x="509121" y="1678894"/>
                    </a:lnTo>
                    <a:lnTo>
                      <a:pt x="544526" y="1663316"/>
                    </a:lnTo>
                    <a:lnTo>
                      <a:pt x="534612" y="1719964"/>
                    </a:lnTo>
                    <a:lnTo>
                      <a:pt x="350507" y="1751120"/>
                    </a:lnTo>
                    <a:lnTo>
                      <a:pt x="350507" y="1751120"/>
                    </a:lnTo>
                    <a:lnTo>
                      <a:pt x="351924" y="1916814"/>
                    </a:lnTo>
                    <a:lnTo>
                      <a:pt x="268368" y="1912566"/>
                    </a:lnTo>
                    <a:lnTo>
                      <a:pt x="268368" y="1912566"/>
                    </a:lnTo>
                    <a:lnTo>
                      <a:pt x="295276" y="1991872"/>
                    </a:lnTo>
                    <a:lnTo>
                      <a:pt x="240045" y="1984791"/>
                    </a:lnTo>
                    <a:lnTo>
                      <a:pt x="240045" y="1984791"/>
                    </a:lnTo>
                    <a:lnTo>
                      <a:pt x="308022" y="2054185"/>
                    </a:lnTo>
                    <a:lnTo>
                      <a:pt x="264120" y="2228376"/>
                    </a:lnTo>
                    <a:lnTo>
                      <a:pt x="264120" y="2228376"/>
                    </a:lnTo>
                    <a:lnTo>
                      <a:pt x="317935" y="2252451"/>
                    </a:lnTo>
                    <a:lnTo>
                      <a:pt x="249958" y="2319013"/>
                    </a:lnTo>
                    <a:lnTo>
                      <a:pt x="249958" y="2319013"/>
                    </a:lnTo>
                    <a:lnTo>
                      <a:pt x="285363" y="2429475"/>
                    </a:lnTo>
                    <a:lnTo>
                      <a:pt x="164986" y="2432308"/>
                    </a:lnTo>
                    <a:lnTo>
                      <a:pt x="164986" y="2432308"/>
                    </a:lnTo>
                    <a:lnTo>
                      <a:pt x="218802" y="2498869"/>
                    </a:lnTo>
                    <a:lnTo>
                      <a:pt x="218802" y="2498869"/>
                    </a:lnTo>
                    <a:lnTo>
                      <a:pt x="288195" y="2433724"/>
                    </a:lnTo>
                    <a:lnTo>
                      <a:pt x="306606" y="2490372"/>
                    </a:lnTo>
                    <a:lnTo>
                      <a:pt x="228715" y="2633407"/>
                    </a:lnTo>
                    <a:lnTo>
                      <a:pt x="228715" y="2633407"/>
                    </a:lnTo>
                    <a:lnTo>
                      <a:pt x="344843" y="2610748"/>
                    </a:lnTo>
                    <a:lnTo>
                      <a:pt x="356172" y="2648985"/>
                    </a:lnTo>
                    <a:lnTo>
                      <a:pt x="325016" y="2639072"/>
                    </a:lnTo>
                    <a:lnTo>
                      <a:pt x="223050" y="2637655"/>
                    </a:lnTo>
                    <a:lnTo>
                      <a:pt x="221634" y="2637655"/>
                    </a:lnTo>
                    <a:lnTo>
                      <a:pt x="366086" y="2708465"/>
                    </a:lnTo>
                    <a:lnTo>
                      <a:pt x="366086" y="2708465"/>
                    </a:lnTo>
                    <a:lnTo>
                      <a:pt x="350507" y="2657482"/>
                    </a:lnTo>
                    <a:lnTo>
                      <a:pt x="452473" y="2690055"/>
                    </a:lnTo>
                    <a:lnTo>
                      <a:pt x="452473" y="2690055"/>
                    </a:lnTo>
                    <a:lnTo>
                      <a:pt x="390161" y="2603667"/>
                    </a:lnTo>
                    <a:lnTo>
                      <a:pt x="390161" y="2603667"/>
                    </a:lnTo>
                    <a:lnTo>
                      <a:pt x="336345" y="2613580"/>
                    </a:lnTo>
                    <a:lnTo>
                      <a:pt x="299525" y="2494620"/>
                    </a:lnTo>
                    <a:lnTo>
                      <a:pt x="303773" y="2486123"/>
                    </a:lnTo>
                    <a:lnTo>
                      <a:pt x="330681" y="2573927"/>
                    </a:lnTo>
                    <a:lnTo>
                      <a:pt x="330681" y="2575343"/>
                    </a:lnTo>
                    <a:lnTo>
                      <a:pt x="337762" y="2449302"/>
                    </a:lnTo>
                    <a:lnTo>
                      <a:pt x="373167" y="2432308"/>
                    </a:lnTo>
                    <a:lnTo>
                      <a:pt x="401490" y="2430892"/>
                    </a:lnTo>
                    <a:lnTo>
                      <a:pt x="490710" y="2374244"/>
                    </a:lnTo>
                    <a:lnTo>
                      <a:pt x="490710" y="2374244"/>
                    </a:lnTo>
                    <a:lnTo>
                      <a:pt x="489294" y="2372828"/>
                    </a:lnTo>
                    <a:lnTo>
                      <a:pt x="371750" y="2430892"/>
                    </a:lnTo>
                    <a:lnTo>
                      <a:pt x="337762" y="2432308"/>
                    </a:lnTo>
                    <a:lnTo>
                      <a:pt x="340594" y="2381325"/>
                    </a:lnTo>
                    <a:lnTo>
                      <a:pt x="421317" y="2304851"/>
                    </a:lnTo>
                    <a:lnTo>
                      <a:pt x="421317" y="2304851"/>
                    </a:lnTo>
                    <a:lnTo>
                      <a:pt x="343426" y="2313348"/>
                    </a:lnTo>
                    <a:lnTo>
                      <a:pt x="346259" y="2272278"/>
                    </a:lnTo>
                    <a:lnTo>
                      <a:pt x="414236" y="2302018"/>
                    </a:lnTo>
                    <a:lnTo>
                      <a:pt x="414236" y="2302018"/>
                    </a:lnTo>
                    <a:lnTo>
                      <a:pt x="409988" y="2184474"/>
                    </a:lnTo>
                    <a:lnTo>
                      <a:pt x="421317" y="2178810"/>
                    </a:lnTo>
                    <a:lnTo>
                      <a:pt x="462387" y="2219879"/>
                    </a:lnTo>
                    <a:lnTo>
                      <a:pt x="462387" y="2219879"/>
                    </a:lnTo>
                    <a:lnTo>
                      <a:pt x="494959" y="2140572"/>
                    </a:lnTo>
                    <a:lnTo>
                      <a:pt x="494959" y="2140572"/>
                    </a:lnTo>
                    <a:lnTo>
                      <a:pt x="421317" y="2175977"/>
                    </a:lnTo>
                    <a:lnTo>
                      <a:pt x="408571" y="2163232"/>
                    </a:lnTo>
                    <a:lnTo>
                      <a:pt x="408571" y="2158983"/>
                    </a:lnTo>
                    <a:lnTo>
                      <a:pt x="533196" y="2035774"/>
                    </a:lnTo>
                    <a:lnTo>
                      <a:pt x="533196" y="2035774"/>
                    </a:lnTo>
                    <a:lnTo>
                      <a:pt x="534612" y="2027277"/>
                    </a:lnTo>
                    <a:lnTo>
                      <a:pt x="543110" y="2028693"/>
                    </a:lnTo>
                    <a:lnTo>
                      <a:pt x="544526" y="2028693"/>
                    </a:lnTo>
                    <a:lnTo>
                      <a:pt x="536029" y="2023029"/>
                    </a:lnTo>
                    <a:lnTo>
                      <a:pt x="550190" y="1930976"/>
                    </a:lnTo>
                    <a:lnTo>
                      <a:pt x="626665" y="1935225"/>
                    </a:lnTo>
                    <a:lnTo>
                      <a:pt x="626665" y="1935225"/>
                    </a:lnTo>
                    <a:lnTo>
                      <a:pt x="628081" y="1844589"/>
                    </a:lnTo>
                    <a:lnTo>
                      <a:pt x="660653" y="1844589"/>
                    </a:lnTo>
                    <a:lnTo>
                      <a:pt x="691810" y="1952219"/>
                    </a:lnTo>
                    <a:lnTo>
                      <a:pt x="691810" y="1953635"/>
                    </a:lnTo>
                    <a:lnTo>
                      <a:pt x="704555" y="1860167"/>
                    </a:lnTo>
                    <a:lnTo>
                      <a:pt x="660653" y="2555517"/>
                    </a:lnTo>
                    <a:lnTo>
                      <a:pt x="660653" y="2555517"/>
                    </a:lnTo>
                    <a:lnTo>
                      <a:pt x="662069" y="2555517"/>
                    </a:lnTo>
                    <a:lnTo>
                      <a:pt x="662069" y="2555517"/>
                    </a:lnTo>
                    <a:lnTo>
                      <a:pt x="720133" y="1626495"/>
                    </a:lnTo>
                    <a:lnTo>
                      <a:pt x="754122" y="1744039"/>
                    </a:lnTo>
                    <a:lnTo>
                      <a:pt x="713052" y="1789357"/>
                    </a:lnTo>
                    <a:lnTo>
                      <a:pt x="713052" y="1789357"/>
                    </a:lnTo>
                    <a:lnTo>
                      <a:pt x="772532" y="1800687"/>
                    </a:lnTo>
                    <a:lnTo>
                      <a:pt x="772532" y="1800687"/>
                    </a:lnTo>
                    <a:lnTo>
                      <a:pt x="756954" y="1744039"/>
                    </a:lnTo>
                    <a:lnTo>
                      <a:pt x="850423" y="1642073"/>
                    </a:lnTo>
                    <a:lnTo>
                      <a:pt x="880163" y="1651987"/>
                    </a:lnTo>
                    <a:lnTo>
                      <a:pt x="880163" y="1651987"/>
                    </a:lnTo>
                    <a:lnTo>
                      <a:pt x="966551" y="1513200"/>
                    </a:lnTo>
                    <a:lnTo>
                      <a:pt x="1119499" y="1346089"/>
                    </a:lnTo>
                    <a:lnTo>
                      <a:pt x="1119499" y="1346089"/>
                    </a:lnTo>
                    <a:lnTo>
                      <a:pt x="1118083" y="1344673"/>
                    </a:lnTo>
                    <a:lnTo>
                      <a:pt x="1027447" y="1412650"/>
                    </a:lnTo>
                    <a:lnTo>
                      <a:pt x="965135" y="1511784"/>
                    </a:lnTo>
                    <a:lnTo>
                      <a:pt x="849007" y="1639241"/>
                    </a:lnTo>
                    <a:lnTo>
                      <a:pt x="713052" y="1592507"/>
                    </a:lnTo>
                    <a:lnTo>
                      <a:pt x="713052" y="1592507"/>
                    </a:lnTo>
                    <a:lnTo>
                      <a:pt x="705972" y="1589674"/>
                    </a:lnTo>
                    <a:lnTo>
                      <a:pt x="756954" y="1567015"/>
                    </a:lnTo>
                    <a:lnTo>
                      <a:pt x="812186" y="1591091"/>
                    </a:lnTo>
                    <a:lnTo>
                      <a:pt x="812186" y="1591091"/>
                    </a:lnTo>
                    <a:lnTo>
                      <a:pt x="796608" y="1548605"/>
                    </a:lnTo>
                    <a:lnTo>
                      <a:pt x="853255" y="1588258"/>
                    </a:lnTo>
                    <a:lnTo>
                      <a:pt x="853255" y="1588258"/>
                    </a:lnTo>
                    <a:lnTo>
                      <a:pt x="943892" y="1479212"/>
                    </a:lnTo>
                    <a:lnTo>
                      <a:pt x="943892" y="1477795"/>
                    </a:lnTo>
                    <a:lnTo>
                      <a:pt x="796608" y="1545772"/>
                    </a:lnTo>
                    <a:lnTo>
                      <a:pt x="795192" y="1544356"/>
                    </a:lnTo>
                    <a:lnTo>
                      <a:pt x="773949" y="1486292"/>
                    </a:lnTo>
                    <a:lnTo>
                      <a:pt x="1201639" y="1275280"/>
                    </a:lnTo>
                    <a:lnTo>
                      <a:pt x="1201639" y="1275280"/>
                    </a:lnTo>
                    <a:lnTo>
                      <a:pt x="1061436" y="1142158"/>
                    </a:lnTo>
                    <a:lnTo>
                      <a:pt x="1256870" y="1154903"/>
                    </a:lnTo>
                    <a:lnTo>
                      <a:pt x="1256870" y="1154903"/>
                    </a:lnTo>
                    <a:lnTo>
                      <a:pt x="1288026" y="994874"/>
                    </a:lnTo>
                    <a:lnTo>
                      <a:pt x="1324847" y="993458"/>
                    </a:lnTo>
                    <a:lnTo>
                      <a:pt x="1324847" y="993458"/>
                    </a:lnTo>
                    <a:lnTo>
                      <a:pt x="1324847" y="992042"/>
                    </a:lnTo>
                    <a:lnTo>
                      <a:pt x="1288026" y="987793"/>
                    </a:lnTo>
                    <a:lnTo>
                      <a:pt x="1314934" y="843341"/>
                    </a:lnTo>
                    <a:lnTo>
                      <a:pt x="1416900" y="761203"/>
                    </a:lnTo>
                    <a:lnTo>
                      <a:pt x="1416900" y="761203"/>
                    </a:lnTo>
                    <a:lnTo>
                      <a:pt x="1238460" y="790943"/>
                    </a:lnTo>
                    <a:lnTo>
                      <a:pt x="1330512" y="660653"/>
                    </a:lnTo>
                    <a:close/>
                    <a:moveTo>
                      <a:pt x="799440" y="1547189"/>
                    </a:moveTo>
                    <a:lnTo>
                      <a:pt x="938227" y="1483460"/>
                    </a:lnTo>
                    <a:lnTo>
                      <a:pt x="854672" y="1585426"/>
                    </a:lnTo>
                    <a:lnTo>
                      <a:pt x="799440" y="1547189"/>
                    </a:lnTo>
                    <a:close/>
                    <a:moveTo>
                      <a:pt x="425566" y="2178810"/>
                    </a:moveTo>
                    <a:lnTo>
                      <a:pt x="493543" y="2146237"/>
                    </a:lnTo>
                    <a:lnTo>
                      <a:pt x="463803" y="2218463"/>
                    </a:lnTo>
                    <a:lnTo>
                      <a:pt x="425566" y="2178810"/>
                    </a:lnTo>
                    <a:close/>
                    <a:moveTo>
                      <a:pt x="337762" y="2449302"/>
                    </a:moveTo>
                    <a:lnTo>
                      <a:pt x="339178" y="2435140"/>
                    </a:lnTo>
                    <a:lnTo>
                      <a:pt x="368918" y="2433724"/>
                    </a:lnTo>
                    <a:lnTo>
                      <a:pt x="337762" y="2449302"/>
                    </a:lnTo>
                    <a:close/>
                    <a:moveTo>
                      <a:pt x="223050" y="2646153"/>
                    </a:moveTo>
                    <a:lnTo>
                      <a:pt x="315103" y="2647569"/>
                    </a:lnTo>
                    <a:lnTo>
                      <a:pt x="347675" y="2657482"/>
                    </a:lnTo>
                    <a:lnTo>
                      <a:pt x="363253" y="2705632"/>
                    </a:lnTo>
                    <a:lnTo>
                      <a:pt x="223050" y="2646153"/>
                    </a:lnTo>
                    <a:close/>
                    <a:moveTo>
                      <a:pt x="350507" y="2656066"/>
                    </a:moveTo>
                    <a:lnTo>
                      <a:pt x="337762" y="2616413"/>
                    </a:lnTo>
                    <a:lnTo>
                      <a:pt x="390161" y="2606499"/>
                    </a:lnTo>
                    <a:lnTo>
                      <a:pt x="448225" y="2685806"/>
                    </a:lnTo>
                    <a:lnTo>
                      <a:pt x="350507" y="2656066"/>
                    </a:lnTo>
                    <a:close/>
                    <a:moveTo>
                      <a:pt x="278282" y="2437973"/>
                    </a:moveTo>
                    <a:lnTo>
                      <a:pt x="210305" y="2501701"/>
                    </a:lnTo>
                    <a:lnTo>
                      <a:pt x="160738" y="2439389"/>
                    </a:lnTo>
                    <a:lnTo>
                      <a:pt x="278282" y="2437973"/>
                    </a:lnTo>
                    <a:lnTo>
                      <a:pt x="278282" y="2437973"/>
                    </a:lnTo>
                    <a:close/>
                    <a:moveTo>
                      <a:pt x="759787" y="1564183"/>
                    </a:moveTo>
                    <a:lnTo>
                      <a:pt x="795192" y="1547189"/>
                    </a:lnTo>
                    <a:lnTo>
                      <a:pt x="809354" y="1585426"/>
                    </a:lnTo>
                    <a:lnTo>
                      <a:pt x="759787" y="1564183"/>
                    </a:lnTo>
                    <a:close/>
                    <a:moveTo>
                      <a:pt x="717301" y="1789357"/>
                    </a:moveTo>
                    <a:lnTo>
                      <a:pt x="755538" y="1748288"/>
                    </a:lnTo>
                    <a:lnTo>
                      <a:pt x="771116" y="1799270"/>
                    </a:lnTo>
                    <a:lnTo>
                      <a:pt x="717301" y="1789357"/>
                    </a:lnTo>
                    <a:close/>
                    <a:moveTo>
                      <a:pt x="626665" y="1708634"/>
                    </a:moveTo>
                    <a:lnTo>
                      <a:pt x="626665" y="1728461"/>
                    </a:lnTo>
                    <a:lnTo>
                      <a:pt x="621000" y="1710050"/>
                    </a:lnTo>
                    <a:lnTo>
                      <a:pt x="626665" y="1708634"/>
                    </a:lnTo>
                    <a:close/>
                    <a:moveTo>
                      <a:pt x="659237" y="1844589"/>
                    </a:moveTo>
                    <a:lnTo>
                      <a:pt x="628081" y="1844589"/>
                    </a:lnTo>
                    <a:lnTo>
                      <a:pt x="629497" y="1742623"/>
                    </a:lnTo>
                    <a:lnTo>
                      <a:pt x="659237" y="1844589"/>
                    </a:lnTo>
                    <a:close/>
                    <a:moveTo>
                      <a:pt x="562936" y="1846005"/>
                    </a:moveTo>
                    <a:lnTo>
                      <a:pt x="626665" y="1846005"/>
                    </a:lnTo>
                    <a:lnTo>
                      <a:pt x="625249" y="1935225"/>
                    </a:lnTo>
                    <a:lnTo>
                      <a:pt x="550190" y="1930976"/>
                    </a:lnTo>
                    <a:lnTo>
                      <a:pt x="562936" y="1846005"/>
                    </a:lnTo>
                    <a:close/>
                    <a:moveTo>
                      <a:pt x="421317" y="2178810"/>
                    </a:moveTo>
                    <a:lnTo>
                      <a:pt x="411404" y="2184474"/>
                    </a:lnTo>
                    <a:lnTo>
                      <a:pt x="411404" y="2167480"/>
                    </a:lnTo>
                    <a:lnTo>
                      <a:pt x="421317" y="2178810"/>
                    </a:lnTo>
                    <a:close/>
                    <a:moveTo>
                      <a:pt x="317935" y="2459215"/>
                    </a:moveTo>
                    <a:lnTo>
                      <a:pt x="305189" y="2483291"/>
                    </a:lnTo>
                    <a:lnTo>
                      <a:pt x="291027" y="2436556"/>
                    </a:lnTo>
                    <a:lnTo>
                      <a:pt x="336345" y="2435140"/>
                    </a:lnTo>
                    <a:lnTo>
                      <a:pt x="334929" y="2450718"/>
                    </a:lnTo>
                    <a:lnTo>
                      <a:pt x="317935" y="2459215"/>
                    </a:lnTo>
                    <a:close/>
                    <a:moveTo>
                      <a:pt x="305189" y="2486123"/>
                    </a:moveTo>
                    <a:lnTo>
                      <a:pt x="319351" y="2460632"/>
                    </a:lnTo>
                    <a:lnTo>
                      <a:pt x="336345" y="2452134"/>
                    </a:lnTo>
                    <a:lnTo>
                      <a:pt x="330681" y="2565430"/>
                    </a:lnTo>
                    <a:lnTo>
                      <a:pt x="305189" y="2486123"/>
                    </a:lnTo>
                    <a:close/>
                    <a:moveTo>
                      <a:pt x="453889" y="1640657"/>
                    </a:moveTo>
                    <a:lnTo>
                      <a:pt x="439727" y="1647738"/>
                    </a:lnTo>
                    <a:lnTo>
                      <a:pt x="375999" y="1613750"/>
                    </a:lnTo>
                    <a:lnTo>
                      <a:pt x="377415" y="1609501"/>
                    </a:lnTo>
                    <a:lnTo>
                      <a:pt x="453889" y="1640657"/>
                    </a:lnTo>
                    <a:close/>
                    <a:moveTo>
                      <a:pt x="438311" y="1157736"/>
                    </a:moveTo>
                    <a:lnTo>
                      <a:pt x="363253" y="1201638"/>
                    </a:lnTo>
                    <a:lnTo>
                      <a:pt x="418485" y="1152071"/>
                    </a:lnTo>
                    <a:lnTo>
                      <a:pt x="438311" y="1157736"/>
                    </a:lnTo>
                    <a:close/>
                    <a:moveTo>
                      <a:pt x="347675" y="1127996"/>
                    </a:moveTo>
                    <a:lnTo>
                      <a:pt x="240045" y="1037360"/>
                    </a:lnTo>
                    <a:lnTo>
                      <a:pt x="553023" y="1024614"/>
                    </a:lnTo>
                    <a:lnTo>
                      <a:pt x="418485" y="1149239"/>
                    </a:lnTo>
                    <a:lnTo>
                      <a:pt x="347675" y="1127996"/>
                    </a:lnTo>
                    <a:close/>
                    <a:moveTo>
                      <a:pt x="419901" y="1149239"/>
                    </a:moveTo>
                    <a:lnTo>
                      <a:pt x="555855" y="1024614"/>
                    </a:lnTo>
                    <a:lnTo>
                      <a:pt x="674815" y="1018949"/>
                    </a:lnTo>
                    <a:lnTo>
                      <a:pt x="441144" y="1154903"/>
                    </a:lnTo>
                    <a:lnTo>
                      <a:pt x="419901" y="1149239"/>
                    </a:lnTo>
                    <a:close/>
                    <a:moveTo>
                      <a:pt x="326432" y="747041"/>
                    </a:moveTo>
                    <a:lnTo>
                      <a:pt x="283946" y="799440"/>
                    </a:lnTo>
                    <a:lnTo>
                      <a:pt x="169235" y="782445"/>
                    </a:lnTo>
                    <a:lnTo>
                      <a:pt x="159322" y="731462"/>
                    </a:lnTo>
                    <a:lnTo>
                      <a:pt x="223050" y="694641"/>
                    </a:lnTo>
                    <a:lnTo>
                      <a:pt x="326432" y="747041"/>
                    </a:lnTo>
                    <a:close/>
                    <a:moveTo>
                      <a:pt x="1069933" y="667734"/>
                    </a:moveTo>
                    <a:lnTo>
                      <a:pt x="1079846" y="632329"/>
                    </a:lnTo>
                    <a:lnTo>
                      <a:pt x="1079846" y="664902"/>
                    </a:lnTo>
                    <a:lnTo>
                      <a:pt x="1069933" y="667734"/>
                    </a:lnTo>
                    <a:close/>
                    <a:moveTo>
                      <a:pt x="1135078" y="809353"/>
                    </a:moveTo>
                    <a:lnTo>
                      <a:pt x="1126580" y="679064"/>
                    </a:lnTo>
                    <a:lnTo>
                      <a:pt x="1327679" y="663486"/>
                    </a:lnTo>
                    <a:lnTo>
                      <a:pt x="1239876" y="790943"/>
                    </a:lnTo>
                    <a:lnTo>
                      <a:pt x="1135078" y="809353"/>
                    </a:lnTo>
                    <a:close/>
                    <a:moveTo>
                      <a:pt x="1082679" y="965134"/>
                    </a:moveTo>
                    <a:lnTo>
                      <a:pt x="1082679" y="680480"/>
                    </a:lnTo>
                    <a:lnTo>
                      <a:pt x="1125164" y="677647"/>
                    </a:lnTo>
                    <a:lnTo>
                      <a:pt x="1133661" y="810769"/>
                    </a:lnTo>
                    <a:lnTo>
                      <a:pt x="1133661" y="810769"/>
                    </a:lnTo>
                    <a:lnTo>
                      <a:pt x="1238460" y="793775"/>
                    </a:lnTo>
                    <a:lnTo>
                      <a:pt x="1118083" y="969383"/>
                    </a:lnTo>
                    <a:lnTo>
                      <a:pt x="1082679" y="965134"/>
                    </a:lnTo>
                    <a:close/>
                    <a:moveTo>
                      <a:pt x="1082679" y="1000539"/>
                    </a:moveTo>
                    <a:lnTo>
                      <a:pt x="1082679" y="967967"/>
                    </a:lnTo>
                    <a:lnTo>
                      <a:pt x="1115251" y="970799"/>
                    </a:lnTo>
                    <a:lnTo>
                      <a:pt x="1095424" y="1000539"/>
                    </a:lnTo>
                    <a:lnTo>
                      <a:pt x="1082679" y="1000539"/>
                    </a:lnTo>
                    <a:close/>
                    <a:moveTo>
                      <a:pt x="1094008" y="1001955"/>
                    </a:moveTo>
                    <a:lnTo>
                      <a:pt x="1082679" y="1018949"/>
                    </a:lnTo>
                    <a:lnTo>
                      <a:pt x="1082679" y="1003371"/>
                    </a:lnTo>
                    <a:lnTo>
                      <a:pt x="1094008" y="1001955"/>
                    </a:lnTo>
                    <a:close/>
                    <a:moveTo>
                      <a:pt x="1156320" y="642243"/>
                    </a:moveTo>
                    <a:lnTo>
                      <a:pt x="1125164" y="652156"/>
                    </a:lnTo>
                    <a:lnTo>
                      <a:pt x="1119499" y="554439"/>
                    </a:lnTo>
                    <a:lnTo>
                      <a:pt x="1156320" y="642243"/>
                    </a:lnTo>
                    <a:close/>
                    <a:moveTo>
                      <a:pt x="1081262" y="666318"/>
                    </a:moveTo>
                    <a:lnTo>
                      <a:pt x="1122332" y="653572"/>
                    </a:lnTo>
                    <a:lnTo>
                      <a:pt x="1123748" y="676231"/>
                    </a:lnTo>
                    <a:lnTo>
                      <a:pt x="1081262" y="679064"/>
                    </a:lnTo>
                    <a:lnTo>
                      <a:pt x="1081262" y="666318"/>
                    </a:lnTo>
                    <a:close/>
                    <a:moveTo>
                      <a:pt x="735712" y="1504703"/>
                    </a:moveTo>
                    <a:lnTo>
                      <a:pt x="793775" y="1545772"/>
                    </a:lnTo>
                    <a:lnTo>
                      <a:pt x="793775" y="1547189"/>
                    </a:lnTo>
                    <a:lnTo>
                      <a:pt x="755538" y="1564183"/>
                    </a:lnTo>
                    <a:lnTo>
                      <a:pt x="680480" y="1531610"/>
                    </a:lnTo>
                    <a:lnTo>
                      <a:pt x="735712" y="1504703"/>
                    </a:lnTo>
                    <a:close/>
                    <a:moveTo>
                      <a:pt x="231547" y="361837"/>
                    </a:moveTo>
                    <a:lnTo>
                      <a:pt x="309438" y="425565"/>
                    </a:lnTo>
                    <a:lnTo>
                      <a:pt x="186229" y="509121"/>
                    </a:lnTo>
                    <a:lnTo>
                      <a:pt x="142327" y="445392"/>
                    </a:lnTo>
                    <a:lnTo>
                      <a:pt x="231547" y="361837"/>
                    </a:lnTo>
                    <a:close/>
                    <a:moveTo>
                      <a:pt x="275449" y="317935"/>
                    </a:moveTo>
                    <a:lnTo>
                      <a:pt x="232964" y="357588"/>
                    </a:lnTo>
                    <a:lnTo>
                      <a:pt x="186229" y="319351"/>
                    </a:lnTo>
                    <a:lnTo>
                      <a:pt x="200391" y="293860"/>
                    </a:lnTo>
                    <a:lnTo>
                      <a:pt x="275449" y="317935"/>
                    </a:lnTo>
                    <a:close/>
                    <a:moveTo>
                      <a:pt x="476549" y="157905"/>
                    </a:moveTo>
                    <a:lnTo>
                      <a:pt x="561520" y="74350"/>
                    </a:lnTo>
                    <a:lnTo>
                      <a:pt x="511953" y="169235"/>
                    </a:lnTo>
                    <a:lnTo>
                      <a:pt x="476549" y="157905"/>
                    </a:lnTo>
                    <a:close/>
                    <a:moveTo>
                      <a:pt x="487878" y="220218"/>
                    </a:moveTo>
                    <a:lnTo>
                      <a:pt x="513369" y="172067"/>
                    </a:lnTo>
                    <a:lnTo>
                      <a:pt x="732879" y="244293"/>
                    </a:lnTo>
                    <a:lnTo>
                      <a:pt x="487878" y="220218"/>
                    </a:lnTo>
                    <a:close/>
                    <a:moveTo>
                      <a:pt x="762619" y="633745"/>
                    </a:moveTo>
                    <a:lnTo>
                      <a:pt x="762619" y="633745"/>
                    </a:lnTo>
                    <a:lnTo>
                      <a:pt x="962302" y="690393"/>
                    </a:lnTo>
                    <a:lnTo>
                      <a:pt x="962302" y="690393"/>
                    </a:lnTo>
                    <a:lnTo>
                      <a:pt x="1004788" y="687560"/>
                    </a:lnTo>
                    <a:lnTo>
                      <a:pt x="727214" y="771116"/>
                    </a:lnTo>
                    <a:lnTo>
                      <a:pt x="571433" y="640826"/>
                    </a:lnTo>
                    <a:lnTo>
                      <a:pt x="735712" y="662069"/>
                    </a:lnTo>
                    <a:lnTo>
                      <a:pt x="737128" y="662069"/>
                    </a:lnTo>
                    <a:lnTo>
                      <a:pt x="536029" y="541693"/>
                    </a:lnTo>
                    <a:lnTo>
                      <a:pt x="536029" y="541693"/>
                    </a:lnTo>
                    <a:lnTo>
                      <a:pt x="545942" y="618167"/>
                    </a:lnTo>
                    <a:lnTo>
                      <a:pt x="465219" y="551607"/>
                    </a:lnTo>
                    <a:lnTo>
                      <a:pt x="621000" y="459554"/>
                    </a:lnTo>
                    <a:lnTo>
                      <a:pt x="662069" y="490710"/>
                    </a:lnTo>
                    <a:lnTo>
                      <a:pt x="662069" y="490710"/>
                    </a:lnTo>
                    <a:lnTo>
                      <a:pt x="669150" y="431230"/>
                    </a:lnTo>
                    <a:lnTo>
                      <a:pt x="725798" y="397241"/>
                    </a:lnTo>
                    <a:lnTo>
                      <a:pt x="795192" y="418484"/>
                    </a:lnTo>
                    <a:lnTo>
                      <a:pt x="795192" y="418484"/>
                    </a:lnTo>
                    <a:lnTo>
                      <a:pt x="795192" y="407155"/>
                    </a:lnTo>
                    <a:lnTo>
                      <a:pt x="887244" y="452473"/>
                    </a:lnTo>
                    <a:lnTo>
                      <a:pt x="762619" y="633745"/>
                    </a:lnTo>
                    <a:close/>
                    <a:moveTo>
                      <a:pt x="987794" y="956637"/>
                    </a:moveTo>
                    <a:lnTo>
                      <a:pt x="1064268" y="683312"/>
                    </a:lnTo>
                    <a:lnTo>
                      <a:pt x="1078430" y="681896"/>
                    </a:lnTo>
                    <a:lnTo>
                      <a:pt x="1078430" y="965134"/>
                    </a:lnTo>
                    <a:lnTo>
                      <a:pt x="987794" y="956637"/>
                    </a:lnTo>
                    <a:close/>
                    <a:moveTo>
                      <a:pt x="738544" y="1503287"/>
                    </a:moveTo>
                    <a:lnTo>
                      <a:pt x="772532" y="1486292"/>
                    </a:lnTo>
                    <a:lnTo>
                      <a:pt x="793775" y="1541524"/>
                    </a:lnTo>
                    <a:lnTo>
                      <a:pt x="738544" y="1503287"/>
                    </a:lnTo>
                    <a:close/>
                    <a:moveTo>
                      <a:pt x="754122" y="1564183"/>
                    </a:moveTo>
                    <a:lnTo>
                      <a:pt x="703139" y="1586842"/>
                    </a:lnTo>
                    <a:lnTo>
                      <a:pt x="649324" y="1547189"/>
                    </a:lnTo>
                    <a:lnTo>
                      <a:pt x="679064" y="1533027"/>
                    </a:lnTo>
                    <a:lnTo>
                      <a:pt x="754122" y="1564183"/>
                    </a:lnTo>
                    <a:close/>
                    <a:moveTo>
                      <a:pt x="558688" y="1544356"/>
                    </a:moveTo>
                    <a:lnTo>
                      <a:pt x="550190" y="1593923"/>
                    </a:lnTo>
                    <a:lnTo>
                      <a:pt x="458138" y="1639241"/>
                    </a:lnTo>
                    <a:lnTo>
                      <a:pt x="380247" y="1608085"/>
                    </a:lnTo>
                    <a:lnTo>
                      <a:pt x="429814" y="1500454"/>
                    </a:lnTo>
                    <a:lnTo>
                      <a:pt x="558688" y="1544356"/>
                    </a:lnTo>
                    <a:close/>
                    <a:moveTo>
                      <a:pt x="299525" y="101258"/>
                    </a:moveTo>
                    <a:lnTo>
                      <a:pt x="265536" y="164986"/>
                    </a:lnTo>
                    <a:lnTo>
                      <a:pt x="264120" y="89928"/>
                    </a:lnTo>
                    <a:lnTo>
                      <a:pt x="299525" y="101258"/>
                    </a:lnTo>
                    <a:close/>
                    <a:moveTo>
                      <a:pt x="346259" y="724382"/>
                    </a:moveTo>
                    <a:lnTo>
                      <a:pt x="346259" y="738543"/>
                    </a:lnTo>
                    <a:lnTo>
                      <a:pt x="340594" y="731462"/>
                    </a:lnTo>
                    <a:lnTo>
                      <a:pt x="346259" y="724382"/>
                    </a:lnTo>
                    <a:close/>
                    <a:moveTo>
                      <a:pt x="329265" y="745624"/>
                    </a:moveTo>
                    <a:lnTo>
                      <a:pt x="339178" y="732879"/>
                    </a:lnTo>
                    <a:lnTo>
                      <a:pt x="346259" y="742792"/>
                    </a:lnTo>
                    <a:lnTo>
                      <a:pt x="346259" y="754122"/>
                    </a:lnTo>
                    <a:lnTo>
                      <a:pt x="329265" y="745624"/>
                    </a:lnTo>
                    <a:close/>
                    <a:moveTo>
                      <a:pt x="568601" y="640826"/>
                    </a:moveTo>
                    <a:lnTo>
                      <a:pt x="725798" y="772532"/>
                    </a:lnTo>
                    <a:lnTo>
                      <a:pt x="571433" y="819266"/>
                    </a:lnTo>
                    <a:lnTo>
                      <a:pt x="548774" y="639410"/>
                    </a:lnTo>
                    <a:lnTo>
                      <a:pt x="568601" y="640826"/>
                    </a:lnTo>
                    <a:close/>
                    <a:moveTo>
                      <a:pt x="528948" y="833428"/>
                    </a:moveTo>
                    <a:lnTo>
                      <a:pt x="570017" y="820683"/>
                    </a:lnTo>
                    <a:lnTo>
                      <a:pt x="572850" y="839093"/>
                    </a:lnTo>
                    <a:lnTo>
                      <a:pt x="528948" y="833428"/>
                    </a:lnTo>
                    <a:close/>
                    <a:moveTo>
                      <a:pt x="360421" y="764035"/>
                    </a:moveTo>
                    <a:lnTo>
                      <a:pt x="394409" y="813602"/>
                    </a:lnTo>
                    <a:lnTo>
                      <a:pt x="344843" y="806521"/>
                    </a:lnTo>
                    <a:lnTo>
                      <a:pt x="346259" y="756954"/>
                    </a:lnTo>
                    <a:lnTo>
                      <a:pt x="360421" y="764035"/>
                    </a:lnTo>
                    <a:close/>
                    <a:moveTo>
                      <a:pt x="357588" y="761203"/>
                    </a:moveTo>
                    <a:lnTo>
                      <a:pt x="346259" y="755538"/>
                    </a:lnTo>
                    <a:lnTo>
                      <a:pt x="346259" y="745624"/>
                    </a:lnTo>
                    <a:lnTo>
                      <a:pt x="357588" y="761203"/>
                    </a:lnTo>
                    <a:close/>
                    <a:moveTo>
                      <a:pt x="356172" y="462386"/>
                    </a:moveTo>
                    <a:lnTo>
                      <a:pt x="500624" y="370334"/>
                    </a:lnTo>
                    <a:lnTo>
                      <a:pt x="540277" y="400074"/>
                    </a:lnTo>
                    <a:lnTo>
                      <a:pt x="421317" y="516202"/>
                    </a:lnTo>
                    <a:lnTo>
                      <a:pt x="356172" y="462386"/>
                    </a:lnTo>
                    <a:close/>
                    <a:moveTo>
                      <a:pt x="623832" y="320767"/>
                    </a:moveTo>
                    <a:lnTo>
                      <a:pt x="684729" y="261287"/>
                    </a:lnTo>
                    <a:lnTo>
                      <a:pt x="676231" y="346259"/>
                    </a:lnTo>
                    <a:lnTo>
                      <a:pt x="623832" y="320767"/>
                    </a:lnTo>
                    <a:close/>
                    <a:moveTo>
                      <a:pt x="666318" y="432646"/>
                    </a:moveTo>
                    <a:lnTo>
                      <a:pt x="660653" y="487878"/>
                    </a:lnTo>
                    <a:lnTo>
                      <a:pt x="622416" y="458138"/>
                    </a:lnTo>
                    <a:lnTo>
                      <a:pt x="666318" y="432646"/>
                    </a:lnTo>
                    <a:close/>
                    <a:moveTo>
                      <a:pt x="727214" y="659237"/>
                    </a:moveTo>
                    <a:lnTo>
                      <a:pt x="568601" y="637994"/>
                    </a:lnTo>
                    <a:lnTo>
                      <a:pt x="545942" y="619584"/>
                    </a:lnTo>
                    <a:lnTo>
                      <a:pt x="536029" y="544526"/>
                    </a:lnTo>
                    <a:lnTo>
                      <a:pt x="727214" y="659237"/>
                    </a:lnTo>
                    <a:close/>
                    <a:moveTo>
                      <a:pt x="353340" y="538860"/>
                    </a:moveTo>
                    <a:lnTo>
                      <a:pt x="354756" y="463803"/>
                    </a:lnTo>
                    <a:lnTo>
                      <a:pt x="421317" y="519034"/>
                    </a:lnTo>
                    <a:lnTo>
                      <a:pt x="388745" y="551607"/>
                    </a:lnTo>
                    <a:lnTo>
                      <a:pt x="353340" y="538860"/>
                    </a:lnTo>
                    <a:close/>
                    <a:moveTo>
                      <a:pt x="548774" y="340594"/>
                    </a:moveTo>
                    <a:lnTo>
                      <a:pt x="596925" y="309438"/>
                    </a:lnTo>
                    <a:lnTo>
                      <a:pt x="621000" y="322183"/>
                    </a:lnTo>
                    <a:lnTo>
                      <a:pt x="589844" y="353340"/>
                    </a:lnTo>
                    <a:lnTo>
                      <a:pt x="548774" y="340594"/>
                    </a:lnTo>
                    <a:close/>
                    <a:moveTo>
                      <a:pt x="618168" y="458138"/>
                    </a:moveTo>
                    <a:lnTo>
                      <a:pt x="462387" y="550190"/>
                    </a:lnTo>
                    <a:lnTo>
                      <a:pt x="424150" y="517618"/>
                    </a:lnTo>
                    <a:lnTo>
                      <a:pt x="543110" y="401490"/>
                    </a:lnTo>
                    <a:lnTo>
                      <a:pt x="618168" y="458138"/>
                    </a:lnTo>
                    <a:close/>
                    <a:moveTo>
                      <a:pt x="462387" y="553022"/>
                    </a:moveTo>
                    <a:lnTo>
                      <a:pt x="544526" y="622416"/>
                    </a:lnTo>
                    <a:lnTo>
                      <a:pt x="545942" y="636578"/>
                    </a:lnTo>
                    <a:lnTo>
                      <a:pt x="428398" y="621000"/>
                    </a:lnTo>
                    <a:lnTo>
                      <a:pt x="428398" y="621000"/>
                    </a:lnTo>
                    <a:lnTo>
                      <a:pt x="347675" y="720133"/>
                    </a:lnTo>
                    <a:lnTo>
                      <a:pt x="350507" y="619584"/>
                    </a:lnTo>
                    <a:lnTo>
                      <a:pt x="462387" y="553022"/>
                    </a:lnTo>
                    <a:close/>
                    <a:moveTo>
                      <a:pt x="460970" y="551607"/>
                    </a:moveTo>
                    <a:lnTo>
                      <a:pt x="351924" y="615335"/>
                    </a:lnTo>
                    <a:lnTo>
                      <a:pt x="353340" y="540277"/>
                    </a:lnTo>
                    <a:lnTo>
                      <a:pt x="388745" y="553022"/>
                    </a:lnTo>
                    <a:lnTo>
                      <a:pt x="388745" y="553022"/>
                    </a:lnTo>
                    <a:lnTo>
                      <a:pt x="422733" y="519034"/>
                    </a:lnTo>
                    <a:lnTo>
                      <a:pt x="460970" y="551607"/>
                    </a:lnTo>
                    <a:close/>
                    <a:moveTo>
                      <a:pt x="278282" y="511953"/>
                    </a:moveTo>
                    <a:lnTo>
                      <a:pt x="351924" y="465219"/>
                    </a:lnTo>
                    <a:lnTo>
                      <a:pt x="350507" y="538860"/>
                    </a:lnTo>
                    <a:lnTo>
                      <a:pt x="278282" y="511953"/>
                    </a:lnTo>
                    <a:close/>
                    <a:moveTo>
                      <a:pt x="565769" y="637994"/>
                    </a:moveTo>
                    <a:lnTo>
                      <a:pt x="550190" y="635162"/>
                    </a:lnTo>
                    <a:lnTo>
                      <a:pt x="548774" y="622416"/>
                    </a:lnTo>
                    <a:lnTo>
                      <a:pt x="565769" y="637994"/>
                    </a:lnTo>
                    <a:close/>
                    <a:moveTo>
                      <a:pt x="621000" y="458138"/>
                    </a:moveTo>
                    <a:lnTo>
                      <a:pt x="544526" y="400074"/>
                    </a:lnTo>
                    <a:lnTo>
                      <a:pt x="589844" y="356172"/>
                    </a:lnTo>
                    <a:lnTo>
                      <a:pt x="671983" y="381664"/>
                    </a:lnTo>
                    <a:lnTo>
                      <a:pt x="666318" y="431230"/>
                    </a:lnTo>
                    <a:lnTo>
                      <a:pt x="621000" y="458138"/>
                    </a:lnTo>
                    <a:close/>
                    <a:moveTo>
                      <a:pt x="591260" y="353340"/>
                    </a:moveTo>
                    <a:lnTo>
                      <a:pt x="622416" y="322183"/>
                    </a:lnTo>
                    <a:lnTo>
                      <a:pt x="674815" y="347675"/>
                    </a:lnTo>
                    <a:lnTo>
                      <a:pt x="671983" y="377415"/>
                    </a:lnTo>
                    <a:lnTo>
                      <a:pt x="591260" y="353340"/>
                    </a:lnTo>
                    <a:close/>
                    <a:moveTo>
                      <a:pt x="587012" y="354756"/>
                    </a:moveTo>
                    <a:lnTo>
                      <a:pt x="541693" y="398658"/>
                    </a:lnTo>
                    <a:lnTo>
                      <a:pt x="502040" y="368918"/>
                    </a:lnTo>
                    <a:lnTo>
                      <a:pt x="544526" y="342010"/>
                    </a:lnTo>
                    <a:lnTo>
                      <a:pt x="587012" y="354756"/>
                    </a:lnTo>
                    <a:close/>
                    <a:moveTo>
                      <a:pt x="349091" y="722965"/>
                    </a:moveTo>
                    <a:lnTo>
                      <a:pt x="429814" y="622416"/>
                    </a:lnTo>
                    <a:lnTo>
                      <a:pt x="547358" y="637994"/>
                    </a:lnTo>
                    <a:lnTo>
                      <a:pt x="570017" y="819266"/>
                    </a:lnTo>
                    <a:lnTo>
                      <a:pt x="524699" y="833428"/>
                    </a:lnTo>
                    <a:lnTo>
                      <a:pt x="489294" y="827764"/>
                    </a:lnTo>
                    <a:lnTo>
                      <a:pt x="361837" y="762619"/>
                    </a:lnTo>
                    <a:lnTo>
                      <a:pt x="347675" y="742792"/>
                    </a:lnTo>
                    <a:lnTo>
                      <a:pt x="349091" y="722965"/>
                    </a:lnTo>
                    <a:close/>
                    <a:moveTo>
                      <a:pt x="722966" y="397241"/>
                    </a:moveTo>
                    <a:lnTo>
                      <a:pt x="669150" y="429814"/>
                    </a:lnTo>
                    <a:lnTo>
                      <a:pt x="674815" y="383079"/>
                    </a:lnTo>
                    <a:lnTo>
                      <a:pt x="722966" y="397241"/>
                    </a:lnTo>
                    <a:close/>
                    <a:moveTo>
                      <a:pt x="543110" y="340594"/>
                    </a:moveTo>
                    <a:lnTo>
                      <a:pt x="500624" y="367502"/>
                    </a:lnTo>
                    <a:lnTo>
                      <a:pt x="411404" y="299524"/>
                    </a:lnTo>
                    <a:lnTo>
                      <a:pt x="543110" y="340594"/>
                    </a:lnTo>
                    <a:close/>
                    <a:moveTo>
                      <a:pt x="327848" y="271200"/>
                    </a:moveTo>
                    <a:lnTo>
                      <a:pt x="357588" y="242877"/>
                    </a:lnTo>
                    <a:lnTo>
                      <a:pt x="356172" y="279698"/>
                    </a:lnTo>
                    <a:lnTo>
                      <a:pt x="327848" y="271200"/>
                    </a:lnTo>
                    <a:close/>
                    <a:moveTo>
                      <a:pt x="407155" y="360421"/>
                    </a:moveTo>
                    <a:lnTo>
                      <a:pt x="356172" y="394409"/>
                    </a:lnTo>
                    <a:lnTo>
                      <a:pt x="357588" y="344843"/>
                    </a:lnTo>
                    <a:lnTo>
                      <a:pt x="407155" y="360421"/>
                    </a:lnTo>
                    <a:close/>
                    <a:moveTo>
                      <a:pt x="357588" y="282530"/>
                    </a:moveTo>
                    <a:lnTo>
                      <a:pt x="356172" y="342010"/>
                    </a:lnTo>
                    <a:lnTo>
                      <a:pt x="279698" y="317935"/>
                    </a:lnTo>
                    <a:lnTo>
                      <a:pt x="326432" y="274033"/>
                    </a:lnTo>
                    <a:lnTo>
                      <a:pt x="357588" y="282530"/>
                    </a:lnTo>
                    <a:close/>
                    <a:moveTo>
                      <a:pt x="354756" y="397241"/>
                    </a:moveTo>
                    <a:lnTo>
                      <a:pt x="353340" y="458138"/>
                    </a:lnTo>
                    <a:lnTo>
                      <a:pt x="313687" y="425565"/>
                    </a:lnTo>
                    <a:lnTo>
                      <a:pt x="354756" y="397241"/>
                    </a:lnTo>
                    <a:close/>
                    <a:moveTo>
                      <a:pt x="354756" y="460970"/>
                    </a:moveTo>
                    <a:lnTo>
                      <a:pt x="356172" y="397241"/>
                    </a:lnTo>
                    <a:lnTo>
                      <a:pt x="411404" y="360421"/>
                    </a:lnTo>
                    <a:lnTo>
                      <a:pt x="411404" y="360421"/>
                    </a:lnTo>
                    <a:lnTo>
                      <a:pt x="357588" y="343426"/>
                    </a:lnTo>
                    <a:lnTo>
                      <a:pt x="359005" y="283946"/>
                    </a:lnTo>
                    <a:lnTo>
                      <a:pt x="405739" y="298108"/>
                    </a:lnTo>
                    <a:lnTo>
                      <a:pt x="499207" y="368918"/>
                    </a:lnTo>
                    <a:lnTo>
                      <a:pt x="354756" y="460970"/>
                    </a:lnTo>
                    <a:close/>
                    <a:moveTo>
                      <a:pt x="356172" y="343426"/>
                    </a:moveTo>
                    <a:lnTo>
                      <a:pt x="354756" y="394409"/>
                    </a:lnTo>
                    <a:lnTo>
                      <a:pt x="310854" y="424149"/>
                    </a:lnTo>
                    <a:lnTo>
                      <a:pt x="232964" y="359004"/>
                    </a:lnTo>
                    <a:lnTo>
                      <a:pt x="276865" y="317935"/>
                    </a:lnTo>
                    <a:lnTo>
                      <a:pt x="356172" y="343426"/>
                    </a:lnTo>
                    <a:close/>
                    <a:moveTo>
                      <a:pt x="349091" y="619584"/>
                    </a:moveTo>
                    <a:lnTo>
                      <a:pt x="346259" y="721549"/>
                    </a:lnTo>
                    <a:lnTo>
                      <a:pt x="339178" y="730046"/>
                    </a:lnTo>
                    <a:lnTo>
                      <a:pt x="286779" y="654988"/>
                    </a:lnTo>
                    <a:lnTo>
                      <a:pt x="349091" y="619584"/>
                    </a:lnTo>
                    <a:close/>
                    <a:moveTo>
                      <a:pt x="398658" y="815018"/>
                    </a:moveTo>
                    <a:lnTo>
                      <a:pt x="364669" y="766867"/>
                    </a:lnTo>
                    <a:lnTo>
                      <a:pt x="482213" y="827764"/>
                    </a:lnTo>
                    <a:lnTo>
                      <a:pt x="398658" y="815018"/>
                    </a:lnTo>
                    <a:close/>
                    <a:moveTo>
                      <a:pt x="426982" y="856088"/>
                    </a:moveTo>
                    <a:lnTo>
                      <a:pt x="400074" y="817850"/>
                    </a:lnTo>
                    <a:lnTo>
                      <a:pt x="489294" y="830596"/>
                    </a:lnTo>
                    <a:lnTo>
                      <a:pt x="506288" y="839093"/>
                    </a:lnTo>
                    <a:lnTo>
                      <a:pt x="465219" y="851839"/>
                    </a:lnTo>
                    <a:lnTo>
                      <a:pt x="426982" y="856088"/>
                    </a:lnTo>
                    <a:close/>
                    <a:moveTo>
                      <a:pt x="674815" y="380247"/>
                    </a:moveTo>
                    <a:lnTo>
                      <a:pt x="677648" y="350507"/>
                    </a:lnTo>
                    <a:lnTo>
                      <a:pt x="745625" y="384496"/>
                    </a:lnTo>
                    <a:lnTo>
                      <a:pt x="725798" y="395826"/>
                    </a:lnTo>
                    <a:lnTo>
                      <a:pt x="674815" y="380247"/>
                    </a:lnTo>
                    <a:close/>
                    <a:moveTo>
                      <a:pt x="200391" y="292443"/>
                    </a:moveTo>
                    <a:lnTo>
                      <a:pt x="264120" y="172067"/>
                    </a:lnTo>
                    <a:lnTo>
                      <a:pt x="266952" y="254206"/>
                    </a:lnTo>
                    <a:lnTo>
                      <a:pt x="266952" y="254206"/>
                    </a:lnTo>
                    <a:lnTo>
                      <a:pt x="325016" y="272617"/>
                    </a:lnTo>
                    <a:lnTo>
                      <a:pt x="278282" y="316519"/>
                    </a:lnTo>
                    <a:lnTo>
                      <a:pt x="200391" y="292443"/>
                    </a:lnTo>
                    <a:close/>
                    <a:moveTo>
                      <a:pt x="310854" y="426981"/>
                    </a:moveTo>
                    <a:lnTo>
                      <a:pt x="353340" y="462386"/>
                    </a:lnTo>
                    <a:lnTo>
                      <a:pt x="275449" y="511953"/>
                    </a:lnTo>
                    <a:lnTo>
                      <a:pt x="275449" y="511953"/>
                    </a:lnTo>
                    <a:lnTo>
                      <a:pt x="351924" y="540277"/>
                    </a:lnTo>
                    <a:lnTo>
                      <a:pt x="350507" y="618167"/>
                    </a:lnTo>
                    <a:lnTo>
                      <a:pt x="288195" y="654988"/>
                    </a:lnTo>
                    <a:lnTo>
                      <a:pt x="189062" y="511953"/>
                    </a:lnTo>
                    <a:lnTo>
                      <a:pt x="310854" y="426981"/>
                    </a:lnTo>
                    <a:close/>
                    <a:moveTo>
                      <a:pt x="519034" y="834845"/>
                    </a:moveTo>
                    <a:lnTo>
                      <a:pt x="507705" y="837677"/>
                    </a:lnTo>
                    <a:lnTo>
                      <a:pt x="493543" y="830596"/>
                    </a:lnTo>
                    <a:lnTo>
                      <a:pt x="519034" y="834845"/>
                    </a:lnTo>
                    <a:close/>
                    <a:moveTo>
                      <a:pt x="510537" y="839093"/>
                    </a:moveTo>
                    <a:lnTo>
                      <a:pt x="524699" y="834845"/>
                    </a:lnTo>
                    <a:lnTo>
                      <a:pt x="572850" y="841926"/>
                    </a:lnTo>
                    <a:lnTo>
                      <a:pt x="577098" y="873082"/>
                    </a:lnTo>
                    <a:lnTo>
                      <a:pt x="510537" y="839093"/>
                    </a:lnTo>
                    <a:close/>
                    <a:moveTo>
                      <a:pt x="1016117" y="1001955"/>
                    </a:moveTo>
                    <a:lnTo>
                      <a:pt x="1016117" y="1001955"/>
                    </a:lnTo>
                    <a:lnTo>
                      <a:pt x="975048" y="1004788"/>
                    </a:lnTo>
                    <a:lnTo>
                      <a:pt x="980713" y="982128"/>
                    </a:lnTo>
                    <a:lnTo>
                      <a:pt x="1016117" y="1001955"/>
                    </a:lnTo>
                    <a:close/>
                    <a:moveTo>
                      <a:pt x="962302" y="1048689"/>
                    </a:moveTo>
                    <a:lnTo>
                      <a:pt x="973632" y="1007620"/>
                    </a:lnTo>
                    <a:lnTo>
                      <a:pt x="1011869" y="1006203"/>
                    </a:lnTo>
                    <a:lnTo>
                      <a:pt x="966551" y="1052938"/>
                    </a:lnTo>
                    <a:lnTo>
                      <a:pt x="962302" y="1048689"/>
                    </a:lnTo>
                    <a:close/>
                    <a:moveTo>
                      <a:pt x="938227" y="1132245"/>
                    </a:moveTo>
                    <a:lnTo>
                      <a:pt x="958054" y="1064267"/>
                    </a:lnTo>
                    <a:lnTo>
                      <a:pt x="966551" y="1055770"/>
                    </a:lnTo>
                    <a:lnTo>
                      <a:pt x="1055771" y="1140742"/>
                    </a:lnTo>
                    <a:lnTo>
                      <a:pt x="938227" y="1132245"/>
                    </a:lnTo>
                    <a:close/>
                    <a:moveTo>
                      <a:pt x="686145" y="1258286"/>
                    </a:moveTo>
                    <a:lnTo>
                      <a:pt x="697474" y="1288026"/>
                    </a:lnTo>
                    <a:lnTo>
                      <a:pt x="630913" y="1290858"/>
                    </a:lnTo>
                    <a:lnTo>
                      <a:pt x="686145" y="1258286"/>
                    </a:lnTo>
                    <a:close/>
                    <a:moveTo>
                      <a:pt x="745625" y="1014701"/>
                    </a:moveTo>
                    <a:lnTo>
                      <a:pt x="738544" y="994874"/>
                    </a:lnTo>
                    <a:lnTo>
                      <a:pt x="738544" y="994874"/>
                    </a:lnTo>
                    <a:lnTo>
                      <a:pt x="725798" y="1016117"/>
                    </a:lnTo>
                    <a:lnTo>
                      <a:pt x="680480" y="1017533"/>
                    </a:lnTo>
                    <a:lnTo>
                      <a:pt x="832012" y="928313"/>
                    </a:lnTo>
                    <a:lnTo>
                      <a:pt x="915568" y="1007620"/>
                    </a:lnTo>
                    <a:lnTo>
                      <a:pt x="745625" y="1014701"/>
                    </a:lnTo>
                    <a:close/>
                    <a:moveTo>
                      <a:pt x="959470" y="1060019"/>
                    </a:moveTo>
                    <a:lnTo>
                      <a:pt x="962302" y="1050105"/>
                    </a:lnTo>
                    <a:lnTo>
                      <a:pt x="965135" y="1052938"/>
                    </a:lnTo>
                    <a:lnTo>
                      <a:pt x="959470" y="1060019"/>
                    </a:lnTo>
                    <a:close/>
                    <a:moveTo>
                      <a:pt x="894325" y="1129412"/>
                    </a:moveTo>
                    <a:lnTo>
                      <a:pt x="955221" y="1067100"/>
                    </a:lnTo>
                    <a:lnTo>
                      <a:pt x="936811" y="1132245"/>
                    </a:lnTo>
                    <a:lnTo>
                      <a:pt x="894325" y="1129412"/>
                    </a:lnTo>
                    <a:close/>
                    <a:moveTo>
                      <a:pt x="894325" y="1282361"/>
                    </a:moveTo>
                    <a:lnTo>
                      <a:pt x="864585" y="1385743"/>
                    </a:lnTo>
                    <a:lnTo>
                      <a:pt x="832012" y="1283777"/>
                    </a:lnTo>
                    <a:lnTo>
                      <a:pt x="894325" y="1282361"/>
                    </a:lnTo>
                    <a:close/>
                    <a:moveTo>
                      <a:pt x="897157" y="1279529"/>
                    </a:moveTo>
                    <a:lnTo>
                      <a:pt x="904238" y="1252621"/>
                    </a:lnTo>
                    <a:lnTo>
                      <a:pt x="1040193" y="1273864"/>
                    </a:lnTo>
                    <a:lnTo>
                      <a:pt x="897157" y="1279529"/>
                    </a:lnTo>
                    <a:close/>
                    <a:moveTo>
                      <a:pt x="902822" y="1252621"/>
                    </a:moveTo>
                    <a:lnTo>
                      <a:pt x="895741" y="1279529"/>
                    </a:lnTo>
                    <a:lnTo>
                      <a:pt x="833429" y="1282361"/>
                    </a:lnTo>
                    <a:lnTo>
                      <a:pt x="819267" y="1238459"/>
                    </a:lnTo>
                    <a:lnTo>
                      <a:pt x="902822" y="1252621"/>
                    </a:lnTo>
                    <a:close/>
                    <a:moveTo>
                      <a:pt x="890076" y="1130829"/>
                    </a:moveTo>
                    <a:lnTo>
                      <a:pt x="890076" y="1130829"/>
                    </a:lnTo>
                    <a:lnTo>
                      <a:pt x="936811" y="1133661"/>
                    </a:lnTo>
                    <a:lnTo>
                      <a:pt x="904238" y="1249788"/>
                    </a:lnTo>
                    <a:lnTo>
                      <a:pt x="817851" y="1235627"/>
                    </a:lnTo>
                    <a:lnTo>
                      <a:pt x="747041" y="1016117"/>
                    </a:lnTo>
                    <a:lnTo>
                      <a:pt x="919817" y="1009036"/>
                    </a:lnTo>
                    <a:lnTo>
                      <a:pt x="960886" y="1047273"/>
                    </a:lnTo>
                    <a:lnTo>
                      <a:pt x="956637" y="1061435"/>
                    </a:lnTo>
                    <a:lnTo>
                      <a:pt x="890076" y="1130829"/>
                    </a:lnTo>
                    <a:close/>
                    <a:moveTo>
                      <a:pt x="922649" y="1009036"/>
                    </a:moveTo>
                    <a:lnTo>
                      <a:pt x="972216" y="1007620"/>
                    </a:lnTo>
                    <a:lnTo>
                      <a:pt x="960886" y="1045857"/>
                    </a:lnTo>
                    <a:lnTo>
                      <a:pt x="922649" y="1009036"/>
                    </a:lnTo>
                    <a:close/>
                    <a:moveTo>
                      <a:pt x="856088" y="915567"/>
                    </a:moveTo>
                    <a:lnTo>
                      <a:pt x="977880" y="982128"/>
                    </a:lnTo>
                    <a:lnTo>
                      <a:pt x="970799" y="1004788"/>
                    </a:lnTo>
                    <a:lnTo>
                      <a:pt x="918400" y="1007620"/>
                    </a:lnTo>
                    <a:lnTo>
                      <a:pt x="834845" y="928313"/>
                    </a:lnTo>
                    <a:lnTo>
                      <a:pt x="856088" y="915567"/>
                    </a:lnTo>
                    <a:close/>
                    <a:moveTo>
                      <a:pt x="730047" y="1016117"/>
                    </a:moveTo>
                    <a:lnTo>
                      <a:pt x="738544" y="1000539"/>
                    </a:lnTo>
                    <a:lnTo>
                      <a:pt x="744209" y="1016117"/>
                    </a:lnTo>
                    <a:lnTo>
                      <a:pt x="730047" y="1016117"/>
                    </a:lnTo>
                    <a:close/>
                    <a:moveTo>
                      <a:pt x="744209" y="1017533"/>
                    </a:moveTo>
                    <a:lnTo>
                      <a:pt x="815018" y="1237043"/>
                    </a:lnTo>
                    <a:lnTo>
                      <a:pt x="741376" y="1225713"/>
                    </a:lnTo>
                    <a:lnTo>
                      <a:pt x="741376" y="1225713"/>
                    </a:lnTo>
                    <a:lnTo>
                      <a:pt x="687561" y="1256869"/>
                    </a:lnTo>
                    <a:lnTo>
                      <a:pt x="650740" y="1157736"/>
                    </a:lnTo>
                    <a:lnTo>
                      <a:pt x="728631" y="1018949"/>
                    </a:lnTo>
                    <a:lnTo>
                      <a:pt x="744209" y="1017533"/>
                    </a:lnTo>
                    <a:close/>
                    <a:moveTo>
                      <a:pt x="742793" y="1227129"/>
                    </a:moveTo>
                    <a:lnTo>
                      <a:pt x="816434" y="1238459"/>
                    </a:lnTo>
                    <a:lnTo>
                      <a:pt x="830596" y="1282361"/>
                    </a:lnTo>
                    <a:lnTo>
                      <a:pt x="700307" y="1288026"/>
                    </a:lnTo>
                    <a:lnTo>
                      <a:pt x="688977" y="1258286"/>
                    </a:lnTo>
                    <a:lnTo>
                      <a:pt x="742793" y="1227129"/>
                    </a:lnTo>
                    <a:close/>
                    <a:moveTo>
                      <a:pt x="686145" y="1256869"/>
                    </a:moveTo>
                    <a:lnTo>
                      <a:pt x="626665" y="1290858"/>
                    </a:lnTo>
                    <a:lnTo>
                      <a:pt x="605422" y="1292274"/>
                    </a:lnTo>
                    <a:lnTo>
                      <a:pt x="619584" y="1211551"/>
                    </a:lnTo>
                    <a:lnTo>
                      <a:pt x="649324" y="1159152"/>
                    </a:lnTo>
                    <a:lnTo>
                      <a:pt x="686145" y="1256869"/>
                    </a:lnTo>
                    <a:close/>
                    <a:moveTo>
                      <a:pt x="602590" y="1306436"/>
                    </a:moveTo>
                    <a:lnTo>
                      <a:pt x="626665" y="1292274"/>
                    </a:lnTo>
                    <a:lnTo>
                      <a:pt x="698891" y="1289442"/>
                    </a:lnTo>
                    <a:lnTo>
                      <a:pt x="771116" y="1484876"/>
                    </a:lnTo>
                    <a:lnTo>
                      <a:pt x="735712" y="1501870"/>
                    </a:lnTo>
                    <a:lnTo>
                      <a:pt x="585595" y="1395656"/>
                    </a:lnTo>
                    <a:lnTo>
                      <a:pt x="602590" y="1306436"/>
                    </a:lnTo>
                    <a:close/>
                    <a:moveTo>
                      <a:pt x="1017534" y="1003371"/>
                    </a:moveTo>
                    <a:lnTo>
                      <a:pt x="1018950" y="1001955"/>
                    </a:lnTo>
                    <a:lnTo>
                      <a:pt x="980713" y="982128"/>
                    </a:lnTo>
                    <a:lnTo>
                      <a:pt x="987794" y="958053"/>
                    </a:lnTo>
                    <a:lnTo>
                      <a:pt x="1079846" y="967967"/>
                    </a:lnTo>
                    <a:lnTo>
                      <a:pt x="1079846" y="1001955"/>
                    </a:lnTo>
                    <a:lnTo>
                      <a:pt x="1017534" y="1003371"/>
                    </a:lnTo>
                    <a:close/>
                    <a:moveTo>
                      <a:pt x="728631" y="773948"/>
                    </a:moveTo>
                    <a:lnTo>
                      <a:pt x="945308" y="953805"/>
                    </a:lnTo>
                    <a:lnTo>
                      <a:pt x="945308" y="953805"/>
                    </a:lnTo>
                    <a:lnTo>
                      <a:pt x="986377" y="958053"/>
                    </a:lnTo>
                    <a:lnTo>
                      <a:pt x="979296" y="980712"/>
                    </a:lnTo>
                    <a:lnTo>
                      <a:pt x="856088" y="914151"/>
                    </a:lnTo>
                    <a:lnTo>
                      <a:pt x="856088" y="914151"/>
                    </a:lnTo>
                    <a:lnTo>
                      <a:pt x="833429" y="926897"/>
                    </a:lnTo>
                    <a:lnTo>
                      <a:pt x="772532" y="868833"/>
                    </a:lnTo>
                    <a:lnTo>
                      <a:pt x="772532" y="868833"/>
                    </a:lnTo>
                    <a:lnTo>
                      <a:pt x="574266" y="840509"/>
                    </a:lnTo>
                    <a:lnTo>
                      <a:pt x="571433" y="820683"/>
                    </a:lnTo>
                    <a:lnTo>
                      <a:pt x="728631" y="773948"/>
                    </a:lnTo>
                    <a:close/>
                    <a:moveTo>
                      <a:pt x="725798" y="1017533"/>
                    </a:moveTo>
                    <a:lnTo>
                      <a:pt x="649324" y="1153488"/>
                    </a:lnTo>
                    <a:lnTo>
                      <a:pt x="619584" y="1075597"/>
                    </a:lnTo>
                    <a:lnTo>
                      <a:pt x="619584" y="1075597"/>
                    </a:lnTo>
                    <a:lnTo>
                      <a:pt x="565769" y="1194557"/>
                    </a:lnTo>
                    <a:lnTo>
                      <a:pt x="443976" y="1157736"/>
                    </a:lnTo>
                    <a:lnTo>
                      <a:pt x="679064" y="1020365"/>
                    </a:lnTo>
                    <a:lnTo>
                      <a:pt x="725798" y="1017533"/>
                    </a:lnTo>
                    <a:close/>
                    <a:moveTo>
                      <a:pt x="622416" y="1293690"/>
                    </a:moveTo>
                    <a:lnTo>
                      <a:pt x="602590" y="1305020"/>
                    </a:lnTo>
                    <a:lnTo>
                      <a:pt x="604006" y="1295107"/>
                    </a:lnTo>
                    <a:lnTo>
                      <a:pt x="622416" y="1293690"/>
                    </a:lnTo>
                    <a:close/>
                    <a:moveTo>
                      <a:pt x="657821" y="1608085"/>
                    </a:moveTo>
                    <a:lnTo>
                      <a:pt x="599757" y="1634993"/>
                    </a:lnTo>
                    <a:lnTo>
                      <a:pt x="596925" y="1623663"/>
                    </a:lnTo>
                    <a:lnTo>
                      <a:pt x="657821" y="1608085"/>
                    </a:lnTo>
                    <a:close/>
                    <a:moveTo>
                      <a:pt x="459554" y="1640657"/>
                    </a:moveTo>
                    <a:lnTo>
                      <a:pt x="548774" y="1596755"/>
                    </a:lnTo>
                    <a:lnTo>
                      <a:pt x="541693" y="1634993"/>
                    </a:lnTo>
                    <a:lnTo>
                      <a:pt x="482213" y="1649154"/>
                    </a:lnTo>
                    <a:lnTo>
                      <a:pt x="459554" y="1640657"/>
                    </a:lnTo>
                    <a:close/>
                    <a:moveTo>
                      <a:pt x="451057" y="1300771"/>
                    </a:moveTo>
                    <a:lnTo>
                      <a:pt x="519034" y="1297939"/>
                    </a:lnTo>
                    <a:lnTo>
                      <a:pt x="502040" y="1336176"/>
                    </a:lnTo>
                    <a:lnTo>
                      <a:pt x="451057" y="1300771"/>
                    </a:lnTo>
                    <a:close/>
                    <a:moveTo>
                      <a:pt x="594092" y="1625079"/>
                    </a:moveTo>
                    <a:lnTo>
                      <a:pt x="596925" y="1636408"/>
                    </a:lnTo>
                    <a:lnTo>
                      <a:pt x="538861" y="1663316"/>
                    </a:lnTo>
                    <a:lnTo>
                      <a:pt x="543110" y="1637825"/>
                    </a:lnTo>
                    <a:lnTo>
                      <a:pt x="594092" y="1625079"/>
                    </a:lnTo>
                    <a:close/>
                    <a:moveTo>
                      <a:pt x="483629" y="1374413"/>
                    </a:moveTo>
                    <a:lnTo>
                      <a:pt x="456722" y="1433893"/>
                    </a:lnTo>
                    <a:lnTo>
                      <a:pt x="412820" y="1415483"/>
                    </a:lnTo>
                    <a:lnTo>
                      <a:pt x="483629" y="1374413"/>
                    </a:lnTo>
                    <a:close/>
                    <a:moveTo>
                      <a:pt x="523283" y="1351754"/>
                    </a:moveTo>
                    <a:lnTo>
                      <a:pt x="599757" y="1307852"/>
                    </a:lnTo>
                    <a:lnTo>
                      <a:pt x="584179" y="1394240"/>
                    </a:lnTo>
                    <a:lnTo>
                      <a:pt x="523283" y="1351754"/>
                    </a:lnTo>
                    <a:close/>
                    <a:moveTo>
                      <a:pt x="571433" y="1547189"/>
                    </a:moveTo>
                    <a:lnTo>
                      <a:pt x="561520" y="1542940"/>
                    </a:lnTo>
                    <a:lnTo>
                      <a:pt x="565769" y="1523113"/>
                    </a:lnTo>
                    <a:lnTo>
                      <a:pt x="571433" y="1547189"/>
                    </a:lnTo>
                    <a:close/>
                    <a:moveTo>
                      <a:pt x="568601" y="1487708"/>
                    </a:moveTo>
                    <a:lnTo>
                      <a:pt x="564352" y="1513200"/>
                    </a:lnTo>
                    <a:lnTo>
                      <a:pt x="553023" y="1476379"/>
                    </a:lnTo>
                    <a:lnTo>
                      <a:pt x="555855" y="1477795"/>
                    </a:lnTo>
                    <a:lnTo>
                      <a:pt x="568601" y="1487708"/>
                    </a:lnTo>
                    <a:close/>
                    <a:moveTo>
                      <a:pt x="557271" y="1477795"/>
                    </a:moveTo>
                    <a:lnTo>
                      <a:pt x="548774" y="1472131"/>
                    </a:lnTo>
                    <a:lnTo>
                      <a:pt x="548774" y="1472131"/>
                    </a:lnTo>
                    <a:lnTo>
                      <a:pt x="550190" y="1474963"/>
                    </a:lnTo>
                    <a:lnTo>
                      <a:pt x="458138" y="1435310"/>
                    </a:lnTo>
                    <a:lnTo>
                      <a:pt x="486462" y="1372997"/>
                    </a:lnTo>
                    <a:lnTo>
                      <a:pt x="521867" y="1353170"/>
                    </a:lnTo>
                    <a:lnTo>
                      <a:pt x="584179" y="1397072"/>
                    </a:lnTo>
                    <a:lnTo>
                      <a:pt x="568601" y="1483460"/>
                    </a:lnTo>
                    <a:lnTo>
                      <a:pt x="557271" y="1477795"/>
                    </a:lnTo>
                    <a:close/>
                    <a:moveTo>
                      <a:pt x="571433" y="1548605"/>
                    </a:moveTo>
                    <a:lnTo>
                      <a:pt x="579931" y="1578345"/>
                    </a:lnTo>
                    <a:lnTo>
                      <a:pt x="551607" y="1592507"/>
                    </a:lnTo>
                    <a:lnTo>
                      <a:pt x="560104" y="1544356"/>
                    </a:lnTo>
                    <a:lnTo>
                      <a:pt x="571433" y="1548605"/>
                    </a:lnTo>
                    <a:close/>
                    <a:moveTo>
                      <a:pt x="612503" y="1562767"/>
                    </a:moveTo>
                    <a:lnTo>
                      <a:pt x="582763" y="1576929"/>
                    </a:lnTo>
                    <a:lnTo>
                      <a:pt x="574266" y="1548605"/>
                    </a:lnTo>
                    <a:lnTo>
                      <a:pt x="612503" y="1562767"/>
                    </a:lnTo>
                    <a:close/>
                    <a:moveTo>
                      <a:pt x="572850" y="1547189"/>
                    </a:moveTo>
                    <a:lnTo>
                      <a:pt x="564352" y="1518865"/>
                    </a:lnTo>
                    <a:lnTo>
                      <a:pt x="570017" y="1490541"/>
                    </a:lnTo>
                    <a:lnTo>
                      <a:pt x="645075" y="1547189"/>
                    </a:lnTo>
                    <a:lnTo>
                      <a:pt x="613919" y="1562767"/>
                    </a:lnTo>
                    <a:lnTo>
                      <a:pt x="572850" y="1547189"/>
                    </a:lnTo>
                    <a:close/>
                    <a:moveTo>
                      <a:pt x="550190" y="1476379"/>
                    </a:moveTo>
                    <a:lnTo>
                      <a:pt x="562936" y="1518865"/>
                    </a:lnTo>
                    <a:lnTo>
                      <a:pt x="558688" y="1542940"/>
                    </a:lnTo>
                    <a:lnTo>
                      <a:pt x="429814" y="1499038"/>
                    </a:lnTo>
                    <a:lnTo>
                      <a:pt x="458138" y="1436726"/>
                    </a:lnTo>
                    <a:lnTo>
                      <a:pt x="550190" y="1476379"/>
                    </a:lnTo>
                    <a:close/>
                    <a:moveTo>
                      <a:pt x="581347" y="1581177"/>
                    </a:moveTo>
                    <a:lnTo>
                      <a:pt x="594092" y="1623663"/>
                    </a:lnTo>
                    <a:lnTo>
                      <a:pt x="544526" y="1636408"/>
                    </a:lnTo>
                    <a:lnTo>
                      <a:pt x="551607" y="1596755"/>
                    </a:lnTo>
                    <a:lnTo>
                      <a:pt x="581347" y="1581177"/>
                    </a:lnTo>
                    <a:close/>
                    <a:moveTo>
                      <a:pt x="676231" y="1531610"/>
                    </a:moveTo>
                    <a:lnTo>
                      <a:pt x="647908" y="1545772"/>
                    </a:lnTo>
                    <a:lnTo>
                      <a:pt x="570017" y="1487708"/>
                    </a:lnTo>
                    <a:lnTo>
                      <a:pt x="570017" y="1486292"/>
                    </a:lnTo>
                    <a:lnTo>
                      <a:pt x="676231" y="1531610"/>
                    </a:lnTo>
                    <a:close/>
                    <a:moveTo>
                      <a:pt x="487878" y="1370165"/>
                    </a:moveTo>
                    <a:lnTo>
                      <a:pt x="502040" y="1339008"/>
                    </a:lnTo>
                    <a:lnTo>
                      <a:pt x="520450" y="1351754"/>
                    </a:lnTo>
                    <a:lnTo>
                      <a:pt x="487878" y="1370165"/>
                    </a:lnTo>
                    <a:close/>
                    <a:moveTo>
                      <a:pt x="595509" y="1622246"/>
                    </a:moveTo>
                    <a:lnTo>
                      <a:pt x="582763" y="1579761"/>
                    </a:lnTo>
                    <a:lnTo>
                      <a:pt x="615335" y="1564183"/>
                    </a:lnTo>
                    <a:lnTo>
                      <a:pt x="696058" y="1591091"/>
                    </a:lnTo>
                    <a:lnTo>
                      <a:pt x="667734" y="1603836"/>
                    </a:lnTo>
                    <a:lnTo>
                      <a:pt x="595509" y="1622246"/>
                    </a:lnTo>
                    <a:close/>
                    <a:moveTo>
                      <a:pt x="647908" y="1548605"/>
                    </a:moveTo>
                    <a:lnTo>
                      <a:pt x="701723" y="1589674"/>
                    </a:lnTo>
                    <a:lnTo>
                      <a:pt x="698891" y="1591091"/>
                    </a:lnTo>
                    <a:lnTo>
                      <a:pt x="618168" y="1564183"/>
                    </a:lnTo>
                    <a:lnTo>
                      <a:pt x="647908" y="1548605"/>
                    </a:lnTo>
                    <a:close/>
                    <a:moveTo>
                      <a:pt x="571433" y="1483460"/>
                    </a:moveTo>
                    <a:lnTo>
                      <a:pt x="587012" y="1398488"/>
                    </a:lnTo>
                    <a:lnTo>
                      <a:pt x="734295" y="1503287"/>
                    </a:lnTo>
                    <a:lnTo>
                      <a:pt x="679064" y="1530194"/>
                    </a:lnTo>
                    <a:lnTo>
                      <a:pt x="571433" y="1483460"/>
                    </a:lnTo>
                    <a:close/>
                    <a:moveTo>
                      <a:pt x="599757" y="1305020"/>
                    </a:moveTo>
                    <a:lnTo>
                      <a:pt x="521867" y="1350338"/>
                    </a:lnTo>
                    <a:lnTo>
                      <a:pt x="503456" y="1336176"/>
                    </a:lnTo>
                    <a:lnTo>
                      <a:pt x="521867" y="1296523"/>
                    </a:lnTo>
                    <a:lnTo>
                      <a:pt x="604006" y="1293690"/>
                    </a:lnTo>
                    <a:lnTo>
                      <a:pt x="599757" y="1305020"/>
                    </a:lnTo>
                    <a:close/>
                    <a:moveTo>
                      <a:pt x="598341" y="1637825"/>
                    </a:moveTo>
                    <a:lnTo>
                      <a:pt x="619584" y="1707218"/>
                    </a:lnTo>
                    <a:lnTo>
                      <a:pt x="528948" y="1722796"/>
                    </a:lnTo>
                    <a:lnTo>
                      <a:pt x="538861" y="1664732"/>
                    </a:lnTo>
                    <a:lnTo>
                      <a:pt x="598341" y="1637825"/>
                    </a:lnTo>
                    <a:close/>
                    <a:moveTo>
                      <a:pt x="705972" y="1595339"/>
                    </a:moveTo>
                    <a:lnTo>
                      <a:pt x="679064" y="1602420"/>
                    </a:lnTo>
                    <a:lnTo>
                      <a:pt x="698891" y="1593923"/>
                    </a:lnTo>
                    <a:lnTo>
                      <a:pt x="705972" y="1595339"/>
                    </a:lnTo>
                    <a:close/>
                    <a:moveTo>
                      <a:pt x="830596" y="1285193"/>
                    </a:moveTo>
                    <a:lnTo>
                      <a:pt x="864585" y="1392824"/>
                    </a:lnTo>
                    <a:lnTo>
                      <a:pt x="864585" y="1392824"/>
                    </a:lnTo>
                    <a:lnTo>
                      <a:pt x="895741" y="1282361"/>
                    </a:lnTo>
                    <a:lnTo>
                      <a:pt x="1051522" y="1276696"/>
                    </a:lnTo>
                    <a:lnTo>
                      <a:pt x="1051522" y="1276696"/>
                    </a:lnTo>
                    <a:lnTo>
                      <a:pt x="1051522" y="1275280"/>
                    </a:lnTo>
                    <a:lnTo>
                      <a:pt x="1051522" y="1275280"/>
                    </a:lnTo>
                    <a:lnTo>
                      <a:pt x="904238" y="1252621"/>
                    </a:lnTo>
                    <a:lnTo>
                      <a:pt x="936811" y="1136493"/>
                    </a:lnTo>
                    <a:lnTo>
                      <a:pt x="1057187" y="1143574"/>
                    </a:lnTo>
                    <a:lnTo>
                      <a:pt x="1197390" y="1276696"/>
                    </a:lnTo>
                    <a:lnTo>
                      <a:pt x="772532" y="1486292"/>
                    </a:lnTo>
                    <a:lnTo>
                      <a:pt x="700307" y="1292274"/>
                    </a:lnTo>
                    <a:lnTo>
                      <a:pt x="830596" y="1285193"/>
                    </a:lnTo>
                    <a:close/>
                    <a:moveTo>
                      <a:pt x="986377" y="955221"/>
                    </a:moveTo>
                    <a:lnTo>
                      <a:pt x="945308" y="950972"/>
                    </a:lnTo>
                    <a:lnTo>
                      <a:pt x="730047" y="772532"/>
                    </a:lnTo>
                    <a:lnTo>
                      <a:pt x="1014701" y="686145"/>
                    </a:lnTo>
                    <a:lnTo>
                      <a:pt x="1062852" y="681896"/>
                    </a:lnTo>
                    <a:lnTo>
                      <a:pt x="986377" y="955221"/>
                    </a:lnTo>
                    <a:close/>
                    <a:moveTo>
                      <a:pt x="728631" y="397241"/>
                    </a:moveTo>
                    <a:lnTo>
                      <a:pt x="748457" y="385912"/>
                    </a:lnTo>
                    <a:lnTo>
                      <a:pt x="793775" y="408571"/>
                    </a:lnTo>
                    <a:lnTo>
                      <a:pt x="793775" y="418484"/>
                    </a:lnTo>
                    <a:lnTo>
                      <a:pt x="728631" y="397241"/>
                    </a:lnTo>
                    <a:close/>
                    <a:moveTo>
                      <a:pt x="749874" y="384496"/>
                    </a:moveTo>
                    <a:lnTo>
                      <a:pt x="790943" y="360421"/>
                    </a:lnTo>
                    <a:lnTo>
                      <a:pt x="792359" y="405739"/>
                    </a:lnTo>
                    <a:lnTo>
                      <a:pt x="749874" y="384496"/>
                    </a:lnTo>
                    <a:close/>
                    <a:moveTo>
                      <a:pt x="902822" y="292443"/>
                    </a:moveTo>
                    <a:lnTo>
                      <a:pt x="793775" y="356172"/>
                    </a:lnTo>
                    <a:lnTo>
                      <a:pt x="792359" y="306605"/>
                    </a:lnTo>
                    <a:lnTo>
                      <a:pt x="792359" y="306605"/>
                    </a:lnTo>
                    <a:lnTo>
                      <a:pt x="742793" y="247125"/>
                    </a:lnTo>
                    <a:lnTo>
                      <a:pt x="744209" y="247125"/>
                    </a:lnTo>
                    <a:lnTo>
                      <a:pt x="744209" y="245709"/>
                    </a:lnTo>
                    <a:lnTo>
                      <a:pt x="739960" y="244293"/>
                    </a:lnTo>
                    <a:lnTo>
                      <a:pt x="669150" y="159321"/>
                    </a:lnTo>
                    <a:lnTo>
                      <a:pt x="902822" y="292443"/>
                    </a:lnTo>
                    <a:close/>
                    <a:moveTo>
                      <a:pt x="511953" y="170651"/>
                    </a:moveTo>
                    <a:lnTo>
                      <a:pt x="485046" y="221634"/>
                    </a:lnTo>
                    <a:lnTo>
                      <a:pt x="738544" y="247125"/>
                    </a:lnTo>
                    <a:lnTo>
                      <a:pt x="788111" y="308022"/>
                    </a:lnTo>
                    <a:lnTo>
                      <a:pt x="789527" y="359004"/>
                    </a:lnTo>
                    <a:lnTo>
                      <a:pt x="747041" y="384496"/>
                    </a:lnTo>
                    <a:lnTo>
                      <a:pt x="676231" y="349091"/>
                    </a:lnTo>
                    <a:lnTo>
                      <a:pt x="686145" y="258455"/>
                    </a:lnTo>
                    <a:lnTo>
                      <a:pt x="686145" y="258455"/>
                    </a:lnTo>
                    <a:lnTo>
                      <a:pt x="621000" y="322183"/>
                    </a:lnTo>
                    <a:lnTo>
                      <a:pt x="595509" y="309438"/>
                    </a:lnTo>
                    <a:lnTo>
                      <a:pt x="595509" y="309438"/>
                    </a:lnTo>
                    <a:lnTo>
                      <a:pt x="544526" y="342010"/>
                    </a:lnTo>
                    <a:lnTo>
                      <a:pt x="407155" y="299524"/>
                    </a:lnTo>
                    <a:lnTo>
                      <a:pt x="366086" y="268368"/>
                    </a:lnTo>
                    <a:lnTo>
                      <a:pt x="475132" y="162154"/>
                    </a:lnTo>
                    <a:lnTo>
                      <a:pt x="511953" y="170651"/>
                    </a:lnTo>
                    <a:close/>
                    <a:moveTo>
                      <a:pt x="363253" y="265536"/>
                    </a:moveTo>
                    <a:lnTo>
                      <a:pt x="363253" y="265536"/>
                    </a:lnTo>
                    <a:lnTo>
                      <a:pt x="401490" y="295276"/>
                    </a:lnTo>
                    <a:lnTo>
                      <a:pt x="359005" y="282530"/>
                    </a:lnTo>
                    <a:lnTo>
                      <a:pt x="360421" y="240045"/>
                    </a:lnTo>
                    <a:lnTo>
                      <a:pt x="360421" y="240045"/>
                    </a:lnTo>
                    <a:lnTo>
                      <a:pt x="326432" y="272617"/>
                    </a:lnTo>
                    <a:lnTo>
                      <a:pt x="269785" y="254206"/>
                    </a:lnTo>
                    <a:lnTo>
                      <a:pt x="266952" y="169235"/>
                    </a:lnTo>
                    <a:lnTo>
                      <a:pt x="302357" y="102674"/>
                    </a:lnTo>
                    <a:lnTo>
                      <a:pt x="343426" y="115419"/>
                    </a:lnTo>
                    <a:lnTo>
                      <a:pt x="475132" y="159321"/>
                    </a:lnTo>
                    <a:lnTo>
                      <a:pt x="363253" y="265536"/>
                    </a:lnTo>
                    <a:close/>
                    <a:moveTo>
                      <a:pt x="224466" y="693226"/>
                    </a:moveTo>
                    <a:lnTo>
                      <a:pt x="285363" y="657821"/>
                    </a:lnTo>
                    <a:lnTo>
                      <a:pt x="337762" y="732879"/>
                    </a:lnTo>
                    <a:lnTo>
                      <a:pt x="326432" y="745624"/>
                    </a:lnTo>
                    <a:lnTo>
                      <a:pt x="224466" y="693226"/>
                    </a:lnTo>
                    <a:close/>
                    <a:moveTo>
                      <a:pt x="344843" y="756954"/>
                    </a:moveTo>
                    <a:lnTo>
                      <a:pt x="343426" y="807937"/>
                    </a:lnTo>
                    <a:lnTo>
                      <a:pt x="285363" y="799440"/>
                    </a:lnTo>
                    <a:lnTo>
                      <a:pt x="326432" y="748457"/>
                    </a:lnTo>
                    <a:lnTo>
                      <a:pt x="344843" y="756954"/>
                    </a:lnTo>
                    <a:close/>
                    <a:moveTo>
                      <a:pt x="346259" y="809353"/>
                    </a:moveTo>
                    <a:lnTo>
                      <a:pt x="397242" y="816434"/>
                    </a:lnTo>
                    <a:lnTo>
                      <a:pt x="425566" y="857503"/>
                    </a:lnTo>
                    <a:lnTo>
                      <a:pt x="425566" y="857503"/>
                    </a:lnTo>
                    <a:lnTo>
                      <a:pt x="465219" y="851839"/>
                    </a:lnTo>
                    <a:lnTo>
                      <a:pt x="507705" y="839093"/>
                    </a:lnTo>
                    <a:lnTo>
                      <a:pt x="577098" y="874498"/>
                    </a:lnTo>
                    <a:lnTo>
                      <a:pt x="577098" y="880163"/>
                    </a:lnTo>
                    <a:lnTo>
                      <a:pt x="340594" y="986377"/>
                    </a:lnTo>
                    <a:lnTo>
                      <a:pt x="346259" y="809353"/>
                    </a:lnTo>
                    <a:close/>
                    <a:moveTo>
                      <a:pt x="772532" y="870249"/>
                    </a:moveTo>
                    <a:lnTo>
                      <a:pt x="832012" y="926897"/>
                    </a:lnTo>
                    <a:lnTo>
                      <a:pt x="677648" y="1017533"/>
                    </a:lnTo>
                    <a:lnTo>
                      <a:pt x="557271" y="1023198"/>
                    </a:lnTo>
                    <a:lnTo>
                      <a:pt x="592676" y="990626"/>
                    </a:lnTo>
                    <a:lnTo>
                      <a:pt x="592676" y="990626"/>
                    </a:lnTo>
                    <a:lnTo>
                      <a:pt x="578514" y="882995"/>
                    </a:lnTo>
                    <a:lnTo>
                      <a:pt x="585595" y="880163"/>
                    </a:lnTo>
                    <a:lnTo>
                      <a:pt x="577098" y="875914"/>
                    </a:lnTo>
                    <a:lnTo>
                      <a:pt x="572850" y="844758"/>
                    </a:lnTo>
                    <a:lnTo>
                      <a:pt x="772532" y="870249"/>
                    </a:lnTo>
                    <a:close/>
                    <a:moveTo>
                      <a:pt x="609670" y="1208719"/>
                    </a:moveTo>
                    <a:lnTo>
                      <a:pt x="547358" y="1238459"/>
                    </a:lnTo>
                    <a:lnTo>
                      <a:pt x="567185" y="1195973"/>
                    </a:lnTo>
                    <a:lnTo>
                      <a:pt x="609670" y="1208719"/>
                    </a:lnTo>
                    <a:close/>
                    <a:moveTo>
                      <a:pt x="615335" y="1208719"/>
                    </a:moveTo>
                    <a:lnTo>
                      <a:pt x="615335" y="1208719"/>
                    </a:lnTo>
                    <a:lnTo>
                      <a:pt x="568601" y="1194557"/>
                    </a:lnTo>
                    <a:lnTo>
                      <a:pt x="621000" y="1081262"/>
                    </a:lnTo>
                    <a:lnTo>
                      <a:pt x="649324" y="1156320"/>
                    </a:lnTo>
                    <a:lnTo>
                      <a:pt x="618168" y="1211551"/>
                    </a:lnTo>
                    <a:lnTo>
                      <a:pt x="604006" y="1292274"/>
                    </a:lnTo>
                    <a:lnTo>
                      <a:pt x="523283" y="1295107"/>
                    </a:lnTo>
                    <a:lnTo>
                      <a:pt x="547358" y="1241291"/>
                    </a:lnTo>
                    <a:lnTo>
                      <a:pt x="615335" y="1208719"/>
                    </a:lnTo>
                    <a:close/>
                    <a:moveTo>
                      <a:pt x="519034" y="1295107"/>
                    </a:moveTo>
                    <a:lnTo>
                      <a:pt x="445392" y="1297939"/>
                    </a:lnTo>
                    <a:lnTo>
                      <a:pt x="445392" y="1297939"/>
                    </a:lnTo>
                    <a:lnTo>
                      <a:pt x="500624" y="1337592"/>
                    </a:lnTo>
                    <a:lnTo>
                      <a:pt x="485046" y="1371581"/>
                    </a:lnTo>
                    <a:lnTo>
                      <a:pt x="408571" y="1415483"/>
                    </a:lnTo>
                    <a:lnTo>
                      <a:pt x="408571" y="1415483"/>
                    </a:lnTo>
                    <a:lnTo>
                      <a:pt x="456722" y="1436726"/>
                    </a:lnTo>
                    <a:lnTo>
                      <a:pt x="428398" y="1499038"/>
                    </a:lnTo>
                    <a:lnTo>
                      <a:pt x="330681" y="1466465"/>
                    </a:lnTo>
                    <a:lnTo>
                      <a:pt x="363253" y="1334760"/>
                    </a:lnTo>
                    <a:lnTo>
                      <a:pt x="443976" y="1293690"/>
                    </a:lnTo>
                    <a:lnTo>
                      <a:pt x="544526" y="1244124"/>
                    </a:lnTo>
                    <a:lnTo>
                      <a:pt x="519034" y="1295107"/>
                    </a:lnTo>
                    <a:close/>
                    <a:moveTo>
                      <a:pt x="456722" y="1642073"/>
                    </a:moveTo>
                    <a:lnTo>
                      <a:pt x="482213" y="1651987"/>
                    </a:lnTo>
                    <a:lnTo>
                      <a:pt x="482213" y="1651987"/>
                    </a:lnTo>
                    <a:lnTo>
                      <a:pt x="541693" y="1637825"/>
                    </a:lnTo>
                    <a:lnTo>
                      <a:pt x="537445" y="1664732"/>
                    </a:lnTo>
                    <a:lnTo>
                      <a:pt x="502040" y="1681727"/>
                    </a:lnTo>
                    <a:lnTo>
                      <a:pt x="442560" y="1650570"/>
                    </a:lnTo>
                    <a:lnTo>
                      <a:pt x="456722" y="1642073"/>
                    </a:lnTo>
                    <a:close/>
                    <a:moveTo>
                      <a:pt x="629497" y="1707218"/>
                    </a:moveTo>
                    <a:lnTo>
                      <a:pt x="629497" y="1707218"/>
                    </a:lnTo>
                    <a:lnTo>
                      <a:pt x="621000" y="1708634"/>
                    </a:lnTo>
                    <a:lnTo>
                      <a:pt x="599757" y="1637825"/>
                    </a:lnTo>
                    <a:lnTo>
                      <a:pt x="669150" y="1606669"/>
                    </a:lnTo>
                    <a:lnTo>
                      <a:pt x="710220" y="1596755"/>
                    </a:lnTo>
                    <a:lnTo>
                      <a:pt x="849007" y="1643489"/>
                    </a:lnTo>
                    <a:lnTo>
                      <a:pt x="756954" y="1744039"/>
                    </a:lnTo>
                    <a:lnTo>
                      <a:pt x="720133" y="1617998"/>
                    </a:lnTo>
                    <a:lnTo>
                      <a:pt x="720133" y="1616582"/>
                    </a:lnTo>
                    <a:lnTo>
                      <a:pt x="705972" y="1846005"/>
                    </a:lnTo>
                    <a:lnTo>
                      <a:pt x="662069" y="1846005"/>
                    </a:lnTo>
                    <a:lnTo>
                      <a:pt x="629497" y="1736958"/>
                    </a:lnTo>
                    <a:lnTo>
                      <a:pt x="629497" y="1707218"/>
                    </a:lnTo>
                    <a:close/>
                    <a:moveTo>
                      <a:pt x="1060019" y="1140742"/>
                    </a:moveTo>
                    <a:lnTo>
                      <a:pt x="969383" y="1054354"/>
                    </a:lnTo>
                    <a:lnTo>
                      <a:pt x="1016117" y="1006203"/>
                    </a:lnTo>
                    <a:lnTo>
                      <a:pt x="1081262" y="1003371"/>
                    </a:lnTo>
                    <a:lnTo>
                      <a:pt x="1081262" y="1024614"/>
                    </a:lnTo>
                    <a:lnTo>
                      <a:pt x="1081262" y="1024614"/>
                    </a:lnTo>
                    <a:lnTo>
                      <a:pt x="1096840" y="1001955"/>
                    </a:lnTo>
                    <a:lnTo>
                      <a:pt x="1286610" y="994874"/>
                    </a:lnTo>
                    <a:lnTo>
                      <a:pt x="1256870" y="1153488"/>
                    </a:lnTo>
                    <a:lnTo>
                      <a:pt x="1060019" y="1140742"/>
                    </a:lnTo>
                    <a:close/>
                    <a:moveTo>
                      <a:pt x="1079846" y="667734"/>
                    </a:moveTo>
                    <a:lnTo>
                      <a:pt x="1079846" y="680480"/>
                    </a:lnTo>
                    <a:lnTo>
                      <a:pt x="1065684" y="681896"/>
                    </a:lnTo>
                    <a:lnTo>
                      <a:pt x="1068517" y="671983"/>
                    </a:lnTo>
                    <a:lnTo>
                      <a:pt x="1079846" y="667734"/>
                    </a:lnTo>
                    <a:close/>
                    <a:moveTo>
                      <a:pt x="1023198" y="683312"/>
                    </a:moveTo>
                    <a:lnTo>
                      <a:pt x="1065684" y="670566"/>
                    </a:lnTo>
                    <a:lnTo>
                      <a:pt x="1062852" y="680480"/>
                    </a:lnTo>
                    <a:lnTo>
                      <a:pt x="1023198" y="683312"/>
                    </a:lnTo>
                    <a:close/>
                    <a:moveTo>
                      <a:pt x="344843" y="16286"/>
                    </a:moveTo>
                    <a:lnTo>
                      <a:pt x="300941" y="99841"/>
                    </a:lnTo>
                    <a:lnTo>
                      <a:pt x="264120" y="88512"/>
                    </a:lnTo>
                    <a:lnTo>
                      <a:pt x="262704" y="60188"/>
                    </a:lnTo>
                    <a:lnTo>
                      <a:pt x="344843" y="16286"/>
                    </a:lnTo>
                    <a:close/>
                    <a:moveTo>
                      <a:pt x="126749" y="426981"/>
                    </a:moveTo>
                    <a:lnTo>
                      <a:pt x="92761" y="492126"/>
                    </a:lnTo>
                    <a:lnTo>
                      <a:pt x="140911" y="446808"/>
                    </a:lnTo>
                    <a:lnTo>
                      <a:pt x="184813" y="509121"/>
                    </a:lnTo>
                    <a:lnTo>
                      <a:pt x="12038" y="625248"/>
                    </a:lnTo>
                    <a:lnTo>
                      <a:pt x="99842" y="385912"/>
                    </a:lnTo>
                    <a:lnTo>
                      <a:pt x="126749" y="426981"/>
                    </a:lnTo>
                    <a:close/>
                    <a:moveTo>
                      <a:pt x="230131" y="360421"/>
                    </a:moveTo>
                    <a:lnTo>
                      <a:pt x="139495" y="443976"/>
                    </a:lnTo>
                    <a:lnTo>
                      <a:pt x="128165" y="426981"/>
                    </a:lnTo>
                    <a:lnTo>
                      <a:pt x="183397" y="322183"/>
                    </a:lnTo>
                    <a:lnTo>
                      <a:pt x="230131" y="360421"/>
                    </a:lnTo>
                    <a:close/>
                    <a:moveTo>
                      <a:pt x="197559" y="293860"/>
                    </a:moveTo>
                    <a:lnTo>
                      <a:pt x="184813" y="319351"/>
                    </a:lnTo>
                    <a:lnTo>
                      <a:pt x="128165" y="272617"/>
                    </a:lnTo>
                    <a:lnTo>
                      <a:pt x="197559" y="293860"/>
                    </a:lnTo>
                    <a:close/>
                    <a:moveTo>
                      <a:pt x="139495" y="445392"/>
                    </a:moveTo>
                    <a:lnTo>
                      <a:pt x="99842" y="482213"/>
                    </a:lnTo>
                    <a:lnTo>
                      <a:pt x="128165" y="429814"/>
                    </a:lnTo>
                    <a:lnTo>
                      <a:pt x="139495" y="445392"/>
                    </a:lnTo>
                    <a:close/>
                    <a:moveTo>
                      <a:pt x="469468" y="1926727"/>
                    </a:moveTo>
                    <a:lnTo>
                      <a:pt x="509121" y="1829010"/>
                    </a:lnTo>
                    <a:lnTo>
                      <a:pt x="527531" y="1724212"/>
                    </a:lnTo>
                    <a:lnTo>
                      <a:pt x="618168" y="1708634"/>
                    </a:lnTo>
                    <a:lnTo>
                      <a:pt x="625249" y="1734126"/>
                    </a:lnTo>
                    <a:lnTo>
                      <a:pt x="623832" y="1843172"/>
                    </a:lnTo>
                    <a:lnTo>
                      <a:pt x="558688" y="1843172"/>
                    </a:lnTo>
                    <a:lnTo>
                      <a:pt x="558688" y="1843172"/>
                    </a:lnTo>
                    <a:lnTo>
                      <a:pt x="545942" y="1930976"/>
                    </a:lnTo>
                    <a:lnTo>
                      <a:pt x="469468" y="1926727"/>
                    </a:lnTo>
                    <a:close/>
                    <a:moveTo>
                      <a:pt x="547358" y="1933808"/>
                    </a:moveTo>
                    <a:lnTo>
                      <a:pt x="533196" y="2025861"/>
                    </a:lnTo>
                    <a:lnTo>
                      <a:pt x="448225" y="1974878"/>
                    </a:lnTo>
                    <a:lnTo>
                      <a:pt x="466635" y="1929560"/>
                    </a:lnTo>
                    <a:lnTo>
                      <a:pt x="547358" y="1933808"/>
                    </a:lnTo>
                    <a:close/>
                    <a:moveTo>
                      <a:pt x="533196" y="2027277"/>
                    </a:moveTo>
                    <a:lnTo>
                      <a:pt x="533196" y="2027277"/>
                    </a:lnTo>
                    <a:lnTo>
                      <a:pt x="432647" y="2014531"/>
                    </a:lnTo>
                    <a:lnTo>
                      <a:pt x="448225" y="1976294"/>
                    </a:lnTo>
                    <a:lnTo>
                      <a:pt x="533196" y="2027277"/>
                    </a:lnTo>
                    <a:close/>
                    <a:moveTo>
                      <a:pt x="313687" y="2255284"/>
                    </a:moveTo>
                    <a:lnTo>
                      <a:pt x="347675" y="2221295"/>
                    </a:lnTo>
                    <a:lnTo>
                      <a:pt x="344843" y="2269446"/>
                    </a:lnTo>
                    <a:lnTo>
                      <a:pt x="313687" y="2255284"/>
                    </a:lnTo>
                    <a:close/>
                    <a:moveTo>
                      <a:pt x="288195" y="2428059"/>
                    </a:moveTo>
                    <a:lnTo>
                      <a:pt x="257039" y="2323261"/>
                    </a:lnTo>
                    <a:lnTo>
                      <a:pt x="343426" y="2314764"/>
                    </a:lnTo>
                    <a:lnTo>
                      <a:pt x="339178" y="2379909"/>
                    </a:lnTo>
                    <a:lnTo>
                      <a:pt x="288195" y="2428059"/>
                    </a:lnTo>
                    <a:close/>
                    <a:moveTo>
                      <a:pt x="289611" y="2433724"/>
                    </a:moveTo>
                    <a:lnTo>
                      <a:pt x="288195" y="2430892"/>
                    </a:lnTo>
                    <a:lnTo>
                      <a:pt x="339178" y="2384157"/>
                    </a:lnTo>
                    <a:lnTo>
                      <a:pt x="336345" y="2433724"/>
                    </a:lnTo>
                    <a:lnTo>
                      <a:pt x="289611" y="2433724"/>
                    </a:lnTo>
                    <a:close/>
                    <a:moveTo>
                      <a:pt x="282530" y="2436556"/>
                    </a:moveTo>
                    <a:lnTo>
                      <a:pt x="288195" y="2436556"/>
                    </a:lnTo>
                    <a:lnTo>
                      <a:pt x="302357" y="2486123"/>
                    </a:lnTo>
                    <a:lnTo>
                      <a:pt x="298108" y="2494620"/>
                    </a:lnTo>
                    <a:lnTo>
                      <a:pt x="281114" y="2439389"/>
                    </a:lnTo>
                    <a:lnTo>
                      <a:pt x="282530" y="2436556"/>
                    </a:lnTo>
                    <a:close/>
                    <a:moveTo>
                      <a:pt x="285363" y="2435140"/>
                    </a:moveTo>
                    <a:lnTo>
                      <a:pt x="288195" y="2432308"/>
                    </a:lnTo>
                    <a:lnTo>
                      <a:pt x="289611" y="2435140"/>
                    </a:lnTo>
                    <a:lnTo>
                      <a:pt x="285363" y="2435140"/>
                    </a:lnTo>
                    <a:close/>
                    <a:moveTo>
                      <a:pt x="312270" y="2256700"/>
                    </a:moveTo>
                    <a:lnTo>
                      <a:pt x="344843" y="2270862"/>
                    </a:lnTo>
                    <a:lnTo>
                      <a:pt x="342010" y="2311932"/>
                    </a:lnTo>
                    <a:lnTo>
                      <a:pt x="252790" y="2320429"/>
                    </a:lnTo>
                    <a:lnTo>
                      <a:pt x="252790" y="2320429"/>
                    </a:lnTo>
                    <a:lnTo>
                      <a:pt x="285363" y="2428059"/>
                    </a:lnTo>
                    <a:lnTo>
                      <a:pt x="281114" y="2432308"/>
                    </a:lnTo>
                    <a:lnTo>
                      <a:pt x="278282" y="2432308"/>
                    </a:lnTo>
                    <a:lnTo>
                      <a:pt x="242877" y="2321845"/>
                    </a:lnTo>
                    <a:lnTo>
                      <a:pt x="312270" y="2256700"/>
                    </a:lnTo>
                    <a:close/>
                    <a:moveTo>
                      <a:pt x="350507" y="2217047"/>
                    </a:moveTo>
                    <a:lnTo>
                      <a:pt x="350507" y="2215631"/>
                    </a:lnTo>
                    <a:lnTo>
                      <a:pt x="353340" y="2214215"/>
                    </a:lnTo>
                    <a:lnTo>
                      <a:pt x="350507" y="2217047"/>
                    </a:lnTo>
                    <a:close/>
                    <a:moveTo>
                      <a:pt x="303773" y="2057017"/>
                    </a:moveTo>
                    <a:lnTo>
                      <a:pt x="308022" y="2042855"/>
                    </a:lnTo>
                    <a:lnTo>
                      <a:pt x="308022" y="2042855"/>
                    </a:lnTo>
                    <a:lnTo>
                      <a:pt x="292444" y="1998953"/>
                    </a:lnTo>
                    <a:lnTo>
                      <a:pt x="346259" y="2006034"/>
                    </a:lnTo>
                    <a:lnTo>
                      <a:pt x="347675" y="2102336"/>
                    </a:lnTo>
                    <a:lnTo>
                      <a:pt x="303773" y="2057017"/>
                    </a:lnTo>
                    <a:close/>
                    <a:moveTo>
                      <a:pt x="404323" y="2010283"/>
                    </a:moveTo>
                    <a:lnTo>
                      <a:pt x="401490" y="1947970"/>
                    </a:lnTo>
                    <a:lnTo>
                      <a:pt x="446808" y="1974878"/>
                    </a:lnTo>
                    <a:lnTo>
                      <a:pt x="431230" y="2014531"/>
                    </a:lnTo>
                    <a:lnTo>
                      <a:pt x="404323" y="2010283"/>
                    </a:lnTo>
                    <a:close/>
                    <a:moveTo>
                      <a:pt x="408571" y="2163232"/>
                    </a:moveTo>
                    <a:lnTo>
                      <a:pt x="408571" y="2163232"/>
                    </a:lnTo>
                    <a:lnTo>
                      <a:pt x="408571" y="2163232"/>
                    </a:lnTo>
                    <a:lnTo>
                      <a:pt x="408571" y="2163232"/>
                    </a:lnTo>
                    <a:close/>
                    <a:moveTo>
                      <a:pt x="363253" y="2207134"/>
                    </a:moveTo>
                    <a:lnTo>
                      <a:pt x="407155" y="2163232"/>
                    </a:lnTo>
                    <a:lnTo>
                      <a:pt x="408571" y="2164648"/>
                    </a:lnTo>
                    <a:lnTo>
                      <a:pt x="409988" y="2184474"/>
                    </a:lnTo>
                    <a:lnTo>
                      <a:pt x="363253" y="2207134"/>
                    </a:lnTo>
                    <a:close/>
                    <a:moveTo>
                      <a:pt x="405739" y="2163232"/>
                    </a:moveTo>
                    <a:lnTo>
                      <a:pt x="357588" y="2211382"/>
                    </a:lnTo>
                    <a:lnTo>
                      <a:pt x="350507" y="2214215"/>
                    </a:lnTo>
                    <a:lnTo>
                      <a:pt x="381664" y="2139156"/>
                    </a:lnTo>
                    <a:lnTo>
                      <a:pt x="405739" y="2163232"/>
                    </a:lnTo>
                    <a:close/>
                    <a:moveTo>
                      <a:pt x="402907" y="2013115"/>
                    </a:moveTo>
                    <a:lnTo>
                      <a:pt x="405739" y="2078260"/>
                    </a:lnTo>
                    <a:lnTo>
                      <a:pt x="381664" y="2134908"/>
                    </a:lnTo>
                    <a:lnTo>
                      <a:pt x="350507" y="2103751"/>
                    </a:lnTo>
                    <a:lnTo>
                      <a:pt x="349091" y="2006034"/>
                    </a:lnTo>
                    <a:lnTo>
                      <a:pt x="402907" y="2013115"/>
                    </a:lnTo>
                    <a:close/>
                    <a:moveTo>
                      <a:pt x="407155" y="2160399"/>
                    </a:moveTo>
                    <a:lnTo>
                      <a:pt x="383080" y="2136324"/>
                    </a:lnTo>
                    <a:lnTo>
                      <a:pt x="405739" y="2082508"/>
                    </a:lnTo>
                    <a:lnTo>
                      <a:pt x="407155" y="2160399"/>
                    </a:lnTo>
                    <a:lnTo>
                      <a:pt x="407155" y="2160399"/>
                    </a:lnTo>
                    <a:close/>
                    <a:moveTo>
                      <a:pt x="429814" y="2015948"/>
                    </a:moveTo>
                    <a:lnTo>
                      <a:pt x="405739" y="2072595"/>
                    </a:lnTo>
                    <a:lnTo>
                      <a:pt x="402907" y="2011699"/>
                    </a:lnTo>
                    <a:lnTo>
                      <a:pt x="429814" y="2015948"/>
                    </a:lnTo>
                    <a:close/>
                    <a:moveTo>
                      <a:pt x="400074" y="1945138"/>
                    </a:moveTo>
                    <a:lnTo>
                      <a:pt x="400074" y="1945138"/>
                    </a:lnTo>
                    <a:lnTo>
                      <a:pt x="402907" y="2011699"/>
                    </a:lnTo>
                    <a:lnTo>
                      <a:pt x="349091" y="2004618"/>
                    </a:lnTo>
                    <a:lnTo>
                      <a:pt x="347675" y="1923895"/>
                    </a:lnTo>
                    <a:lnTo>
                      <a:pt x="466635" y="1929560"/>
                    </a:lnTo>
                    <a:lnTo>
                      <a:pt x="448225" y="1973462"/>
                    </a:lnTo>
                    <a:lnTo>
                      <a:pt x="400074" y="1945138"/>
                    </a:lnTo>
                    <a:close/>
                    <a:moveTo>
                      <a:pt x="347675" y="2103751"/>
                    </a:moveTo>
                    <a:lnTo>
                      <a:pt x="349091" y="2214215"/>
                    </a:lnTo>
                    <a:lnTo>
                      <a:pt x="349091" y="2214215"/>
                    </a:lnTo>
                    <a:lnTo>
                      <a:pt x="349091" y="2218463"/>
                    </a:lnTo>
                    <a:lnTo>
                      <a:pt x="312270" y="2253868"/>
                    </a:lnTo>
                    <a:lnTo>
                      <a:pt x="259871" y="2229793"/>
                    </a:lnTo>
                    <a:lnTo>
                      <a:pt x="303773" y="2058433"/>
                    </a:lnTo>
                    <a:lnTo>
                      <a:pt x="347675" y="2103751"/>
                    </a:lnTo>
                    <a:close/>
                    <a:moveTo>
                      <a:pt x="380247" y="2137740"/>
                    </a:moveTo>
                    <a:lnTo>
                      <a:pt x="350507" y="2208550"/>
                    </a:lnTo>
                    <a:lnTo>
                      <a:pt x="349091" y="2106584"/>
                    </a:lnTo>
                    <a:lnTo>
                      <a:pt x="380247" y="2137740"/>
                    </a:lnTo>
                    <a:close/>
                    <a:moveTo>
                      <a:pt x="507705" y="1829010"/>
                    </a:moveTo>
                    <a:lnTo>
                      <a:pt x="466635" y="1926727"/>
                    </a:lnTo>
                    <a:lnTo>
                      <a:pt x="346259" y="1921063"/>
                    </a:lnTo>
                    <a:lnTo>
                      <a:pt x="344843" y="1756785"/>
                    </a:lnTo>
                    <a:lnTo>
                      <a:pt x="526115" y="1727045"/>
                    </a:lnTo>
                    <a:lnTo>
                      <a:pt x="507705" y="1829010"/>
                    </a:lnTo>
                    <a:close/>
                    <a:moveTo>
                      <a:pt x="344843" y="1922479"/>
                    </a:moveTo>
                    <a:lnTo>
                      <a:pt x="346259" y="2003202"/>
                    </a:lnTo>
                    <a:lnTo>
                      <a:pt x="291027" y="1996121"/>
                    </a:lnTo>
                    <a:lnTo>
                      <a:pt x="264120" y="1918231"/>
                    </a:lnTo>
                    <a:lnTo>
                      <a:pt x="344843" y="1922479"/>
                    </a:lnTo>
                    <a:close/>
                    <a:moveTo>
                      <a:pt x="289611" y="1997537"/>
                    </a:moveTo>
                    <a:lnTo>
                      <a:pt x="305189" y="2042855"/>
                    </a:lnTo>
                    <a:lnTo>
                      <a:pt x="302357" y="2055601"/>
                    </a:lnTo>
                    <a:lnTo>
                      <a:pt x="238628" y="1991872"/>
                    </a:lnTo>
                    <a:lnTo>
                      <a:pt x="289611" y="1997537"/>
                    </a:lnTo>
                    <a:close/>
                    <a:moveTo>
                      <a:pt x="350507" y="2219879"/>
                    </a:moveTo>
                    <a:lnTo>
                      <a:pt x="359005" y="2211382"/>
                    </a:lnTo>
                    <a:lnTo>
                      <a:pt x="409988" y="2185891"/>
                    </a:lnTo>
                    <a:lnTo>
                      <a:pt x="414236" y="2299186"/>
                    </a:lnTo>
                    <a:lnTo>
                      <a:pt x="349091" y="2269446"/>
                    </a:lnTo>
                    <a:lnTo>
                      <a:pt x="350507" y="2219879"/>
                    </a:lnTo>
                    <a:close/>
                    <a:moveTo>
                      <a:pt x="531780" y="2037191"/>
                    </a:moveTo>
                    <a:lnTo>
                      <a:pt x="409988" y="2158983"/>
                    </a:lnTo>
                    <a:lnTo>
                      <a:pt x="407155" y="2079676"/>
                    </a:lnTo>
                    <a:lnTo>
                      <a:pt x="432647" y="2018780"/>
                    </a:lnTo>
                    <a:lnTo>
                      <a:pt x="533196" y="2031526"/>
                    </a:lnTo>
                    <a:lnTo>
                      <a:pt x="531780" y="2037191"/>
                    </a:lnTo>
                    <a:close/>
                    <a:moveTo>
                      <a:pt x="298108" y="2498869"/>
                    </a:moveTo>
                    <a:lnTo>
                      <a:pt x="334929" y="2614996"/>
                    </a:lnTo>
                    <a:lnTo>
                      <a:pt x="223050" y="2636239"/>
                    </a:lnTo>
                    <a:lnTo>
                      <a:pt x="298108" y="2498869"/>
                    </a:lnTo>
                    <a:close/>
                    <a:moveTo>
                      <a:pt x="417069" y="2307683"/>
                    </a:moveTo>
                    <a:lnTo>
                      <a:pt x="342010" y="2378493"/>
                    </a:lnTo>
                    <a:lnTo>
                      <a:pt x="344843" y="2314764"/>
                    </a:lnTo>
                    <a:lnTo>
                      <a:pt x="417069" y="2307683"/>
                    </a:lnTo>
                    <a:close/>
                    <a:moveTo>
                      <a:pt x="1286610" y="989209"/>
                    </a:moveTo>
                    <a:lnTo>
                      <a:pt x="1286610" y="992042"/>
                    </a:lnTo>
                    <a:lnTo>
                      <a:pt x="1098257" y="1000539"/>
                    </a:lnTo>
                    <a:lnTo>
                      <a:pt x="1118083" y="972215"/>
                    </a:lnTo>
                    <a:lnTo>
                      <a:pt x="1286610" y="989209"/>
                    </a:lnTo>
                    <a:close/>
                    <a:moveTo>
                      <a:pt x="1412651" y="764035"/>
                    </a:moveTo>
                    <a:lnTo>
                      <a:pt x="1314934" y="841926"/>
                    </a:lnTo>
                    <a:lnTo>
                      <a:pt x="1314934" y="841926"/>
                    </a:lnTo>
                    <a:lnTo>
                      <a:pt x="1286610" y="986377"/>
                    </a:lnTo>
                    <a:lnTo>
                      <a:pt x="1118083" y="969383"/>
                    </a:lnTo>
                    <a:lnTo>
                      <a:pt x="1239876" y="792359"/>
                    </a:lnTo>
                    <a:lnTo>
                      <a:pt x="1412651" y="764035"/>
                    </a:lnTo>
                    <a:close/>
                    <a:moveTo>
                      <a:pt x="220218" y="693226"/>
                    </a:moveTo>
                    <a:lnTo>
                      <a:pt x="157905" y="730046"/>
                    </a:lnTo>
                    <a:lnTo>
                      <a:pt x="142327" y="653572"/>
                    </a:lnTo>
                    <a:lnTo>
                      <a:pt x="220218" y="693226"/>
                    </a:lnTo>
                    <a:close/>
                    <a:moveTo>
                      <a:pt x="156489" y="732879"/>
                    </a:moveTo>
                    <a:lnTo>
                      <a:pt x="166402" y="782445"/>
                    </a:lnTo>
                    <a:lnTo>
                      <a:pt x="91345" y="771116"/>
                    </a:lnTo>
                    <a:lnTo>
                      <a:pt x="156489" y="732879"/>
                    </a:lnTo>
                    <a:close/>
                    <a:moveTo>
                      <a:pt x="282530" y="800856"/>
                    </a:moveTo>
                    <a:lnTo>
                      <a:pt x="194726" y="908486"/>
                    </a:lnTo>
                    <a:lnTo>
                      <a:pt x="169235" y="785278"/>
                    </a:lnTo>
                    <a:lnTo>
                      <a:pt x="282530" y="800856"/>
                    </a:lnTo>
                    <a:close/>
                    <a:moveTo>
                      <a:pt x="375999" y="1609501"/>
                    </a:moveTo>
                    <a:lnTo>
                      <a:pt x="374583" y="1613750"/>
                    </a:lnTo>
                    <a:lnTo>
                      <a:pt x="342010" y="1596755"/>
                    </a:lnTo>
                    <a:lnTo>
                      <a:pt x="375999" y="1609501"/>
                    </a:lnTo>
                    <a:close/>
                    <a:moveTo>
                      <a:pt x="438311" y="1649154"/>
                    </a:moveTo>
                    <a:lnTo>
                      <a:pt x="339178" y="1697305"/>
                    </a:lnTo>
                    <a:lnTo>
                      <a:pt x="375999" y="1615166"/>
                    </a:lnTo>
                    <a:lnTo>
                      <a:pt x="438311" y="1649154"/>
                    </a:lnTo>
                    <a:close/>
                    <a:moveTo>
                      <a:pt x="281114" y="2436556"/>
                    </a:moveTo>
                    <a:lnTo>
                      <a:pt x="281114" y="2436556"/>
                    </a:lnTo>
                    <a:lnTo>
                      <a:pt x="281114" y="2436556"/>
                    </a:lnTo>
                    <a:lnTo>
                      <a:pt x="281114" y="2436556"/>
                    </a:lnTo>
                    <a:close/>
                    <a:moveTo>
                      <a:pt x="536029" y="2027277"/>
                    </a:moveTo>
                    <a:lnTo>
                      <a:pt x="536029" y="2027277"/>
                    </a:lnTo>
                    <a:lnTo>
                      <a:pt x="536029" y="2027277"/>
                    </a:lnTo>
                    <a:lnTo>
                      <a:pt x="536029" y="2027277"/>
                    </a:lnTo>
                    <a:close/>
                    <a:moveTo>
                      <a:pt x="662069" y="1847421"/>
                    </a:moveTo>
                    <a:lnTo>
                      <a:pt x="704555" y="1847421"/>
                    </a:lnTo>
                    <a:lnTo>
                      <a:pt x="690393" y="1946554"/>
                    </a:lnTo>
                    <a:lnTo>
                      <a:pt x="662069" y="1847421"/>
                    </a:lnTo>
                    <a:close/>
                    <a:moveTo>
                      <a:pt x="1310685" y="992042"/>
                    </a:moveTo>
                    <a:lnTo>
                      <a:pt x="1288026" y="993458"/>
                    </a:lnTo>
                    <a:lnTo>
                      <a:pt x="1288026" y="990626"/>
                    </a:lnTo>
                    <a:lnTo>
                      <a:pt x="1310685" y="992042"/>
                    </a:lnTo>
                    <a:close/>
                    <a:moveTo>
                      <a:pt x="890076" y="452473"/>
                    </a:moveTo>
                    <a:lnTo>
                      <a:pt x="941059" y="377415"/>
                    </a:lnTo>
                    <a:lnTo>
                      <a:pt x="950973" y="483629"/>
                    </a:lnTo>
                    <a:lnTo>
                      <a:pt x="890076" y="452473"/>
                    </a:lnTo>
                    <a:close/>
                    <a:moveTo>
                      <a:pt x="473716" y="2384157"/>
                    </a:moveTo>
                    <a:lnTo>
                      <a:pt x="401490" y="2430892"/>
                    </a:lnTo>
                    <a:lnTo>
                      <a:pt x="377415" y="2430892"/>
                    </a:lnTo>
                    <a:lnTo>
                      <a:pt x="473716" y="2384157"/>
                    </a:lnTo>
                    <a:close/>
                    <a:moveTo>
                      <a:pt x="851839" y="1642073"/>
                    </a:moveTo>
                    <a:lnTo>
                      <a:pt x="959470" y="1524529"/>
                    </a:lnTo>
                    <a:lnTo>
                      <a:pt x="880163" y="1651987"/>
                    </a:lnTo>
                    <a:lnTo>
                      <a:pt x="851839" y="1642073"/>
                    </a:lnTo>
                    <a:close/>
                    <a:moveTo>
                      <a:pt x="1111002" y="1356003"/>
                    </a:moveTo>
                    <a:lnTo>
                      <a:pt x="973632" y="1506119"/>
                    </a:lnTo>
                    <a:lnTo>
                      <a:pt x="1028863" y="1416899"/>
                    </a:lnTo>
                    <a:lnTo>
                      <a:pt x="1111002" y="1356003"/>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51" name="Freeform: Shape 950">
                <a:extLst>
                  <a:ext uri="{FF2B5EF4-FFF2-40B4-BE49-F238E27FC236}">
                    <a16:creationId xmlns:a16="http://schemas.microsoft.com/office/drawing/2014/main" id="{C19D641B-D791-4205-8C3C-1DAEBDA847A3}"/>
                  </a:ext>
                </a:extLst>
              </p:cNvPr>
              <p:cNvSpPr/>
              <p:nvPr/>
            </p:nvSpPr>
            <p:spPr>
              <a:xfrm>
                <a:off x="3238834" y="3227193"/>
                <a:ext cx="538153" cy="339886"/>
              </a:xfrm>
              <a:custGeom>
                <a:avLst/>
                <a:gdLst>
                  <a:gd name="connsiteX0" fmla="*/ 102674 w 538152"/>
                  <a:gd name="connsiteY0" fmla="*/ 153657 h 339885"/>
                  <a:gd name="connsiteX1" fmla="*/ 197559 w 538152"/>
                  <a:gd name="connsiteY1" fmla="*/ 240044 h 339885"/>
                  <a:gd name="connsiteX2" fmla="*/ 189062 w 538152"/>
                  <a:gd name="connsiteY2" fmla="*/ 306605 h 339885"/>
                  <a:gd name="connsiteX3" fmla="*/ 191894 w 538152"/>
                  <a:gd name="connsiteY3" fmla="*/ 340594 h 339885"/>
                  <a:gd name="connsiteX4" fmla="*/ 191894 w 538152"/>
                  <a:gd name="connsiteY4" fmla="*/ 340594 h 339885"/>
                  <a:gd name="connsiteX5" fmla="*/ 303773 w 538152"/>
                  <a:gd name="connsiteY5" fmla="*/ 306605 h 339885"/>
                  <a:gd name="connsiteX6" fmla="*/ 303773 w 538152"/>
                  <a:gd name="connsiteY6" fmla="*/ 306605 h 339885"/>
                  <a:gd name="connsiteX7" fmla="*/ 308022 w 538152"/>
                  <a:gd name="connsiteY7" fmla="*/ 305189 h 339885"/>
                  <a:gd name="connsiteX8" fmla="*/ 402906 w 538152"/>
                  <a:gd name="connsiteY8" fmla="*/ 276865 h 339885"/>
                  <a:gd name="connsiteX9" fmla="*/ 451057 w 538152"/>
                  <a:gd name="connsiteY9" fmla="*/ 302357 h 339885"/>
                  <a:gd name="connsiteX10" fmla="*/ 530364 w 538152"/>
                  <a:gd name="connsiteY10" fmla="*/ 317935 h 339885"/>
                  <a:gd name="connsiteX11" fmla="*/ 530364 w 538152"/>
                  <a:gd name="connsiteY11" fmla="*/ 317935 h 339885"/>
                  <a:gd name="connsiteX12" fmla="*/ 530364 w 538152"/>
                  <a:gd name="connsiteY12" fmla="*/ 316519 h 339885"/>
                  <a:gd name="connsiteX13" fmla="*/ 530364 w 538152"/>
                  <a:gd name="connsiteY13" fmla="*/ 316519 h 339885"/>
                  <a:gd name="connsiteX14" fmla="*/ 417068 w 538152"/>
                  <a:gd name="connsiteY14" fmla="*/ 269784 h 339885"/>
                  <a:gd name="connsiteX15" fmla="*/ 417068 w 538152"/>
                  <a:gd name="connsiteY15" fmla="*/ 269784 h 339885"/>
                  <a:gd name="connsiteX16" fmla="*/ 401490 w 538152"/>
                  <a:gd name="connsiteY16" fmla="*/ 274033 h 339885"/>
                  <a:gd name="connsiteX17" fmla="*/ 401490 w 538152"/>
                  <a:gd name="connsiteY17" fmla="*/ 274033 h 339885"/>
                  <a:gd name="connsiteX18" fmla="*/ 414236 w 538152"/>
                  <a:gd name="connsiteY18" fmla="*/ 269784 h 339885"/>
                  <a:gd name="connsiteX19" fmla="*/ 414236 w 538152"/>
                  <a:gd name="connsiteY19" fmla="*/ 269784 h 339885"/>
                  <a:gd name="connsiteX20" fmla="*/ 337762 w 538152"/>
                  <a:gd name="connsiteY20" fmla="*/ 241461 h 339885"/>
                  <a:gd name="connsiteX21" fmla="*/ 181981 w 538152"/>
                  <a:gd name="connsiteY21" fmla="*/ 159321 h 339885"/>
                  <a:gd name="connsiteX22" fmla="*/ 87096 w 538152"/>
                  <a:gd name="connsiteY22" fmla="*/ 10621 h 339885"/>
                  <a:gd name="connsiteX23" fmla="*/ 87096 w 538152"/>
                  <a:gd name="connsiteY23" fmla="*/ 10621 h 339885"/>
                  <a:gd name="connsiteX24" fmla="*/ 85680 w 538152"/>
                  <a:gd name="connsiteY24" fmla="*/ 12038 h 339885"/>
                  <a:gd name="connsiteX25" fmla="*/ 85680 w 538152"/>
                  <a:gd name="connsiteY25" fmla="*/ 12038 h 339885"/>
                  <a:gd name="connsiteX26" fmla="*/ 179148 w 538152"/>
                  <a:gd name="connsiteY26" fmla="*/ 157905 h 339885"/>
                  <a:gd name="connsiteX27" fmla="*/ 155073 w 538152"/>
                  <a:gd name="connsiteY27" fmla="*/ 145160 h 339885"/>
                  <a:gd name="connsiteX28" fmla="*/ 97009 w 538152"/>
                  <a:gd name="connsiteY28" fmla="*/ 142327 h 339885"/>
                  <a:gd name="connsiteX29" fmla="*/ 10621 w 538152"/>
                  <a:gd name="connsiteY29" fmla="*/ 163570 h 339885"/>
                  <a:gd name="connsiteX30" fmla="*/ 10621 w 538152"/>
                  <a:gd name="connsiteY30" fmla="*/ 163570 h 339885"/>
                  <a:gd name="connsiteX31" fmla="*/ 10621 w 538152"/>
                  <a:gd name="connsiteY31" fmla="*/ 164986 h 339885"/>
                  <a:gd name="connsiteX32" fmla="*/ 94177 w 538152"/>
                  <a:gd name="connsiteY32" fmla="*/ 150824 h 339885"/>
                  <a:gd name="connsiteX33" fmla="*/ 102674 w 538152"/>
                  <a:gd name="connsiteY33" fmla="*/ 153657 h 339885"/>
                  <a:gd name="connsiteX34" fmla="*/ 302357 w 538152"/>
                  <a:gd name="connsiteY34" fmla="*/ 303773 h 339885"/>
                  <a:gd name="connsiteX35" fmla="*/ 213137 w 538152"/>
                  <a:gd name="connsiteY35" fmla="*/ 251374 h 339885"/>
                  <a:gd name="connsiteX36" fmla="*/ 198975 w 538152"/>
                  <a:gd name="connsiteY36" fmla="*/ 238628 h 339885"/>
                  <a:gd name="connsiteX37" fmla="*/ 204640 w 538152"/>
                  <a:gd name="connsiteY37" fmla="*/ 200391 h 339885"/>
                  <a:gd name="connsiteX38" fmla="*/ 204640 w 538152"/>
                  <a:gd name="connsiteY38" fmla="*/ 200391 h 339885"/>
                  <a:gd name="connsiteX39" fmla="*/ 203224 w 538152"/>
                  <a:gd name="connsiteY39" fmla="*/ 200391 h 339885"/>
                  <a:gd name="connsiteX40" fmla="*/ 203224 w 538152"/>
                  <a:gd name="connsiteY40" fmla="*/ 200391 h 339885"/>
                  <a:gd name="connsiteX41" fmla="*/ 197559 w 538152"/>
                  <a:gd name="connsiteY41" fmla="*/ 238628 h 339885"/>
                  <a:gd name="connsiteX42" fmla="*/ 106922 w 538152"/>
                  <a:gd name="connsiteY42" fmla="*/ 156489 h 339885"/>
                  <a:gd name="connsiteX43" fmla="*/ 193310 w 538152"/>
                  <a:gd name="connsiteY43" fmla="*/ 189062 h 339885"/>
                  <a:gd name="connsiteX44" fmla="*/ 204640 w 538152"/>
                  <a:gd name="connsiteY44" fmla="*/ 198975 h 339885"/>
                  <a:gd name="connsiteX45" fmla="*/ 206056 w 538152"/>
                  <a:gd name="connsiteY45" fmla="*/ 200391 h 339885"/>
                  <a:gd name="connsiteX46" fmla="*/ 200391 w 538152"/>
                  <a:gd name="connsiteY46" fmla="*/ 191894 h 339885"/>
                  <a:gd name="connsiteX47" fmla="*/ 334929 w 538152"/>
                  <a:gd name="connsiteY47" fmla="*/ 242877 h 339885"/>
                  <a:gd name="connsiteX48" fmla="*/ 394409 w 538152"/>
                  <a:gd name="connsiteY48" fmla="*/ 274033 h 339885"/>
                  <a:gd name="connsiteX49" fmla="*/ 305189 w 538152"/>
                  <a:gd name="connsiteY49" fmla="*/ 303773 h 339885"/>
                  <a:gd name="connsiteX50" fmla="*/ 302357 w 538152"/>
                  <a:gd name="connsiteY50" fmla="*/ 303773 h 339885"/>
                  <a:gd name="connsiteX51" fmla="*/ 150824 w 538152"/>
                  <a:gd name="connsiteY51" fmla="*/ 150824 h 339885"/>
                  <a:gd name="connsiteX52" fmla="*/ 190478 w 538152"/>
                  <a:gd name="connsiteY52" fmla="*/ 184813 h 339885"/>
                  <a:gd name="connsiteX53" fmla="*/ 104090 w 538152"/>
                  <a:gd name="connsiteY53" fmla="*/ 152241 h 339885"/>
                  <a:gd name="connsiteX54" fmla="*/ 99842 w 538152"/>
                  <a:gd name="connsiteY54" fmla="*/ 147992 h 339885"/>
                  <a:gd name="connsiteX55" fmla="*/ 150824 w 538152"/>
                  <a:gd name="connsiteY55" fmla="*/ 150824 h 339885"/>
                  <a:gd name="connsiteX56" fmla="*/ 196143 w 538152"/>
                  <a:gd name="connsiteY56" fmla="*/ 186229 h 339885"/>
                  <a:gd name="connsiteX57" fmla="*/ 152241 w 538152"/>
                  <a:gd name="connsiteY57" fmla="*/ 147992 h 339885"/>
                  <a:gd name="connsiteX58" fmla="*/ 152241 w 538152"/>
                  <a:gd name="connsiteY58" fmla="*/ 147992 h 339885"/>
                  <a:gd name="connsiteX59" fmla="*/ 94177 w 538152"/>
                  <a:gd name="connsiteY59" fmla="*/ 143743 h 339885"/>
                  <a:gd name="connsiteX60" fmla="*/ 94177 w 538152"/>
                  <a:gd name="connsiteY60" fmla="*/ 143743 h 339885"/>
                  <a:gd name="connsiteX61" fmla="*/ 99842 w 538152"/>
                  <a:gd name="connsiteY61" fmla="*/ 147992 h 339885"/>
                  <a:gd name="connsiteX62" fmla="*/ 94177 w 538152"/>
                  <a:gd name="connsiteY62" fmla="*/ 146576 h 339885"/>
                  <a:gd name="connsiteX63" fmla="*/ 36113 w 538152"/>
                  <a:gd name="connsiteY63" fmla="*/ 156489 h 339885"/>
                  <a:gd name="connsiteX64" fmla="*/ 95593 w 538152"/>
                  <a:gd name="connsiteY64" fmla="*/ 140911 h 339885"/>
                  <a:gd name="connsiteX65" fmla="*/ 153657 w 538152"/>
                  <a:gd name="connsiteY65" fmla="*/ 143743 h 339885"/>
                  <a:gd name="connsiteX66" fmla="*/ 180564 w 538152"/>
                  <a:gd name="connsiteY66" fmla="*/ 157905 h 339885"/>
                  <a:gd name="connsiteX67" fmla="*/ 197559 w 538152"/>
                  <a:gd name="connsiteY67" fmla="*/ 184813 h 339885"/>
                  <a:gd name="connsiteX68" fmla="*/ 196143 w 538152"/>
                  <a:gd name="connsiteY68" fmla="*/ 186229 h 339885"/>
                  <a:gd name="connsiteX69" fmla="*/ 198975 w 538152"/>
                  <a:gd name="connsiteY69" fmla="*/ 241461 h 339885"/>
                  <a:gd name="connsiteX70" fmla="*/ 213137 w 538152"/>
                  <a:gd name="connsiteY70" fmla="*/ 254206 h 339885"/>
                  <a:gd name="connsiteX71" fmla="*/ 300941 w 538152"/>
                  <a:gd name="connsiteY71" fmla="*/ 305189 h 339885"/>
                  <a:gd name="connsiteX72" fmla="*/ 193310 w 538152"/>
                  <a:gd name="connsiteY72" fmla="*/ 337762 h 339885"/>
                  <a:gd name="connsiteX73" fmla="*/ 190478 w 538152"/>
                  <a:gd name="connsiteY73" fmla="*/ 305189 h 339885"/>
                  <a:gd name="connsiteX74" fmla="*/ 198975 w 538152"/>
                  <a:gd name="connsiteY74" fmla="*/ 241461 h 339885"/>
                  <a:gd name="connsiteX75" fmla="*/ 200391 w 538152"/>
                  <a:gd name="connsiteY75" fmla="*/ 187645 h 339885"/>
                  <a:gd name="connsiteX76" fmla="*/ 183397 w 538152"/>
                  <a:gd name="connsiteY76" fmla="*/ 160738 h 339885"/>
                  <a:gd name="connsiteX77" fmla="*/ 320767 w 538152"/>
                  <a:gd name="connsiteY77" fmla="*/ 232963 h 339885"/>
                  <a:gd name="connsiteX78" fmla="*/ 200391 w 538152"/>
                  <a:gd name="connsiteY78" fmla="*/ 187645 h 339885"/>
                  <a:gd name="connsiteX79" fmla="*/ 198975 w 538152"/>
                  <a:gd name="connsiteY79" fmla="*/ 189062 h 339885"/>
                  <a:gd name="connsiteX80" fmla="*/ 198975 w 538152"/>
                  <a:gd name="connsiteY80" fmla="*/ 189062 h 339885"/>
                  <a:gd name="connsiteX81" fmla="*/ 198975 w 538152"/>
                  <a:gd name="connsiteY81" fmla="*/ 189062 h 339885"/>
                  <a:gd name="connsiteX82" fmla="*/ 198975 w 538152"/>
                  <a:gd name="connsiteY82" fmla="*/ 189062 h 339885"/>
                  <a:gd name="connsiteX83" fmla="*/ 398658 w 538152"/>
                  <a:gd name="connsiteY83" fmla="*/ 274033 h 339885"/>
                  <a:gd name="connsiteX84" fmla="*/ 381664 w 538152"/>
                  <a:gd name="connsiteY84" fmla="*/ 279698 h 339885"/>
                  <a:gd name="connsiteX85" fmla="*/ 398658 w 538152"/>
                  <a:gd name="connsiteY85" fmla="*/ 274033 h 339885"/>
                  <a:gd name="connsiteX86" fmla="*/ 398658 w 538152"/>
                  <a:gd name="connsiteY86" fmla="*/ 274033 h 339885"/>
                  <a:gd name="connsiteX87" fmla="*/ 398658 w 538152"/>
                  <a:gd name="connsiteY87" fmla="*/ 271200 h 339885"/>
                  <a:gd name="connsiteX88" fmla="*/ 351924 w 538152"/>
                  <a:gd name="connsiteY88" fmla="*/ 247125 h 339885"/>
                  <a:gd name="connsiteX89" fmla="*/ 407155 w 538152"/>
                  <a:gd name="connsiteY89" fmla="*/ 268368 h 339885"/>
                  <a:gd name="connsiteX90" fmla="*/ 398658 w 538152"/>
                  <a:gd name="connsiteY90" fmla="*/ 271200 h 339885"/>
                  <a:gd name="connsiteX91" fmla="*/ 449641 w 538152"/>
                  <a:gd name="connsiteY91" fmla="*/ 299524 h 339885"/>
                  <a:gd name="connsiteX92" fmla="*/ 404323 w 538152"/>
                  <a:gd name="connsiteY92" fmla="*/ 275449 h 339885"/>
                  <a:gd name="connsiteX93" fmla="*/ 417068 w 538152"/>
                  <a:gd name="connsiteY93" fmla="*/ 271200 h 339885"/>
                  <a:gd name="connsiteX94" fmla="*/ 519034 w 538152"/>
                  <a:gd name="connsiteY94" fmla="*/ 312270 h 339885"/>
                  <a:gd name="connsiteX95" fmla="*/ 449641 w 538152"/>
                  <a:gd name="connsiteY95" fmla="*/ 299524 h 3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538152" h="339885">
                    <a:moveTo>
                      <a:pt x="102674" y="153657"/>
                    </a:moveTo>
                    <a:lnTo>
                      <a:pt x="197559" y="240044"/>
                    </a:lnTo>
                    <a:lnTo>
                      <a:pt x="189062" y="306605"/>
                    </a:lnTo>
                    <a:lnTo>
                      <a:pt x="191894" y="340594"/>
                    </a:lnTo>
                    <a:lnTo>
                      <a:pt x="191894" y="340594"/>
                    </a:lnTo>
                    <a:lnTo>
                      <a:pt x="303773" y="306605"/>
                    </a:lnTo>
                    <a:lnTo>
                      <a:pt x="303773" y="306605"/>
                    </a:lnTo>
                    <a:lnTo>
                      <a:pt x="308022" y="305189"/>
                    </a:lnTo>
                    <a:lnTo>
                      <a:pt x="402906" y="276865"/>
                    </a:lnTo>
                    <a:lnTo>
                      <a:pt x="451057" y="302357"/>
                    </a:lnTo>
                    <a:lnTo>
                      <a:pt x="530364" y="317935"/>
                    </a:lnTo>
                    <a:lnTo>
                      <a:pt x="530364" y="317935"/>
                    </a:lnTo>
                    <a:lnTo>
                      <a:pt x="530364" y="316519"/>
                    </a:lnTo>
                    <a:lnTo>
                      <a:pt x="530364" y="316519"/>
                    </a:lnTo>
                    <a:lnTo>
                      <a:pt x="417068" y="269784"/>
                    </a:lnTo>
                    <a:lnTo>
                      <a:pt x="417068" y="269784"/>
                    </a:lnTo>
                    <a:lnTo>
                      <a:pt x="401490" y="274033"/>
                    </a:lnTo>
                    <a:lnTo>
                      <a:pt x="401490" y="274033"/>
                    </a:lnTo>
                    <a:lnTo>
                      <a:pt x="414236" y="269784"/>
                    </a:lnTo>
                    <a:lnTo>
                      <a:pt x="414236" y="269784"/>
                    </a:lnTo>
                    <a:lnTo>
                      <a:pt x="337762" y="241461"/>
                    </a:lnTo>
                    <a:lnTo>
                      <a:pt x="181981" y="159321"/>
                    </a:lnTo>
                    <a:lnTo>
                      <a:pt x="87096" y="10621"/>
                    </a:lnTo>
                    <a:lnTo>
                      <a:pt x="87096" y="10621"/>
                    </a:lnTo>
                    <a:lnTo>
                      <a:pt x="85680" y="12038"/>
                    </a:lnTo>
                    <a:lnTo>
                      <a:pt x="85680" y="12038"/>
                    </a:lnTo>
                    <a:lnTo>
                      <a:pt x="179148" y="157905"/>
                    </a:lnTo>
                    <a:lnTo>
                      <a:pt x="155073" y="145160"/>
                    </a:lnTo>
                    <a:lnTo>
                      <a:pt x="97009" y="142327"/>
                    </a:lnTo>
                    <a:lnTo>
                      <a:pt x="10621" y="163570"/>
                    </a:lnTo>
                    <a:lnTo>
                      <a:pt x="10621" y="163570"/>
                    </a:lnTo>
                    <a:lnTo>
                      <a:pt x="10621" y="164986"/>
                    </a:lnTo>
                    <a:lnTo>
                      <a:pt x="94177" y="150824"/>
                    </a:lnTo>
                    <a:lnTo>
                      <a:pt x="102674" y="153657"/>
                    </a:lnTo>
                    <a:close/>
                    <a:moveTo>
                      <a:pt x="302357" y="303773"/>
                    </a:moveTo>
                    <a:lnTo>
                      <a:pt x="213137" y="251374"/>
                    </a:lnTo>
                    <a:lnTo>
                      <a:pt x="198975" y="238628"/>
                    </a:lnTo>
                    <a:lnTo>
                      <a:pt x="204640" y="200391"/>
                    </a:lnTo>
                    <a:lnTo>
                      <a:pt x="204640" y="200391"/>
                    </a:lnTo>
                    <a:lnTo>
                      <a:pt x="203224" y="200391"/>
                    </a:lnTo>
                    <a:lnTo>
                      <a:pt x="203224" y="200391"/>
                    </a:lnTo>
                    <a:lnTo>
                      <a:pt x="197559" y="238628"/>
                    </a:lnTo>
                    <a:lnTo>
                      <a:pt x="106922" y="156489"/>
                    </a:lnTo>
                    <a:lnTo>
                      <a:pt x="193310" y="189062"/>
                    </a:lnTo>
                    <a:lnTo>
                      <a:pt x="204640" y="198975"/>
                    </a:lnTo>
                    <a:lnTo>
                      <a:pt x="206056" y="200391"/>
                    </a:lnTo>
                    <a:lnTo>
                      <a:pt x="200391" y="191894"/>
                    </a:lnTo>
                    <a:lnTo>
                      <a:pt x="334929" y="242877"/>
                    </a:lnTo>
                    <a:lnTo>
                      <a:pt x="394409" y="274033"/>
                    </a:lnTo>
                    <a:lnTo>
                      <a:pt x="305189" y="303773"/>
                    </a:lnTo>
                    <a:lnTo>
                      <a:pt x="302357" y="303773"/>
                    </a:lnTo>
                    <a:close/>
                    <a:moveTo>
                      <a:pt x="150824" y="150824"/>
                    </a:moveTo>
                    <a:lnTo>
                      <a:pt x="190478" y="184813"/>
                    </a:lnTo>
                    <a:lnTo>
                      <a:pt x="104090" y="152241"/>
                    </a:lnTo>
                    <a:lnTo>
                      <a:pt x="99842" y="147992"/>
                    </a:lnTo>
                    <a:lnTo>
                      <a:pt x="150824" y="150824"/>
                    </a:lnTo>
                    <a:close/>
                    <a:moveTo>
                      <a:pt x="196143" y="186229"/>
                    </a:moveTo>
                    <a:lnTo>
                      <a:pt x="152241" y="147992"/>
                    </a:lnTo>
                    <a:lnTo>
                      <a:pt x="152241" y="147992"/>
                    </a:lnTo>
                    <a:lnTo>
                      <a:pt x="94177" y="143743"/>
                    </a:lnTo>
                    <a:lnTo>
                      <a:pt x="94177" y="143743"/>
                    </a:lnTo>
                    <a:lnTo>
                      <a:pt x="99842" y="147992"/>
                    </a:lnTo>
                    <a:lnTo>
                      <a:pt x="94177" y="146576"/>
                    </a:lnTo>
                    <a:lnTo>
                      <a:pt x="36113" y="156489"/>
                    </a:lnTo>
                    <a:lnTo>
                      <a:pt x="95593" y="140911"/>
                    </a:lnTo>
                    <a:lnTo>
                      <a:pt x="153657" y="143743"/>
                    </a:lnTo>
                    <a:lnTo>
                      <a:pt x="180564" y="157905"/>
                    </a:lnTo>
                    <a:lnTo>
                      <a:pt x="197559" y="184813"/>
                    </a:lnTo>
                    <a:lnTo>
                      <a:pt x="196143" y="186229"/>
                    </a:lnTo>
                    <a:close/>
                    <a:moveTo>
                      <a:pt x="198975" y="241461"/>
                    </a:moveTo>
                    <a:lnTo>
                      <a:pt x="213137" y="254206"/>
                    </a:lnTo>
                    <a:lnTo>
                      <a:pt x="300941" y="305189"/>
                    </a:lnTo>
                    <a:lnTo>
                      <a:pt x="193310" y="337762"/>
                    </a:lnTo>
                    <a:lnTo>
                      <a:pt x="190478" y="305189"/>
                    </a:lnTo>
                    <a:lnTo>
                      <a:pt x="198975" y="241461"/>
                    </a:lnTo>
                    <a:close/>
                    <a:moveTo>
                      <a:pt x="200391" y="187645"/>
                    </a:moveTo>
                    <a:lnTo>
                      <a:pt x="183397" y="160738"/>
                    </a:lnTo>
                    <a:lnTo>
                      <a:pt x="320767" y="232963"/>
                    </a:lnTo>
                    <a:lnTo>
                      <a:pt x="200391" y="187645"/>
                    </a:lnTo>
                    <a:close/>
                    <a:moveTo>
                      <a:pt x="198975" y="189062"/>
                    </a:moveTo>
                    <a:lnTo>
                      <a:pt x="198975" y="189062"/>
                    </a:lnTo>
                    <a:lnTo>
                      <a:pt x="198975" y="189062"/>
                    </a:lnTo>
                    <a:lnTo>
                      <a:pt x="198975" y="189062"/>
                    </a:lnTo>
                    <a:close/>
                    <a:moveTo>
                      <a:pt x="398658" y="274033"/>
                    </a:moveTo>
                    <a:lnTo>
                      <a:pt x="381664" y="279698"/>
                    </a:lnTo>
                    <a:lnTo>
                      <a:pt x="398658" y="274033"/>
                    </a:lnTo>
                    <a:lnTo>
                      <a:pt x="398658" y="274033"/>
                    </a:lnTo>
                    <a:close/>
                    <a:moveTo>
                      <a:pt x="398658" y="271200"/>
                    </a:moveTo>
                    <a:lnTo>
                      <a:pt x="351924" y="247125"/>
                    </a:lnTo>
                    <a:lnTo>
                      <a:pt x="407155" y="268368"/>
                    </a:lnTo>
                    <a:lnTo>
                      <a:pt x="398658" y="271200"/>
                    </a:lnTo>
                    <a:close/>
                    <a:moveTo>
                      <a:pt x="449641" y="299524"/>
                    </a:moveTo>
                    <a:lnTo>
                      <a:pt x="404323" y="275449"/>
                    </a:lnTo>
                    <a:lnTo>
                      <a:pt x="417068" y="271200"/>
                    </a:lnTo>
                    <a:lnTo>
                      <a:pt x="519034" y="312270"/>
                    </a:lnTo>
                    <a:lnTo>
                      <a:pt x="449641" y="299524"/>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52" name="Freeform: Shape 951">
                <a:extLst>
                  <a:ext uri="{FF2B5EF4-FFF2-40B4-BE49-F238E27FC236}">
                    <a16:creationId xmlns:a16="http://schemas.microsoft.com/office/drawing/2014/main" id="{211BE2F0-E403-46AB-825C-5324306A658F}"/>
                  </a:ext>
                </a:extLst>
              </p:cNvPr>
              <p:cNvSpPr/>
              <p:nvPr/>
            </p:nvSpPr>
            <p:spPr>
              <a:xfrm>
                <a:off x="9201000" y="4709945"/>
                <a:ext cx="1189601" cy="1260410"/>
              </a:xfrm>
              <a:custGeom>
                <a:avLst/>
                <a:gdLst>
                  <a:gd name="connsiteX0" fmla="*/ 1147823 w 1189600"/>
                  <a:gd name="connsiteY0" fmla="*/ 557271 h 1260409"/>
                  <a:gd name="connsiteX1" fmla="*/ 1147823 w 1189600"/>
                  <a:gd name="connsiteY1" fmla="*/ 555855 h 1260409"/>
                  <a:gd name="connsiteX2" fmla="*/ 1147823 w 1189600"/>
                  <a:gd name="connsiteY2" fmla="*/ 555855 h 1260409"/>
                  <a:gd name="connsiteX3" fmla="*/ 1135078 w 1189600"/>
                  <a:gd name="connsiteY3" fmla="*/ 554439 h 1260409"/>
                  <a:gd name="connsiteX4" fmla="*/ 1109586 w 1189600"/>
                  <a:gd name="connsiteY4" fmla="*/ 545941 h 1260409"/>
                  <a:gd name="connsiteX5" fmla="*/ 1120916 w 1189600"/>
                  <a:gd name="connsiteY5" fmla="*/ 441143 h 1260409"/>
                  <a:gd name="connsiteX6" fmla="*/ 1120916 w 1189600"/>
                  <a:gd name="connsiteY6" fmla="*/ 441143 h 1260409"/>
                  <a:gd name="connsiteX7" fmla="*/ 958054 w 1189600"/>
                  <a:gd name="connsiteY7" fmla="*/ 526115 h 1260409"/>
                  <a:gd name="connsiteX8" fmla="*/ 938227 w 1189600"/>
                  <a:gd name="connsiteY8" fmla="*/ 526115 h 1260409"/>
                  <a:gd name="connsiteX9" fmla="*/ 843342 w 1189600"/>
                  <a:gd name="connsiteY9" fmla="*/ 511953 h 1260409"/>
                  <a:gd name="connsiteX10" fmla="*/ 820683 w 1189600"/>
                  <a:gd name="connsiteY10" fmla="*/ 431230 h 1260409"/>
                  <a:gd name="connsiteX11" fmla="*/ 948140 w 1189600"/>
                  <a:gd name="connsiteY11" fmla="*/ 375999 h 1260409"/>
                  <a:gd name="connsiteX12" fmla="*/ 1084094 w 1189600"/>
                  <a:gd name="connsiteY12" fmla="*/ 364669 h 1260409"/>
                  <a:gd name="connsiteX13" fmla="*/ 1084094 w 1189600"/>
                  <a:gd name="connsiteY13" fmla="*/ 364669 h 1260409"/>
                  <a:gd name="connsiteX14" fmla="*/ 960886 w 1189600"/>
                  <a:gd name="connsiteY14" fmla="*/ 211720 h 1260409"/>
                  <a:gd name="connsiteX15" fmla="*/ 965135 w 1189600"/>
                  <a:gd name="connsiteY15" fmla="*/ 211720 h 1260409"/>
                  <a:gd name="connsiteX16" fmla="*/ 959470 w 1189600"/>
                  <a:gd name="connsiteY16" fmla="*/ 208888 h 1260409"/>
                  <a:gd name="connsiteX17" fmla="*/ 959470 w 1189600"/>
                  <a:gd name="connsiteY17" fmla="*/ 208888 h 1260409"/>
                  <a:gd name="connsiteX18" fmla="*/ 958054 w 1189600"/>
                  <a:gd name="connsiteY18" fmla="*/ 208888 h 1260409"/>
                  <a:gd name="connsiteX19" fmla="*/ 882995 w 1189600"/>
                  <a:gd name="connsiteY19" fmla="*/ 172067 h 1260409"/>
                  <a:gd name="connsiteX20" fmla="*/ 887244 w 1189600"/>
                  <a:gd name="connsiteY20" fmla="*/ 21951 h 1260409"/>
                  <a:gd name="connsiteX21" fmla="*/ 928313 w 1189600"/>
                  <a:gd name="connsiteY21" fmla="*/ 126749 h 1260409"/>
                  <a:gd name="connsiteX22" fmla="*/ 928313 w 1189600"/>
                  <a:gd name="connsiteY22" fmla="*/ 126749 h 1260409"/>
                  <a:gd name="connsiteX23" fmla="*/ 929730 w 1189600"/>
                  <a:gd name="connsiteY23" fmla="*/ 125333 h 1260409"/>
                  <a:gd name="connsiteX24" fmla="*/ 885828 w 1189600"/>
                  <a:gd name="connsiteY24" fmla="*/ 12037 h 1260409"/>
                  <a:gd name="connsiteX25" fmla="*/ 885828 w 1189600"/>
                  <a:gd name="connsiteY25" fmla="*/ 10621 h 1260409"/>
                  <a:gd name="connsiteX26" fmla="*/ 881579 w 1189600"/>
                  <a:gd name="connsiteY26" fmla="*/ 172067 h 1260409"/>
                  <a:gd name="connsiteX27" fmla="*/ 881579 w 1189600"/>
                  <a:gd name="connsiteY27" fmla="*/ 172067 h 1260409"/>
                  <a:gd name="connsiteX28" fmla="*/ 952389 w 1189600"/>
                  <a:gd name="connsiteY28" fmla="*/ 206056 h 1260409"/>
                  <a:gd name="connsiteX29" fmla="*/ 673399 w 1189600"/>
                  <a:gd name="connsiteY29" fmla="*/ 163570 h 1260409"/>
                  <a:gd name="connsiteX30" fmla="*/ 721550 w 1189600"/>
                  <a:gd name="connsiteY30" fmla="*/ 160737 h 1260409"/>
                  <a:gd name="connsiteX31" fmla="*/ 721550 w 1189600"/>
                  <a:gd name="connsiteY31" fmla="*/ 160737 h 1260409"/>
                  <a:gd name="connsiteX32" fmla="*/ 608254 w 1189600"/>
                  <a:gd name="connsiteY32" fmla="*/ 41777 h 1260409"/>
                  <a:gd name="connsiteX33" fmla="*/ 608254 w 1189600"/>
                  <a:gd name="connsiteY33" fmla="*/ 41777 h 1260409"/>
                  <a:gd name="connsiteX34" fmla="*/ 608254 w 1189600"/>
                  <a:gd name="connsiteY34" fmla="*/ 38945 h 1260409"/>
                  <a:gd name="connsiteX35" fmla="*/ 608254 w 1189600"/>
                  <a:gd name="connsiteY35" fmla="*/ 37529 h 1260409"/>
                  <a:gd name="connsiteX36" fmla="*/ 511954 w 1189600"/>
                  <a:gd name="connsiteY36" fmla="*/ 138079 h 1260409"/>
                  <a:gd name="connsiteX37" fmla="*/ 402907 w 1189600"/>
                  <a:gd name="connsiteY37" fmla="*/ 121084 h 1260409"/>
                  <a:gd name="connsiteX38" fmla="*/ 400074 w 1189600"/>
                  <a:gd name="connsiteY38" fmla="*/ 118252 h 1260409"/>
                  <a:gd name="connsiteX39" fmla="*/ 400074 w 1189600"/>
                  <a:gd name="connsiteY39" fmla="*/ 118252 h 1260409"/>
                  <a:gd name="connsiteX40" fmla="*/ 392993 w 1189600"/>
                  <a:gd name="connsiteY40" fmla="*/ 126749 h 1260409"/>
                  <a:gd name="connsiteX41" fmla="*/ 283946 w 1189600"/>
                  <a:gd name="connsiteY41" fmla="*/ 200391 h 1260409"/>
                  <a:gd name="connsiteX42" fmla="*/ 232964 w 1189600"/>
                  <a:gd name="connsiteY42" fmla="*/ 295275 h 1260409"/>
                  <a:gd name="connsiteX43" fmla="*/ 95593 w 1189600"/>
                  <a:gd name="connsiteY43" fmla="*/ 367501 h 1260409"/>
                  <a:gd name="connsiteX44" fmla="*/ 85679 w 1189600"/>
                  <a:gd name="connsiteY44" fmla="*/ 368918 h 1260409"/>
                  <a:gd name="connsiteX45" fmla="*/ 85679 w 1189600"/>
                  <a:gd name="connsiteY45" fmla="*/ 368918 h 1260409"/>
                  <a:gd name="connsiteX46" fmla="*/ 88512 w 1189600"/>
                  <a:gd name="connsiteY46" fmla="*/ 371750 h 1260409"/>
                  <a:gd name="connsiteX47" fmla="*/ 41778 w 1189600"/>
                  <a:gd name="connsiteY47" fmla="*/ 392993 h 1260409"/>
                  <a:gd name="connsiteX48" fmla="*/ 36113 w 1189600"/>
                  <a:gd name="connsiteY48" fmla="*/ 391577 h 1260409"/>
                  <a:gd name="connsiteX49" fmla="*/ 36113 w 1189600"/>
                  <a:gd name="connsiteY49" fmla="*/ 391577 h 1260409"/>
                  <a:gd name="connsiteX50" fmla="*/ 36113 w 1189600"/>
                  <a:gd name="connsiteY50" fmla="*/ 392993 h 1260409"/>
                  <a:gd name="connsiteX51" fmla="*/ 38945 w 1189600"/>
                  <a:gd name="connsiteY51" fmla="*/ 392993 h 1260409"/>
                  <a:gd name="connsiteX52" fmla="*/ 37529 w 1189600"/>
                  <a:gd name="connsiteY52" fmla="*/ 392993 h 1260409"/>
                  <a:gd name="connsiteX53" fmla="*/ 37529 w 1189600"/>
                  <a:gd name="connsiteY53" fmla="*/ 392993 h 1260409"/>
                  <a:gd name="connsiteX54" fmla="*/ 70102 w 1189600"/>
                  <a:gd name="connsiteY54" fmla="*/ 438311 h 1260409"/>
                  <a:gd name="connsiteX55" fmla="*/ 10621 w 1189600"/>
                  <a:gd name="connsiteY55" fmla="*/ 469467 h 1260409"/>
                  <a:gd name="connsiteX56" fmla="*/ 10621 w 1189600"/>
                  <a:gd name="connsiteY56" fmla="*/ 469467 h 1260409"/>
                  <a:gd name="connsiteX57" fmla="*/ 10621 w 1189600"/>
                  <a:gd name="connsiteY57" fmla="*/ 470883 h 1260409"/>
                  <a:gd name="connsiteX58" fmla="*/ 126749 w 1189600"/>
                  <a:gd name="connsiteY58" fmla="*/ 438311 h 1260409"/>
                  <a:gd name="connsiteX59" fmla="*/ 132414 w 1189600"/>
                  <a:gd name="connsiteY59" fmla="*/ 438311 h 1260409"/>
                  <a:gd name="connsiteX60" fmla="*/ 92760 w 1189600"/>
                  <a:gd name="connsiteY60" fmla="*/ 523282 h 1260409"/>
                  <a:gd name="connsiteX61" fmla="*/ 53107 w 1189600"/>
                  <a:gd name="connsiteY61" fmla="*/ 534612 h 1260409"/>
                  <a:gd name="connsiteX62" fmla="*/ 38945 w 1189600"/>
                  <a:gd name="connsiteY62" fmla="*/ 534612 h 1260409"/>
                  <a:gd name="connsiteX63" fmla="*/ 37529 w 1189600"/>
                  <a:gd name="connsiteY63" fmla="*/ 534612 h 1260409"/>
                  <a:gd name="connsiteX64" fmla="*/ 41778 w 1189600"/>
                  <a:gd name="connsiteY64" fmla="*/ 537444 h 1260409"/>
                  <a:gd name="connsiteX65" fmla="*/ 41778 w 1189600"/>
                  <a:gd name="connsiteY65" fmla="*/ 537444 h 1260409"/>
                  <a:gd name="connsiteX66" fmla="*/ 41778 w 1189600"/>
                  <a:gd name="connsiteY66" fmla="*/ 537444 h 1260409"/>
                  <a:gd name="connsiteX67" fmla="*/ 41778 w 1189600"/>
                  <a:gd name="connsiteY67" fmla="*/ 538860 h 1260409"/>
                  <a:gd name="connsiteX68" fmla="*/ 44610 w 1189600"/>
                  <a:gd name="connsiteY68" fmla="*/ 538860 h 1260409"/>
                  <a:gd name="connsiteX69" fmla="*/ 75766 w 1189600"/>
                  <a:gd name="connsiteY69" fmla="*/ 557271 h 1260409"/>
                  <a:gd name="connsiteX70" fmla="*/ 41778 w 1189600"/>
                  <a:gd name="connsiteY70" fmla="*/ 629497 h 1260409"/>
                  <a:gd name="connsiteX71" fmla="*/ 41778 w 1189600"/>
                  <a:gd name="connsiteY71" fmla="*/ 630913 h 1260409"/>
                  <a:gd name="connsiteX72" fmla="*/ 109755 w 1189600"/>
                  <a:gd name="connsiteY72" fmla="*/ 578514 h 1260409"/>
                  <a:gd name="connsiteX73" fmla="*/ 172068 w 1189600"/>
                  <a:gd name="connsiteY73" fmla="*/ 615335 h 1260409"/>
                  <a:gd name="connsiteX74" fmla="*/ 153656 w 1189600"/>
                  <a:gd name="connsiteY74" fmla="*/ 659237 h 1260409"/>
                  <a:gd name="connsiteX75" fmla="*/ 70102 w 1189600"/>
                  <a:gd name="connsiteY75" fmla="*/ 697474 h 1260409"/>
                  <a:gd name="connsiteX76" fmla="*/ 70102 w 1189600"/>
                  <a:gd name="connsiteY76" fmla="*/ 697474 h 1260409"/>
                  <a:gd name="connsiteX77" fmla="*/ 97009 w 1189600"/>
                  <a:gd name="connsiteY77" fmla="*/ 790942 h 1260409"/>
                  <a:gd name="connsiteX78" fmla="*/ 84264 w 1189600"/>
                  <a:gd name="connsiteY78" fmla="*/ 819266 h 1260409"/>
                  <a:gd name="connsiteX79" fmla="*/ 84264 w 1189600"/>
                  <a:gd name="connsiteY79" fmla="*/ 819266 h 1260409"/>
                  <a:gd name="connsiteX80" fmla="*/ 85679 w 1189600"/>
                  <a:gd name="connsiteY80" fmla="*/ 820682 h 1260409"/>
                  <a:gd name="connsiteX81" fmla="*/ 99841 w 1189600"/>
                  <a:gd name="connsiteY81" fmla="*/ 802272 h 1260409"/>
                  <a:gd name="connsiteX82" fmla="*/ 118252 w 1189600"/>
                  <a:gd name="connsiteY82" fmla="*/ 863168 h 1260409"/>
                  <a:gd name="connsiteX83" fmla="*/ 118252 w 1189600"/>
                  <a:gd name="connsiteY83" fmla="*/ 863168 h 1260409"/>
                  <a:gd name="connsiteX84" fmla="*/ 257039 w 1189600"/>
                  <a:gd name="connsiteY84" fmla="*/ 796607 h 1260409"/>
                  <a:gd name="connsiteX85" fmla="*/ 257039 w 1189600"/>
                  <a:gd name="connsiteY85" fmla="*/ 796607 h 1260409"/>
                  <a:gd name="connsiteX86" fmla="*/ 180564 w 1189600"/>
                  <a:gd name="connsiteY86" fmla="*/ 739960 h 1260409"/>
                  <a:gd name="connsiteX87" fmla="*/ 272617 w 1189600"/>
                  <a:gd name="connsiteY87" fmla="*/ 766867 h 1260409"/>
                  <a:gd name="connsiteX88" fmla="*/ 296692 w 1189600"/>
                  <a:gd name="connsiteY88" fmla="*/ 846174 h 1260409"/>
                  <a:gd name="connsiteX89" fmla="*/ 296692 w 1189600"/>
                  <a:gd name="connsiteY89" fmla="*/ 846174 h 1260409"/>
                  <a:gd name="connsiteX90" fmla="*/ 466635 w 1189600"/>
                  <a:gd name="connsiteY90" fmla="*/ 772532 h 1260409"/>
                  <a:gd name="connsiteX91" fmla="*/ 466635 w 1189600"/>
                  <a:gd name="connsiteY91" fmla="*/ 772532 h 1260409"/>
                  <a:gd name="connsiteX92" fmla="*/ 436895 w 1189600"/>
                  <a:gd name="connsiteY92" fmla="*/ 745624 h 1260409"/>
                  <a:gd name="connsiteX93" fmla="*/ 551607 w 1189600"/>
                  <a:gd name="connsiteY93" fmla="*/ 722965 h 1260409"/>
                  <a:gd name="connsiteX94" fmla="*/ 554439 w 1189600"/>
                  <a:gd name="connsiteY94" fmla="*/ 728630 h 1260409"/>
                  <a:gd name="connsiteX95" fmla="*/ 554439 w 1189600"/>
                  <a:gd name="connsiteY95" fmla="*/ 730046 h 1260409"/>
                  <a:gd name="connsiteX96" fmla="*/ 554439 w 1189600"/>
                  <a:gd name="connsiteY96" fmla="*/ 721549 h 1260409"/>
                  <a:gd name="connsiteX97" fmla="*/ 561520 w 1189600"/>
                  <a:gd name="connsiteY97" fmla="*/ 711636 h 1260409"/>
                  <a:gd name="connsiteX98" fmla="*/ 674816 w 1189600"/>
                  <a:gd name="connsiteY98" fmla="*/ 792359 h 1260409"/>
                  <a:gd name="connsiteX99" fmla="*/ 670566 w 1189600"/>
                  <a:gd name="connsiteY99" fmla="*/ 849006 h 1260409"/>
                  <a:gd name="connsiteX100" fmla="*/ 670566 w 1189600"/>
                  <a:gd name="connsiteY100" fmla="*/ 849006 h 1260409"/>
                  <a:gd name="connsiteX101" fmla="*/ 816435 w 1189600"/>
                  <a:gd name="connsiteY101" fmla="*/ 1034527 h 1260409"/>
                  <a:gd name="connsiteX102" fmla="*/ 1040193 w 1189600"/>
                  <a:gd name="connsiteY102" fmla="*/ 1173314 h 1260409"/>
                  <a:gd name="connsiteX103" fmla="*/ 994874 w 1189600"/>
                  <a:gd name="connsiteY103" fmla="*/ 1255453 h 1260409"/>
                  <a:gd name="connsiteX104" fmla="*/ 994874 w 1189600"/>
                  <a:gd name="connsiteY104" fmla="*/ 1255453 h 1260409"/>
                  <a:gd name="connsiteX105" fmla="*/ 996290 w 1189600"/>
                  <a:gd name="connsiteY105" fmla="*/ 1256869 h 1260409"/>
                  <a:gd name="connsiteX106" fmla="*/ 1043025 w 1189600"/>
                  <a:gd name="connsiteY106" fmla="*/ 1173314 h 1260409"/>
                  <a:gd name="connsiteX107" fmla="*/ 1043025 w 1189600"/>
                  <a:gd name="connsiteY107" fmla="*/ 1173314 h 1260409"/>
                  <a:gd name="connsiteX108" fmla="*/ 817851 w 1189600"/>
                  <a:gd name="connsiteY108" fmla="*/ 1033111 h 1260409"/>
                  <a:gd name="connsiteX109" fmla="*/ 671983 w 1189600"/>
                  <a:gd name="connsiteY109" fmla="*/ 849006 h 1260409"/>
                  <a:gd name="connsiteX110" fmla="*/ 676231 w 1189600"/>
                  <a:gd name="connsiteY110" fmla="*/ 793775 h 1260409"/>
                  <a:gd name="connsiteX111" fmla="*/ 816435 w 1189600"/>
                  <a:gd name="connsiteY111" fmla="*/ 892908 h 1260409"/>
                  <a:gd name="connsiteX112" fmla="*/ 816435 w 1189600"/>
                  <a:gd name="connsiteY112" fmla="*/ 892908 h 1260409"/>
                  <a:gd name="connsiteX113" fmla="*/ 817851 w 1189600"/>
                  <a:gd name="connsiteY113" fmla="*/ 891492 h 1260409"/>
                  <a:gd name="connsiteX114" fmla="*/ 677647 w 1189600"/>
                  <a:gd name="connsiteY114" fmla="*/ 766867 h 1260409"/>
                  <a:gd name="connsiteX115" fmla="*/ 684728 w 1189600"/>
                  <a:gd name="connsiteY115" fmla="*/ 669150 h 1260409"/>
                  <a:gd name="connsiteX116" fmla="*/ 793775 w 1189600"/>
                  <a:gd name="connsiteY116" fmla="*/ 664901 h 1260409"/>
                  <a:gd name="connsiteX117" fmla="*/ 817851 w 1189600"/>
                  <a:gd name="connsiteY117" fmla="*/ 877330 h 1260409"/>
                  <a:gd name="connsiteX118" fmla="*/ 817851 w 1189600"/>
                  <a:gd name="connsiteY118" fmla="*/ 877330 h 1260409"/>
                  <a:gd name="connsiteX119" fmla="*/ 824932 w 1189600"/>
                  <a:gd name="connsiteY119" fmla="*/ 878746 h 1260409"/>
                  <a:gd name="connsiteX120" fmla="*/ 815018 w 1189600"/>
                  <a:gd name="connsiteY120" fmla="*/ 894324 h 1260409"/>
                  <a:gd name="connsiteX121" fmla="*/ 815018 w 1189600"/>
                  <a:gd name="connsiteY121" fmla="*/ 894324 h 1260409"/>
                  <a:gd name="connsiteX122" fmla="*/ 867417 w 1189600"/>
                  <a:gd name="connsiteY122" fmla="*/ 890076 h 1260409"/>
                  <a:gd name="connsiteX123" fmla="*/ 949556 w 1189600"/>
                  <a:gd name="connsiteY123" fmla="*/ 912735 h 1260409"/>
                  <a:gd name="connsiteX124" fmla="*/ 976464 w 1189600"/>
                  <a:gd name="connsiteY124" fmla="*/ 1006203 h 1260409"/>
                  <a:gd name="connsiteX125" fmla="*/ 885828 w 1189600"/>
                  <a:gd name="connsiteY125" fmla="*/ 1060019 h 1260409"/>
                  <a:gd name="connsiteX126" fmla="*/ 885828 w 1189600"/>
                  <a:gd name="connsiteY126" fmla="*/ 1060019 h 1260409"/>
                  <a:gd name="connsiteX127" fmla="*/ 993459 w 1189600"/>
                  <a:gd name="connsiteY127" fmla="*/ 1057186 h 1260409"/>
                  <a:gd name="connsiteX128" fmla="*/ 993459 w 1189600"/>
                  <a:gd name="connsiteY128" fmla="*/ 1057186 h 1260409"/>
                  <a:gd name="connsiteX129" fmla="*/ 979297 w 1189600"/>
                  <a:gd name="connsiteY129" fmla="*/ 1007620 h 1260409"/>
                  <a:gd name="connsiteX130" fmla="*/ 1078430 w 1189600"/>
                  <a:gd name="connsiteY130" fmla="*/ 949556 h 1260409"/>
                  <a:gd name="connsiteX131" fmla="*/ 1137909 w 1189600"/>
                  <a:gd name="connsiteY131" fmla="*/ 841925 h 1260409"/>
                  <a:gd name="connsiteX132" fmla="*/ 1137909 w 1189600"/>
                  <a:gd name="connsiteY132" fmla="*/ 841925 h 1260409"/>
                  <a:gd name="connsiteX133" fmla="*/ 1118083 w 1189600"/>
                  <a:gd name="connsiteY133" fmla="*/ 700306 h 1260409"/>
                  <a:gd name="connsiteX134" fmla="*/ 1119499 w 1189600"/>
                  <a:gd name="connsiteY134" fmla="*/ 687560 h 1260409"/>
                  <a:gd name="connsiteX135" fmla="*/ 1181812 w 1189600"/>
                  <a:gd name="connsiteY135" fmla="*/ 752705 h 1260409"/>
                  <a:gd name="connsiteX136" fmla="*/ 1181812 w 1189600"/>
                  <a:gd name="connsiteY136" fmla="*/ 752705 h 1260409"/>
                  <a:gd name="connsiteX137" fmla="*/ 1184644 w 1189600"/>
                  <a:gd name="connsiteY137" fmla="*/ 554439 h 1260409"/>
                  <a:gd name="connsiteX138" fmla="*/ 1184644 w 1189600"/>
                  <a:gd name="connsiteY138" fmla="*/ 554439 h 1260409"/>
                  <a:gd name="connsiteX139" fmla="*/ 1147823 w 1189600"/>
                  <a:gd name="connsiteY139" fmla="*/ 557271 h 1260409"/>
                  <a:gd name="connsiteX140" fmla="*/ 1147823 w 1189600"/>
                  <a:gd name="connsiteY140" fmla="*/ 557271 h 1260409"/>
                  <a:gd name="connsiteX141" fmla="*/ 901406 w 1189600"/>
                  <a:gd name="connsiteY141" fmla="*/ 1057186 h 1260409"/>
                  <a:gd name="connsiteX142" fmla="*/ 984961 w 1189600"/>
                  <a:gd name="connsiteY142" fmla="*/ 1007620 h 1260409"/>
                  <a:gd name="connsiteX143" fmla="*/ 997707 w 1189600"/>
                  <a:gd name="connsiteY143" fmla="*/ 1054354 h 1260409"/>
                  <a:gd name="connsiteX144" fmla="*/ 901406 w 1189600"/>
                  <a:gd name="connsiteY144" fmla="*/ 1057186 h 1260409"/>
                  <a:gd name="connsiteX145" fmla="*/ 809354 w 1189600"/>
                  <a:gd name="connsiteY145" fmla="*/ 878746 h 1260409"/>
                  <a:gd name="connsiteX146" fmla="*/ 683312 w 1189600"/>
                  <a:gd name="connsiteY146" fmla="*/ 789526 h 1260409"/>
                  <a:gd name="connsiteX147" fmla="*/ 684728 w 1189600"/>
                  <a:gd name="connsiteY147" fmla="*/ 768284 h 1260409"/>
                  <a:gd name="connsiteX148" fmla="*/ 809354 w 1189600"/>
                  <a:gd name="connsiteY148" fmla="*/ 878746 h 1260409"/>
                  <a:gd name="connsiteX149" fmla="*/ 984961 w 1189600"/>
                  <a:gd name="connsiteY149" fmla="*/ 1004787 h 1260409"/>
                  <a:gd name="connsiteX150" fmla="*/ 958054 w 1189600"/>
                  <a:gd name="connsiteY150" fmla="*/ 912735 h 1260409"/>
                  <a:gd name="connsiteX151" fmla="*/ 1081262 w 1189600"/>
                  <a:gd name="connsiteY151" fmla="*/ 946723 h 1260409"/>
                  <a:gd name="connsiteX152" fmla="*/ 1081262 w 1189600"/>
                  <a:gd name="connsiteY152" fmla="*/ 946723 h 1260409"/>
                  <a:gd name="connsiteX153" fmla="*/ 1120916 w 1189600"/>
                  <a:gd name="connsiteY153" fmla="*/ 705971 h 1260409"/>
                  <a:gd name="connsiteX154" fmla="*/ 1139326 w 1189600"/>
                  <a:gd name="connsiteY154" fmla="*/ 840509 h 1260409"/>
                  <a:gd name="connsiteX155" fmla="*/ 1079846 w 1189600"/>
                  <a:gd name="connsiteY155" fmla="*/ 948140 h 1260409"/>
                  <a:gd name="connsiteX156" fmla="*/ 984961 w 1189600"/>
                  <a:gd name="connsiteY156" fmla="*/ 1004787 h 1260409"/>
                  <a:gd name="connsiteX157" fmla="*/ 123917 w 1189600"/>
                  <a:gd name="connsiteY157" fmla="*/ 861752 h 1260409"/>
                  <a:gd name="connsiteX158" fmla="*/ 105506 w 1189600"/>
                  <a:gd name="connsiteY158" fmla="*/ 800856 h 1260409"/>
                  <a:gd name="connsiteX159" fmla="*/ 220218 w 1189600"/>
                  <a:gd name="connsiteY159" fmla="*/ 645075 h 1260409"/>
                  <a:gd name="connsiteX160" fmla="*/ 244293 w 1189600"/>
                  <a:gd name="connsiteY160" fmla="*/ 660653 h 1260409"/>
                  <a:gd name="connsiteX161" fmla="*/ 275449 w 1189600"/>
                  <a:gd name="connsiteY161" fmla="*/ 766867 h 1260409"/>
                  <a:gd name="connsiteX162" fmla="*/ 174899 w 1189600"/>
                  <a:gd name="connsiteY162" fmla="*/ 737127 h 1260409"/>
                  <a:gd name="connsiteX163" fmla="*/ 173483 w 1189600"/>
                  <a:gd name="connsiteY163" fmla="*/ 737127 h 1260409"/>
                  <a:gd name="connsiteX164" fmla="*/ 255622 w 1189600"/>
                  <a:gd name="connsiteY164" fmla="*/ 799439 h 1260409"/>
                  <a:gd name="connsiteX165" fmla="*/ 123917 w 1189600"/>
                  <a:gd name="connsiteY165" fmla="*/ 861752 h 1260409"/>
                  <a:gd name="connsiteX166" fmla="*/ 210304 w 1189600"/>
                  <a:gd name="connsiteY166" fmla="*/ 536028 h 1260409"/>
                  <a:gd name="connsiteX167" fmla="*/ 176316 w 1189600"/>
                  <a:gd name="connsiteY167" fmla="*/ 615335 h 1260409"/>
                  <a:gd name="connsiteX168" fmla="*/ 115420 w 1189600"/>
                  <a:gd name="connsiteY168" fmla="*/ 578514 h 1260409"/>
                  <a:gd name="connsiteX169" fmla="*/ 169235 w 1189600"/>
                  <a:gd name="connsiteY169" fmla="*/ 536028 h 1260409"/>
                  <a:gd name="connsiteX170" fmla="*/ 210304 w 1189600"/>
                  <a:gd name="connsiteY170" fmla="*/ 536028 h 1260409"/>
                  <a:gd name="connsiteX171" fmla="*/ 82847 w 1189600"/>
                  <a:gd name="connsiteY171" fmla="*/ 558687 h 1260409"/>
                  <a:gd name="connsiteX172" fmla="*/ 92760 w 1189600"/>
                  <a:gd name="connsiteY172" fmla="*/ 537444 h 1260409"/>
                  <a:gd name="connsiteX173" fmla="*/ 166402 w 1189600"/>
                  <a:gd name="connsiteY173" fmla="*/ 536028 h 1260409"/>
                  <a:gd name="connsiteX174" fmla="*/ 114003 w 1189600"/>
                  <a:gd name="connsiteY174" fmla="*/ 577098 h 1260409"/>
                  <a:gd name="connsiteX175" fmla="*/ 82847 w 1189600"/>
                  <a:gd name="connsiteY175" fmla="*/ 558687 h 1260409"/>
                  <a:gd name="connsiteX176" fmla="*/ 57356 w 1189600"/>
                  <a:gd name="connsiteY176" fmla="*/ 538860 h 1260409"/>
                  <a:gd name="connsiteX177" fmla="*/ 91345 w 1189600"/>
                  <a:gd name="connsiteY177" fmla="*/ 538860 h 1260409"/>
                  <a:gd name="connsiteX178" fmla="*/ 81431 w 1189600"/>
                  <a:gd name="connsiteY178" fmla="*/ 558687 h 1260409"/>
                  <a:gd name="connsiteX179" fmla="*/ 51691 w 1189600"/>
                  <a:gd name="connsiteY179" fmla="*/ 540277 h 1260409"/>
                  <a:gd name="connsiteX180" fmla="*/ 57356 w 1189600"/>
                  <a:gd name="connsiteY180" fmla="*/ 538860 h 1260409"/>
                  <a:gd name="connsiteX181" fmla="*/ 91345 w 1189600"/>
                  <a:gd name="connsiteY181" fmla="*/ 536028 h 1260409"/>
                  <a:gd name="connsiteX182" fmla="*/ 64437 w 1189600"/>
                  <a:gd name="connsiteY182" fmla="*/ 536028 h 1260409"/>
                  <a:gd name="connsiteX183" fmla="*/ 94177 w 1189600"/>
                  <a:gd name="connsiteY183" fmla="*/ 527531 h 1260409"/>
                  <a:gd name="connsiteX184" fmla="*/ 91345 w 1189600"/>
                  <a:gd name="connsiteY184" fmla="*/ 536028 h 1260409"/>
                  <a:gd name="connsiteX185" fmla="*/ 94177 w 1189600"/>
                  <a:gd name="connsiteY185" fmla="*/ 371750 h 1260409"/>
                  <a:gd name="connsiteX186" fmla="*/ 94177 w 1189600"/>
                  <a:gd name="connsiteY186" fmla="*/ 371750 h 1260409"/>
                  <a:gd name="connsiteX187" fmla="*/ 94177 w 1189600"/>
                  <a:gd name="connsiteY187" fmla="*/ 371750 h 1260409"/>
                  <a:gd name="connsiteX188" fmla="*/ 94177 w 1189600"/>
                  <a:gd name="connsiteY188" fmla="*/ 371750 h 1260409"/>
                  <a:gd name="connsiteX189" fmla="*/ 601173 w 1189600"/>
                  <a:gd name="connsiteY189" fmla="*/ 166402 h 1260409"/>
                  <a:gd name="connsiteX190" fmla="*/ 602589 w 1189600"/>
                  <a:gd name="connsiteY190" fmla="*/ 155073 h 1260409"/>
                  <a:gd name="connsiteX191" fmla="*/ 656404 w 1189600"/>
                  <a:gd name="connsiteY191" fmla="*/ 163570 h 1260409"/>
                  <a:gd name="connsiteX192" fmla="*/ 601173 w 1189600"/>
                  <a:gd name="connsiteY192" fmla="*/ 166402 h 1260409"/>
                  <a:gd name="connsiteX193" fmla="*/ 602589 w 1189600"/>
                  <a:gd name="connsiteY193" fmla="*/ 153656 h 1260409"/>
                  <a:gd name="connsiteX194" fmla="*/ 612503 w 1189600"/>
                  <a:gd name="connsiteY194" fmla="*/ 47442 h 1260409"/>
                  <a:gd name="connsiteX195" fmla="*/ 720133 w 1189600"/>
                  <a:gd name="connsiteY195" fmla="*/ 160737 h 1260409"/>
                  <a:gd name="connsiteX196" fmla="*/ 666318 w 1189600"/>
                  <a:gd name="connsiteY196" fmla="*/ 163570 h 1260409"/>
                  <a:gd name="connsiteX197" fmla="*/ 602589 w 1189600"/>
                  <a:gd name="connsiteY197" fmla="*/ 153656 h 1260409"/>
                  <a:gd name="connsiteX198" fmla="*/ 781030 w 1189600"/>
                  <a:gd name="connsiteY198" fmla="*/ 385912 h 1260409"/>
                  <a:gd name="connsiteX199" fmla="*/ 857504 w 1189600"/>
                  <a:gd name="connsiteY199" fmla="*/ 272617 h 1260409"/>
                  <a:gd name="connsiteX200" fmla="*/ 955221 w 1189600"/>
                  <a:gd name="connsiteY200" fmla="*/ 370334 h 1260409"/>
                  <a:gd name="connsiteX201" fmla="*/ 949556 w 1189600"/>
                  <a:gd name="connsiteY201" fmla="*/ 373166 h 1260409"/>
                  <a:gd name="connsiteX202" fmla="*/ 781030 w 1189600"/>
                  <a:gd name="connsiteY202" fmla="*/ 385912 h 1260409"/>
                  <a:gd name="connsiteX203" fmla="*/ 841926 w 1189600"/>
                  <a:gd name="connsiteY203" fmla="*/ 509120 h 1260409"/>
                  <a:gd name="connsiteX204" fmla="*/ 783862 w 1189600"/>
                  <a:gd name="connsiteY204" fmla="*/ 500623 h 1260409"/>
                  <a:gd name="connsiteX205" fmla="*/ 772532 w 1189600"/>
                  <a:gd name="connsiteY205" fmla="*/ 397241 h 1260409"/>
                  <a:gd name="connsiteX206" fmla="*/ 772532 w 1189600"/>
                  <a:gd name="connsiteY206" fmla="*/ 397241 h 1260409"/>
                  <a:gd name="connsiteX207" fmla="*/ 779613 w 1189600"/>
                  <a:gd name="connsiteY207" fmla="*/ 387328 h 1260409"/>
                  <a:gd name="connsiteX208" fmla="*/ 942475 w 1189600"/>
                  <a:gd name="connsiteY208" fmla="*/ 374582 h 1260409"/>
                  <a:gd name="connsiteX209" fmla="*/ 819266 w 1189600"/>
                  <a:gd name="connsiteY209" fmla="*/ 428398 h 1260409"/>
                  <a:gd name="connsiteX210" fmla="*/ 819266 w 1189600"/>
                  <a:gd name="connsiteY210" fmla="*/ 428398 h 1260409"/>
                  <a:gd name="connsiteX211" fmla="*/ 841926 w 1189600"/>
                  <a:gd name="connsiteY211" fmla="*/ 509120 h 1260409"/>
                  <a:gd name="connsiteX212" fmla="*/ 1119499 w 1189600"/>
                  <a:gd name="connsiteY212" fmla="*/ 676231 h 1260409"/>
                  <a:gd name="connsiteX213" fmla="*/ 1122332 w 1189600"/>
                  <a:gd name="connsiteY213" fmla="*/ 698890 h 1260409"/>
                  <a:gd name="connsiteX214" fmla="*/ 1081262 w 1189600"/>
                  <a:gd name="connsiteY214" fmla="*/ 943891 h 1260409"/>
                  <a:gd name="connsiteX215" fmla="*/ 958054 w 1189600"/>
                  <a:gd name="connsiteY215" fmla="*/ 909903 h 1260409"/>
                  <a:gd name="connsiteX216" fmla="*/ 949556 w 1189600"/>
                  <a:gd name="connsiteY216" fmla="*/ 881579 h 1260409"/>
                  <a:gd name="connsiteX217" fmla="*/ 1017533 w 1189600"/>
                  <a:gd name="connsiteY217" fmla="*/ 809353 h 1260409"/>
                  <a:gd name="connsiteX218" fmla="*/ 1017533 w 1189600"/>
                  <a:gd name="connsiteY218" fmla="*/ 809353 h 1260409"/>
                  <a:gd name="connsiteX219" fmla="*/ 1017533 w 1189600"/>
                  <a:gd name="connsiteY219" fmla="*/ 809353 h 1260409"/>
                  <a:gd name="connsiteX220" fmla="*/ 1077013 w 1189600"/>
                  <a:gd name="connsiteY220" fmla="*/ 858920 h 1260409"/>
                  <a:gd name="connsiteX221" fmla="*/ 1077013 w 1189600"/>
                  <a:gd name="connsiteY221" fmla="*/ 858920 h 1260409"/>
                  <a:gd name="connsiteX222" fmla="*/ 1109586 w 1189600"/>
                  <a:gd name="connsiteY222" fmla="*/ 553022 h 1260409"/>
                  <a:gd name="connsiteX223" fmla="*/ 1135078 w 1189600"/>
                  <a:gd name="connsiteY223" fmla="*/ 557271 h 1260409"/>
                  <a:gd name="connsiteX224" fmla="*/ 1144990 w 1189600"/>
                  <a:gd name="connsiteY224" fmla="*/ 560103 h 1260409"/>
                  <a:gd name="connsiteX225" fmla="*/ 1123748 w 1189600"/>
                  <a:gd name="connsiteY225" fmla="*/ 684728 h 1260409"/>
                  <a:gd name="connsiteX226" fmla="*/ 1119499 w 1189600"/>
                  <a:gd name="connsiteY226" fmla="*/ 676231 h 1260409"/>
                  <a:gd name="connsiteX227" fmla="*/ 1119499 w 1189600"/>
                  <a:gd name="connsiteY227" fmla="*/ 676231 h 1260409"/>
                  <a:gd name="connsiteX228" fmla="*/ 833428 w 1189600"/>
                  <a:gd name="connsiteY228" fmla="*/ 659237 h 1260409"/>
                  <a:gd name="connsiteX229" fmla="*/ 833428 w 1189600"/>
                  <a:gd name="connsiteY229" fmla="*/ 659237 h 1260409"/>
                  <a:gd name="connsiteX230" fmla="*/ 802273 w 1189600"/>
                  <a:gd name="connsiteY230" fmla="*/ 660653 h 1260409"/>
                  <a:gd name="connsiteX231" fmla="*/ 798024 w 1189600"/>
                  <a:gd name="connsiteY231" fmla="*/ 628080 h 1260409"/>
                  <a:gd name="connsiteX232" fmla="*/ 898574 w 1189600"/>
                  <a:gd name="connsiteY232" fmla="*/ 710220 h 1260409"/>
                  <a:gd name="connsiteX233" fmla="*/ 946724 w 1189600"/>
                  <a:gd name="connsiteY233" fmla="*/ 880163 h 1260409"/>
                  <a:gd name="connsiteX234" fmla="*/ 946724 w 1189600"/>
                  <a:gd name="connsiteY234" fmla="*/ 881579 h 1260409"/>
                  <a:gd name="connsiteX235" fmla="*/ 874498 w 1189600"/>
                  <a:gd name="connsiteY235" fmla="*/ 887243 h 1260409"/>
                  <a:gd name="connsiteX236" fmla="*/ 834845 w 1189600"/>
                  <a:gd name="connsiteY236" fmla="*/ 875914 h 1260409"/>
                  <a:gd name="connsiteX237" fmla="*/ 905655 w 1189600"/>
                  <a:gd name="connsiteY237" fmla="*/ 761203 h 1260409"/>
                  <a:gd name="connsiteX238" fmla="*/ 905655 w 1189600"/>
                  <a:gd name="connsiteY238" fmla="*/ 761203 h 1260409"/>
                  <a:gd name="connsiteX239" fmla="*/ 833428 w 1189600"/>
                  <a:gd name="connsiteY239" fmla="*/ 659237 h 1260409"/>
                  <a:gd name="connsiteX240" fmla="*/ 75766 w 1189600"/>
                  <a:gd name="connsiteY240" fmla="*/ 441143 h 1260409"/>
                  <a:gd name="connsiteX241" fmla="*/ 138079 w 1189600"/>
                  <a:gd name="connsiteY241" fmla="*/ 408571 h 1260409"/>
                  <a:gd name="connsiteX242" fmla="*/ 143744 w 1189600"/>
                  <a:gd name="connsiteY242" fmla="*/ 409987 h 1260409"/>
                  <a:gd name="connsiteX243" fmla="*/ 147992 w 1189600"/>
                  <a:gd name="connsiteY243" fmla="*/ 412820 h 1260409"/>
                  <a:gd name="connsiteX244" fmla="*/ 136663 w 1189600"/>
                  <a:gd name="connsiteY244" fmla="*/ 436895 h 1260409"/>
                  <a:gd name="connsiteX245" fmla="*/ 129582 w 1189600"/>
                  <a:gd name="connsiteY245" fmla="*/ 438311 h 1260409"/>
                  <a:gd name="connsiteX246" fmla="*/ 75766 w 1189600"/>
                  <a:gd name="connsiteY246" fmla="*/ 442560 h 1260409"/>
                  <a:gd name="connsiteX247" fmla="*/ 75766 w 1189600"/>
                  <a:gd name="connsiteY247" fmla="*/ 441143 h 1260409"/>
                  <a:gd name="connsiteX248" fmla="*/ 459554 w 1189600"/>
                  <a:gd name="connsiteY248" fmla="*/ 198975 h 1260409"/>
                  <a:gd name="connsiteX249" fmla="*/ 459554 w 1189600"/>
                  <a:gd name="connsiteY249" fmla="*/ 198975 h 1260409"/>
                  <a:gd name="connsiteX250" fmla="*/ 514785 w 1189600"/>
                  <a:gd name="connsiteY250" fmla="*/ 140911 h 1260409"/>
                  <a:gd name="connsiteX251" fmla="*/ 582763 w 1189600"/>
                  <a:gd name="connsiteY251" fmla="*/ 150824 h 1260409"/>
                  <a:gd name="connsiteX252" fmla="*/ 579931 w 1189600"/>
                  <a:gd name="connsiteY252" fmla="*/ 166402 h 1260409"/>
                  <a:gd name="connsiteX253" fmla="*/ 526115 w 1189600"/>
                  <a:gd name="connsiteY253" fmla="*/ 169235 h 1260409"/>
                  <a:gd name="connsiteX254" fmla="*/ 460970 w 1189600"/>
                  <a:gd name="connsiteY254" fmla="*/ 200391 h 1260409"/>
                  <a:gd name="connsiteX255" fmla="*/ 443976 w 1189600"/>
                  <a:gd name="connsiteY255" fmla="*/ 215969 h 1260409"/>
                  <a:gd name="connsiteX256" fmla="*/ 323599 w 1189600"/>
                  <a:gd name="connsiteY256" fmla="*/ 218801 h 1260409"/>
                  <a:gd name="connsiteX257" fmla="*/ 395826 w 1189600"/>
                  <a:gd name="connsiteY257" fmla="*/ 128165 h 1260409"/>
                  <a:gd name="connsiteX258" fmla="*/ 402907 w 1189600"/>
                  <a:gd name="connsiteY258" fmla="*/ 123917 h 1260409"/>
                  <a:gd name="connsiteX259" fmla="*/ 459554 w 1189600"/>
                  <a:gd name="connsiteY259" fmla="*/ 198975 h 1260409"/>
                  <a:gd name="connsiteX260" fmla="*/ 558688 w 1189600"/>
                  <a:gd name="connsiteY260" fmla="*/ 669150 h 1260409"/>
                  <a:gd name="connsiteX261" fmla="*/ 558688 w 1189600"/>
                  <a:gd name="connsiteY261" fmla="*/ 700306 h 1260409"/>
                  <a:gd name="connsiteX262" fmla="*/ 544526 w 1189600"/>
                  <a:gd name="connsiteY262" fmla="*/ 690393 h 1260409"/>
                  <a:gd name="connsiteX263" fmla="*/ 502040 w 1189600"/>
                  <a:gd name="connsiteY263" fmla="*/ 604005 h 1260409"/>
                  <a:gd name="connsiteX264" fmla="*/ 574265 w 1189600"/>
                  <a:gd name="connsiteY264" fmla="*/ 667734 h 1260409"/>
                  <a:gd name="connsiteX265" fmla="*/ 558688 w 1189600"/>
                  <a:gd name="connsiteY265" fmla="*/ 669150 h 1260409"/>
                  <a:gd name="connsiteX266" fmla="*/ 558688 w 1189600"/>
                  <a:gd name="connsiteY266" fmla="*/ 669150 h 1260409"/>
                  <a:gd name="connsiteX267" fmla="*/ 230131 w 1189600"/>
                  <a:gd name="connsiteY267" fmla="*/ 492126 h 1260409"/>
                  <a:gd name="connsiteX268" fmla="*/ 211721 w 1189600"/>
                  <a:gd name="connsiteY268" fmla="*/ 534612 h 1260409"/>
                  <a:gd name="connsiteX269" fmla="*/ 173483 w 1189600"/>
                  <a:gd name="connsiteY269" fmla="*/ 534612 h 1260409"/>
                  <a:gd name="connsiteX270" fmla="*/ 228715 w 1189600"/>
                  <a:gd name="connsiteY270" fmla="*/ 492126 h 1260409"/>
                  <a:gd name="connsiteX271" fmla="*/ 230131 w 1189600"/>
                  <a:gd name="connsiteY271" fmla="*/ 492126 h 1260409"/>
                  <a:gd name="connsiteX272" fmla="*/ 169235 w 1189600"/>
                  <a:gd name="connsiteY272" fmla="*/ 426981 h 1260409"/>
                  <a:gd name="connsiteX273" fmla="*/ 139495 w 1189600"/>
                  <a:gd name="connsiteY273" fmla="*/ 435479 h 1260409"/>
                  <a:gd name="connsiteX274" fmla="*/ 149408 w 1189600"/>
                  <a:gd name="connsiteY274" fmla="*/ 412820 h 1260409"/>
                  <a:gd name="connsiteX275" fmla="*/ 169235 w 1189600"/>
                  <a:gd name="connsiteY275" fmla="*/ 426981 h 1260409"/>
                  <a:gd name="connsiteX276" fmla="*/ 150825 w 1189600"/>
                  <a:gd name="connsiteY276" fmla="*/ 409987 h 1260409"/>
                  <a:gd name="connsiteX277" fmla="*/ 150825 w 1189600"/>
                  <a:gd name="connsiteY277" fmla="*/ 409987 h 1260409"/>
                  <a:gd name="connsiteX278" fmla="*/ 147992 w 1189600"/>
                  <a:gd name="connsiteY278" fmla="*/ 409987 h 1260409"/>
                  <a:gd name="connsiteX279" fmla="*/ 150825 w 1189600"/>
                  <a:gd name="connsiteY279" fmla="*/ 409987 h 1260409"/>
                  <a:gd name="connsiteX280" fmla="*/ 697474 w 1189600"/>
                  <a:gd name="connsiteY280" fmla="*/ 544525 h 1260409"/>
                  <a:gd name="connsiteX281" fmla="*/ 693226 w 1189600"/>
                  <a:gd name="connsiteY281" fmla="*/ 612503 h 1260409"/>
                  <a:gd name="connsiteX282" fmla="*/ 633746 w 1189600"/>
                  <a:gd name="connsiteY282" fmla="*/ 608254 h 1260409"/>
                  <a:gd name="connsiteX283" fmla="*/ 683312 w 1189600"/>
                  <a:gd name="connsiteY283" fmla="*/ 531780 h 1260409"/>
                  <a:gd name="connsiteX284" fmla="*/ 697474 w 1189600"/>
                  <a:gd name="connsiteY284" fmla="*/ 544525 h 1260409"/>
                  <a:gd name="connsiteX285" fmla="*/ 402907 w 1189600"/>
                  <a:gd name="connsiteY285" fmla="*/ 751289 h 1260409"/>
                  <a:gd name="connsiteX286" fmla="*/ 247126 w 1189600"/>
                  <a:gd name="connsiteY286" fmla="*/ 657820 h 1260409"/>
                  <a:gd name="connsiteX287" fmla="*/ 237212 w 1189600"/>
                  <a:gd name="connsiteY287" fmla="*/ 625248 h 1260409"/>
                  <a:gd name="connsiteX288" fmla="*/ 237212 w 1189600"/>
                  <a:gd name="connsiteY288" fmla="*/ 625248 h 1260409"/>
                  <a:gd name="connsiteX289" fmla="*/ 237212 w 1189600"/>
                  <a:gd name="connsiteY289" fmla="*/ 625248 h 1260409"/>
                  <a:gd name="connsiteX290" fmla="*/ 235796 w 1189600"/>
                  <a:gd name="connsiteY290" fmla="*/ 536028 h 1260409"/>
                  <a:gd name="connsiteX291" fmla="*/ 320768 w 1189600"/>
                  <a:gd name="connsiteY291" fmla="*/ 534612 h 1260409"/>
                  <a:gd name="connsiteX292" fmla="*/ 367502 w 1189600"/>
                  <a:gd name="connsiteY292" fmla="*/ 567184 h 1260409"/>
                  <a:gd name="connsiteX293" fmla="*/ 323599 w 1189600"/>
                  <a:gd name="connsiteY293" fmla="*/ 639410 h 1260409"/>
                  <a:gd name="connsiteX294" fmla="*/ 323599 w 1189600"/>
                  <a:gd name="connsiteY294" fmla="*/ 639410 h 1260409"/>
                  <a:gd name="connsiteX295" fmla="*/ 411403 w 1189600"/>
                  <a:gd name="connsiteY295" fmla="*/ 718717 h 1260409"/>
                  <a:gd name="connsiteX296" fmla="*/ 402907 w 1189600"/>
                  <a:gd name="connsiteY296" fmla="*/ 751289 h 1260409"/>
                  <a:gd name="connsiteX297" fmla="*/ 402907 w 1189600"/>
                  <a:gd name="connsiteY297" fmla="*/ 751289 h 1260409"/>
                  <a:gd name="connsiteX298" fmla="*/ 228715 w 1189600"/>
                  <a:gd name="connsiteY298" fmla="*/ 629497 h 1260409"/>
                  <a:gd name="connsiteX299" fmla="*/ 220218 w 1189600"/>
                  <a:gd name="connsiteY299" fmla="*/ 640826 h 1260409"/>
                  <a:gd name="connsiteX300" fmla="*/ 213137 w 1189600"/>
                  <a:gd name="connsiteY300" fmla="*/ 636578 h 1260409"/>
                  <a:gd name="connsiteX301" fmla="*/ 228715 w 1189600"/>
                  <a:gd name="connsiteY301" fmla="*/ 629497 h 1260409"/>
                  <a:gd name="connsiteX302" fmla="*/ 153656 w 1189600"/>
                  <a:gd name="connsiteY302" fmla="*/ 400074 h 1260409"/>
                  <a:gd name="connsiteX303" fmla="*/ 150825 w 1189600"/>
                  <a:gd name="connsiteY303" fmla="*/ 407155 h 1260409"/>
                  <a:gd name="connsiteX304" fmla="*/ 145160 w 1189600"/>
                  <a:gd name="connsiteY304" fmla="*/ 405739 h 1260409"/>
                  <a:gd name="connsiteX305" fmla="*/ 143744 w 1189600"/>
                  <a:gd name="connsiteY305" fmla="*/ 404322 h 1260409"/>
                  <a:gd name="connsiteX306" fmla="*/ 153656 w 1189600"/>
                  <a:gd name="connsiteY306" fmla="*/ 400074 h 1260409"/>
                  <a:gd name="connsiteX307" fmla="*/ 152241 w 1189600"/>
                  <a:gd name="connsiteY307" fmla="*/ 409987 h 1260409"/>
                  <a:gd name="connsiteX308" fmla="*/ 203223 w 1189600"/>
                  <a:gd name="connsiteY308" fmla="*/ 417068 h 1260409"/>
                  <a:gd name="connsiteX309" fmla="*/ 172068 w 1189600"/>
                  <a:gd name="connsiteY309" fmla="*/ 425565 h 1260409"/>
                  <a:gd name="connsiteX310" fmla="*/ 152241 w 1189600"/>
                  <a:gd name="connsiteY310" fmla="*/ 409987 h 1260409"/>
                  <a:gd name="connsiteX311" fmla="*/ 152241 w 1189600"/>
                  <a:gd name="connsiteY311" fmla="*/ 409987 h 1260409"/>
                  <a:gd name="connsiteX312" fmla="*/ 771116 w 1189600"/>
                  <a:gd name="connsiteY312" fmla="*/ 391577 h 1260409"/>
                  <a:gd name="connsiteX313" fmla="*/ 771116 w 1189600"/>
                  <a:gd name="connsiteY313" fmla="*/ 391577 h 1260409"/>
                  <a:gd name="connsiteX314" fmla="*/ 771116 w 1189600"/>
                  <a:gd name="connsiteY314" fmla="*/ 391577 h 1260409"/>
                  <a:gd name="connsiteX315" fmla="*/ 768284 w 1189600"/>
                  <a:gd name="connsiteY315" fmla="*/ 388744 h 1260409"/>
                  <a:gd name="connsiteX316" fmla="*/ 776781 w 1189600"/>
                  <a:gd name="connsiteY316" fmla="*/ 388744 h 1260409"/>
                  <a:gd name="connsiteX317" fmla="*/ 772532 w 1189600"/>
                  <a:gd name="connsiteY317" fmla="*/ 395825 h 1260409"/>
                  <a:gd name="connsiteX318" fmla="*/ 772532 w 1189600"/>
                  <a:gd name="connsiteY318" fmla="*/ 394409 h 1260409"/>
                  <a:gd name="connsiteX319" fmla="*/ 771116 w 1189600"/>
                  <a:gd name="connsiteY319" fmla="*/ 391577 h 1260409"/>
                  <a:gd name="connsiteX320" fmla="*/ 710220 w 1189600"/>
                  <a:gd name="connsiteY320" fmla="*/ 490710 h 1260409"/>
                  <a:gd name="connsiteX321" fmla="*/ 771116 w 1189600"/>
                  <a:gd name="connsiteY321" fmla="*/ 397241 h 1260409"/>
                  <a:gd name="connsiteX322" fmla="*/ 783862 w 1189600"/>
                  <a:gd name="connsiteY322" fmla="*/ 500623 h 1260409"/>
                  <a:gd name="connsiteX323" fmla="*/ 710220 w 1189600"/>
                  <a:gd name="connsiteY323" fmla="*/ 490710 h 1260409"/>
                  <a:gd name="connsiteX324" fmla="*/ 739960 w 1189600"/>
                  <a:gd name="connsiteY324" fmla="*/ 528947 h 1260409"/>
                  <a:gd name="connsiteX325" fmla="*/ 785278 w 1189600"/>
                  <a:gd name="connsiteY325" fmla="*/ 528947 h 1260409"/>
                  <a:gd name="connsiteX326" fmla="*/ 789527 w 1189600"/>
                  <a:gd name="connsiteY326" fmla="*/ 564352 h 1260409"/>
                  <a:gd name="connsiteX327" fmla="*/ 739960 w 1189600"/>
                  <a:gd name="connsiteY327" fmla="*/ 528947 h 1260409"/>
                  <a:gd name="connsiteX328" fmla="*/ 698890 w 1189600"/>
                  <a:gd name="connsiteY328" fmla="*/ 528947 h 1260409"/>
                  <a:gd name="connsiteX329" fmla="*/ 697474 w 1189600"/>
                  <a:gd name="connsiteY329" fmla="*/ 541693 h 1260409"/>
                  <a:gd name="connsiteX330" fmla="*/ 683312 w 1189600"/>
                  <a:gd name="connsiteY330" fmla="*/ 530363 h 1260409"/>
                  <a:gd name="connsiteX331" fmla="*/ 683312 w 1189600"/>
                  <a:gd name="connsiteY331" fmla="*/ 528947 h 1260409"/>
                  <a:gd name="connsiteX332" fmla="*/ 698890 w 1189600"/>
                  <a:gd name="connsiteY332" fmla="*/ 528947 h 1260409"/>
                  <a:gd name="connsiteX333" fmla="*/ 686145 w 1189600"/>
                  <a:gd name="connsiteY333" fmla="*/ 527531 h 1260409"/>
                  <a:gd name="connsiteX334" fmla="*/ 700307 w 1189600"/>
                  <a:gd name="connsiteY334" fmla="*/ 504872 h 1260409"/>
                  <a:gd name="connsiteX335" fmla="*/ 698890 w 1189600"/>
                  <a:gd name="connsiteY335" fmla="*/ 527531 h 1260409"/>
                  <a:gd name="connsiteX336" fmla="*/ 686145 w 1189600"/>
                  <a:gd name="connsiteY336" fmla="*/ 527531 h 1260409"/>
                  <a:gd name="connsiteX337" fmla="*/ 646492 w 1189600"/>
                  <a:gd name="connsiteY337" fmla="*/ 275449 h 1260409"/>
                  <a:gd name="connsiteX338" fmla="*/ 667735 w 1189600"/>
                  <a:gd name="connsiteY338" fmla="*/ 245709 h 1260409"/>
                  <a:gd name="connsiteX339" fmla="*/ 683312 w 1189600"/>
                  <a:gd name="connsiteY339" fmla="*/ 266952 h 1260409"/>
                  <a:gd name="connsiteX340" fmla="*/ 646492 w 1189600"/>
                  <a:gd name="connsiteY340" fmla="*/ 275449 h 1260409"/>
                  <a:gd name="connsiteX341" fmla="*/ 732879 w 1189600"/>
                  <a:gd name="connsiteY341" fmla="*/ 526115 h 1260409"/>
                  <a:gd name="connsiteX342" fmla="*/ 700307 w 1189600"/>
                  <a:gd name="connsiteY342" fmla="*/ 526115 h 1260409"/>
                  <a:gd name="connsiteX343" fmla="*/ 701723 w 1189600"/>
                  <a:gd name="connsiteY343" fmla="*/ 504872 h 1260409"/>
                  <a:gd name="connsiteX344" fmla="*/ 732879 w 1189600"/>
                  <a:gd name="connsiteY344" fmla="*/ 526115 h 1260409"/>
                  <a:gd name="connsiteX345" fmla="*/ 705971 w 1189600"/>
                  <a:gd name="connsiteY345" fmla="*/ 492126 h 1260409"/>
                  <a:gd name="connsiteX346" fmla="*/ 683312 w 1189600"/>
                  <a:gd name="connsiteY346" fmla="*/ 527531 h 1260409"/>
                  <a:gd name="connsiteX347" fmla="*/ 680480 w 1189600"/>
                  <a:gd name="connsiteY347" fmla="*/ 527531 h 1260409"/>
                  <a:gd name="connsiteX348" fmla="*/ 622416 w 1189600"/>
                  <a:gd name="connsiteY348" fmla="*/ 479380 h 1260409"/>
                  <a:gd name="connsiteX349" fmla="*/ 705971 w 1189600"/>
                  <a:gd name="connsiteY349" fmla="*/ 492126 h 1260409"/>
                  <a:gd name="connsiteX350" fmla="*/ 588427 w 1189600"/>
                  <a:gd name="connsiteY350" fmla="*/ 313686 h 1260409"/>
                  <a:gd name="connsiteX351" fmla="*/ 623832 w 1189600"/>
                  <a:gd name="connsiteY351" fmla="*/ 303773 h 1260409"/>
                  <a:gd name="connsiteX352" fmla="*/ 584179 w 1189600"/>
                  <a:gd name="connsiteY352" fmla="*/ 357588 h 1260409"/>
                  <a:gd name="connsiteX353" fmla="*/ 588427 w 1189600"/>
                  <a:gd name="connsiteY353" fmla="*/ 313686 h 1260409"/>
                  <a:gd name="connsiteX354" fmla="*/ 625249 w 1189600"/>
                  <a:gd name="connsiteY354" fmla="*/ 300941 h 1260409"/>
                  <a:gd name="connsiteX355" fmla="*/ 588427 w 1189600"/>
                  <a:gd name="connsiteY355" fmla="*/ 310854 h 1260409"/>
                  <a:gd name="connsiteX356" fmla="*/ 589844 w 1189600"/>
                  <a:gd name="connsiteY356" fmla="*/ 289611 h 1260409"/>
                  <a:gd name="connsiteX357" fmla="*/ 640827 w 1189600"/>
                  <a:gd name="connsiteY357" fmla="*/ 278281 h 1260409"/>
                  <a:gd name="connsiteX358" fmla="*/ 625249 w 1189600"/>
                  <a:gd name="connsiteY358" fmla="*/ 300941 h 1260409"/>
                  <a:gd name="connsiteX359" fmla="*/ 547358 w 1189600"/>
                  <a:gd name="connsiteY359" fmla="*/ 322183 h 1260409"/>
                  <a:gd name="connsiteX360" fmla="*/ 553023 w 1189600"/>
                  <a:gd name="connsiteY360" fmla="*/ 296692 h 1260409"/>
                  <a:gd name="connsiteX361" fmla="*/ 588427 w 1189600"/>
                  <a:gd name="connsiteY361" fmla="*/ 289611 h 1260409"/>
                  <a:gd name="connsiteX362" fmla="*/ 587012 w 1189600"/>
                  <a:gd name="connsiteY362" fmla="*/ 310854 h 1260409"/>
                  <a:gd name="connsiteX363" fmla="*/ 547358 w 1189600"/>
                  <a:gd name="connsiteY363" fmla="*/ 322183 h 1260409"/>
                  <a:gd name="connsiteX364" fmla="*/ 339178 w 1189600"/>
                  <a:gd name="connsiteY364" fmla="*/ 421317 h 1260409"/>
                  <a:gd name="connsiteX365" fmla="*/ 334930 w 1189600"/>
                  <a:gd name="connsiteY365" fmla="*/ 412820 h 1260409"/>
                  <a:gd name="connsiteX366" fmla="*/ 349092 w 1189600"/>
                  <a:gd name="connsiteY366" fmla="*/ 421317 h 1260409"/>
                  <a:gd name="connsiteX367" fmla="*/ 339178 w 1189600"/>
                  <a:gd name="connsiteY367" fmla="*/ 421317 h 1260409"/>
                  <a:gd name="connsiteX368" fmla="*/ 340594 w 1189600"/>
                  <a:gd name="connsiteY368" fmla="*/ 424149 h 1260409"/>
                  <a:gd name="connsiteX369" fmla="*/ 353340 w 1189600"/>
                  <a:gd name="connsiteY369" fmla="*/ 422733 h 1260409"/>
                  <a:gd name="connsiteX370" fmla="*/ 388745 w 1189600"/>
                  <a:gd name="connsiteY370" fmla="*/ 442560 h 1260409"/>
                  <a:gd name="connsiteX371" fmla="*/ 347675 w 1189600"/>
                  <a:gd name="connsiteY371" fmla="*/ 436895 h 1260409"/>
                  <a:gd name="connsiteX372" fmla="*/ 340594 w 1189600"/>
                  <a:gd name="connsiteY372" fmla="*/ 424149 h 1260409"/>
                  <a:gd name="connsiteX373" fmla="*/ 442560 w 1189600"/>
                  <a:gd name="connsiteY373" fmla="*/ 452473 h 1260409"/>
                  <a:gd name="connsiteX374" fmla="*/ 514785 w 1189600"/>
                  <a:gd name="connsiteY374" fmla="*/ 462386 h 1260409"/>
                  <a:gd name="connsiteX375" fmla="*/ 504873 w 1189600"/>
                  <a:gd name="connsiteY375" fmla="*/ 506288 h 1260409"/>
                  <a:gd name="connsiteX376" fmla="*/ 442560 w 1189600"/>
                  <a:gd name="connsiteY376" fmla="*/ 452473 h 1260409"/>
                  <a:gd name="connsiteX377" fmla="*/ 429814 w 1189600"/>
                  <a:gd name="connsiteY377" fmla="*/ 465218 h 1260409"/>
                  <a:gd name="connsiteX378" fmla="*/ 397242 w 1189600"/>
                  <a:gd name="connsiteY378" fmla="*/ 446808 h 1260409"/>
                  <a:gd name="connsiteX379" fmla="*/ 436895 w 1189600"/>
                  <a:gd name="connsiteY379" fmla="*/ 452473 h 1260409"/>
                  <a:gd name="connsiteX380" fmla="*/ 429814 w 1189600"/>
                  <a:gd name="connsiteY380" fmla="*/ 465218 h 1260409"/>
                  <a:gd name="connsiteX381" fmla="*/ 431230 w 1189600"/>
                  <a:gd name="connsiteY381" fmla="*/ 466635 h 1260409"/>
                  <a:gd name="connsiteX382" fmla="*/ 439727 w 1189600"/>
                  <a:gd name="connsiteY382" fmla="*/ 453889 h 1260409"/>
                  <a:gd name="connsiteX383" fmla="*/ 502040 w 1189600"/>
                  <a:gd name="connsiteY383" fmla="*/ 507704 h 1260409"/>
                  <a:gd name="connsiteX384" fmla="*/ 431230 w 1189600"/>
                  <a:gd name="connsiteY384" fmla="*/ 466635 h 1260409"/>
                  <a:gd name="connsiteX385" fmla="*/ 465219 w 1189600"/>
                  <a:gd name="connsiteY385" fmla="*/ 411403 h 1260409"/>
                  <a:gd name="connsiteX386" fmla="*/ 489294 w 1189600"/>
                  <a:gd name="connsiteY386" fmla="*/ 373166 h 1260409"/>
                  <a:gd name="connsiteX387" fmla="*/ 527531 w 1189600"/>
                  <a:gd name="connsiteY387" fmla="*/ 404322 h 1260409"/>
                  <a:gd name="connsiteX388" fmla="*/ 527531 w 1189600"/>
                  <a:gd name="connsiteY388" fmla="*/ 405739 h 1260409"/>
                  <a:gd name="connsiteX389" fmla="*/ 465219 w 1189600"/>
                  <a:gd name="connsiteY389" fmla="*/ 411403 h 1260409"/>
                  <a:gd name="connsiteX390" fmla="*/ 438311 w 1189600"/>
                  <a:gd name="connsiteY390" fmla="*/ 451056 h 1260409"/>
                  <a:gd name="connsiteX391" fmla="*/ 401490 w 1189600"/>
                  <a:gd name="connsiteY391" fmla="*/ 418484 h 1260409"/>
                  <a:gd name="connsiteX392" fmla="*/ 460970 w 1189600"/>
                  <a:gd name="connsiteY392" fmla="*/ 414236 h 1260409"/>
                  <a:gd name="connsiteX393" fmla="*/ 438311 w 1189600"/>
                  <a:gd name="connsiteY393" fmla="*/ 451056 h 1260409"/>
                  <a:gd name="connsiteX394" fmla="*/ 435479 w 1189600"/>
                  <a:gd name="connsiteY394" fmla="*/ 449641 h 1260409"/>
                  <a:gd name="connsiteX395" fmla="*/ 392993 w 1189600"/>
                  <a:gd name="connsiteY395" fmla="*/ 443975 h 1260409"/>
                  <a:gd name="connsiteX396" fmla="*/ 356172 w 1189600"/>
                  <a:gd name="connsiteY396" fmla="*/ 422733 h 1260409"/>
                  <a:gd name="connsiteX397" fmla="*/ 398658 w 1189600"/>
                  <a:gd name="connsiteY397" fmla="*/ 419901 h 1260409"/>
                  <a:gd name="connsiteX398" fmla="*/ 435479 w 1189600"/>
                  <a:gd name="connsiteY398" fmla="*/ 449641 h 1260409"/>
                  <a:gd name="connsiteX399" fmla="*/ 392993 w 1189600"/>
                  <a:gd name="connsiteY399" fmla="*/ 445392 h 1260409"/>
                  <a:gd name="connsiteX400" fmla="*/ 429814 w 1189600"/>
                  <a:gd name="connsiteY400" fmla="*/ 466635 h 1260409"/>
                  <a:gd name="connsiteX401" fmla="*/ 390161 w 1189600"/>
                  <a:gd name="connsiteY401" fmla="*/ 531780 h 1260409"/>
                  <a:gd name="connsiteX402" fmla="*/ 390161 w 1189600"/>
                  <a:gd name="connsiteY402" fmla="*/ 531780 h 1260409"/>
                  <a:gd name="connsiteX403" fmla="*/ 349092 w 1189600"/>
                  <a:gd name="connsiteY403" fmla="*/ 439727 h 1260409"/>
                  <a:gd name="connsiteX404" fmla="*/ 392993 w 1189600"/>
                  <a:gd name="connsiteY404" fmla="*/ 445392 h 1260409"/>
                  <a:gd name="connsiteX405" fmla="*/ 431230 w 1189600"/>
                  <a:gd name="connsiteY405" fmla="*/ 468051 h 1260409"/>
                  <a:gd name="connsiteX406" fmla="*/ 506288 w 1189600"/>
                  <a:gd name="connsiteY406" fmla="*/ 511953 h 1260409"/>
                  <a:gd name="connsiteX407" fmla="*/ 504873 w 1189600"/>
                  <a:gd name="connsiteY407" fmla="*/ 530363 h 1260409"/>
                  <a:gd name="connsiteX408" fmla="*/ 392993 w 1189600"/>
                  <a:gd name="connsiteY408" fmla="*/ 531780 h 1260409"/>
                  <a:gd name="connsiteX409" fmla="*/ 431230 w 1189600"/>
                  <a:gd name="connsiteY409" fmla="*/ 468051 h 1260409"/>
                  <a:gd name="connsiteX410" fmla="*/ 441144 w 1189600"/>
                  <a:gd name="connsiteY410" fmla="*/ 451056 h 1260409"/>
                  <a:gd name="connsiteX411" fmla="*/ 463803 w 1189600"/>
                  <a:gd name="connsiteY411" fmla="*/ 414236 h 1260409"/>
                  <a:gd name="connsiteX412" fmla="*/ 526115 w 1189600"/>
                  <a:gd name="connsiteY412" fmla="*/ 408571 h 1260409"/>
                  <a:gd name="connsiteX413" fmla="*/ 514785 w 1189600"/>
                  <a:gd name="connsiteY413" fmla="*/ 460970 h 1260409"/>
                  <a:gd name="connsiteX414" fmla="*/ 441144 w 1189600"/>
                  <a:gd name="connsiteY414" fmla="*/ 451056 h 1260409"/>
                  <a:gd name="connsiteX415" fmla="*/ 285363 w 1189600"/>
                  <a:gd name="connsiteY415" fmla="*/ 428398 h 1260409"/>
                  <a:gd name="connsiteX416" fmla="*/ 339178 w 1189600"/>
                  <a:gd name="connsiteY416" fmla="*/ 424149 h 1260409"/>
                  <a:gd name="connsiteX417" fmla="*/ 344842 w 1189600"/>
                  <a:gd name="connsiteY417" fmla="*/ 436895 h 1260409"/>
                  <a:gd name="connsiteX418" fmla="*/ 285363 w 1189600"/>
                  <a:gd name="connsiteY418" fmla="*/ 428398 h 1260409"/>
                  <a:gd name="connsiteX419" fmla="*/ 516202 w 1189600"/>
                  <a:gd name="connsiteY419" fmla="*/ 462386 h 1260409"/>
                  <a:gd name="connsiteX420" fmla="*/ 528947 w 1189600"/>
                  <a:gd name="connsiteY420" fmla="*/ 408571 h 1260409"/>
                  <a:gd name="connsiteX421" fmla="*/ 531780 w 1189600"/>
                  <a:gd name="connsiteY421" fmla="*/ 408571 h 1260409"/>
                  <a:gd name="connsiteX422" fmla="*/ 615335 w 1189600"/>
                  <a:gd name="connsiteY422" fmla="*/ 476548 h 1260409"/>
                  <a:gd name="connsiteX423" fmla="*/ 516202 w 1189600"/>
                  <a:gd name="connsiteY423" fmla="*/ 462386 h 1260409"/>
                  <a:gd name="connsiteX424" fmla="*/ 528947 w 1189600"/>
                  <a:gd name="connsiteY424" fmla="*/ 405739 h 1260409"/>
                  <a:gd name="connsiteX425" fmla="*/ 528947 w 1189600"/>
                  <a:gd name="connsiteY425" fmla="*/ 405739 h 1260409"/>
                  <a:gd name="connsiteX426" fmla="*/ 528947 w 1189600"/>
                  <a:gd name="connsiteY426" fmla="*/ 405739 h 1260409"/>
                  <a:gd name="connsiteX427" fmla="*/ 528947 w 1189600"/>
                  <a:gd name="connsiteY427" fmla="*/ 405739 h 1260409"/>
                  <a:gd name="connsiteX428" fmla="*/ 544526 w 1189600"/>
                  <a:gd name="connsiteY428" fmla="*/ 325016 h 1260409"/>
                  <a:gd name="connsiteX429" fmla="*/ 527531 w 1189600"/>
                  <a:gd name="connsiteY429" fmla="*/ 401490 h 1260409"/>
                  <a:gd name="connsiteX430" fmla="*/ 487878 w 1189600"/>
                  <a:gd name="connsiteY430" fmla="*/ 368918 h 1260409"/>
                  <a:gd name="connsiteX431" fmla="*/ 487878 w 1189600"/>
                  <a:gd name="connsiteY431" fmla="*/ 368918 h 1260409"/>
                  <a:gd name="connsiteX432" fmla="*/ 462387 w 1189600"/>
                  <a:gd name="connsiteY432" fmla="*/ 411403 h 1260409"/>
                  <a:gd name="connsiteX433" fmla="*/ 400074 w 1189600"/>
                  <a:gd name="connsiteY433" fmla="*/ 417068 h 1260409"/>
                  <a:gd name="connsiteX434" fmla="*/ 356172 w 1189600"/>
                  <a:gd name="connsiteY434" fmla="*/ 378831 h 1260409"/>
                  <a:gd name="connsiteX435" fmla="*/ 544526 w 1189600"/>
                  <a:gd name="connsiteY435" fmla="*/ 325016 h 1260409"/>
                  <a:gd name="connsiteX436" fmla="*/ 506288 w 1189600"/>
                  <a:gd name="connsiteY436" fmla="*/ 530363 h 1260409"/>
                  <a:gd name="connsiteX437" fmla="*/ 507704 w 1189600"/>
                  <a:gd name="connsiteY437" fmla="*/ 511953 h 1260409"/>
                  <a:gd name="connsiteX438" fmla="*/ 507704 w 1189600"/>
                  <a:gd name="connsiteY438" fmla="*/ 511953 h 1260409"/>
                  <a:gd name="connsiteX439" fmla="*/ 506288 w 1189600"/>
                  <a:gd name="connsiteY439" fmla="*/ 510537 h 1260409"/>
                  <a:gd name="connsiteX440" fmla="*/ 516202 w 1189600"/>
                  <a:gd name="connsiteY440" fmla="*/ 463803 h 1260409"/>
                  <a:gd name="connsiteX441" fmla="*/ 618168 w 1189600"/>
                  <a:gd name="connsiteY441" fmla="*/ 479380 h 1260409"/>
                  <a:gd name="connsiteX442" fmla="*/ 677647 w 1189600"/>
                  <a:gd name="connsiteY442" fmla="*/ 527531 h 1260409"/>
                  <a:gd name="connsiteX443" fmla="*/ 506288 w 1189600"/>
                  <a:gd name="connsiteY443" fmla="*/ 530363 h 1260409"/>
                  <a:gd name="connsiteX444" fmla="*/ 387328 w 1189600"/>
                  <a:gd name="connsiteY444" fmla="*/ 533196 h 1260409"/>
                  <a:gd name="connsiteX445" fmla="*/ 387328 w 1189600"/>
                  <a:gd name="connsiteY445" fmla="*/ 533196 h 1260409"/>
                  <a:gd name="connsiteX446" fmla="*/ 367502 w 1189600"/>
                  <a:gd name="connsiteY446" fmla="*/ 565768 h 1260409"/>
                  <a:gd name="connsiteX447" fmla="*/ 323599 w 1189600"/>
                  <a:gd name="connsiteY447" fmla="*/ 534612 h 1260409"/>
                  <a:gd name="connsiteX448" fmla="*/ 387328 w 1189600"/>
                  <a:gd name="connsiteY448" fmla="*/ 533196 h 1260409"/>
                  <a:gd name="connsiteX449" fmla="*/ 353340 w 1189600"/>
                  <a:gd name="connsiteY449" fmla="*/ 419901 h 1260409"/>
                  <a:gd name="connsiteX450" fmla="*/ 332097 w 1189600"/>
                  <a:gd name="connsiteY450" fmla="*/ 407155 h 1260409"/>
                  <a:gd name="connsiteX451" fmla="*/ 332097 w 1189600"/>
                  <a:gd name="connsiteY451" fmla="*/ 407155 h 1260409"/>
                  <a:gd name="connsiteX452" fmla="*/ 339178 w 1189600"/>
                  <a:gd name="connsiteY452" fmla="*/ 421317 h 1260409"/>
                  <a:gd name="connsiteX453" fmla="*/ 276865 w 1189600"/>
                  <a:gd name="connsiteY453" fmla="*/ 426981 h 1260409"/>
                  <a:gd name="connsiteX454" fmla="*/ 214553 w 1189600"/>
                  <a:gd name="connsiteY454" fmla="*/ 418484 h 1260409"/>
                  <a:gd name="connsiteX455" fmla="*/ 354756 w 1189600"/>
                  <a:gd name="connsiteY455" fmla="*/ 380247 h 1260409"/>
                  <a:gd name="connsiteX456" fmla="*/ 398658 w 1189600"/>
                  <a:gd name="connsiteY456" fmla="*/ 418484 h 1260409"/>
                  <a:gd name="connsiteX457" fmla="*/ 353340 w 1189600"/>
                  <a:gd name="connsiteY457" fmla="*/ 419901 h 1260409"/>
                  <a:gd name="connsiteX458" fmla="*/ 618168 w 1189600"/>
                  <a:gd name="connsiteY458" fmla="*/ 476548 h 1260409"/>
                  <a:gd name="connsiteX459" fmla="*/ 534612 w 1189600"/>
                  <a:gd name="connsiteY459" fmla="*/ 407155 h 1260409"/>
                  <a:gd name="connsiteX460" fmla="*/ 765451 w 1189600"/>
                  <a:gd name="connsiteY460" fmla="*/ 388744 h 1260409"/>
                  <a:gd name="connsiteX461" fmla="*/ 768284 w 1189600"/>
                  <a:gd name="connsiteY461" fmla="*/ 394409 h 1260409"/>
                  <a:gd name="connsiteX462" fmla="*/ 705971 w 1189600"/>
                  <a:gd name="connsiteY462" fmla="*/ 490710 h 1260409"/>
                  <a:gd name="connsiteX463" fmla="*/ 618168 w 1189600"/>
                  <a:gd name="connsiteY463" fmla="*/ 476548 h 1260409"/>
                  <a:gd name="connsiteX464" fmla="*/ 531780 w 1189600"/>
                  <a:gd name="connsiteY464" fmla="*/ 405739 h 1260409"/>
                  <a:gd name="connsiteX465" fmla="*/ 528947 w 1189600"/>
                  <a:gd name="connsiteY465" fmla="*/ 402906 h 1260409"/>
                  <a:gd name="connsiteX466" fmla="*/ 545942 w 1189600"/>
                  <a:gd name="connsiteY466" fmla="*/ 323599 h 1260409"/>
                  <a:gd name="connsiteX467" fmla="*/ 584179 w 1189600"/>
                  <a:gd name="connsiteY467" fmla="*/ 312270 h 1260409"/>
                  <a:gd name="connsiteX468" fmla="*/ 579931 w 1189600"/>
                  <a:gd name="connsiteY468" fmla="*/ 363253 h 1260409"/>
                  <a:gd name="connsiteX469" fmla="*/ 625249 w 1189600"/>
                  <a:gd name="connsiteY469" fmla="*/ 300941 h 1260409"/>
                  <a:gd name="connsiteX470" fmla="*/ 691809 w 1189600"/>
                  <a:gd name="connsiteY470" fmla="*/ 282530 h 1260409"/>
                  <a:gd name="connsiteX471" fmla="*/ 762619 w 1189600"/>
                  <a:gd name="connsiteY471" fmla="*/ 385912 h 1260409"/>
                  <a:gd name="connsiteX472" fmla="*/ 531780 w 1189600"/>
                  <a:gd name="connsiteY472" fmla="*/ 405739 h 1260409"/>
                  <a:gd name="connsiteX473" fmla="*/ 629497 w 1189600"/>
                  <a:gd name="connsiteY473" fmla="*/ 299524 h 1260409"/>
                  <a:gd name="connsiteX474" fmla="*/ 645075 w 1189600"/>
                  <a:gd name="connsiteY474" fmla="*/ 278281 h 1260409"/>
                  <a:gd name="connsiteX475" fmla="*/ 684728 w 1189600"/>
                  <a:gd name="connsiteY475" fmla="*/ 269784 h 1260409"/>
                  <a:gd name="connsiteX476" fmla="*/ 693226 w 1189600"/>
                  <a:gd name="connsiteY476" fmla="*/ 282530 h 1260409"/>
                  <a:gd name="connsiteX477" fmla="*/ 629497 w 1189600"/>
                  <a:gd name="connsiteY477" fmla="*/ 299524 h 1260409"/>
                  <a:gd name="connsiteX478" fmla="*/ 588427 w 1189600"/>
                  <a:gd name="connsiteY478" fmla="*/ 288194 h 1260409"/>
                  <a:gd name="connsiteX479" fmla="*/ 554439 w 1189600"/>
                  <a:gd name="connsiteY479" fmla="*/ 295275 h 1260409"/>
                  <a:gd name="connsiteX480" fmla="*/ 571433 w 1189600"/>
                  <a:gd name="connsiteY480" fmla="*/ 217385 h 1260409"/>
                  <a:gd name="connsiteX481" fmla="*/ 595508 w 1189600"/>
                  <a:gd name="connsiteY481" fmla="*/ 217385 h 1260409"/>
                  <a:gd name="connsiteX482" fmla="*/ 588427 w 1189600"/>
                  <a:gd name="connsiteY482" fmla="*/ 288194 h 1260409"/>
                  <a:gd name="connsiteX483" fmla="*/ 463803 w 1189600"/>
                  <a:gd name="connsiteY483" fmla="*/ 203223 h 1260409"/>
                  <a:gd name="connsiteX484" fmla="*/ 527531 w 1189600"/>
                  <a:gd name="connsiteY484" fmla="*/ 172067 h 1260409"/>
                  <a:gd name="connsiteX485" fmla="*/ 579931 w 1189600"/>
                  <a:gd name="connsiteY485" fmla="*/ 169235 h 1260409"/>
                  <a:gd name="connsiteX486" fmla="*/ 570017 w 1189600"/>
                  <a:gd name="connsiteY486" fmla="*/ 214553 h 1260409"/>
                  <a:gd name="connsiteX487" fmla="*/ 449641 w 1189600"/>
                  <a:gd name="connsiteY487" fmla="*/ 217385 h 1260409"/>
                  <a:gd name="connsiteX488" fmla="*/ 463803 w 1189600"/>
                  <a:gd name="connsiteY488" fmla="*/ 203223 h 1260409"/>
                  <a:gd name="connsiteX489" fmla="*/ 568601 w 1189600"/>
                  <a:gd name="connsiteY489" fmla="*/ 217385 h 1260409"/>
                  <a:gd name="connsiteX490" fmla="*/ 551607 w 1189600"/>
                  <a:gd name="connsiteY490" fmla="*/ 295275 h 1260409"/>
                  <a:gd name="connsiteX491" fmla="*/ 319351 w 1189600"/>
                  <a:gd name="connsiteY491" fmla="*/ 343426 h 1260409"/>
                  <a:gd name="connsiteX492" fmla="*/ 446808 w 1189600"/>
                  <a:gd name="connsiteY492" fmla="*/ 220218 h 1260409"/>
                  <a:gd name="connsiteX493" fmla="*/ 568601 w 1189600"/>
                  <a:gd name="connsiteY493" fmla="*/ 217385 h 1260409"/>
                  <a:gd name="connsiteX494" fmla="*/ 545942 w 1189600"/>
                  <a:gd name="connsiteY494" fmla="*/ 323599 h 1260409"/>
                  <a:gd name="connsiteX495" fmla="*/ 354756 w 1189600"/>
                  <a:gd name="connsiteY495" fmla="*/ 375999 h 1260409"/>
                  <a:gd name="connsiteX496" fmla="*/ 320768 w 1189600"/>
                  <a:gd name="connsiteY496" fmla="*/ 346258 h 1260409"/>
                  <a:gd name="connsiteX497" fmla="*/ 551607 w 1189600"/>
                  <a:gd name="connsiteY497" fmla="*/ 298108 h 1260409"/>
                  <a:gd name="connsiteX498" fmla="*/ 545942 w 1189600"/>
                  <a:gd name="connsiteY498" fmla="*/ 323599 h 1260409"/>
                  <a:gd name="connsiteX499" fmla="*/ 174899 w 1189600"/>
                  <a:gd name="connsiteY499" fmla="*/ 428398 h 1260409"/>
                  <a:gd name="connsiteX500" fmla="*/ 208888 w 1189600"/>
                  <a:gd name="connsiteY500" fmla="*/ 418484 h 1260409"/>
                  <a:gd name="connsiteX501" fmla="*/ 266952 w 1189600"/>
                  <a:gd name="connsiteY501" fmla="*/ 426981 h 1260409"/>
                  <a:gd name="connsiteX502" fmla="*/ 183397 w 1189600"/>
                  <a:gd name="connsiteY502" fmla="*/ 434062 h 1260409"/>
                  <a:gd name="connsiteX503" fmla="*/ 174899 w 1189600"/>
                  <a:gd name="connsiteY503" fmla="*/ 428398 h 1260409"/>
                  <a:gd name="connsiteX504" fmla="*/ 275449 w 1189600"/>
                  <a:gd name="connsiteY504" fmla="*/ 428398 h 1260409"/>
                  <a:gd name="connsiteX505" fmla="*/ 344842 w 1189600"/>
                  <a:gd name="connsiteY505" fmla="*/ 438311 h 1260409"/>
                  <a:gd name="connsiteX506" fmla="*/ 385912 w 1189600"/>
                  <a:gd name="connsiteY506" fmla="*/ 531780 h 1260409"/>
                  <a:gd name="connsiteX507" fmla="*/ 320768 w 1189600"/>
                  <a:gd name="connsiteY507" fmla="*/ 533196 h 1260409"/>
                  <a:gd name="connsiteX508" fmla="*/ 184813 w 1189600"/>
                  <a:gd name="connsiteY508" fmla="*/ 436895 h 1260409"/>
                  <a:gd name="connsiteX509" fmla="*/ 275449 w 1189600"/>
                  <a:gd name="connsiteY509" fmla="*/ 428398 h 1260409"/>
                  <a:gd name="connsiteX510" fmla="*/ 370334 w 1189600"/>
                  <a:gd name="connsiteY510" fmla="*/ 567184 h 1260409"/>
                  <a:gd name="connsiteX511" fmla="*/ 388745 w 1189600"/>
                  <a:gd name="connsiteY511" fmla="*/ 536028 h 1260409"/>
                  <a:gd name="connsiteX512" fmla="*/ 418484 w 1189600"/>
                  <a:gd name="connsiteY512" fmla="*/ 601173 h 1260409"/>
                  <a:gd name="connsiteX513" fmla="*/ 370334 w 1189600"/>
                  <a:gd name="connsiteY513" fmla="*/ 567184 h 1260409"/>
                  <a:gd name="connsiteX514" fmla="*/ 390161 w 1189600"/>
                  <a:gd name="connsiteY514" fmla="*/ 534612 h 1260409"/>
                  <a:gd name="connsiteX515" fmla="*/ 390161 w 1189600"/>
                  <a:gd name="connsiteY515" fmla="*/ 534612 h 1260409"/>
                  <a:gd name="connsiteX516" fmla="*/ 503456 w 1189600"/>
                  <a:gd name="connsiteY516" fmla="*/ 533196 h 1260409"/>
                  <a:gd name="connsiteX517" fmla="*/ 499207 w 1189600"/>
                  <a:gd name="connsiteY517" fmla="*/ 599756 h 1260409"/>
                  <a:gd name="connsiteX518" fmla="*/ 496375 w 1189600"/>
                  <a:gd name="connsiteY518" fmla="*/ 599756 h 1260409"/>
                  <a:gd name="connsiteX519" fmla="*/ 496375 w 1189600"/>
                  <a:gd name="connsiteY519" fmla="*/ 599756 h 1260409"/>
                  <a:gd name="connsiteX520" fmla="*/ 499207 w 1189600"/>
                  <a:gd name="connsiteY520" fmla="*/ 602589 h 1260409"/>
                  <a:gd name="connsiteX521" fmla="*/ 499207 w 1189600"/>
                  <a:gd name="connsiteY521" fmla="*/ 604005 h 1260409"/>
                  <a:gd name="connsiteX522" fmla="*/ 499207 w 1189600"/>
                  <a:gd name="connsiteY522" fmla="*/ 604005 h 1260409"/>
                  <a:gd name="connsiteX523" fmla="*/ 541693 w 1189600"/>
                  <a:gd name="connsiteY523" fmla="*/ 690393 h 1260409"/>
                  <a:gd name="connsiteX524" fmla="*/ 421317 w 1189600"/>
                  <a:gd name="connsiteY524" fmla="*/ 605422 h 1260409"/>
                  <a:gd name="connsiteX525" fmla="*/ 390161 w 1189600"/>
                  <a:gd name="connsiteY525" fmla="*/ 534612 h 1260409"/>
                  <a:gd name="connsiteX526" fmla="*/ 502040 w 1189600"/>
                  <a:gd name="connsiteY526" fmla="*/ 598341 h 1260409"/>
                  <a:gd name="connsiteX527" fmla="*/ 506288 w 1189600"/>
                  <a:gd name="connsiteY527" fmla="*/ 531780 h 1260409"/>
                  <a:gd name="connsiteX528" fmla="*/ 680480 w 1189600"/>
                  <a:gd name="connsiteY528" fmla="*/ 528947 h 1260409"/>
                  <a:gd name="connsiteX529" fmla="*/ 681897 w 1189600"/>
                  <a:gd name="connsiteY529" fmla="*/ 530363 h 1260409"/>
                  <a:gd name="connsiteX530" fmla="*/ 630913 w 1189600"/>
                  <a:gd name="connsiteY530" fmla="*/ 608254 h 1260409"/>
                  <a:gd name="connsiteX531" fmla="*/ 502040 w 1189600"/>
                  <a:gd name="connsiteY531" fmla="*/ 598341 h 1260409"/>
                  <a:gd name="connsiteX532" fmla="*/ 700307 w 1189600"/>
                  <a:gd name="connsiteY532" fmla="*/ 528947 h 1260409"/>
                  <a:gd name="connsiteX533" fmla="*/ 735712 w 1189600"/>
                  <a:gd name="connsiteY533" fmla="*/ 528947 h 1260409"/>
                  <a:gd name="connsiteX534" fmla="*/ 789527 w 1189600"/>
                  <a:gd name="connsiteY534" fmla="*/ 565768 h 1260409"/>
                  <a:gd name="connsiteX535" fmla="*/ 795192 w 1189600"/>
                  <a:gd name="connsiteY535" fmla="*/ 620999 h 1260409"/>
                  <a:gd name="connsiteX536" fmla="*/ 792359 w 1189600"/>
                  <a:gd name="connsiteY536" fmla="*/ 620999 h 1260409"/>
                  <a:gd name="connsiteX537" fmla="*/ 698890 w 1189600"/>
                  <a:gd name="connsiteY537" fmla="*/ 544525 h 1260409"/>
                  <a:gd name="connsiteX538" fmla="*/ 700307 w 1189600"/>
                  <a:gd name="connsiteY538" fmla="*/ 528947 h 1260409"/>
                  <a:gd name="connsiteX539" fmla="*/ 737127 w 1189600"/>
                  <a:gd name="connsiteY539" fmla="*/ 526115 h 1260409"/>
                  <a:gd name="connsiteX540" fmla="*/ 701723 w 1189600"/>
                  <a:gd name="connsiteY540" fmla="*/ 502039 h 1260409"/>
                  <a:gd name="connsiteX541" fmla="*/ 708804 w 1189600"/>
                  <a:gd name="connsiteY541" fmla="*/ 492126 h 1260409"/>
                  <a:gd name="connsiteX542" fmla="*/ 782446 w 1189600"/>
                  <a:gd name="connsiteY542" fmla="*/ 503456 h 1260409"/>
                  <a:gd name="connsiteX543" fmla="*/ 785278 w 1189600"/>
                  <a:gd name="connsiteY543" fmla="*/ 526115 h 1260409"/>
                  <a:gd name="connsiteX544" fmla="*/ 737127 w 1189600"/>
                  <a:gd name="connsiteY544" fmla="*/ 526115 h 1260409"/>
                  <a:gd name="connsiteX545" fmla="*/ 235796 w 1189600"/>
                  <a:gd name="connsiteY545" fmla="*/ 625248 h 1260409"/>
                  <a:gd name="connsiteX546" fmla="*/ 235796 w 1189600"/>
                  <a:gd name="connsiteY546" fmla="*/ 625248 h 1260409"/>
                  <a:gd name="connsiteX547" fmla="*/ 235796 w 1189600"/>
                  <a:gd name="connsiteY547" fmla="*/ 625248 h 1260409"/>
                  <a:gd name="connsiteX548" fmla="*/ 235796 w 1189600"/>
                  <a:gd name="connsiteY548" fmla="*/ 625248 h 1260409"/>
                  <a:gd name="connsiteX549" fmla="*/ 235796 w 1189600"/>
                  <a:gd name="connsiteY549" fmla="*/ 626664 h 1260409"/>
                  <a:gd name="connsiteX550" fmla="*/ 244293 w 1189600"/>
                  <a:gd name="connsiteY550" fmla="*/ 656404 h 1260409"/>
                  <a:gd name="connsiteX551" fmla="*/ 221634 w 1189600"/>
                  <a:gd name="connsiteY551" fmla="*/ 642242 h 1260409"/>
                  <a:gd name="connsiteX552" fmla="*/ 231547 w 1189600"/>
                  <a:gd name="connsiteY552" fmla="*/ 628080 h 1260409"/>
                  <a:gd name="connsiteX553" fmla="*/ 235796 w 1189600"/>
                  <a:gd name="connsiteY553" fmla="*/ 626664 h 1260409"/>
                  <a:gd name="connsiteX554" fmla="*/ 326432 w 1189600"/>
                  <a:gd name="connsiteY554" fmla="*/ 639410 h 1260409"/>
                  <a:gd name="connsiteX555" fmla="*/ 368918 w 1189600"/>
                  <a:gd name="connsiteY555" fmla="*/ 570017 h 1260409"/>
                  <a:gd name="connsiteX556" fmla="*/ 419901 w 1189600"/>
                  <a:gd name="connsiteY556" fmla="*/ 605422 h 1260409"/>
                  <a:gd name="connsiteX557" fmla="*/ 431230 w 1189600"/>
                  <a:gd name="connsiteY557" fmla="*/ 630913 h 1260409"/>
                  <a:gd name="connsiteX558" fmla="*/ 411403 w 1189600"/>
                  <a:gd name="connsiteY558" fmla="*/ 717301 h 1260409"/>
                  <a:gd name="connsiteX559" fmla="*/ 326432 w 1189600"/>
                  <a:gd name="connsiteY559" fmla="*/ 639410 h 1260409"/>
                  <a:gd name="connsiteX560" fmla="*/ 502040 w 1189600"/>
                  <a:gd name="connsiteY560" fmla="*/ 601173 h 1260409"/>
                  <a:gd name="connsiteX561" fmla="*/ 629497 w 1189600"/>
                  <a:gd name="connsiteY561" fmla="*/ 611086 h 1260409"/>
                  <a:gd name="connsiteX562" fmla="*/ 592676 w 1189600"/>
                  <a:gd name="connsiteY562" fmla="*/ 669150 h 1260409"/>
                  <a:gd name="connsiteX563" fmla="*/ 578514 w 1189600"/>
                  <a:gd name="connsiteY563" fmla="*/ 669150 h 1260409"/>
                  <a:gd name="connsiteX564" fmla="*/ 502040 w 1189600"/>
                  <a:gd name="connsiteY564" fmla="*/ 601173 h 1260409"/>
                  <a:gd name="connsiteX565" fmla="*/ 681897 w 1189600"/>
                  <a:gd name="connsiteY565" fmla="*/ 528947 h 1260409"/>
                  <a:gd name="connsiteX566" fmla="*/ 681897 w 1189600"/>
                  <a:gd name="connsiteY566" fmla="*/ 528947 h 1260409"/>
                  <a:gd name="connsiteX567" fmla="*/ 681897 w 1189600"/>
                  <a:gd name="connsiteY567" fmla="*/ 528947 h 1260409"/>
                  <a:gd name="connsiteX568" fmla="*/ 681897 w 1189600"/>
                  <a:gd name="connsiteY568" fmla="*/ 528947 h 1260409"/>
                  <a:gd name="connsiteX569" fmla="*/ 829180 w 1189600"/>
                  <a:gd name="connsiteY569" fmla="*/ 592676 h 1260409"/>
                  <a:gd name="connsiteX570" fmla="*/ 829180 w 1189600"/>
                  <a:gd name="connsiteY570" fmla="*/ 592676 h 1260409"/>
                  <a:gd name="connsiteX571" fmla="*/ 861752 w 1189600"/>
                  <a:gd name="connsiteY571" fmla="*/ 575682 h 1260409"/>
                  <a:gd name="connsiteX572" fmla="*/ 875914 w 1189600"/>
                  <a:gd name="connsiteY572" fmla="*/ 625248 h 1260409"/>
                  <a:gd name="connsiteX573" fmla="*/ 798024 w 1189600"/>
                  <a:gd name="connsiteY573" fmla="*/ 619584 h 1260409"/>
                  <a:gd name="connsiteX574" fmla="*/ 792359 w 1189600"/>
                  <a:gd name="connsiteY574" fmla="*/ 565768 h 1260409"/>
                  <a:gd name="connsiteX575" fmla="*/ 829180 w 1189600"/>
                  <a:gd name="connsiteY575" fmla="*/ 592676 h 1260409"/>
                  <a:gd name="connsiteX576" fmla="*/ 829180 w 1189600"/>
                  <a:gd name="connsiteY576" fmla="*/ 591260 h 1260409"/>
                  <a:gd name="connsiteX577" fmla="*/ 790943 w 1189600"/>
                  <a:gd name="connsiteY577" fmla="*/ 565768 h 1260409"/>
                  <a:gd name="connsiteX578" fmla="*/ 786694 w 1189600"/>
                  <a:gd name="connsiteY578" fmla="*/ 528947 h 1260409"/>
                  <a:gd name="connsiteX579" fmla="*/ 846174 w 1189600"/>
                  <a:gd name="connsiteY579" fmla="*/ 527531 h 1260409"/>
                  <a:gd name="connsiteX580" fmla="*/ 860336 w 1189600"/>
                  <a:gd name="connsiteY580" fmla="*/ 574265 h 1260409"/>
                  <a:gd name="connsiteX581" fmla="*/ 829180 w 1189600"/>
                  <a:gd name="connsiteY581" fmla="*/ 591260 h 1260409"/>
                  <a:gd name="connsiteX582" fmla="*/ 686145 w 1189600"/>
                  <a:gd name="connsiteY582" fmla="*/ 269784 h 1260409"/>
                  <a:gd name="connsiteX583" fmla="*/ 890076 w 1189600"/>
                  <a:gd name="connsiteY583" fmla="*/ 227298 h 1260409"/>
                  <a:gd name="connsiteX584" fmla="*/ 694642 w 1189600"/>
                  <a:gd name="connsiteY584" fmla="*/ 281114 h 1260409"/>
                  <a:gd name="connsiteX585" fmla="*/ 686145 w 1189600"/>
                  <a:gd name="connsiteY585" fmla="*/ 269784 h 1260409"/>
                  <a:gd name="connsiteX586" fmla="*/ 571433 w 1189600"/>
                  <a:gd name="connsiteY586" fmla="*/ 215969 h 1260409"/>
                  <a:gd name="connsiteX587" fmla="*/ 581346 w 1189600"/>
                  <a:gd name="connsiteY587" fmla="*/ 170651 h 1260409"/>
                  <a:gd name="connsiteX588" fmla="*/ 598341 w 1189600"/>
                  <a:gd name="connsiteY588" fmla="*/ 169235 h 1260409"/>
                  <a:gd name="connsiteX589" fmla="*/ 594092 w 1189600"/>
                  <a:gd name="connsiteY589" fmla="*/ 215969 h 1260409"/>
                  <a:gd name="connsiteX590" fmla="*/ 571433 w 1189600"/>
                  <a:gd name="connsiteY590" fmla="*/ 215969 h 1260409"/>
                  <a:gd name="connsiteX591" fmla="*/ 232964 w 1189600"/>
                  <a:gd name="connsiteY591" fmla="*/ 490710 h 1260409"/>
                  <a:gd name="connsiteX592" fmla="*/ 234380 w 1189600"/>
                  <a:gd name="connsiteY592" fmla="*/ 534612 h 1260409"/>
                  <a:gd name="connsiteX593" fmla="*/ 213137 w 1189600"/>
                  <a:gd name="connsiteY593" fmla="*/ 534612 h 1260409"/>
                  <a:gd name="connsiteX594" fmla="*/ 232964 w 1189600"/>
                  <a:gd name="connsiteY594" fmla="*/ 490710 h 1260409"/>
                  <a:gd name="connsiteX595" fmla="*/ 232964 w 1189600"/>
                  <a:gd name="connsiteY595" fmla="*/ 490710 h 1260409"/>
                  <a:gd name="connsiteX596" fmla="*/ 405739 w 1189600"/>
                  <a:gd name="connsiteY596" fmla="*/ 751289 h 1260409"/>
                  <a:gd name="connsiteX597" fmla="*/ 412820 w 1189600"/>
                  <a:gd name="connsiteY597" fmla="*/ 721549 h 1260409"/>
                  <a:gd name="connsiteX598" fmla="*/ 438311 w 1189600"/>
                  <a:gd name="connsiteY598" fmla="*/ 745624 h 1260409"/>
                  <a:gd name="connsiteX599" fmla="*/ 405739 w 1189600"/>
                  <a:gd name="connsiteY599" fmla="*/ 751289 h 1260409"/>
                  <a:gd name="connsiteX600" fmla="*/ 789527 w 1189600"/>
                  <a:gd name="connsiteY600" fmla="*/ 619584 h 1260409"/>
                  <a:gd name="connsiteX601" fmla="*/ 694642 w 1189600"/>
                  <a:gd name="connsiteY601" fmla="*/ 612503 h 1260409"/>
                  <a:gd name="connsiteX602" fmla="*/ 698890 w 1189600"/>
                  <a:gd name="connsiteY602" fmla="*/ 545941 h 1260409"/>
                  <a:gd name="connsiteX603" fmla="*/ 789527 w 1189600"/>
                  <a:gd name="connsiteY603" fmla="*/ 619584 h 1260409"/>
                  <a:gd name="connsiteX604" fmla="*/ 796608 w 1189600"/>
                  <a:gd name="connsiteY604" fmla="*/ 622416 h 1260409"/>
                  <a:gd name="connsiteX605" fmla="*/ 796608 w 1189600"/>
                  <a:gd name="connsiteY605" fmla="*/ 622416 h 1260409"/>
                  <a:gd name="connsiteX606" fmla="*/ 796608 w 1189600"/>
                  <a:gd name="connsiteY606" fmla="*/ 622416 h 1260409"/>
                  <a:gd name="connsiteX607" fmla="*/ 796608 w 1189600"/>
                  <a:gd name="connsiteY607" fmla="*/ 622416 h 1260409"/>
                  <a:gd name="connsiteX608" fmla="*/ 901406 w 1189600"/>
                  <a:gd name="connsiteY608" fmla="*/ 708803 h 1260409"/>
                  <a:gd name="connsiteX609" fmla="*/ 878747 w 1189600"/>
                  <a:gd name="connsiteY609" fmla="*/ 628080 h 1260409"/>
                  <a:gd name="connsiteX610" fmla="*/ 963718 w 1189600"/>
                  <a:gd name="connsiteY610" fmla="*/ 633745 h 1260409"/>
                  <a:gd name="connsiteX611" fmla="*/ 963718 w 1189600"/>
                  <a:gd name="connsiteY611" fmla="*/ 633745 h 1260409"/>
                  <a:gd name="connsiteX612" fmla="*/ 963718 w 1189600"/>
                  <a:gd name="connsiteY612" fmla="*/ 632329 h 1260409"/>
                  <a:gd name="connsiteX613" fmla="*/ 963718 w 1189600"/>
                  <a:gd name="connsiteY613" fmla="*/ 635161 h 1260409"/>
                  <a:gd name="connsiteX614" fmla="*/ 963718 w 1189600"/>
                  <a:gd name="connsiteY614" fmla="*/ 635161 h 1260409"/>
                  <a:gd name="connsiteX615" fmla="*/ 1013285 w 1189600"/>
                  <a:gd name="connsiteY615" fmla="*/ 800856 h 1260409"/>
                  <a:gd name="connsiteX616" fmla="*/ 901406 w 1189600"/>
                  <a:gd name="connsiteY616" fmla="*/ 708803 h 1260409"/>
                  <a:gd name="connsiteX617" fmla="*/ 1016117 w 1189600"/>
                  <a:gd name="connsiteY617" fmla="*/ 803688 h 1260409"/>
                  <a:gd name="connsiteX618" fmla="*/ 965135 w 1189600"/>
                  <a:gd name="connsiteY618" fmla="*/ 635161 h 1260409"/>
                  <a:gd name="connsiteX619" fmla="*/ 966551 w 1189600"/>
                  <a:gd name="connsiteY619" fmla="*/ 629497 h 1260409"/>
                  <a:gd name="connsiteX620" fmla="*/ 1035944 w 1189600"/>
                  <a:gd name="connsiteY620" fmla="*/ 540277 h 1260409"/>
                  <a:gd name="connsiteX621" fmla="*/ 1108170 w 1189600"/>
                  <a:gd name="connsiteY621" fmla="*/ 550190 h 1260409"/>
                  <a:gd name="connsiteX622" fmla="*/ 1075598 w 1189600"/>
                  <a:gd name="connsiteY622" fmla="*/ 853255 h 1260409"/>
                  <a:gd name="connsiteX623" fmla="*/ 1016117 w 1189600"/>
                  <a:gd name="connsiteY623" fmla="*/ 803688 h 1260409"/>
                  <a:gd name="connsiteX624" fmla="*/ 1035944 w 1189600"/>
                  <a:gd name="connsiteY624" fmla="*/ 537444 h 1260409"/>
                  <a:gd name="connsiteX625" fmla="*/ 1027447 w 1189600"/>
                  <a:gd name="connsiteY625" fmla="*/ 536028 h 1260409"/>
                  <a:gd name="connsiteX626" fmla="*/ 1041609 w 1189600"/>
                  <a:gd name="connsiteY626" fmla="*/ 530363 h 1260409"/>
                  <a:gd name="connsiteX627" fmla="*/ 1035944 w 1189600"/>
                  <a:gd name="connsiteY627" fmla="*/ 537444 h 1260409"/>
                  <a:gd name="connsiteX628" fmla="*/ 1034528 w 1189600"/>
                  <a:gd name="connsiteY628" fmla="*/ 540277 h 1260409"/>
                  <a:gd name="connsiteX629" fmla="*/ 969383 w 1189600"/>
                  <a:gd name="connsiteY629" fmla="*/ 625248 h 1260409"/>
                  <a:gd name="connsiteX630" fmla="*/ 987794 w 1189600"/>
                  <a:gd name="connsiteY630" fmla="*/ 555855 h 1260409"/>
                  <a:gd name="connsiteX631" fmla="*/ 1024614 w 1189600"/>
                  <a:gd name="connsiteY631" fmla="*/ 538860 h 1260409"/>
                  <a:gd name="connsiteX632" fmla="*/ 1034528 w 1189600"/>
                  <a:gd name="connsiteY632" fmla="*/ 540277 h 1260409"/>
                  <a:gd name="connsiteX633" fmla="*/ 875914 w 1189600"/>
                  <a:gd name="connsiteY633" fmla="*/ 628080 h 1260409"/>
                  <a:gd name="connsiteX634" fmla="*/ 898574 w 1189600"/>
                  <a:gd name="connsiteY634" fmla="*/ 707387 h 1260409"/>
                  <a:gd name="connsiteX635" fmla="*/ 798024 w 1189600"/>
                  <a:gd name="connsiteY635" fmla="*/ 625248 h 1260409"/>
                  <a:gd name="connsiteX636" fmla="*/ 798024 w 1189600"/>
                  <a:gd name="connsiteY636" fmla="*/ 622416 h 1260409"/>
                  <a:gd name="connsiteX637" fmla="*/ 875914 w 1189600"/>
                  <a:gd name="connsiteY637" fmla="*/ 628080 h 1260409"/>
                  <a:gd name="connsiteX638" fmla="*/ 1014701 w 1189600"/>
                  <a:gd name="connsiteY638" fmla="*/ 805104 h 1260409"/>
                  <a:gd name="connsiteX639" fmla="*/ 1016117 w 1189600"/>
                  <a:gd name="connsiteY639" fmla="*/ 807937 h 1260409"/>
                  <a:gd name="connsiteX640" fmla="*/ 949556 w 1189600"/>
                  <a:gd name="connsiteY640" fmla="*/ 878746 h 1260409"/>
                  <a:gd name="connsiteX641" fmla="*/ 902822 w 1189600"/>
                  <a:gd name="connsiteY641" fmla="*/ 713052 h 1260409"/>
                  <a:gd name="connsiteX642" fmla="*/ 1014701 w 1189600"/>
                  <a:gd name="connsiteY642" fmla="*/ 805104 h 1260409"/>
                  <a:gd name="connsiteX643" fmla="*/ 684728 w 1189600"/>
                  <a:gd name="connsiteY643" fmla="*/ 268368 h 1260409"/>
                  <a:gd name="connsiteX644" fmla="*/ 667735 w 1189600"/>
                  <a:gd name="connsiteY644" fmla="*/ 244293 h 1260409"/>
                  <a:gd name="connsiteX645" fmla="*/ 667735 w 1189600"/>
                  <a:gd name="connsiteY645" fmla="*/ 244293 h 1260409"/>
                  <a:gd name="connsiteX646" fmla="*/ 643659 w 1189600"/>
                  <a:gd name="connsiteY646" fmla="*/ 276865 h 1260409"/>
                  <a:gd name="connsiteX647" fmla="*/ 591260 w 1189600"/>
                  <a:gd name="connsiteY647" fmla="*/ 288194 h 1260409"/>
                  <a:gd name="connsiteX648" fmla="*/ 596925 w 1189600"/>
                  <a:gd name="connsiteY648" fmla="*/ 217385 h 1260409"/>
                  <a:gd name="connsiteX649" fmla="*/ 952389 w 1189600"/>
                  <a:gd name="connsiteY649" fmla="*/ 210304 h 1260409"/>
                  <a:gd name="connsiteX650" fmla="*/ 919817 w 1189600"/>
                  <a:gd name="connsiteY650" fmla="*/ 218801 h 1260409"/>
                  <a:gd name="connsiteX651" fmla="*/ 684728 w 1189600"/>
                  <a:gd name="connsiteY651" fmla="*/ 268368 h 1260409"/>
                  <a:gd name="connsiteX652" fmla="*/ 140911 w 1189600"/>
                  <a:gd name="connsiteY652" fmla="*/ 407155 h 1260409"/>
                  <a:gd name="connsiteX653" fmla="*/ 140911 w 1189600"/>
                  <a:gd name="connsiteY653" fmla="*/ 407155 h 1260409"/>
                  <a:gd name="connsiteX654" fmla="*/ 140911 w 1189600"/>
                  <a:gd name="connsiteY654" fmla="*/ 407155 h 1260409"/>
                  <a:gd name="connsiteX655" fmla="*/ 140911 w 1189600"/>
                  <a:gd name="connsiteY655" fmla="*/ 407155 h 1260409"/>
                  <a:gd name="connsiteX656" fmla="*/ 234380 w 1189600"/>
                  <a:gd name="connsiteY656" fmla="*/ 536028 h 1260409"/>
                  <a:gd name="connsiteX657" fmla="*/ 235796 w 1189600"/>
                  <a:gd name="connsiteY657" fmla="*/ 620999 h 1260409"/>
                  <a:gd name="connsiteX658" fmla="*/ 235796 w 1189600"/>
                  <a:gd name="connsiteY658" fmla="*/ 620999 h 1260409"/>
                  <a:gd name="connsiteX659" fmla="*/ 231547 w 1189600"/>
                  <a:gd name="connsiteY659" fmla="*/ 626664 h 1260409"/>
                  <a:gd name="connsiteX660" fmla="*/ 211721 w 1189600"/>
                  <a:gd name="connsiteY660" fmla="*/ 636578 h 1260409"/>
                  <a:gd name="connsiteX661" fmla="*/ 179149 w 1189600"/>
                  <a:gd name="connsiteY661" fmla="*/ 616751 h 1260409"/>
                  <a:gd name="connsiteX662" fmla="*/ 213137 w 1189600"/>
                  <a:gd name="connsiteY662" fmla="*/ 536028 h 1260409"/>
                  <a:gd name="connsiteX663" fmla="*/ 234380 w 1189600"/>
                  <a:gd name="connsiteY663" fmla="*/ 536028 h 1260409"/>
                  <a:gd name="connsiteX664" fmla="*/ 591260 w 1189600"/>
                  <a:gd name="connsiteY664" fmla="*/ 670566 h 1260409"/>
                  <a:gd name="connsiteX665" fmla="*/ 587012 w 1189600"/>
                  <a:gd name="connsiteY665" fmla="*/ 677647 h 1260409"/>
                  <a:gd name="connsiteX666" fmla="*/ 579931 w 1189600"/>
                  <a:gd name="connsiteY666" fmla="*/ 671982 h 1260409"/>
                  <a:gd name="connsiteX667" fmla="*/ 591260 w 1189600"/>
                  <a:gd name="connsiteY667" fmla="*/ 670566 h 1260409"/>
                  <a:gd name="connsiteX668" fmla="*/ 1109586 w 1189600"/>
                  <a:gd name="connsiteY668" fmla="*/ 548774 h 1260409"/>
                  <a:gd name="connsiteX669" fmla="*/ 1038776 w 1189600"/>
                  <a:gd name="connsiteY669" fmla="*/ 538860 h 1260409"/>
                  <a:gd name="connsiteX670" fmla="*/ 1045857 w 1189600"/>
                  <a:gd name="connsiteY670" fmla="*/ 528947 h 1260409"/>
                  <a:gd name="connsiteX671" fmla="*/ 1050106 w 1189600"/>
                  <a:gd name="connsiteY671" fmla="*/ 527531 h 1260409"/>
                  <a:gd name="connsiteX672" fmla="*/ 1109586 w 1189600"/>
                  <a:gd name="connsiteY672" fmla="*/ 547358 h 1260409"/>
                  <a:gd name="connsiteX673" fmla="*/ 1109586 w 1189600"/>
                  <a:gd name="connsiteY673" fmla="*/ 548774 h 1260409"/>
                  <a:gd name="connsiteX674" fmla="*/ 984961 w 1189600"/>
                  <a:gd name="connsiteY674" fmla="*/ 553022 h 1260409"/>
                  <a:gd name="connsiteX675" fmla="*/ 984961 w 1189600"/>
                  <a:gd name="connsiteY675" fmla="*/ 553022 h 1260409"/>
                  <a:gd name="connsiteX676" fmla="*/ 965135 w 1189600"/>
                  <a:gd name="connsiteY676" fmla="*/ 628080 h 1260409"/>
                  <a:gd name="connsiteX677" fmla="*/ 962302 w 1189600"/>
                  <a:gd name="connsiteY677" fmla="*/ 632329 h 1260409"/>
                  <a:gd name="connsiteX678" fmla="*/ 877331 w 1189600"/>
                  <a:gd name="connsiteY678" fmla="*/ 626664 h 1260409"/>
                  <a:gd name="connsiteX679" fmla="*/ 863169 w 1189600"/>
                  <a:gd name="connsiteY679" fmla="*/ 575682 h 1260409"/>
                  <a:gd name="connsiteX680" fmla="*/ 955221 w 1189600"/>
                  <a:gd name="connsiteY680" fmla="*/ 528947 h 1260409"/>
                  <a:gd name="connsiteX681" fmla="*/ 1020366 w 1189600"/>
                  <a:gd name="connsiteY681" fmla="*/ 538860 h 1260409"/>
                  <a:gd name="connsiteX682" fmla="*/ 984961 w 1189600"/>
                  <a:gd name="connsiteY682" fmla="*/ 553022 h 1260409"/>
                  <a:gd name="connsiteX683" fmla="*/ 786694 w 1189600"/>
                  <a:gd name="connsiteY683" fmla="*/ 526115 h 1260409"/>
                  <a:gd name="connsiteX684" fmla="*/ 783862 w 1189600"/>
                  <a:gd name="connsiteY684" fmla="*/ 503456 h 1260409"/>
                  <a:gd name="connsiteX685" fmla="*/ 841926 w 1189600"/>
                  <a:gd name="connsiteY685" fmla="*/ 511953 h 1260409"/>
                  <a:gd name="connsiteX686" fmla="*/ 846174 w 1189600"/>
                  <a:gd name="connsiteY686" fmla="*/ 524699 h 1260409"/>
                  <a:gd name="connsiteX687" fmla="*/ 786694 w 1189600"/>
                  <a:gd name="connsiteY687" fmla="*/ 526115 h 1260409"/>
                  <a:gd name="connsiteX688" fmla="*/ 599757 w 1189600"/>
                  <a:gd name="connsiteY688" fmla="*/ 166402 h 1260409"/>
                  <a:gd name="connsiteX689" fmla="*/ 582763 w 1189600"/>
                  <a:gd name="connsiteY689" fmla="*/ 167818 h 1260409"/>
                  <a:gd name="connsiteX690" fmla="*/ 585595 w 1189600"/>
                  <a:gd name="connsiteY690" fmla="*/ 152241 h 1260409"/>
                  <a:gd name="connsiteX691" fmla="*/ 599757 w 1189600"/>
                  <a:gd name="connsiteY691" fmla="*/ 155073 h 1260409"/>
                  <a:gd name="connsiteX692" fmla="*/ 599757 w 1189600"/>
                  <a:gd name="connsiteY692" fmla="*/ 166402 h 1260409"/>
                  <a:gd name="connsiteX693" fmla="*/ 315103 w 1189600"/>
                  <a:gd name="connsiteY693" fmla="*/ 344842 h 1260409"/>
                  <a:gd name="connsiteX694" fmla="*/ 313687 w 1189600"/>
                  <a:gd name="connsiteY694" fmla="*/ 346258 h 1260409"/>
                  <a:gd name="connsiteX695" fmla="*/ 313687 w 1189600"/>
                  <a:gd name="connsiteY695" fmla="*/ 346258 h 1260409"/>
                  <a:gd name="connsiteX696" fmla="*/ 317935 w 1189600"/>
                  <a:gd name="connsiteY696" fmla="*/ 344842 h 1260409"/>
                  <a:gd name="connsiteX697" fmla="*/ 351923 w 1189600"/>
                  <a:gd name="connsiteY697" fmla="*/ 374582 h 1260409"/>
                  <a:gd name="connsiteX698" fmla="*/ 208888 w 1189600"/>
                  <a:gd name="connsiteY698" fmla="*/ 414236 h 1260409"/>
                  <a:gd name="connsiteX699" fmla="*/ 153656 w 1189600"/>
                  <a:gd name="connsiteY699" fmla="*/ 405739 h 1260409"/>
                  <a:gd name="connsiteX700" fmla="*/ 159322 w 1189600"/>
                  <a:gd name="connsiteY700" fmla="*/ 392993 h 1260409"/>
                  <a:gd name="connsiteX701" fmla="*/ 142327 w 1189600"/>
                  <a:gd name="connsiteY701" fmla="*/ 401490 h 1260409"/>
                  <a:gd name="connsiteX702" fmla="*/ 97009 w 1189600"/>
                  <a:gd name="connsiteY702" fmla="*/ 368918 h 1260409"/>
                  <a:gd name="connsiteX703" fmla="*/ 101258 w 1189600"/>
                  <a:gd name="connsiteY703" fmla="*/ 367501 h 1260409"/>
                  <a:gd name="connsiteX704" fmla="*/ 315103 w 1189600"/>
                  <a:gd name="connsiteY704" fmla="*/ 344842 h 1260409"/>
                  <a:gd name="connsiteX705" fmla="*/ 315103 w 1189600"/>
                  <a:gd name="connsiteY705" fmla="*/ 344842 h 1260409"/>
                  <a:gd name="connsiteX706" fmla="*/ 172068 w 1189600"/>
                  <a:gd name="connsiteY706" fmla="*/ 428398 h 1260409"/>
                  <a:gd name="connsiteX707" fmla="*/ 179149 w 1189600"/>
                  <a:gd name="connsiteY707" fmla="*/ 434062 h 1260409"/>
                  <a:gd name="connsiteX708" fmla="*/ 140911 w 1189600"/>
                  <a:gd name="connsiteY708" fmla="*/ 436895 h 1260409"/>
                  <a:gd name="connsiteX709" fmla="*/ 172068 w 1189600"/>
                  <a:gd name="connsiteY709" fmla="*/ 428398 h 1260409"/>
                  <a:gd name="connsiteX710" fmla="*/ 94177 w 1189600"/>
                  <a:gd name="connsiteY710" fmla="*/ 536028 h 1260409"/>
                  <a:gd name="connsiteX711" fmla="*/ 98425 w 1189600"/>
                  <a:gd name="connsiteY711" fmla="*/ 527531 h 1260409"/>
                  <a:gd name="connsiteX712" fmla="*/ 223050 w 1189600"/>
                  <a:gd name="connsiteY712" fmla="*/ 493542 h 1260409"/>
                  <a:gd name="connsiteX713" fmla="*/ 170651 w 1189600"/>
                  <a:gd name="connsiteY713" fmla="*/ 534612 h 1260409"/>
                  <a:gd name="connsiteX714" fmla="*/ 94177 w 1189600"/>
                  <a:gd name="connsiteY714" fmla="*/ 536028 h 1260409"/>
                  <a:gd name="connsiteX715" fmla="*/ 218802 w 1189600"/>
                  <a:gd name="connsiteY715" fmla="*/ 643658 h 1260409"/>
                  <a:gd name="connsiteX716" fmla="*/ 105506 w 1189600"/>
                  <a:gd name="connsiteY716" fmla="*/ 798023 h 1260409"/>
                  <a:gd name="connsiteX717" fmla="*/ 104090 w 1189600"/>
                  <a:gd name="connsiteY717" fmla="*/ 792359 h 1260409"/>
                  <a:gd name="connsiteX718" fmla="*/ 159322 w 1189600"/>
                  <a:gd name="connsiteY718" fmla="*/ 662069 h 1260409"/>
                  <a:gd name="connsiteX719" fmla="*/ 210304 w 1189600"/>
                  <a:gd name="connsiteY719" fmla="*/ 637994 h 1260409"/>
                  <a:gd name="connsiteX720" fmla="*/ 218802 w 1189600"/>
                  <a:gd name="connsiteY720" fmla="*/ 643658 h 1260409"/>
                  <a:gd name="connsiteX721" fmla="*/ 402907 w 1189600"/>
                  <a:gd name="connsiteY721" fmla="*/ 754122 h 1260409"/>
                  <a:gd name="connsiteX722" fmla="*/ 402907 w 1189600"/>
                  <a:gd name="connsiteY722" fmla="*/ 754122 h 1260409"/>
                  <a:gd name="connsiteX723" fmla="*/ 402907 w 1189600"/>
                  <a:gd name="connsiteY723" fmla="*/ 754122 h 1260409"/>
                  <a:gd name="connsiteX724" fmla="*/ 402907 w 1189600"/>
                  <a:gd name="connsiteY724" fmla="*/ 754122 h 1260409"/>
                  <a:gd name="connsiteX725" fmla="*/ 357588 w 1189600"/>
                  <a:gd name="connsiteY725" fmla="*/ 788110 h 1260409"/>
                  <a:gd name="connsiteX726" fmla="*/ 279698 w 1189600"/>
                  <a:gd name="connsiteY726" fmla="*/ 765451 h 1260409"/>
                  <a:gd name="connsiteX727" fmla="*/ 248541 w 1189600"/>
                  <a:gd name="connsiteY727" fmla="*/ 660653 h 1260409"/>
                  <a:gd name="connsiteX728" fmla="*/ 402907 w 1189600"/>
                  <a:gd name="connsiteY728" fmla="*/ 754122 h 1260409"/>
                  <a:gd name="connsiteX729" fmla="*/ 547358 w 1189600"/>
                  <a:gd name="connsiteY729" fmla="*/ 694641 h 1260409"/>
                  <a:gd name="connsiteX730" fmla="*/ 560104 w 1189600"/>
                  <a:gd name="connsiteY730" fmla="*/ 703139 h 1260409"/>
                  <a:gd name="connsiteX731" fmla="*/ 560104 w 1189600"/>
                  <a:gd name="connsiteY731" fmla="*/ 718717 h 1260409"/>
                  <a:gd name="connsiteX732" fmla="*/ 560104 w 1189600"/>
                  <a:gd name="connsiteY732" fmla="*/ 718717 h 1260409"/>
                  <a:gd name="connsiteX733" fmla="*/ 547358 w 1189600"/>
                  <a:gd name="connsiteY733" fmla="*/ 694641 h 1260409"/>
                  <a:gd name="connsiteX734" fmla="*/ 632330 w 1189600"/>
                  <a:gd name="connsiteY734" fmla="*/ 611086 h 1260409"/>
                  <a:gd name="connsiteX735" fmla="*/ 693226 w 1189600"/>
                  <a:gd name="connsiteY735" fmla="*/ 615335 h 1260409"/>
                  <a:gd name="connsiteX736" fmla="*/ 690393 w 1189600"/>
                  <a:gd name="connsiteY736" fmla="*/ 664901 h 1260409"/>
                  <a:gd name="connsiteX737" fmla="*/ 595508 w 1189600"/>
                  <a:gd name="connsiteY737" fmla="*/ 667734 h 1260409"/>
                  <a:gd name="connsiteX738" fmla="*/ 632330 w 1189600"/>
                  <a:gd name="connsiteY738" fmla="*/ 611086 h 1260409"/>
                  <a:gd name="connsiteX739" fmla="*/ 1111002 w 1189600"/>
                  <a:gd name="connsiteY739" fmla="*/ 548774 h 1260409"/>
                  <a:gd name="connsiteX740" fmla="*/ 1111002 w 1189600"/>
                  <a:gd name="connsiteY740" fmla="*/ 545941 h 1260409"/>
                  <a:gd name="connsiteX741" fmla="*/ 1123748 w 1189600"/>
                  <a:gd name="connsiteY741" fmla="*/ 550190 h 1260409"/>
                  <a:gd name="connsiteX742" fmla="*/ 1111002 w 1189600"/>
                  <a:gd name="connsiteY742" fmla="*/ 548774 h 1260409"/>
                  <a:gd name="connsiteX743" fmla="*/ 1050106 w 1189600"/>
                  <a:gd name="connsiteY743" fmla="*/ 524699 h 1260409"/>
                  <a:gd name="connsiteX744" fmla="*/ 1050106 w 1189600"/>
                  <a:gd name="connsiteY744" fmla="*/ 524699 h 1260409"/>
                  <a:gd name="connsiteX745" fmla="*/ 1048690 w 1189600"/>
                  <a:gd name="connsiteY745" fmla="*/ 526115 h 1260409"/>
                  <a:gd name="connsiteX746" fmla="*/ 1051522 w 1189600"/>
                  <a:gd name="connsiteY746" fmla="*/ 523282 h 1260409"/>
                  <a:gd name="connsiteX747" fmla="*/ 1051522 w 1189600"/>
                  <a:gd name="connsiteY747" fmla="*/ 523282 h 1260409"/>
                  <a:gd name="connsiteX748" fmla="*/ 965135 w 1189600"/>
                  <a:gd name="connsiteY748" fmla="*/ 524699 h 1260409"/>
                  <a:gd name="connsiteX749" fmla="*/ 1120916 w 1189600"/>
                  <a:gd name="connsiteY749" fmla="*/ 443975 h 1260409"/>
                  <a:gd name="connsiteX750" fmla="*/ 1109586 w 1189600"/>
                  <a:gd name="connsiteY750" fmla="*/ 545941 h 1260409"/>
                  <a:gd name="connsiteX751" fmla="*/ 1050106 w 1189600"/>
                  <a:gd name="connsiteY751" fmla="*/ 524699 h 1260409"/>
                  <a:gd name="connsiteX752" fmla="*/ 1044441 w 1189600"/>
                  <a:gd name="connsiteY752" fmla="*/ 527531 h 1260409"/>
                  <a:gd name="connsiteX753" fmla="*/ 1024614 w 1189600"/>
                  <a:gd name="connsiteY753" fmla="*/ 536028 h 1260409"/>
                  <a:gd name="connsiteX754" fmla="*/ 958054 w 1189600"/>
                  <a:gd name="connsiteY754" fmla="*/ 526115 h 1260409"/>
                  <a:gd name="connsiteX755" fmla="*/ 959470 w 1189600"/>
                  <a:gd name="connsiteY755" fmla="*/ 524699 h 1260409"/>
                  <a:gd name="connsiteX756" fmla="*/ 1045857 w 1189600"/>
                  <a:gd name="connsiteY756" fmla="*/ 523282 h 1260409"/>
                  <a:gd name="connsiteX757" fmla="*/ 1044441 w 1189600"/>
                  <a:gd name="connsiteY757" fmla="*/ 527531 h 1260409"/>
                  <a:gd name="connsiteX758" fmla="*/ 863169 w 1189600"/>
                  <a:gd name="connsiteY758" fmla="*/ 572849 h 1260409"/>
                  <a:gd name="connsiteX759" fmla="*/ 850423 w 1189600"/>
                  <a:gd name="connsiteY759" fmla="*/ 526115 h 1260409"/>
                  <a:gd name="connsiteX760" fmla="*/ 939643 w 1189600"/>
                  <a:gd name="connsiteY760" fmla="*/ 524699 h 1260409"/>
                  <a:gd name="connsiteX761" fmla="*/ 952389 w 1189600"/>
                  <a:gd name="connsiteY761" fmla="*/ 526115 h 1260409"/>
                  <a:gd name="connsiteX762" fmla="*/ 863169 w 1189600"/>
                  <a:gd name="connsiteY762" fmla="*/ 572849 h 1260409"/>
                  <a:gd name="connsiteX763" fmla="*/ 849007 w 1189600"/>
                  <a:gd name="connsiteY763" fmla="*/ 524699 h 1260409"/>
                  <a:gd name="connsiteX764" fmla="*/ 844759 w 1189600"/>
                  <a:gd name="connsiteY764" fmla="*/ 511953 h 1260409"/>
                  <a:gd name="connsiteX765" fmla="*/ 925481 w 1189600"/>
                  <a:gd name="connsiteY765" fmla="*/ 523282 h 1260409"/>
                  <a:gd name="connsiteX766" fmla="*/ 849007 w 1189600"/>
                  <a:gd name="connsiteY766" fmla="*/ 524699 h 1260409"/>
                  <a:gd name="connsiteX767" fmla="*/ 958054 w 1189600"/>
                  <a:gd name="connsiteY767" fmla="*/ 370334 h 1260409"/>
                  <a:gd name="connsiteX768" fmla="*/ 958054 w 1189600"/>
                  <a:gd name="connsiteY768" fmla="*/ 370334 h 1260409"/>
                  <a:gd name="connsiteX769" fmla="*/ 857504 w 1189600"/>
                  <a:gd name="connsiteY769" fmla="*/ 269784 h 1260409"/>
                  <a:gd name="connsiteX770" fmla="*/ 778197 w 1189600"/>
                  <a:gd name="connsiteY770" fmla="*/ 385912 h 1260409"/>
                  <a:gd name="connsiteX771" fmla="*/ 766868 w 1189600"/>
                  <a:gd name="connsiteY771" fmla="*/ 387328 h 1260409"/>
                  <a:gd name="connsiteX772" fmla="*/ 694642 w 1189600"/>
                  <a:gd name="connsiteY772" fmla="*/ 283946 h 1260409"/>
                  <a:gd name="connsiteX773" fmla="*/ 919817 w 1189600"/>
                  <a:gd name="connsiteY773" fmla="*/ 221634 h 1260409"/>
                  <a:gd name="connsiteX774" fmla="*/ 960886 w 1189600"/>
                  <a:gd name="connsiteY774" fmla="*/ 213137 h 1260409"/>
                  <a:gd name="connsiteX775" fmla="*/ 1081262 w 1189600"/>
                  <a:gd name="connsiteY775" fmla="*/ 361837 h 1260409"/>
                  <a:gd name="connsiteX776" fmla="*/ 955221 w 1189600"/>
                  <a:gd name="connsiteY776" fmla="*/ 371750 h 1260409"/>
                  <a:gd name="connsiteX777" fmla="*/ 958054 w 1189600"/>
                  <a:gd name="connsiteY777" fmla="*/ 370334 h 1260409"/>
                  <a:gd name="connsiteX778" fmla="*/ 596925 w 1189600"/>
                  <a:gd name="connsiteY778" fmla="*/ 214553 h 1260409"/>
                  <a:gd name="connsiteX779" fmla="*/ 601173 w 1189600"/>
                  <a:gd name="connsiteY779" fmla="*/ 167818 h 1260409"/>
                  <a:gd name="connsiteX780" fmla="*/ 664902 w 1189600"/>
                  <a:gd name="connsiteY780" fmla="*/ 163570 h 1260409"/>
                  <a:gd name="connsiteX781" fmla="*/ 946724 w 1189600"/>
                  <a:gd name="connsiteY781" fmla="*/ 207472 h 1260409"/>
                  <a:gd name="connsiteX782" fmla="*/ 596925 w 1189600"/>
                  <a:gd name="connsiteY782" fmla="*/ 214553 h 1260409"/>
                  <a:gd name="connsiteX783" fmla="*/ 517618 w 1189600"/>
                  <a:gd name="connsiteY783" fmla="*/ 139494 h 1260409"/>
                  <a:gd name="connsiteX784" fmla="*/ 608254 w 1189600"/>
                  <a:gd name="connsiteY784" fmla="*/ 44610 h 1260409"/>
                  <a:gd name="connsiteX785" fmla="*/ 584179 w 1189600"/>
                  <a:gd name="connsiteY785" fmla="*/ 149408 h 1260409"/>
                  <a:gd name="connsiteX786" fmla="*/ 517618 w 1189600"/>
                  <a:gd name="connsiteY786" fmla="*/ 139494 h 1260409"/>
                  <a:gd name="connsiteX787" fmla="*/ 460970 w 1189600"/>
                  <a:gd name="connsiteY787" fmla="*/ 196142 h 1260409"/>
                  <a:gd name="connsiteX788" fmla="*/ 407155 w 1189600"/>
                  <a:gd name="connsiteY788" fmla="*/ 125333 h 1260409"/>
                  <a:gd name="connsiteX789" fmla="*/ 513369 w 1189600"/>
                  <a:gd name="connsiteY789" fmla="*/ 142327 h 1260409"/>
                  <a:gd name="connsiteX790" fmla="*/ 460970 w 1189600"/>
                  <a:gd name="connsiteY790" fmla="*/ 196142 h 1260409"/>
                  <a:gd name="connsiteX791" fmla="*/ 401490 w 1189600"/>
                  <a:gd name="connsiteY791" fmla="*/ 123917 h 1260409"/>
                  <a:gd name="connsiteX792" fmla="*/ 402907 w 1189600"/>
                  <a:gd name="connsiteY792" fmla="*/ 122500 h 1260409"/>
                  <a:gd name="connsiteX793" fmla="*/ 402907 w 1189600"/>
                  <a:gd name="connsiteY793" fmla="*/ 122500 h 1260409"/>
                  <a:gd name="connsiteX794" fmla="*/ 401490 w 1189600"/>
                  <a:gd name="connsiteY794" fmla="*/ 123917 h 1260409"/>
                  <a:gd name="connsiteX795" fmla="*/ 320768 w 1189600"/>
                  <a:gd name="connsiteY795" fmla="*/ 223050 h 1260409"/>
                  <a:gd name="connsiteX796" fmla="*/ 320768 w 1189600"/>
                  <a:gd name="connsiteY796" fmla="*/ 223050 h 1260409"/>
                  <a:gd name="connsiteX797" fmla="*/ 443976 w 1189600"/>
                  <a:gd name="connsiteY797" fmla="*/ 221634 h 1260409"/>
                  <a:gd name="connsiteX798" fmla="*/ 316518 w 1189600"/>
                  <a:gd name="connsiteY798" fmla="*/ 344842 h 1260409"/>
                  <a:gd name="connsiteX799" fmla="*/ 315103 w 1189600"/>
                  <a:gd name="connsiteY799" fmla="*/ 343426 h 1260409"/>
                  <a:gd name="connsiteX800" fmla="*/ 315103 w 1189600"/>
                  <a:gd name="connsiteY800" fmla="*/ 343426 h 1260409"/>
                  <a:gd name="connsiteX801" fmla="*/ 105506 w 1189600"/>
                  <a:gd name="connsiteY801" fmla="*/ 368918 h 1260409"/>
                  <a:gd name="connsiteX802" fmla="*/ 238628 w 1189600"/>
                  <a:gd name="connsiteY802" fmla="*/ 299524 h 1260409"/>
                  <a:gd name="connsiteX803" fmla="*/ 238628 w 1189600"/>
                  <a:gd name="connsiteY803" fmla="*/ 299524 h 1260409"/>
                  <a:gd name="connsiteX804" fmla="*/ 289611 w 1189600"/>
                  <a:gd name="connsiteY804" fmla="*/ 204639 h 1260409"/>
                  <a:gd name="connsiteX805" fmla="*/ 391577 w 1189600"/>
                  <a:gd name="connsiteY805" fmla="*/ 135246 h 1260409"/>
                  <a:gd name="connsiteX806" fmla="*/ 320768 w 1189600"/>
                  <a:gd name="connsiteY806" fmla="*/ 223050 h 1260409"/>
                  <a:gd name="connsiteX807" fmla="*/ 139495 w 1189600"/>
                  <a:gd name="connsiteY807" fmla="*/ 405739 h 1260409"/>
                  <a:gd name="connsiteX808" fmla="*/ 139495 w 1189600"/>
                  <a:gd name="connsiteY808" fmla="*/ 405739 h 1260409"/>
                  <a:gd name="connsiteX809" fmla="*/ 48859 w 1189600"/>
                  <a:gd name="connsiteY809" fmla="*/ 392993 h 1260409"/>
                  <a:gd name="connsiteX810" fmla="*/ 92760 w 1189600"/>
                  <a:gd name="connsiteY810" fmla="*/ 373166 h 1260409"/>
                  <a:gd name="connsiteX811" fmla="*/ 92760 w 1189600"/>
                  <a:gd name="connsiteY811" fmla="*/ 373166 h 1260409"/>
                  <a:gd name="connsiteX812" fmla="*/ 139495 w 1189600"/>
                  <a:gd name="connsiteY812" fmla="*/ 405739 h 1260409"/>
                  <a:gd name="connsiteX813" fmla="*/ 135246 w 1189600"/>
                  <a:gd name="connsiteY813" fmla="*/ 408571 h 1260409"/>
                  <a:gd name="connsiteX814" fmla="*/ 74350 w 1189600"/>
                  <a:gd name="connsiteY814" fmla="*/ 439727 h 1260409"/>
                  <a:gd name="connsiteX815" fmla="*/ 43194 w 1189600"/>
                  <a:gd name="connsiteY815" fmla="*/ 395825 h 1260409"/>
                  <a:gd name="connsiteX816" fmla="*/ 46026 w 1189600"/>
                  <a:gd name="connsiteY816" fmla="*/ 394409 h 1260409"/>
                  <a:gd name="connsiteX817" fmla="*/ 135246 w 1189600"/>
                  <a:gd name="connsiteY817" fmla="*/ 408571 h 1260409"/>
                  <a:gd name="connsiteX818" fmla="*/ 75766 w 1189600"/>
                  <a:gd name="connsiteY818" fmla="*/ 445392 h 1260409"/>
                  <a:gd name="connsiteX819" fmla="*/ 75766 w 1189600"/>
                  <a:gd name="connsiteY819" fmla="*/ 445392 h 1260409"/>
                  <a:gd name="connsiteX820" fmla="*/ 119668 w 1189600"/>
                  <a:gd name="connsiteY820" fmla="*/ 442560 h 1260409"/>
                  <a:gd name="connsiteX821" fmla="*/ 24783 w 1189600"/>
                  <a:gd name="connsiteY821" fmla="*/ 468051 h 1260409"/>
                  <a:gd name="connsiteX822" fmla="*/ 74350 w 1189600"/>
                  <a:gd name="connsiteY822" fmla="*/ 442560 h 1260409"/>
                  <a:gd name="connsiteX823" fmla="*/ 75766 w 1189600"/>
                  <a:gd name="connsiteY823" fmla="*/ 445392 h 1260409"/>
                  <a:gd name="connsiteX824" fmla="*/ 181980 w 1189600"/>
                  <a:gd name="connsiteY824" fmla="*/ 436895 h 1260409"/>
                  <a:gd name="connsiteX825" fmla="*/ 317935 w 1189600"/>
                  <a:gd name="connsiteY825" fmla="*/ 533196 h 1260409"/>
                  <a:gd name="connsiteX826" fmla="*/ 235796 w 1189600"/>
                  <a:gd name="connsiteY826" fmla="*/ 534612 h 1260409"/>
                  <a:gd name="connsiteX827" fmla="*/ 234380 w 1189600"/>
                  <a:gd name="connsiteY827" fmla="*/ 489294 h 1260409"/>
                  <a:gd name="connsiteX828" fmla="*/ 234380 w 1189600"/>
                  <a:gd name="connsiteY828" fmla="*/ 489294 h 1260409"/>
                  <a:gd name="connsiteX829" fmla="*/ 231547 w 1189600"/>
                  <a:gd name="connsiteY829" fmla="*/ 489294 h 1260409"/>
                  <a:gd name="connsiteX830" fmla="*/ 232964 w 1189600"/>
                  <a:gd name="connsiteY830" fmla="*/ 485045 h 1260409"/>
                  <a:gd name="connsiteX831" fmla="*/ 232964 w 1189600"/>
                  <a:gd name="connsiteY831" fmla="*/ 483629 h 1260409"/>
                  <a:gd name="connsiteX832" fmla="*/ 224466 w 1189600"/>
                  <a:gd name="connsiteY832" fmla="*/ 490710 h 1260409"/>
                  <a:gd name="connsiteX833" fmla="*/ 97009 w 1189600"/>
                  <a:gd name="connsiteY833" fmla="*/ 526115 h 1260409"/>
                  <a:gd name="connsiteX834" fmla="*/ 136663 w 1189600"/>
                  <a:gd name="connsiteY834" fmla="*/ 441143 h 1260409"/>
                  <a:gd name="connsiteX835" fmla="*/ 181980 w 1189600"/>
                  <a:gd name="connsiteY835" fmla="*/ 436895 h 1260409"/>
                  <a:gd name="connsiteX836" fmla="*/ 208888 w 1189600"/>
                  <a:gd name="connsiteY836" fmla="*/ 636578 h 1260409"/>
                  <a:gd name="connsiteX837" fmla="*/ 160737 w 1189600"/>
                  <a:gd name="connsiteY837" fmla="*/ 659237 h 1260409"/>
                  <a:gd name="connsiteX838" fmla="*/ 177732 w 1189600"/>
                  <a:gd name="connsiteY838" fmla="*/ 618167 h 1260409"/>
                  <a:gd name="connsiteX839" fmla="*/ 208888 w 1189600"/>
                  <a:gd name="connsiteY839" fmla="*/ 636578 h 1260409"/>
                  <a:gd name="connsiteX840" fmla="*/ 102674 w 1189600"/>
                  <a:gd name="connsiteY840" fmla="*/ 788110 h 1260409"/>
                  <a:gd name="connsiteX841" fmla="*/ 77183 w 1189600"/>
                  <a:gd name="connsiteY841" fmla="*/ 698890 h 1260409"/>
                  <a:gd name="connsiteX842" fmla="*/ 156489 w 1189600"/>
                  <a:gd name="connsiteY842" fmla="*/ 662069 h 1260409"/>
                  <a:gd name="connsiteX843" fmla="*/ 102674 w 1189600"/>
                  <a:gd name="connsiteY843" fmla="*/ 788110 h 1260409"/>
                  <a:gd name="connsiteX844" fmla="*/ 104090 w 1189600"/>
                  <a:gd name="connsiteY844" fmla="*/ 799439 h 1260409"/>
                  <a:gd name="connsiteX845" fmla="*/ 95593 w 1189600"/>
                  <a:gd name="connsiteY845" fmla="*/ 812185 h 1260409"/>
                  <a:gd name="connsiteX846" fmla="*/ 102674 w 1189600"/>
                  <a:gd name="connsiteY846" fmla="*/ 795191 h 1260409"/>
                  <a:gd name="connsiteX847" fmla="*/ 104090 w 1189600"/>
                  <a:gd name="connsiteY847" fmla="*/ 799439 h 1260409"/>
                  <a:gd name="connsiteX848" fmla="*/ 357588 w 1189600"/>
                  <a:gd name="connsiteY848" fmla="*/ 790942 h 1260409"/>
                  <a:gd name="connsiteX849" fmla="*/ 357588 w 1189600"/>
                  <a:gd name="connsiteY849" fmla="*/ 790942 h 1260409"/>
                  <a:gd name="connsiteX850" fmla="*/ 405739 w 1189600"/>
                  <a:gd name="connsiteY850" fmla="*/ 756954 h 1260409"/>
                  <a:gd name="connsiteX851" fmla="*/ 405739 w 1189600"/>
                  <a:gd name="connsiteY851" fmla="*/ 756954 h 1260409"/>
                  <a:gd name="connsiteX852" fmla="*/ 405739 w 1189600"/>
                  <a:gd name="connsiteY852" fmla="*/ 754122 h 1260409"/>
                  <a:gd name="connsiteX853" fmla="*/ 441144 w 1189600"/>
                  <a:gd name="connsiteY853" fmla="*/ 747041 h 1260409"/>
                  <a:gd name="connsiteX854" fmla="*/ 469468 w 1189600"/>
                  <a:gd name="connsiteY854" fmla="*/ 772532 h 1260409"/>
                  <a:gd name="connsiteX855" fmla="*/ 303773 w 1189600"/>
                  <a:gd name="connsiteY855" fmla="*/ 844758 h 1260409"/>
                  <a:gd name="connsiteX856" fmla="*/ 281114 w 1189600"/>
                  <a:gd name="connsiteY856" fmla="*/ 769699 h 1260409"/>
                  <a:gd name="connsiteX857" fmla="*/ 357588 w 1189600"/>
                  <a:gd name="connsiteY857" fmla="*/ 790942 h 1260409"/>
                  <a:gd name="connsiteX858" fmla="*/ 434063 w 1189600"/>
                  <a:gd name="connsiteY858" fmla="*/ 630913 h 1260409"/>
                  <a:gd name="connsiteX859" fmla="*/ 434063 w 1189600"/>
                  <a:gd name="connsiteY859" fmla="*/ 630913 h 1260409"/>
                  <a:gd name="connsiteX860" fmla="*/ 424150 w 1189600"/>
                  <a:gd name="connsiteY860" fmla="*/ 608254 h 1260409"/>
                  <a:gd name="connsiteX861" fmla="*/ 544526 w 1189600"/>
                  <a:gd name="connsiteY861" fmla="*/ 693225 h 1260409"/>
                  <a:gd name="connsiteX862" fmla="*/ 558688 w 1189600"/>
                  <a:gd name="connsiteY862" fmla="*/ 721549 h 1260409"/>
                  <a:gd name="connsiteX863" fmla="*/ 442560 w 1189600"/>
                  <a:gd name="connsiteY863" fmla="*/ 744208 h 1260409"/>
                  <a:gd name="connsiteX864" fmla="*/ 414236 w 1189600"/>
                  <a:gd name="connsiteY864" fmla="*/ 718717 h 1260409"/>
                  <a:gd name="connsiteX865" fmla="*/ 434063 w 1189600"/>
                  <a:gd name="connsiteY865" fmla="*/ 630913 h 1260409"/>
                  <a:gd name="connsiteX866" fmla="*/ 561520 w 1189600"/>
                  <a:gd name="connsiteY866" fmla="*/ 704555 h 1260409"/>
                  <a:gd name="connsiteX867" fmla="*/ 565769 w 1189600"/>
                  <a:gd name="connsiteY867" fmla="*/ 707387 h 1260409"/>
                  <a:gd name="connsiteX868" fmla="*/ 561520 w 1189600"/>
                  <a:gd name="connsiteY868" fmla="*/ 714468 h 1260409"/>
                  <a:gd name="connsiteX869" fmla="*/ 561520 w 1189600"/>
                  <a:gd name="connsiteY869" fmla="*/ 704555 h 1260409"/>
                  <a:gd name="connsiteX870" fmla="*/ 561520 w 1189600"/>
                  <a:gd name="connsiteY870" fmla="*/ 670566 h 1260409"/>
                  <a:gd name="connsiteX871" fmla="*/ 577098 w 1189600"/>
                  <a:gd name="connsiteY871" fmla="*/ 670566 h 1260409"/>
                  <a:gd name="connsiteX872" fmla="*/ 585595 w 1189600"/>
                  <a:gd name="connsiteY872" fmla="*/ 677647 h 1260409"/>
                  <a:gd name="connsiteX873" fmla="*/ 567185 w 1189600"/>
                  <a:gd name="connsiteY873" fmla="*/ 705971 h 1260409"/>
                  <a:gd name="connsiteX874" fmla="*/ 561520 w 1189600"/>
                  <a:gd name="connsiteY874" fmla="*/ 701722 h 1260409"/>
                  <a:gd name="connsiteX875" fmla="*/ 561520 w 1189600"/>
                  <a:gd name="connsiteY875" fmla="*/ 670566 h 1260409"/>
                  <a:gd name="connsiteX876" fmla="*/ 588427 w 1189600"/>
                  <a:gd name="connsiteY876" fmla="*/ 677647 h 1260409"/>
                  <a:gd name="connsiteX877" fmla="*/ 594092 w 1189600"/>
                  <a:gd name="connsiteY877" fmla="*/ 669150 h 1260409"/>
                  <a:gd name="connsiteX878" fmla="*/ 690393 w 1189600"/>
                  <a:gd name="connsiteY878" fmla="*/ 666318 h 1260409"/>
                  <a:gd name="connsiteX879" fmla="*/ 683312 w 1189600"/>
                  <a:gd name="connsiteY879" fmla="*/ 762618 h 1260409"/>
                  <a:gd name="connsiteX880" fmla="*/ 588427 w 1189600"/>
                  <a:gd name="connsiteY880" fmla="*/ 677647 h 1260409"/>
                  <a:gd name="connsiteX881" fmla="*/ 694642 w 1189600"/>
                  <a:gd name="connsiteY881" fmla="*/ 615335 h 1260409"/>
                  <a:gd name="connsiteX882" fmla="*/ 792359 w 1189600"/>
                  <a:gd name="connsiteY882" fmla="*/ 622416 h 1260409"/>
                  <a:gd name="connsiteX883" fmla="*/ 796608 w 1189600"/>
                  <a:gd name="connsiteY883" fmla="*/ 626664 h 1260409"/>
                  <a:gd name="connsiteX884" fmla="*/ 800856 w 1189600"/>
                  <a:gd name="connsiteY884" fmla="*/ 662069 h 1260409"/>
                  <a:gd name="connsiteX885" fmla="*/ 691809 w 1189600"/>
                  <a:gd name="connsiteY885" fmla="*/ 666318 h 1260409"/>
                  <a:gd name="connsiteX886" fmla="*/ 694642 w 1189600"/>
                  <a:gd name="connsiteY886" fmla="*/ 615335 h 1260409"/>
                  <a:gd name="connsiteX887" fmla="*/ 832012 w 1189600"/>
                  <a:gd name="connsiteY887" fmla="*/ 662069 h 1260409"/>
                  <a:gd name="connsiteX888" fmla="*/ 904238 w 1189600"/>
                  <a:gd name="connsiteY888" fmla="*/ 761203 h 1260409"/>
                  <a:gd name="connsiteX889" fmla="*/ 833428 w 1189600"/>
                  <a:gd name="connsiteY889" fmla="*/ 875914 h 1260409"/>
                  <a:gd name="connsiteX890" fmla="*/ 827764 w 1189600"/>
                  <a:gd name="connsiteY890" fmla="*/ 874498 h 1260409"/>
                  <a:gd name="connsiteX891" fmla="*/ 803689 w 1189600"/>
                  <a:gd name="connsiteY891" fmla="*/ 663485 h 1260409"/>
                  <a:gd name="connsiteX892" fmla="*/ 832012 w 1189600"/>
                  <a:gd name="connsiteY892" fmla="*/ 662069 h 1260409"/>
                  <a:gd name="connsiteX893" fmla="*/ 870250 w 1189600"/>
                  <a:gd name="connsiteY893" fmla="*/ 887243 h 1260409"/>
                  <a:gd name="connsiteX894" fmla="*/ 827764 w 1189600"/>
                  <a:gd name="connsiteY894" fmla="*/ 890076 h 1260409"/>
                  <a:gd name="connsiteX895" fmla="*/ 836261 w 1189600"/>
                  <a:gd name="connsiteY895" fmla="*/ 877330 h 1260409"/>
                  <a:gd name="connsiteX896" fmla="*/ 870250 w 1189600"/>
                  <a:gd name="connsiteY896" fmla="*/ 887243 h 1260409"/>
                  <a:gd name="connsiteX897" fmla="*/ 948140 w 1189600"/>
                  <a:gd name="connsiteY897" fmla="*/ 882995 h 1260409"/>
                  <a:gd name="connsiteX898" fmla="*/ 948140 w 1189600"/>
                  <a:gd name="connsiteY898" fmla="*/ 882995 h 1260409"/>
                  <a:gd name="connsiteX899" fmla="*/ 948140 w 1189600"/>
                  <a:gd name="connsiteY899" fmla="*/ 882995 h 1260409"/>
                  <a:gd name="connsiteX900" fmla="*/ 956637 w 1189600"/>
                  <a:gd name="connsiteY900" fmla="*/ 908486 h 1260409"/>
                  <a:gd name="connsiteX901" fmla="*/ 881579 w 1189600"/>
                  <a:gd name="connsiteY901" fmla="*/ 887243 h 1260409"/>
                  <a:gd name="connsiteX902" fmla="*/ 948140 w 1189600"/>
                  <a:gd name="connsiteY902" fmla="*/ 882995 h 1260409"/>
                  <a:gd name="connsiteX903" fmla="*/ 1122332 w 1189600"/>
                  <a:gd name="connsiteY903" fmla="*/ 681896 h 1260409"/>
                  <a:gd name="connsiteX904" fmla="*/ 1125164 w 1189600"/>
                  <a:gd name="connsiteY904" fmla="*/ 684728 h 1260409"/>
                  <a:gd name="connsiteX905" fmla="*/ 1123748 w 1189600"/>
                  <a:gd name="connsiteY905" fmla="*/ 691809 h 1260409"/>
                  <a:gd name="connsiteX906" fmla="*/ 1122332 w 1189600"/>
                  <a:gd name="connsiteY906" fmla="*/ 681896 h 1260409"/>
                  <a:gd name="connsiteX907" fmla="*/ 1147823 w 1189600"/>
                  <a:gd name="connsiteY907" fmla="*/ 558687 h 1260409"/>
                  <a:gd name="connsiteX908" fmla="*/ 1147823 w 1189600"/>
                  <a:gd name="connsiteY908" fmla="*/ 558687 h 1260409"/>
                  <a:gd name="connsiteX909" fmla="*/ 1147823 w 1189600"/>
                  <a:gd name="connsiteY909" fmla="*/ 558687 h 1260409"/>
                  <a:gd name="connsiteX910" fmla="*/ 1190309 w 1189600"/>
                  <a:gd name="connsiteY910" fmla="*/ 555855 h 1260409"/>
                  <a:gd name="connsiteX911" fmla="*/ 1187476 w 1189600"/>
                  <a:gd name="connsiteY911" fmla="*/ 747041 h 1260409"/>
                  <a:gd name="connsiteX912" fmla="*/ 1126580 w 1189600"/>
                  <a:gd name="connsiteY912" fmla="*/ 683312 h 1260409"/>
                  <a:gd name="connsiteX913" fmla="*/ 1147823 w 1189600"/>
                  <a:gd name="connsiteY913" fmla="*/ 558687 h 1260409"/>
                  <a:gd name="connsiteX914" fmla="*/ 112587 w 1189600"/>
                  <a:gd name="connsiteY914" fmla="*/ 578514 h 1260409"/>
                  <a:gd name="connsiteX915" fmla="*/ 51691 w 1189600"/>
                  <a:gd name="connsiteY915" fmla="*/ 625248 h 1260409"/>
                  <a:gd name="connsiteX916" fmla="*/ 81431 w 1189600"/>
                  <a:gd name="connsiteY916" fmla="*/ 560103 h 1260409"/>
                  <a:gd name="connsiteX917" fmla="*/ 112587 w 1189600"/>
                  <a:gd name="connsiteY917" fmla="*/ 578514 h 1260409"/>
                  <a:gd name="connsiteX918" fmla="*/ 568601 w 1189600"/>
                  <a:gd name="connsiteY918" fmla="*/ 707387 h 1260409"/>
                  <a:gd name="connsiteX919" fmla="*/ 587012 w 1189600"/>
                  <a:gd name="connsiteY919" fmla="*/ 679063 h 1260409"/>
                  <a:gd name="connsiteX920" fmla="*/ 683312 w 1189600"/>
                  <a:gd name="connsiteY920" fmla="*/ 764035 h 1260409"/>
                  <a:gd name="connsiteX921" fmla="*/ 681897 w 1189600"/>
                  <a:gd name="connsiteY921" fmla="*/ 786694 h 1260409"/>
                  <a:gd name="connsiteX922" fmla="*/ 568601 w 1189600"/>
                  <a:gd name="connsiteY922" fmla="*/ 707387 h 1260409"/>
                  <a:gd name="connsiteX923" fmla="*/ 950973 w 1189600"/>
                  <a:gd name="connsiteY923" fmla="*/ 213137 h 1260409"/>
                  <a:gd name="connsiteX924" fmla="*/ 960886 w 1189600"/>
                  <a:gd name="connsiteY924" fmla="*/ 210304 h 1260409"/>
                  <a:gd name="connsiteX925" fmla="*/ 962302 w 1189600"/>
                  <a:gd name="connsiteY925" fmla="*/ 210304 h 1260409"/>
                  <a:gd name="connsiteX926" fmla="*/ 950973 w 1189600"/>
                  <a:gd name="connsiteY926" fmla="*/ 213137 h 1260409"/>
                  <a:gd name="connsiteX927" fmla="*/ 599757 w 1189600"/>
                  <a:gd name="connsiteY927" fmla="*/ 152241 h 1260409"/>
                  <a:gd name="connsiteX928" fmla="*/ 585595 w 1189600"/>
                  <a:gd name="connsiteY928" fmla="*/ 149408 h 1260409"/>
                  <a:gd name="connsiteX929" fmla="*/ 609670 w 1189600"/>
                  <a:gd name="connsiteY929" fmla="*/ 43194 h 1260409"/>
                  <a:gd name="connsiteX930" fmla="*/ 599757 w 1189600"/>
                  <a:gd name="connsiteY930" fmla="*/ 152241 h 1260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Lst>
                <a:rect l="l" t="t" r="r" b="b"/>
                <a:pathLst>
                  <a:path w="1189600" h="1260409">
                    <a:moveTo>
                      <a:pt x="1147823" y="557271"/>
                    </a:moveTo>
                    <a:lnTo>
                      <a:pt x="1147823" y="555855"/>
                    </a:lnTo>
                    <a:lnTo>
                      <a:pt x="1147823" y="555855"/>
                    </a:lnTo>
                    <a:lnTo>
                      <a:pt x="1135078" y="554439"/>
                    </a:lnTo>
                    <a:lnTo>
                      <a:pt x="1109586" y="545941"/>
                    </a:lnTo>
                    <a:lnTo>
                      <a:pt x="1120916" y="441143"/>
                    </a:lnTo>
                    <a:lnTo>
                      <a:pt x="1120916" y="441143"/>
                    </a:lnTo>
                    <a:lnTo>
                      <a:pt x="958054" y="526115"/>
                    </a:lnTo>
                    <a:lnTo>
                      <a:pt x="938227" y="526115"/>
                    </a:lnTo>
                    <a:lnTo>
                      <a:pt x="843342" y="511953"/>
                    </a:lnTo>
                    <a:lnTo>
                      <a:pt x="820683" y="431230"/>
                    </a:lnTo>
                    <a:lnTo>
                      <a:pt x="948140" y="375999"/>
                    </a:lnTo>
                    <a:lnTo>
                      <a:pt x="1084094" y="364669"/>
                    </a:lnTo>
                    <a:lnTo>
                      <a:pt x="1084094" y="364669"/>
                    </a:lnTo>
                    <a:lnTo>
                      <a:pt x="960886" y="211720"/>
                    </a:lnTo>
                    <a:lnTo>
                      <a:pt x="965135" y="211720"/>
                    </a:lnTo>
                    <a:lnTo>
                      <a:pt x="959470" y="208888"/>
                    </a:lnTo>
                    <a:lnTo>
                      <a:pt x="959470" y="208888"/>
                    </a:lnTo>
                    <a:lnTo>
                      <a:pt x="958054" y="208888"/>
                    </a:lnTo>
                    <a:lnTo>
                      <a:pt x="882995" y="172067"/>
                    </a:lnTo>
                    <a:lnTo>
                      <a:pt x="887244" y="21951"/>
                    </a:lnTo>
                    <a:lnTo>
                      <a:pt x="928313" y="126749"/>
                    </a:lnTo>
                    <a:lnTo>
                      <a:pt x="928313" y="126749"/>
                    </a:lnTo>
                    <a:lnTo>
                      <a:pt x="929730" y="125333"/>
                    </a:lnTo>
                    <a:lnTo>
                      <a:pt x="885828" y="12037"/>
                    </a:lnTo>
                    <a:lnTo>
                      <a:pt x="885828" y="10621"/>
                    </a:lnTo>
                    <a:lnTo>
                      <a:pt x="881579" y="172067"/>
                    </a:lnTo>
                    <a:lnTo>
                      <a:pt x="881579" y="172067"/>
                    </a:lnTo>
                    <a:lnTo>
                      <a:pt x="952389" y="206056"/>
                    </a:lnTo>
                    <a:lnTo>
                      <a:pt x="673399" y="163570"/>
                    </a:lnTo>
                    <a:lnTo>
                      <a:pt x="721550" y="160737"/>
                    </a:lnTo>
                    <a:lnTo>
                      <a:pt x="721550" y="160737"/>
                    </a:lnTo>
                    <a:lnTo>
                      <a:pt x="608254" y="41777"/>
                    </a:lnTo>
                    <a:lnTo>
                      <a:pt x="608254" y="41777"/>
                    </a:lnTo>
                    <a:lnTo>
                      <a:pt x="608254" y="38945"/>
                    </a:lnTo>
                    <a:lnTo>
                      <a:pt x="608254" y="37529"/>
                    </a:lnTo>
                    <a:lnTo>
                      <a:pt x="511954" y="138079"/>
                    </a:lnTo>
                    <a:lnTo>
                      <a:pt x="402907" y="121084"/>
                    </a:lnTo>
                    <a:lnTo>
                      <a:pt x="400074" y="118252"/>
                    </a:lnTo>
                    <a:lnTo>
                      <a:pt x="400074" y="118252"/>
                    </a:lnTo>
                    <a:lnTo>
                      <a:pt x="392993" y="126749"/>
                    </a:lnTo>
                    <a:lnTo>
                      <a:pt x="283946" y="200391"/>
                    </a:lnTo>
                    <a:lnTo>
                      <a:pt x="232964" y="295275"/>
                    </a:lnTo>
                    <a:lnTo>
                      <a:pt x="95593" y="367501"/>
                    </a:lnTo>
                    <a:lnTo>
                      <a:pt x="85679" y="368918"/>
                    </a:lnTo>
                    <a:lnTo>
                      <a:pt x="85679" y="368918"/>
                    </a:lnTo>
                    <a:lnTo>
                      <a:pt x="88512" y="371750"/>
                    </a:lnTo>
                    <a:lnTo>
                      <a:pt x="41778" y="392993"/>
                    </a:lnTo>
                    <a:lnTo>
                      <a:pt x="36113" y="391577"/>
                    </a:lnTo>
                    <a:lnTo>
                      <a:pt x="36113" y="391577"/>
                    </a:lnTo>
                    <a:lnTo>
                      <a:pt x="36113" y="392993"/>
                    </a:lnTo>
                    <a:lnTo>
                      <a:pt x="38945" y="392993"/>
                    </a:lnTo>
                    <a:lnTo>
                      <a:pt x="37529" y="392993"/>
                    </a:lnTo>
                    <a:lnTo>
                      <a:pt x="37529" y="392993"/>
                    </a:lnTo>
                    <a:lnTo>
                      <a:pt x="70102" y="438311"/>
                    </a:lnTo>
                    <a:lnTo>
                      <a:pt x="10621" y="469467"/>
                    </a:lnTo>
                    <a:lnTo>
                      <a:pt x="10621" y="469467"/>
                    </a:lnTo>
                    <a:lnTo>
                      <a:pt x="10621" y="470883"/>
                    </a:lnTo>
                    <a:lnTo>
                      <a:pt x="126749" y="438311"/>
                    </a:lnTo>
                    <a:lnTo>
                      <a:pt x="132414" y="438311"/>
                    </a:lnTo>
                    <a:lnTo>
                      <a:pt x="92760" y="523282"/>
                    </a:lnTo>
                    <a:lnTo>
                      <a:pt x="53107" y="534612"/>
                    </a:lnTo>
                    <a:lnTo>
                      <a:pt x="38945" y="534612"/>
                    </a:lnTo>
                    <a:lnTo>
                      <a:pt x="37529" y="534612"/>
                    </a:lnTo>
                    <a:lnTo>
                      <a:pt x="41778" y="537444"/>
                    </a:lnTo>
                    <a:lnTo>
                      <a:pt x="41778" y="537444"/>
                    </a:lnTo>
                    <a:lnTo>
                      <a:pt x="41778" y="537444"/>
                    </a:lnTo>
                    <a:lnTo>
                      <a:pt x="41778" y="538860"/>
                    </a:lnTo>
                    <a:lnTo>
                      <a:pt x="44610" y="538860"/>
                    </a:lnTo>
                    <a:lnTo>
                      <a:pt x="75766" y="557271"/>
                    </a:lnTo>
                    <a:lnTo>
                      <a:pt x="41778" y="629497"/>
                    </a:lnTo>
                    <a:lnTo>
                      <a:pt x="41778" y="630913"/>
                    </a:lnTo>
                    <a:lnTo>
                      <a:pt x="109755" y="578514"/>
                    </a:lnTo>
                    <a:lnTo>
                      <a:pt x="172068" y="615335"/>
                    </a:lnTo>
                    <a:lnTo>
                      <a:pt x="153656" y="659237"/>
                    </a:lnTo>
                    <a:lnTo>
                      <a:pt x="70102" y="697474"/>
                    </a:lnTo>
                    <a:lnTo>
                      <a:pt x="70102" y="697474"/>
                    </a:lnTo>
                    <a:lnTo>
                      <a:pt x="97009" y="790942"/>
                    </a:lnTo>
                    <a:lnTo>
                      <a:pt x="84264" y="819266"/>
                    </a:lnTo>
                    <a:lnTo>
                      <a:pt x="84264" y="819266"/>
                    </a:lnTo>
                    <a:lnTo>
                      <a:pt x="85679" y="820682"/>
                    </a:lnTo>
                    <a:lnTo>
                      <a:pt x="99841" y="802272"/>
                    </a:lnTo>
                    <a:lnTo>
                      <a:pt x="118252" y="863168"/>
                    </a:lnTo>
                    <a:lnTo>
                      <a:pt x="118252" y="863168"/>
                    </a:lnTo>
                    <a:lnTo>
                      <a:pt x="257039" y="796607"/>
                    </a:lnTo>
                    <a:lnTo>
                      <a:pt x="257039" y="796607"/>
                    </a:lnTo>
                    <a:lnTo>
                      <a:pt x="180564" y="739960"/>
                    </a:lnTo>
                    <a:lnTo>
                      <a:pt x="272617" y="766867"/>
                    </a:lnTo>
                    <a:lnTo>
                      <a:pt x="296692" y="846174"/>
                    </a:lnTo>
                    <a:lnTo>
                      <a:pt x="296692" y="846174"/>
                    </a:lnTo>
                    <a:lnTo>
                      <a:pt x="466635" y="772532"/>
                    </a:lnTo>
                    <a:lnTo>
                      <a:pt x="466635" y="772532"/>
                    </a:lnTo>
                    <a:lnTo>
                      <a:pt x="436895" y="745624"/>
                    </a:lnTo>
                    <a:lnTo>
                      <a:pt x="551607" y="722965"/>
                    </a:lnTo>
                    <a:lnTo>
                      <a:pt x="554439" y="728630"/>
                    </a:lnTo>
                    <a:lnTo>
                      <a:pt x="554439" y="730046"/>
                    </a:lnTo>
                    <a:lnTo>
                      <a:pt x="554439" y="721549"/>
                    </a:lnTo>
                    <a:lnTo>
                      <a:pt x="561520" y="711636"/>
                    </a:lnTo>
                    <a:lnTo>
                      <a:pt x="674816" y="792359"/>
                    </a:lnTo>
                    <a:lnTo>
                      <a:pt x="670566" y="849006"/>
                    </a:lnTo>
                    <a:lnTo>
                      <a:pt x="670566" y="849006"/>
                    </a:lnTo>
                    <a:lnTo>
                      <a:pt x="816435" y="1034527"/>
                    </a:lnTo>
                    <a:lnTo>
                      <a:pt x="1040193" y="1173314"/>
                    </a:lnTo>
                    <a:lnTo>
                      <a:pt x="994874" y="1255453"/>
                    </a:lnTo>
                    <a:lnTo>
                      <a:pt x="994874" y="1255453"/>
                    </a:lnTo>
                    <a:lnTo>
                      <a:pt x="996290" y="1256869"/>
                    </a:lnTo>
                    <a:lnTo>
                      <a:pt x="1043025" y="1173314"/>
                    </a:lnTo>
                    <a:lnTo>
                      <a:pt x="1043025" y="1173314"/>
                    </a:lnTo>
                    <a:lnTo>
                      <a:pt x="817851" y="1033111"/>
                    </a:lnTo>
                    <a:lnTo>
                      <a:pt x="671983" y="849006"/>
                    </a:lnTo>
                    <a:lnTo>
                      <a:pt x="676231" y="793775"/>
                    </a:lnTo>
                    <a:lnTo>
                      <a:pt x="816435" y="892908"/>
                    </a:lnTo>
                    <a:lnTo>
                      <a:pt x="816435" y="892908"/>
                    </a:lnTo>
                    <a:lnTo>
                      <a:pt x="817851" y="891492"/>
                    </a:lnTo>
                    <a:lnTo>
                      <a:pt x="677647" y="766867"/>
                    </a:lnTo>
                    <a:lnTo>
                      <a:pt x="684728" y="669150"/>
                    </a:lnTo>
                    <a:lnTo>
                      <a:pt x="793775" y="664901"/>
                    </a:lnTo>
                    <a:lnTo>
                      <a:pt x="817851" y="877330"/>
                    </a:lnTo>
                    <a:lnTo>
                      <a:pt x="817851" y="877330"/>
                    </a:lnTo>
                    <a:lnTo>
                      <a:pt x="824932" y="878746"/>
                    </a:lnTo>
                    <a:lnTo>
                      <a:pt x="815018" y="894324"/>
                    </a:lnTo>
                    <a:lnTo>
                      <a:pt x="815018" y="894324"/>
                    </a:lnTo>
                    <a:lnTo>
                      <a:pt x="867417" y="890076"/>
                    </a:lnTo>
                    <a:lnTo>
                      <a:pt x="949556" y="912735"/>
                    </a:lnTo>
                    <a:lnTo>
                      <a:pt x="976464" y="1006203"/>
                    </a:lnTo>
                    <a:lnTo>
                      <a:pt x="885828" y="1060019"/>
                    </a:lnTo>
                    <a:lnTo>
                      <a:pt x="885828" y="1060019"/>
                    </a:lnTo>
                    <a:lnTo>
                      <a:pt x="993459" y="1057186"/>
                    </a:lnTo>
                    <a:lnTo>
                      <a:pt x="993459" y="1057186"/>
                    </a:lnTo>
                    <a:lnTo>
                      <a:pt x="979297" y="1007620"/>
                    </a:lnTo>
                    <a:lnTo>
                      <a:pt x="1078430" y="949556"/>
                    </a:lnTo>
                    <a:lnTo>
                      <a:pt x="1137909" y="841925"/>
                    </a:lnTo>
                    <a:lnTo>
                      <a:pt x="1137909" y="841925"/>
                    </a:lnTo>
                    <a:lnTo>
                      <a:pt x="1118083" y="700306"/>
                    </a:lnTo>
                    <a:lnTo>
                      <a:pt x="1119499" y="687560"/>
                    </a:lnTo>
                    <a:lnTo>
                      <a:pt x="1181812" y="752705"/>
                    </a:lnTo>
                    <a:lnTo>
                      <a:pt x="1181812" y="752705"/>
                    </a:lnTo>
                    <a:lnTo>
                      <a:pt x="1184644" y="554439"/>
                    </a:lnTo>
                    <a:lnTo>
                      <a:pt x="1184644" y="554439"/>
                    </a:lnTo>
                    <a:lnTo>
                      <a:pt x="1147823" y="557271"/>
                    </a:lnTo>
                    <a:lnTo>
                      <a:pt x="1147823" y="557271"/>
                    </a:lnTo>
                    <a:close/>
                    <a:moveTo>
                      <a:pt x="901406" y="1057186"/>
                    </a:moveTo>
                    <a:lnTo>
                      <a:pt x="984961" y="1007620"/>
                    </a:lnTo>
                    <a:lnTo>
                      <a:pt x="997707" y="1054354"/>
                    </a:lnTo>
                    <a:lnTo>
                      <a:pt x="901406" y="1057186"/>
                    </a:lnTo>
                    <a:close/>
                    <a:moveTo>
                      <a:pt x="809354" y="878746"/>
                    </a:moveTo>
                    <a:lnTo>
                      <a:pt x="683312" y="789526"/>
                    </a:lnTo>
                    <a:lnTo>
                      <a:pt x="684728" y="768284"/>
                    </a:lnTo>
                    <a:lnTo>
                      <a:pt x="809354" y="878746"/>
                    </a:lnTo>
                    <a:close/>
                    <a:moveTo>
                      <a:pt x="984961" y="1004787"/>
                    </a:moveTo>
                    <a:lnTo>
                      <a:pt x="958054" y="912735"/>
                    </a:lnTo>
                    <a:lnTo>
                      <a:pt x="1081262" y="946723"/>
                    </a:lnTo>
                    <a:lnTo>
                      <a:pt x="1081262" y="946723"/>
                    </a:lnTo>
                    <a:lnTo>
                      <a:pt x="1120916" y="705971"/>
                    </a:lnTo>
                    <a:lnTo>
                      <a:pt x="1139326" y="840509"/>
                    </a:lnTo>
                    <a:lnTo>
                      <a:pt x="1079846" y="948140"/>
                    </a:lnTo>
                    <a:lnTo>
                      <a:pt x="984961" y="1004787"/>
                    </a:lnTo>
                    <a:close/>
                    <a:moveTo>
                      <a:pt x="123917" y="861752"/>
                    </a:moveTo>
                    <a:lnTo>
                      <a:pt x="105506" y="800856"/>
                    </a:lnTo>
                    <a:lnTo>
                      <a:pt x="220218" y="645075"/>
                    </a:lnTo>
                    <a:lnTo>
                      <a:pt x="244293" y="660653"/>
                    </a:lnTo>
                    <a:lnTo>
                      <a:pt x="275449" y="766867"/>
                    </a:lnTo>
                    <a:lnTo>
                      <a:pt x="174899" y="737127"/>
                    </a:lnTo>
                    <a:lnTo>
                      <a:pt x="173483" y="737127"/>
                    </a:lnTo>
                    <a:lnTo>
                      <a:pt x="255622" y="799439"/>
                    </a:lnTo>
                    <a:lnTo>
                      <a:pt x="123917" y="861752"/>
                    </a:lnTo>
                    <a:close/>
                    <a:moveTo>
                      <a:pt x="210304" y="536028"/>
                    </a:moveTo>
                    <a:lnTo>
                      <a:pt x="176316" y="615335"/>
                    </a:lnTo>
                    <a:lnTo>
                      <a:pt x="115420" y="578514"/>
                    </a:lnTo>
                    <a:lnTo>
                      <a:pt x="169235" y="536028"/>
                    </a:lnTo>
                    <a:lnTo>
                      <a:pt x="210304" y="536028"/>
                    </a:lnTo>
                    <a:close/>
                    <a:moveTo>
                      <a:pt x="82847" y="558687"/>
                    </a:moveTo>
                    <a:lnTo>
                      <a:pt x="92760" y="537444"/>
                    </a:lnTo>
                    <a:lnTo>
                      <a:pt x="166402" y="536028"/>
                    </a:lnTo>
                    <a:lnTo>
                      <a:pt x="114003" y="577098"/>
                    </a:lnTo>
                    <a:lnTo>
                      <a:pt x="82847" y="558687"/>
                    </a:lnTo>
                    <a:close/>
                    <a:moveTo>
                      <a:pt x="57356" y="538860"/>
                    </a:moveTo>
                    <a:lnTo>
                      <a:pt x="91345" y="538860"/>
                    </a:lnTo>
                    <a:lnTo>
                      <a:pt x="81431" y="558687"/>
                    </a:lnTo>
                    <a:lnTo>
                      <a:pt x="51691" y="540277"/>
                    </a:lnTo>
                    <a:lnTo>
                      <a:pt x="57356" y="538860"/>
                    </a:lnTo>
                    <a:close/>
                    <a:moveTo>
                      <a:pt x="91345" y="536028"/>
                    </a:moveTo>
                    <a:lnTo>
                      <a:pt x="64437" y="536028"/>
                    </a:lnTo>
                    <a:lnTo>
                      <a:pt x="94177" y="527531"/>
                    </a:lnTo>
                    <a:lnTo>
                      <a:pt x="91345" y="536028"/>
                    </a:lnTo>
                    <a:close/>
                    <a:moveTo>
                      <a:pt x="94177" y="371750"/>
                    </a:moveTo>
                    <a:lnTo>
                      <a:pt x="94177" y="371750"/>
                    </a:lnTo>
                    <a:lnTo>
                      <a:pt x="94177" y="371750"/>
                    </a:lnTo>
                    <a:lnTo>
                      <a:pt x="94177" y="371750"/>
                    </a:lnTo>
                    <a:close/>
                    <a:moveTo>
                      <a:pt x="601173" y="166402"/>
                    </a:moveTo>
                    <a:lnTo>
                      <a:pt x="602589" y="155073"/>
                    </a:lnTo>
                    <a:lnTo>
                      <a:pt x="656404" y="163570"/>
                    </a:lnTo>
                    <a:lnTo>
                      <a:pt x="601173" y="166402"/>
                    </a:lnTo>
                    <a:close/>
                    <a:moveTo>
                      <a:pt x="602589" y="153656"/>
                    </a:moveTo>
                    <a:lnTo>
                      <a:pt x="612503" y="47442"/>
                    </a:lnTo>
                    <a:lnTo>
                      <a:pt x="720133" y="160737"/>
                    </a:lnTo>
                    <a:lnTo>
                      <a:pt x="666318" y="163570"/>
                    </a:lnTo>
                    <a:lnTo>
                      <a:pt x="602589" y="153656"/>
                    </a:lnTo>
                    <a:close/>
                    <a:moveTo>
                      <a:pt x="781030" y="385912"/>
                    </a:moveTo>
                    <a:lnTo>
                      <a:pt x="857504" y="272617"/>
                    </a:lnTo>
                    <a:lnTo>
                      <a:pt x="955221" y="370334"/>
                    </a:lnTo>
                    <a:lnTo>
                      <a:pt x="949556" y="373166"/>
                    </a:lnTo>
                    <a:lnTo>
                      <a:pt x="781030" y="385912"/>
                    </a:lnTo>
                    <a:close/>
                    <a:moveTo>
                      <a:pt x="841926" y="509120"/>
                    </a:moveTo>
                    <a:lnTo>
                      <a:pt x="783862" y="500623"/>
                    </a:lnTo>
                    <a:lnTo>
                      <a:pt x="772532" y="397241"/>
                    </a:lnTo>
                    <a:lnTo>
                      <a:pt x="772532" y="397241"/>
                    </a:lnTo>
                    <a:lnTo>
                      <a:pt x="779613" y="387328"/>
                    </a:lnTo>
                    <a:lnTo>
                      <a:pt x="942475" y="374582"/>
                    </a:lnTo>
                    <a:lnTo>
                      <a:pt x="819266" y="428398"/>
                    </a:lnTo>
                    <a:lnTo>
                      <a:pt x="819266" y="428398"/>
                    </a:lnTo>
                    <a:lnTo>
                      <a:pt x="841926" y="509120"/>
                    </a:lnTo>
                    <a:close/>
                    <a:moveTo>
                      <a:pt x="1119499" y="676231"/>
                    </a:moveTo>
                    <a:lnTo>
                      <a:pt x="1122332" y="698890"/>
                    </a:lnTo>
                    <a:lnTo>
                      <a:pt x="1081262" y="943891"/>
                    </a:lnTo>
                    <a:lnTo>
                      <a:pt x="958054" y="909903"/>
                    </a:lnTo>
                    <a:lnTo>
                      <a:pt x="949556" y="881579"/>
                    </a:lnTo>
                    <a:lnTo>
                      <a:pt x="1017533" y="809353"/>
                    </a:lnTo>
                    <a:lnTo>
                      <a:pt x="1017533" y="809353"/>
                    </a:lnTo>
                    <a:lnTo>
                      <a:pt x="1017533" y="809353"/>
                    </a:lnTo>
                    <a:lnTo>
                      <a:pt x="1077013" y="858920"/>
                    </a:lnTo>
                    <a:lnTo>
                      <a:pt x="1077013" y="858920"/>
                    </a:lnTo>
                    <a:lnTo>
                      <a:pt x="1109586" y="553022"/>
                    </a:lnTo>
                    <a:lnTo>
                      <a:pt x="1135078" y="557271"/>
                    </a:lnTo>
                    <a:lnTo>
                      <a:pt x="1144990" y="560103"/>
                    </a:lnTo>
                    <a:lnTo>
                      <a:pt x="1123748" y="684728"/>
                    </a:lnTo>
                    <a:lnTo>
                      <a:pt x="1119499" y="676231"/>
                    </a:lnTo>
                    <a:lnTo>
                      <a:pt x="1119499" y="676231"/>
                    </a:lnTo>
                    <a:close/>
                    <a:moveTo>
                      <a:pt x="833428" y="659237"/>
                    </a:moveTo>
                    <a:lnTo>
                      <a:pt x="833428" y="659237"/>
                    </a:lnTo>
                    <a:lnTo>
                      <a:pt x="802273" y="660653"/>
                    </a:lnTo>
                    <a:lnTo>
                      <a:pt x="798024" y="628080"/>
                    </a:lnTo>
                    <a:lnTo>
                      <a:pt x="898574" y="710220"/>
                    </a:lnTo>
                    <a:lnTo>
                      <a:pt x="946724" y="880163"/>
                    </a:lnTo>
                    <a:lnTo>
                      <a:pt x="946724" y="881579"/>
                    </a:lnTo>
                    <a:lnTo>
                      <a:pt x="874498" y="887243"/>
                    </a:lnTo>
                    <a:lnTo>
                      <a:pt x="834845" y="875914"/>
                    </a:lnTo>
                    <a:lnTo>
                      <a:pt x="905655" y="761203"/>
                    </a:lnTo>
                    <a:lnTo>
                      <a:pt x="905655" y="761203"/>
                    </a:lnTo>
                    <a:lnTo>
                      <a:pt x="833428" y="659237"/>
                    </a:lnTo>
                    <a:close/>
                    <a:moveTo>
                      <a:pt x="75766" y="441143"/>
                    </a:moveTo>
                    <a:lnTo>
                      <a:pt x="138079" y="408571"/>
                    </a:lnTo>
                    <a:lnTo>
                      <a:pt x="143744" y="409987"/>
                    </a:lnTo>
                    <a:lnTo>
                      <a:pt x="147992" y="412820"/>
                    </a:lnTo>
                    <a:lnTo>
                      <a:pt x="136663" y="436895"/>
                    </a:lnTo>
                    <a:lnTo>
                      <a:pt x="129582" y="438311"/>
                    </a:lnTo>
                    <a:lnTo>
                      <a:pt x="75766" y="442560"/>
                    </a:lnTo>
                    <a:lnTo>
                      <a:pt x="75766" y="441143"/>
                    </a:lnTo>
                    <a:close/>
                    <a:moveTo>
                      <a:pt x="459554" y="198975"/>
                    </a:moveTo>
                    <a:lnTo>
                      <a:pt x="459554" y="198975"/>
                    </a:lnTo>
                    <a:lnTo>
                      <a:pt x="514785" y="140911"/>
                    </a:lnTo>
                    <a:lnTo>
                      <a:pt x="582763" y="150824"/>
                    </a:lnTo>
                    <a:lnTo>
                      <a:pt x="579931" y="166402"/>
                    </a:lnTo>
                    <a:lnTo>
                      <a:pt x="526115" y="169235"/>
                    </a:lnTo>
                    <a:lnTo>
                      <a:pt x="460970" y="200391"/>
                    </a:lnTo>
                    <a:lnTo>
                      <a:pt x="443976" y="215969"/>
                    </a:lnTo>
                    <a:lnTo>
                      <a:pt x="323599" y="218801"/>
                    </a:lnTo>
                    <a:lnTo>
                      <a:pt x="395826" y="128165"/>
                    </a:lnTo>
                    <a:lnTo>
                      <a:pt x="402907" y="123917"/>
                    </a:lnTo>
                    <a:lnTo>
                      <a:pt x="459554" y="198975"/>
                    </a:lnTo>
                    <a:close/>
                    <a:moveTo>
                      <a:pt x="558688" y="669150"/>
                    </a:moveTo>
                    <a:lnTo>
                      <a:pt x="558688" y="700306"/>
                    </a:lnTo>
                    <a:lnTo>
                      <a:pt x="544526" y="690393"/>
                    </a:lnTo>
                    <a:lnTo>
                      <a:pt x="502040" y="604005"/>
                    </a:lnTo>
                    <a:lnTo>
                      <a:pt x="574265" y="667734"/>
                    </a:lnTo>
                    <a:lnTo>
                      <a:pt x="558688" y="669150"/>
                    </a:lnTo>
                    <a:lnTo>
                      <a:pt x="558688" y="669150"/>
                    </a:lnTo>
                    <a:close/>
                    <a:moveTo>
                      <a:pt x="230131" y="492126"/>
                    </a:moveTo>
                    <a:lnTo>
                      <a:pt x="211721" y="534612"/>
                    </a:lnTo>
                    <a:lnTo>
                      <a:pt x="173483" y="534612"/>
                    </a:lnTo>
                    <a:lnTo>
                      <a:pt x="228715" y="492126"/>
                    </a:lnTo>
                    <a:lnTo>
                      <a:pt x="230131" y="492126"/>
                    </a:lnTo>
                    <a:close/>
                    <a:moveTo>
                      <a:pt x="169235" y="426981"/>
                    </a:moveTo>
                    <a:lnTo>
                      <a:pt x="139495" y="435479"/>
                    </a:lnTo>
                    <a:lnTo>
                      <a:pt x="149408" y="412820"/>
                    </a:lnTo>
                    <a:lnTo>
                      <a:pt x="169235" y="426981"/>
                    </a:lnTo>
                    <a:close/>
                    <a:moveTo>
                      <a:pt x="150825" y="409987"/>
                    </a:moveTo>
                    <a:lnTo>
                      <a:pt x="150825" y="409987"/>
                    </a:lnTo>
                    <a:lnTo>
                      <a:pt x="147992" y="409987"/>
                    </a:lnTo>
                    <a:lnTo>
                      <a:pt x="150825" y="409987"/>
                    </a:lnTo>
                    <a:close/>
                    <a:moveTo>
                      <a:pt x="697474" y="544525"/>
                    </a:moveTo>
                    <a:lnTo>
                      <a:pt x="693226" y="612503"/>
                    </a:lnTo>
                    <a:lnTo>
                      <a:pt x="633746" y="608254"/>
                    </a:lnTo>
                    <a:lnTo>
                      <a:pt x="683312" y="531780"/>
                    </a:lnTo>
                    <a:lnTo>
                      <a:pt x="697474" y="544525"/>
                    </a:lnTo>
                    <a:close/>
                    <a:moveTo>
                      <a:pt x="402907" y="751289"/>
                    </a:moveTo>
                    <a:lnTo>
                      <a:pt x="247126" y="657820"/>
                    </a:lnTo>
                    <a:lnTo>
                      <a:pt x="237212" y="625248"/>
                    </a:lnTo>
                    <a:lnTo>
                      <a:pt x="237212" y="625248"/>
                    </a:lnTo>
                    <a:lnTo>
                      <a:pt x="237212" y="625248"/>
                    </a:lnTo>
                    <a:lnTo>
                      <a:pt x="235796" y="536028"/>
                    </a:lnTo>
                    <a:lnTo>
                      <a:pt x="320768" y="534612"/>
                    </a:lnTo>
                    <a:lnTo>
                      <a:pt x="367502" y="567184"/>
                    </a:lnTo>
                    <a:lnTo>
                      <a:pt x="323599" y="639410"/>
                    </a:lnTo>
                    <a:lnTo>
                      <a:pt x="323599" y="639410"/>
                    </a:lnTo>
                    <a:lnTo>
                      <a:pt x="411403" y="718717"/>
                    </a:lnTo>
                    <a:lnTo>
                      <a:pt x="402907" y="751289"/>
                    </a:lnTo>
                    <a:lnTo>
                      <a:pt x="402907" y="751289"/>
                    </a:lnTo>
                    <a:close/>
                    <a:moveTo>
                      <a:pt x="228715" y="629497"/>
                    </a:moveTo>
                    <a:lnTo>
                      <a:pt x="220218" y="640826"/>
                    </a:lnTo>
                    <a:lnTo>
                      <a:pt x="213137" y="636578"/>
                    </a:lnTo>
                    <a:lnTo>
                      <a:pt x="228715" y="629497"/>
                    </a:lnTo>
                    <a:close/>
                    <a:moveTo>
                      <a:pt x="153656" y="400074"/>
                    </a:moveTo>
                    <a:lnTo>
                      <a:pt x="150825" y="407155"/>
                    </a:lnTo>
                    <a:lnTo>
                      <a:pt x="145160" y="405739"/>
                    </a:lnTo>
                    <a:lnTo>
                      <a:pt x="143744" y="404322"/>
                    </a:lnTo>
                    <a:lnTo>
                      <a:pt x="153656" y="400074"/>
                    </a:lnTo>
                    <a:close/>
                    <a:moveTo>
                      <a:pt x="152241" y="409987"/>
                    </a:moveTo>
                    <a:lnTo>
                      <a:pt x="203223" y="417068"/>
                    </a:lnTo>
                    <a:lnTo>
                      <a:pt x="172068" y="425565"/>
                    </a:lnTo>
                    <a:lnTo>
                      <a:pt x="152241" y="409987"/>
                    </a:lnTo>
                    <a:lnTo>
                      <a:pt x="152241" y="409987"/>
                    </a:lnTo>
                    <a:close/>
                    <a:moveTo>
                      <a:pt x="771116" y="391577"/>
                    </a:moveTo>
                    <a:lnTo>
                      <a:pt x="771116" y="391577"/>
                    </a:lnTo>
                    <a:lnTo>
                      <a:pt x="771116" y="391577"/>
                    </a:lnTo>
                    <a:lnTo>
                      <a:pt x="768284" y="388744"/>
                    </a:lnTo>
                    <a:lnTo>
                      <a:pt x="776781" y="388744"/>
                    </a:lnTo>
                    <a:lnTo>
                      <a:pt x="772532" y="395825"/>
                    </a:lnTo>
                    <a:lnTo>
                      <a:pt x="772532" y="394409"/>
                    </a:lnTo>
                    <a:lnTo>
                      <a:pt x="771116" y="391577"/>
                    </a:lnTo>
                    <a:close/>
                    <a:moveTo>
                      <a:pt x="710220" y="490710"/>
                    </a:moveTo>
                    <a:lnTo>
                      <a:pt x="771116" y="397241"/>
                    </a:lnTo>
                    <a:lnTo>
                      <a:pt x="783862" y="500623"/>
                    </a:lnTo>
                    <a:lnTo>
                      <a:pt x="710220" y="490710"/>
                    </a:lnTo>
                    <a:close/>
                    <a:moveTo>
                      <a:pt x="739960" y="528947"/>
                    </a:moveTo>
                    <a:lnTo>
                      <a:pt x="785278" y="528947"/>
                    </a:lnTo>
                    <a:lnTo>
                      <a:pt x="789527" y="564352"/>
                    </a:lnTo>
                    <a:lnTo>
                      <a:pt x="739960" y="528947"/>
                    </a:lnTo>
                    <a:close/>
                    <a:moveTo>
                      <a:pt x="698890" y="528947"/>
                    </a:moveTo>
                    <a:lnTo>
                      <a:pt x="697474" y="541693"/>
                    </a:lnTo>
                    <a:lnTo>
                      <a:pt x="683312" y="530363"/>
                    </a:lnTo>
                    <a:lnTo>
                      <a:pt x="683312" y="528947"/>
                    </a:lnTo>
                    <a:lnTo>
                      <a:pt x="698890" y="528947"/>
                    </a:lnTo>
                    <a:close/>
                    <a:moveTo>
                      <a:pt x="686145" y="527531"/>
                    </a:moveTo>
                    <a:lnTo>
                      <a:pt x="700307" y="504872"/>
                    </a:lnTo>
                    <a:lnTo>
                      <a:pt x="698890" y="527531"/>
                    </a:lnTo>
                    <a:lnTo>
                      <a:pt x="686145" y="527531"/>
                    </a:lnTo>
                    <a:close/>
                    <a:moveTo>
                      <a:pt x="646492" y="275449"/>
                    </a:moveTo>
                    <a:lnTo>
                      <a:pt x="667735" y="245709"/>
                    </a:lnTo>
                    <a:lnTo>
                      <a:pt x="683312" y="266952"/>
                    </a:lnTo>
                    <a:lnTo>
                      <a:pt x="646492" y="275449"/>
                    </a:lnTo>
                    <a:close/>
                    <a:moveTo>
                      <a:pt x="732879" y="526115"/>
                    </a:moveTo>
                    <a:lnTo>
                      <a:pt x="700307" y="526115"/>
                    </a:lnTo>
                    <a:lnTo>
                      <a:pt x="701723" y="504872"/>
                    </a:lnTo>
                    <a:lnTo>
                      <a:pt x="732879" y="526115"/>
                    </a:lnTo>
                    <a:close/>
                    <a:moveTo>
                      <a:pt x="705971" y="492126"/>
                    </a:moveTo>
                    <a:lnTo>
                      <a:pt x="683312" y="527531"/>
                    </a:lnTo>
                    <a:lnTo>
                      <a:pt x="680480" y="527531"/>
                    </a:lnTo>
                    <a:lnTo>
                      <a:pt x="622416" y="479380"/>
                    </a:lnTo>
                    <a:lnTo>
                      <a:pt x="705971" y="492126"/>
                    </a:lnTo>
                    <a:close/>
                    <a:moveTo>
                      <a:pt x="588427" y="313686"/>
                    </a:moveTo>
                    <a:lnTo>
                      <a:pt x="623832" y="303773"/>
                    </a:lnTo>
                    <a:lnTo>
                      <a:pt x="584179" y="357588"/>
                    </a:lnTo>
                    <a:lnTo>
                      <a:pt x="588427" y="313686"/>
                    </a:lnTo>
                    <a:close/>
                    <a:moveTo>
                      <a:pt x="625249" y="300941"/>
                    </a:moveTo>
                    <a:lnTo>
                      <a:pt x="588427" y="310854"/>
                    </a:lnTo>
                    <a:lnTo>
                      <a:pt x="589844" y="289611"/>
                    </a:lnTo>
                    <a:lnTo>
                      <a:pt x="640827" y="278281"/>
                    </a:lnTo>
                    <a:lnTo>
                      <a:pt x="625249" y="300941"/>
                    </a:lnTo>
                    <a:close/>
                    <a:moveTo>
                      <a:pt x="547358" y="322183"/>
                    </a:moveTo>
                    <a:lnTo>
                      <a:pt x="553023" y="296692"/>
                    </a:lnTo>
                    <a:lnTo>
                      <a:pt x="588427" y="289611"/>
                    </a:lnTo>
                    <a:lnTo>
                      <a:pt x="587012" y="310854"/>
                    </a:lnTo>
                    <a:lnTo>
                      <a:pt x="547358" y="322183"/>
                    </a:lnTo>
                    <a:close/>
                    <a:moveTo>
                      <a:pt x="339178" y="421317"/>
                    </a:moveTo>
                    <a:lnTo>
                      <a:pt x="334930" y="412820"/>
                    </a:lnTo>
                    <a:lnTo>
                      <a:pt x="349092" y="421317"/>
                    </a:lnTo>
                    <a:lnTo>
                      <a:pt x="339178" y="421317"/>
                    </a:lnTo>
                    <a:close/>
                    <a:moveTo>
                      <a:pt x="340594" y="424149"/>
                    </a:moveTo>
                    <a:lnTo>
                      <a:pt x="353340" y="422733"/>
                    </a:lnTo>
                    <a:lnTo>
                      <a:pt x="388745" y="442560"/>
                    </a:lnTo>
                    <a:lnTo>
                      <a:pt x="347675" y="436895"/>
                    </a:lnTo>
                    <a:lnTo>
                      <a:pt x="340594" y="424149"/>
                    </a:lnTo>
                    <a:close/>
                    <a:moveTo>
                      <a:pt x="442560" y="452473"/>
                    </a:moveTo>
                    <a:lnTo>
                      <a:pt x="514785" y="462386"/>
                    </a:lnTo>
                    <a:lnTo>
                      <a:pt x="504873" y="506288"/>
                    </a:lnTo>
                    <a:lnTo>
                      <a:pt x="442560" y="452473"/>
                    </a:lnTo>
                    <a:close/>
                    <a:moveTo>
                      <a:pt x="429814" y="465218"/>
                    </a:moveTo>
                    <a:lnTo>
                      <a:pt x="397242" y="446808"/>
                    </a:lnTo>
                    <a:lnTo>
                      <a:pt x="436895" y="452473"/>
                    </a:lnTo>
                    <a:lnTo>
                      <a:pt x="429814" y="465218"/>
                    </a:lnTo>
                    <a:close/>
                    <a:moveTo>
                      <a:pt x="431230" y="466635"/>
                    </a:moveTo>
                    <a:lnTo>
                      <a:pt x="439727" y="453889"/>
                    </a:lnTo>
                    <a:lnTo>
                      <a:pt x="502040" y="507704"/>
                    </a:lnTo>
                    <a:lnTo>
                      <a:pt x="431230" y="466635"/>
                    </a:lnTo>
                    <a:close/>
                    <a:moveTo>
                      <a:pt x="465219" y="411403"/>
                    </a:moveTo>
                    <a:lnTo>
                      <a:pt x="489294" y="373166"/>
                    </a:lnTo>
                    <a:lnTo>
                      <a:pt x="527531" y="404322"/>
                    </a:lnTo>
                    <a:lnTo>
                      <a:pt x="527531" y="405739"/>
                    </a:lnTo>
                    <a:lnTo>
                      <a:pt x="465219" y="411403"/>
                    </a:lnTo>
                    <a:close/>
                    <a:moveTo>
                      <a:pt x="438311" y="451056"/>
                    </a:moveTo>
                    <a:lnTo>
                      <a:pt x="401490" y="418484"/>
                    </a:lnTo>
                    <a:lnTo>
                      <a:pt x="460970" y="414236"/>
                    </a:lnTo>
                    <a:lnTo>
                      <a:pt x="438311" y="451056"/>
                    </a:lnTo>
                    <a:close/>
                    <a:moveTo>
                      <a:pt x="435479" y="449641"/>
                    </a:moveTo>
                    <a:lnTo>
                      <a:pt x="392993" y="443975"/>
                    </a:lnTo>
                    <a:lnTo>
                      <a:pt x="356172" y="422733"/>
                    </a:lnTo>
                    <a:lnTo>
                      <a:pt x="398658" y="419901"/>
                    </a:lnTo>
                    <a:lnTo>
                      <a:pt x="435479" y="449641"/>
                    </a:lnTo>
                    <a:close/>
                    <a:moveTo>
                      <a:pt x="392993" y="445392"/>
                    </a:moveTo>
                    <a:lnTo>
                      <a:pt x="429814" y="466635"/>
                    </a:lnTo>
                    <a:lnTo>
                      <a:pt x="390161" y="531780"/>
                    </a:lnTo>
                    <a:lnTo>
                      <a:pt x="390161" y="531780"/>
                    </a:lnTo>
                    <a:lnTo>
                      <a:pt x="349092" y="439727"/>
                    </a:lnTo>
                    <a:lnTo>
                      <a:pt x="392993" y="445392"/>
                    </a:lnTo>
                    <a:close/>
                    <a:moveTo>
                      <a:pt x="431230" y="468051"/>
                    </a:moveTo>
                    <a:lnTo>
                      <a:pt x="506288" y="511953"/>
                    </a:lnTo>
                    <a:lnTo>
                      <a:pt x="504873" y="530363"/>
                    </a:lnTo>
                    <a:lnTo>
                      <a:pt x="392993" y="531780"/>
                    </a:lnTo>
                    <a:lnTo>
                      <a:pt x="431230" y="468051"/>
                    </a:lnTo>
                    <a:close/>
                    <a:moveTo>
                      <a:pt x="441144" y="451056"/>
                    </a:moveTo>
                    <a:lnTo>
                      <a:pt x="463803" y="414236"/>
                    </a:lnTo>
                    <a:lnTo>
                      <a:pt x="526115" y="408571"/>
                    </a:lnTo>
                    <a:lnTo>
                      <a:pt x="514785" y="460970"/>
                    </a:lnTo>
                    <a:lnTo>
                      <a:pt x="441144" y="451056"/>
                    </a:lnTo>
                    <a:close/>
                    <a:moveTo>
                      <a:pt x="285363" y="428398"/>
                    </a:moveTo>
                    <a:lnTo>
                      <a:pt x="339178" y="424149"/>
                    </a:lnTo>
                    <a:lnTo>
                      <a:pt x="344842" y="436895"/>
                    </a:lnTo>
                    <a:lnTo>
                      <a:pt x="285363" y="428398"/>
                    </a:lnTo>
                    <a:close/>
                    <a:moveTo>
                      <a:pt x="516202" y="462386"/>
                    </a:moveTo>
                    <a:lnTo>
                      <a:pt x="528947" y="408571"/>
                    </a:lnTo>
                    <a:lnTo>
                      <a:pt x="531780" y="408571"/>
                    </a:lnTo>
                    <a:lnTo>
                      <a:pt x="615335" y="476548"/>
                    </a:lnTo>
                    <a:lnTo>
                      <a:pt x="516202" y="462386"/>
                    </a:lnTo>
                    <a:close/>
                    <a:moveTo>
                      <a:pt x="528947" y="405739"/>
                    </a:moveTo>
                    <a:lnTo>
                      <a:pt x="528947" y="405739"/>
                    </a:lnTo>
                    <a:lnTo>
                      <a:pt x="528947" y="405739"/>
                    </a:lnTo>
                    <a:lnTo>
                      <a:pt x="528947" y="405739"/>
                    </a:lnTo>
                    <a:close/>
                    <a:moveTo>
                      <a:pt x="544526" y="325016"/>
                    </a:moveTo>
                    <a:lnTo>
                      <a:pt x="527531" y="401490"/>
                    </a:lnTo>
                    <a:lnTo>
                      <a:pt x="487878" y="368918"/>
                    </a:lnTo>
                    <a:lnTo>
                      <a:pt x="487878" y="368918"/>
                    </a:lnTo>
                    <a:lnTo>
                      <a:pt x="462387" y="411403"/>
                    </a:lnTo>
                    <a:lnTo>
                      <a:pt x="400074" y="417068"/>
                    </a:lnTo>
                    <a:lnTo>
                      <a:pt x="356172" y="378831"/>
                    </a:lnTo>
                    <a:lnTo>
                      <a:pt x="544526" y="325016"/>
                    </a:lnTo>
                    <a:close/>
                    <a:moveTo>
                      <a:pt x="506288" y="530363"/>
                    </a:moveTo>
                    <a:lnTo>
                      <a:pt x="507704" y="511953"/>
                    </a:lnTo>
                    <a:lnTo>
                      <a:pt x="507704" y="511953"/>
                    </a:lnTo>
                    <a:lnTo>
                      <a:pt x="506288" y="510537"/>
                    </a:lnTo>
                    <a:lnTo>
                      <a:pt x="516202" y="463803"/>
                    </a:lnTo>
                    <a:lnTo>
                      <a:pt x="618168" y="479380"/>
                    </a:lnTo>
                    <a:lnTo>
                      <a:pt x="677647" y="527531"/>
                    </a:lnTo>
                    <a:lnTo>
                      <a:pt x="506288" y="530363"/>
                    </a:lnTo>
                    <a:close/>
                    <a:moveTo>
                      <a:pt x="387328" y="533196"/>
                    </a:moveTo>
                    <a:lnTo>
                      <a:pt x="387328" y="533196"/>
                    </a:lnTo>
                    <a:lnTo>
                      <a:pt x="367502" y="565768"/>
                    </a:lnTo>
                    <a:lnTo>
                      <a:pt x="323599" y="534612"/>
                    </a:lnTo>
                    <a:lnTo>
                      <a:pt x="387328" y="533196"/>
                    </a:lnTo>
                    <a:close/>
                    <a:moveTo>
                      <a:pt x="353340" y="419901"/>
                    </a:moveTo>
                    <a:lnTo>
                      <a:pt x="332097" y="407155"/>
                    </a:lnTo>
                    <a:lnTo>
                      <a:pt x="332097" y="407155"/>
                    </a:lnTo>
                    <a:lnTo>
                      <a:pt x="339178" y="421317"/>
                    </a:lnTo>
                    <a:lnTo>
                      <a:pt x="276865" y="426981"/>
                    </a:lnTo>
                    <a:lnTo>
                      <a:pt x="214553" y="418484"/>
                    </a:lnTo>
                    <a:lnTo>
                      <a:pt x="354756" y="380247"/>
                    </a:lnTo>
                    <a:lnTo>
                      <a:pt x="398658" y="418484"/>
                    </a:lnTo>
                    <a:lnTo>
                      <a:pt x="353340" y="419901"/>
                    </a:lnTo>
                    <a:close/>
                    <a:moveTo>
                      <a:pt x="618168" y="476548"/>
                    </a:moveTo>
                    <a:lnTo>
                      <a:pt x="534612" y="407155"/>
                    </a:lnTo>
                    <a:lnTo>
                      <a:pt x="765451" y="388744"/>
                    </a:lnTo>
                    <a:lnTo>
                      <a:pt x="768284" y="394409"/>
                    </a:lnTo>
                    <a:lnTo>
                      <a:pt x="705971" y="490710"/>
                    </a:lnTo>
                    <a:lnTo>
                      <a:pt x="618168" y="476548"/>
                    </a:lnTo>
                    <a:close/>
                    <a:moveTo>
                      <a:pt x="531780" y="405739"/>
                    </a:moveTo>
                    <a:lnTo>
                      <a:pt x="528947" y="402906"/>
                    </a:lnTo>
                    <a:lnTo>
                      <a:pt x="545942" y="323599"/>
                    </a:lnTo>
                    <a:lnTo>
                      <a:pt x="584179" y="312270"/>
                    </a:lnTo>
                    <a:lnTo>
                      <a:pt x="579931" y="363253"/>
                    </a:lnTo>
                    <a:lnTo>
                      <a:pt x="625249" y="300941"/>
                    </a:lnTo>
                    <a:lnTo>
                      <a:pt x="691809" y="282530"/>
                    </a:lnTo>
                    <a:lnTo>
                      <a:pt x="762619" y="385912"/>
                    </a:lnTo>
                    <a:lnTo>
                      <a:pt x="531780" y="405739"/>
                    </a:lnTo>
                    <a:close/>
                    <a:moveTo>
                      <a:pt x="629497" y="299524"/>
                    </a:moveTo>
                    <a:lnTo>
                      <a:pt x="645075" y="278281"/>
                    </a:lnTo>
                    <a:lnTo>
                      <a:pt x="684728" y="269784"/>
                    </a:lnTo>
                    <a:lnTo>
                      <a:pt x="693226" y="282530"/>
                    </a:lnTo>
                    <a:lnTo>
                      <a:pt x="629497" y="299524"/>
                    </a:lnTo>
                    <a:close/>
                    <a:moveTo>
                      <a:pt x="588427" y="288194"/>
                    </a:moveTo>
                    <a:lnTo>
                      <a:pt x="554439" y="295275"/>
                    </a:lnTo>
                    <a:lnTo>
                      <a:pt x="571433" y="217385"/>
                    </a:lnTo>
                    <a:lnTo>
                      <a:pt x="595508" y="217385"/>
                    </a:lnTo>
                    <a:lnTo>
                      <a:pt x="588427" y="288194"/>
                    </a:lnTo>
                    <a:close/>
                    <a:moveTo>
                      <a:pt x="463803" y="203223"/>
                    </a:moveTo>
                    <a:lnTo>
                      <a:pt x="527531" y="172067"/>
                    </a:lnTo>
                    <a:lnTo>
                      <a:pt x="579931" y="169235"/>
                    </a:lnTo>
                    <a:lnTo>
                      <a:pt x="570017" y="214553"/>
                    </a:lnTo>
                    <a:lnTo>
                      <a:pt x="449641" y="217385"/>
                    </a:lnTo>
                    <a:lnTo>
                      <a:pt x="463803" y="203223"/>
                    </a:lnTo>
                    <a:close/>
                    <a:moveTo>
                      <a:pt x="568601" y="217385"/>
                    </a:moveTo>
                    <a:lnTo>
                      <a:pt x="551607" y="295275"/>
                    </a:lnTo>
                    <a:lnTo>
                      <a:pt x="319351" y="343426"/>
                    </a:lnTo>
                    <a:lnTo>
                      <a:pt x="446808" y="220218"/>
                    </a:lnTo>
                    <a:lnTo>
                      <a:pt x="568601" y="217385"/>
                    </a:lnTo>
                    <a:close/>
                    <a:moveTo>
                      <a:pt x="545942" y="323599"/>
                    </a:moveTo>
                    <a:lnTo>
                      <a:pt x="354756" y="375999"/>
                    </a:lnTo>
                    <a:lnTo>
                      <a:pt x="320768" y="346258"/>
                    </a:lnTo>
                    <a:lnTo>
                      <a:pt x="551607" y="298108"/>
                    </a:lnTo>
                    <a:lnTo>
                      <a:pt x="545942" y="323599"/>
                    </a:lnTo>
                    <a:close/>
                    <a:moveTo>
                      <a:pt x="174899" y="428398"/>
                    </a:moveTo>
                    <a:lnTo>
                      <a:pt x="208888" y="418484"/>
                    </a:lnTo>
                    <a:lnTo>
                      <a:pt x="266952" y="426981"/>
                    </a:lnTo>
                    <a:lnTo>
                      <a:pt x="183397" y="434062"/>
                    </a:lnTo>
                    <a:lnTo>
                      <a:pt x="174899" y="428398"/>
                    </a:lnTo>
                    <a:close/>
                    <a:moveTo>
                      <a:pt x="275449" y="428398"/>
                    </a:moveTo>
                    <a:lnTo>
                      <a:pt x="344842" y="438311"/>
                    </a:lnTo>
                    <a:lnTo>
                      <a:pt x="385912" y="531780"/>
                    </a:lnTo>
                    <a:lnTo>
                      <a:pt x="320768" y="533196"/>
                    </a:lnTo>
                    <a:lnTo>
                      <a:pt x="184813" y="436895"/>
                    </a:lnTo>
                    <a:lnTo>
                      <a:pt x="275449" y="428398"/>
                    </a:lnTo>
                    <a:close/>
                    <a:moveTo>
                      <a:pt x="370334" y="567184"/>
                    </a:moveTo>
                    <a:lnTo>
                      <a:pt x="388745" y="536028"/>
                    </a:lnTo>
                    <a:lnTo>
                      <a:pt x="418484" y="601173"/>
                    </a:lnTo>
                    <a:lnTo>
                      <a:pt x="370334" y="567184"/>
                    </a:lnTo>
                    <a:close/>
                    <a:moveTo>
                      <a:pt x="390161" y="534612"/>
                    </a:moveTo>
                    <a:lnTo>
                      <a:pt x="390161" y="534612"/>
                    </a:lnTo>
                    <a:lnTo>
                      <a:pt x="503456" y="533196"/>
                    </a:lnTo>
                    <a:lnTo>
                      <a:pt x="499207" y="599756"/>
                    </a:lnTo>
                    <a:lnTo>
                      <a:pt x="496375" y="599756"/>
                    </a:lnTo>
                    <a:lnTo>
                      <a:pt x="496375" y="599756"/>
                    </a:lnTo>
                    <a:lnTo>
                      <a:pt x="499207" y="602589"/>
                    </a:lnTo>
                    <a:lnTo>
                      <a:pt x="499207" y="604005"/>
                    </a:lnTo>
                    <a:lnTo>
                      <a:pt x="499207" y="604005"/>
                    </a:lnTo>
                    <a:lnTo>
                      <a:pt x="541693" y="690393"/>
                    </a:lnTo>
                    <a:lnTo>
                      <a:pt x="421317" y="605422"/>
                    </a:lnTo>
                    <a:lnTo>
                      <a:pt x="390161" y="534612"/>
                    </a:lnTo>
                    <a:close/>
                    <a:moveTo>
                      <a:pt x="502040" y="598341"/>
                    </a:moveTo>
                    <a:lnTo>
                      <a:pt x="506288" y="531780"/>
                    </a:lnTo>
                    <a:lnTo>
                      <a:pt x="680480" y="528947"/>
                    </a:lnTo>
                    <a:lnTo>
                      <a:pt x="681897" y="530363"/>
                    </a:lnTo>
                    <a:lnTo>
                      <a:pt x="630913" y="608254"/>
                    </a:lnTo>
                    <a:lnTo>
                      <a:pt x="502040" y="598341"/>
                    </a:lnTo>
                    <a:close/>
                    <a:moveTo>
                      <a:pt x="700307" y="528947"/>
                    </a:moveTo>
                    <a:lnTo>
                      <a:pt x="735712" y="528947"/>
                    </a:lnTo>
                    <a:lnTo>
                      <a:pt x="789527" y="565768"/>
                    </a:lnTo>
                    <a:lnTo>
                      <a:pt x="795192" y="620999"/>
                    </a:lnTo>
                    <a:lnTo>
                      <a:pt x="792359" y="620999"/>
                    </a:lnTo>
                    <a:lnTo>
                      <a:pt x="698890" y="544525"/>
                    </a:lnTo>
                    <a:lnTo>
                      <a:pt x="700307" y="528947"/>
                    </a:lnTo>
                    <a:close/>
                    <a:moveTo>
                      <a:pt x="737127" y="526115"/>
                    </a:moveTo>
                    <a:lnTo>
                      <a:pt x="701723" y="502039"/>
                    </a:lnTo>
                    <a:lnTo>
                      <a:pt x="708804" y="492126"/>
                    </a:lnTo>
                    <a:lnTo>
                      <a:pt x="782446" y="503456"/>
                    </a:lnTo>
                    <a:lnTo>
                      <a:pt x="785278" y="526115"/>
                    </a:lnTo>
                    <a:lnTo>
                      <a:pt x="737127" y="526115"/>
                    </a:lnTo>
                    <a:close/>
                    <a:moveTo>
                      <a:pt x="235796" y="625248"/>
                    </a:moveTo>
                    <a:lnTo>
                      <a:pt x="235796" y="625248"/>
                    </a:lnTo>
                    <a:lnTo>
                      <a:pt x="235796" y="625248"/>
                    </a:lnTo>
                    <a:lnTo>
                      <a:pt x="235796" y="625248"/>
                    </a:lnTo>
                    <a:close/>
                    <a:moveTo>
                      <a:pt x="235796" y="626664"/>
                    </a:moveTo>
                    <a:lnTo>
                      <a:pt x="244293" y="656404"/>
                    </a:lnTo>
                    <a:lnTo>
                      <a:pt x="221634" y="642242"/>
                    </a:lnTo>
                    <a:lnTo>
                      <a:pt x="231547" y="628080"/>
                    </a:lnTo>
                    <a:lnTo>
                      <a:pt x="235796" y="626664"/>
                    </a:lnTo>
                    <a:close/>
                    <a:moveTo>
                      <a:pt x="326432" y="639410"/>
                    </a:moveTo>
                    <a:lnTo>
                      <a:pt x="368918" y="570017"/>
                    </a:lnTo>
                    <a:lnTo>
                      <a:pt x="419901" y="605422"/>
                    </a:lnTo>
                    <a:lnTo>
                      <a:pt x="431230" y="630913"/>
                    </a:lnTo>
                    <a:lnTo>
                      <a:pt x="411403" y="717301"/>
                    </a:lnTo>
                    <a:lnTo>
                      <a:pt x="326432" y="639410"/>
                    </a:lnTo>
                    <a:close/>
                    <a:moveTo>
                      <a:pt x="502040" y="601173"/>
                    </a:moveTo>
                    <a:lnTo>
                      <a:pt x="629497" y="611086"/>
                    </a:lnTo>
                    <a:lnTo>
                      <a:pt x="592676" y="669150"/>
                    </a:lnTo>
                    <a:lnTo>
                      <a:pt x="578514" y="669150"/>
                    </a:lnTo>
                    <a:lnTo>
                      <a:pt x="502040" y="601173"/>
                    </a:lnTo>
                    <a:close/>
                    <a:moveTo>
                      <a:pt x="681897" y="528947"/>
                    </a:moveTo>
                    <a:lnTo>
                      <a:pt x="681897" y="528947"/>
                    </a:lnTo>
                    <a:lnTo>
                      <a:pt x="681897" y="528947"/>
                    </a:lnTo>
                    <a:lnTo>
                      <a:pt x="681897" y="528947"/>
                    </a:lnTo>
                    <a:close/>
                    <a:moveTo>
                      <a:pt x="829180" y="592676"/>
                    </a:moveTo>
                    <a:lnTo>
                      <a:pt x="829180" y="592676"/>
                    </a:lnTo>
                    <a:lnTo>
                      <a:pt x="861752" y="575682"/>
                    </a:lnTo>
                    <a:lnTo>
                      <a:pt x="875914" y="625248"/>
                    </a:lnTo>
                    <a:lnTo>
                      <a:pt x="798024" y="619584"/>
                    </a:lnTo>
                    <a:lnTo>
                      <a:pt x="792359" y="565768"/>
                    </a:lnTo>
                    <a:lnTo>
                      <a:pt x="829180" y="592676"/>
                    </a:lnTo>
                    <a:close/>
                    <a:moveTo>
                      <a:pt x="829180" y="591260"/>
                    </a:moveTo>
                    <a:lnTo>
                      <a:pt x="790943" y="565768"/>
                    </a:lnTo>
                    <a:lnTo>
                      <a:pt x="786694" y="528947"/>
                    </a:lnTo>
                    <a:lnTo>
                      <a:pt x="846174" y="527531"/>
                    </a:lnTo>
                    <a:lnTo>
                      <a:pt x="860336" y="574265"/>
                    </a:lnTo>
                    <a:lnTo>
                      <a:pt x="829180" y="591260"/>
                    </a:lnTo>
                    <a:close/>
                    <a:moveTo>
                      <a:pt x="686145" y="269784"/>
                    </a:moveTo>
                    <a:lnTo>
                      <a:pt x="890076" y="227298"/>
                    </a:lnTo>
                    <a:lnTo>
                      <a:pt x="694642" y="281114"/>
                    </a:lnTo>
                    <a:lnTo>
                      <a:pt x="686145" y="269784"/>
                    </a:lnTo>
                    <a:close/>
                    <a:moveTo>
                      <a:pt x="571433" y="215969"/>
                    </a:moveTo>
                    <a:lnTo>
                      <a:pt x="581346" y="170651"/>
                    </a:lnTo>
                    <a:lnTo>
                      <a:pt x="598341" y="169235"/>
                    </a:lnTo>
                    <a:lnTo>
                      <a:pt x="594092" y="215969"/>
                    </a:lnTo>
                    <a:lnTo>
                      <a:pt x="571433" y="215969"/>
                    </a:lnTo>
                    <a:close/>
                    <a:moveTo>
                      <a:pt x="232964" y="490710"/>
                    </a:moveTo>
                    <a:lnTo>
                      <a:pt x="234380" y="534612"/>
                    </a:lnTo>
                    <a:lnTo>
                      <a:pt x="213137" y="534612"/>
                    </a:lnTo>
                    <a:lnTo>
                      <a:pt x="232964" y="490710"/>
                    </a:lnTo>
                    <a:lnTo>
                      <a:pt x="232964" y="490710"/>
                    </a:lnTo>
                    <a:close/>
                    <a:moveTo>
                      <a:pt x="405739" y="751289"/>
                    </a:moveTo>
                    <a:lnTo>
                      <a:pt x="412820" y="721549"/>
                    </a:lnTo>
                    <a:lnTo>
                      <a:pt x="438311" y="745624"/>
                    </a:lnTo>
                    <a:lnTo>
                      <a:pt x="405739" y="751289"/>
                    </a:lnTo>
                    <a:close/>
                    <a:moveTo>
                      <a:pt x="789527" y="619584"/>
                    </a:moveTo>
                    <a:lnTo>
                      <a:pt x="694642" y="612503"/>
                    </a:lnTo>
                    <a:lnTo>
                      <a:pt x="698890" y="545941"/>
                    </a:lnTo>
                    <a:lnTo>
                      <a:pt x="789527" y="619584"/>
                    </a:lnTo>
                    <a:close/>
                    <a:moveTo>
                      <a:pt x="796608" y="622416"/>
                    </a:moveTo>
                    <a:lnTo>
                      <a:pt x="796608" y="622416"/>
                    </a:lnTo>
                    <a:lnTo>
                      <a:pt x="796608" y="622416"/>
                    </a:lnTo>
                    <a:lnTo>
                      <a:pt x="796608" y="622416"/>
                    </a:lnTo>
                    <a:close/>
                    <a:moveTo>
                      <a:pt x="901406" y="708803"/>
                    </a:moveTo>
                    <a:lnTo>
                      <a:pt x="878747" y="628080"/>
                    </a:lnTo>
                    <a:lnTo>
                      <a:pt x="963718" y="633745"/>
                    </a:lnTo>
                    <a:lnTo>
                      <a:pt x="963718" y="633745"/>
                    </a:lnTo>
                    <a:lnTo>
                      <a:pt x="963718" y="632329"/>
                    </a:lnTo>
                    <a:lnTo>
                      <a:pt x="963718" y="635161"/>
                    </a:lnTo>
                    <a:lnTo>
                      <a:pt x="963718" y="635161"/>
                    </a:lnTo>
                    <a:lnTo>
                      <a:pt x="1013285" y="800856"/>
                    </a:lnTo>
                    <a:lnTo>
                      <a:pt x="901406" y="708803"/>
                    </a:lnTo>
                    <a:close/>
                    <a:moveTo>
                      <a:pt x="1016117" y="803688"/>
                    </a:moveTo>
                    <a:lnTo>
                      <a:pt x="965135" y="635161"/>
                    </a:lnTo>
                    <a:lnTo>
                      <a:pt x="966551" y="629497"/>
                    </a:lnTo>
                    <a:lnTo>
                      <a:pt x="1035944" y="540277"/>
                    </a:lnTo>
                    <a:lnTo>
                      <a:pt x="1108170" y="550190"/>
                    </a:lnTo>
                    <a:lnTo>
                      <a:pt x="1075598" y="853255"/>
                    </a:lnTo>
                    <a:lnTo>
                      <a:pt x="1016117" y="803688"/>
                    </a:lnTo>
                    <a:close/>
                    <a:moveTo>
                      <a:pt x="1035944" y="537444"/>
                    </a:moveTo>
                    <a:lnTo>
                      <a:pt x="1027447" y="536028"/>
                    </a:lnTo>
                    <a:lnTo>
                      <a:pt x="1041609" y="530363"/>
                    </a:lnTo>
                    <a:lnTo>
                      <a:pt x="1035944" y="537444"/>
                    </a:lnTo>
                    <a:close/>
                    <a:moveTo>
                      <a:pt x="1034528" y="540277"/>
                    </a:moveTo>
                    <a:lnTo>
                      <a:pt x="969383" y="625248"/>
                    </a:lnTo>
                    <a:lnTo>
                      <a:pt x="987794" y="555855"/>
                    </a:lnTo>
                    <a:lnTo>
                      <a:pt x="1024614" y="538860"/>
                    </a:lnTo>
                    <a:lnTo>
                      <a:pt x="1034528" y="540277"/>
                    </a:lnTo>
                    <a:close/>
                    <a:moveTo>
                      <a:pt x="875914" y="628080"/>
                    </a:moveTo>
                    <a:lnTo>
                      <a:pt x="898574" y="707387"/>
                    </a:lnTo>
                    <a:lnTo>
                      <a:pt x="798024" y="625248"/>
                    </a:lnTo>
                    <a:lnTo>
                      <a:pt x="798024" y="622416"/>
                    </a:lnTo>
                    <a:lnTo>
                      <a:pt x="875914" y="628080"/>
                    </a:lnTo>
                    <a:close/>
                    <a:moveTo>
                      <a:pt x="1014701" y="805104"/>
                    </a:moveTo>
                    <a:lnTo>
                      <a:pt x="1016117" y="807937"/>
                    </a:lnTo>
                    <a:lnTo>
                      <a:pt x="949556" y="878746"/>
                    </a:lnTo>
                    <a:lnTo>
                      <a:pt x="902822" y="713052"/>
                    </a:lnTo>
                    <a:lnTo>
                      <a:pt x="1014701" y="805104"/>
                    </a:lnTo>
                    <a:close/>
                    <a:moveTo>
                      <a:pt x="684728" y="268368"/>
                    </a:moveTo>
                    <a:lnTo>
                      <a:pt x="667735" y="244293"/>
                    </a:lnTo>
                    <a:lnTo>
                      <a:pt x="667735" y="244293"/>
                    </a:lnTo>
                    <a:lnTo>
                      <a:pt x="643659" y="276865"/>
                    </a:lnTo>
                    <a:lnTo>
                      <a:pt x="591260" y="288194"/>
                    </a:lnTo>
                    <a:lnTo>
                      <a:pt x="596925" y="217385"/>
                    </a:lnTo>
                    <a:lnTo>
                      <a:pt x="952389" y="210304"/>
                    </a:lnTo>
                    <a:lnTo>
                      <a:pt x="919817" y="218801"/>
                    </a:lnTo>
                    <a:lnTo>
                      <a:pt x="684728" y="268368"/>
                    </a:lnTo>
                    <a:close/>
                    <a:moveTo>
                      <a:pt x="140911" y="407155"/>
                    </a:moveTo>
                    <a:lnTo>
                      <a:pt x="140911" y="407155"/>
                    </a:lnTo>
                    <a:lnTo>
                      <a:pt x="140911" y="407155"/>
                    </a:lnTo>
                    <a:lnTo>
                      <a:pt x="140911" y="407155"/>
                    </a:lnTo>
                    <a:close/>
                    <a:moveTo>
                      <a:pt x="234380" y="536028"/>
                    </a:moveTo>
                    <a:lnTo>
                      <a:pt x="235796" y="620999"/>
                    </a:lnTo>
                    <a:lnTo>
                      <a:pt x="235796" y="620999"/>
                    </a:lnTo>
                    <a:lnTo>
                      <a:pt x="231547" y="626664"/>
                    </a:lnTo>
                    <a:lnTo>
                      <a:pt x="211721" y="636578"/>
                    </a:lnTo>
                    <a:lnTo>
                      <a:pt x="179149" y="616751"/>
                    </a:lnTo>
                    <a:lnTo>
                      <a:pt x="213137" y="536028"/>
                    </a:lnTo>
                    <a:lnTo>
                      <a:pt x="234380" y="536028"/>
                    </a:lnTo>
                    <a:close/>
                    <a:moveTo>
                      <a:pt x="591260" y="670566"/>
                    </a:moveTo>
                    <a:lnTo>
                      <a:pt x="587012" y="677647"/>
                    </a:lnTo>
                    <a:lnTo>
                      <a:pt x="579931" y="671982"/>
                    </a:lnTo>
                    <a:lnTo>
                      <a:pt x="591260" y="670566"/>
                    </a:lnTo>
                    <a:close/>
                    <a:moveTo>
                      <a:pt x="1109586" y="548774"/>
                    </a:moveTo>
                    <a:lnTo>
                      <a:pt x="1038776" y="538860"/>
                    </a:lnTo>
                    <a:lnTo>
                      <a:pt x="1045857" y="528947"/>
                    </a:lnTo>
                    <a:lnTo>
                      <a:pt x="1050106" y="527531"/>
                    </a:lnTo>
                    <a:lnTo>
                      <a:pt x="1109586" y="547358"/>
                    </a:lnTo>
                    <a:lnTo>
                      <a:pt x="1109586" y="548774"/>
                    </a:lnTo>
                    <a:close/>
                    <a:moveTo>
                      <a:pt x="984961" y="553022"/>
                    </a:moveTo>
                    <a:lnTo>
                      <a:pt x="984961" y="553022"/>
                    </a:lnTo>
                    <a:lnTo>
                      <a:pt x="965135" y="628080"/>
                    </a:lnTo>
                    <a:lnTo>
                      <a:pt x="962302" y="632329"/>
                    </a:lnTo>
                    <a:lnTo>
                      <a:pt x="877331" y="626664"/>
                    </a:lnTo>
                    <a:lnTo>
                      <a:pt x="863169" y="575682"/>
                    </a:lnTo>
                    <a:lnTo>
                      <a:pt x="955221" y="528947"/>
                    </a:lnTo>
                    <a:lnTo>
                      <a:pt x="1020366" y="538860"/>
                    </a:lnTo>
                    <a:lnTo>
                      <a:pt x="984961" y="553022"/>
                    </a:lnTo>
                    <a:close/>
                    <a:moveTo>
                      <a:pt x="786694" y="526115"/>
                    </a:moveTo>
                    <a:lnTo>
                      <a:pt x="783862" y="503456"/>
                    </a:lnTo>
                    <a:lnTo>
                      <a:pt x="841926" y="511953"/>
                    </a:lnTo>
                    <a:lnTo>
                      <a:pt x="846174" y="524699"/>
                    </a:lnTo>
                    <a:lnTo>
                      <a:pt x="786694" y="526115"/>
                    </a:lnTo>
                    <a:close/>
                    <a:moveTo>
                      <a:pt x="599757" y="166402"/>
                    </a:moveTo>
                    <a:lnTo>
                      <a:pt x="582763" y="167818"/>
                    </a:lnTo>
                    <a:lnTo>
                      <a:pt x="585595" y="152241"/>
                    </a:lnTo>
                    <a:lnTo>
                      <a:pt x="599757" y="155073"/>
                    </a:lnTo>
                    <a:lnTo>
                      <a:pt x="599757" y="166402"/>
                    </a:lnTo>
                    <a:close/>
                    <a:moveTo>
                      <a:pt x="315103" y="344842"/>
                    </a:moveTo>
                    <a:lnTo>
                      <a:pt x="313687" y="346258"/>
                    </a:lnTo>
                    <a:lnTo>
                      <a:pt x="313687" y="346258"/>
                    </a:lnTo>
                    <a:lnTo>
                      <a:pt x="317935" y="344842"/>
                    </a:lnTo>
                    <a:lnTo>
                      <a:pt x="351923" y="374582"/>
                    </a:lnTo>
                    <a:lnTo>
                      <a:pt x="208888" y="414236"/>
                    </a:lnTo>
                    <a:lnTo>
                      <a:pt x="153656" y="405739"/>
                    </a:lnTo>
                    <a:lnTo>
                      <a:pt x="159322" y="392993"/>
                    </a:lnTo>
                    <a:lnTo>
                      <a:pt x="142327" y="401490"/>
                    </a:lnTo>
                    <a:lnTo>
                      <a:pt x="97009" y="368918"/>
                    </a:lnTo>
                    <a:lnTo>
                      <a:pt x="101258" y="367501"/>
                    </a:lnTo>
                    <a:lnTo>
                      <a:pt x="315103" y="344842"/>
                    </a:lnTo>
                    <a:lnTo>
                      <a:pt x="315103" y="344842"/>
                    </a:lnTo>
                    <a:close/>
                    <a:moveTo>
                      <a:pt x="172068" y="428398"/>
                    </a:moveTo>
                    <a:lnTo>
                      <a:pt x="179149" y="434062"/>
                    </a:lnTo>
                    <a:lnTo>
                      <a:pt x="140911" y="436895"/>
                    </a:lnTo>
                    <a:lnTo>
                      <a:pt x="172068" y="428398"/>
                    </a:lnTo>
                    <a:close/>
                    <a:moveTo>
                      <a:pt x="94177" y="536028"/>
                    </a:moveTo>
                    <a:lnTo>
                      <a:pt x="98425" y="527531"/>
                    </a:lnTo>
                    <a:lnTo>
                      <a:pt x="223050" y="493542"/>
                    </a:lnTo>
                    <a:lnTo>
                      <a:pt x="170651" y="534612"/>
                    </a:lnTo>
                    <a:lnTo>
                      <a:pt x="94177" y="536028"/>
                    </a:lnTo>
                    <a:close/>
                    <a:moveTo>
                      <a:pt x="218802" y="643658"/>
                    </a:moveTo>
                    <a:lnTo>
                      <a:pt x="105506" y="798023"/>
                    </a:lnTo>
                    <a:lnTo>
                      <a:pt x="104090" y="792359"/>
                    </a:lnTo>
                    <a:lnTo>
                      <a:pt x="159322" y="662069"/>
                    </a:lnTo>
                    <a:lnTo>
                      <a:pt x="210304" y="637994"/>
                    </a:lnTo>
                    <a:lnTo>
                      <a:pt x="218802" y="643658"/>
                    </a:lnTo>
                    <a:close/>
                    <a:moveTo>
                      <a:pt x="402907" y="754122"/>
                    </a:moveTo>
                    <a:lnTo>
                      <a:pt x="402907" y="754122"/>
                    </a:lnTo>
                    <a:lnTo>
                      <a:pt x="402907" y="754122"/>
                    </a:lnTo>
                    <a:lnTo>
                      <a:pt x="402907" y="754122"/>
                    </a:lnTo>
                    <a:lnTo>
                      <a:pt x="357588" y="788110"/>
                    </a:lnTo>
                    <a:lnTo>
                      <a:pt x="279698" y="765451"/>
                    </a:lnTo>
                    <a:lnTo>
                      <a:pt x="248541" y="660653"/>
                    </a:lnTo>
                    <a:lnTo>
                      <a:pt x="402907" y="754122"/>
                    </a:lnTo>
                    <a:close/>
                    <a:moveTo>
                      <a:pt x="547358" y="694641"/>
                    </a:moveTo>
                    <a:lnTo>
                      <a:pt x="560104" y="703139"/>
                    </a:lnTo>
                    <a:lnTo>
                      <a:pt x="560104" y="718717"/>
                    </a:lnTo>
                    <a:lnTo>
                      <a:pt x="560104" y="718717"/>
                    </a:lnTo>
                    <a:lnTo>
                      <a:pt x="547358" y="694641"/>
                    </a:lnTo>
                    <a:close/>
                    <a:moveTo>
                      <a:pt x="632330" y="611086"/>
                    </a:moveTo>
                    <a:lnTo>
                      <a:pt x="693226" y="615335"/>
                    </a:lnTo>
                    <a:lnTo>
                      <a:pt x="690393" y="664901"/>
                    </a:lnTo>
                    <a:lnTo>
                      <a:pt x="595508" y="667734"/>
                    </a:lnTo>
                    <a:lnTo>
                      <a:pt x="632330" y="611086"/>
                    </a:lnTo>
                    <a:close/>
                    <a:moveTo>
                      <a:pt x="1111002" y="548774"/>
                    </a:moveTo>
                    <a:lnTo>
                      <a:pt x="1111002" y="545941"/>
                    </a:lnTo>
                    <a:lnTo>
                      <a:pt x="1123748" y="550190"/>
                    </a:lnTo>
                    <a:lnTo>
                      <a:pt x="1111002" y="548774"/>
                    </a:lnTo>
                    <a:close/>
                    <a:moveTo>
                      <a:pt x="1050106" y="524699"/>
                    </a:moveTo>
                    <a:lnTo>
                      <a:pt x="1050106" y="524699"/>
                    </a:lnTo>
                    <a:lnTo>
                      <a:pt x="1048690" y="526115"/>
                    </a:lnTo>
                    <a:lnTo>
                      <a:pt x="1051522" y="523282"/>
                    </a:lnTo>
                    <a:lnTo>
                      <a:pt x="1051522" y="523282"/>
                    </a:lnTo>
                    <a:lnTo>
                      <a:pt x="965135" y="524699"/>
                    </a:lnTo>
                    <a:lnTo>
                      <a:pt x="1120916" y="443975"/>
                    </a:lnTo>
                    <a:lnTo>
                      <a:pt x="1109586" y="545941"/>
                    </a:lnTo>
                    <a:lnTo>
                      <a:pt x="1050106" y="524699"/>
                    </a:lnTo>
                    <a:close/>
                    <a:moveTo>
                      <a:pt x="1044441" y="527531"/>
                    </a:moveTo>
                    <a:lnTo>
                      <a:pt x="1024614" y="536028"/>
                    </a:lnTo>
                    <a:lnTo>
                      <a:pt x="958054" y="526115"/>
                    </a:lnTo>
                    <a:lnTo>
                      <a:pt x="959470" y="524699"/>
                    </a:lnTo>
                    <a:lnTo>
                      <a:pt x="1045857" y="523282"/>
                    </a:lnTo>
                    <a:lnTo>
                      <a:pt x="1044441" y="527531"/>
                    </a:lnTo>
                    <a:close/>
                    <a:moveTo>
                      <a:pt x="863169" y="572849"/>
                    </a:moveTo>
                    <a:lnTo>
                      <a:pt x="850423" y="526115"/>
                    </a:lnTo>
                    <a:lnTo>
                      <a:pt x="939643" y="524699"/>
                    </a:lnTo>
                    <a:lnTo>
                      <a:pt x="952389" y="526115"/>
                    </a:lnTo>
                    <a:lnTo>
                      <a:pt x="863169" y="572849"/>
                    </a:lnTo>
                    <a:close/>
                    <a:moveTo>
                      <a:pt x="849007" y="524699"/>
                    </a:moveTo>
                    <a:lnTo>
                      <a:pt x="844759" y="511953"/>
                    </a:lnTo>
                    <a:lnTo>
                      <a:pt x="925481" y="523282"/>
                    </a:lnTo>
                    <a:lnTo>
                      <a:pt x="849007" y="524699"/>
                    </a:lnTo>
                    <a:close/>
                    <a:moveTo>
                      <a:pt x="958054" y="370334"/>
                    </a:moveTo>
                    <a:lnTo>
                      <a:pt x="958054" y="370334"/>
                    </a:lnTo>
                    <a:lnTo>
                      <a:pt x="857504" y="269784"/>
                    </a:lnTo>
                    <a:lnTo>
                      <a:pt x="778197" y="385912"/>
                    </a:lnTo>
                    <a:lnTo>
                      <a:pt x="766868" y="387328"/>
                    </a:lnTo>
                    <a:lnTo>
                      <a:pt x="694642" y="283946"/>
                    </a:lnTo>
                    <a:lnTo>
                      <a:pt x="919817" y="221634"/>
                    </a:lnTo>
                    <a:lnTo>
                      <a:pt x="960886" y="213137"/>
                    </a:lnTo>
                    <a:lnTo>
                      <a:pt x="1081262" y="361837"/>
                    </a:lnTo>
                    <a:lnTo>
                      <a:pt x="955221" y="371750"/>
                    </a:lnTo>
                    <a:lnTo>
                      <a:pt x="958054" y="370334"/>
                    </a:lnTo>
                    <a:close/>
                    <a:moveTo>
                      <a:pt x="596925" y="214553"/>
                    </a:moveTo>
                    <a:lnTo>
                      <a:pt x="601173" y="167818"/>
                    </a:lnTo>
                    <a:lnTo>
                      <a:pt x="664902" y="163570"/>
                    </a:lnTo>
                    <a:lnTo>
                      <a:pt x="946724" y="207472"/>
                    </a:lnTo>
                    <a:lnTo>
                      <a:pt x="596925" y="214553"/>
                    </a:lnTo>
                    <a:close/>
                    <a:moveTo>
                      <a:pt x="517618" y="139494"/>
                    </a:moveTo>
                    <a:lnTo>
                      <a:pt x="608254" y="44610"/>
                    </a:lnTo>
                    <a:lnTo>
                      <a:pt x="584179" y="149408"/>
                    </a:lnTo>
                    <a:lnTo>
                      <a:pt x="517618" y="139494"/>
                    </a:lnTo>
                    <a:close/>
                    <a:moveTo>
                      <a:pt x="460970" y="196142"/>
                    </a:moveTo>
                    <a:lnTo>
                      <a:pt x="407155" y="125333"/>
                    </a:lnTo>
                    <a:lnTo>
                      <a:pt x="513369" y="142327"/>
                    </a:lnTo>
                    <a:lnTo>
                      <a:pt x="460970" y="196142"/>
                    </a:lnTo>
                    <a:close/>
                    <a:moveTo>
                      <a:pt x="401490" y="123917"/>
                    </a:moveTo>
                    <a:lnTo>
                      <a:pt x="402907" y="122500"/>
                    </a:lnTo>
                    <a:lnTo>
                      <a:pt x="402907" y="122500"/>
                    </a:lnTo>
                    <a:lnTo>
                      <a:pt x="401490" y="123917"/>
                    </a:lnTo>
                    <a:close/>
                    <a:moveTo>
                      <a:pt x="320768" y="223050"/>
                    </a:moveTo>
                    <a:lnTo>
                      <a:pt x="320768" y="223050"/>
                    </a:lnTo>
                    <a:lnTo>
                      <a:pt x="443976" y="221634"/>
                    </a:lnTo>
                    <a:lnTo>
                      <a:pt x="316518" y="344842"/>
                    </a:lnTo>
                    <a:lnTo>
                      <a:pt x="315103" y="343426"/>
                    </a:lnTo>
                    <a:lnTo>
                      <a:pt x="315103" y="343426"/>
                    </a:lnTo>
                    <a:lnTo>
                      <a:pt x="105506" y="368918"/>
                    </a:lnTo>
                    <a:lnTo>
                      <a:pt x="238628" y="299524"/>
                    </a:lnTo>
                    <a:lnTo>
                      <a:pt x="238628" y="299524"/>
                    </a:lnTo>
                    <a:lnTo>
                      <a:pt x="289611" y="204639"/>
                    </a:lnTo>
                    <a:lnTo>
                      <a:pt x="391577" y="135246"/>
                    </a:lnTo>
                    <a:lnTo>
                      <a:pt x="320768" y="223050"/>
                    </a:lnTo>
                    <a:close/>
                    <a:moveTo>
                      <a:pt x="139495" y="405739"/>
                    </a:moveTo>
                    <a:lnTo>
                      <a:pt x="139495" y="405739"/>
                    </a:lnTo>
                    <a:lnTo>
                      <a:pt x="48859" y="392993"/>
                    </a:lnTo>
                    <a:lnTo>
                      <a:pt x="92760" y="373166"/>
                    </a:lnTo>
                    <a:lnTo>
                      <a:pt x="92760" y="373166"/>
                    </a:lnTo>
                    <a:lnTo>
                      <a:pt x="139495" y="405739"/>
                    </a:lnTo>
                    <a:close/>
                    <a:moveTo>
                      <a:pt x="135246" y="408571"/>
                    </a:moveTo>
                    <a:lnTo>
                      <a:pt x="74350" y="439727"/>
                    </a:lnTo>
                    <a:lnTo>
                      <a:pt x="43194" y="395825"/>
                    </a:lnTo>
                    <a:lnTo>
                      <a:pt x="46026" y="394409"/>
                    </a:lnTo>
                    <a:lnTo>
                      <a:pt x="135246" y="408571"/>
                    </a:lnTo>
                    <a:close/>
                    <a:moveTo>
                      <a:pt x="75766" y="445392"/>
                    </a:moveTo>
                    <a:lnTo>
                      <a:pt x="75766" y="445392"/>
                    </a:lnTo>
                    <a:lnTo>
                      <a:pt x="119668" y="442560"/>
                    </a:lnTo>
                    <a:lnTo>
                      <a:pt x="24783" y="468051"/>
                    </a:lnTo>
                    <a:lnTo>
                      <a:pt x="74350" y="442560"/>
                    </a:lnTo>
                    <a:lnTo>
                      <a:pt x="75766" y="445392"/>
                    </a:lnTo>
                    <a:close/>
                    <a:moveTo>
                      <a:pt x="181980" y="436895"/>
                    </a:moveTo>
                    <a:lnTo>
                      <a:pt x="317935" y="533196"/>
                    </a:lnTo>
                    <a:lnTo>
                      <a:pt x="235796" y="534612"/>
                    </a:lnTo>
                    <a:lnTo>
                      <a:pt x="234380" y="489294"/>
                    </a:lnTo>
                    <a:lnTo>
                      <a:pt x="234380" y="489294"/>
                    </a:lnTo>
                    <a:lnTo>
                      <a:pt x="231547" y="489294"/>
                    </a:lnTo>
                    <a:lnTo>
                      <a:pt x="232964" y="485045"/>
                    </a:lnTo>
                    <a:lnTo>
                      <a:pt x="232964" y="483629"/>
                    </a:lnTo>
                    <a:lnTo>
                      <a:pt x="224466" y="490710"/>
                    </a:lnTo>
                    <a:lnTo>
                      <a:pt x="97009" y="526115"/>
                    </a:lnTo>
                    <a:lnTo>
                      <a:pt x="136663" y="441143"/>
                    </a:lnTo>
                    <a:lnTo>
                      <a:pt x="181980" y="436895"/>
                    </a:lnTo>
                    <a:close/>
                    <a:moveTo>
                      <a:pt x="208888" y="636578"/>
                    </a:moveTo>
                    <a:lnTo>
                      <a:pt x="160737" y="659237"/>
                    </a:lnTo>
                    <a:lnTo>
                      <a:pt x="177732" y="618167"/>
                    </a:lnTo>
                    <a:lnTo>
                      <a:pt x="208888" y="636578"/>
                    </a:lnTo>
                    <a:close/>
                    <a:moveTo>
                      <a:pt x="102674" y="788110"/>
                    </a:moveTo>
                    <a:lnTo>
                      <a:pt x="77183" y="698890"/>
                    </a:lnTo>
                    <a:lnTo>
                      <a:pt x="156489" y="662069"/>
                    </a:lnTo>
                    <a:lnTo>
                      <a:pt x="102674" y="788110"/>
                    </a:lnTo>
                    <a:close/>
                    <a:moveTo>
                      <a:pt x="104090" y="799439"/>
                    </a:moveTo>
                    <a:lnTo>
                      <a:pt x="95593" y="812185"/>
                    </a:lnTo>
                    <a:lnTo>
                      <a:pt x="102674" y="795191"/>
                    </a:lnTo>
                    <a:lnTo>
                      <a:pt x="104090" y="799439"/>
                    </a:lnTo>
                    <a:close/>
                    <a:moveTo>
                      <a:pt x="357588" y="790942"/>
                    </a:moveTo>
                    <a:lnTo>
                      <a:pt x="357588" y="790942"/>
                    </a:lnTo>
                    <a:lnTo>
                      <a:pt x="405739" y="756954"/>
                    </a:lnTo>
                    <a:lnTo>
                      <a:pt x="405739" y="756954"/>
                    </a:lnTo>
                    <a:lnTo>
                      <a:pt x="405739" y="754122"/>
                    </a:lnTo>
                    <a:lnTo>
                      <a:pt x="441144" y="747041"/>
                    </a:lnTo>
                    <a:lnTo>
                      <a:pt x="469468" y="772532"/>
                    </a:lnTo>
                    <a:lnTo>
                      <a:pt x="303773" y="844758"/>
                    </a:lnTo>
                    <a:lnTo>
                      <a:pt x="281114" y="769699"/>
                    </a:lnTo>
                    <a:lnTo>
                      <a:pt x="357588" y="790942"/>
                    </a:lnTo>
                    <a:close/>
                    <a:moveTo>
                      <a:pt x="434063" y="630913"/>
                    </a:moveTo>
                    <a:lnTo>
                      <a:pt x="434063" y="630913"/>
                    </a:lnTo>
                    <a:lnTo>
                      <a:pt x="424150" y="608254"/>
                    </a:lnTo>
                    <a:lnTo>
                      <a:pt x="544526" y="693225"/>
                    </a:lnTo>
                    <a:lnTo>
                      <a:pt x="558688" y="721549"/>
                    </a:lnTo>
                    <a:lnTo>
                      <a:pt x="442560" y="744208"/>
                    </a:lnTo>
                    <a:lnTo>
                      <a:pt x="414236" y="718717"/>
                    </a:lnTo>
                    <a:lnTo>
                      <a:pt x="434063" y="630913"/>
                    </a:lnTo>
                    <a:close/>
                    <a:moveTo>
                      <a:pt x="561520" y="704555"/>
                    </a:moveTo>
                    <a:lnTo>
                      <a:pt x="565769" y="707387"/>
                    </a:lnTo>
                    <a:lnTo>
                      <a:pt x="561520" y="714468"/>
                    </a:lnTo>
                    <a:lnTo>
                      <a:pt x="561520" y="704555"/>
                    </a:lnTo>
                    <a:close/>
                    <a:moveTo>
                      <a:pt x="561520" y="670566"/>
                    </a:moveTo>
                    <a:lnTo>
                      <a:pt x="577098" y="670566"/>
                    </a:lnTo>
                    <a:lnTo>
                      <a:pt x="585595" y="677647"/>
                    </a:lnTo>
                    <a:lnTo>
                      <a:pt x="567185" y="705971"/>
                    </a:lnTo>
                    <a:lnTo>
                      <a:pt x="561520" y="701722"/>
                    </a:lnTo>
                    <a:lnTo>
                      <a:pt x="561520" y="670566"/>
                    </a:lnTo>
                    <a:close/>
                    <a:moveTo>
                      <a:pt x="588427" y="677647"/>
                    </a:moveTo>
                    <a:lnTo>
                      <a:pt x="594092" y="669150"/>
                    </a:lnTo>
                    <a:lnTo>
                      <a:pt x="690393" y="666318"/>
                    </a:lnTo>
                    <a:lnTo>
                      <a:pt x="683312" y="762618"/>
                    </a:lnTo>
                    <a:lnTo>
                      <a:pt x="588427" y="677647"/>
                    </a:lnTo>
                    <a:close/>
                    <a:moveTo>
                      <a:pt x="694642" y="615335"/>
                    </a:moveTo>
                    <a:lnTo>
                      <a:pt x="792359" y="622416"/>
                    </a:lnTo>
                    <a:lnTo>
                      <a:pt x="796608" y="626664"/>
                    </a:lnTo>
                    <a:lnTo>
                      <a:pt x="800856" y="662069"/>
                    </a:lnTo>
                    <a:lnTo>
                      <a:pt x="691809" y="666318"/>
                    </a:lnTo>
                    <a:lnTo>
                      <a:pt x="694642" y="615335"/>
                    </a:lnTo>
                    <a:close/>
                    <a:moveTo>
                      <a:pt x="832012" y="662069"/>
                    </a:moveTo>
                    <a:lnTo>
                      <a:pt x="904238" y="761203"/>
                    </a:lnTo>
                    <a:lnTo>
                      <a:pt x="833428" y="875914"/>
                    </a:lnTo>
                    <a:lnTo>
                      <a:pt x="827764" y="874498"/>
                    </a:lnTo>
                    <a:lnTo>
                      <a:pt x="803689" y="663485"/>
                    </a:lnTo>
                    <a:lnTo>
                      <a:pt x="832012" y="662069"/>
                    </a:lnTo>
                    <a:close/>
                    <a:moveTo>
                      <a:pt x="870250" y="887243"/>
                    </a:moveTo>
                    <a:lnTo>
                      <a:pt x="827764" y="890076"/>
                    </a:lnTo>
                    <a:lnTo>
                      <a:pt x="836261" y="877330"/>
                    </a:lnTo>
                    <a:lnTo>
                      <a:pt x="870250" y="887243"/>
                    </a:lnTo>
                    <a:close/>
                    <a:moveTo>
                      <a:pt x="948140" y="882995"/>
                    </a:moveTo>
                    <a:lnTo>
                      <a:pt x="948140" y="882995"/>
                    </a:lnTo>
                    <a:lnTo>
                      <a:pt x="948140" y="882995"/>
                    </a:lnTo>
                    <a:lnTo>
                      <a:pt x="956637" y="908486"/>
                    </a:lnTo>
                    <a:lnTo>
                      <a:pt x="881579" y="887243"/>
                    </a:lnTo>
                    <a:lnTo>
                      <a:pt x="948140" y="882995"/>
                    </a:lnTo>
                    <a:close/>
                    <a:moveTo>
                      <a:pt x="1122332" y="681896"/>
                    </a:moveTo>
                    <a:lnTo>
                      <a:pt x="1125164" y="684728"/>
                    </a:lnTo>
                    <a:lnTo>
                      <a:pt x="1123748" y="691809"/>
                    </a:lnTo>
                    <a:lnTo>
                      <a:pt x="1122332" y="681896"/>
                    </a:lnTo>
                    <a:close/>
                    <a:moveTo>
                      <a:pt x="1147823" y="558687"/>
                    </a:moveTo>
                    <a:lnTo>
                      <a:pt x="1147823" y="558687"/>
                    </a:lnTo>
                    <a:lnTo>
                      <a:pt x="1147823" y="558687"/>
                    </a:lnTo>
                    <a:lnTo>
                      <a:pt x="1190309" y="555855"/>
                    </a:lnTo>
                    <a:lnTo>
                      <a:pt x="1187476" y="747041"/>
                    </a:lnTo>
                    <a:lnTo>
                      <a:pt x="1126580" y="683312"/>
                    </a:lnTo>
                    <a:lnTo>
                      <a:pt x="1147823" y="558687"/>
                    </a:lnTo>
                    <a:close/>
                    <a:moveTo>
                      <a:pt x="112587" y="578514"/>
                    </a:moveTo>
                    <a:lnTo>
                      <a:pt x="51691" y="625248"/>
                    </a:lnTo>
                    <a:lnTo>
                      <a:pt x="81431" y="560103"/>
                    </a:lnTo>
                    <a:lnTo>
                      <a:pt x="112587" y="578514"/>
                    </a:lnTo>
                    <a:close/>
                    <a:moveTo>
                      <a:pt x="568601" y="707387"/>
                    </a:moveTo>
                    <a:lnTo>
                      <a:pt x="587012" y="679063"/>
                    </a:lnTo>
                    <a:lnTo>
                      <a:pt x="683312" y="764035"/>
                    </a:lnTo>
                    <a:lnTo>
                      <a:pt x="681897" y="786694"/>
                    </a:lnTo>
                    <a:lnTo>
                      <a:pt x="568601" y="707387"/>
                    </a:lnTo>
                    <a:close/>
                    <a:moveTo>
                      <a:pt x="950973" y="213137"/>
                    </a:moveTo>
                    <a:lnTo>
                      <a:pt x="960886" y="210304"/>
                    </a:lnTo>
                    <a:lnTo>
                      <a:pt x="962302" y="210304"/>
                    </a:lnTo>
                    <a:lnTo>
                      <a:pt x="950973" y="213137"/>
                    </a:lnTo>
                    <a:close/>
                    <a:moveTo>
                      <a:pt x="599757" y="152241"/>
                    </a:moveTo>
                    <a:lnTo>
                      <a:pt x="585595" y="149408"/>
                    </a:lnTo>
                    <a:lnTo>
                      <a:pt x="609670" y="43194"/>
                    </a:lnTo>
                    <a:lnTo>
                      <a:pt x="599757" y="152241"/>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53" name="Freeform: Shape 952">
                <a:extLst>
                  <a:ext uri="{FF2B5EF4-FFF2-40B4-BE49-F238E27FC236}">
                    <a16:creationId xmlns:a16="http://schemas.microsoft.com/office/drawing/2014/main" id="{0CB5FFD0-B61B-4790-99F1-42A15595475C}"/>
                  </a:ext>
                </a:extLst>
              </p:cNvPr>
              <p:cNvSpPr/>
              <p:nvPr/>
            </p:nvSpPr>
            <p:spPr>
              <a:xfrm>
                <a:off x="5476416" y="1812418"/>
                <a:ext cx="608962" cy="396533"/>
              </a:xfrm>
              <a:custGeom>
                <a:avLst/>
                <a:gdLst>
                  <a:gd name="connsiteX0" fmla="*/ 13454 w 608962"/>
                  <a:gd name="connsiteY0" fmla="*/ 340594 h 396533"/>
                  <a:gd name="connsiteX1" fmla="*/ 13454 w 608962"/>
                  <a:gd name="connsiteY1" fmla="*/ 340594 h 396533"/>
                  <a:gd name="connsiteX2" fmla="*/ 68685 w 608962"/>
                  <a:gd name="connsiteY2" fmla="*/ 340594 h 396533"/>
                  <a:gd name="connsiteX3" fmla="*/ 68685 w 608962"/>
                  <a:gd name="connsiteY3" fmla="*/ 340594 h 396533"/>
                  <a:gd name="connsiteX4" fmla="*/ 40362 w 608962"/>
                  <a:gd name="connsiteY4" fmla="*/ 296692 h 396533"/>
                  <a:gd name="connsiteX5" fmla="*/ 54523 w 608962"/>
                  <a:gd name="connsiteY5" fmla="*/ 271201 h 396533"/>
                  <a:gd name="connsiteX6" fmla="*/ 84264 w 608962"/>
                  <a:gd name="connsiteY6" fmla="*/ 282530 h 396533"/>
                  <a:gd name="connsiteX7" fmla="*/ 84264 w 608962"/>
                  <a:gd name="connsiteY7" fmla="*/ 282530 h 396533"/>
                  <a:gd name="connsiteX8" fmla="*/ 98425 w 608962"/>
                  <a:gd name="connsiteY8" fmla="*/ 198975 h 396533"/>
                  <a:gd name="connsiteX9" fmla="*/ 135246 w 608962"/>
                  <a:gd name="connsiteY9" fmla="*/ 194726 h 396533"/>
                  <a:gd name="connsiteX10" fmla="*/ 245709 w 608962"/>
                  <a:gd name="connsiteY10" fmla="*/ 187645 h 396533"/>
                  <a:gd name="connsiteX11" fmla="*/ 317935 w 608962"/>
                  <a:gd name="connsiteY11" fmla="*/ 312270 h 396533"/>
                  <a:gd name="connsiteX12" fmla="*/ 174900 w 608962"/>
                  <a:gd name="connsiteY12" fmla="*/ 313686 h 396533"/>
                  <a:gd name="connsiteX13" fmla="*/ 174900 w 608962"/>
                  <a:gd name="connsiteY13" fmla="*/ 313686 h 396533"/>
                  <a:gd name="connsiteX14" fmla="*/ 241460 w 608962"/>
                  <a:gd name="connsiteY14" fmla="*/ 388744 h 396533"/>
                  <a:gd name="connsiteX15" fmla="*/ 241460 w 608962"/>
                  <a:gd name="connsiteY15" fmla="*/ 388744 h 396533"/>
                  <a:gd name="connsiteX16" fmla="*/ 329265 w 608962"/>
                  <a:gd name="connsiteY16" fmla="*/ 322183 h 396533"/>
                  <a:gd name="connsiteX17" fmla="*/ 513369 w 608962"/>
                  <a:gd name="connsiteY17" fmla="*/ 298108 h 396533"/>
                  <a:gd name="connsiteX18" fmla="*/ 601173 w 608962"/>
                  <a:gd name="connsiteY18" fmla="*/ 241461 h 396533"/>
                  <a:gd name="connsiteX19" fmla="*/ 601173 w 608962"/>
                  <a:gd name="connsiteY19" fmla="*/ 241461 h 396533"/>
                  <a:gd name="connsiteX20" fmla="*/ 587012 w 608962"/>
                  <a:gd name="connsiteY20" fmla="*/ 106922 h 396533"/>
                  <a:gd name="connsiteX21" fmla="*/ 587012 w 608962"/>
                  <a:gd name="connsiteY21" fmla="*/ 106922 h 396533"/>
                  <a:gd name="connsiteX22" fmla="*/ 585595 w 608962"/>
                  <a:gd name="connsiteY22" fmla="*/ 106922 h 396533"/>
                  <a:gd name="connsiteX23" fmla="*/ 599757 w 608962"/>
                  <a:gd name="connsiteY23" fmla="*/ 240044 h 396533"/>
                  <a:gd name="connsiteX24" fmla="*/ 513369 w 608962"/>
                  <a:gd name="connsiteY24" fmla="*/ 295276 h 396533"/>
                  <a:gd name="connsiteX25" fmla="*/ 329265 w 608962"/>
                  <a:gd name="connsiteY25" fmla="*/ 319351 h 396533"/>
                  <a:gd name="connsiteX26" fmla="*/ 242877 w 608962"/>
                  <a:gd name="connsiteY26" fmla="*/ 385912 h 396533"/>
                  <a:gd name="connsiteX27" fmla="*/ 180564 w 608962"/>
                  <a:gd name="connsiteY27" fmla="*/ 316519 h 396533"/>
                  <a:gd name="connsiteX28" fmla="*/ 322184 w 608962"/>
                  <a:gd name="connsiteY28" fmla="*/ 315102 h 396533"/>
                  <a:gd name="connsiteX29" fmla="*/ 322184 w 608962"/>
                  <a:gd name="connsiteY29" fmla="*/ 315102 h 396533"/>
                  <a:gd name="connsiteX30" fmla="*/ 247126 w 608962"/>
                  <a:gd name="connsiteY30" fmla="*/ 186229 h 396533"/>
                  <a:gd name="connsiteX31" fmla="*/ 247126 w 608962"/>
                  <a:gd name="connsiteY31" fmla="*/ 186229 h 396533"/>
                  <a:gd name="connsiteX32" fmla="*/ 173483 w 608962"/>
                  <a:gd name="connsiteY32" fmla="*/ 190478 h 396533"/>
                  <a:gd name="connsiteX33" fmla="*/ 247126 w 608962"/>
                  <a:gd name="connsiteY33" fmla="*/ 181981 h 396533"/>
                  <a:gd name="connsiteX34" fmla="*/ 247126 w 608962"/>
                  <a:gd name="connsiteY34" fmla="*/ 181981 h 396533"/>
                  <a:gd name="connsiteX35" fmla="*/ 143743 w 608962"/>
                  <a:gd name="connsiteY35" fmla="*/ 97009 h 396533"/>
                  <a:gd name="connsiteX36" fmla="*/ 160738 w 608962"/>
                  <a:gd name="connsiteY36" fmla="*/ 54523 h 396533"/>
                  <a:gd name="connsiteX37" fmla="*/ 177732 w 608962"/>
                  <a:gd name="connsiteY37" fmla="*/ 13454 h 396533"/>
                  <a:gd name="connsiteX38" fmla="*/ 177732 w 608962"/>
                  <a:gd name="connsiteY38" fmla="*/ 12038 h 396533"/>
                  <a:gd name="connsiteX39" fmla="*/ 176316 w 608962"/>
                  <a:gd name="connsiteY39" fmla="*/ 10621 h 396533"/>
                  <a:gd name="connsiteX40" fmla="*/ 176316 w 608962"/>
                  <a:gd name="connsiteY40" fmla="*/ 12038 h 396533"/>
                  <a:gd name="connsiteX41" fmla="*/ 159322 w 608962"/>
                  <a:gd name="connsiteY41" fmla="*/ 53107 h 396533"/>
                  <a:gd name="connsiteX42" fmla="*/ 142327 w 608962"/>
                  <a:gd name="connsiteY42" fmla="*/ 95593 h 396533"/>
                  <a:gd name="connsiteX43" fmla="*/ 142327 w 608962"/>
                  <a:gd name="connsiteY43" fmla="*/ 97009 h 396533"/>
                  <a:gd name="connsiteX44" fmla="*/ 242877 w 608962"/>
                  <a:gd name="connsiteY44" fmla="*/ 179148 h 396533"/>
                  <a:gd name="connsiteX45" fmla="*/ 135246 w 608962"/>
                  <a:gd name="connsiteY45" fmla="*/ 191894 h 396533"/>
                  <a:gd name="connsiteX46" fmla="*/ 95593 w 608962"/>
                  <a:gd name="connsiteY46" fmla="*/ 194726 h 396533"/>
                  <a:gd name="connsiteX47" fmla="*/ 95593 w 608962"/>
                  <a:gd name="connsiteY47" fmla="*/ 194726 h 396533"/>
                  <a:gd name="connsiteX48" fmla="*/ 54523 w 608962"/>
                  <a:gd name="connsiteY48" fmla="*/ 268368 h 396533"/>
                  <a:gd name="connsiteX49" fmla="*/ 10621 w 608962"/>
                  <a:gd name="connsiteY49" fmla="*/ 252790 h 396533"/>
                  <a:gd name="connsiteX50" fmla="*/ 10621 w 608962"/>
                  <a:gd name="connsiteY50" fmla="*/ 252790 h 396533"/>
                  <a:gd name="connsiteX51" fmla="*/ 38945 w 608962"/>
                  <a:gd name="connsiteY51" fmla="*/ 298108 h 396533"/>
                  <a:gd name="connsiteX52" fmla="*/ 13454 w 608962"/>
                  <a:gd name="connsiteY52" fmla="*/ 340594 h 396533"/>
                  <a:gd name="connsiteX53" fmla="*/ 16286 w 608962"/>
                  <a:gd name="connsiteY53" fmla="*/ 339178 h 396533"/>
                  <a:gd name="connsiteX54" fmla="*/ 38945 w 608962"/>
                  <a:gd name="connsiteY54" fmla="*/ 298108 h 396533"/>
                  <a:gd name="connsiteX55" fmla="*/ 64437 w 608962"/>
                  <a:gd name="connsiteY55" fmla="*/ 337762 h 396533"/>
                  <a:gd name="connsiteX56" fmla="*/ 16286 w 608962"/>
                  <a:gd name="connsiteY56" fmla="*/ 339178 h 396533"/>
                  <a:gd name="connsiteX57" fmla="*/ 53107 w 608962"/>
                  <a:gd name="connsiteY57" fmla="*/ 269784 h 396533"/>
                  <a:gd name="connsiteX58" fmla="*/ 38945 w 608962"/>
                  <a:gd name="connsiteY58" fmla="*/ 293860 h 396533"/>
                  <a:gd name="connsiteX59" fmla="*/ 14870 w 608962"/>
                  <a:gd name="connsiteY59" fmla="*/ 255622 h 396533"/>
                  <a:gd name="connsiteX60" fmla="*/ 53107 w 608962"/>
                  <a:gd name="connsiteY60" fmla="*/ 269784 h 396533"/>
                  <a:gd name="connsiteX61" fmla="*/ 55940 w 608962"/>
                  <a:gd name="connsiteY61" fmla="*/ 268368 h 396533"/>
                  <a:gd name="connsiteX62" fmla="*/ 95593 w 608962"/>
                  <a:gd name="connsiteY62" fmla="*/ 196142 h 396533"/>
                  <a:gd name="connsiteX63" fmla="*/ 97009 w 608962"/>
                  <a:gd name="connsiteY63" fmla="*/ 196142 h 396533"/>
                  <a:gd name="connsiteX64" fmla="*/ 97009 w 608962"/>
                  <a:gd name="connsiteY64" fmla="*/ 196142 h 396533"/>
                  <a:gd name="connsiteX65" fmla="*/ 82847 w 608962"/>
                  <a:gd name="connsiteY65" fmla="*/ 278282 h 396533"/>
                  <a:gd name="connsiteX66" fmla="*/ 55940 w 608962"/>
                  <a:gd name="connsiteY66" fmla="*/ 268368 h 39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08962" h="396533">
                    <a:moveTo>
                      <a:pt x="13454" y="340594"/>
                    </a:moveTo>
                    <a:lnTo>
                      <a:pt x="13454" y="340594"/>
                    </a:lnTo>
                    <a:lnTo>
                      <a:pt x="68685" y="340594"/>
                    </a:lnTo>
                    <a:lnTo>
                      <a:pt x="68685" y="340594"/>
                    </a:lnTo>
                    <a:lnTo>
                      <a:pt x="40362" y="296692"/>
                    </a:lnTo>
                    <a:lnTo>
                      <a:pt x="54523" y="271201"/>
                    </a:lnTo>
                    <a:lnTo>
                      <a:pt x="84264" y="282530"/>
                    </a:lnTo>
                    <a:lnTo>
                      <a:pt x="84264" y="282530"/>
                    </a:lnTo>
                    <a:lnTo>
                      <a:pt x="98425" y="198975"/>
                    </a:lnTo>
                    <a:lnTo>
                      <a:pt x="135246" y="194726"/>
                    </a:lnTo>
                    <a:lnTo>
                      <a:pt x="245709" y="187645"/>
                    </a:lnTo>
                    <a:lnTo>
                      <a:pt x="317935" y="312270"/>
                    </a:lnTo>
                    <a:lnTo>
                      <a:pt x="174900" y="313686"/>
                    </a:lnTo>
                    <a:lnTo>
                      <a:pt x="174900" y="313686"/>
                    </a:lnTo>
                    <a:lnTo>
                      <a:pt x="241460" y="388744"/>
                    </a:lnTo>
                    <a:lnTo>
                      <a:pt x="241460" y="388744"/>
                    </a:lnTo>
                    <a:lnTo>
                      <a:pt x="329265" y="322183"/>
                    </a:lnTo>
                    <a:lnTo>
                      <a:pt x="513369" y="298108"/>
                    </a:lnTo>
                    <a:lnTo>
                      <a:pt x="601173" y="241461"/>
                    </a:lnTo>
                    <a:lnTo>
                      <a:pt x="601173" y="241461"/>
                    </a:lnTo>
                    <a:lnTo>
                      <a:pt x="587012" y="106922"/>
                    </a:lnTo>
                    <a:lnTo>
                      <a:pt x="587012" y="106922"/>
                    </a:lnTo>
                    <a:lnTo>
                      <a:pt x="585595" y="106922"/>
                    </a:lnTo>
                    <a:lnTo>
                      <a:pt x="599757" y="240044"/>
                    </a:lnTo>
                    <a:lnTo>
                      <a:pt x="513369" y="295276"/>
                    </a:lnTo>
                    <a:lnTo>
                      <a:pt x="329265" y="319351"/>
                    </a:lnTo>
                    <a:lnTo>
                      <a:pt x="242877" y="385912"/>
                    </a:lnTo>
                    <a:lnTo>
                      <a:pt x="180564" y="316519"/>
                    </a:lnTo>
                    <a:lnTo>
                      <a:pt x="322184" y="315102"/>
                    </a:lnTo>
                    <a:lnTo>
                      <a:pt x="322184" y="315102"/>
                    </a:lnTo>
                    <a:lnTo>
                      <a:pt x="247126" y="186229"/>
                    </a:lnTo>
                    <a:lnTo>
                      <a:pt x="247126" y="186229"/>
                    </a:lnTo>
                    <a:lnTo>
                      <a:pt x="173483" y="190478"/>
                    </a:lnTo>
                    <a:lnTo>
                      <a:pt x="247126" y="181981"/>
                    </a:lnTo>
                    <a:lnTo>
                      <a:pt x="247126" y="181981"/>
                    </a:lnTo>
                    <a:lnTo>
                      <a:pt x="143743" y="97009"/>
                    </a:lnTo>
                    <a:cubicBezTo>
                      <a:pt x="149408" y="82847"/>
                      <a:pt x="155073" y="68685"/>
                      <a:pt x="160738" y="54523"/>
                    </a:cubicBezTo>
                    <a:cubicBezTo>
                      <a:pt x="166402" y="41778"/>
                      <a:pt x="172067" y="27616"/>
                      <a:pt x="177732" y="13454"/>
                    </a:cubicBezTo>
                    <a:lnTo>
                      <a:pt x="177732" y="12038"/>
                    </a:lnTo>
                    <a:lnTo>
                      <a:pt x="176316" y="10621"/>
                    </a:lnTo>
                    <a:lnTo>
                      <a:pt x="176316" y="12038"/>
                    </a:lnTo>
                    <a:cubicBezTo>
                      <a:pt x="170651" y="26200"/>
                      <a:pt x="164986" y="40361"/>
                      <a:pt x="159322" y="53107"/>
                    </a:cubicBezTo>
                    <a:cubicBezTo>
                      <a:pt x="153657" y="67269"/>
                      <a:pt x="147992" y="81431"/>
                      <a:pt x="142327" y="95593"/>
                    </a:cubicBezTo>
                    <a:lnTo>
                      <a:pt x="142327" y="97009"/>
                    </a:lnTo>
                    <a:lnTo>
                      <a:pt x="242877" y="179148"/>
                    </a:lnTo>
                    <a:lnTo>
                      <a:pt x="135246" y="191894"/>
                    </a:lnTo>
                    <a:lnTo>
                      <a:pt x="95593" y="194726"/>
                    </a:lnTo>
                    <a:lnTo>
                      <a:pt x="95593" y="194726"/>
                    </a:lnTo>
                    <a:lnTo>
                      <a:pt x="54523" y="268368"/>
                    </a:lnTo>
                    <a:lnTo>
                      <a:pt x="10621" y="252790"/>
                    </a:lnTo>
                    <a:lnTo>
                      <a:pt x="10621" y="252790"/>
                    </a:lnTo>
                    <a:lnTo>
                      <a:pt x="38945" y="298108"/>
                    </a:lnTo>
                    <a:lnTo>
                      <a:pt x="13454" y="340594"/>
                    </a:lnTo>
                    <a:close/>
                    <a:moveTo>
                      <a:pt x="16286" y="339178"/>
                    </a:moveTo>
                    <a:lnTo>
                      <a:pt x="38945" y="298108"/>
                    </a:lnTo>
                    <a:lnTo>
                      <a:pt x="64437" y="337762"/>
                    </a:lnTo>
                    <a:lnTo>
                      <a:pt x="16286" y="339178"/>
                    </a:lnTo>
                    <a:close/>
                    <a:moveTo>
                      <a:pt x="53107" y="269784"/>
                    </a:moveTo>
                    <a:lnTo>
                      <a:pt x="38945" y="293860"/>
                    </a:lnTo>
                    <a:lnTo>
                      <a:pt x="14870" y="255622"/>
                    </a:lnTo>
                    <a:lnTo>
                      <a:pt x="53107" y="269784"/>
                    </a:lnTo>
                    <a:close/>
                    <a:moveTo>
                      <a:pt x="55940" y="268368"/>
                    </a:moveTo>
                    <a:lnTo>
                      <a:pt x="95593" y="196142"/>
                    </a:lnTo>
                    <a:lnTo>
                      <a:pt x="97009" y="196142"/>
                    </a:lnTo>
                    <a:lnTo>
                      <a:pt x="97009" y="196142"/>
                    </a:lnTo>
                    <a:lnTo>
                      <a:pt x="82847" y="278282"/>
                    </a:lnTo>
                    <a:lnTo>
                      <a:pt x="55940" y="268368"/>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54" name="Freeform: Shape 953">
                <a:extLst>
                  <a:ext uri="{FF2B5EF4-FFF2-40B4-BE49-F238E27FC236}">
                    <a16:creationId xmlns:a16="http://schemas.microsoft.com/office/drawing/2014/main" id="{8E9D87CE-5ED0-4504-B9DA-85C5391247E3}"/>
                  </a:ext>
                </a:extLst>
              </p:cNvPr>
              <p:cNvSpPr/>
              <p:nvPr/>
            </p:nvSpPr>
            <p:spPr>
              <a:xfrm>
                <a:off x="6147691" y="621402"/>
                <a:ext cx="453181" cy="169943"/>
              </a:xfrm>
              <a:custGeom>
                <a:avLst/>
                <a:gdLst>
                  <a:gd name="connsiteX0" fmla="*/ 138079 w 453181"/>
                  <a:gd name="connsiteY0" fmla="*/ 27616 h 169942"/>
                  <a:gd name="connsiteX1" fmla="*/ 159322 w 453181"/>
                  <a:gd name="connsiteY1" fmla="*/ 160738 h 169942"/>
                  <a:gd name="connsiteX2" fmla="*/ 159322 w 453181"/>
                  <a:gd name="connsiteY2" fmla="*/ 160738 h 169942"/>
                  <a:gd name="connsiteX3" fmla="*/ 336345 w 453181"/>
                  <a:gd name="connsiteY3" fmla="*/ 61604 h 169942"/>
                  <a:gd name="connsiteX4" fmla="*/ 336345 w 453181"/>
                  <a:gd name="connsiteY4" fmla="*/ 61604 h 169942"/>
                  <a:gd name="connsiteX5" fmla="*/ 150824 w 453181"/>
                  <a:gd name="connsiteY5" fmla="*/ 17702 h 169942"/>
                  <a:gd name="connsiteX6" fmla="*/ 443976 w 453181"/>
                  <a:gd name="connsiteY6" fmla="*/ 13454 h 169942"/>
                  <a:gd name="connsiteX7" fmla="*/ 443976 w 453181"/>
                  <a:gd name="connsiteY7" fmla="*/ 13454 h 169942"/>
                  <a:gd name="connsiteX8" fmla="*/ 443976 w 453181"/>
                  <a:gd name="connsiteY8" fmla="*/ 10621 h 169942"/>
                  <a:gd name="connsiteX9" fmla="*/ 142328 w 453181"/>
                  <a:gd name="connsiteY9" fmla="*/ 16286 h 169942"/>
                  <a:gd name="connsiteX10" fmla="*/ 140911 w 453181"/>
                  <a:gd name="connsiteY10" fmla="*/ 16286 h 169942"/>
                  <a:gd name="connsiteX11" fmla="*/ 140911 w 453181"/>
                  <a:gd name="connsiteY11" fmla="*/ 17702 h 169942"/>
                  <a:gd name="connsiteX12" fmla="*/ 330681 w 453181"/>
                  <a:gd name="connsiteY12" fmla="*/ 61604 h 169942"/>
                  <a:gd name="connsiteX13" fmla="*/ 162154 w 453181"/>
                  <a:gd name="connsiteY13" fmla="*/ 157905 h 169942"/>
                  <a:gd name="connsiteX14" fmla="*/ 139495 w 453181"/>
                  <a:gd name="connsiteY14" fmla="*/ 24783 h 169942"/>
                  <a:gd name="connsiteX15" fmla="*/ 139495 w 453181"/>
                  <a:gd name="connsiteY15" fmla="*/ 24783 h 169942"/>
                  <a:gd name="connsiteX16" fmla="*/ 10621 w 453181"/>
                  <a:gd name="connsiteY16" fmla="*/ 81431 h 169942"/>
                  <a:gd name="connsiteX17" fmla="*/ 10621 w 453181"/>
                  <a:gd name="connsiteY17" fmla="*/ 81431 h 169942"/>
                  <a:gd name="connsiteX18" fmla="*/ 12038 w 453181"/>
                  <a:gd name="connsiteY18" fmla="*/ 82847 h 16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53181" h="169942">
                    <a:moveTo>
                      <a:pt x="138079" y="27616"/>
                    </a:moveTo>
                    <a:lnTo>
                      <a:pt x="159322" y="160738"/>
                    </a:lnTo>
                    <a:lnTo>
                      <a:pt x="159322" y="160738"/>
                    </a:lnTo>
                    <a:lnTo>
                      <a:pt x="336345" y="61604"/>
                    </a:lnTo>
                    <a:lnTo>
                      <a:pt x="336345" y="61604"/>
                    </a:lnTo>
                    <a:lnTo>
                      <a:pt x="150824" y="17702"/>
                    </a:lnTo>
                    <a:lnTo>
                      <a:pt x="443976" y="13454"/>
                    </a:lnTo>
                    <a:lnTo>
                      <a:pt x="443976" y="13454"/>
                    </a:lnTo>
                    <a:lnTo>
                      <a:pt x="443976" y="10621"/>
                    </a:lnTo>
                    <a:lnTo>
                      <a:pt x="142328" y="16286"/>
                    </a:lnTo>
                    <a:lnTo>
                      <a:pt x="140911" y="16286"/>
                    </a:lnTo>
                    <a:lnTo>
                      <a:pt x="140911" y="17702"/>
                    </a:lnTo>
                    <a:lnTo>
                      <a:pt x="330681" y="61604"/>
                    </a:lnTo>
                    <a:lnTo>
                      <a:pt x="162154" y="157905"/>
                    </a:lnTo>
                    <a:lnTo>
                      <a:pt x="139495" y="24783"/>
                    </a:lnTo>
                    <a:lnTo>
                      <a:pt x="139495" y="24783"/>
                    </a:lnTo>
                    <a:lnTo>
                      <a:pt x="10621" y="81431"/>
                    </a:lnTo>
                    <a:lnTo>
                      <a:pt x="10621" y="81431"/>
                    </a:lnTo>
                    <a:lnTo>
                      <a:pt x="12038" y="82847"/>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55" name="Freeform: Shape 954">
                <a:extLst>
                  <a:ext uri="{FF2B5EF4-FFF2-40B4-BE49-F238E27FC236}">
                    <a16:creationId xmlns:a16="http://schemas.microsoft.com/office/drawing/2014/main" id="{9708B38E-8466-4605-8F8A-29272C7532FA}"/>
                  </a:ext>
                </a:extLst>
              </p:cNvPr>
              <p:cNvSpPr/>
              <p:nvPr/>
            </p:nvSpPr>
            <p:spPr>
              <a:xfrm>
                <a:off x="7331627" y="847992"/>
                <a:ext cx="368210" cy="325724"/>
              </a:xfrm>
              <a:custGeom>
                <a:avLst/>
                <a:gdLst>
                  <a:gd name="connsiteX0" fmla="*/ 10621 w 368209"/>
                  <a:gd name="connsiteY0" fmla="*/ 211721 h 325723"/>
                  <a:gd name="connsiteX1" fmla="*/ 12038 w 368209"/>
                  <a:gd name="connsiteY1" fmla="*/ 213137 h 325723"/>
                  <a:gd name="connsiteX2" fmla="*/ 12038 w 368209"/>
                  <a:gd name="connsiteY2" fmla="*/ 213137 h 325723"/>
                  <a:gd name="connsiteX3" fmla="*/ 361837 w 368209"/>
                  <a:gd name="connsiteY3" fmla="*/ 17702 h 325723"/>
                  <a:gd name="connsiteX4" fmla="*/ 186229 w 368209"/>
                  <a:gd name="connsiteY4" fmla="*/ 183397 h 325723"/>
                  <a:gd name="connsiteX5" fmla="*/ 10621 w 368209"/>
                  <a:gd name="connsiteY5" fmla="*/ 220218 h 325723"/>
                  <a:gd name="connsiteX6" fmla="*/ 10621 w 368209"/>
                  <a:gd name="connsiteY6" fmla="*/ 220218 h 325723"/>
                  <a:gd name="connsiteX7" fmla="*/ 128165 w 368209"/>
                  <a:gd name="connsiteY7" fmla="*/ 320767 h 325723"/>
                  <a:gd name="connsiteX8" fmla="*/ 129581 w 368209"/>
                  <a:gd name="connsiteY8" fmla="*/ 320767 h 325723"/>
                  <a:gd name="connsiteX9" fmla="*/ 129581 w 368209"/>
                  <a:gd name="connsiteY9" fmla="*/ 319351 h 325723"/>
                  <a:gd name="connsiteX10" fmla="*/ 129581 w 368209"/>
                  <a:gd name="connsiteY10" fmla="*/ 319351 h 325723"/>
                  <a:gd name="connsiteX11" fmla="*/ 14870 w 368209"/>
                  <a:gd name="connsiteY11" fmla="*/ 221634 h 325723"/>
                  <a:gd name="connsiteX12" fmla="*/ 187645 w 368209"/>
                  <a:gd name="connsiteY12" fmla="*/ 184813 h 325723"/>
                  <a:gd name="connsiteX13" fmla="*/ 368918 w 368209"/>
                  <a:gd name="connsiteY13" fmla="*/ 12038 h 325723"/>
                  <a:gd name="connsiteX14" fmla="*/ 370334 w 368209"/>
                  <a:gd name="connsiteY14" fmla="*/ 12038 h 325723"/>
                  <a:gd name="connsiteX15" fmla="*/ 368918 w 368209"/>
                  <a:gd name="connsiteY15" fmla="*/ 10621 h 325723"/>
                  <a:gd name="connsiteX16" fmla="*/ 10621 w 368209"/>
                  <a:gd name="connsiteY16" fmla="*/ 211721 h 325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8209" h="325723">
                    <a:moveTo>
                      <a:pt x="10621" y="211721"/>
                    </a:moveTo>
                    <a:lnTo>
                      <a:pt x="12038" y="213137"/>
                    </a:lnTo>
                    <a:lnTo>
                      <a:pt x="12038" y="213137"/>
                    </a:lnTo>
                    <a:lnTo>
                      <a:pt x="361837" y="17702"/>
                    </a:lnTo>
                    <a:lnTo>
                      <a:pt x="186229" y="183397"/>
                    </a:lnTo>
                    <a:lnTo>
                      <a:pt x="10621" y="220218"/>
                    </a:lnTo>
                    <a:lnTo>
                      <a:pt x="10621" y="220218"/>
                    </a:lnTo>
                    <a:lnTo>
                      <a:pt x="128165" y="320767"/>
                    </a:lnTo>
                    <a:lnTo>
                      <a:pt x="129581" y="320767"/>
                    </a:lnTo>
                    <a:lnTo>
                      <a:pt x="129581" y="319351"/>
                    </a:lnTo>
                    <a:lnTo>
                      <a:pt x="129581" y="319351"/>
                    </a:lnTo>
                    <a:lnTo>
                      <a:pt x="14870" y="221634"/>
                    </a:lnTo>
                    <a:lnTo>
                      <a:pt x="187645" y="184813"/>
                    </a:lnTo>
                    <a:lnTo>
                      <a:pt x="368918" y="12038"/>
                    </a:lnTo>
                    <a:lnTo>
                      <a:pt x="370334" y="12038"/>
                    </a:lnTo>
                    <a:lnTo>
                      <a:pt x="368918" y="10621"/>
                    </a:lnTo>
                    <a:lnTo>
                      <a:pt x="10621" y="211721"/>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56" name="Freeform: Shape 955">
                <a:extLst>
                  <a:ext uri="{FF2B5EF4-FFF2-40B4-BE49-F238E27FC236}">
                    <a16:creationId xmlns:a16="http://schemas.microsoft.com/office/drawing/2014/main" id="{31C9DB33-B299-4C83-944C-6A821707AA7F}"/>
                  </a:ext>
                </a:extLst>
              </p:cNvPr>
              <p:cNvSpPr/>
              <p:nvPr/>
            </p:nvSpPr>
            <p:spPr>
              <a:xfrm>
                <a:off x="7238158" y="482615"/>
                <a:ext cx="410695" cy="127457"/>
              </a:xfrm>
              <a:custGeom>
                <a:avLst/>
                <a:gdLst>
                  <a:gd name="connsiteX0" fmla="*/ 279698 w 410695"/>
                  <a:gd name="connsiteY0" fmla="*/ 13454 h 127457"/>
                  <a:gd name="connsiteX1" fmla="*/ 292443 w 410695"/>
                  <a:gd name="connsiteY1" fmla="*/ 82847 h 127457"/>
                  <a:gd name="connsiteX2" fmla="*/ 20535 w 410695"/>
                  <a:gd name="connsiteY2" fmla="*/ 104090 h 127457"/>
                  <a:gd name="connsiteX3" fmla="*/ 20535 w 410695"/>
                  <a:gd name="connsiteY3" fmla="*/ 104090 h 127457"/>
                  <a:gd name="connsiteX4" fmla="*/ 20535 w 410695"/>
                  <a:gd name="connsiteY4" fmla="*/ 105506 h 127457"/>
                  <a:gd name="connsiteX5" fmla="*/ 292443 w 410695"/>
                  <a:gd name="connsiteY5" fmla="*/ 84263 h 127457"/>
                  <a:gd name="connsiteX6" fmla="*/ 300941 w 410695"/>
                  <a:gd name="connsiteY6" fmla="*/ 129581 h 127457"/>
                  <a:gd name="connsiteX7" fmla="*/ 300941 w 410695"/>
                  <a:gd name="connsiteY7" fmla="*/ 129581 h 127457"/>
                  <a:gd name="connsiteX8" fmla="*/ 401490 w 410695"/>
                  <a:gd name="connsiteY8" fmla="*/ 74350 h 127457"/>
                  <a:gd name="connsiteX9" fmla="*/ 402907 w 410695"/>
                  <a:gd name="connsiteY9" fmla="*/ 74350 h 127457"/>
                  <a:gd name="connsiteX10" fmla="*/ 293860 w 410695"/>
                  <a:gd name="connsiteY10" fmla="*/ 82847 h 127457"/>
                  <a:gd name="connsiteX11" fmla="*/ 281114 w 410695"/>
                  <a:gd name="connsiteY11" fmla="*/ 10621 h 127457"/>
                  <a:gd name="connsiteX12" fmla="*/ 281114 w 410695"/>
                  <a:gd name="connsiteY12" fmla="*/ 10621 h 127457"/>
                  <a:gd name="connsiteX13" fmla="*/ 10621 w 410695"/>
                  <a:gd name="connsiteY13" fmla="*/ 97009 h 127457"/>
                  <a:gd name="connsiteX14" fmla="*/ 10621 w 410695"/>
                  <a:gd name="connsiteY14" fmla="*/ 97009 h 127457"/>
                  <a:gd name="connsiteX15" fmla="*/ 10621 w 410695"/>
                  <a:gd name="connsiteY15" fmla="*/ 98425 h 127457"/>
                  <a:gd name="connsiteX16" fmla="*/ 279698 w 410695"/>
                  <a:gd name="connsiteY16" fmla="*/ 13454 h 127457"/>
                  <a:gd name="connsiteX17" fmla="*/ 302357 w 410695"/>
                  <a:gd name="connsiteY17" fmla="*/ 126749 h 127457"/>
                  <a:gd name="connsiteX18" fmla="*/ 295276 w 410695"/>
                  <a:gd name="connsiteY18" fmla="*/ 84263 h 127457"/>
                  <a:gd name="connsiteX19" fmla="*/ 394409 w 410695"/>
                  <a:gd name="connsiteY19" fmla="*/ 75766 h 127457"/>
                  <a:gd name="connsiteX20" fmla="*/ 302357 w 410695"/>
                  <a:gd name="connsiteY20" fmla="*/ 126749 h 12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0695" h="127457">
                    <a:moveTo>
                      <a:pt x="279698" y="13454"/>
                    </a:moveTo>
                    <a:lnTo>
                      <a:pt x="292443" y="82847"/>
                    </a:lnTo>
                    <a:lnTo>
                      <a:pt x="20535" y="104090"/>
                    </a:lnTo>
                    <a:lnTo>
                      <a:pt x="20535" y="104090"/>
                    </a:lnTo>
                    <a:lnTo>
                      <a:pt x="20535" y="105506"/>
                    </a:lnTo>
                    <a:lnTo>
                      <a:pt x="292443" y="84263"/>
                    </a:lnTo>
                    <a:lnTo>
                      <a:pt x="300941" y="129581"/>
                    </a:lnTo>
                    <a:lnTo>
                      <a:pt x="300941" y="129581"/>
                    </a:lnTo>
                    <a:lnTo>
                      <a:pt x="401490" y="74350"/>
                    </a:lnTo>
                    <a:lnTo>
                      <a:pt x="402907" y="74350"/>
                    </a:lnTo>
                    <a:lnTo>
                      <a:pt x="293860" y="82847"/>
                    </a:lnTo>
                    <a:lnTo>
                      <a:pt x="281114" y="10621"/>
                    </a:lnTo>
                    <a:lnTo>
                      <a:pt x="281114" y="10621"/>
                    </a:lnTo>
                    <a:lnTo>
                      <a:pt x="10621" y="97009"/>
                    </a:lnTo>
                    <a:lnTo>
                      <a:pt x="10621" y="97009"/>
                    </a:lnTo>
                    <a:lnTo>
                      <a:pt x="10621" y="98425"/>
                    </a:lnTo>
                    <a:lnTo>
                      <a:pt x="279698" y="13454"/>
                    </a:lnTo>
                    <a:close/>
                    <a:moveTo>
                      <a:pt x="302357" y="126749"/>
                    </a:moveTo>
                    <a:lnTo>
                      <a:pt x="295276" y="84263"/>
                    </a:lnTo>
                    <a:lnTo>
                      <a:pt x="394409" y="75766"/>
                    </a:lnTo>
                    <a:lnTo>
                      <a:pt x="302357" y="126749"/>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grpSp>
      </p:grpSp>
      <p:grpSp>
        <p:nvGrpSpPr>
          <p:cNvPr id="964" name="Dots">
            <a:extLst>
              <a:ext uri="{FF2B5EF4-FFF2-40B4-BE49-F238E27FC236}">
                <a16:creationId xmlns:a16="http://schemas.microsoft.com/office/drawing/2014/main" id="{97A908EF-FAB2-486E-99A1-9499518562B7}"/>
              </a:ext>
            </a:extLst>
          </p:cNvPr>
          <p:cNvGrpSpPr/>
          <p:nvPr/>
        </p:nvGrpSpPr>
        <p:grpSpPr>
          <a:xfrm>
            <a:off x="840224" y="347874"/>
            <a:ext cx="10752358" cy="6303401"/>
            <a:chOff x="826141" y="332996"/>
            <a:chExt cx="10535048" cy="6176008"/>
          </a:xfrm>
          <a:solidFill>
            <a:srgbClr val="0078D4"/>
          </a:solidFill>
        </p:grpSpPr>
        <p:sp>
          <p:nvSpPr>
            <p:cNvPr id="965" name="Freeform: Shape 964">
              <a:extLst>
                <a:ext uri="{FF2B5EF4-FFF2-40B4-BE49-F238E27FC236}">
                  <a16:creationId xmlns:a16="http://schemas.microsoft.com/office/drawing/2014/main" id="{0BCD449E-67FB-4604-B2A1-7A25AC8EF15D}"/>
                </a:ext>
              </a:extLst>
            </p:cNvPr>
            <p:cNvSpPr/>
            <p:nvPr/>
          </p:nvSpPr>
          <p:spPr>
            <a:xfrm>
              <a:off x="11181332" y="1308751"/>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8101"/>
                    <a:pt x="95095" y="55442"/>
                  </a:cubicBezTo>
                  <a:cubicBezTo>
                    <a:pt x="95095" y="34199"/>
                    <a:pt x="78101" y="15789"/>
                    <a:pt x="55442" y="15789"/>
                  </a:cubicBezTo>
                  <a:cubicBezTo>
                    <a:pt x="34199" y="15789"/>
                    <a:pt x="15789" y="32783"/>
                    <a:pt x="15789" y="55442"/>
                  </a:cubicBezTo>
                  <a:cubicBezTo>
                    <a:pt x="15789" y="76685"/>
                    <a:pt x="34199" y="95096"/>
                    <a:pt x="55442" y="950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66" name="Freeform: Shape 965">
              <a:extLst>
                <a:ext uri="{FF2B5EF4-FFF2-40B4-BE49-F238E27FC236}">
                  <a16:creationId xmlns:a16="http://schemas.microsoft.com/office/drawing/2014/main" id="{45DAA57E-F6A2-44D9-A10D-3F581A17AE6E}"/>
                </a:ext>
              </a:extLst>
            </p:cNvPr>
            <p:cNvSpPr/>
            <p:nvPr/>
          </p:nvSpPr>
          <p:spPr>
            <a:xfrm>
              <a:off x="9156179" y="2165547"/>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8102"/>
                    <a:pt x="95095" y="55442"/>
                  </a:cubicBezTo>
                  <a:cubicBezTo>
                    <a:pt x="95095" y="34200"/>
                    <a:pt x="78101" y="15789"/>
                    <a:pt x="55442" y="15789"/>
                  </a:cubicBezTo>
                  <a:cubicBezTo>
                    <a:pt x="32783" y="15789"/>
                    <a:pt x="15789" y="32783"/>
                    <a:pt x="15789" y="55442"/>
                  </a:cubicBezTo>
                  <a:cubicBezTo>
                    <a:pt x="15789" y="76685"/>
                    <a:pt x="34199" y="95096"/>
                    <a:pt x="55442" y="950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67" name="Freeform: Shape 966">
              <a:extLst>
                <a:ext uri="{FF2B5EF4-FFF2-40B4-BE49-F238E27FC236}">
                  <a16:creationId xmlns:a16="http://schemas.microsoft.com/office/drawing/2014/main" id="{C629BDF1-D2CA-4D4A-8F9D-4360FB10E950}"/>
                </a:ext>
              </a:extLst>
            </p:cNvPr>
            <p:cNvSpPr/>
            <p:nvPr/>
          </p:nvSpPr>
          <p:spPr>
            <a:xfrm>
              <a:off x="9304879" y="1524012"/>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8101"/>
                    <a:pt x="95095" y="55442"/>
                  </a:cubicBezTo>
                  <a:cubicBezTo>
                    <a:pt x="95095" y="34200"/>
                    <a:pt x="78101" y="15789"/>
                    <a:pt x="55442" y="15789"/>
                  </a:cubicBezTo>
                  <a:cubicBezTo>
                    <a:pt x="34199" y="15789"/>
                    <a:pt x="15789" y="32783"/>
                    <a:pt x="15789" y="55442"/>
                  </a:cubicBezTo>
                  <a:cubicBezTo>
                    <a:pt x="15789" y="78101"/>
                    <a:pt x="32783" y="95096"/>
                    <a:pt x="55442" y="950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68" name="Freeform: Shape 967">
              <a:extLst>
                <a:ext uri="{FF2B5EF4-FFF2-40B4-BE49-F238E27FC236}">
                  <a16:creationId xmlns:a16="http://schemas.microsoft.com/office/drawing/2014/main" id="{4603E273-76E5-466E-9014-58493F404BAB}"/>
                </a:ext>
              </a:extLst>
            </p:cNvPr>
            <p:cNvSpPr/>
            <p:nvPr/>
          </p:nvSpPr>
          <p:spPr>
            <a:xfrm>
              <a:off x="10181501" y="1157219"/>
              <a:ext cx="155781" cy="155781"/>
            </a:xfrm>
            <a:custGeom>
              <a:avLst/>
              <a:gdLst>
                <a:gd name="connsiteX0" fmla="*/ 80934 w 155781"/>
                <a:gd name="connsiteY0" fmla="*/ 146079 h 155780"/>
                <a:gd name="connsiteX1" fmla="*/ 146079 w 155781"/>
                <a:gd name="connsiteY1" fmla="*/ 80934 h 155780"/>
                <a:gd name="connsiteX2" fmla="*/ 80934 w 155781"/>
                <a:gd name="connsiteY2" fmla="*/ 15789 h 155780"/>
                <a:gd name="connsiteX3" fmla="*/ 15789 w 155781"/>
                <a:gd name="connsiteY3" fmla="*/ 80934 h 155780"/>
                <a:gd name="connsiteX4" fmla="*/ 80934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4" y="146079"/>
                  </a:moveTo>
                  <a:cubicBezTo>
                    <a:pt x="116339" y="146079"/>
                    <a:pt x="146079" y="116339"/>
                    <a:pt x="146079" y="80934"/>
                  </a:cubicBezTo>
                  <a:cubicBezTo>
                    <a:pt x="146079" y="45529"/>
                    <a:pt x="116339" y="15789"/>
                    <a:pt x="80934" y="15789"/>
                  </a:cubicBezTo>
                  <a:cubicBezTo>
                    <a:pt x="45530" y="15789"/>
                    <a:pt x="15789" y="45529"/>
                    <a:pt x="15789" y="80934"/>
                  </a:cubicBezTo>
                  <a:cubicBezTo>
                    <a:pt x="15789" y="116339"/>
                    <a:pt x="44113" y="146079"/>
                    <a:pt x="80934"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69" name="Freeform: Shape 968">
              <a:extLst>
                <a:ext uri="{FF2B5EF4-FFF2-40B4-BE49-F238E27FC236}">
                  <a16:creationId xmlns:a16="http://schemas.microsoft.com/office/drawing/2014/main" id="{4679D3FC-2BE4-4256-8379-B1A639FD3D1B}"/>
                </a:ext>
              </a:extLst>
            </p:cNvPr>
            <p:cNvSpPr/>
            <p:nvPr/>
          </p:nvSpPr>
          <p:spPr>
            <a:xfrm>
              <a:off x="9862858" y="2115980"/>
              <a:ext cx="141619" cy="141619"/>
            </a:xfrm>
            <a:custGeom>
              <a:avLst/>
              <a:gdLst>
                <a:gd name="connsiteX0" fmla="*/ 71021 w 141619"/>
                <a:gd name="connsiteY0" fmla="*/ 126252 h 141619"/>
                <a:gd name="connsiteX1" fmla="*/ 126253 w 141619"/>
                <a:gd name="connsiteY1" fmla="*/ 71020 h 141619"/>
                <a:gd name="connsiteX2" fmla="*/ 71021 w 141619"/>
                <a:gd name="connsiteY2" fmla="*/ 15789 h 141619"/>
                <a:gd name="connsiteX3" fmla="*/ 15789 w 141619"/>
                <a:gd name="connsiteY3" fmla="*/ 71020 h 141619"/>
                <a:gd name="connsiteX4" fmla="*/ 71021 w 141619"/>
                <a:gd name="connsiteY4" fmla="*/ 126252 h 141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9" h="141619">
                  <a:moveTo>
                    <a:pt x="71021" y="126252"/>
                  </a:moveTo>
                  <a:cubicBezTo>
                    <a:pt x="100760" y="126252"/>
                    <a:pt x="126253" y="100760"/>
                    <a:pt x="126253" y="71020"/>
                  </a:cubicBezTo>
                  <a:cubicBezTo>
                    <a:pt x="126253" y="41280"/>
                    <a:pt x="100760" y="15789"/>
                    <a:pt x="71021" y="15789"/>
                  </a:cubicBezTo>
                  <a:cubicBezTo>
                    <a:pt x="41281" y="15789"/>
                    <a:pt x="15789" y="41280"/>
                    <a:pt x="15789" y="71020"/>
                  </a:cubicBezTo>
                  <a:cubicBezTo>
                    <a:pt x="15789" y="100760"/>
                    <a:pt x="41281" y="126252"/>
                    <a:pt x="71021" y="12625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0" name="Freeform: Shape 969">
              <a:extLst>
                <a:ext uri="{FF2B5EF4-FFF2-40B4-BE49-F238E27FC236}">
                  <a16:creationId xmlns:a16="http://schemas.microsoft.com/office/drawing/2014/main" id="{D5E34C85-4DBD-45B9-AD39-132794CE6D32}"/>
                </a:ext>
              </a:extLst>
            </p:cNvPr>
            <p:cNvSpPr/>
            <p:nvPr/>
          </p:nvSpPr>
          <p:spPr>
            <a:xfrm>
              <a:off x="8710079" y="831495"/>
              <a:ext cx="155781" cy="155781"/>
            </a:xfrm>
            <a:custGeom>
              <a:avLst/>
              <a:gdLst>
                <a:gd name="connsiteX0" fmla="*/ 80933 w 155781"/>
                <a:gd name="connsiteY0" fmla="*/ 15789 h 155780"/>
                <a:gd name="connsiteX1" fmla="*/ 146079 w 155781"/>
                <a:gd name="connsiteY1" fmla="*/ 80934 h 155780"/>
                <a:gd name="connsiteX2" fmla="*/ 80933 w 155781"/>
                <a:gd name="connsiteY2" fmla="*/ 146079 h 155780"/>
                <a:gd name="connsiteX3" fmla="*/ 15789 w 155781"/>
                <a:gd name="connsiteY3" fmla="*/ 80934 h 155780"/>
                <a:gd name="connsiteX4" fmla="*/ 80933 w 155781"/>
                <a:gd name="connsiteY4" fmla="*/ 15789 h 155780"/>
                <a:gd name="connsiteX5" fmla="*/ 80933 w 155781"/>
                <a:gd name="connsiteY5" fmla="*/ 15789 h 155780"/>
                <a:gd name="connsiteX6" fmla="*/ 80933 w 155781"/>
                <a:gd name="connsiteY6" fmla="*/ 45529 h 155780"/>
                <a:gd name="connsiteX7" fmla="*/ 44113 w 155781"/>
                <a:gd name="connsiteY7" fmla="*/ 82350 h 155780"/>
                <a:gd name="connsiteX8" fmla="*/ 80933 w 155781"/>
                <a:gd name="connsiteY8" fmla="*/ 119171 h 155780"/>
                <a:gd name="connsiteX9" fmla="*/ 117755 w 155781"/>
                <a:gd name="connsiteY9" fmla="*/ 82350 h 155780"/>
                <a:gd name="connsiteX10" fmla="*/ 80933 w 155781"/>
                <a:gd name="connsiteY10" fmla="*/ 45529 h 155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781" h="155780">
                  <a:moveTo>
                    <a:pt x="80933" y="15789"/>
                  </a:moveTo>
                  <a:cubicBezTo>
                    <a:pt x="117755" y="15789"/>
                    <a:pt x="146079" y="45529"/>
                    <a:pt x="146079" y="80934"/>
                  </a:cubicBezTo>
                  <a:cubicBezTo>
                    <a:pt x="146079" y="117755"/>
                    <a:pt x="116338" y="146079"/>
                    <a:pt x="80933" y="146079"/>
                  </a:cubicBezTo>
                  <a:cubicBezTo>
                    <a:pt x="44113" y="146079"/>
                    <a:pt x="15789" y="116339"/>
                    <a:pt x="15789" y="80934"/>
                  </a:cubicBezTo>
                  <a:cubicBezTo>
                    <a:pt x="15789" y="45529"/>
                    <a:pt x="44113" y="15789"/>
                    <a:pt x="80933" y="15789"/>
                  </a:cubicBezTo>
                  <a:lnTo>
                    <a:pt x="80933" y="15789"/>
                  </a:lnTo>
                  <a:close/>
                  <a:moveTo>
                    <a:pt x="80933" y="45529"/>
                  </a:moveTo>
                  <a:cubicBezTo>
                    <a:pt x="61107" y="45529"/>
                    <a:pt x="44113" y="62523"/>
                    <a:pt x="44113" y="82350"/>
                  </a:cubicBezTo>
                  <a:cubicBezTo>
                    <a:pt x="44113" y="102177"/>
                    <a:pt x="61107" y="119171"/>
                    <a:pt x="80933" y="119171"/>
                  </a:cubicBezTo>
                  <a:cubicBezTo>
                    <a:pt x="100760" y="119171"/>
                    <a:pt x="117755" y="102177"/>
                    <a:pt x="117755" y="82350"/>
                  </a:cubicBezTo>
                  <a:cubicBezTo>
                    <a:pt x="117755" y="62523"/>
                    <a:pt x="100760" y="45529"/>
                    <a:pt x="80933" y="4552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1" name="Freeform: Shape 970">
              <a:extLst>
                <a:ext uri="{FF2B5EF4-FFF2-40B4-BE49-F238E27FC236}">
                  <a16:creationId xmlns:a16="http://schemas.microsoft.com/office/drawing/2014/main" id="{BEAAC655-062B-4D2C-8BF4-A342A572A1EB}"/>
                </a:ext>
              </a:extLst>
            </p:cNvPr>
            <p:cNvSpPr/>
            <p:nvPr/>
          </p:nvSpPr>
          <p:spPr>
            <a:xfrm>
              <a:off x="10896678" y="1550920"/>
              <a:ext cx="155781" cy="155781"/>
            </a:xfrm>
            <a:custGeom>
              <a:avLst/>
              <a:gdLst>
                <a:gd name="connsiteX0" fmla="*/ 80934 w 155781"/>
                <a:gd name="connsiteY0" fmla="*/ 15789 h 155780"/>
                <a:gd name="connsiteX1" fmla="*/ 146079 w 155781"/>
                <a:gd name="connsiteY1" fmla="*/ 80934 h 155780"/>
                <a:gd name="connsiteX2" fmla="*/ 80934 w 155781"/>
                <a:gd name="connsiteY2" fmla="*/ 146079 h 155780"/>
                <a:gd name="connsiteX3" fmla="*/ 15789 w 155781"/>
                <a:gd name="connsiteY3" fmla="*/ 80934 h 155780"/>
                <a:gd name="connsiteX4" fmla="*/ 80934 w 155781"/>
                <a:gd name="connsiteY4" fmla="*/ 15789 h 155780"/>
                <a:gd name="connsiteX5" fmla="*/ 80934 w 155781"/>
                <a:gd name="connsiteY5" fmla="*/ 15789 h 155780"/>
                <a:gd name="connsiteX6" fmla="*/ 80934 w 155781"/>
                <a:gd name="connsiteY6" fmla="*/ 44113 h 155780"/>
                <a:gd name="connsiteX7" fmla="*/ 44113 w 155781"/>
                <a:gd name="connsiteY7" fmla="*/ 80934 h 155780"/>
                <a:gd name="connsiteX8" fmla="*/ 80934 w 155781"/>
                <a:gd name="connsiteY8" fmla="*/ 117755 h 155780"/>
                <a:gd name="connsiteX9" fmla="*/ 117755 w 155781"/>
                <a:gd name="connsiteY9" fmla="*/ 80934 h 155780"/>
                <a:gd name="connsiteX10" fmla="*/ 80934 w 155781"/>
                <a:gd name="connsiteY10" fmla="*/ 44113 h 155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781" h="155780">
                  <a:moveTo>
                    <a:pt x="80934" y="15789"/>
                  </a:moveTo>
                  <a:cubicBezTo>
                    <a:pt x="117755" y="15789"/>
                    <a:pt x="146079" y="45529"/>
                    <a:pt x="146079" y="80934"/>
                  </a:cubicBezTo>
                  <a:cubicBezTo>
                    <a:pt x="146079" y="117755"/>
                    <a:pt x="116339" y="146079"/>
                    <a:pt x="80934" y="146079"/>
                  </a:cubicBezTo>
                  <a:cubicBezTo>
                    <a:pt x="45530" y="146079"/>
                    <a:pt x="15789" y="116339"/>
                    <a:pt x="15789" y="80934"/>
                  </a:cubicBezTo>
                  <a:cubicBezTo>
                    <a:pt x="15789" y="45529"/>
                    <a:pt x="45530" y="15789"/>
                    <a:pt x="80934" y="15789"/>
                  </a:cubicBezTo>
                  <a:lnTo>
                    <a:pt x="80934" y="15789"/>
                  </a:lnTo>
                  <a:close/>
                  <a:moveTo>
                    <a:pt x="80934" y="44113"/>
                  </a:moveTo>
                  <a:cubicBezTo>
                    <a:pt x="61107" y="44113"/>
                    <a:pt x="44113" y="61107"/>
                    <a:pt x="44113" y="80934"/>
                  </a:cubicBezTo>
                  <a:cubicBezTo>
                    <a:pt x="44113" y="100760"/>
                    <a:pt x="61107" y="117755"/>
                    <a:pt x="80934" y="117755"/>
                  </a:cubicBezTo>
                  <a:cubicBezTo>
                    <a:pt x="100760" y="117755"/>
                    <a:pt x="117755" y="100760"/>
                    <a:pt x="117755" y="80934"/>
                  </a:cubicBezTo>
                  <a:cubicBezTo>
                    <a:pt x="117755" y="61107"/>
                    <a:pt x="100760" y="44113"/>
                    <a:pt x="80934"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2" name="Freeform: Shape 971">
              <a:extLst>
                <a:ext uri="{FF2B5EF4-FFF2-40B4-BE49-F238E27FC236}">
                  <a16:creationId xmlns:a16="http://schemas.microsoft.com/office/drawing/2014/main" id="{40FEFD85-7313-4122-A3B6-91D265504267}"/>
                </a:ext>
              </a:extLst>
            </p:cNvPr>
            <p:cNvSpPr/>
            <p:nvPr/>
          </p:nvSpPr>
          <p:spPr>
            <a:xfrm>
              <a:off x="10265057" y="1637308"/>
              <a:ext cx="141619" cy="141619"/>
            </a:xfrm>
            <a:custGeom>
              <a:avLst/>
              <a:gdLst>
                <a:gd name="connsiteX0" fmla="*/ 71021 w 141619"/>
                <a:gd name="connsiteY0" fmla="*/ 15789 h 141619"/>
                <a:gd name="connsiteX1" fmla="*/ 126252 w 141619"/>
                <a:gd name="connsiteY1" fmla="*/ 71020 h 141619"/>
                <a:gd name="connsiteX2" fmla="*/ 71021 w 141619"/>
                <a:gd name="connsiteY2" fmla="*/ 126252 h 141619"/>
                <a:gd name="connsiteX3" fmla="*/ 15789 w 141619"/>
                <a:gd name="connsiteY3" fmla="*/ 71020 h 141619"/>
                <a:gd name="connsiteX4" fmla="*/ 71021 w 141619"/>
                <a:gd name="connsiteY4" fmla="*/ 15789 h 141619"/>
                <a:gd name="connsiteX5" fmla="*/ 71021 w 141619"/>
                <a:gd name="connsiteY5" fmla="*/ 15789 h 141619"/>
                <a:gd name="connsiteX6" fmla="*/ 71021 w 141619"/>
                <a:gd name="connsiteY6" fmla="*/ 25702 h 141619"/>
                <a:gd name="connsiteX7" fmla="*/ 25703 w 141619"/>
                <a:gd name="connsiteY7" fmla="*/ 71020 h 141619"/>
                <a:gd name="connsiteX8" fmla="*/ 71021 w 141619"/>
                <a:gd name="connsiteY8" fmla="*/ 116339 h 141619"/>
                <a:gd name="connsiteX9" fmla="*/ 116338 w 141619"/>
                <a:gd name="connsiteY9" fmla="*/ 71020 h 141619"/>
                <a:gd name="connsiteX10" fmla="*/ 71021 w 141619"/>
                <a:gd name="connsiteY10" fmla="*/ 25702 h 141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619" h="141619">
                  <a:moveTo>
                    <a:pt x="71021" y="15789"/>
                  </a:moveTo>
                  <a:cubicBezTo>
                    <a:pt x="102176" y="15789"/>
                    <a:pt x="126252" y="41280"/>
                    <a:pt x="126252" y="71020"/>
                  </a:cubicBezTo>
                  <a:cubicBezTo>
                    <a:pt x="126252" y="102177"/>
                    <a:pt x="100760" y="126252"/>
                    <a:pt x="71021" y="126252"/>
                  </a:cubicBezTo>
                  <a:cubicBezTo>
                    <a:pt x="39864" y="126252"/>
                    <a:pt x="15789" y="100760"/>
                    <a:pt x="15789" y="71020"/>
                  </a:cubicBezTo>
                  <a:cubicBezTo>
                    <a:pt x="15789" y="41280"/>
                    <a:pt x="39864" y="15789"/>
                    <a:pt x="71021" y="15789"/>
                  </a:cubicBezTo>
                  <a:lnTo>
                    <a:pt x="71021" y="15789"/>
                  </a:lnTo>
                  <a:close/>
                  <a:moveTo>
                    <a:pt x="71021" y="25702"/>
                  </a:moveTo>
                  <a:cubicBezTo>
                    <a:pt x="45529" y="25702"/>
                    <a:pt x="25703" y="45529"/>
                    <a:pt x="25703" y="71020"/>
                  </a:cubicBezTo>
                  <a:cubicBezTo>
                    <a:pt x="25703" y="96512"/>
                    <a:pt x="45529" y="116339"/>
                    <a:pt x="71021" y="116339"/>
                  </a:cubicBezTo>
                  <a:cubicBezTo>
                    <a:pt x="96512" y="116339"/>
                    <a:pt x="116338" y="96512"/>
                    <a:pt x="116338" y="71020"/>
                  </a:cubicBezTo>
                  <a:cubicBezTo>
                    <a:pt x="116338" y="46945"/>
                    <a:pt x="96512" y="25702"/>
                    <a:pt x="71021" y="2570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3" name="Freeform: Shape 972">
              <a:extLst>
                <a:ext uri="{FF2B5EF4-FFF2-40B4-BE49-F238E27FC236}">
                  <a16:creationId xmlns:a16="http://schemas.microsoft.com/office/drawing/2014/main" id="{C8F6C25D-DDE9-4216-8751-76F39B040F49}"/>
                </a:ext>
              </a:extLst>
            </p:cNvPr>
            <p:cNvSpPr/>
            <p:nvPr/>
          </p:nvSpPr>
          <p:spPr>
            <a:xfrm>
              <a:off x="11153009" y="1501353"/>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5789" y="37032"/>
                    <a:pt x="21453"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4" name="Freeform: Shape 973">
              <a:extLst>
                <a:ext uri="{FF2B5EF4-FFF2-40B4-BE49-F238E27FC236}">
                  <a16:creationId xmlns:a16="http://schemas.microsoft.com/office/drawing/2014/main" id="{1483EFED-176E-422D-8826-34CDC34D29E2}"/>
                </a:ext>
              </a:extLst>
            </p:cNvPr>
            <p:cNvSpPr/>
            <p:nvPr/>
          </p:nvSpPr>
          <p:spPr>
            <a:xfrm>
              <a:off x="10743729" y="1504186"/>
              <a:ext cx="99133" cy="99133"/>
            </a:xfrm>
            <a:custGeom>
              <a:avLst/>
              <a:gdLst>
                <a:gd name="connsiteX0" fmla="*/ 49778 w 99133"/>
                <a:gd name="connsiteY0" fmla="*/ 83766 h 99133"/>
                <a:gd name="connsiteX1" fmla="*/ 83766 w 99133"/>
                <a:gd name="connsiteY1" fmla="*/ 49778 h 99133"/>
                <a:gd name="connsiteX2" fmla="*/ 49778 w 99133"/>
                <a:gd name="connsiteY2" fmla="*/ 15789 h 99133"/>
                <a:gd name="connsiteX3" fmla="*/ 15789 w 99133"/>
                <a:gd name="connsiteY3" fmla="*/ 49778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8"/>
                  </a:cubicBezTo>
                  <a:cubicBezTo>
                    <a:pt x="83766" y="31367"/>
                    <a:pt x="68188" y="15789"/>
                    <a:pt x="49778" y="15789"/>
                  </a:cubicBezTo>
                  <a:cubicBezTo>
                    <a:pt x="31368" y="15789"/>
                    <a:pt x="15789" y="31367"/>
                    <a:pt x="15789" y="49778"/>
                  </a:cubicBezTo>
                  <a:cubicBezTo>
                    <a:pt x="15789" y="69604"/>
                    <a:pt x="31368" y="83766"/>
                    <a:pt x="49778" y="8376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5" name="Freeform: Shape 974">
              <a:extLst>
                <a:ext uri="{FF2B5EF4-FFF2-40B4-BE49-F238E27FC236}">
                  <a16:creationId xmlns:a16="http://schemas.microsoft.com/office/drawing/2014/main" id="{E230F1C3-B4A0-4557-9FBD-17CC43D67103}"/>
                </a:ext>
              </a:extLst>
            </p:cNvPr>
            <p:cNvSpPr/>
            <p:nvPr/>
          </p:nvSpPr>
          <p:spPr>
            <a:xfrm>
              <a:off x="9959160" y="1787424"/>
              <a:ext cx="84971" cy="84971"/>
            </a:xfrm>
            <a:custGeom>
              <a:avLst/>
              <a:gdLst>
                <a:gd name="connsiteX0" fmla="*/ 48361 w 84971"/>
                <a:gd name="connsiteY0" fmla="*/ 80934 h 84971"/>
                <a:gd name="connsiteX1" fmla="*/ 80933 w 84971"/>
                <a:gd name="connsiteY1" fmla="*/ 48361 h 84971"/>
                <a:gd name="connsiteX2" fmla="*/ 48361 w 84971"/>
                <a:gd name="connsiteY2" fmla="*/ 15789 h 84971"/>
                <a:gd name="connsiteX3" fmla="*/ 15789 w 84971"/>
                <a:gd name="connsiteY3" fmla="*/ 48361 h 84971"/>
                <a:gd name="connsiteX4" fmla="*/ 48361 w 84971"/>
                <a:gd name="connsiteY4" fmla="*/ 8093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8361" y="80934"/>
                  </a:moveTo>
                  <a:cubicBezTo>
                    <a:pt x="66772" y="80934"/>
                    <a:pt x="80933" y="66772"/>
                    <a:pt x="80933" y="48361"/>
                  </a:cubicBezTo>
                  <a:cubicBezTo>
                    <a:pt x="80933" y="29951"/>
                    <a:pt x="66772" y="15789"/>
                    <a:pt x="48361" y="15789"/>
                  </a:cubicBezTo>
                  <a:cubicBezTo>
                    <a:pt x="29951" y="15789"/>
                    <a:pt x="15789" y="29951"/>
                    <a:pt x="15789" y="48361"/>
                  </a:cubicBezTo>
                  <a:cubicBezTo>
                    <a:pt x="15789" y="65356"/>
                    <a:pt x="31367" y="80934"/>
                    <a:pt x="48361" y="8093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6" name="Freeform: Shape 975">
              <a:extLst>
                <a:ext uri="{FF2B5EF4-FFF2-40B4-BE49-F238E27FC236}">
                  <a16:creationId xmlns:a16="http://schemas.microsoft.com/office/drawing/2014/main" id="{95953F7F-7E63-46FD-B740-83ADF87A125E}"/>
                </a:ext>
              </a:extLst>
            </p:cNvPr>
            <p:cNvSpPr/>
            <p:nvPr/>
          </p:nvSpPr>
          <p:spPr>
            <a:xfrm>
              <a:off x="10954742" y="1211034"/>
              <a:ext cx="84971" cy="84971"/>
            </a:xfrm>
            <a:custGeom>
              <a:avLst/>
              <a:gdLst>
                <a:gd name="connsiteX0" fmla="*/ 72437 w 84971"/>
                <a:gd name="connsiteY0" fmla="*/ 44113 h 84971"/>
                <a:gd name="connsiteX1" fmla="*/ 44113 w 84971"/>
                <a:gd name="connsiteY1" fmla="*/ 72437 h 84971"/>
                <a:gd name="connsiteX2" fmla="*/ 15789 w 84971"/>
                <a:gd name="connsiteY2" fmla="*/ 44113 h 84971"/>
                <a:gd name="connsiteX3" fmla="*/ 44113 w 84971"/>
                <a:gd name="connsiteY3" fmla="*/ 15789 h 84971"/>
                <a:gd name="connsiteX4" fmla="*/ 72437 w 84971"/>
                <a:gd name="connsiteY4" fmla="*/ 44113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72437" y="44113"/>
                  </a:moveTo>
                  <a:cubicBezTo>
                    <a:pt x="72437" y="59756"/>
                    <a:pt x="59756" y="72437"/>
                    <a:pt x="44113" y="72437"/>
                  </a:cubicBezTo>
                  <a:cubicBezTo>
                    <a:pt x="28470" y="72437"/>
                    <a:pt x="15789" y="59756"/>
                    <a:pt x="15789" y="44113"/>
                  </a:cubicBezTo>
                  <a:cubicBezTo>
                    <a:pt x="15789" y="28470"/>
                    <a:pt x="28470" y="15789"/>
                    <a:pt x="44113" y="15789"/>
                  </a:cubicBezTo>
                  <a:cubicBezTo>
                    <a:pt x="59756" y="15789"/>
                    <a:pt x="72437" y="28470"/>
                    <a:pt x="72437"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7" name="Freeform: Shape 976">
              <a:extLst>
                <a:ext uri="{FF2B5EF4-FFF2-40B4-BE49-F238E27FC236}">
                  <a16:creationId xmlns:a16="http://schemas.microsoft.com/office/drawing/2014/main" id="{6D38B982-E796-4E62-BFDE-1502C53C8B7B}"/>
                </a:ext>
              </a:extLst>
            </p:cNvPr>
            <p:cNvSpPr/>
            <p:nvPr/>
          </p:nvSpPr>
          <p:spPr>
            <a:xfrm>
              <a:off x="11048210" y="1348405"/>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30" y="55442"/>
                    <a:pt x="55442" y="46945"/>
                    <a:pt x="55442" y="35616"/>
                  </a:cubicBezTo>
                  <a:cubicBezTo>
                    <a:pt x="55442" y="25702"/>
                    <a:pt x="46945" y="15789"/>
                    <a:pt x="35616" y="15789"/>
                  </a:cubicBezTo>
                  <a:cubicBezTo>
                    <a:pt x="25703" y="15789"/>
                    <a:pt x="15789" y="24286"/>
                    <a:pt x="15789" y="35616"/>
                  </a:cubicBezTo>
                  <a:cubicBezTo>
                    <a:pt x="17206" y="46945"/>
                    <a:pt x="25703"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8" name="Freeform: Shape 977">
              <a:extLst>
                <a:ext uri="{FF2B5EF4-FFF2-40B4-BE49-F238E27FC236}">
                  <a16:creationId xmlns:a16="http://schemas.microsoft.com/office/drawing/2014/main" id="{485346FA-3BDD-4023-8BF7-B551AC16F53A}"/>
                </a:ext>
              </a:extLst>
            </p:cNvPr>
            <p:cNvSpPr/>
            <p:nvPr/>
          </p:nvSpPr>
          <p:spPr>
            <a:xfrm>
              <a:off x="9886933" y="1678377"/>
              <a:ext cx="113295" cy="113295"/>
            </a:xfrm>
            <a:custGeom>
              <a:avLst/>
              <a:gdLst>
                <a:gd name="connsiteX0" fmla="*/ 61107 w 113295"/>
                <a:gd name="connsiteY0" fmla="*/ 15789 h 113295"/>
                <a:gd name="connsiteX1" fmla="*/ 106426 w 113295"/>
                <a:gd name="connsiteY1" fmla="*/ 61107 h 113295"/>
                <a:gd name="connsiteX2" fmla="*/ 61107 w 113295"/>
                <a:gd name="connsiteY2" fmla="*/ 106425 h 113295"/>
                <a:gd name="connsiteX3" fmla="*/ 15789 w 113295"/>
                <a:gd name="connsiteY3" fmla="*/ 61107 h 113295"/>
                <a:gd name="connsiteX4" fmla="*/ 61107 w 113295"/>
                <a:gd name="connsiteY4" fmla="*/ 15789 h 113295"/>
                <a:gd name="connsiteX5" fmla="*/ 61107 w 113295"/>
                <a:gd name="connsiteY5" fmla="*/ 15789 h 113295"/>
                <a:gd name="connsiteX6" fmla="*/ 61107 w 113295"/>
                <a:gd name="connsiteY6" fmla="*/ 35616 h 113295"/>
                <a:gd name="connsiteX7" fmla="*/ 35616 w 113295"/>
                <a:gd name="connsiteY7" fmla="*/ 61107 h 113295"/>
                <a:gd name="connsiteX8" fmla="*/ 61107 w 113295"/>
                <a:gd name="connsiteY8" fmla="*/ 86599 h 113295"/>
                <a:gd name="connsiteX9" fmla="*/ 86599 w 113295"/>
                <a:gd name="connsiteY9" fmla="*/ 61107 h 113295"/>
                <a:gd name="connsiteX10" fmla="*/ 61107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07" y="15789"/>
                  </a:moveTo>
                  <a:cubicBezTo>
                    <a:pt x="86599" y="15789"/>
                    <a:pt x="106426" y="35616"/>
                    <a:pt x="106426" y="61107"/>
                  </a:cubicBezTo>
                  <a:cubicBezTo>
                    <a:pt x="106426" y="86599"/>
                    <a:pt x="86599" y="106425"/>
                    <a:pt x="61107" y="106425"/>
                  </a:cubicBezTo>
                  <a:cubicBezTo>
                    <a:pt x="35616" y="106425"/>
                    <a:pt x="15789" y="86599"/>
                    <a:pt x="15789" y="61107"/>
                  </a:cubicBezTo>
                  <a:cubicBezTo>
                    <a:pt x="15789" y="35616"/>
                    <a:pt x="35616" y="15789"/>
                    <a:pt x="61107" y="15789"/>
                  </a:cubicBezTo>
                  <a:lnTo>
                    <a:pt x="61107" y="15789"/>
                  </a:lnTo>
                  <a:close/>
                  <a:moveTo>
                    <a:pt x="61107" y="35616"/>
                  </a:moveTo>
                  <a:cubicBezTo>
                    <a:pt x="46945" y="35616"/>
                    <a:pt x="35616" y="46945"/>
                    <a:pt x="35616" y="61107"/>
                  </a:cubicBezTo>
                  <a:cubicBezTo>
                    <a:pt x="35616" y="75269"/>
                    <a:pt x="46945" y="86599"/>
                    <a:pt x="61107" y="86599"/>
                  </a:cubicBezTo>
                  <a:cubicBezTo>
                    <a:pt x="75269" y="86599"/>
                    <a:pt x="86599" y="75269"/>
                    <a:pt x="86599" y="61107"/>
                  </a:cubicBezTo>
                  <a:cubicBezTo>
                    <a:pt x="86599" y="46945"/>
                    <a:pt x="75269" y="35616"/>
                    <a:pt x="61107"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9" name="Freeform: Shape 978">
              <a:extLst>
                <a:ext uri="{FF2B5EF4-FFF2-40B4-BE49-F238E27FC236}">
                  <a16:creationId xmlns:a16="http://schemas.microsoft.com/office/drawing/2014/main" id="{921DF92E-69E1-4B1A-98F4-D2DAD4D7732A}"/>
                </a:ext>
              </a:extLst>
            </p:cNvPr>
            <p:cNvSpPr/>
            <p:nvPr/>
          </p:nvSpPr>
          <p:spPr>
            <a:xfrm>
              <a:off x="10892429" y="1461700"/>
              <a:ext cx="84971" cy="84971"/>
            </a:xfrm>
            <a:custGeom>
              <a:avLst/>
              <a:gdLst>
                <a:gd name="connsiteX0" fmla="*/ 48361 w 84971"/>
                <a:gd name="connsiteY0" fmla="*/ 80934 h 84971"/>
                <a:gd name="connsiteX1" fmla="*/ 80934 w 84971"/>
                <a:gd name="connsiteY1" fmla="*/ 48361 h 84971"/>
                <a:gd name="connsiteX2" fmla="*/ 48361 w 84971"/>
                <a:gd name="connsiteY2" fmla="*/ 15789 h 84971"/>
                <a:gd name="connsiteX3" fmla="*/ 15789 w 84971"/>
                <a:gd name="connsiteY3" fmla="*/ 48361 h 84971"/>
                <a:gd name="connsiteX4" fmla="*/ 48361 w 84971"/>
                <a:gd name="connsiteY4" fmla="*/ 8093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8361" y="80934"/>
                  </a:moveTo>
                  <a:cubicBezTo>
                    <a:pt x="66772" y="80934"/>
                    <a:pt x="80934" y="66772"/>
                    <a:pt x="80934" y="48361"/>
                  </a:cubicBezTo>
                  <a:cubicBezTo>
                    <a:pt x="80934" y="29951"/>
                    <a:pt x="66772" y="15789"/>
                    <a:pt x="48361" y="15789"/>
                  </a:cubicBezTo>
                  <a:cubicBezTo>
                    <a:pt x="29951" y="15789"/>
                    <a:pt x="15789" y="29951"/>
                    <a:pt x="15789" y="48361"/>
                  </a:cubicBezTo>
                  <a:cubicBezTo>
                    <a:pt x="15789" y="66772"/>
                    <a:pt x="31368" y="80934"/>
                    <a:pt x="48361" y="8093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0" name="Freeform: Shape 979">
              <a:extLst>
                <a:ext uri="{FF2B5EF4-FFF2-40B4-BE49-F238E27FC236}">
                  <a16:creationId xmlns:a16="http://schemas.microsoft.com/office/drawing/2014/main" id="{33FA03EC-529F-4E87-9695-BFE4D6622390}"/>
                </a:ext>
              </a:extLst>
            </p:cNvPr>
            <p:cNvSpPr/>
            <p:nvPr/>
          </p:nvSpPr>
          <p:spPr>
            <a:xfrm>
              <a:off x="10685666" y="1354070"/>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5789" y="38448"/>
                    <a:pt x="21453"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1" name="Freeform: Shape 980">
              <a:extLst>
                <a:ext uri="{FF2B5EF4-FFF2-40B4-BE49-F238E27FC236}">
                  <a16:creationId xmlns:a16="http://schemas.microsoft.com/office/drawing/2014/main" id="{ADB4ED15-7A99-4B79-86BE-E3302BCAA240}"/>
                </a:ext>
              </a:extLst>
            </p:cNvPr>
            <p:cNvSpPr/>
            <p:nvPr/>
          </p:nvSpPr>
          <p:spPr>
            <a:xfrm>
              <a:off x="10542630" y="1841239"/>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9" y="15789"/>
                    <a:pt x="29951" y="15789"/>
                  </a:cubicBezTo>
                  <a:cubicBezTo>
                    <a:pt x="21454" y="15789"/>
                    <a:pt x="15789" y="21454"/>
                    <a:pt x="15789" y="29951"/>
                  </a:cubicBezTo>
                  <a:cubicBezTo>
                    <a:pt x="15789" y="37032"/>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2" name="Freeform: Shape 981">
              <a:extLst>
                <a:ext uri="{FF2B5EF4-FFF2-40B4-BE49-F238E27FC236}">
                  <a16:creationId xmlns:a16="http://schemas.microsoft.com/office/drawing/2014/main" id="{DA85733A-64DA-4CB6-94AC-988EA42EDA1E}"/>
                </a:ext>
              </a:extLst>
            </p:cNvPr>
            <p:cNvSpPr/>
            <p:nvPr/>
          </p:nvSpPr>
          <p:spPr>
            <a:xfrm>
              <a:off x="10502976" y="2117396"/>
              <a:ext cx="84971" cy="84971"/>
            </a:xfrm>
            <a:custGeom>
              <a:avLst/>
              <a:gdLst>
                <a:gd name="connsiteX0" fmla="*/ 44113 w 84971"/>
                <a:gd name="connsiteY0" fmla="*/ 71020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1020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1020"/>
                  </a:moveTo>
                  <a:cubicBezTo>
                    <a:pt x="59691" y="71020"/>
                    <a:pt x="72437" y="58275"/>
                    <a:pt x="72437" y="44113"/>
                  </a:cubicBezTo>
                  <a:cubicBezTo>
                    <a:pt x="72437" y="28535"/>
                    <a:pt x="59691" y="15789"/>
                    <a:pt x="44113" y="15789"/>
                  </a:cubicBezTo>
                  <a:cubicBezTo>
                    <a:pt x="28535" y="15789"/>
                    <a:pt x="15789" y="28535"/>
                    <a:pt x="15789" y="44113"/>
                  </a:cubicBezTo>
                  <a:cubicBezTo>
                    <a:pt x="17206" y="58275"/>
                    <a:pt x="29951" y="71020"/>
                    <a:pt x="44113" y="7102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3" name="Freeform: Shape 982">
              <a:extLst>
                <a:ext uri="{FF2B5EF4-FFF2-40B4-BE49-F238E27FC236}">
                  <a16:creationId xmlns:a16="http://schemas.microsoft.com/office/drawing/2014/main" id="{D55C5F11-3298-44FE-B766-9E0C35F88AAF}"/>
                </a:ext>
              </a:extLst>
            </p:cNvPr>
            <p:cNvSpPr/>
            <p:nvPr/>
          </p:nvSpPr>
          <p:spPr>
            <a:xfrm>
              <a:off x="10609191" y="1957367"/>
              <a:ext cx="70810" cy="70810"/>
            </a:xfrm>
            <a:custGeom>
              <a:avLst/>
              <a:gdLst>
                <a:gd name="connsiteX0" fmla="*/ 38449 w 70809"/>
                <a:gd name="connsiteY0" fmla="*/ 15789 h 70809"/>
                <a:gd name="connsiteX1" fmla="*/ 61107 w 70809"/>
                <a:gd name="connsiteY1" fmla="*/ 38448 h 70809"/>
                <a:gd name="connsiteX2" fmla="*/ 38449 w 70809"/>
                <a:gd name="connsiteY2" fmla="*/ 61107 h 70809"/>
                <a:gd name="connsiteX3" fmla="*/ 15789 w 70809"/>
                <a:gd name="connsiteY3" fmla="*/ 38448 h 70809"/>
                <a:gd name="connsiteX4" fmla="*/ 38449 w 70809"/>
                <a:gd name="connsiteY4" fmla="*/ 15789 h 70809"/>
                <a:gd name="connsiteX5" fmla="*/ 38449 w 70809"/>
                <a:gd name="connsiteY5" fmla="*/ 15789 h 70809"/>
                <a:gd name="connsiteX6" fmla="*/ 38449 w 70809"/>
                <a:gd name="connsiteY6" fmla="*/ 25702 h 70809"/>
                <a:gd name="connsiteX7" fmla="*/ 25703 w 70809"/>
                <a:gd name="connsiteY7" fmla="*/ 38448 h 70809"/>
                <a:gd name="connsiteX8" fmla="*/ 38449 w 70809"/>
                <a:gd name="connsiteY8" fmla="*/ 51194 h 70809"/>
                <a:gd name="connsiteX9" fmla="*/ 51194 w 70809"/>
                <a:gd name="connsiteY9" fmla="*/ 38448 h 70809"/>
                <a:gd name="connsiteX10" fmla="*/ 38449 w 70809"/>
                <a:gd name="connsiteY10" fmla="*/ 25702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38449" y="15789"/>
                  </a:moveTo>
                  <a:cubicBezTo>
                    <a:pt x="51194" y="15789"/>
                    <a:pt x="61107" y="25702"/>
                    <a:pt x="61107" y="38448"/>
                  </a:cubicBezTo>
                  <a:cubicBezTo>
                    <a:pt x="61107" y="51194"/>
                    <a:pt x="51194" y="61107"/>
                    <a:pt x="38449" y="61107"/>
                  </a:cubicBezTo>
                  <a:cubicBezTo>
                    <a:pt x="25703" y="61107"/>
                    <a:pt x="15789" y="51194"/>
                    <a:pt x="15789" y="38448"/>
                  </a:cubicBezTo>
                  <a:cubicBezTo>
                    <a:pt x="15789" y="25702"/>
                    <a:pt x="25703" y="15789"/>
                    <a:pt x="38449" y="15789"/>
                  </a:cubicBezTo>
                  <a:lnTo>
                    <a:pt x="38449" y="15789"/>
                  </a:lnTo>
                  <a:close/>
                  <a:moveTo>
                    <a:pt x="38449" y="25702"/>
                  </a:moveTo>
                  <a:cubicBezTo>
                    <a:pt x="31368" y="25702"/>
                    <a:pt x="25703" y="31367"/>
                    <a:pt x="25703" y="38448"/>
                  </a:cubicBezTo>
                  <a:cubicBezTo>
                    <a:pt x="25703" y="45529"/>
                    <a:pt x="31368" y="51194"/>
                    <a:pt x="38449" y="51194"/>
                  </a:cubicBezTo>
                  <a:cubicBezTo>
                    <a:pt x="45530" y="51194"/>
                    <a:pt x="51194" y="45529"/>
                    <a:pt x="51194" y="38448"/>
                  </a:cubicBezTo>
                  <a:cubicBezTo>
                    <a:pt x="51194" y="31367"/>
                    <a:pt x="45530" y="25702"/>
                    <a:pt x="38449" y="2570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4" name="Freeform: Shape 983">
              <a:extLst>
                <a:ext uri="{FF2B5EF4-FFF2-40B4-BE49-F238E27FC236}">
                  <a16:creationId xmlns:a16="http://schemas.microsoft.com/office/drawing/2014/main" id="{F4BF30CF-8F90-4BE1-89C6-992BC855BA16}"/>
                </a:ext>
              </a:extLst>
            </p:cNvPr>
            <p:cNvSpPr/>
            <p:nvPr/>
          </p:nvSpPr>
          <p:spPr>
            <a:xfrm>
              <a:off x="10651677" y="1766181"/>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9" y="15789"/>
                    <a:pt x="29951" y="15789"/>
                  </a:cubicBezTo>
                  <a:cubicBezTo>
                    <a:pt x="22870" y="15789"/>
                    <a:pt x="15789" y="21454"/>
                    <a:pt x="15789" y="29951"/>
                  </a:cubicBezTo>
                  <a:cubicBezTo>
                    <a:pt x="15789" y="38448"/>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5" name="Freeform: Shape 984">
              <a:extLst>
                <a:ext uri="{FF2B5EF4-FFF2-40B4-BE49-F238E27FC236}">
                  <a16:creationId xmlns:a16="http://schemas.microsoft.com/office/drawing/2014/main" id="{7B550305-0DDB-4813-8B89-03A8D893A31B}"/>
                </a:ext>
              </a:extLst>
            </p:cNvPr>
            <p:cNvSpPr/>
            <p:nvPr/>
          </p:nvSpPr>
          <p:spPr>
            <a:xfrm>
              <a:off x="10763556" y="1659967"/>
              <a:ext cx="84971" cy="84971"/>
            </a:xfrm>
            <a:custGeom>
              <a:avLst/>
              <a:gdLst>
                <a:gd name="connsiteX0" fmla="*/ 46945 w 84971"/>
                <a:gd name="connsiteY0" fmla="*/ 79518 h 84971"/>
                <a:gd name="connsiteX1" fmla="*/ 78101 w 84971"/>
                <a:gd name="connsiteY1" fmla="*/ 48361 h 84971"/>
                <a:gd name="connsiteX2" fmla="*/ 46945 w 84971"/>
                <a:gd name="connsiteY2" fmla="*/ 15789 h 84971"/>
                <a:gd name="connsiteX3" fmla="*/ 15789 w 84971"/>
                <a:gd name="connsiteY3" fmla="*/ 48361 h 84971"/>
                <a:gd name="connsiteX4" fmla="*/ 46945 w 84971"/>
                <a:gd name="connsiteY4" fmla="*/ 79518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6945" y="79518"/>
                  </a:moveTo>
                  <a:cubicBezTo>
                    <a:pt x="63939" y="79518"/>
                    <a:pt x="78101" y="65356"/>
                    <a:pt x="78101" y="48361"/>
                  </a:cubicBezTo>
                  <a:cubicBezTo>
                    <a:pt x="78101" y="31367"/>
                    <a:pt x="63939" y="15789"/>
                    <a:pt x="46945" y="15789"/>
                  </a:cubicBezTo>
                  <a:cubicBezTo>
                    <a:pt x="29951" y="15789"/>
                    <a:pt x="15789" y="29951"/>
                    <a:pt x="15789" y="48361"/>
                  </a:cubicBezTo>
                  <a:cubicBezTo>
                    <a:pt x="15789" y="66772"/>
                    <a:pt x="29951" y="79518"/>
                    <a:pt x="46945" y="7951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6" name="Freeform: Shape 985">
              <a:extLst>
                <a:ext uri="{FF2B5EF4-FFF2-40B4-BE49-F238E27FC236}">
                  <a16:creationId xmlns:a16="http://schemas.microsoft.com/office/drawing/2014/main" id="{4BA89490-6F50-45F8-8B95-1AC9A1F25116}"/>
                </a:ext>
              </a:extLst>
            </p:cNvPr>
            <p:cNvSpPr/>
            <p:nvPr/>
          </p:nvSpPr>
          <p:spPr>
            <a:xfrm>
              <a:off x="11304541" y="1446122"/>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1454"/>
                    <a:pt x="38448" y="15789"/>
                    <a:pt x="29951" y="15789"/>
                  </a:cubicBezTo>
                  <a:cubicBezTo>
                    <a:pt x="21453" y="15789"/>
                    <a:pt x="15789" y="21454"/>
                    <a:pt x="15789" y="29951"/>
                  </a:cubicBezTo>
                  <a:cubicBezTo>
                    <a:pt x="15789" y="38448"/>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7" name="Freeform: Shape 986">
              <a:extLst>
                <a:ext uri="{FF2B5EF4-FFF2-40B4-BE49-F238E27FC236}">
                  <a16:creationId xmlns:a16="http://schemas.microsoft.com/office/drawing/2014/main" id="{270F5C41-DA9B-4F18-B73C-921548275B01}"/>
                </a:ext>
              </a:extLst>
            </p:cNvPr>
            <p:cNvSpPr/>
            <p:nvPr/>
          </p:nvSpPr>
          <p:spPr>
            <a:xfrm>
              <a:off x="10481734" y="1499937"/>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4287"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8" name="Freeform: Shape 987">
              <a:extLst>
                <a:ext uri="{FF2B5EF4-FFF2-40B4-BE49-F238E27FC236}">
                  <a16:creationId xmlns:a16="http://schemas.microsoft.com/office/drawing/2014/main" id="{FEA3B9D9-B6BB-431A-95E9-B302D282B6A9}"/>
                </a:ext>
              </a:extLst>
            </p:cNvPr>
            <p:cNvSpPr/>
            <p:nvPr/>
          </p:nvSpPr>
          <p:spPr>
            <a:xfrm>
              <a:off x="10528468" y="1161468"/>
              <a:ext cx="127457" cy="127457"/>
            </a:xfrm>
            <a:custGeom>
              <a:avLst/>
              <a:gdLst>
                <a:gd name="connsiteX0" fmla="*/ 63940 w 127457"/>
                <a:gd name="connsiteY0" fmla="*/ 15789 h 127457"/>
                <a:gd name="connsiteX1" fmla="*/ 112091 w 127457"/>
                <a:gd name="connsiteY1" fmla="*/ 63940 h 127457"/>
                <a:gd name="connsiteX2" fmla="*/ 63940 w 127457"/>
                <a:gd name="connsiteY2" fmla="*/ 112090 h 127457"/>
                <a:gd name="connsiteX3" fmla="*/ 15789 w 127457"/>
                <a:gd name="connsiteY3" fmla="*/ 63940 h 127457"/>
                <a:gd name="connsiteX4" fmla="*/ 63940 w 127457"/>
                <a:gd name="connsiteY4" fmla="*/ 15789 h 127457"/>
                <a:gd name="connsiteX5" fmla="*/ 63940 w 127457"/>
                <a:gd name="connsiteY5" fmla="*/ 15789 h 127457"/>
                <a:gd name="connsiteX6" fmla="*/ 63940 w 127457"/>
                <a:gd name="connsiteY6" fmla="*/ 24286 h 127457"/>
                <a:gd name="connsiteX7" fmla="*/ 25703 w 127457"/>
                <a:gd name="connsiteY7" fmla="*/ 62523 h 127457"/>
                <a:gd name="connsiteX8" fmla="*/ 63940 w 127457"/>
                <a:gd name="connsiteY8" fmla="*/ 100760 h 127457"/>
                <a:gd name="connsiteX9" fmla="*/ 102177 w 127457"/>
                <a:gd name="connsiteY9" fmla="*/ 62523 h 127457"/>
                <a:gd name="connsiteX10" fmla="*/ 63940 w 127457"/>
                <a:gd name="connsiteY10" fmla="*/ 24286 h 12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457" h="127457">
                  <a:moveTo>
                    <a:pt x="63940" y="15789"/>
                  </a:moveTo>
                  <a:cubicBezTo>
                    <a:pt x="90848" y="15789"/>
                    <a:pt x="112091" y="37032"/>
                    <a:pt x="112091" y="63940"/>
                  </a:cubicBezTo>
                  <a:cubicBezTo>
                    <a:pt x="112091" y="90847"/>
                    <a:pt x="90848" y="112090"/>
                    <a:pt x="63940" y="112090"/>
                  </a:cubicBezTo>
                  <a:cubicBezTo>
                    <a:pt x="37032" y="112090"/>
                    <a:pt x="15789" y="90847"/>
                    <a:pt x="15789" y="63940"/>
                  </a:cubicBezTo>
                  <a:cubicBezTo>
                    <a:pt x="15789" y="37032"/>
                    <a:pt x="37032" y="15789"/>
                    <a:pt x="63940" y="15789"/>
                  </a:cubicBezTo>
                  <a:lnTo>
                    <a:pt x="63940" y="15789"/>
                  </a:lnTo>
                  <a:close/>
                  <a:moveTo>
                    <a:pt x="63940" y="24286"/>
                  </a:moveTo>
                  <a:cubicBezTo>
                    <a:pt x="42697" y="24286"/>
                    <a:pt x="25703" y="41280"/>
                    <a:pt x="25703" y="62523"/>
                  </a:cubicBezTo>
                  <a:cubicBezTo>
                    <a:pt x="25703" y="83766"/>
                    <a:pt x="42697" y="100760"/>
                    <a:pt x="63940" y="100760"/>
                  </a:cubicBezTo>
                  <a:cubicBezTo>
                    <a:pt x="85183" y="100760"/>
                    <a:pt x="102177" y="83766"/>
                    <a:pt x="102177" y="62523"/>
                  </a:cubicBezTo>
                  <a:cubicBezTo>
                    <a:pt x="102177" y="42697"/>
                    <a:pt x="85183" y="24286"/>
                    <a:pt x="63940"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9" name="Freeform: Shape 988">
              <a:extLst>
                <a:ext uri="{FF2B5EF4-FFF2-40B4-BE49-F238E27FC236}">
                  <a16:creationId xmlns:a16="http://schemas.microsoft.com/office/drawing/2014/main" id="{7A712B3B-FC57-4BD1-A89F-B19843F30657}"/>
                </a:ext>
              </a:extLst>
            </p:cNvPr>
            <p:cNvSpPr/>
            <p:nvPr/>
          </p:nvSpPr>
          <p:spPr>
            <a:xfrm>
              <a:off x="10265057" y="1407885"/>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8101"/>
                    <a:pt x="95095" y="55442"/>
                  </a:cubicBezTo>
                  <a:cubicBezTo>
                    <a:pt x="95095" y="34199"/>
                    <a:pt x="78102" y="15789"/>
                    <a:pt x="55442" y="15789"/>
                  </a:cubicBezTo>
                  <a:cubicBezTo>
                    <a:pt x="34199" y="15789"/>
                    <a:pt x="15789" y="32783"/>
                    <a:pt x="15789" y="55442"/>
                  </a:cubicBezTo>
                  <a:cubicBezTo>
                    <a:pt x="15789" y="78101"/>
                    <a:pt x="34199" y="95096"/>
                    <a:pt x="55442" y="950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0" name="Freeform: Shape 989">
              <a:extLst>
                <a:ext uri="{FF2B5EF4-FFF2-40B4-BE49-F238E27FC236}">
                  <a16:creationId xmlns:a16="http://schemas.microsoft.com/office/drawing/2014/main" id="{9E4F081F-D2F6-4E59-BE2C-4EFE4C57B3D1}"/>
                </a:ext>
              </a:extLst>
            </p:cNvPr>
            <p:cNvSpPr/>
            <p:nvPr/>
          </p:nvSpPr>
          <p:spPr>
            <a:xfrm>
              <a:off x="10398179" y="1317249"/>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2" y="15789"/>
                    <a:pt x="15789" y="25702"/>
                    <a:pt x="15789" y="37032"/>
                  </a:cubicBezTo>
                  <a:cubicBezTo>
                    <a:pt x="15789" y="48361"/>
                    <a:pt x="25702"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1" name="Freeform: Shape 990">
              <a:extLst>
                <a:ext uri="{FF2B5EF4-FFF2-40B4-BE49-F238E27FC236}">
                  <a16:creationId xmlns:a16="http://schemas.microsoft.com/office/drawing/2014/main" id="{FBD21DEF-52A3-4973-A99E-1D3FEED39450}"/>
                </a:ext>
              </a:extLst>
            </p:cNvPr>
            <p:cNvSpPr/>
            <p:nvPr/>
          </p:nvSpPr>
          <p:spPr>
            <a:xfrm>
              <a:off x="10834366" y="1237942"/>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1453" y="15789"/>
                    <a:pt x="15789" y="21454"/>
                    <a:pt x="15789" y="29951"/>
                  </a:cubicBezTo>
                  <a:cubicBezTo>
                    <a:pt x="15789" y="38448"/>
                    <a:pt x="21453"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2" name="Freeform: Shape 991">
              <a:extLst>
                <a:ext uri="{FF2B5EF4-FFF2-40B4-BE49-F238E27FC236}">
                  <a16:creationId xmlns:a16="http://schemas.microsoft.com/office/drawing/2014/main" id="{5F30CCC6-E17B-4618-8AFC-269A60C1882F}"/>
                </a:ext>
              </a:extLst>
            </p:cNvPr>
            <p:cNvSpPr/>
            <p:nvPr/>
          </p:nvSpPr>
          <p:spPr>
            <a:xfrm>
              <a:off x="8494817" y="1665632"/>
              <a:ext cx="155781" cy="15578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3" name="Freeform: Shape 992">
              <a:extLst>
                <a:ext uri="{FF2B5EF4-FFF2-40B4-BE49-F238E27FC236}">
                  <a16:creationId xmlns:a16="http://schemas.microsoft.com/office/drawing/2014/main" id="{D37A1194-0EC7-4DA9-866C-5DEC9C9BB808}"/>
                </a:ext>
              </a:extLst>
            </p:cNvPr>
            <p:cNvSpPr/>
            <p:nvPr/>
          </p:nvSpPr>
          <p:spPr>
            <a:xfrm>
              <a:off x="9633435" y="1313000"/>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8101"/>
                    <a:pt x="95095" y="55442"/>
                  </a:cubicBezTo>
                  <a:cubicBezTo>
                    <a:pt x="95095" y="34200"/>
                    <a:pt x="78101" y="15789"/>
                    <a:pt x="55442" y="15789"/>
                  </a:cubicBezTo>
                  <a:cubicBezTo>
                    <a:pt x="34199" y="15789"/>
                    <a:pt x="15789" y="32783"/>
                    <a:pt x="15789" y="55442"/>
                  </a:cubicBezTo>
                  <a:cubicBezTo>
                    <a:pt x="15789" y="78101"/>
                    <a:pt x="34199" y="95096"/>
                    <a:pt x="55442" y="950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4" name="Freeform: Shape 993">
              <a:extLst>
                <a:ext uri="{FF2B5EF4-FFF2-40B4-BE49-F238E27FC236}">
                  <a16:creationId xmlns:a16="http://schemas.microsoft.com/office/drawing/2014/main" id="{F931DCAE-BB7B-4EC8-8A90-DD588C9F174A}"/>
                </a:ext>
              </a:extLst>
            </p:cNvPr>
            <p:cNvSpPr/>
            <p:nvPr/>
          </p:nvSpPr>
          <p:spPr>
            <a:xfrm>
              <a:off x="9403964" y="2080575"/>
              <a:ext cx="155781" cy="155781"/>
            </a:xfrm>
            <a:custGeom>
              <a:avLst/>
              <a:gdLst>
                <a:gd name="connsiteX0" fmla="*/ 80982 w 155781"/>
                <a:gd name="connsiteY0" fmla="*/ 15789 h 155780"/>
                <a:gd name="connsiteX1" fmla="*/ 146127 w 155781"/>
                <a:gd name="connsiteY1" fmla="*/ 80934 h 155780"/>
                <a:gd name="connsiteX2" fmla="*/ 80982 w 155781"/>
                <a:gd name="connsiteY2" fmla="*/ 146079 h 155780"/>
                <a:gd name="connsiteX3" fmla="*/ 15838 w 155781"/>
                <a:gd name="connsiteY3" fmla="*/ 80934 h 155780"/>
                <a:gd name="connsiteX4" fmla="*/ 80982 w 155781"/>
                <a:gd name="connsiteY4" fmla="*/ 15789 h 155780"/>
                <a:gd name="connsiteX5" fmla="*/ 80982 w 155781"/>
                <a:gd name="connsiteY5" fmla="*/ 15789 h 155780"/>
                <a:gd name="connsiteX6" fmla="*/ 80982 w 155781"/>
                <a:gd name="connsiteY6" fmla="*/ 44113 h 155780"/>
                <a:gd name="connsiteX7" fmla="*/ 44161 w 155781"/>
                <a:gd name="connsiteY7" fmla="*/ 80934 h 155780"/>
                <a:gd name="connsiteX8" fmla="*/ 80982 w 155781"/>
                <a:gd name="connsiteY8" fmla="*/ 117755 h 155780"/>
                <a:gd name="connsiteX9" fmla="*/ 117804 w 155781"/>
                <a:gd name="connsiteY9" fmla="*/ 80934 h 155780"/>
                <a:gd name="connsiteX10" fmla="*/ 80982 w 155781"/>
                <a:gd name="connsiteY10" fmla="*/ 44113 h 155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781" h="155780">
                  <a:moveTo>
                    <a:pt x="80982" y="15789"/>
                  </a:moveTo>
                  <a:cubicBezTo>
                    <a:pt x="117804" y="15789"/>
                    <a:pt x="146127" y="45529"/>
                    <a:pt x="146127" y="80934"/>
                  </a:cubicBezTo>
                  <a:cubicBezTo>
                    <a:pt x="146127" y="117755"/>
                    <a:pt x="116387" y="146079"/>
                    <a:pt x="80982" y="146079"/>
                  </a:cubicBezTo>
                  <a:cubicBezTo>
                    <a:pt x="44161" y="146079"/>
                    <a:pt x="15838" y="116339"/>
                    <a:pt x="15838" y="80934"/>
                  </a:cubicBezTo>
                  <a:cubicBezTo>
                    <a:pt x="14421" y="45529"/>
                    <a:pt x="44161" y="15789"/>
                    <a:pt x="80982" y="15789"/>
                  </a:cubicBezTo>
                  <a:lnTo>
                    <a:pt x="80982" y="15789"/>
                  </a:lnTo>
                  <a:close/>
                  <a:moveTo>
                    <a:pt x="80982" y="44113"/>
                  </a:moveTo>
                  <a:cubicBezTo>
                    <a:pt x="61156" y="44113"/>
                    <a:pt x="44161" y="61107"/>
                    <a:pt x="44161" y="80934"/>
                  </a:cubicBezTo>
                  <a:cubicBezTo>
                    <a:pt x="44161" y="100760"/>
                    <a:pt x="61156" y="117755"/>
                    <a:pt x="80982" y="117755"/>
                  </a:cubicBezTo>
                  <a:cubicBezTo>
                    <a:pt x="100809" y="117755"/>
                    <a:pt x="117804" y="100760"/>
                    <a:pt x="117804" y="80934"/>
                  </a:cubicBezTo>
                  <a:cubicBezTo>
                    <a:pt x="117804" y="61107"/>
                    <a:pt x="100809" y="44113"/>
                    <a:pt x="80982"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5" name="Freeform: Shape 994">
              <a:extLst>
                <a:ext uri="{FF2B5EF4-FFF2-40B4-BE49-F238E27FC236}">
                  <a16:creationId xmlns:a16="http://schemas.microsoft.com/office/drawing/2014/main" id="{38B0942E-5993-4508-BF93-478C83931DFA}"/>
                </a:ext>
              </a:extLst>
            </p:cNvPr>
            <p:cNvSpPr/>
            <p:nvPr/>
          </p:nvSpPr>
          <p:spPr>
            <a:xfrm>
              <a:off x="9412509" y="1192624"/>
              <a:ext cx="113295" cy="113295"/>
            </a:xfrm>
            <a:custGeom>
              <a:avLst/>
              <a:gdLst>
                <a:gd name="connsiteX0" fmla="*/ 61107 w 113295"/>
                <a:gd name="connsiteY0" fmla="*/ 15789 h 113295"/>
                <a:gd name="connsiteX1" fmla="*/ 106426 w 113295"/>
                <a:gd name="connsiteY1" fmla="*/ 61107 h 113295"/>
                <a:gd name="connsiteX2" fmla="*/ 61107 w 113295"/>
                <a:gd name="connsiteY2" fmla="*/ 106425 h 113295"/>
                <a:gd name="connsiteX3" fmla="*/ 15789 w 113295"/>
                <a:gd name="connsiteY3" fmla="*/ 61107 h 113295"/>
                <a:gd name="connsiteX4" fmla="*/ 61107 w 113295"/>
                <a:gd name="connsiteY4" fmla="*/ 15789 h 113295"/>
                <a:gd name="connsiteX5" fmla="*/ 61107 w 113295"/>
                <a:gd name="connsiteY5" fmla="*/ 15789 h 113295"/>
                <a:gd name="connsiteX6" fmla="*/ 61107 w 113295"/>
                <a:gd name="connsiteY6" fmla="*/ 35616 h 113295"/>
                <a:gd name="connsiteX7" fmla="*/ 35616 w 113295"/>
                <a:gd name="connsiteY7" fmla="*/ 61107 h 113295"/>
                <a:gd name="connsiteX8" fmla="*/ 61107 w 113295"/>
                <a:gd name="connsiteY8" fmla="*/ 86598 h 113295"/>
                <a:gd name="connsiteX9" fmla="*/ 86599 w 113295"/>
                <a:gd name="connsiteY9" fmla="*/ 61107 h 113295"/>
                <a:gd name="connsiteX10" fmla="*/ 61107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07" y="15789"/>
                  </a:moveTo>
                  <a:cubicBezTo>
                    <a:pt x="86599" y="15789"/>
                    <a:pt x="106426" y="35616"/>
                    <a:pt x="106426" y="61107"/>
                  </a:cubicBezTo>
                  <a:cubicBezTo>
                    <a:pt x="106426" y="86598"/>
                    <a:pt x="86599" y="106425"/>
                    <a:pt x="61107" y="106425"/>
                  </a:cubicBezTo>
                  <a:cubicBezTo>
                    <a:pt x="35616" y="106425"/>
                    <a:pt x="15789" y="86598"/>
                    <a:pt x="15789" y="61107"/>
                  </a:cubicBezTo>
                  <a:cubicBezTo>
                    <a:pt x="15789" y="35616"/>
                    <a:pt x="35616" y="15789"/>
                    <a:pt x="61107" y="15789"/>
                  </a:cubicBezTo>
                  <a:lnTo>
                    <a:pt x="61107" y="15789"/>
                  </a:lnTo>
                  <a:close/>
                  <a:moveTo>
                    <a:pt x="61107" y="35616"/>
                  </a:moveTo>
                  <a:cubicBezTo>
                    <a:pt x="46945" y="35616"/>
                    <a:pt x="35616" y="46945"/>
                    <a:pt x="35616" y="61107"/>
                  </a:cubicBezTo>
                  <a:cubicBezTo>
                    <a:pt x="35616" y="75269"/>
                    <a:pt x="46945" y="86598"/>
                    <a:pt x="61107" y="86598"/>
                  </a:cubicBezTo>
                  <a:cubicBezTo>
                    <a:pt x="75269" y="86598"/>
                    <a:pt x="86599" y="75269"/>
                    <a:pt x="86599" y="61107"/>
                  </a:cubicBezTo>
                  <a:cubicBezTo>
                    <a:pt x="86599" y="46945"/>
                    <a:pt x="75269" y="35616"/>
                    <a:pt x="61107"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6" name="Freeform: Shape 995">
              <a:extLst>
                <a:ext uri="{FF2B5EF4-FFF2-40B4-BE49-F238E27FC236}">
                  <a16:creationId xmlns:a16="http://schemas.microsoft.com/office/drawing/2014/main" id="{45CE3690-84CF-444F-98CE-2566BA476F3B}"/>
                </a:ext>
              </a:extLst>
            </p:cNvPr>
            <p:cNvSpPr/>
            <p:nvPr/>
          </p:nvSpPr>
          <p:spPr>
            <a:xfrm>
              <a:off x="8807795" y="2421877"/>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1" y="49777"/>
                    <a:pt x="49778" y="42697"/>
                    <a:pt x="49778" y="32783"/>
                  </a:cubicBezTo>
                  <a:cubicBezTo>
                    <a:pt x="49778" y="22870"/>
                    <a:pt x="42697" y="15789"/>
                    <a:pt x="32783" y="15789"/>
                  </a:cubicBezTo>
                  <a:cubicBezTo>
                    <a:pt x="24287" y="15789"/>
                    <a:pt x="15789" y="22870"/>
                    <a:pt x="15789" y="32783"/>
                  </a:cubicBezTo>
                  <a:cubicBezTo>
                    <a:pt x="15789" y="42697"/>
                    <a:pt x="24287"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7" name="Freeform: Shape 996">
              <a:extLst>
                <a:ext uri="{FF2B5EF4-FFF2-40B4-BE49-F238E27FC236}">
                  <a16:creationId xmlns:a16="http://schemas.microsoft.com/office/drawing/2014/main" id="{D7144EED-7769-4082-BD53-C1D0102E726B}"/>
                </a:ext>
              </a:extLst>
            </p:cNvPr>
            <p:cNvSpPr/>
            <p:nvPr/>
          </p:nvSpPr>
          <p:spPr>
            <a:xfrm>
              <a:off x="8950831" y="1263433"/>
              <a:ext cx="56648" cy="56648"/>
            </a:xfrm>
            <a:custGeom>
              <a:avLst/>
              <a:gdLst>
                <a:gd name="connsiteX0" fmla="*/ 32783 w 56647"/>
                <a:gd name="connsiteY0" fmla="*/ 49778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7" y="42697"/>
                    <a:pt x="49777" y="32783"/>
                  </a:cubicBezTo>
                  <a:cubicBezTo>
                    <a:pt x="49777" y="22870"/>
                    <a:pt x="42696"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8" name="Freeform: Shape 997">
              <a:extLst>
                <a:ext uri="{FF2B5EF4-FFF2-40B4-BE49-F238E27FC236}">
                  <a16:creationId xmlns:a16="http://schemas.microsoft.com/office/drawing/2014/main" id="{79F5AF8F-8413-4DBB-BEE9-0B1ECEE1A11E}"/>
                </a:ext>
              </a:extLst>
            </p:cNvPr>
            <p:cNvSpPr/>
            <p:nvPr/>
          </p:nvSpPr>
          <p:spPr>
            <a:xfrm>
              <a:off x="8384355" y="1051005"/>
              <a:ext cx="84971" cy="84971"/>
            </a:xfrm>
            <a:custGeom>
              <a:avLst/>
              <a:gdLst>
                <a:gd name="connsiteX0" fmla="*/ 48361 w 84971"/>
                <a:gd name="connsiteY0" fmla="*/ 80934 h 84971"/>
                <a:gd name="connsiteX1" fmla="*/ 80933 w 84971"/>
                <a:gd name="connsiteY1" fmla="*/ 48361 h 84971"/>
                <a:gd name="connsiteX2" fmla="*/ 48361 w 84971"/>
                <a:gd name="connsiteY2" fmla="*/ 15789 h 84971"/>
                <a:gd name="connsiteX3" fmla="*/ 15789 w 84971"/>
                <a:gd name="connsiteY3" fmla="*/ 48361 h 84971"/>
                <a:gd name="connsiteX4" fmla="*/ 48361 w 84971"/>
                <a:gd name="connsiteY4" fmla="*/ 8093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8361" y="80934"/>
                  </a:moveTo>
                  <a:cubicBezTo>
                    <a:pt x="66772" y="80934"/>
                    <a:pt x="80933" y="66772"/>
                    <a:pt x="80933" y="48361"/>
                  </a:cubicBezTo>
                  <a:cubicBezTo>
                    <a:pt x="80933" y="29951"/>
                    <a:pt x="66772" y="15789"/>
                    <a:pt x="48361" y="15789"/>
                  </a:cubicBezTo>
                  <a:cubicBezTo>
                    <a:pt x="29951" y="15789"/>
                    <a:pt x="15789" y="29951"/>
                    <a:pt x="15789" y="48361"/>
                  </a:cubicBezTo>
                  <a:cubicBezTo>
                    <a:pt x="15789" y="66772"/>
                    <a:pt x="29951" y="80934"/>
                    <a:pt x="48361" y="8093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9" name="Freeform: Shape 998">
              <a:extLst>
                <a:ext uri="{FF2B5EF4-FFF2-40B4-BE49-F238E27FC236}">
                  <a16:creationId xmlns:a16="http://schemas.microsoft.com/office/drawing/2014/main" id="{76FFD69C-C028-4127-8376-A70B72FDC9D2}"/>
                </a:ext>
              </a:extLst>
            </p:cNvPr>
            <p:cNvSpPr/>
            <p:nvPr/>
          </p:nvSpPr>
          <p:spPr>
            <a:xfrm>
              <a:off x="9694332" y="2498352"/>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3"/>
                    <a:pt x="48361" y="15789"/>
                    <a:pt x="37032" y="15789"/>
                  </a:cubicBezTo>
                  <a:cubicBezTo>
                    <a:pt x="25703" y="15789"/>
                    <a:pt x="15789" y="25703"/>
                    <a:pt x="15789" y="37032"/>
                  </a:cubicBezTo>
                  <a:cubicBezTo>
                    <a:pt x="15789" y="49778"/>
                    <a:pt x="25703"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0" name="Freeform: Shape 999">
              <a:extLst>
                <a:ext uri="{FF2B5EF4-FFF2-40B4-BE49-F238E27FC236}">
                  <a16:creationId xmlns:a16="http://schemas.microsoft.com/office/drawing/2014/main" id="{2A6D3FBA-D032-4264-8E9A-5B633C4784BD}"/>
                </a:ext>
              </a:extLst>
            </p:cNvPr>
            <p:cNvSpPr/>
            <p:nvPr/>
          </p:nvSpPr>
          <p:spPr>
            <a:xfrm>
              <a:off x="9868523" y="2375143"/>
              <a:ext cx="99133" cy="99133"/>
            </a:xfrm>
            <a:custGeom>
              <a:avLst/>
              <a:gdLst>
                <a:gd name="connsiteX0" fmla="*/ 49778 w 99133"/>
                <a:gd name="connsiteY0" fmla="*/ 83766 h 99133"/>
                <a:gd name="connsiteX1" fmla="*/ 83766 w 99133"/>
                <a:gd name="connsiteY1" fmla="*/ 49778 h 99133"/>
                <a:gd name="connsiteX2" fmla="*/ 49778 w 99133"/>
                <a:gd name="connsiteY2" fmla="*/ 15789 h 99133"/>
                <a:gd name="connsiteX3" fmla="*/ 15789 w 99133"/>
                <a:gd name="connsiteY3" fmla="*/ 49778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8"/>
                  </a:cubicBezTo>
                  <a:cubicBezTo>
                    <a:pt x="83766" y="31367"/>
                    <a:pt x="68188" y="15789"/>
                    <a:pt x="49778" y="15789"/>
                  </a:cubicBezTo>
                  <a:cubicBezTo>
                    <a:pt x="31367" y="15789"/>
                    <a:pt x="15789" y="31367"/>
                    <a:pt x="15789" y="49778"/>
                  </a:cubicBezTo>
                  <a:cubicBezTo>
                    <a:pt x="15789" y="69604"/>
                    <a:pt x="31367" y="83766"/>
                    <a:pt x="49778" y="8376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1" name="Freeform: Shape 1000">
              <a:extLst>
                <a:ext uri="{FF2B5EF4-FFF2-40B4-BE49-F238E27FC236}">
                  <a16:creationId xmlns:a16="http://schemas.microsoft.com/office/drawing/2014/main" id="{EDCC4D87-45AE-482B-8872-485BA5DCF862}"/>
                </a:ext>
              </a:extLst>
            </p:cNvPr>
            <p:cNvSpPr/>
            <p:nvPr/>
          </p:nvSpPr>
          <p:spPr>
            <a:xfrm>
              <a:off x="9923755" y="2870810"/>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5789" y="37032"/>
                    <a:pt x="21453"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2" name="Freeform: Shape 1001">
              <a:extLst>
                <a:ext uri="{FF2B5EF4-FFF2-40B4-BE49-F238E27FC236}">
                  <a16:creationId xmlns:a16="http://schemas.microsoft.com/office/drawing/2014/main" id="{02FB2557-F738-46C8-AECA-485235BD8CB9}"/>
                </a:ext>
              </a:extLst>
            </p:cNvPr>
            <p:cNvSpPr/>
            <p:nvPr/>
          </p:nvSpPr>
          <p:spPr>
            <a:xfrm>
              <a:off x="9983234" y="2675376"/>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4286"/>
                    <a:pt x="46945" y="15789"/>
                    <a:pt x="35616" y="15789"/>
                  </a:cubicBezTo>
                  <a:cubicBezTo>
                    <a:pt x="24287" y="15789"/>
                    <a:pt x="15789" y="24286"/>
                    <a:pt x="15789" y="35616"/>
                  </a:cubicBezTo>
                  <a:cubicBezTo>
                    <a:pt x="15789" y="46945"/>
                    <a:pt x="24287"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3" name="Freeform: Shape 1002">
              <a:extLst>
                <a:ext uri="{FF2B5EF4-FFF2-40B4-BE49-F238E27FC236}">
                  <a16:creationId xmlns:a16="http://schemas.microsoft.com/office/drawing/2014/main" id="{FD41EE78-BF16-4266-B17C-91F5AC49001F}"/>
                </a:ext>
              </a:extLst>
            </p:cNvPr>
            <p:cNvSpPr/>
            <p:nvPr/>
          </p:nvSpPr>
          <p:spPr>
            <a:xfrm>
              <a:off x="9772222" y="2920377"/>
              <a:ext cx="70810" cy="70810"/>
            </a:xfrm>
            <a:custGeom>
              <a:avLst/>
              <a:gdLst>
                <a:gd name="connsiteX0" fmla="*/ 58275 w 70809"/>
                <a:gd name="connsiteY0" fmla="*/ 37032 h 70809"/>
                <a:gd name="connsiteX1" fmla="*/ 37032 w 70809"/>
                <a:gd name="connsiteY1" fmla="*/ 58275 h 70809"/>
                <a:gd name="connsiteX2" fmla="*/ 15789 w 70809"/>
                <a:gd name="connsiteY2" fmla="*/ 37032 h 70809"/>
                <a:gd name="connsiteX3" fmla="*/ 37032 w 70809"/>
                <a:gd name="connsiteY3" fmla="*/ 15789 h 70809"/>
                <a:gd name="connsiteX4" fmla="*/ 58275 w 70809"/>
                <a:gd name="connsiteY4" fmla="*/ 3703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58275" y="37032"/>
                  </a:moveTo>
                  <a:cubicBezTo>
                    <a:pt x="58275" y="48764"/>
                    <a:pt x="48764" y="58275"/>
                    <a:pt x="37032" y="58275"/>
                  </a:cubicBezTo>
                  <a:cubicBezTo>
                    <a:pt x="25300" y="58275"/>
                    <a:pt x="15789" y="48764"/>
                    <a:pt x="15789" y="37032"/>
                  </a:cubicBezTo>
                  <a:cubicBezTo>
                    <a:pt x="15789" y="25300"/>
                    <a:pt x="25300" y="15789"/>
                    <a:pt x="37032" y="15789"/>
                  </a:cubicBezTo>
                  <a:cubicBezTo>
                    <a:pt x="48764" y="15789"/>
                    <a:pt x="58275" y="25300"/>
                    <a:pt x="58275" y="3703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4" name="Freeform: Shape 1003">
              <a:extLst>
                <a:ext uri="{FF2B5EF4-FFF2-40B4-BE49-F238E27FC236}">
                  <a16:creationId xmlns:a16="http://schemas.microsoft.com/office/drawing/2014/main" id="{DDEEF5AB-7ABF-4B74-9A4A-18720CDEF3E3}"/>
                </a:ext>
              </a:extLst>
            </p:cNvPr>
            <p:cNvSpPr/>
            <p:nvPr/>
          </p:nvSpPr>
          <p:spPr>
            <a:xfrm>
              <a:off x="10034217" y="2485606"/>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3" y="15789"/>
                    <a:pt x="15789" y="25702"/>
                    <a:pt x="15789" y="37032"/>
                  </a:cubicBezTo>
                  <a:cubicBezTo>
                    <a:pt x="15789" y="49777"/>
                    <a:pt x="25703"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5" name="Freeform: Shape 1004">
              <a:extLst>
                <a:ext uri="{FF2B5EF4-FFF2-40B4-BE49-F238E27FC236}">
                  <a16:creationId xmlns:a16="http://schemas.microsoft.com/office/drawing/2014/main" id="{B60F93F7-25A6-4141-98A1-65ADA1ABB9D6}"/>
                </a:ext>
              </a:extLst>
            </p:cNvPr>
            <p:cNvSpPr/>
            <p:nvPr/>
          </p:nvSpPr>
          <p:spPr>
            <a:xfrm>
              <a:off x="9997396" y="2832573"/>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4286"/>
                    <a:pt x="46945" y="15789"/>
                    <a:pt x="35616" y="15789"/>
                  </a:cubicBezTo>
                  <a:cubicBezTo>
                    <a:pt x="24287" y="15789"/>
                    <a:pt x="15789" y="24286"/>
                    <a:pt x="15789" y="35616"/>
                  </a:cubicBezTo>
                  <a:cubicBezTo>
                    <a:pt x="15789" y="46945"/>
                    <a:pt x="24287"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6" name="Freeform: Shape 1005">
              <a:extLst>
                <a:ext uri="{FF2B5EF4-FFF2-40B4-BE49-F238E27FC236}">
                  <a16:creationId xmlns:a16="http://schemas.microsoft.com/office/drawing/2014/main" id="{5FFAAC47-E8BC-433E-92C1-7D64487C071D}"/>
                </a:ext>
              </a:extLst>
            </p:cNvPr>
            <p:cNvSpPr/>
            <p:nvPr/>
          </p:nvSpPr>
          <p:spPr>
            <a:xfrm>
              <a:off x="10117772" y="2512514"/>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4286"/>
                    <a:pt x="46945" y="15789"/>
                    <a:pt x="35616" y="15789"/>
                  </a:cubicBezTo>
                  <a:cubicBezTo>
                    <a:pt x="24287" y="15789"/>
                    <a:pt x="15789" y="24286"/>
                    <a:pt x="15789" y="35616"/>
                  </a:cubicBezTo>
                  <a:cubicBezTo>
                    <a:pt x="17206" y="46945"/>
                    <a:pt x="25703"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7" name="Freeform: Shape 1006">
              <a:extLst>
                <a:ext uri="{FF2B5EF4-FFF2-40B4-BE49-F238E27FC236}">
                  <a16:creationId xmlns:a16="http://schemas.microsoft.com/office/drawing/2014/main" id="{C16B8E0C-A036-4DBF-9EA4-50E4780F49F1}"/>
                </a:ext>
              </a:extLst>
            </p:cNvPr>
            <p:cNvSpPr/>
            <p:nvPr/>
          </p:nvSpPr>
          <p:spPr>
            <a:xfrm>
              <a:off x="10107860" y="2478525"/>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5789" y="38448"/>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8" name="Freeform: Shape 1007">
              <a:extLst>
                <a:ext uri="{FF2B5EF4-FFF2-40B4-BE49-F238E27FC236}">
                  <a16:creationId xmlns:a16="http://schemas.microsoft.com/office/drawing/2014/main" id="{2EE44B9D-4977-4CB2-9A99-8F07FA531845}"/>
                </a:ext>
              </a:extLst>
            </p:cNvPr>
            <p:cNvSpPr/>
            <p:nvPr/>
          </p:nvSpPr>
          <p:spPr>
            <a:xfrm>
              <a:off x="10293380" y="2420461"/>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8" y="29951"/>
                    <a:pt x="29951" y="27119"/>
                    <a:pt x="29951" y="22870"/>
                  </a:cubicBezTo>
                  <a:cubicBezTo>
                    <a:pt x="29951" y="18622"/>
                    <a:pt x="27118" y="15789"/>
                    <a:pt x="22870" y="15789"/>
                  </a:cubicBezTo>
                  <a:cubicBezTo>
                    <a:pt x="18622" y="15789"/>
                    <a:pt x="15789" y="18622"/>
                    <a:pt x="15789" y="22870"/>
                  </a:cubicBezTo>
                  <a:cubicBezTo>
                    <a:pt x="15789" y="27119"/>
                    <a:pt x="18622" y="29951"/>
                    <a:pt x="22870"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9" name="Freeform: Shape 1008">
              <a:extLst>
                <a:ext uri="{FF2B5EF4-FFF2-40B4-BE49-F238E27FC236}">
                  <a16:creationId xmlns:a16="http://schemas.microsoft.com/office/drawing/2014/main" id="{1F0A849F-0F1A-4419-9BBA-EAB8EAA6815D}"/>
                </a:ext>
              </a:extLst>
            </p:cNvPr>
            <p:cNvSpPr/>
            <p:nvPr/>
          </p:nvSpPr>
          <p:spPr>
            <a:xfrm>
              <a:off x="10351444" y="2362397"/>
              <a:ext cx="42486" cy="42486"/>
            </a:xfrm>
            <a:custGeom>
              <a:avLst/>
              <a:gdLst>
                <a:gd name="connsiteX0" fmla="*/ 29951 w 42485"/>
                <a:gd name="connsiteY0" fmla="*/ 22870 h 42485"/>
                <a:gd name="connsiteX1" fmla="*/ 22870 w 42485"/>
                <a:gd name="connsiteY1" fmla="*/ 29951 h 42485"/>
                <a:gd name="connsiteX2" fmla="*/ 15789 w 42485"/>
                <a:gd name="connsiteY2" fmla="*/ 22870 h 42485"/>
                <a:gd name="connsiteX3" fmla="*/ 22870 w 42485"/>
                <a:gd name="connsiteY3" fmla="*/ 15789 h 42485"/>
                <a:gd name="connsiteX4" fmla="*/ 29951 w 42485"/>
                <a:gd name="connsiteY4" fmla="*/ 2287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951" y="22870"/>
                  </a:moveTo>
                  <a:cubicBezTo>
                    <a:pt x="29951" y="26781"/>
                    <a:pt x="26780" y="29951"/>
                    <a:pt x="22870" y="29951"/>
                  </a:cubicBezTo>
                  <a:cubicBezTo>
                    <a:pt x="18959" y="29951"/>
                    <a:pt x="15789" y="26781"/>
                    <a:pt x="15789" y="22870"/>
                  </a:cubicBezTo>
                  <a:cubicBezTo>
                    <a:pt x="15789" y="18959"/>
                    <a:pt x="18959" y="15789"/>
                    <a:pt x="22870" y="15789"/>
                  </a:cubicBezTo>
                  <a:cubicBezTo>
                    <a:pt x="26780" y="15789"/>
                    <a:pt x="29951" y="18959"/>
                    <a:pt x="29951" y="2287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10" name="Freeform: Shape 1009">
              <a:extLst>
                <a:ext uri="{FF2B5EF4-FFF2-40B4-BE49-F238E27FC236}">
                  <a16:creationId xmlns:a16="http://schemas.microsoft.com/office/drawing/2014/main" id="{5E68FAFB-9ECB-4E47-89BF-728B3894F5DA}"/>
                </a:ext>
              </a:extLst>
            </p:cNvPr>
            <p:cNvSpPr/>
            <p:nvPr/>
          </p:nvSpPr>
          <p:spPr>
            <a:xfrm>
              <a:off x="10442080" y="2233524"/>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8" y="29951"/>
                    <a:pt x="29951" y="27119"/>
                    <a:pt x="29951" y="22870"/>
                  </a:cubicBezTo>
                  <a:cubicBezTo>
                    <a:pt x="29951" y="18621"/>
                    <a:pt x="27118" y="15789"/>
                    <a:pt x="22870" y="15789"/>
                  </a:cubicBezTo>
                  <a:cubicBezTo>
                    <a:pt x="18622" y="15789"/>
                    <a:pt x="15789" y="18621"/>
                    <a:pt x="15789" y="22870"/>
                  </a:cubicBezTo>
                  <a:cubicBezTo>
                    <a:pt x="15789" y="27119"/>
                    <a:pt x="20037" y="29951"/>
                    <a:pt x="22870"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11" name="Freeform: Shape 1010">
              <a:extLst>
                <a:ext uri="{FF2B5EF4-FFF2-40B4-BE49-F238E27FC236}">
                  <a16:creationId xmlns:a16="http://schemas.microsoft.com/office/drawing/2014/main" id="{D6B35D65-CB6B-47D5-B102-CA76BD07E6F7}"/>
                </a:ext>
              </a:extLst>
            </p:cNvPr>
            <p:cNvSpPr/>
            <p:nvPr/>
          </p:nvSpPr>
          <p:spPr>
            <a:xfrm>
              <a:off x="10082096" y="2114564"/>
              <a:ext cx="42486" cy="42486"/>
            </a:xfrm>
            <a:custGeom>
              <a:avLst/>
              <a:gdLst>
                <a:gd name="connsiteX0" fmla="*/ 25974 w 42485"/>
                <a:gd name="connsiteY0" fmla="*/ 35616 h 42485"/>
                <a:gd name="connsiteX1" fmla="*/ 35887 w 42485"/>
                <a:gd name="connsiteY1" fmla="*/ 25702 h 42485"/>
                <a:gd name="connsiteX2" fmla="*/ 25974 w 42485"/>
                <a:gd name="connsiteY2" fmla="*/ 15789 h 42485"/>
                <a:gd name="connsiteX3" fmla="*/ 16060 w 42485"/>
                <a:gd name="connsiteY3" fmla="*/ 25702 h 42485"/>
                <a:gd name="connsiteX4" fmla="*/ 25974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974" y="35616"/>
                  </a:moveTo>
                  <a:cubicBezTo>
                    <a:pt x="31639" y="35616"/>
                    <a:pt x="35887" y="31367"/>
                    <a:pt x="35887" y="25702"/>
                  </a:cubicBezTo>
                  <a:cubicBezTo>
                    <a:pt x="35887" y="20038"/>
                    <a:pt x="31639" y="15789"/>
                    <a:pt x="25974" y="15789"/>
                  </a:cubicBezTo>
                  <a:cubicBezTo>
                    <a:pt x="20310" y="15789"/>
                    <a:pt x="16060" y="20038"/>
                    <a:pt x="16060" y="25702"/>
                  </a:cubicBezTo>
                  <a:cubicBezTo>
                    <a:pt x="14644" y="29951"/>
                    <a:pt x="18893" y="35616"/>
                    <a:pt x="25974"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12" name="Freeform: Shape 1011">
              <a:extLst>
                <a:ext uri="{FF2B5EF4-FFF2-40B4-BE49-F238E27FC236}">
                  <a16:creationId xmlns:a16="http://schemas.microsoft.com/office/drawing/2014/main" id="{BED2F49C-F44F-41A3-AC1B-473311BBD8F9}"/>
                </a:ext>
              </a:extLst>
            </p:cNvPr>
            <p:cNvSpPr/>
            <p:nvPr/>
          </p:nvSpPr>
          <p:spPr>
            <a:xfrm>
              <a:off x="9852856" y="2794336"/>
              <a:ext cx="84971" cy="84971"/>
            </a:xfrm>
            <a:custGeom>
              <a:avLst/>
              <a:gdLst>
                <a:gd name="connsiteX0" fmla="*/ 48451 w 84971"/>
                <a:gd name="connsiteY0" fmla="*/ 15789 h 84971"/>
                <a:gd name="connsiteX1" fmla="*/ 81023 w 84971"/>
                <a:gd name="connsiteY1" fmla="*/ 48361 h 84971"/>
                <a:gd name="connsiteX2" fmla="*/ 48451 w 84971"/>
                <a:gd name="connsiteY2" fmla="*/ 80934 h 84971"/>
                <a:gd name="connsiteX3" fmla="*/ 15879 w 84971"/>
                <a:gd name="connsiteY3" fmla="*/ 48361 h 84971"/>
                <a:gd name="connsiteX4" fmla="*/ 48451 w 84971"/>
                <a:gd name="connsiteY4" fmla="*/ 15789 h 84971"/>
                <a:gd name="connsiteX5" fmla="*/ 48451 w 84971"/>
                <a:gd name="connsiteY5" fmla="*/ 15789 h 84971"/>
                <a:gd name="connsiteX6" fmla="*/ 48451 w 84971"/>
                <a:gd name="connsiteY6" fmla="*/ 29951 h 84971"/>
                <a:gd name="connsiteX7" fmla="*/ 30041 w 84971"/>
                <a:gd name="connsiteY7" fmla="*/ 48361 h 84971"/>
                <a:gd name="connsiteX8" fmla="*/ 48451 w 84971"/>
                <a:gd name="connsiteY8" fmla="*/ 66772 h 84971"/>
                <a:gd name="connsiteX9" fmla="*/ 66861 w 84971"/>
                <a:gd name="connsiteY9" fmla="*/ 48361 h 84971"/>
                <a:gd name="connsiteX10" fmla="*/ 48451 w 84971"/>
                <a:gd name="connsiteY10" fmla="*/ 29951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8451" y="15789"/>
                  </a:moveTo>
                  <a:cubicBezTo>
                    <a:pt x="66861" y="15789"/>
                    <a:pt x="81023" y="29951"/>
                    <a:pt x="81023" y="48361"/>
                  </a:cubicBezTo>
                  <a:cubicBezTo>
                    <a:pt x="81023" y="66772"/>
                    <a:pt x="66861" y="80934"/>
                    <a:pt x="48451" y="80934"/>
                  </a:cubicBezTo>
                  <a:cubicBezTo>
                    <a:pt x="30041" y="80934"/>
                    <a:pt x="15879" y="66772"/>
                    <a:pt x="15879" y="48361"/>
                  </a:cubicBezTo>
                  <a:cubicBezTo>
                    <a:pt x="14462" y="31367"/>
                    <a:pt x="30041" y="15789"/>
                    <a:pt x="48451" y="15789"/>
                  </a:cubicBezTo>
                  <a:lnTo>
                    <a:pt x="48451" y="15789"/>
                  </a:lnTo>
                  <a:close/>
                  <a:moveTo>
                    <a:pt x="48451" y="29951"/>
                  </a:moveTo>
                  <a:cubicBezTo>
                    <a:pt x="38537" y="29951"/>
                    <a:pt x="30041" y="38448"/>
                    <a:pt x="30041" y="48361"/>
                  </a:cubicBezTo>
                  <a:cubicBezTo>
                    <a:pt x="30041" y="58275"/>
                    <a:pt x="38537" y="66772"/>
                    <a:pt x="48451" y="66772"/>
                  </a:cubicBezTo>
                  <a:cubicBezTo>
                    <a:pt x="58364" y="66772"/>
                    <a:pt x="66861" y="58275"/>
                    <a:pt x="66861" y="48361"/>
                  </a:cubicBezTo>
                  <a:cubicBezTo>
                    <a:pt x="66861" y="38448"/>
                    <a:pt x="58364" y="29951"/>
                    <a:pt x="48451"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13" name="Freeform: Shape 1012">
              <a:extLst>
                <a:ext uri="{FF2B5EF4-FFF2-40B4-BE49-F238E27FC236}">
                  <a16:creationId xmlns:a16="http://schemas.microsoft.com/office/drawing/2014/main" id="{22439C5B-38F5-4A80-8C09-22454E34F861}"/>
                </a:ext>
              </a:extLst>
            </p:cNvPr>
            <p:cNvSpPr/>
            <p:nvPr/>
          </p:nvSpPr>
          <p:spPr>
            <a:xfrm>
              <a:off x="9681585" y="2943036"/>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9" y="15789"/>
                    <a:pt x="29951" y="15789"/>
                  </a:cubicBezTo>
                  <a:cubicBezTo>
                    <a:pt x="22870" y="15789"/>
                    <a:pt x="15789" y="21454"/>
                    <a:pt x="15789" y="29951"/>
                  </a:cubicBezTo>
                  <a:cubicBezTo>
                    <a:pt x="15789" y="38448"/>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08" name="Freeform: Shape 1907">
              <a:extLst>
                <a:ext uri="{FF2B5EF4-FFF2-40B4-BE49-F238E27FC236}">
                  <a16:creationId xmlns:a16="http://schemas.microsoft.com/office/drawing/2014/main" id="{1F11CABE-8857-4FEE-A1D8-C192CE99627B}"/>
                </a:ext>
              </a:extLst>
            </p:cNvPr>
            <p:cNvSpPr/>
            <p:nvPr/>
          </p:nvSpPr>
          <p:spPr>
            <a:xfrm>
              <a:off x="10078119" y="2229275"/>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8" y="29951"/>
                    <a:pt x="29951" y="27119"/>
                    <a:pt x="29951" y="22870"/>
                  </a:cubicBezTo>
                  <a:cubicBezTo>
                    <a:pt x="29951" y="18622"/>
                    <a:pt x="27118" y="15789"/>
                    <a:pt x="22870" y="15789"/>
                  </a:cubicBezTo>
                  <a:cubicBezTo>
                    <a:pt x="18622" y="15789"/>
                    <a:pt x="15789" y="18622"/>
                    <a:pt x="15789" y="22870"/>
                  </a:cubicBezTo>
                  <a:cubicBezTo>
                    <a:pt x="15789" y="25703"/>
                    <a:pt x="18622" y="29951"/>
                    <a:pt x="22870"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09" name="Freeform: Shape 1908">
              <a:extLst>
                <a:ext uri="{FF2B5EF4-FFF2-40B4-BE49-F238E27FC236}">
                  <a16:creationId xmlns:a16="http://schemas.microsoft.com/office/drawing/2014/main" id="{9B47B786-D90F-4152-AE82-02C3DF214991}"/>
                </a:ext>
              </a:extLst>
            </p:cNvPr>
            <p:cNvSpPr/>
            <p:nvPr/>
          </p:nvSpPr>
          <p:spPr>
            <a:xfrm>
              <a:off x="10112108" y="2353900"/>
              <a:ext cx="28324" cy="28324"/>
            </a:xfrm>
            <a:custGeom>
              <a:avLst/>
              <a:gdLst>
                <a:gd name="connsiteX0" fmla="*/ 18622 w 28323"/>
                <a:gd name="connsiteY0" fmla="*/ 21454 h 28323"/>
                <a:gd name="connsiteX1" fmla="*/ 21453 w 28323"/>
                <a:gd name="connsiteY1" fmla="*/ 18621 h 28323"/>
                <a:gd name="connsiteX2" fmla="*/ 18622 w 28323"/>
                <a:gd name="connsiteY2" fmla="*/ 15789 h 28323"/>
                <a:gd name="connsiteX3" fmla="*/ 15789 w 28323"/>
                <a:gd name="connsiteY3" fmla="*/ 18621 h 28323"/>
                <a:gd name="connsiteX4" fmla="*/ 18622 w 28323"/>
                <a:gd name="connsiteY4" fmla="*/ 21454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18622" y="21454"/>
                  </a:moveTo>
                  <a:cubicBezTo>
                    <a:pt x="20037" y="21454"/>
                    <a:pt x="21453" y="20038"/>
                    <a:pt x="21453" y="18621"/>
                  </a:cubicBezTo>
                  <a:cubicBezTo>
                    <a:pt x="21453" y="17205"/>
                    <a:pt x="20037" y="15789"/>
                    <a:pt x="18622" y="15789"/>
                  </a:cubicBezTo>
                  <a:cubicBezTo>
                    <a:pt x="17205" y="15789"/>
                    <a:pt x="15789" y="17205"/>
                    <a:pt x="15789" y="18621"/>
                  </a:cubicBezTo>
                  <a:cubicBezTo>
                    <a:pt x="15789" y="20038"/>
                    <a:pt x="17205" y="21454"/>
                    <a:pt x="18622" y="2145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0" name="Freeform: Shape 1909">
              <a:extLst>
                <a:ext uri="{FF2B5EF4-FFF2-40B4-BE49-F238E27FC236}">
                  <a16:creationId xmlns:a16="http://schemas.microsoft.com/office/drawing/2014/main" id="{9A642A8A-21E0-4507-8D1A-A39F6562710C}"/>
                </a:ext>
              </a:extLst>
            </p:cNvPr>
            <p:cNvSpPr/>
            <p:nvPr/>
          </p:nvSpPr>
          <p:spPr>
            <a:xfrm>
              <a:off x="9300631" y="2607399"/>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6685"/>
                    <a:pt x="95095" y="55442"/>
                  </a:cubicBezTo>
                  <a:cubicBezTo>
                    <a:pt x="95095" y="34199"/>
                    <a:pt x="76685" y="15789"/>
                    <a:pt x="55442" y="15789"/>
                  </a:cubicBezTo>
                  <a:cubicBezTo>
                    <a:pt x="34199" y="15789"/>
                    <a:pt x="15789" y="34199"/>
                    <a:pt x="15789" y="55442"/>
                  </a:cubicBezTo>
                  <a:cubicBezTo>
                    <a:pt x="15789" y="78101"/>
                    <a:pt x="34199" y="95096"/>
                    <a:pt x="55442" y="950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1" name="Freeform: Shape 1910">
              <a:extLst>
                <a:ext uri="{FF2B5EF4-FFF2-40B4-BE49-F238E27FC236}">
                  <a16:creationId xmlns:a16="http://schemas.microsoft.com/office/drawing/2014/main" id="{BCF2F986-1ABB-48ED-837B-FFFCA70AFE16}"/>
                </a:ext>
              </a:extLst>
            </p:cNvPr>
            <p:cNvSpPr/>
            <p:nvPr/>
          </p:nvSpPr>
          <p:spPr>
            <a:xfrm>
              <a:off x="9246766" y="2877891"/>
              <a:ext cx="155781" cy="155781"/>
            </a:xfrm>
            <a:custGeom>
              <a:avLst/>
              <a:gdLst>
                <a:gd name="connsiteX0" fmla="*/ 80983 w 155781"/>
                <a:gd name="connsiteY0" fmla="*/ 15789 h 155780"/>
                <a:gd name="connsiteX1" fmla="*/ 146127 w 155781"/>
                <a:gd name="connsiteY1" fmla="*/ 80934 h 155780"/>
                <a:gd name="connsiteX2" fmla="*/ 80983 w 155781"/>
                <a:gd name="connsiteY2" fmla="*/ 146079 h 155780"/>
                <a:gd name="connsiteX3" fmla="*/ 15838 w 155781"/>
                <a:gd name="connsiteY3" fmla="*/ 80934 h 155780"/>
                <a:gd name="connsiteX4" fmla="*/ 80983 w 155781"/>
                <a:gd name="connsiteY4" fmla="*/ 15789 h 155780"/>
                <a:gd name="connsiteX5" fmla="*/ 80983 w 155781"/>
                <a:gd name="connsiteY5" fmla="*/ 15789 h 155780"/>
                <a:gd name="connsiteX6" fmla="*/ 80983 w 155781"/>
                <a:gd name="connsiteY6" fmla="*/ 44113 h 155780"/>
                <a:gd name="connsiteX7" fmla="*/ 44161 w 155781"/>
                <a:gd name="connsiteY7" fmla="*/ 80934 h 155780"/>
                <a:gd name="connsiteX8" fmla="*/ 80983 w 155781"/>
                <a:gd name="connsiteY8" fmla="*/ 117755 h 155780"/>
                <a:gd name="connsiteX9" fmla="*/ 117804 w 155781"/>
                <a:gd name="connsiteY9" fmla="*/ 80934 h 155780"/>
                <a:gd name="connsiteX10" fmla="*/ 80983 w 155781"/>
                <a:gd name="connsiteY10" fmla="*/ 44113 h 155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781" h="155780">
                  <a:moveTo>
                    <a:pt x="80983" y="15789"/>
                  </a:moveTo>
                  <a:cubicBezTo>
                    <a:pt x="117804" y="15789"/>
                    <a:pt x="146127" y="45529"/>
                    <a:pt x="146127" y="80934"/>
                  </a:cubicBezTo>
                  <a:cubicBezTo>
                    <a:pt x="146127" y="117755"/>
                    <a:pt x="116388" y="146079"/>
                    <a:pt x="80983" y="146079"/>
                  </a:cubicBezTo>
                  <a:cubicBezTo>
                    <a:pt x="44161" y="146079"/>
                    <a:pt x="15838" y="116339"/>
                    <a:pt x="15838" y="80934"/>
                  </a:cubicBezTo>
                  <a:cubicBezTo>
                    <a:pt x="14422" y="44113"/>
                    <a:pt x="44161" y="15789"/>
                    <a:pt x="80983" y="15789"/>
                  </a:cubicBezTo>
                  <a:lnTo>
                    <a:pt x="80983" y="15789"/>
                  </a:lnTo>
                  <a:close/>
                  <a:moveTo>
                    <a:pt x="80983" y="44113"/>
                  </a:moveTo>
                  <a:cubicBezTo>
                    <a:pt x="61156" y="44113"/>
                    <a:pt x="44161" y="61107"/>
                    <a:pt x="44161" y="80934"/>
                  </a:cubicBezTo>
                  <a:cubicBezTo>
                    <a:pt x="44161" y="100760"/>
                    <a:pt x="61156" y="117755"/>
                    <a:pt x="80983" y="117755"/>
                  </a:cubicBezTo>
                  <a:cubicBezTo>
                    <a:pt x="100809" y="117755"/>
                    <a:pt x="117804" y="100760"/>
                    <a:pt x="117804" y="80934"/>
                  </a:cubicBezTo>
                  <a:cubicBezTo>
                    <a:pt x="117804" y="59691"/>
                    <a:pt x="100809" y="44113"/>
                    <a:pt x="80983"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2" name="Freeform: Shape 1911">
              <a:extLst>
                <a:ext uri="{FF2B5EF4-FFF2-40B4-BE49-F238E27FC236}">
                  <a16:creationId xmlns:a16="http://schemas.microsoft.com/office/drawing/2014/main" id="{A459F02F-2B19-4B1A-8F3F-E97E2866297D}"/>
                </a:ext>
              </a:extLst>
            </p:cNvPr>
            <p:cNvSpPr/>
            <p:nvPr/>
          </p:nvSpPr>
          <p:spPr>
            <a:xfrm>
              <a:off x="9198665" y="3295667"/>
              <a:ext cx="84971" cy="84971"/>
            </a:xfrm>
            <a:custGeom>
              <a:avLst/>
              <a:gdLst>
                <a:gd name="connsiteX0" fmla="*/ 48361 w 84971"/>
                <a:gd name="connsiteY0" fmla="*/ 15789 h 84971"/>
                <a:gd name="connsiteX1" fmla="*/ 80933 w 84971"/>
                <a:gd name="connsiteY1" fmla="*/ 48361 h 84971"/>
                <a:gd name="connsiteX2" fmla="*/ 48361 w 84971"/>
                <a:gd name="connsiteY2" fmla="*/ 80934 h 84971"/>
                <a:gd name="connsiteX3" fmla="*/ 15789 w 84971"/>
                <a:gd name="connsiteY3" fmla="*/ 48361 h 84971"/>
                <a:gd name="connsiteX4" fmla="*/ 48361 w 84971"/>
                <a:gd name="connsiteY4" fmla="*/ 15789 h 84971"/>
                <a:gd name="connsiteX5" fmla="*/ 48361 w 84971"/>
                <a:gd name="connsiteY5" fmla="*/ 15789 h 84971"/>
                <a:gd name="connsiteX6" fmla="*/ 48361 w 84971"/>
                <a:gd name="connsiteY6" fmla="*/ 21454 h 84971"/>
                <a:gd name="connsiteX7" fmla="*/ 21453 w 84971"/>
                <a:gd name="connsiteY7" fmla="*/ 48361 h 84971"/>
                <a:gd name="connsiteX8" fmla="*/ 48361 w 84971"/>
                <a:gd name="connsiteY8" fmla="*/ 75269 h 84971"/>
                <a:gd name="connsiteX9" fmla="*/ 75269 w 84971"/>
                <a:gd name="connsiteY9" fmla="*/ 48361 h 84971"/>
                <a:gd name="connsiteX10" fmla="*/ 48361 w 84971"/>
                <a:gd name="connsiteY10" fmla="*/ 21454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8361" y="15789"/>
                  </a:moveTo>
                  <a:cubicBezTo>
                    <a:pt x="66772" y="15789"/>
                    <a:pt x="80933" y="29951"/>
                    <a:pt x="80933" y="48361"/>
                  </a:cubicBezTo>
                  <a:cubicBezTo>
                    <a:pt x="80933" y="66772"/>
                    <a:pt x="66772" y="80934"/>
                    <a:pt x="48361" y="80934"/>
                  </a:cubicBezTo>
                  <a:cubicBezTo>
                    <a:pt x="29951" y="80934"/>
                    <a:pt x="15789" y="66772"/>
                    <a:pt x="15789" y="48361"/>
                  </a:cubicBezTo>
                  <a:cubicBezTo>
                    <a:pt x="15789" y="29951"/>
                    <a:pt x="29951" y="15789"/>
                    <a:pt x="48361" y="15789"/>
                  </a:cubicBezTo>
                  <a:lnTo>
                    <a:pt x="48361" y="15789"/>
                  </a:lnTo>
                  <a:close/>
                  <a:moveTo>
                    <a:pt x="48361" y="21454"/>
                  </a:moveTo>
                  <a:cubicBezTo>
                    <a:pt x="34199" y="21454"/>
                    <a:pt x="21453" y="32783"/>
                    <a:pt x="21453" y="48361"/>
                  </a:cubicBezTo>
                  <a:cubicBezTo>
                    <a:pt x="21453" y="62523"/>
                    <a:pt x="32783" y="75269"/>
                    <a:pt x="48361" y="75269"/>
                  </a:cubicBezTo>
                  <a:cubicBezTo>
                    <a:pt x="62523" y="75269"/>
                    <a:pt x="75269" y="63940"/>
                    <a:pt x="75269" y="48361"/>
                  </a:cubicBezTo>
                  <a:cubicBezTo>
                    <a:pt x="75269" y="34200"/>
                    <a:pt x="62523" y="21454"/>
                    <a:pt x="48361" y="2145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3" name="Freeform: Shape 1912">
              <a:extLst>
                <a:ext uri="{FF2B5EF4-FFF2-40B4-BE49-F238E27FC236}">
                  <a16:creationId xmlns:a16="http://schemas.microsoft.com/office/drawing/2014/main" id="{4EC26B0D-2043-4DE4-A7B2-5D772F31974E}"/>
                </a:ext>
              </a:extLst>
            </p:cNvPr>
            <p:cNvSpPr/>
            <p:nvPr/>
          </p:nvSpPr>
          <p:spPr>
            <a:xfrm>
              <a:off x="8208746" y="1478694"/>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3" y="15789"/>
                    <a:pt x="15789" y="25702"/>
                    <a:pt x="15789" y="37032"/>
                  </a:cubicBezTo>
                  <a:cubicBezTo>
                    <a:pt x="15789" y="48361"/>
                    <a:pt x="25703"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4" name="Freeform: Shape 1913">
              <a:extLst>
                <a:ext uri="{FF2B5EF4-FFF2-40B4-BE49-F238E27FC236}">
                  <a16:creationId xmlns:a16="http://schemas.microsoft.com/office/drawing/2014/main" id="{F003D497-1C09-41EB-9EFB-263406E121B4}"/>
                </a:ext>
              </a:extLst>
            </p:cNvPr>
            <p:cNvSpPr/>
            <p:nvPr/>
          </p:nvSpPr>
          <p:spPr>
            <a:xfrm>
              <a:off x="8586870" y="1063750"/>
              <a:ext cx="127457" cy="127457"/>
            </a:xfrm>
            <a:custGeom>
              <a:avLst/>
              <a:gdLst>
                <a:gd name="connsiteX0" fmla="*/ 63940 w 127457"/>
                <a:gd name="connsiteY0" fmla="*/ 112090 h 127457"/>
                <a:gd name="connsiteX1" fmla="*/ 112090 w 127457"/>
                <a:gd name="connsiteY1" fmla="*/ 63940 h 127457"/>
                <a:gd name="connsiteX2" fmla="*/ 63940 w 127457"/>
                <a:gd name="connsiteY2" fmla="*/ 15789 h 127457"/>
                <a:gd name="connsiteX3" fmla="*/ 15789 w 127457"/>
                <a:gd name="connsiteY3" fmla="*/ 63940 h 127457"/>
                <a:gd name="connsiteX4" fmla="*/ 63940 w 127457"/>
                <a:gd name="connsiteY4" fmla="*/ 112090 h 127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57" h="127457">
                  <a:moveTo>
                    <a:pt x="63940" y="112090"/>
                  </a:moveTo>
                  <a:cubicBezTo>
                    <a:pt x="90847" y="112090"/>
                    <a:pt x="112090" y="90847"/>
                    <a:pt x="112090" y="63940"/>
                  </a:cubicBezTo>
                  <a:cubicBezTo>
                    <a:pt x="112090" y="37032"/>
                    <a:pt x="90847" y="15789"/>
                    <a:pt x="63940" y="15789"/>
                  </a:cubicBezTo>
                  <a:cubicBezTo>
                    <a:pt x="38448" y="15789"/>
                    <a:pt x="15789" y="37032"/>
                    <a:pt x="15789" y="63940"/>
                  </a:cubicBezTo>
                  <a:cubicBezTo>
                    <a:pt x="17205" y="90847"/>
                    <a:pt x="38448" y="112090"/>
                    <a:pt x="63940" y="11209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5" name="Freeform: Shape 1914">
              <a:extLst>
                <a:ext uri="{FF2B5EF4-FFF2-40B4-BE49-F238E27FC236}">
                  <a16:creationId xmlns:a16="http://schemas.microsoft.com/office/drawing/2014/main" id="{16FE7A7A-691F-4034-B37C-F354AB1F451F}"/>
                </a:ext>
              </a:extLst>
            </p:cNvPr>
            <p:cNvSpPr/>
            <p:nvPr/>
          </p:nvSpPr>
          <p:spPr>
            <a:xfrm>
              <a:off x="8656263" y="1770430"/>
              <a:ext cx="56648" cy="56648"/>
            </a:xfrm>
            <a:custGeom>
              <a:avLst/>
              <a:gdLst>
                <a:gd name="connsiteX0" fmla="*/ 32783 w 56647"/>
                <a:gd name="connsiteY0" fmla="*/ 49778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7" y="42697"/>
                    <a:pt x="49777" y="32783"/>
                  </a:cubicBezTo>
                  <a:cubicBezTo>
                    <a:pt x="49777" y="22870"/>
                    <a:pt x="42696"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6" name="Freeform: Shape 1915">
              <a:extLst>
                <a:ext uri="{FF2B5EF4-FFF2-40B4-BE49-F238E27FC236}">
                  <a16:creationId xmlns:a16="http://schemas.microsoft.com/office/drawing/2014/main" id="{8374A856-9A27-4BBD-824F-5C2C93E11D02}"/>
                </a:ext>
              </a:extLst>
            </p:cNvPr>
            <p:cNvSpPr/>
            <p:nvPr/>
          </p:nvSpPr>
          <p:spPr>
            <a:xfrm>
              <a:off x="9337451" y="2021095"/>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8101"/>
                    <a:pt x="95095" y="55442"/>
                  </a:cubicBezTo>
                  <a:cubicBezTo>
                    <a:pt x="95095" y="34200"/>
                    <a:pt x="78102" y="15789"/>
                    <a:pt x="55442" y="15789"/>
                  </a:cubicBezTo>
                  <a:cubicBezTo>
                    <a:pt x="34199" y="15789"/>
                    <a:pt x="15789" y="32783"/>
                    <a:pt x="15789" y="55442"/>
                  </a:cubicBezTo>
                  <a:cubicBezTo>
                    <a:pt x="15789" y="78101"/>
                    <a:pt x="32783" y="95096"/>
                    <a:pt x="55442" y="950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7" name="Freeform: Shape 1916">
              <a:extLst>
                <a:ext uri="{FF2B5EF4-FFF2-40B4-BE49-F238E27FC236}">
                  <a16:creationId xmlns:a16="http://schemas.microsoft.com/office/drawing/2014/main" id="{01920F85-542F-480E-A281-1A731D734FA2}"/>
                </a:ext>
              </a:extLst>
            </p:cNvPr>
            <p:cNvSpPr/>
            <p:nvPr/>
          </p:nvSpPr>
          <p:spPr>
            <a:xfrm>
              <a:off x="7412780" y="2690954"/>
              <a:ext cx="113295" cy="113295"/>
            </a:xfrm>
            <a:custGeom>
              <a:avLst/>
              <a:gdLst>
                <a:gd name="connsiteX0" fmla="*/ 61174 w 113295"/>
                <a:gd name="connsiteY0" fmla="*/ 15789 h 113295"/>
                <a:gd name="connsiteX1" fmla="*/ 106492 w 113295"/>
                <a:gd name="connsiteY1" fmla="*/ 61107 h 113295"/>
                <a:gd name="connsiteX2" fmla="*/ 61174 w 113295"/>
                <a:gd name="connsiteY2" fmla="*/ 106425 h 113295"/>
                <a:gd name="connsiteX3" fmla="*/ 15856 w 113295"/>
                <a:gd name="connsiteY3" fmla="*/ 61107 h 113295"/>
                <a:gd name="connsiteX4" fmla="*/ 61174 w 113295"/>
                <a:gd name="connsiteY4" fmla="*/ 15789 h 113295"/>
                <a:gd name="connsiteX5" fmla="*/ 61174 w 113295"/>
                <a:gd name="connsiteY5" fmla="*/ 15789 h 113295"/>
                <a:gd name="connsiteX6" fmla="*/ 61174 w 113295"/>
                <a:gd name="connsiteY6" fmla="*/ 35616 h 113295"/>
                <a:gd name="connsiteX7" fmla="*/ 35683 w 113295"/>
                <a:gd name="connsiteY7" fmla="*/ 61107 h 113295"/>
                <a:gd name="connsiteX8" fmla="*/ 61174 w 113295"/>
                <a:gd name="connsiteY8" fmla="*/ 86599 h 113295"/>
                <a:gd name="connsiteX9" fmla="*/ 86666 w 113295"/>
                <a:gd name="connsiteY9" fmla="*/ 61107 h 113295"/>
                <a:gd name="connsiteX10" fmla="*/ 61174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74" y="15789"/>
                  </a:moveTo>
                  <a:cubicBezTo>
                    <a:pt x="86666" y="15789"/>
                    <a:pt x="106492" y="35616"/>
                    <a:pt x="106492" y="61107"/>
                  </a:cubicBezTo>
                  <a:cubicBezTo>
                    <a:pt x="106492" y="86599"/>
                    <a:pt x="86666" y="106425"/>
                    <a:pt x="61174" y="106425"/>
                  </a:cubicBezTo>
                  <a:cubicBezTo>
                    <a:pt x="35683" y="106425"/>
                    <a:pt x="15856" y="86599"/>
                    <a:pt x="15856" y="61107"/>
                  </a:cubicBezTo>
                  <a:cubicBezTo>
                    <a:pt x="14440" y="37032"/>
                    <a:pt x="35683" y="15789"/>
                    <a:pt x="61174" y="15789"/>
                  </a:cubicBezTo>
                  <a:lnTo>
                    <a:pt x="61174" y="15789"/>
                  </a:lnTo>
                  <a:close/>
                  <a:moveTo>
                    <a:pt x="61174" y="35616"/>
                  </a:moveTo>
                  <a:cubicBezTo>
                    <a:pt x="47012" y="35616"/>
                    <a:pt x="35683" y="46945"/>
                    <a:pt x="35683" y="61107"/>
                  </a:cubicBezTo>
                  <a:cubicBezTo>
                    <a:pt x="35683" y="75269"/>
                    <a:pt x="47012" y="86599"/>
                    <a:pt x="61174" y="86599"/>
                  </a:cubicBezTo>
                  <a:cubicBezTo>
                    <a:pt x="75336" y="86599"/>
                    <a:pt x="86666" y="75269"/>
                    <a:pt x="86666" y="61107"/>
                  </a:cubicBezTo>
                  <a:cubicBezTo>
                    <a:pt x="86666" y="48361"/>
                    <a:pt x="75336" y="35616"/>
                    <a:pt x="61174"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8" name="Freeform: Shape 1917">
              <a:extLst>
                <a:ext uri="{FF2B5EF4-FFF2-40B4-BE49-F238E27FC236}">
                  <a16:creationId xmlns:a16="http://schemas.microsoft.com/office/drawing/2014/main" id="{B1671571-55DA-4641-91CB-1B0B07979E4D}"/>
                </a:ext>
              </a:extLst>
            </p:cNvPr>
            <p:cNvSpPr/>
            <p:nvPr/>
          </p:nvSpPr>
          <p:spPr>
            <a:xfrm>
              <a:off x="8669009" y="2676792"/>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9" name="Freeform: Shape 1918">
              <a:extLst>
                <a:ext uri="{FF2B5EF4-FFF2-40B4-BE49-F238E27FC236}">
                  <a16:creationId xmlns:a16="http://schemas.microsoft.com/office/drawing/2014/main" id="{AF9527D5-0D4C-45ED-A6A3-9E12E9F42713}"/>
                </a:ext>
              </a:extLst>
            </p:cNvPr>
            <p:cNvSpPr/>
            <p:nvPr/>
          </p:nvSpPr>
          <p:spPr>
            <a:xfrm>
              <a:off x="6891688" y="2081992"/>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0" name="Freeform: Shape 1919">
              <a:extLst>
                <a:ext uri="{FF2B5EF4-FFF2-40B4-BE49-F238E27FC236}">
                  <a16:creationId xmlns:a16="http://schemas.microsoft.com/office/drawing/2014/main" id="{ED9CCB4E-5F9F-44AB-9908-71D5F12E7D5B}"/>
                </a:ext>
              </a:extLst>
            </p:cNvPr>
            <p:cNvSpPr/>
            <p:nvPr/>
          </p:nvSpPr>
          <p:spPr>
            <a:xfrm>
              <a:off x="7584206" y="1427712"/>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1" name="Freeform: Shape 1920">
              <a:extLst>
                <a:ext uri="{FF2B5EF4-FFF2-40B4-BE49-F238E27FC236}">
                  <a16:creationId xmlns:a16="http://schemas.microsoft.com/office/drawing/2014/main" id="{0BFCD75B-DEDD-4BC2-BDD6-9EF4BBEA355C}"/>
                </a:ext>
              </a:extLst>
            </p:cNvPr>
            <p:cNvSpPr/>
            <p:nvPr/>
          </p:nvSpPr>
          <p:spPr>
            <a:xfrm>
              <a:off x="6989406" y="1474446"/>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2" name="Freeform: Shape 1921">
              <a:extLst>
                <a:ext uri="{FF2B5EF4-FFF2-40B4-BE49-F238E27FC236}">
                  <a16:creationId xmlns:a16="http://schemas.microsoft.com/office/drawing/2014/main" id="{A4D7A8E8-E440-4E32-B95C-AB60CAF4BE09}"/>
                </a:ext>
              </a:extLst>
            </p:cNvPr>
            <p:cNvSpPr/>
            <p:nvPr/>
          </p:nvSpPr>
          <p:spPr>
            <a:xfrm>
              <a:off x="7823543" y="1094907"/>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2870"/>
                    <a:pt x="37032" y="15789"/>
                    <a:pt x="29951" y="15789"/>
                  </a:cubicBezTo>
                  <a:cubicBezTo>
                    <a:pt x="21454" y="15789"/>
                    <a:pt x="15789" y="22870"/>
                    <a:pt x="15789" y="29951"/>
                  </a:cubicBezTo>
                  <a:cubicBezTo>
                    <a:pt x="15789" y="37032"/>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3" name="Freeform: Shape 1922">
              <a:extLst>
                <a:ext uri="{FF2B5EF4-FFF2-40B4-BE49-F238E27FC236}">
                  <a16:creationId xmlns:a16="http://schemas.microsoft.com/office/drawing/2014/main" id="{96D71E79-5094-4BEA-A69E-216276AA781D}"/>
                </a:ext>
              </a:extLst>
            </p:cNvPr>
            <p:cNvSpPr/>
            <p:nvPr/>
          </p:nvSpPr>
          <p:spPr>
            <a:xfrm>
              <a:off x="7299552" y="1024097"/>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4" name="Freeform: Shape 1923">
              <a:extLst>
                <a:ext uri="{FF2B5EF4-FFF2-40B4-BE49-F238E27FC236}">
                  <a16:creationId xmlns:a16="http://schemas.microsoft.com/office/drawing/2014/main" id="{B3A43A87-65E7-471D-BA8A-3A60F944C5D3}"/>
                </a:ext>
              </a:extLst>
            </p:cNvPr>
            <p:cNvSpPr/>
            <p:nvPr/>
          </p:nvSpPr>
          <p:spPr>
            <a:xfrm>
              <a:off x="7206083" y="535511"/>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5" name="Freeform: Shape 1924">
              <a:extLst>
                <a:ext uri="{FF2B5EF4-FFF2-40B4-BE49-F238E27FC236}">
                  <a16:creationId xmlns:a16="http://schemas.microsoft.com/office/drawing/2014/main" id="{3E536063-DB05-41A6-8FF5-3889A76A760A}"/>
                </a:ext>
              </a:extLst>
            </p:cNvPr>
            <p:cNvSpPr/>
            <p:nvPr/>
          </p:nvSpPr>
          <p:spPr>
            <a:xfrm>
              <a:off x="8633604" y="531263"/>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6" name="Freeform: Shape 1925">
              <a:extLst>
                <a:ext uri="{FF2B5EF4-FFF2-40B4-BE49-F238E27FC236}">
                  <a16:creationId xmlns:a16="http://schemas.microsoft.com/office/drawing/2014/main" id="{59621436-C75E-411C-A81A-EC87F43FFF3C}"/>
                </a:ext>
              </a:extLst>
            </p:cNvPr>
            <p:cNvSpPr/>
            <p:nvPr/>
          </p:nvSpPr>
          <p:spPr>
            <a:xfrm>
              <a:off x="9025889" y="88106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7" name="Freeform: Shape 1926">
              <a:extLst>
                <a:ext uri="{FF2B5EF4-FFF2-40B4-BE49-F238E27FC236}">
                  <a16:creationId xmlns:a16="http://schemas.microsoft.com/office/drawing/2014/main" id="{3091E6A7-C165-4B18-ABB7-D02394513B83}"/>
                </a:ext>
              </a:extLst>
            </p:cNvPr>
            <p:cNvSpPr/>
            <p:nvPr/>
          </p:nvSpPr>
          <p:spPr>
            <a:xfrm>
              <a:off x="8728489" y="664385"/>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8" name="Freeform: Shape 1927">
              <a:extLst>
                <a:ext uri="{FF2B5EF4-FFF2-40B4-BE49-F238E27FC236}">
                  <a16:creationId xmlns:a16="http://schemas.microsoft.com/office/drawing/2014/main" id="{F0EC486B-437B-476D-A294-CF89C7B56BE9}"/>
                </a:ext>
              </a:extLst>
            </p:cNvPr>
            <p:cNvSpPr/>
            <p:nvPr/>
          </p:nvSpPr>
          <p:spPr>
            <a:xfrm>
              <a:off x="8898432" y="62189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9" name="Freeform: Shape 1928">
              <a:extLst>
                <a:ext uri="{FF2B5EF4-FFF2-40B4-BE49-F238E27FC236}">
                  <a16:creationId xmlns:a16="http://schemas.microsoft.com/office/drawing/2014/main" id="{EDF4136F-94D3-43C3-BF0A-B578573CFB89}"/>
                </a:ext>
              </a:extLst>
            </p:cNvPr>
            <p:cNvSpPr/>
            <p:nvPr/>
          </p:nvSpPr>
          <p:spPr>
            <a:xfrm>
              <a:off x="7504900" y="95753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2870"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0" name="Freeform: Shape 1929">
              <a:extLst>
                <a:ext uri="{FF2B5EF4-FFF2-40B4-BE49-F238E27FC236}">
                  <a16:creationId xmlns:a16="http://schemas.microsoft.com/office/drawing/2014/main" id="{D6A31817-D2D6-4C55-BC6D-7CE3D933AFCB}"/>
                </a:ext>
              </a:extLst>
            </p:cNvPr>
            <p:cNvSpPr/>
            <p:nvPr/>
          </p:nvSpPr>
          <p:spPr>
            <a:xfrm>
              <a:off x="7666345" y="825830"/>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1" name="Freeform: Shape 1930">
              <a:extLst>
                <a:ext uri="{FF2B5EF4-FFF2-40B4-BE49-F238E27FC236}">
                  <a16:creationId xmlns:a16="http://schemas.microsoft.com/office/drawing/2014/main" id="{DF91870C-984B-44EC-A9CC-6559B056F1D6}"/>
                </a:ext>
              </a:extLst>
            </p:cNvPr>
            <p:cNvSpPr/>
            <p:nvPr/>
          </p:nvSpPr>
          <p:spPr>
            <a:xfrm>
              <a:off x="7608281" y="528430"/>
              <a:ext cx="56648" cy="56648"/>
            </a:xfrm>
            <a:custGeom>
              <a:avLst/>
              <a:gdLst>
                <a:gd name="connsiteX0" fmla="*/ 28535 w 56647"/>
                <a:gd name="connsiteY0" fmla="*/ 41280 h 56647"/>
                <a:gd name="connsiteX1" fmla="*/ 41281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1" y="35616"/>
                    <a:pt x="41281" y="28535"/>
                  </a:cubicBezTo>
                  <a:cubicBezTo>
                    <a:pt x="41281"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2" name="Freeform: Shape 1931">
              <a:extLst>
                <a:ext uri="{FF2B5EF4-FFF2-40B4-BE49-F238E27FC236}">
                  <a16:creationId xmlns:a16="http://schemas.microsoft.com/office/drawing/2014/main" id="{BE75ADFF-24BE-4163-8FFC-11A808BF6207}"/>
                </a:ext>
              </a:extLst>
            </p:cNvPr>
            <p:cNvSpPr/>
            <p:nvPr/>
          </p:nvSpPr>
          <p:spPr>
            <a:xfrm>
              <a:off x="7500531" y="570916"/>
              <a:ext cx="70810" cy="70810"/>
            </a:xfrm>
            <a:custGeom>
              <a:avLst/>
              <a:gdLst>
                <a:gd name="connsiteX0" fmla="*/ 39984 w 70809"/>
                <a:gd name="connsiteY0" fmla="*/ 63940 h 70809"/>
                <a:gd name="connsiteX1" fmla="*/ 64060 w 70809"/>
                <a:gd name="connsiteY1" fmla="*/ 39864 h 70809"/>
                <a:gd name="connsiteX2" fmla="*/ 39984 w 70809"/>
                <a:gd name="connsiteY2" fmla="*/ 15789 h 70809"/>
                <a:gd name="connsiteX3" fmla="*/ 15909 w 70809"/>
                <a:gd name="connsiteY3" fmla="*/ 39864 h 70809"/>
                <a:gd name="connsiteX4" fmla="*/ 3998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984" y="63940"/>
                  </a:moveTo>
                  <a:cubicBezTo>
                    <a:pt x="54146" y="63940"/>
                    <a:pt x="64060" y="52610"/>
                    <a:pt x="64060" y="39864"/>
                  </a:cubicBezTo>
                  <a:cubicBezTo>
                    <a:pt x="64060" y="25702"/>
                    <a:pt x="52730" y="15789"/>
                    <a:pt x="39984" y="15789"/>
                  </a:cubicBezTo>
                  <a:cubicBezTo>
                    <a:pt x="25822" y="15789"/>
                    <a:pt x="15909" y="27119"/>
                    <a:pt x="15909" y="39864"/>
                  </a:cubicBezTo>
                  <a:cubicBezTo>
                    <a:pt x="14493" y="52610"/>
                    <a:pt x="25822" y="63940"/>
                    <a:pt x="3998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3" name="Freeform: Shape 1932">
              <a:extLst>
                <a:ext uri="{FF2B5EF4-FFF2-40B4-BE49-F238E27FC236}">
                  <a16:creationId xmlns:a16="http://schemas.microsoft.com/office/drawing/2014/main" id="{200D9292-CC7F-4534-8DB4-21F0AEDB99A0}"/>
                </a:ext>
              </a:extLst>
            </p:cNvPr>
            <p:cNvSpPr/>
            <p:nvPr/>
          </p:nvSpPr>
          <p:spPr>
            <a:xfrm>
              <a:off x="7755565" y="170103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1" y="49778"/>
                    <a:pt x="49778" y="42697"/>
                    <a:pt x="49778" y="32783"/>
                  </a:cubicBezTo>
                  <a:cubicBezTo>
                    <a:pt x="49778" y="22870"/>
                    <a:pt x="42697"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4" name="Freeform: Shape 1933">
              <a:extLst>
                <a:ext uri="{FF2B5EF4-FFF2-40B4-BE49-F238E27FC236}">
                  <a16:creationId xmlns:a16="http://schemas.microsoft.com/office/drawing/2014/main" id="{50A4F30A-50A1-43F8-A0A5-983B4954C55B}"/>
                </a:ext>
              </a:extLst>
            </p:cNvPr>
            <p:cNvSpPr/>
            <p:nvPr/>
          </p:nvSpPr>
          <p:spPr>
            <a:xfrm>
              <a:off x="8125192" y="2079159"/>
              <a:ext cx="56648" cy="56648"/>
            </a:xfrm>
            <a:custGeom>
              <a:avLst/>
              <a:gdLst>
                <a:gd name="connsiteX0" fmla="*/ 32783 w 56647"/>
                <a:gd name="connsiteY0" fmla="*/ 49777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0" y="49777"/>
                    <a:pt x="49777" y="42697"/>
                    <a:pt x="49777" y="32783"/>
                  </a:cubicBezTo>
                  <a:cubicBezTo>
                    <a:pt x="49777" y="24286"/>
                    <a:pt x="42696" y="15789"/>
                    <a:pt x="32783" y="15789"/>
                  </a:cubicBezTo>
                  <a:cubicBezTo>
                    <a:pt x="24286" y="15789"/>
                    <a:pt x="15789" y="22870"/>
                    <a:pt x="15789" y="32783"/>
                  </a:cubicBezTo>
                  <a:cubicBezTo>
                    <a:pt x="17205" y="42697"/>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5" name="Freeform: Shape 1934">
              <a:extLst>
                <a:ext uri="{FF2B5EF4-FFF2-40B4-BE49-F238E27FC236}">
                  <a16:creationId xmlns:a16="http://schemas.microsoft.com/office/drawing/2014/main" id="{548FC492-AD5D-46D2-A2D4-7BF2CE358652}"/>
                </a:ext>
              </a:extLst>
            </p:cNvPr>
            <p:cNvSpPr/>
            <p:nvPr/>
          </p:nvSpPr>
          <p:spPr>
            <a:xfrm>
              <a:off x="8516060" y="2006933"/>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6" name="Freeform: Shape 1935">
              <a:extLst>
                <a:ext uri="{FF2B5EF4-FFF2-40B4-BE49-F238E27FC236}">
                  <a16:creationId xmlns:a16="http://schemas.microsoft.com/office/drawing/2014/main" id="{38E91489-7D7B-4060-80A9-EA56A0C3EAFA}"/>
                </a:ext>
              </a:extLst>
            </p:cNvPr>
            <p:cNvSpPr/>
            <p:nvPr/>
          </p:nvSpPr>
          <p:spPr>
            <a:xfrm>
              <a:off x="8555713" y="1423463"/>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8"/>
                    <a:pt x="28535" y="15789"/>
                    <a:pt x="24287" y="15789"/>
                  </a:cubicBezTo>
                  <a:cubicBezTo>
                    <a:pt x="20037" y="15789"/>
                    <a:pt x="15789" y="20038"/>
                    <a:pt x="15789" y="24286"/>
                  </a:cubicBezTo>
                  <a:cubicBezTo>
                    <a:pt x="15789" y="28535"/>
                    <a:pt x="20037" y="32783"/>
                    <a:pt x="24287"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7" name="Freeform: Shape 1936">
              <a:extLst>
                <a:ext uri="{FF2B5EF4-FFF2-40B4-BE49-F238E27FC236}">
                  <a16:creationId xmlns:a16="http://schemas.microsoft.com/office/drawing/2014/main" id="{2411C13F-B233-4D39-9378-D8D5E94CA9D3}"/>
                </a:ext>
              </a:extLst>
            </p:cNvPr>
            <p:cNvSpPr/>
            <p:nvPr/>
          </p:nvSpPr>
          <p:spPr>
            <a:xfrm>
              <a:off x="9497481" y="1807251"/>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7" y="15789"/>
                    <a:pt x="15789" y="22870"/>
                    <a:pt x="15789" y="32783"/>
                  </a:cubicBezTo>
                  <a:cubicBezTo>
                    <a:pt x="15789" y="42697"/>
                    <a:pt x="24287"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8" name="Freeform: Shape 1937">
              <a:extLst>
                <a:ext uri="{FF2B5EF4-FFF2-40B4-BE49-F238E27FC236}">
                  <a16:creationId xmlns:a16="http://schemas.microsoft.com/office/drawing/2014/main" id="{283F8327-C4A1-42EC-BA3F-E09669A6D316}"/>
                </a:ext>
              </a:extLst>
            </p:cNvPr>
            <p:cNvSpPr/>
            <p:nvPr/>
          </p:nvSpPr>
          <p:spPr>
            <a:xfrm>
              <a:off x="9389850" y="2288756"/>
              <a:ext cx="70810" cy="70810"/>
            </a:xfrm>
            <a:custGeom>
              <a:avLst/>
              <a:gdLst>
                <a:gd name="connsiteX0" fmla="*/ 35615 w 70809"/>
                <a:gd name="connsiteY0" fmla="*/ 55442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2"/>
                  </a:moveTo>
                  <a:cubicBezTo>
                    <a:pt x="46945" y="55442"/>
                    <a:pt x="55442" y="46945"/>
                    <a:pt x="55442" y="35616"/>
                  </a:cubicBezTo>
                  <a:cubicBezTo>
                    <a:pt x="55442" y="24286"/>
                    <a:pt x="46945" y="15789"/>
                    <a:pt x="35615" y="15789"/>
                  </a:cubicBezTo>
                  <a:cubicBezTo>
                    <a:pt x="25703" y="15789"/>
                    <a:pt x="15789" y="24286"/>
                    <a:pt x="15789" y="35616"/>
                  </a:cubicBezTo>
                  <a:cubicBezTo>
                    <a:pt x="17205" y="46945"/>
                    <a:pt x="25703" y="55442"/>
                    <a:pt x="35615"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9" name="Freeform: Shape 1938">
              <a:extLst>
                <a:ext uri="{FF2B5EF4-FFF2-40B4-BE49-F238E27FC236}">
                  <a16:creationId xmlns:a16="http://schemas.microsoft.com/office/drawing/2014/main" id="{0B2B44A9-CDAA-48A1-B518-047876151808}"/>
                </a:ext>
              </a:extLst>
            </p:cNvPr>
            <p:cNvSpPr/>
            <p:nvPr/>
          </p:nvSpPr>
          <p:spPr>
            <a:xfrm>
              <a:off x="9538551" y="2598901"/>
              <a:ext cx="70810" cy="70810"/>
            </a:xfrm>
            <a:custGeom>
              <a:avLst/>
              <a:gdLst>
                <a:gd name="connsiteX0" fmla="*/ 35615 w 70809"/>
                <a:gd name="connsiteY0" fmla="*/ 55442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2"/>
                  </a:moveTo>
                  <a:cubicBezTo>
                    <a:pt x="45529" y="55442"/>
                    <a:pt x="55442" y="46945"/>
                    <a:pt x="55442" y="35616"/>
                  </a:cubicBezTo>
                  <a:cubicBezTo>
                    <a:pt x="55442" y="25702"/>
                    <a:pt x="46945" y="15789"/>
                    <a:pt x="35615" y="15789"/>
                  </a:cubicBezTo>
                  <a:cubicBezTo>
                    <a:pt x="25703" y="15789"/>
                    <a:pt x="15789" y="24286"/>
                    <a:pt x="15789" y="35616"/>
                  </a:cubicBezTo>
                  <a:cubicBezTo>
                    <a:pt x="17205" y="46945"/>
                    <a:pt x="25703" y="55442"/>
                    <a:pt x="35615"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0" name="Freeform: Shape 1939">
              <a:extLst>
                <a:ext uri="{FF2B5EF4-FFF2-40B4-BE49-F238E27FC236}">
                  <a16:creationId xmlns:a16="http://schemas.microsoft.com/office/drawing/2014/main" id="{D1E03F93-84FF-4135-BACB-8D60F3E51707}"/>
                </a:ext>
              </a:extLst>
            </p:cNvPr>
            <p:cNvSpPr/>
            <p:nvPr/>
          </p:nvSpPr>
          <p:spPr>
            <a:xfrm>
              <a:off x="8864443" y="2938787"/>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30" y="55442"/>
                    <a:pt x="55443" y="46945"/>
                    <a:pt x="55443" y="35616"/>
                  </a:cubicBezTo>
                  <a:cubicBezTo>
                    <a:pt x="55443" y="25702"/>
                    <a:pt x="46945" y="15789"/>
                    <a:pt x="35616" y="15789"/>
                  </a:cubicBezTo>
                  <a:cubicBezTo>
                    <a:pt x="24287" y="15789"/>
                    <a:pt x="15789" y="24286"/>
                    <a:pt x="15789" y="35616"/>
                  </a:cubicBezTo>
                  <a:cubicBezTo>
                    <a:pt x="15789" y="46945"/>
                    <a:pt x="24287"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1" name="Freeform: Shape 1940">
              <a:extLst>
                <a:ext uri="{FF2B5EF4-FFF2-40B4-BE49-F238E27FC236}">
                  <a16:creationId xmlns:a16="http://schemas.microsoft.com/office/drawing/2014/main" id="{246CDE0E-0D30-462E-BFDF-3569CD2C7EC3}"/>
                </a:ext>
              </a:extLst>
            </p:cNvPr>
            <p:cNvSpPr/>
            <p:nvPr/>
          </p:nvSpPr>
          <p:spPr>
            <a:xfrm>
              <a:off x="8159180" y="2887804"/>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5703" y="15789"/>
                    <a:pt x="15789" y="24286"/>
                    <a:pt x="15789" y="35616"/>
                  </a:cubicBezTo>
                  <a:cubicBezTo>
                    <a:pt x="15789" y="46945"/>
                    <a:pt x="24287"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2" name="Freeform: Shape 1941">
              <a:extLst>
                <a:ext uri="{FF2B5EF4-FFF2-40B4-BE49-F238E27FC236}">
                  <a16:creationId xmlns:a16="http://schemas.microsoft.com/office/drawing/2014/main" id="{E1D03C51-3012-4279-BBE8-430D54AEA515}"/>
                </a:ext>
              </a:extLst>
            </p:cNvPr>
            <p:cNvSpPr/>
            <p:nvPr/>
          </p:nvSpPr>
          <p:spPr>
            <a:xfrm>
              <a:off x="8443834" y="2379392"/>
              <a:ext cx="70810" cy="70810"/>
            </a:xfrm>
            <a:custGeom>
              <a:avLst/>
              <a:gdLst>
                <a:gd name="connsiteX0" fmla="*/ 55443 w 70809"/>
                <a:gd name="connsiteY0" fmla="*/ 35616 h 70809"/>
                <a:gd name="connsiteX1" fmla="*/ 35616 w 70809"/>
                <a:gd name="connsiteY1" fmla="*/ 55442 h 70809"/>
                <a:gd name="connsiteX2" fmla="*/ 15788 w 70809"/>
                <a:gd name="connsiteY2" fmla="*/ 35616 h 70809"/>
                <a:gd name="connsiteX3" fmla="*/ 35616 w 70809"/>
                <a:gd name="connsiteY3" fmla="*/ 15789 h 70809"/>
                <a:gd name="connsiteX4" fmla="*/ 55443 w 70809"/>
                <a:gd name="connsiteY4" fmla="*/ 35616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55443" y="35616"/>
                  </a:moveTo>
                  <a:cubicBezTo>
                    <a:pt x="55443" y="46565"/>
                    <a:pt x="46565" y="55442"/>
                    <a:pt x="35616" y="55442"/>
                  </a:cubicBezTo>
                  <a:cubicBezTo>
                    <a:pt x="24666" y="55442"/>
                    <a:pt x="15788" y="46565"/>
                    <a:pt x="15788" y="35616"/>
                  </a:cubicBezTo>
                  <a:cubicBezTo>
                    <a:pt x="15788" y="24666"/>
                    <a:pt x="24666" y="15789"/>
                    <a:pt x="35616" y="15789"/>
                  </a:cubicBezTo>
                  <a:cubicBezTo>
                    <a:pt x="46565" y="15789"/>
                    <a:pt x="55443" y="24666"/>
                    <a:pt x="5544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3" name="Freeform: Shape 1942">
              <a:extLst>
                <a:ext uri="{FF2B5EF4-FFF2-40B4-BE49-F238E27FC236}">
                  <a16:creationId xmlns:a16="http://schemas.microsoft.com/office/drawing/2014/main" id="{97815D7C-9492-4201-A101-A07E0DA68A45}"/>
                </a:ext>
              </a:extLst>
            </p:cNvPr>
            <p:cNvSpPr/>
            <p:nvPr/>
          </p:nvSpPr>
          <p:spPr>
            <a:xfrm>
              <a:off x="9215659" y="1770430"/>
              <a:ext cx="70810" cy="70810"/>
            </a:xfrm>
            <a:custGeom>
              <a:avLst/>
              <a:gdLst>
                <a:gd name="connsiteX0" fmla="*/ 35615 w 70809"/>
                <a:gd name="connsiteY0" fmla="*/ 55442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2"/>
                  </a:moveTo>
                  <a:cubicBezTo>
                    <a:pt x="45529" y="55442"/>
                    <a:pt x="55442" y="46945"/>
                    <a:pt x="55442" y="35616"/>
                  </a:cubicBezTo>
                  <a:cubicBezTo>
                    <a:pt x="55442" y="25702"/>
                    <a:pt x="46945" y="15789"/>
                    <a:pt x="35615" y="15789"/>
                  </a:cubicBezTo>
                  <a:cubicBezTo>
                    <a:pt x="25702" y="15789"/>
                    <a:pt x="15789" y="24286"/>
                    <a:pt x="15789" y="35616"/>
                  </a:cubicBezTo>
                  <a:cubicBezTo>
                    <a:pt x="17205" y="46945"/>
                    <a:pt x="25702" y="55442"/>
                    <a:pt x="35615"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4" name="Freeform: Shape 1943">
              <a:extLst>
                <a:ext uri="{FF2B5EF4-FFF2-40B4-BE49-F238E27FC236}">
                  <a16:creationId xmlns:a16="http://schemas.microsoft.com/office/drawing/2014/main" id="{55AAECE4-38A1-4321-98BF-95258D2F4832}"/>
                </a:ext>
              </a:extLst>
            </p:cNvPr>
            <p:cNvSpPr/>
            <p:nvPr/>
          </p:nvSpPr>
          <p:spPr>
            <a:xfrm>
              <a:off x="8609528" y="1380977"/>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5702"/>
                    <a:pt x="46945" y="15789"/>
                    <a:pt x="35616" y="15789"/>
                  </a:cubicBezTo>
                  <a:cubicBezTo>
                    <a:pt x="25703" y="15789"/>
                    <a:pt x="15789" y="24286"/>
                    <a:pt x="15789" y="35616"/>
                  </a:cubicBezTo>
                  <a:cubicBezTo>
                    <a:pt x="15789" y="45529"/>
                    <a:pt x="24287"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5" name="Freeform: Shape 1944">
              <a:extLst>
                <a:ext uri="{FF2B5EF4-FFF2-40B4-BE49-F238E27FC236}">
                  <a16:creationId xmlns:a16="http://schemas.microsoft.com/office/drawing/2014/main" id="{CE19C5D7-3F99-4B23-8524-CCC2BA7F3484}"/>
                </a:ext>
              </a:extLst>
            </p:cNvPr>
            <p:cNvSpPr/>
            <p:nvPr/>
          </p:nvSpPr>
          <p:spPr>
            <a:xfrm>
              <a:off x="6594288" y="1948870"/>
              <a:ext cx="212429" cy="212429"/>
            </a:xfrm>
            <a:custGeom>
              <a:avLst/>
              <a:gdLst>
                <a:gd name="connsiteX0" fmla="*/ 112090 w 212428"/>
                <a:gd name="connsiteY0" fmla="*/ 208391 h 212428"/>
                <a:gd name="connsiteX1" fmla="*/ 208391 w 212428"/>
                <a:gd name="connsiteY1" fmla="*/ 112090 h 212428"/>
                <a:gd name="connsiteX2" fmla="*/ 112090 w 212428"/>
                <a:gd name="connsiteY2" fmla="*/ 15789 h 212428"/>
                <a:gd name="connsiteX3" fmla="*/ 15789 w 212428"/>
                <a:gd name="connsiteY3" fmla="*/ 112090 h 212428"/>
                <a:gd name="connsiteX4" fmla="*/ 112090 w 212428"/>
                <a:gd name="connsiteY4" fmla="*/ 208391 h 212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428" h="212428">
                  <a:moveTo>
                    <a:pt x="112090" y="208391"/>
                  </a:moveTo>
                  <a:cubicBezTo>
                    <a:pt x="164489" y="208391"/>
                    <a:pt x="208391" y="164489"/>
                    <a:pt x="208391" y="112090"/>
                  </a:cubicBezTo>
                  <a:cubicBezTo>
                    <a:pt x="208391" y="58275"/>
                    <a:pt x="164489" y="15789"/>
                    <a:pt x="112090" y="15789"/>
                  </a:cubicBezTo>
                  <a:cubicBezTo>
                    <a:pt x="59691" y="15789"/>
                    <a:pt x="15789" y="59691"/>
                    <a:pt x="15789" y="112090"/>
                  </a:cubicBezTo>
                  <a:cubicBezTo>
                    <a:pt x="15789" y="164489"/>
                    <a:pt x="59691" y="208391"/>
                    <a:pt x="112090" y="20839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6" name="Freeform: Shape 1945">
              <a:extLst>
                <a:ext uri="{FF2B5EF4-FFF2-40B4-BE49-F238E27FC236}">
                  <a16:creationId xmlns:a16="http://schemas.microsoft.com/office/drawing/2014/main" id="{62A93F8D-52D7-45A7-9C22-A5BF68878019}"/>
                </a:ext>
              </a:extLst>
            </p:cNvPr>
            <p:cNvSpPr/>
            <p:nvPr/>
          </p:nvSpPr>
          <p:spPr>
            <a:xfrm>
              <a:off x="7361864" y="2161298"/>
              <a:ext cx="127457" cy="127457"/>
            </a:xfrm>
            <a:custGeom>
              <a:avLst/>
              <a:gdLst>
                <a:gd name="connsiteX0" fmla="*/ 63939 w 127457"/>
                <a:gd name="connsiteY0" fmla="*/ 112090 h 127457"/>
                <a:gd name="connsiteX1" fmla="*/ 112090 w 127457"/>
                <a:gd name="connsiteY1" fmla="*/ 63939 h 127457"/>
                <a:gd name="connsiteX2" fmla="*/ 63939 w 127457"/>
                <a:gd name="connsiteY2" fmla="*/ 15789 h 127457"/>
                <a:gd name="connsiteX3" fmla="*/ 15789 w 127457"/>
                <a:gd name="connsiteY3" fmla="*/ 63939 h 127457"/>
                <a:gd name="connsiteX4" fmla="*/ 63939 w 127457"/>
                <a:gd name="connsiteY4" fmla="*/ 112090 h 127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57" h="127457">
                  <a:moveTo>
                    <a:pt x="63939" y="112090"/>
                  </a:moveTo>
                  <a:cubicBezTo>
                    <a:pt x="90847" y="112090"/>
                    <a:pt x="112090" y="90847"/>
                    <a:pt x="112090" y="63939"/>
                  </a:cubicBezTo>
                  <a:cubicBezTo>
                    <a:pt x="112090" y="37032"/>
                    <a:pt x="90847" y="15789"/>
                    <a:pt x="63939" y="15789"/>
                  </a:cubicBezTo>
                  <a:cubicBezTo>
                    <a:pt x="37032" y="15789"/>
                    <a:pt x="15789" y="37032"/>
                    <a:pt x="15789" y="63939"/>
                  </a:cubicBezTo>
                  <a:cubicBezTo>
                    <a:pt x="15789" y="90847"/>
                    <a:pt x="38448" y="112090"/>
                    <a:pt x="63939" y="11209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7" name="Freeform: Shape 1946">
              <a:extLst>
                <a:ext uri="{FF2B5EF4-FFF2-40B4-BE49-F238E27FC236}">
                  <a16:creationId xmlns:a16="http://schemas.microsoft.com/office/drawing/2014/main" id="{2DFC79DA-270A-439F-BFCD-ADBF2F363192}"/>
                </a:ext>
              </a:extLst>
            </p:cNvPr>
            <p:cNvSpPr/>
            <p:nvPr/>
          </p:nvSpPr>
          <p:spPr>
            <a:xfrm>
              <a:off x="7231575" y="1492856"/>
              <a:ext cx="127457" cy="127457"/>
            </a:xfrm>
            <a:custGeom>
              <a:avLst/>
              <a:gdLst>
                <a:gd name="connsiteX0" fmla="*/ 112090 w 127457"/>
                <a:gd name="connsiteY0" fmla="*/ 63940 h 127457"/>
                <a:gd name="connsiteX1" fmla="*/ 63940 w 127457"/>
                <a:gd name="connsiteY1" fmla="*/ 112090 h 127457"/>
                <a:gd name="connsiteX2" fmla="*/ 15789 w 127457"/>
                <a:gd name="connsiteY2" fmla="*/ 63940 h 127457"/>
                <a:gd name="connsiteX3" fmla="*/ 63940 w 127457"/>
                <a:gd name="connsiteY3" fmla="*/ 15789 h 127457"/>
                <a:gd name="connsiteX4" fmla="*/ 112090 w 127457"/>
                <a:gd name="connsiteY4" fmla="*/ 63940 h 127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57" h="127457">
                  <a:moveTo>
                    <a:pt x="112090" y="63940"/>
                  </a:moveTo>
                  <a:cubicBezTo>
                    <a:pt x="112090" y="90532"/>
                    <a:pt x="90533" y="112090"/>
                    <a:pt x="63940" y="112090"/>
                  </a:cubicBezTo>
                  <a:cubicBezTo>
                    <a:pt x="37347" y="112090"/>
                    <a:pt x="15789" y="90532"/>
                    <a:pt x="15789" y="63940"/>
                  </a:cubicBezTo>
                  <a:cubicBezTo>
                    <a:pt x="15789" y="37347"/>
                    <a:pt x="37347" y="15789"/>
                    <a:pt x="63940" y="15789"/>
                  </a:cubicBezTo>
                  <a:cubicBezTo>
                    <a:pt x="90533" y="15789"/>
                    <a:pt x="112090" y="37347"/>
                    <a:pt x="112090"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8" name="Freeform: Shape 1947">
              <a:extLst>
                <a:ext uri="{FF2B5EF4-FFF2-40B4-BE49-F238E27FC236}">
                  <a16:creationId xmlns:a16="http://schemas.microsoft.com/office/drawing/2014/main" id="{6E6A14B9-4290-48D4-9C6E-BF275309AD22}"/>
                </a:ext>
              </a:extLst>
            </p:cNvPr>
            <p:cNvSpPr/>
            <p:nvPr/>
          </p:nvSpPr>
          <p:spPr>
            <a:xfrm>
              <a:off x="7026227" y="1991355"/>
              <a:ext cx="113295" cy="113295"/>
            </a:xfrm>
            <a:custGeom>
              <a:avLst/>
              <a:gdLst>
                <a:gd name="connsiteX0" fmla="*/ 61107 w 113295"/>
                <a:gd name="connsiteY0" fmla="*/ 15789 h 113295"/>
                <a:gd name="connsiteX1" fmla="*/ 106426 w 113295"/>
                <a:gd name="connsiteY1" fmla="*/ 61107 h 113295"/>
                <a:gd name="connsiteX2" fmla="*/ 61107 w 113295"/>
                <a:gd name="connsiteY2" fmla="*/ 106425 h 113295"/>
                <a:gd name="connsiteX3" fmla="*/ 15789 w 113295"/>
                <a:gd name="connsiteY3" fmla="*/ 61107 h 113295"/>
                <a:gd name="connsiteX4" fmla="*/ 61107 w 113295"/>
                <a:gd name="connsiteY4" fmla="*/ 15789 h 113295"/>
                <a:gd name="connsiteX5" fmla="*/ 61107 w 113295"/>
                <a:gd name="connsiteY5" fmla="*/ 15789 h 113295"/>
                <a:gd name="connsiteX6" fmla="*/ 61107 w 113295"/>
                <a:gd name="connsiteY6" fmla="*/ 37032 h 113295"/>
                <a:gd name="connsiteX7" fmla="*/ 35616 w 113295"/>
                <a:gd name="connsiteY7" fmla="*/ 62523 h 113295"/>
                <a:gd name="connsiteX8" fmla="*/ 61107 w 113295"/>
                <a:gd name="connsiteY8" fmla="*/ 88015 h 113295"/>
                <a:gd name="connsiteX9" fmla="*/ 86599 w 113295"/>
                <a:gd name="connsiteY9" fmla="*/ 62523 h 113295"/>
                <a:gd name="connsiteX10" fmla="*/ 61107 w 113295"/>
                <a:gd name="connsiteY10" fmla="*/ 37032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07" y="15789"/>
                  </a:moveTo>
                  <a:cubicBezTo>
                    <a:pt x="86599" y="15789"/>
                    <a:pt x="106426" y="35616"/>
                    <a:pt x="106426" y="61107"/>
                  </a:cubicBezTo>
                  <a:cubicBezTo>
                    <a:pt x="106426" y="86599"/>
                    <a:pt x="86599" y="106425"/>
                    <a:pt x="61107" y="106425"/>
                  </a:cubicBezTo>
                  <a:cubicBezTo>
                    <a:pt x="35616" y="106425"/>
                    <a:pt x="15789" y="86599"/>
                    <a:pt x="15789" y="61107"/>
                  </a:cubicBezTo>
                  <a:cubicBezTo>
                    <a:pt x="15789" y="37032"/>
                    <a:pt x="37032" y="15789"/>
                    <a:pt x="61107" y="15789"/>
                  </a:cubicBezTo>
                  <a:lnTo>
                    <a:pt x="61107" y="15789"/>
                  </a:lnTo>
                  <a:close/>
                  <a:moveTo>
                    <a:pt x="61107" y="37032"/>
                  </a:moveTo>
                  <a:cubicBezTo>
                    <a:pt x="46945" y="37032"/>
                    <a:pt x="35616" y="48361"/>
                    <a:pt x="35616" y="62523"/>
                  </a:cubicBezTo>
                  <a:cubicBezTo>
                    <a:pt x="35616" y="76685"/>
                    <a:pt x="46945" y="88015"/>
                    <a:pt x="61107" y="88015"/>
                  </a:cubicBezTo>
                  <a:cubicBezTo>
                    <a:pt x="75269" y="88015"/>
                    <a:pt x="86599" y="76685"/>
                    <a:pt x="86599" y="62523"/>
                  </a:cubicBezTo>
                  <a:cubicBezTo>
                    <a:pt x="88015" y="48361"/>
                    <a:pt x="75269" y="37032"/>
                    <a:pt x="61107" y="3703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9" name="Freeform: Shape 1948">
              <a:extLst>
                <a:ext uri="{FF2B5EF4-FFF2-40B4-BE49-F238E27FC236}">
                  <a16:creationId xmlns:a16="http://schemas.microsoft.com/office/drawing/2014/main" id="{42B52DDE-0CCE-4B98-9DED-CFF100F890C7}"/>
                </a:ext>
              </a:extLst>
            </p:cNvPr>
            <p:cNvSpPr/>
            <p:nvPr/>
          </p:nvSpPr>
          <p:spPr>
            <a:xfrm>
              <a:off x="7854699" y="2242021"/>
              <a:ext cx="113295" cy="113295"/>
            </a:xfrm>
            <a:custGeom>
              <a:avLst/>
              <a:gdLst>
                <a:gd name="connsiteX0" fmla="*/ 61107 w 113295"/>
                <a:gd name="connsiteY0" fmla="*/ 15789 h 113295"/>
                <a:gd name="connsiteX1" fmla="*/ 106426 w 113295"/>
                <a:gd name="connsiteY1" fmla="*/ 61107 h 113295"/>
                <a:gd name="connsiteX2" fmla="*/ 61107 w 113295"/>
                <a:gd name="connsiteY2" fmla="*/ 106425 h 113295"/>
                <a:gd name="connsiteX3" fmla="*/ 15789 w 113295"/>
                <a:gd name="connsiteY3" fmla="*/ 61107 h 113295"/>
                <a:gd name="connsiteX4" fmla="*/ 61107 w 113295"/>
                <a:gd name="connsiteY4" fmla="*/ 15789 h 113295"/>
                <a:gd name="connsiteX5" fmla="*/ 61107 w 113295"/>
                <a:gd name="connsiteY5" fmla="*/ 15789 h 113295"/>
                <a:gd name="connsiteX6" fmla="*/ 61107 w 113295"/>
                <a:gd name="connsiteY6" fmla="*/ 35616 h 113295"/>
                <a:gd name="connsiteX7" fmla="*/ 35616 w 113295"/>
                <a:gd name="connsiteY7" fmla="*/ 61107 h 113295"/>
                <a:gd name="connsiteX8" fmla="*/ 61107 w 113295"/>
                <a:gd name="connsiteY8" fmla="*/ 86599 h 113295"/>
                <a:gd name="connsiteX9" fmla="*/ 86599 w 113295"/>
                <a:gd name="connsiteY9" fmla="*/ 61107 h 113295"/>
                <a:gd name="connsiteX10" fmla="*/ 61107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07" y="15789"/>
                  </a:moveTo>
                  <a:cubicBezTo>
                    <a:pt x="86599" y="15789"/>
                    <a:pt x="106426" y="35616"/>
                    <a:pt x="106426" y="61107"/>
                  </a:cubicBezTo>
                  <a:cubicBezTo>
                    <a:pt x="106426" y="86599"/>
                    <a:pt x="86599" y="106425"/>
                    <a:pt x="61107" y="106425"/>
                  </a:cubicBezTo>
                  <a:cubicBezTo>
                    <a:pt x="35616" y="106425"/>
                    <a:pt x="15789" y="86599"/>
                    <a:pt x="15789" y="61107"/>
                  </a:cubicBezTo>
                  <a:cubicBezTo>
                    <a:pt x="15789" y="37032"/>
                    <a:pt x="35616" y="15789"/>
                    <a:pt x="61107" y="15789"/>
                  </a:cubicBezTo>
                  <a:lnTo>
                    <a:pt x="61107" y="15789"/>
                  </a:lnTo>
                  <a:close/>
                  <a:moveTo>
                    <a:pt x="61107" y="35616"/>
                  </a:moveTo>
                  <a:cubicBezTo>
                    <a:pt x="46945" y="35616"/>
                    <a:pt x="35616" y="46945"/>
                    <a:pt x="35616" y="61107"/>
                  </a:cubicBezTo>
                  <a:cubicBezTo>
                    <a:pt x="35616" y="75269"/>
                    <a:pt x="46945" y="86599"/>
                    <a:pt x="61107" y="86599"/>
                  </a:cubicBezTo>
                  <a:cubicBezTo>
                    <a:pt x="75269" y="86599"/>
                    <a:pt x="86599" y="75269"/>
                    <a:pt x="86599" y="61107"/>
                  </a:cubicBezTo>
                  <a:cubicBezTo>
                    <a:pt x="86599" y="48361"/>
                    <a:pt x="75269" y="35616"/>
                    <a:pt x="61107"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0" name="Freeform: Shape 1949">
              <a:extLst>
                <a:ext uri="{FF2B5EF4-FFF2-40B4-BE49-F238E27FC236}">
                  <a16:creationId xmlns:a16="http://schemas.microsoft.com/office/drawing/2014/main" id="{BF5F5FF2-361B-485E-AD56-264AEE3351E1}"/>
                </a:ext>
              </a:extLst>
            </p:cNvPr>
            <p:cNvSpPr/>
            <p:nvPr/>
          </p:nvSpPr>
          <p:spPr>
            <a:xfrm>
              <a:off x="9188751" y="2981273"/>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29" y="55442"/>
                    <a:pt x="55442" y="46945"/>
                    <a:pt x="55442" y="35616"/>
                  </a:cubicBezTo>
                  <a:cubicBezTo>
                    <a:pt x="55442" y="25702"/>
                    <a:pt x="46945" y="15789"/>
                    <a:pt x="35616" y="15789"/>
                  </a:cubicBezTo>
                  <a:cubicBezTo>
                    <a:pt x="24286" y="15789"/>
                    <a:pt x="15789" y="24286"/>
                    <a:pt x="15789" y="35616"/>
                  </a:cubicBezTo>
                  <a:cubicBezTo>
                    <a:pt x="15789" y="46945"/>
                    <a:pt x="25703"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1" name="Freeform: Shape 1950">
              <a:extLst>
                <a:ext uri="{FF2B5EF4-FFF2-40B4-BE49-F238E27FC236}">
                  <a16:creationId xmlns:a16="http://schemas.microsoft.com/office/drawing/2014/main" id="{78BABCEC-547B-453E-A4CD-6565AB8CFA8D}"/>
                </a:ext>
              </a:extLst>
            </p:cNvPr>
            <p:cNvSpPr/>
            <p:nvPr/>
          </p:nvSpPr>
          <p:spPr>
            <a:xfrm>
              <a:off x="9078288" y="3338153"/>
              <a:ext cx="70810" cy="70810"/>
            </a:xfrm>
            <a:custGeom>
              <a:avLst/>
              <a:gdLst>
                <a:gd name="connsiteX0" fmla="*/ 35615 w 70809"/>
                <a:gd name="connsiteY0" fmla="*/ 55442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2"/>
                  </a:moveTo>
                  <a:cubicBezTo>
                    <a:pt x="45529" y="55442"/>
                    <a:pt x="55442" y="46945"/>
                    <a:pt x="55442" y="35616"/>
                  </a:cubicBezTo>
                  <a:cubicBezTo>
                    <a:pt x="55442" y="24286"/>
                    <a:pt x="46945" y="15789"/>
                    <a:pt x="35615" y="15789"/>
                  </a:cubicBezTo>
                  <a:cubicBezTo>
                    <a:pt x="25703" y="15789"/>
                    <a:pt x="15789" y="24286"/>
                    <a:pt x="15789" y="35616"/>
                  </a:cubicBezTo>
                  <a:cubicBezTo>
                    <a:pt x="15789" y="46945"/>
                    <a:pt x="25703" y="55442"/>
                    <a:pt x="35615"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2" name="Freeform: Shape 1951">
              <a:extLst>
                <a:ext uri="{FF2B5EF4-FFF2-40B4-BE49-F238E27FC236}">
                  <a16:creationId xmlns:a16="http://schemas.microsoft.com/office/drawing/2014/main" id="{048092A4-EBA8-4CF9-861F-1B3455251FA2}"/>
                </a:ext>
              </a:extLst>
            </p:cNvPr>
            <p:cNvSpPr/>
            <p:nvPr/>
          </p:nvSpPr>
          <p:spPr>
            <a:xfrm>
              <a:off x="8647766" y="3532171"/>
              <a:ext cx="84971" cy="84971"/>
            </a:xfrm>
            <a:custGeom>
              <a:avLst/>
              <a:gdLst>
                <a:gd name="connsiteX0" fmla="*/ 48361 w 84971"/>
                <a:gd name="connsiteY0" fmla="*/ 15789 h 84971"/>
                <a:gd name="connsiteX1" fmla="*/ 80934 w 84971"/>
                <a:gd name="connsiteY1" fmla="*/ 48361 h 84971"/>
                <a:gd name="connsiteX2" fmla="*/ 48361 w 84971"/>
                <a:gd name="connsiteY2" fmla="*/ 80934 h 84971"/>
                <a:gd name="connsiteX3" fmla="*/ 15789 w 84971"/>
                <a:gd name="connsiteY3" fmla="*/ 48361 h 84971"/>
                <a:gd name="connsiteX4" fmla="*/ 48361 w 84971"/>
                <a:gd name="connsiteY4" fmla="*/ 15789 h 84971"/>
                <a:gd name="connsiteX5" fmla="*/ 48361 w 84971"/>
                <a:gd name="connsiteY5" fmla="*/ 15789 h 84971"/>
                <a:gd name="connsiteX6" fmla="*/ 48361 w 84971"/>
                <a:gd name="connsiteY6" fmla="*/ 21454 h 84971"/>
                <a:gd name="connsiteX7" fmla="*/ 21454 w 84971"/>
                <a:gd name="connsiteY7" fmla="*/ 48361 h 84971"/>
                <a:gd name="connsiteX8" fmla="*/ 48361 w 84971"/>
                <a:gd name="connsiteY8" fmla="*/ 75269 h 84971"/>
                <a:gd name="connsiteX9" fmla="*/ 75269 w 84971"/>
                <a:gd name="connsiteY9" fmla="*/ 48361 h 84971"/>
                <a:gd name="connsiteX10" fmla="*/ 48361 w 84971"/>
                <a:gd name="connsiteY10" fmla="*/ 21454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8361" y="15789"/>
                  </a:moveTo>
                  <a:cubicBezTo>
                    <a:pt x="66772" y="15789"/>
                    <a:pt x="80934" y="29951"/>
                    <a:pt x="80934" y="48361"/>
                  </a:cubicBezTo>
                  <a:cubicBezTo>
                    <a:pt x="80934" y="66772"/>
                    <a:pt x="66772" y="80934"/>
                    <a:pt x="48361" y="80934"/>
                  </a:cubicBezTo>
                  <a:cubicBezTo>
                    <a:pt x="29951" y="80934"/>
                    <a:pt x="15789" y="66772"/>
                    <a:pt x="15789" y="48361"/>
                  </a:cubicBezTo>
                  <a:cubicBezTo>
                    <a:pt x="15789" y="29951"/>
                    <a:pt x="29951" y="15789"/>
                    <a:pt x="48361" y="15789"/>
                  </a:cubicBezTo>
                  <a:lnTo>
                    <a:pt x="48361" y="15789"/>
                  </a:lnTo>
                  <a:close/>
                  <a:moveTo>
                    <a:pt x="48361" y="21454"/>
                  </a:moveTo>
                  <a:cubicBezTo>
                    <a:pt x="34199" y="21454"/>
                    <a:pt x="21454" y="32783"/>
                    <a:pt x="21454" y="48361"/>
                  </a:cubicBezTo>
                  <a:cubicBezTo>
                    <a:pt x="21454" y="62523"/>
                    <a:pt x="32783" y="75269"/>
                    <a:pt x="48361" y="75269"/>
                  </a:cubicBezTo>
                  <a:cubicBezTo>
                    <a:pt x="62523" y="75269"/>
                    <a:pt x="75269" y="63940"/>
                    <a:pt x="75269" y="48361"/>
                  </a:cubicBezTo>
                  <a:cubicBezTo>
                    <a:pt x="75269" y="34200"/>
                    <a:pt x="62523" y="21454"/>
                    <a:pt x="48361" y="2145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3" name="Freeform: Shape 1952">
              <a:extLst>
                <a:ext uri="{FF2B5EF4-FFF2-40B4-BE49-F238E27FC236}">
                  <a16:creationId xmlns:a16="http://schemas.microsoft.com/office/drawing/2014/main" id="{E601188C-55B3-407C-A71A-64D426E9D043}"/>
                </a:ext>
              </a:extLst>
            </p:cNvPr>
            <p:cNvSpPr/>
            <p:nvPr/>
          </p:nvSpPr>
          <p:spPr>
            <a:xfrm>
              <a:off x="7621027" y="1218115"/>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2" y="58275"/>
                    <a:pt x="58275" y="48361"/>
                    <a:pt x="58275" y="37032"/>
                  </a:cubicBezTo>
                  <a:cubicBezTo>
                    <a:pt x="58275" y="25702"/>
                    <a:pt x="48362" y="15789"/>
                    <a:pt x="37032" y="15789"/>
                  </a:cubicBezTo>
                  <a:cubicBezTo>
                    <a:pt x="25703" y="15789"/>
                    <a:pt x="15789" y="25702"/>
                    <a:pt x="15789" y="37032"/>
                  </a:cubicBezTo>
                  <a:cubicBezTo>
                    <a:pt x="15789" y="48361"/>
                    <a:pt x="25703"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4" name="Freeform: Shape 1953">
              <a:extLst>
                <a:ext uri="{FF2B5EF4-FFF2-40B4-BE49-F238E27FC236}">
                  <a16:creationId xmlns:a16="http://schemas.microsoft.com/office/drawing/2014/main" id="{AF44242B-CBE0-4454-B8E5-FE438CF62D21}"/>
                </a:ext>
              </a:extLst>
            </p:cNvPr>
            <p:cNvSpPr/>
            <p:nvPr/>
          </p:nvSpPr>
          <p:spPr>
            <a:xfrm>
              <a:off x="9391266" y="107791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7"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5" name="Freeform: Shape 1954">
              <a:extLst>
                <a:ext uri="{FF2B5EF4-FFF2-40B4-BE49-F238E27FC236}">
                  <a16:creationId xmlns:a16="http://schemas.microsoft.com/office/drawing/2014/main" id="{823B3223-BCE7-4A79-B7B0-E7BA9ACAE7E2}"/>
                </a:ext>
              </a:extLst>
            </p:cNvPr>
            <p:cNvSpPr/>
            <p:nvPr/>
          </p:nvSpPr>
          <p:spPr>
            <a:xfrm>
              <a:off x="9892598" y="1144473"/>
              <a:ext cx="56648" cy="56648"/>
            </a:xfrm>
            <a:custGeom>
              <a:avLst/>
              <a:gdLst>
                <a:gd name="connsiteX0" fmla="*/ 32783 w 56647"/>
                <a:gd name="connsiteY0" fmla="*/ 49778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7" y="42697"/>
                    <a:pt x="49777" y="32783"/>
                  </a:cubicBezTo>
                  <a:cubicBezTo>
                    <a:pt x="49777" y="22870"/>
                    <a:pt x="42696"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6" name="Freeform: Shape 1955">
              <a:extLst>
                <a:ext uri="{FF2B5EF4-FFF2-40B4-BE49-F238E27FC236}">
                  <a16:creationId xmlns:a16="http://schemas.microsoft.com/office/drawing/2014/main" id="{865246DA-B3F2-45E0-817A-1817161BAE2B}"/>
                </a:ext>
              </a:extLst>
            </p:cNvPr>
            <p:cNvSpPr/>
            <p:nvPr/>
          </p:nvSpPr>
          <p:spPr>
            <a:xfrm>
              <a:off x="9801962" y="2002685"/>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7" y="15789"/>
                    <a:pt x="15789" y="24286"/>
                    <a:pt x="15789" y="35616"/>
                  </a:cubicBezTo>
                  <a:cubicBezTo>
                    <a:pt x="15789" y="46945"/>
                    <a:pt x="24287"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7" name="Freeform: Shape 1956">
              <a:extLst>
                <a:ext uri="{FF2B5EF4-FFF2-40B4-BE49-F238E27FC236}">
                  <a16:creationId xmlns:a16="http://schemas.microsoft.com/office/drawing/2014/main" id="{7352BC74-E5EE-4DF2-84F5-B655C43DBB6B}"/>
                </a:ext>
              </a:extLst>
            </p:cNvPr>
            <p:cNvSpPr/>
            <p:nvPr/>
          </p:nvSpPr>
          <p:spPr>
            <a:xfrm>
              <a:off x="9069791" y="1431960"/>
              <a:ext cx="113295" cy="113295"/>
            </a:xfrm>
            <a:custGeom>
              <a:avLst/>
              <a:gdLst>
                <a:gd name="connsiteX0" fmla="*/ 56859 w 113295"/>
                <a:gd name="connsiteY0" fmla="*/ 97928 h 113295"/>
                <a:gd name="connsiteX1" fmla="*/ 97929 w 113295"/>
                <a:gd name="connsiteY1" fmla="*/ 56859 h 113295"/>
                <a:gd name="connsiteX2" fmla="*/ 56859 w 113295"/>
                <a:gd name="connsiteY2" fmla="*/ 15789 h 113295"/>
                <a:gd name="connsiteX3" fmla="*/ 15789 w 113295"/>
                <a:gd name="connsiteY3" fmla="*/ 56859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9" y="79518"/>
                    <a:pt x="97929" y="56859"/>
                  </a:cubicBezTo>
                  <a:cubicBezTo>
                    <a:pt x="97929" y="34200"/>
                    <a:pt x="79518" y="15789"/>
                    <a:pt x="56859" y="15789"/>
                  </a:cubicBezTo>
                  <a:cubicBezTo>
                    <a:pt x="34200" y="15789"/>
                    <a:pt x="15789" y="34200"/>
                    <a:pt x="15789" y="56859"/>
                  </a:cubicBezTo>
                  <a:cubicBezTo>
                    <a:pt x="15789" y="79518"/>
                    <a:pt x="34200" y="97928"/>
                    <a:pt x="56859"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8" name="Freeform: Shape 1957">
              <a:extLst>
                <a:ext uri="{FF2B5EF4-FFF2-40B4-BE49-F238E27FC236}">
                  <a16:creationId xmlns:a16="http://schemas.microsoft.com/office/drawing/2014/main" id="{5E785427-A569-4069-975C-70FD8B1B8A86}"/>
                </a:ext>
              </a:extLst>
            </p:cNvPr>
            <p:cNvSpPr/>
            <p:nvPr/>
          </p:nvSpPr>
          <p:spPr>
            <a:xfrm>
              <a:off x="9023056" y="2617312"/>
              <a:ext cx="113295" cy="113295"/>
            </a:xfrm>
            <a:custGeom>
              <a:avLst/>
              <a:gdLst>
                <a:gd name="connsiteX0" fmla="*/ 56859 w 113295"/>
                <a:gd name="connsiteY0" fmla="*/ 97928 h 113295"/>
                <a:gd name="connsiteX1" fmla="*/ 97928 w 113295"/>
                <a:gd name="connsiteY1" fmla="*/ 56858 h 113295"/>
                <a:gd name="connsiteX2" fmla="*/ 56859 w 113295"/>
                <a:gd name="connsiteY2" fmla="*/ 15789 h 113295"/>
                <a:gd name="connsiteX3" fmla="*/ 15789 w 113295"/>
                <a:gd name="connsiteY3" fmla="*/ 56858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8" y="79518"/>
                    <a:pt x="97928" y="56858"/>
                  </a:cubicBezTo>
                  <a:cubicBezTo>
                    <a:pt x="97928" y="34200"/>
                    <a:pt x="79518" y="15789"/>
                    <a:pt x="56859" y="15789"/>
                  </a:cubicBezTo>
                  <a:cubicBezTo>
                    <a:pt x="34199" y="15789"/>
                    <a:pt x="15789" y="34200"/>
                    <a:pt x="15789" y="56858"/>
                  </a:cubicBezTo>
                  <a:cubicBezTo>
                    <a:pt x="15789" y="79518"/>
                    <a:pt x="34199" y="97928"/>
                    <a:pt x="56859"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9" name="Freeform: Shape 1958">
              <a:extLst>
                <a:ext uri="{FF2B5EF4-FFF2-40B4-BE49-F238E27FC236}">
                  <a16:creationId xmlns:a16="http://schemas.microsoft.com/office/drawing/2014/main" id="{93311C0D-9C84-4B88-866E-01C3FEB4AE7C}"/>
                </a:ext>
              </a:extLst>
            </p:cNvPr>
            <p:cNvSpPr/>
            <p:nvPr/>
          </p:nvSpPr>
          <p:spPr>
            <a:xfrm>
              <a:off x="8317793" y="3384887"/>
              <a:ext cx="113295" cy="113295"/>
            </a:xfrm>
            <a:custGeom>
              <a:avLst/>
              <a:gdLst>
                <a:gd name="connsiteX0" fmla="*/ 56859 w 113295"/>
                <a:gd name="connsiteY0" fmla="*/ 97928 h 113295"/>
                <a:gd name="connsiteX1" fmla="*/ 97928 w 113295"/>
                <a:gd name="connsiteY1" fmla="*/ 56858 h 113295"/>
                <a:gd name="connsiteX2" fmla="*/ 56859 w 113295"/>
                <a:gd name="connsiteY2" fmla="*/ 15789 h 113295"/>
                <a:gd name="connsiteX3" fmla="*/ 15789 w 113295"/>
                <a:gd name="connsiteY3" fmla="*/ 56858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8" y="79518"/>
                    <a:pt x="97928" y="56858"/>
                  </a:cubicBezTo>
                  <a:cubicBezTo>
                    <a:pt x="97928" y="34200"/>
                    <a:pt x="79518" y="15789"/>
                    <a:pt x="56859" y="15789"/>
                  </a:cubicBezTo>
                  <a:cubicBezTo>
                    <a:pt x="34199" y="15789"/>
                    <a:pt x="15789" y="34200"/>
                    <a:pt x="15789" y="56858"/>
                  </a:cubicBezTo>
                  <a:cubicBezTo>
                    <a:pt x="15789" y="79518"/>
                    <a:pt x="34199" y="97928"/>
                    <a:pt x="56859"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0" name="Freeform: Shape 1959">
              <a:extLst>
                <a:ext uri="{FF2B5EF4-FFF2-40B4-BE49-F238E27FC236}">
                  <a16:creationId xmlns:a16="http://schemas.microsoft.com/office/drawing/2014/main" id="{B93185F4-6A22-470A-BCC3-E7A70F249AEE}"/>
                </a:ext>
              </a:extLst>
            </p:cNvPr>
            <p:cNvSpPr/>
            <p:nvPr/>
          </p:nvSpPr>
          <p:spPr>
            <a:xfrm>
              <a:off x="7485073" y="3176707"/>
              <a:ext cx="113295" cy="113295"/>
            </a:xfrm>
            <a:custGeom>
              <a:avLst/>
              <a:gdLst>
                <a:gd name="connsiteX0" fmla="*/ 56858 w 113295"/>
                <a:gd name="connsiteY0" fmla="*/ 97928 h 113295"/>
                <a:gd name="connsiteX1" fmla="*/ 97928 w 113295"/>
                <a:gd name="connsiteY1" fmla="*/ 56858 h 113295"/>
                <a:gd name="connsiteX2" fmla="*/ 56858 w 113295"/>
                <a:gd name="connsiteY2" fmla="*/ 15789 h 113295"/>
                <a:gd name="connsiteX3" fmla="*/ 15789 w 113295"/>
                <a:gd name="connsiteY3" fmla="*/ 56858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8"/>
                  </a:cubicBezTo>
                  <a:cubicBezTo>
                    <a:pt x="97928" y="34200"/>
                    <a:pt x="79518" y="15789"/>
                    <a:pt x="56858" y="15789"/>
                  </a:cubicBezTo>
                  <a:cubicBezTo>
                    <a:pt x="34199" y="15789"/>
                    <a:pt x="15789" y="34200"/>
                    <a:pt x="15789" y="56858"/>
                  </a:cubicBezTo>
                  <a:cubicBezTo>
                    <a:pt x="17205" y="79518"/>
                    <a:pt x="34199" y="97928"/>
                    <a:pt x="56858"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1" name="Freeform: Shape 1960">
              <a:extLst>
                <a:ext uri="{FF2B5EF4-FFF2-40B4-BE49-F238E27FC236}">
                  <a16:creationId xmlns:a16="http://schemas.microsoft.com/office/drawing/2014/main" id="{D9DA2CF9-B43C-45E6-8B3D-E6403F8CEEB7}"/>
                </a:ext>
              </a:extLst>
            </p:cNvPr>
            <p:cNvSpPr/>
            <p:nvPr/>
          </p:nvSpPr>
          <p:spPr>
            <a:xfrm>
              <a:off x="6966747" y="2621560"/>
              <a:ext cx="113295" cy="113295"/>
            </a:xfrm>
            <a:custGeom>
              <a:avLst/>
              <a:gdLst>
                <a:gd name="connsiteX0" fmla="*/ 56858 w 113295"/>
                <a:gd name="connsiteY0" fmla="*/ 97928 h 113295"/>
                <a:gd name="connsiteX1" fmla="*/ 97928 w 113295"/>
                <a:gd name="connsiteY1" fmla="*/ 56858 h 113295"/>
                <a:gd name="connsiteX2" fmla="*/ 56858 w 113295"/>
                <a:gd name="connsiteY2" fmla="*/ 15789 h 113295"/>
                <a:gd name="connsiteX3" fmla="*/ 15789 w 113295"/>
                <a:gd name="connsiteY3" fmla="*/ 56858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8"/>
                  </a:cubicBezTo>
                  <a:cubicBezTo>
                    <a:pt x="97928" y="34199"/>
                    <a:pt x="79518" y="15789"/>
                    <a:pt x="56858" y="15789"/>
                  </a:cubicBezTo>
                  <a:cubicBezTo>
                    <a:pt x="34199" y="15789"/>
                    <a:pt x="15789" y="34199"/>
                    <a:pt x="15789" y="56858"/>
                  </a:cubicBezTo>
                  <a:cubicBezTo>
                    <a:pt x="17205" y="79518"/>
                    <a:pt x="35616" y="97928"/>
                    <a:pt x="56858"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2" name="Freeform: Shape 1961">
              <a:extLst>
                <a:ext uri="{FF2B5EF4-FFF2-40B4-BE49-F238E27FC236}">
                  <a16:creationId xmlns:a16="http://schemas.microsoft.com/office/drawing/2014/main" id="{3745D7DA-09C4-4025-8370-46FB0C3BDA30}"/>
                </a:ext>
              </a:extLst>
            </p:cNvPr>
            <p:cNvSpPr/>
            <p:nvPr/>
          </p:nvSpPr>
          <p:spPr>
            <a:xfrm>
              <a:off x="6067465" y="2362397"/>
              <a:ext cx="113295" cy="113295"/>
            </a:xfrm>
            <a:custGeom>
              <a:avLst/>
              <a:gdLst>
                <a:gd name="connsiteX0" fmla="*/ 56858 w 113295"/>
                <a:gd name="connsiteY0" fmla="*/ 97928 h 113295"/>
                <a:gd name="connsiteX1" fmla="*/ 97928 w 113295"/>
                <a:gd name="connsiteY1" fmla="*/ 56858 h 113295"/>
                <a:gd name="connsiteX2" fmla="*/ 56858 w 113295"/>
                <a:gd name="connsiteY2" fmla="*/ 15789 h 113295"/>
                <a:gd name="connsiteX3" fmla="*/ 15789 w 113295"/>
                <a:gd name="connsiteY3" fmla="*/ 56858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8"/>
                  </a:cubicBezTo>
                  <a:cubicBezTo>
                    <a:pt x="97928" y="34200"/>
                    <a:pt x="79518" y="15789"/>
                    <a:pt x="56858" y="15789"/>
                  </a:cubicBezTo>
                  <a:cubicBezTo>
                    <a:pt x="34199" y="15789"/>
                    <a:pt x="15789" y="34200"/>
                    <a:pt x="15789" y="56858"/>
                  </a:cubicBezTo>
                  <a:cubicBezTo>
                    <a:pt x="15789" y="79518"/>
                    <a:pt x="34199" y="97928"/>
                    <a:pt x="56858"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3" name="Freeform: Shape 1962">
              <a:extLst>
                <a:ext uri="{FF2B5EF4-FFF2-40B4-BE49-F238E27FC236}">
                  <a16:creationId xmlns:a16="http://schemas.microsoft.com/office/drawing/2014/main" id="{8F809599-8D37-4CBA-AE90-3FD2D94F5800}"/>
                </a:ext>
              </a:extLst>
            </p:cNvPr>
            <p:cNvSpPr/>
            <p:nvPr/>
          </p:nvSpPr>
          <p:spPr>
            <a:xfrm>
              <a:off x="5706337" y="2239189"/>
              <a:ext cx="113295" cy="113295"/>
            </a:xfrm>
            <a:custGeom>
              <a:avLst/>
              <a:gdLst>
                <a:gd name="connsiteX0" fmla="*/ 56858 w 113295"/>
                <a:gd name="connsiteY0" fmla="*/ 97928 h 113295"/>
                <a:gd name="connsiteX1" fmla="*/ 97928 w 113295"/>
                <a:gd name="connsiteY1" fmla="*/ 56858 h 113295"/>
                <a:gd name="connsiteX2" fmla="*/ 56858 w 113295"/>
                <a:gd name="connsiteY2" fmla="*/ 15789 h 113295"/>
                <a:gd name="connsiteX3" fmla="*/ 15789 w 113295"/>
                <a:gd name="connsiteY3" fmla="*/ 56858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8"/>
                  </a:cubicBezTo>
                  <a:cubicBezTo>
                    <a:pt x="97928" y="34199"/>
                    <a:pt x="79518" y="15789"/>
                    <a:pt x="56858" y="15789"/>
                  </a:cubicBezTo>
                  <a:cubicBezTo>
                    <a:pt x="34199" y="15789"/>
                    <a:pt x="15789" y="34199"/>
                    <a:pt x="15789" y="56858"/>
                  </a:cubicBezTo>
                  <a:cubicBezTo>
                    <a:pt x="15789" y="79518"/>
                    <a:pt x="34199" y="97928"/>
                    <a:pt x="56858"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4" name="Freeform: Shape 1963">
              <a:extLst>
                <a:ext uri="{FF2B5EF4-FFF2-40B4-BE49-F238E27FC236}">
                  <a16:creationId xmlns:a16="http://schemas.microsoft.com/office/drawing/2014/main" id="{17D7EA81-1C14-49C2-BCCC-491BEAFEE95A}"/>
                </a:ext>
              </a:extLst>
            </p:cNvPr>
            <p:cNvSpPr/>
            <p:nvPr/>
          </p:nvSpPr>
          <p:spPr>
            <a:xfrm>
              <a:off x="5965499" y="1648637"/>
              <a:ext cx="113295" cy="113295"/>
            </a:xfrm>
            <a:custGeom>
              <a:avLst/>
              <a:gdLst>
                <a:gd name="connsiteX0" fmla="*/ 56858 w 113295"/>
                <a:gd name="connsiteY0" fmla="*/ 97928 h 113295"/>
                <a:gd name="connsiteX1" fmla="*/ 97928 w 113295"/>
                <a:gd name="connsiteY1" fmla="*/ 56859 h 113295"/>
                <a:gd name="connsiteX2" fmla="*/ 56858 w 113295"/>
                <a:gd name="connsiteY2" fmla="*/ 15789 h 113295"/>
                <a:gd name="connsiteX3" fmla="*/ 15789 w 113295"/>
                <a:gd name="connsiteY3" fmla="*/ 56859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9"/>
                  </a:cubicBezTo>
                  <a:cubicBezTo>
                    <a:pt x="97928" y="34199"/>
                    <a:pt x="79518" y="15789"/>
                    <a:pt x="56858" y="15789"/>
                  </a:cubicBezTo>
                  <a:cubicBezTo>
                    <a:pt x="34200" y="15789"/>
                    <a:pt x="15789" y="34199"/>
                    <a:pt x="15789" y="56859"/>
                  </a:cubicBezTo>
                  <a:cubicBezTo>
                    <a:pt x="15789" y="79518"/>
                    <a:pt x="34200" y="97928"/>
                    <a:pt x="56858"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5" name="Freeform: Shape 1964">
              <a:extLst>
                <a:ext uri="{FF2B5EF4-FFF2-40B4-BE49-F238E27FC236}">
                  <a16:creationId xmlns:a16="http://schemas.microsoft.com/office/drawing/2014/main" id="{1A8B797F-C0D0-47EB-AF60-BC5814EB0D2D}"/>
                </a:ext>
              </a:extLst>
            </p:cNvPr>
            <p:cNvSpPr/>
            <p:nvPr/>
          </p:nvSpPr>
          <p:spPr>
            <a:xfrm>
              <a:off x="6422929" y="1184127"/>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7205" y="71020"/>
                    <a:pt x="32783"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6" name="Freeform: Shape 1965">
              <a:extLst>
                <a:ext uri="{FF2B5EF4-FFF2-40B4-BE49-F238E27FC236}">
                  <a16:creationId xmlns:a16="http://schemas.microsoft.com/office/drawing/2014/main" id="{40D6C29D-1090-4923-B5B8-91755B1D0228}"/>
                </a:ext>
              </a:extLst>
            </p:cNvPr>
            <p:cNvSpPr/>
            <p:nvPr/>
          </p:nvSpPr>
          <p:spPr>
            <a:xfrm>
              <a:off x="6755734" y="1550920"/>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7205" y="71020"/>
                    <a:pt x="32783"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7" name="Freeform: Shape 1966">
              <a:extLst>
                <a:ext uri="{FF2B5EF4-FFF2-40B4-BE49-F238E27FC236}">
                  <a16:creationId xmlns:a16="http://schemas.microsoft.com/office/drawing/2014/main" id="{CA2EA39A-AB1A-4E86-985E-3EFEDAA2F5AD}"/>
                </a:ext>
              </a:extLst>
            </p:cNvPr>
            <p:cNvSpPr/>
            <p:nvPr/>
          </p:nvSpPr>
          <p:spPr>
            <a:xfrm>
              <a:off x="6251570" y="719616"/>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5789" y="71020"/>
                    <a:pt x="31367"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8" name="Freeform: Shape 1967">
              <a:extLst>
                <a:ext uri="{FF2B5EF4-FFF2-40B4-BE49-F238E27FC236}">
                  <a16:creationId xmlns:a16="http://schemas.microsoft.com/office/drawing/2014/main" id="{181B421B-C106-448D-AD1F-0187A5EBFE20}"/>
                </a:ext>
              </a:extLst>
            </p:cNvPr>
            <p:cNvSpPr/>
            <p:nvPr/>
          </p:nvSpPr>
          <p:spPr>
            <a:xfrm>
              <a:off x="5087461" y="838576"/>
              <a:ext cx="84971" cy="84971"/>
            </a:xfrm>
            <a:custGeom>
              <a:avLst/>
              <a:gdLst>
                <a:gd name="connsiteX0" fmla="*/ 42697 w 84971"/>
                <a:gd name="connsiteY0" fmla="*/ 69604 h 84971"/>
                <a:gd name="connsiteX1" fmla="*/ 69605 w 84971"/>
                <a:gd name="connsiteY1" fmla="*/ 42697 h 84971"/>
                <a:gd name="connsiteX2" fmla="*/ 42697 w 84971"/>
                <a:gd name="connsiteY2" fmla="*/ 15789 h 84971"/>
                <a:gd name="connsiteX3" fmla="*/ 15789 w 84971"/>
                <a:gd name="connsiteY3" fmla="*/ 42697 h 84971"/>
                <a:gd name="connsiteX4" fmla="*/ 42697 w 84971"/>
                <a:gd name="connsiteY4" fmla="*/ 6960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7" y="69604"/>
                  </a:moveTo>
                  <a:cubicBezTo>
                    <a:pt x="58275" y="69604"/>
                    <a:pt x="69605" y="56859"/>
                    <a:pt x="69605" y="42697"/>
                  </a:cubicBezTo>
                  <a:cubicBezTo>
                    <a:pt x="69605" y="27119"/>
                    <a:pt x="56858" y="15789"/>
                    <a:pt x="42697" y="15789"/>
                  </a:cubicBezTo>
                  <a:cubicBezTo>
                    <a:pt x="27119" y="15789"/>
                    <a:pt x="15789" y="28535"/>
                    <a:pt x="15789" y="42697"/>
                  </a:cubicBezTo>
                  <a:cubicBezTo>
                    <a:pt x="15789" y="56859"/>
                    <a:pt x="28535" y="69604"/>
                    <a:pt x="42697" y="6960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9" name="Freeform: Shape 1968">
              <a:extLst>
                <a:ext uri="{FF2B5EF4-FFF2-40B4-BE49-F238E27FC236}">
                  <a16:creationId xmlns:a16="http://schemas.microsoft.com/office/drawing/2014/main" id="{6213C77E-00C6-42CE-AFE1-1B3836533DD6}"/>
                </a:ext>
              </a:extLst>
            </p:cNvPr>
            <p:cNvSpPr/>
            <p:nvPr/>
          </p:nvSpPr>
          <p:spPr>
            <a:xfrm>
              <a:off x="4845292" y="498690"/>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1" y="86599"/>
                    <a:pt x="86599" y="71020"/>
                    <a:pt x="86599" y="51194"/>
                  </a:cubicBezTo>
                  <a:cubicBezTo>
                    <a:pt x="86599" y="31367"/>
                    <a:pt x="71021" y="15789"/>
                    <a:pt x="51194" y="15789"/>
                  </a:cubicBezTo>
                  <a:cubicBezTo>
                    <a:pt x="31367" y="15789"/>
                    <a:pt x="15789" y="31367"/>
                    <a:pt x="15789" y="51194"/>
                  </a:cubicBezTo>
                  <a:cubicBezTo>
                    <a:pt x="15789" y="71020"/>
                    <a:pt x="31367"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0" name="Freeform: Shape 1969">
              <a:extLst>
                <a:ext uri="{FF2B5EF4-FFF2-40B4-BE49-F238E27FC236}">
                  <a16:creationId xmlns:a16="http://schemas.microsoft.com/office/drawing/2014/main" id="{AE7D733A-9C2D-4D9D-B7BF-D9029C3AC27F}"/>
                </a:ext>
              </a:extLst>
            </p:cNvPr>
            <p:cNvSpPr/>
            <p:nvPr/>
          </p:nvSpPr>
          <p:spPr>
            <a:xfrm>
              <a:off x="5768649" y="2351068"/>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0" y="49777"/>
                    <a:pt x="49778" y="42697"/>
                    <a:pt x="49778" y="32783"/>
                  </a:cubicBezTo>
                  <a:cubicBezTo>
                    <a:pt x="49778" y="24286"/>
                    <a:pt x="42697" y="15789"/>
                    <a:pt x="32783" y="15789"/>
                  </a:cubicBezTo>
                  <a:cubicBezTo>
                    <a:pt x="22870" y="15789"/>
                    <a:pt x="15789" y="22870"/>
                    <a:pt x="15789" y="32783"/>
                  </a:cubicBezTo>
                  <a:cubicBezTo>
                    <a:pt x="17205" y="42697"/>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1" name="Freeform: Shape 1970">
              <a:extLst>
                <a:ext uri="{FF2B5EF4-FFF2-40B4-BE49-F238E27FC236}">
                  <a16:creationId xmlns:a16="http://schemas.microsoft.com/office/drawing/2014/main" id="{FF18EAF1-C6ED-485E-96A8-17B241C2C81D}"/>
                </a:ext>
              </a:extLst>
            </p:cNvPr>
            <p:cNvSpPr/>
            <p:nvPr/>
          </p:nvSpPr>
          <p:spPr>
            <a:xfrm>
              <a:off x="5955586" y="2155634"/>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2" name="Freeform: Shape 1971">
              <a:extLst>
                <a:ext uri="{FF2B5EF4-FFF2-40B4-BE49-F238E27FC236}">
                  <a16:creationId xmlns:a16="http://schemas.microsoft.com/office/drawing/2014/main" id="{7AAF0D0F-61AF-49EA-895E-D2A4AD978CD0}"/>
                </a:ext>
              </a:extLst>
            </p:cNvPr>
            <p:cNvSpPr/>
            <p:nvPr/>
          </p:nvSpPr>
          <p:spPr>
            <a:xfrm>
              <a:off x="5619949" y="2091905"/>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3" name="Freeform: Shape 1972">
              <a:extLst>
                <a:ext uri="{FF2B5EF4-FFF2-40B4-BE49-F238E27FC236}">
                  <a16:creationId xmlns:a16="http://schemas.microsoft.com/office/drawing/2014/main" id="{F23DDC88-E050-4FCB-8653-CEFBB1D3511A}"/>
                </a:ext>
              </a:extLst>
            </p:cNvPr>
            <p:cNvSpPr/>
            <p:nvPr/>
          </p:nvSpPr>
          <p:spPr>
            <a:xfrm>
              <a:off x="5619949" y="179025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4" name="Freeform: Shape 1973">
              <a:extLst>
                <a:ext uri="{FF2B5EF4-FFF2-40B4-BE49-F238E27FC236}">
                  <a16:creationId xmlns:a16="http://schemas.microsoft.com/office/drawing/2014/main" id="{7C68E89C-397C-463E-AB26-5FBC51E97958}"/>
                </a:ext>
              </a:extLst>
            </p:cNvPr>
            <p:cNvSpPr/>
            <p:nvPr/>
          </p:nvSpPr>
          <p:spPr>
            <a:xfrm>
              <a:off x="6354952" y="2631474"/>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1" y="49777"/>
                    <a:pt x="49778" y="42697"/>
                    <a:pt x="49778" y="32783"/>
                  </a:cubicBezTo>
                  <a:cubicBezTo>
                    <a:pt x="49778" y="22870"/>
                    <a:pt x="42697" y="15789"/>
                    <a:pt x="32783" y="15789"/>
                  </a:cubicBezTo>
                  <a:cubicBezTo>
                    <a:pt x="24286" y="15789"/>
                    <a:pt x="15789" y="22870"/>
                    <a:pt x="15789" y="32783"/>
                  </a:cubicBezTo>
                  <a:cubicBezTo>
                    <a:pt x="15789" y="42697"/>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5" name="Freeform: Shape 1974">
              <a:extLst>
                <a:ext uri="{FF2B5EF4-FFF2-40B4-BE49-F238E27FC236}">
                  <a16:creationId xmlns:a16="http://schemas.microsoft.com/office/drawing/2014/main" id="{C2EDABE3-BD69-4600-92D3-B0A86FE36002}"/>
                </a:ext>
              </a:extLst>
            </p:cNvPr>
            <p:cNvSpPr/>
            <p:nvPr/>
          </p:nvSpPr>
          <p:spPr>
            <a:xfrm>
              <a:off x="6179344" y="236806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6" name="Freeform: Shape 1975">
              <a:extLst>
                <a:ext uri="{FF2B5EF4-FFF2-40B4-BE49-F238E27FC236}">
                  <a16:creationId xmlns:a16="http://schemas.microsoft.com/office/drawing/2014/main" id="{B3EAC84F-23E3-4164-9B50-23602397A42E}"/>
                </a:ext>
              </a:extLst>
            </p:cNvPr>
            <p:cNvSpPr/>
            <p:nvPr/>
          </p:nvSpPr>
          <p:spPr>
            <a:xfrm>
              <a:off x="6401687" y="2023928"/>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7" name="Freeform: Shape 1976">
              <a:extLst>
                <a:ext uri="{FF2B5EF4-FFF2-40B4-BE49-F238E27FC236}">
                  <a16:creationId xmlns:a16="http://schemas.microsoft.com/office/drawing/2014/main" id="{581F56E9-AA68-415C-8A03-0D89905950E2}"/>
                </a:ext>
              </a:extLst>
            </p:cNvPr>
            <p:cNvSpPr/>
            <p:nvPr/>
          </p:nvSpPr>
          <p:spPr>
            <a:xfrm>
              <a:off x="7377442" y="1863898"/>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8" name="Freeform: Shape 1977">
              <a:extLst>
                <a:ext uri="{FF2B5EF4-FFF2-40B4-BE49-F238E27FC236}">
                  <a16:creationId xmlns:a16="http://schemas.microsoft.com/office/drawing/2014/main" id="{87282424-7F1C-416E-A53D-C21434FFEA3A}"/>
                </a:ext>
              </a:extLst>
            </p:cNvPr>
            <p:cNvSpPr/>
            <p:nvPr/>
          </p:nvSpPr>
          <p:spPr>
            <a:xfrm>
              <a:off x="6609800" y="1303087"/>
              <a:ext cx="113295" cy="113295"/>
            </a:xfrm>
            <a:custGeom>
              <a:avLst/>
              <a:gdLst>
                <a:gd name="connsiteX0" fmla="*/ 61174 w 113295"/>
                <a:gd name="connsiteY0" fmla="*/ 15789 h 113295"/>
                <a:gd name="connsiteX1" fmla="*/ 106492 w 113295"/>
                <a:gd name="connsiteY1" fmla="*/ 61107 h 113295"/>
                <a:gd name="connsiteX2" fmla="*/ 61174 w 113295"/>
                <a:gd name="connsiteY2" fmla="*/ 106425 h 113295"/>
                <a:gd name="connsiteX3" fmla="*/ 15856 w 113295"/>
                <a:gd name="connsiteY3" fmla="*/ 61107 h 113295"/>
                <a:gd name="connsiteX4" fmla="*/ 61174 w 113295"/>
                <a:gd name="connsiteY4" fmla="*/ 15789 h 113295"/>
                <a:gd name="connsiteX5" fmla="*/ 61174 w 113295"/>
                <a:gd name="connsiteY5" fmla="*/ 15789 h 113295"/>
                <a:gd name="connsiteX6" fmla="*/ 61174 w 113295"/>
                <a:gd name="connsiteY6" fmla="*/ 35616 h 113295"/>
                <a:gd name="connsiteX7" fmla="*/ 35683 w 113295"/>
                <a:gd name="connsiteY7" fmla="*/ 61107 h 113295"/>
                <a:gd name="connsiteX8" fmla="*/ 61174 w 113295"/>
                <a:gd name="connsiteY8" fmla="*/ 86599 h 113295"/>
                <a:gd name="connsiteX9" fmla="*/ 86666 w 113295"/>
                <a:gd name="connsiteY9" fmla="*/ 61107 h 113295"/>
                <a:gd name="connsiteX10" fmla="*/ 61174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74" y="15789"/>
                  </a:moveTo>
                  <a:cubicBezTo>
                    <a:pt x="86666" y="15789"/>
                    <a:pt x="106492" y="35616"/>
                    <a:pt x="106492" y="61107"/>
                  </a:cubicBezTo>
                  <a:cubicBezTo>
                    <a:pt x="106492" y="86599"/>
                    <a:pt x="86666" y="106425"/>
                    <a:pt x="61174" y="106425"/>
                  </a:cubicBezTo>
                  <a:cubicBezTo>
                    <a:pt x="35683" y="106425"/>
                    <a:pt x="15856" y="86599"/>
                    <a:pt x="15856" y="61107"/>
                  </a:cubicBezTo>
                  <a:cubicBezTo>
                    <a:pt x="14440" y="35616"/>
                    <a:pt x="35683" y="15789"/>
                    <a:pt x="61174" y="15789"/>
                  </a:cubicBezTo>
                  <a:lnTo>
                    <a:pt x="61174" y="15789"/>
                  </a:lnTo>
                  <a:close/>
                  <a:moveTo>
                    <a:pt x="61174" y="35616"/>
                  </a:moveTo>
                  <a:cubicBezTo>
                    <a:pt x="47012" y="35616"/>
                    <a:pt x="35683" y="46945"/>
                    <a:pt x="35683" y="61107"/>
                  </a:cubicBezTo>
                  <a:cubicBezTo>
                    <a:pt x="35683" y="75269"/>
                    <a:pt x="47012" y="86599"/>
                    <a:pt x="61174" y="86599"/>
                  </a:cubicBezTo>
                  <a:cubicBezTo>
                    <a:pt x="75336" y="86599"/>
                    <a:pt x="86666" y="75269"/>
                    <a:pt x="86666" y="61107"/>
                  </a:cubicBezTo>
                  <a:cubicBezTo>
                    <a:pt x="86666" y="46945"/>
                    <a:pt x="75336" y="35616"/>
                    <a:pt x="61174"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9" name="Freeform: Shape 1978">
              <a:extLst>
                <a:ext uri="{FF2B5EF4-FFF2-40B4-BE49-F238E27FC236}">
                  <a16:creationId xmlns:a16="http://schemas.microsoft.com/office/drawing/2014/main" id="{C98A654D-03EE-4196-95B7-795800B561B1}"/>
                </a:ext>
              </a:extLst>
            </p:cNvPr>
            <p:cNvSpPr/>
            <p:nvPr/>
          </p:nvSpPr>
          <p:spPr>
            <a:xfrm>
              <a:off x="7475093" y="997190"/>
              <a:ext cx="113295" cy="113295"/>
            </a:xfrm>
            <a:custGeom>
              <a:avLst/>
              <a:gdLst>
                <a:gd name="connsiteX0" fmla="*/ 61174 w 113295"/>
                <a:gd name="connsiteY0" fmla="*/ 15789 h 113295"/>
                <a:gd name="connsiteX1" fmla="*/ 106492 w 113295"/>
                <a:gd name="connsiteY1" fmla="*/ 61107 h 113295"/>
                <a:gd name="connsiteX2" fmla="*/ 61174 w 113295"/>
                <a:gd name="connsiteY2" fmla="*/ 106425 h 113295"/>
                <a:gd name="connsiteX3" fmla="*/ 15856 w 113295"/>
                <a:gd name="connsiteY3" fmla="*/ 61107 h 113295"/>
                <a:gd name="connsiteX4" fmla="*/ 61174 w 113295"/>
                <a:gd name="connsiteY4" fmla="*/ 15789 h 113295"/>
                <a:gd name="connsiteX5" fmla="*/ 61174 w 113295"/>
                <a:gd name="connsiteY5" fmla="*/ 15789 h 113295"/>
                <a:gd name="connsiteX6" fmla="*/ 61174 w 113295"/>
                <a:gd name="connsiteY6" fmla="*/ 35616 h 113295"/>
                <a:gd name="connsiteX7" fmla="*/ 35683 w 113295"/>
                <a:gd name="connsiteY7" fmla="*/ 61107 h 113295"/>
                <a:gd name="connsiteX8" fmla="*/ 61174 w 113295"/>
                <a:gd name="connsiteY8" fmla="*/ 86599 h 113295"/>
                <a:gd name="connsiteX9" fmla="*/ 86666 w 113295"/>
                <a:gd name="connsiteY9" fmla="*/ 61107 h 113295"/>
                <a:gd name="connsiteX10" fmla="*/ 61174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74" y="15789"/>
                  </a:moveTo>
                  <a:cubicBezTo>
                    <a:pt x="86666" y="15789"/>
                    <a:pt x="106492" y="35616"/>
                    <a:pt x="106492" y="61107"/>
                  </a:cubicBezTo>
                  <a:cubicBezTo>
                    <a:pt x="106492" y="86599"/>
                    <a:pt x="86666" y="106425"/>
                    <a:pt x="61174" y="106425"/>
                  </a:cubicBezTo>
                  <a:cubicBezTo>
                    <a:pt x="35683" y="106425"/>
                    <a:pt x="15856" y="86599"/>
                    <a:pt x="15856" y="61107"/>
                  </a:cubicBezTo>
                  <a:cubicBezTo>
                    <a:pt x="14440" y="35616"/>
                    <a:pt x="35683" y="15789"/>
                    <a:pt x="61174" y="15789"/>
                  </a:cubicBezTo>
                  <a:lnTo>
                    <a:pt x="61174" y="15789"/>
                  </a:lnTo>
                  <a:close/>
                  <a:moveTo>
                    <a:pt x="61174" y="35616"/>
                  </a:moveTo>
                  <a:cubicBezTo>
                    <a:pt x="47012" y="35616"/>
                    <a:pt x="35683" y="46945"/>
                    <a:pt x="35683" y="61107"/>
                  </a:cubicBezTo>
                  <a:cubicBezTo>
                    <a:pt x="35683" y="75269"/>
                    <a:pt x="47012" y="86599"/>
                    <a:pt x="61174" y="86599"/>
                  </a:cubicBezTo>
                  <a:cubicBezTo>
                    <a:pt x="75336" y="86599"/>
                    <a:pt x="86666" y="75269"/>
                    <a:pt x="86666" y="61107"/>
                  </a:cubicBezTo>
                  <a:cubicBezTo>
                    <a:pt x="86666" y="46945"/>
                    <a:pt x="75336" y="35616"/>
                    <a:pt x="61174"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0" name="Freeform: Shape 1979">
              <a:extLst>
                <a:ext uri="{FF2B5EF4-FFF2-40B4-BE49-F238E27FC236}">
                  <a16:creationId xmlns:a16="http://schemas.microsoft.com/office/drawing/2014/main" id="{BA1C5F16-339A-4507-BC37-ED203FD3C71C}"/>
                </a:ext>
              </a:extLst>
            </p:cNvPr>
            <p:cNvSpPr/>
            <p:nvPr/>
          </p:nvSpPr>
          <p:spPr>
            <a:xfrm>
              <a:off x="7915595" y="1933292"/>
              <a:ext cx="113295" cy="113295"/>
            </a:xfrm>
            <a:custGeom>
              <a:avLst/>
              <a:gdLst>
                <a:gd name="connsiteX0" fmla="*/ 61107 w 113295"/>
                <a:gd name="connsiteY0" fmla="*/ 15789 h 113295"/>
                <a:gd name="connsiteX1" fmla="*/ 106425 w 113295"/>
                <a:gd name="connsiteY1" fmla="*/ 61107 h 113295"/>
                <a:gd name="connsiteX2" fmla="*/ 61107 w 113295"/>
                <a:gd name="connsiteY2" fmla="*/ 106425 h 113295"/>
                <a:gd name="connsiteX3" fmla="*/ 15789 w 113295"/>
                <a:gd name="connsiteY3" fmla="*/ 61107 h 113295"/>
                <a:gd name="connsiteX4" fmla="*/ 61107 w 113295"/>
                <a:gd name="connsiteY4" fmla="*/ 15789 h 113295"/>
                <a:gd name="connsiteX5" fmla="*/ 61107 w 113295"/>
                <a:gd name="connsiteY5" fmla="*/ 15789 h 113295"/>
                <a:gd name="connsiteX6" fmla="*/ 61107 w 113295"/>
                <a:gd name="connsiteY6" fmla="*/ 35616 h 113295"/>
                <a:gd name="connsiteX7" fmla="*/ 35616 w 113295"/>
                <a:gd name="connsiteY7" fmla="*/ 61107 h 113295"/>
                <a:gd name="connsiteX8" fmla="*/ 61107 w 113295"/>
                <a:gd name="connsiteY8" fmla="*/ 86599 h 113295"/>
                <a:gd name="connsiteX9" fmla="*/ 86599 w 113295"/>
                <a:gd name="connsiteY9" fmla="*/ 61107 h 113295"/>
                <a:gd name="connsiteX10" fmla="*/ 61107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07" y="15789"/>
                  </a:moveTo>
                  <a:cubicBezTo>
                    <a:pt x="86599" y="15789"/>
                    <a:pt x="106425" y="35616"/>
                    <a:pt x="106425" y="61107"/>
                  </a:cubicBezTo>
                  <a:cubicBezTo>
                    <a:pt x="106425" y="86599"/>
                    <a:pt x="86599" y="106425"/>
                    <a:pt x="61107" y="106425"/>
                  </a:cubicBezTo>
                  <a:cubicBezTo>
                    <a:pt x="35616" y="106425"/>
                    <a:pt x="15789" y="86599"/>
                    <a:pt x="15789" y="61107"/>
                  </a:cubicBezTo>
                  <a:cubicBezTo>
                    <a:pt x="15789" y="35616"/>
                    <a:pt x="35616" y="15789"/>
                    <a:pt x="61107" y="15789"/>
                  </a:cubicBezTo>
                  <a:lnTo>
                    <a:pt x="61107" y="15789"/>
                  </a:lnTo>
                  <a:close/>
                  <a:moveTo>
                    <a:pt x="61107" y="35616"/>
                  </a:moveTo>
                  <a:cubicBezTo>
                    <a:pt x="46945" y="35616"/>
                    <a:pt x="35616" y="46945"/>
                    <a:pt x="35616" y="61107"/>
                  </a:cubicBezTo>
                  <a:cubicBezTo>
                    <a:pt x="35616" y="75269"/>
                    <a:pt x="46945" y="86599"/>
                    <a:pt x="61107" y="86599"/>
                  </a:cubicBezTo>
                  <a:cubicBezTo>
                    <a:pt x="75269" y="86599"/>
                    <a:pt x="86599" y="75269"/>
                    <a:pt x="86599" y="61107"/>
                  </a:cubicBezTo>
                  <a:cubicBezTo>
                    <a:pt x="86599" y="46945"/>
                    <a:pt x="75269" y="35616"/>
                    <a:pt x="61107"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1" name="Freeform: Shape 1980">
              <a:extLst>
                <a:ext uri="{FF2B5EF4-FFF2-40B4-BE49-F238E27FC236}">
                  <a16:creationId xmlns:a16="http://schemas.microsoft.com/office/drawing/2014/main" id="{7C7BDEE4-FCB1-4B94-8579-19A2D70EC645}"/>
                </a:ext>
              </a:extLst>
            </p:cNvPr>
            <p:cNvSpPr/>
            <p:nvPr/>
          </p:nvSpPr>
          <p:spPr>
            <a:xfrm>
              <a:off x="8072792" y="3200782"/>
              <a:ext cx="70810" cy="70810"/>
            </a:xfrm>
            <a:custGeom>
              <a:avLst/>
              <a:gdLst>
                <a:gd name="connsiteX0" fmla="*/ 35615 w 70809"/>
                <a:gd name="connsiteY0" fmla="*/ 55442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2"/>
                  </a:moveTo>
                  <a:cubicBezTo>
                    <a:pt x="46945" y="55442"/>
                    <a:pt x="55442" y="46945"/>
                    <a:pt x="55442" y="35616"/>
                  </a:cubicBezTo>
                  <a:cubicBezTo>
                    <a:pt x="55442" y="24286"/>
                    <a:pt x="46945" y="15789"/>
                    <a:pt x="35615" y="15789"/>
                  </a:cubicBezTo>
                  <a:cubicBezTo>
                    <a:pt x="24286" y="15789"/>
                    <a:pt x="15789" y="24286"/>
                    <a:pt x="15789" y="35616"/>
                  </a:cubicBezTo>
                  <a:cubicBezTo>
                    <a:pt x="15789" y="46945"/>
                    <a:pt x="24286" y="55442"/>
                    <a:pt x="35615"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2" name="Freeform: Shape 1981">
              <a:extLst>
                <a:ext uri="{FF2B5EF4-FFF2-40B4-BE49-F238E27FC236}">
                  <a16:creationId xmlns:a16="http://schemas.microsoft.com/office/drawing/2014/main" id="{39867B81-2C4B-424C-BAEA-4E5181A30A30}"/>
                </a:ext>
              </a:extLst>
            </p:cNvPr>
            <p:cNvSpPr/>
            <p:nvPr/>
          </p:nvSpPr>
          <p:spPr>
            <a:xfrm>
              <a:off x="8030307" y="3788502"/>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7205" y="46945"/>
                    <a:pt x="25702"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3" name="Freeform: Shape 1982">
              <a:extLst>
                <a:ext uri="{FF2B5EF4-FFF2-40B4-BE49-F238E27FC236}">
                  <a16:creationId xmlns:a16="http://schemas.microsoft.com/office/drawing/2014/main" id="{AE9BDA83-8E89-47B3-8059-0D9F2D340A15}"/>
                </a:ext>
              </a:extLst>
            </p:cNvPr>
            <p:cNvSpPr/>
            <p:nvPr/>
          </p:nvSpPr>
          <p:spPr>
            <a:xfrm>
              <a:off x="7679091" y="2964279"/>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4286"/>
                    <a:pt x="46945" y="15789"/>
                    <a:pt x="35616" y="15789"/>
                  </a:cubicBezTo>
                  <a:cubicBezTo>
                    <a:pt x="24286" y="15789"/>
                    <a:pt x="15789" y="24286"/>
                    <a:pt x="15789" y="35616"/>
                  </a:cubicBezTo>
                  <a:cubicBezTo>
                    <a:pt x="15789" y="46945"/>
                    <a:pt x="24286"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4" name="Freeform: Shape 1983">
              <a:extLst>
                <a:ext uri="{FF2B5EF4-FFF2-40B4-BE49-F238E27FC236}">
                  <a16:creationId xmlns:a16="http://schemas.microsoft.com/office/drawing/2014/main" id="{DDFBC9BE-9B74-4E75-92D8-F62D2D504C94}"/>
                </a:ext>
              </a:extLst>
            </p:cNvPr>
            <p:cNvSpPr/>
            <p:nvPr/>
          </p:nvSpPr>
          <p:spPr>
            <a:xfrm>
              <a:off x="8183255" y="3580322"/>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7205" y="46945"/>
                    <a:pt x="25703"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5" name="Freeform: Shape 1984">
              <a:extLst>
                <a:ext uri="{FF2B5EF4-FFF2-40B4-BE49-F238E27FC236}">
                  <a16:creationId xmlns:a16="http://schemas.microsoft.com/office/drawing/2014/main" id="{57DDF0E9-D862-4316-84A3-E266AC704987}"/>
                </a:ext>
              </a:extLst>
            </p:cNvPr>
            <p:cNvSpPr/>
            <p:nvPr/>
          </p:nvSpPr>
          <p:spPr>
            <a:xfrm>
              <a:off x="8797883" y="3401881"/>
              <a:ext cx="70810" cy="70810"/>
            </a:xfrm>
            <a:custGeom>
              <a:avLst/>
              <a:gdLst>
                <a:gd name="connsiteX0" fmla="*/ 35615 w 70809"/>
                <a:gd name="connsiteY0" fmla="*/ 55442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2"/>
                  </a:moveTo>
                  <a:cubicBezTo>
                    <a:pt x="46945" y="55442"/>
                    <a:pt x="55442" y="46945"/>
                    <a:pt x="55442" y="35616"/>
                  </a:cubicBezTo>
                  <a:cubicBezTo>
                    <a:pt x="55442" y="24286"/>
                    <a:pt x="46945" y="15789"/>
                    <a:pt x="35615" y="15789"/>
                  </a:cubicBezTo>
                  <a:cubicBezTo>
                    <a:pt x="24286" y="15789"/>
                    <a:pt x="15789" y="24286"/>
                    <a:pt x="15789" y="35616"/>
                  </a:cubicBezTo>
                  <a:cubicBezTo>
                    <a:pt x="15789" y="46945"/>
                    <a:pt x="25702" y="55442"/>
                    <a:pt x="35615"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6" name="Freeform: Shape 1985">
              <a:extLst>
                <a:ext uri="{FF2B5EF4-FFF2-40B4-BE49-F238E27FC236}">
                  <a16:creationId xmlns:a16="http://schemas.microsoft.com/office/drawing/2014/main" id="{F6C859A5-EE11-419B-95B4-810D9C8CD75F}"/>
                </a:ext>
              </a:extLst>
            </p:cNvPr>
            <p:cNvSpPr/>
            <p:nvPr/>
          </p:nvSpPr>
          <p:spPr>
            <a:xfrm>
              <a:off x="8817709" y="3343818"/>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2"/>
                  </a:cubicBezTo>
                  <a:cubicBezTo>
                    <a:pt x="35616" y="20037"/>
                    <a:pt x="31368" y="15789"/>
                    <a:pt x="25703" y="15789"/>
                  </a:cubicBezTo>
                  <a:cubicBezTo>
                    <a:pt x="20037" y="15789"/>
                    <a:pt x="15789" y="20037"/>
                    <a:pt x="15789" y="25702"/>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7" name="Freeform: Shape 1986">
              <a:extLst>
                <a:ext uri="{FF2B5EF4-FFF2-40B4-BE49-F238E27FC236}">
                  <a16:creationId xmlns:a16="http://schemas.microsoft.com/office/drawing/2014/main" id="{08310EFE-EFC4-4AC7-9BB7-667DCEE5008E}"/>
                </a:ext>
              </a:extLst>
            </p:cNvPr>
            <p:cNvSpPr/>
            <p:nvPr/>
          </p:nvSpPr>
          <p:spPr>
            <a:xfrm>
              <a:off x="9072623" y="3231939"/>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2"/>
                  </a:cubicBezTo>
                  <a:cubicBezTo>
                    <a:pt x="35616" y="20038"/>
                    <a:pt x="31368" y="15789"/>
                    <a:pt x="25703" y="15789"/>
                  </a:cubicBezTo>
                  <a:cubicBezTo>
                    <a:pt x="20037" y="15789"/>
                    <a:pt x="15789" y="20038"/>
                    <a:pt x="15789" y="25702"/>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8" name="Freeform: Shape 1987">
              <a:extLst>
                <a:ext uri="{FF2B5EF4-FFF2-40B4-BE49-F238E27FC236}">
                  <a16:creationId xmlns:a16="http://schemas.microsoft.com/office/drawing/2014/main" id="{A9ED2816-76B4-46E0-B206-66674E2BB384}"/>
                </a:ext>
              </a:extLst>
            </p:cNvPr>
            <p:cNvSpPr/>
            <p:nvPr/>
          </p:nvSpPr>
          <p:spPr>
            <a:xfrm>
              <a:off x="8357447" y="2764596"/>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2"/>
                  </a:cubicBezTo>
                  <a:cubicBezTo>
                    <a:pt x="35616" y="20038"/>
                    <a:pt x="31368" y="15789"/>
                    <a:pt x="25703" y="15789"/>
                  </a:cubicBezTo>
                  <a:cubicBezTo>
                    <a:pt x="20037" y="15789"/>
                    <a:pt x="15789" y="20038"/>
                    <a:pt x="15789" y="25702"/>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9" name="Freeform: Shape 1988">
              <a:extLst>
                <a:ext uri="{FF2B5EF4-FFF2-40B4-BE49-F238E27FC236}">
                  <a16:creationId xmlns:a16="http://schemas.microsoft.com/office/drawing/2014/main" id="{A0E6EB35-9EDC-4045-A7D3-E1F44AA41286}"/>
                </a:ext>
              </a:extLst>
            </p:cNvPr>
            <p:cNvSpPr/>
            <p:nvPr/>
          </p:nvSpPr>
          <p:spPr>
            <a:xfrm>
              <a:off x="8938085" y="3847982"/>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2"/>
                  </a:cubicBezTo>
                  <a:cubicBezTo>
                    <a:pt x="35616" y="20038"/>
                    <a:pt x="31368" y="15789"/>
                    <a:pt x="25703" y="15789"/>
                  </a:cubicBezTo>
                  <a:cubicBezTo>
                    <a:pt x="20037" y="15789"/>
                    <a:pt x="15789" y="20038"/>
                    <a:pt x="15789" y="25702"/>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0" name="Freeform: Shape 1989">
              <a:extLst>
                <a:ext uri="{FF2B5EF4-FFF2-40B4-BE49-F238E27FC236}">
                  <a16:creationId xmlns:a16="http://schemas.microsoft.com/office/drawing/2014/main" id="{5D81754D-2693-4A8C-A1AB-729AC639BACB}"/>
                </a:ext>
              </a:extLst>
            </p:cNvPr>
            <p:cNvSpPr/>
            <p:nvPr/>
          </p:nvSpPr>
          <p:spPr>
            <a:xfrm>
              <a:off x="8160596" y="3717692"/>
              <a:ext cx="42486" cy="42486"/>
            </a:xfrm>
            <a:custGeom>
              <a:avLst/>
              <a:gdLst>
                <a:gd name="connsiteX0" fmla="*/ 25702 w 42485"/>
                <a:gd name="connsiteY0" fmla="*/ 35616 h 42485"/>
                <a:gd name="connsiteX1" fmla="*/ 35615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5" y="31367"/>
                    <a:pt x="35615" y="25702"/>
                  </a:cubicBezTo>
                  <a:cubicBezTo>
                    <a:pt x="35615"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1" name="Freeform: Shape 1990">
              <a:extLst>
                <a:ext uri="{FF2B5EF4-FFF2-40B4-BE49-F238E27FC236}">
                  <a16:creationId xmlns:a16="http://schemas.microsoft.com/office/drawing/2014/main" id="{5B360E99-628C-4BC9-BA48-387CE7AE3D45}"/>
                </a:ext>
              </a:extLst>
            </p:cNvPr>
            <p:cNvSpPr/>
            <p:nvPr/>
          </p:nvSpPr>
          <p:spPr>
            <a:xfrm>
              <a:off x="7850450" y="3342401"/>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7" y="15789"/>
                    <a:pt x="15789" y="20038"/>
                    <a:pt x="15789" y="25702"/>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2" name="Freeform: Shape 1991">
              <a:extLst>
                <a:ext uri="{FF2B5EF4-FFF2-40B4-BE49-F238E27FC236}">
                  <a16:creationId xmlns:a16="http://schemas.microsoft.com/office/drawing/2014/main" id="{8D892C8E-054D-4089-92E3-8C97E7B6EDAF}"/>
                </a:ext>
              </a:extLst>
            </p:cNvPr>
            <p:cNvSpPr/>
            <p:nvPr/>
          </p:nvSpPr>
          <p:spPr>
            <a:xfrm>
              <a:off x="7391604" y="3568992"/>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3" name="Freeform: Shape 1992">
              <a:extLst>
                <a:ext uri="{FF2B5EF4-FFF2-40B4-BE49-F238E27FC236}">
                  <a16:creationId xmlns:a16="http://schemas.microsoft.com/office/drawing/2014/main" id="{61D51096-A13E-4BAE-BEF7-ABB540128489}"/>
                </a:ext>
              </a:extLst>
            </p:cNvPr>
            <p:cNvSpPr/>
            <p:nvPr/>
          </p:nvSpPr>
          <p:spPr>
            <a:xfrm>
              <a:off x="7026227" y="3546333"/>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8" y="15789"/>
                    <a:pt x="15789" y="20038"/>
                    <a:pt x="15789" y="25703"/>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4" name="Freeform: Shape 1993">
              <a:extLst>
                <a:ext uri="{FF2B5EF4-FFF2-40B4-BE49-F238E27FC236}">
                  <a16:creationId xmlns:a16="http://schemas.microsoft.com/office/drawing/2014/main" id="{11E17E6C-AF64-4353-A8EE-4AE2312F1544}"/>
                </a:ext>
              </a:extLst>
            </p:cNvPr>
            <p:cNvSpPr/>
            <p:nvPr/>
          </p:nvSpPr>
          <p:spPr>
            <a:xfrm>
              <a:off x="7199002" y="3026591"/>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9"/>
                    <a:pt x="55442" y="15789"/>
                    <a:pt x="41280" y="15789"/>
                  </a:cubicBezTo>
                  <a:cubicBezTo>
                    <a:pt x="27118" y="15789"/>
                    <a:pt x="15789" y="27119"/>
                    <a:pt x="15789" y="41280"/>
                  </a:cubicBezTo>
                  <a:cubicBezTo>
                    <a:pt x="15789" y="54026"/>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5" name="Freeform: Shape 1994">
              <a:extLst>
                <a:ext uri="{FF2B5EF4-FFF2-40B4-BE49-F238E27FC236}">
                  <a16:creationId xmlns:a16="http://schemas.microsoft.com/office/drawing/2014/main" id="{6167CA0D-401B-4987-B078-50CD35586A6A}"/>
                </a:ext>
              </a:extLst>
            </p:cNvPr>
            <p:cNvSpPr/>
            <p:nvPr/>
          </p:nvSpPr>
          <p:spPr>
            <a:xfrm>
              <a:off x="8889815" y="3767259"/>
              <a:ext cx="70810" cy="70810"/>
            </a:xfrm>
            <a:custGeom>
              <a:avLst/>
              <a:gdLst>
                <a:gd name="connsiteX0" fmla="*/ 41400 w 70809"/>
                <a:gd name="connsiteY0" fmla="*/ 66772 h 70809"/>
                <a:gd name="connsiteX1" fmla="*/ 66891 w 70809"/>
                <a:gd name="connsiteY1" fmla="*/ 41280 h 70809"/>
                <a:gd name="connsiteX2" fmla="*/ 41400 w 70809"/>
                <a:gd name="connsiteY2" fmla="*/ 15789 h 70809"/>
                <a:gd name="connsiteX3" fmla="*/ 15909 w 70809"/>
                <a:gd name="connsiteY3" fmla="*/ 41280 h 70809"/>
                <a:gd name="connsiteX4" fmla="*/ 4140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400" y="66772"/>
                  </a:moveTo>
                  <a:cubicBezTo>
                    <a:pt x="55562" y="66772"/>
                    <a:pt x="66891" y="55442"/>
                    <a:pt x="66891" y="41280"/>
                  </a:cubicBezTo>
                  <a:cubicBezTo>
                    <a:pt x="66891" y="27119"/>
                    <a:pt x="55562" y="15789"/>
                    <a:pt x="41400" y="15789"/>
                  </a:cubicBezTo>
                  <a:cubicBezTo>
                    <a:pt x="27238" y="15789"/>
                    <a:pt x="15909" y="27119"/>
                    <a:pt x="15909" y="41280"/>
                  </a:cubicBezTo>
                  <a:cubicBezTo>
                    <a:pt x="14492" y="55442"/>
                    <a:pt x="25821" y="66772"/>
                    <a:pt x="4140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6" name="Freeform: Shape 1995">
              <a:extLst>
                <a:ext uri="{FF2B5EF4-FFF2-40B4-BE49-F238E27FC236}">
                  <a16:creationId xmlns:a16="http://schemas.microsoft.com/office/drawing/2014/main" id="{DA98F61C-CF47-47A3-808F-E84B698E0EBC}"/>
                </a:ext>
              </a:extLst>
            </p:cNvPr>
            <p:cNvSpPr/>
            <p:nvPr/>
          </p:nvSpPr>
          <p:spPr>
            <a:xfrm>
              <a:off x="8955079" y="3543501"/>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7" y="15789"/>
                    <a:pt x="15789" y="20038"/>
                    <a:pt x="15789" y="25702"/>
                  </a:cubicBezTo>
                  <a:cubicBezTo>
                    <a:pt x="17205" y="31367"/>
                    <a:pt x="21454"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7" name="Freeform: Shape 1996">
              <a:extLst>
                <a:ext uri="{FF2B5EF4-FFF2-40B4-BE49-F238E27FC236}">
                  <a16:creationId xmlns:a16="http://schemas.microsoft.com/office/drawing/2014/main" id="{20CB1610-86F1-42A0-8FFE-BF796CD3D667}"/>
                </a:ext>
              </a:extLst>
            </p:cNvPr>
            <p:cNvSpPr/>
            <p:nvPr/>
          </p:nvSpPr>
          <p:spPr>
            <a:xfrm>
              <a:off x="9079704" y="3549165"/>
              <a:ext cx="28324" cy="28324"/>
            </a:xfrm>
            <a:custGeom>
              <a:avLst/>
              <a:gdLst>
                <a:gd name="connsiteX0" fmla="*/ 20037 w 28323"/>
                <a:gd name="connsiteY0" fmla="*/ 24286 h 28323"/>
                <a:gd name="connsiteX1" fmla="*/ 24287 w 28323"/>
                <a:gd name="connsiteY1" fmla="*/ 20037 h 28323"/>
                <a:gd name="connsiteX2" fmla="*/ 20037 w 28323"/>
                <a:gd name="connsiteY2" fmla="*/ 15789 h 28323"/>
                <a:gd name="connsiteX3" fmla="*/ 15789 w 28323"/>
                <a:gd name="connsiteY3" fmla="*/ 20037 h 28323"/>
                <a:gd name="connsiteX4" fmla="*/ 20037 w 28323"/>
                <a:gd name="connsiteY4" fmla="*/ 24286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0037" y="24286"/>
                  </a:moveTo>
                  <a:cubicBezTo>
                    <a:pt x="22870" y="24286"/>
                    <a:pt x="24287" y="21454"/>
                    <a:pt x="24287" y="20037"/>
                  </a:cubicBezTo>
                  <a:cubicBezTo>
                    <a:pt x="24287" y="17205"/>
                    <a:pt x="21454" y="15789"/>
                    <a:pt x="20037" y="15789"/>
                  </a:cubicBezTo>
                  <a:cubicBezTo>
                    <a:pt x="17206" y="15789"/>
                    <a:pt x="15789" y="18621"/>
                    <a:pt x="15789" y="20037"/>
                  </a:cubicBezTo>
                  <a:cubicBezTo>
                    <a:pt x="15789" y="21454"/>
                    <a:pt x="17206" y="24286"/>
                    <a:pt x="20037"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8" name="Freeform: Shape 1997">
              <a:extLst>
                <a:ext uri="{FF2B5EF4-FFF2-40B4-BE49-F238E27FC236}">
                  <a16:creationId xmlns:a16="http://schemas.microsoft.com/office/drawing/2014/main" id="{F5D410DA-48F8-417C-9C65-A2649F2BBC6A}"/>
                </a:ext>
              </a:extLst>
            </p:cNvPr>
            <p:cNvSpPr/>
            <p:nvPr/>
          </p:nvSpPr>
          <p:spPr>
            <a:xfrm>
              <a:off x="9062710" y="3747432"/>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2"/>
                  </a:cubicBezTo>
                  <a:cubicBezTo>
                    <a:pt x="35616" y="20037"/>
                    <a:pt x="31368" y="15789"/>
                    <a:pt x="25703" y="15789"/>
                  </a:cubicBezTo>
                  <a:cubicBezTo>
                    <a:pt x="20038" y="15789"/>
                    <a:pt x="15789" y="20037"/>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9" name="Freeform: Shape 1998">
              <a:extLst>
                <a:ext uri="{FF2B5EF4-FFF2-40B4-BE49-F238E27FC236}">
                  <a16:creationId xmlns:a16="http://schemas.microsoft.com/office/drawing/2014/main" id="{BDA3D9D7-49BE-416D-8233-3F369AD8B8C1}"/>
                </a:ext>
              </a:extLst>
            </p:cNvPr>
            <p:cNvSpPr/>
            <p:nvPr/>
          </p:nvSpPr>
          <p:spPr>
            <a:xfrm>
              <a:off x="8753980" y="3662461"/>
              <a:ext cx="99133" cy="99133"/>
            </a:xfrm>
            <a:custGeom>
              <a:avLst/>
              <a:gdLst>
                <a:gd name="connsiteX0" fmla="*/ 49778 w 99133"/>
                <a:gd name="connsiteY0" fmla="*/ 83766 h 99133"/>
                <a:gd name="connsiteX1" fmla="*/ 83766 w 99133"/>
                <a:gd name="connsiteY1" fmla="*/ 49777 h 99133"/>
                <a:gd name="connsiteX2" fmla="*/ 49778 w 99133"/>
                <a:gd name="connsiteY2" fmla="*/ 15789 h 99133"/>
                <a:gd name="connsiteX3" fmla="*/ 15789 w 99133"/>
                <a:gd name="connsiteY3" fmla="*/ 49777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7"/>
                  </a:cubicBezTo>
                  <a:cubicBezTo>
                    <a:pt x="83766" y="31367"/>
                    <a:pt x="68188" y="15789"/>
                    <a:pt x="49778" y="15789"/>
                  </a:cubicBezTo>
                  <a:cubicBezTo>
                    <a:pt x="31368" y="15789"/>
                    <a:pt x="15789" y="31367"/>
                    <a:pt x="15789" y="49777"/>
                  </a:cubicBezTo>
                  <a:cubicBezTo>
                    <a:pt x="15789" y="68188"/>
                    <a:pt x="31368" y="83766"/>
                    <a:pt x="49778" y="8376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0" name="Freeform: Shape 1999">
              <a:extLst>
                <a:ext uri="{FF2B5EF4-FFF2-40B4-BE49-F238E27FC236}">
                  <a16:creationId xmlns:a16="http://schemas.microsoft.com/office/drawing/2014/main" id="{5B1A75A0-AC2C-4A8A-BBF2-B2B78EA60C55}"/>
                </a:ext>
              </a:extLst>
            </p:cNvPr>
            <p:cNvSpPr/>
            <p:nvPr/>
          </p:nvSpPr>
          <p:spPr>
            <a:xfrm>
              <a:off x="9004646" y="3661044"/>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9"/>
                    <a:pt x="55442" y="15789"/>
                    <a:pt x="41280" y="15789"/>
                  </a:cubicBezTo>
                  <a:cubicBezTo>
                    <a:pt x="27118" y="15789"/>
                    <a:pt x="15789" y="27119"/>
                    <a:pt x="15789" y="41280"/>
                  </a:cubicBezTo>
                  <a:cubicBezTo>
                    <a:pt x="15789" y="55442"/>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1" name="Freeform: Shape 2000">
              <a:extLst>
                <a:ext uri="{FF2B5EF4-FFF2-40B4-BE49-F238E27FC236}">
                  <a16:creationId xmlns:a16="http://schemas.microsoft.com/office/drawing/2014/main" id="{03AC5577-0AAC-491C-BEE7-FF3F72A4E732}"/>
                </a:ext>
              </a:extLst>
            </p:cNvPr>
            <p:cNvSpPr/>
            <p:nvPr/>
          </p:nvSpPr>
          <p:spPr>
            <a:xfrm>
              <a:off x="9149098" y="4153879"/>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4200"/>
                    <a:pt x="21453" y="41281"/>
                    <a:pt x="28534"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2" name="Freeform: Shape 2001">
              <a:extLst>
                <a:ext uri="{FF2B5EF4-FFF2-40B4-BE49-F238E27FC236}">
                  <a16:creationId xmlns:a16="http://schemas.microsoft.com/office/drawing/2014/main" id="{2B8C2C2A-6A17-4707-9BD8-D70E5DE184E0}"/>
                </a:ext>
              </a:extLst>
            </p:cNvPr>
            <p:cNvSpPr/>
            <p:nvPr/>
          </p:nvSpPr>
          <p:spPr>
            <a:xfrm>
              <a:off x="9285052" y="3983936"/>
              <a:ext cx="56648" cy="56648"/>
            </a:xfrm>
            <a:custGeom>
              <a:avLst/>
              <a:gdLst>
                <a:gd name="connsiteX0" fmla="*/ 28535 w 56647"/>
                <a:gd name="connsiteY0" fmla="*/ 41281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1"/>
                  </a:moveTo>
                  <a:cubicBezTo>
                    <a:pt x="35616" y="41281"/>
                    <a:pt x="41280" y="35616"/>
                    <a:pt x="41280" y="28535"/>
                  </a:cubicBezTo>
                  <a:cubicBezTo>
                    <a:pt x="41280" y="21454"/>
                    <a:pt x="35616" y="15789"/>
                    <a:pt x="28535" y="15789"/>
                  </a:cubicBezTo>
                  <a:cubicBezTo>
                    <a:pt x="21454" y="15789"/>
                    <a:pt x="15789" y="21454"/>
                    <a:pt x="15789" y="28535"/>
                  </a:cubicBezTo>
                  <a:cubicBezTo>
                    <a:pt x="15789" y="34200"/>
                    <a:pt x="21454" y="41281"/>
                    <a:pt x="28535"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3" name="Freeform: Shape 2002">
              <a:extLst>
                <a:ext uri="{FF2B5EF4-FFF2-40B4-BE49-F238E27FC236}">
                  <a16:creationId xmlns:a16="http://schemas.microsoft.com/office/drawing/2014/main" id="{2079D33F-9043-40B9-9C92-DD0BE3259421}"/>
                </a:ext>
              </a:extLst>
            </p:cNvPr>
            <p:cNvSpPr/>
            <p:nvPr/>
          </p:nvSpPr>
          <p:spPr>
            <a:xfrm>
              <a:off x="9235485" y="4330902"/>
              <a:ext cx="70810" cy="70810"/>
            </a:xfrm>
            <a:custGeom>
              <a:avLst/>
              <a:gdLst>
                <a:gd name="connsiteX0" fmla="*/ 35616 w 70809"/>
                <a:gd name="connsiteY0" fmla="*/ 55443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3"/>
                  </a:moveTo>
                  <a:cubicBezTo>
                    <a:pt x="46945" y="55443"/>
                    <a:pt x="55442" y="46945"/>
                    <a:pt x="55442" y="35616"/>
                  </a:cubicBezTo>
                  <a:cubicBezTo>
                    <a:pt x="55442" y="24286"/>
                    <a:pt x="46945" y="15789"/>
                    <a:pt x="35616" y="15789"/>
                  </a:cubicBezTo>
                  <a:cubicBezTo>
                    <a:pt x="24287" y="15789"/>
                    <a:pt x="15789" y="24286"/>
                    <a:pt x="15789" y="35616"/>
                  </a:cubicBezTo>
                  <a:cubicBezTo>
                    <a:pt x="15789" y="45529"/>
                    <a:pt x="24287" y="55443"/>
                    <a:pt x="35616" y="554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4" name="Freeform: Shape 2003">
              <a:extLst>
                <a:ext uri="{FF2B5EF4-FFF2-40B4-BE49-F238E27FC236}">
                  <a16:creationId xmlns:a16="http://schemas.microsoft.com/office/drawing/2014/main" id="{522897D6-A4A8-4587-A103-DC5126780F98}"/>
                </a:ext>
              </a:extLst>
            </p:cNvPr>
            <p:cNvSpPr/>
            <p:nvPr/>
          </p:nvSpPr>
          <p:spPr>
            <a:xfrm>
              <a:off x="9102364" y="4264342"/>
              <a:ext cx="113295" cy="113295"/>
            </a:xfrm>
            <a:custGeom>
              <a:avLst/>
              <a:gdLst>
                <a:gd name="connsiteX0" fmla="*/ 56858 w 113295"/>
                <a:gd name="connsiteY0" fmla="*/ 15789 h 113295"/>
                <a:gd name="connsiteX1" fmla="*/ 97928 w 113295"/>
                <a:gd name="connsiteY1" fmla="*/ 56858 h 113295"/>
                <a:gd name="connsiteX2" fmla="*/ 56858 w 113295"/>
                <a:gd name="connsiteY2" fmla="*/ 97928 h 113295"/>
                <a:gd name="connsiteX3" fmla="*/ 15789 w 113295"/>
                <a:gd name="connsiteY3" fmla="*/ 56858 h 113295"/>
                <a:gd name="connsiteX4" fmla="*/ 56858 w 113295"/>
                <a:gd name="connsiteY4" fmla="*/ 15789 h 113295"/>
                <a:gd name="connsiteX5" fmla="*/ 56858 w 113295"/>
                <a:gd name="connsiteY5" fmla="*/ 15789 h 113295"/>
                <a:gd name="connsiteX6" fmla="*/ 56858 w 113295"/>
                <a:gd name="connsiteY6" fmla="*/ 34199 h 113295"/>
                <a:gd name="connsiteX7" fmla="*/ 34199 w 113295"/>
                <a:gd name="connsiteY7" fmla="*/ 56858 h 113295"/>
                <a:gd name="connsiteX8" fmla="*/ 56858 w 113295"/>
                <a:gd name="connsiteY8" fmla="*/ 79518 h 113295"/>
                <a:gd name="connsiteX9" fmla="*/ 79518 w 113295"/>
                <a:gd name="connsiteY9" fmla="*/ 56858 h 113295"/>
                <a:gd name="connsiteX10" fmla="*/ 56858 w 113295"/>
                <a:gd name="connsiteY10" fmla="*/ 34199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56858" y="15789"/>
                  </a:moveTo>
                  <a:cubicBezTo>
                    <a:pt x="79518" y="15789"/>
                    <a:pt x="97928" y="34199"/>
                    <a:pt x="97928" y="56858"/>
                  </a:cubicBezTo>
                  <a:cubicBezTo>
                    <a:pt x="97928" y="79518"/>
                    <a:pt x="79518" y="97928"/>
                    <a:pt x="56858" y="97928"/>
                  </a:cubicBezTo>
                  <a:cubicBezTo>
                    <a:pt x="34199" y="97928"/>
                    <a:pt x="15789" y="79518"/>
                    <a:pt x="15789" y="56858"/>
                  </a:cubicBezTo>
                  <a:cubicBezTo>
                    <a:pt x="15789" y="35616"/>
                    <a:pt x="34199" y="15789"/>
                    <a:pt x="56858" y="15789"/>
                  </a:cubicBezTo>
                  <a:lnTo>
                    <a:pt x="56858" y="15789"/>
                  </a:lnTo>
                  <a:close/>
                  <a:moveTo>
                    <a:pt x="56858" y="34199"/>
                  </a:moveTo>
                  <a:cubicBezTo>
                    <a:pt x="44113" y="34199"/>
                    <a:pt x="34199" y="44113"/>
                    <a:pt x="34199" y="56858"/>
                  </a:cubicBezTo>
                  <a:cubicBezTo>
                    <a:pt x="34199" y="69604"/>
                    <a:pt x="44113" y="79518"/>
                    <a:pt x="56858" y="79518"/>
                  </a:cubicBezTo>
                  <a:cubicBezTo>
                    <a:pt x="69604" y="79518"/>
                    <a:pt x="79518" y="69604"/>
                    <a:pt x="79518" y="56858"/>
                  </a:cubicBezTo>
                  <a:cubicBezTo>
                    <a:pt x="80933" y="45529"/>
                    <a:pt x="69604" y="34199"/>
                    <a:pt x="56858" y="341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5" name="Freeform: Shape 2004">
              <a:extLst>
                <a:ext uri="{FF2B5EF4-FFF2-40B4-BE49-F238E27FC236}">
                  <a16:creationId xmlns:a16="http://schemas.microsoft.com/office/drawing/2014/main" id="{10B682AD-FF02-4E52-8B6A-A4C1D1B4BA6C}"/>
                </a:ext>
              </a:extLst>
            </p:cNvPr>
            <p:cNvSpPr/>
            <p:nvPr/>
          </p:nvSpPr>
          <p:spPr>
            <a:xfrm>
              <a:off x="9263809" y="4211943"/>
              <a:ext cx="70810" cy="70810"/>
            </a:xfrm>
            <a:custGeom>
              <a:avLst/>
              <a:gdLst>
                <a:gd name="connsiteX0" fmla="*/ 38449 w 70809"/>
                <a:gd name="connsiteY0" fmla="*/ 61107 h 70809"/>
                <a:gd name="connsiteX1" fmla="*/ 61107 w 70809"/>
                <a:gd name="connsiteY1" fmla="*/ 38448 h 70809"/>
                <a:gd name="connsiteX2" fmla="*/ 38449 w 70809"/>
                <a:gd name="connsiteY2" fmla="*/ 15789 h 70809"/>
                <a:gd name="connsiteX3" fmla="*/ 15789 w 70809"/>
                <a:gd name="connsiteY3" fmla="*/ 38448 h 70809"/>
                <a:gd name="connsiteX4" fmla="*/ 38449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9" y="61107"/>
                  </a:moveTo>
                  <a:cubicBezTo>
                    <a:pt x="51194" y="61107"/>
                    <a:pt x="61107" y="51194"/>
                    <a:pt x="61107" y="38448"/>
                  </a:cubicBezTo>
                  <a:cubicBezTo>
                    <a:pt x="61107" y="25703"/>
                    <a:pt x="51194" y="15789"/>
                    <a:pt x="38449" y="15789"/>
                  </a:cubicBezTo>
                  <a:cubicBezTo>
                    <a:pt x="25703" y="15789"/>
                    <a:pt x="15789" y="25703"/>
                    <a:pt x="15789" y="38448"/>
                  </a:cubicBezTo>
                  <a:cubicBezTo>
                    <a:pt x="15789" y="51194"/>
                    <a:pt x="25703" y="61107"/>
                    <a:pt x="38449"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6" name="Freeform: Shape 2005">
              <a:extLst>
                <a:ext uri="{FF2B5EF4-FFF2-40B4-BE49-F238E27FC236}">
                  <a16:creationId xmlns:a16="http://schemas.microsoft.com/office/drawing/2014/main" id="{8F0C11E2-8438-4AC8-A0F9-7DA379A8A040}"/>
                </a:ext>
              </a:extLst>
            </p:cNvPr>
            <p:cNvSpPr/>
            <p:nvPr/>
          </p:nvSpPr>
          <p:spPr>
            <a:xfrm>
              <a:off x="8846033" y="4107144"/>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30" y="55442"/>
                    <a:pt x="55442" y="46945"/>
                    <a:pt x="55442" y="35616"/>
                  </a:cubicBezTo>
                  <a:cubicBezTo>
                    <a:pt x="55442" y="25703"/>
                    <a:pt x="46945" y="15789"/>
                    <a:pt x="35616" y="15789"/>
                  </a:cubicBezTo>
                  <a:cubicBezTo>
                    <a:pt x="25703" y="15789"/>
                    <a:pt x="15789" y="24286"/>
                    <a:pt x="15789" y="35616"/>
                  </a:cubicBezTo>
                  <a:cubicBezTo>
                    <a:pt x="17206" y="46945"/>
                    <a:pt x="25703"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7" name="Freeform: Shape 2006">
              <a:extLst>
                <a:ext uri="{FF2B5EF4-FFF2-40B4-BE49-F238E27FC236}">
                  <a16:creationId xmlns:a16="http://schemas.microsoft.com/office/drawing/2014/main" id="{2AE41BB5-9815-4AE2-9ED5-F605158FAF5D}"/>
                </a:ext>
              </a:extLst>
            </p:cNvPr>
            <p:cNvSpPr/>
            <p:nvPr/>
          </p:nvSpPr>
          <p:spPr>
            <a:xfrm>
              <a:off x="8755397" y="3904629"/>
              <a:ext cx="42486" cy="42486"/>
            </a:xfrm>
            <a:custGeom>
              <a:avLst/>
              <a:gdLst>
                <a:gd name="connsiteX0" fmla="*/ 25702 w 42485"/>
                <a:gd name="connsiteY0" fmla="*/ 35616 h 42485"/>
                <a:gd name="connsiteX1" fmla="*/ 35615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5" y="31367"/>
                    <a:pt x="35615" y="25702"/>
                  </a:cubicBezTo>
                  <a:cubicBezTo>
                    <a:pt x="35615" y="20038"/>
                    <a:pt x="31367" y="15789"/>
                    <a:pt x="25702" y="15789"/>
                  </a:cubicBezTo>
                  <a:cubicBezTo>
                    <a:pt x="20037" y="15789"/>
                    <a:pt x="15789" y="20038"/>
                    <a:pt x="15789" y="25702"/>
                  </a:cubicBezTo>
                  <a:cubicBezTo>
                    <a:pt x="17205" y="31367"/>
                    <a:pt x="21453"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8" name="Freeform: Shape 2007">
              <a:extLst>
                <a:ext uri="{FF2B5EF4-FFF2-40B4-BE49-F238E27FC236}">
                  <a16:creationId xmlns:a16="http://schemas.microsoft.com/office/drawing/2014/main" id="{F25B6528-C328-4C6B-B911-F8BF29A1B435}"/>
                </a:ext>
              </a:extLst>
            </p:cNvPr>
            <p:cNvSpPr/>
            <p:nvPr/>
          </p:nvSpPr>
          <p:spPr>
            <a:xfrm>
              <a:off x="8885309" y="4025006"/>
              <a:ext cx="28324" cy="28324"/>
            </a:xfrm>
            <a:custGeom>
              <a:avLst/>
              <a:gdLst>
                <a:gd name="connsiteX0" fmla="*/ 20415 w 28323"/>
                <a:gd name="connsiteY0" fmla="*/ 24286 h 28323"/>
                <a:gd name="connsiteX1" fmla="*/ 24663 w 28323"/>
                <a:gd name="connsiteY1" fmla="*/ 20037 h 28323"/>
                <a:gd name="connsiteX2" fmla="*/ 20415 w 28323"/>
                <a:gd name="connsiteY2" fmla="*/ 15789 h 28323"/>
                <a:gd name="connsiteX3" fmla="*/ 16166 w 28323"/>
                <a:gd name="connsiteY3" fmla="*/ 20037 h 28323"/>
                <a:gd name="connsiteX4" fmla="*/ 20415 w 28323"/>
                <a:gd name="connsiteY4" fmla="*/ 24286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0415" y="24286"/>
                  </a:moveTo>
                  <a:cubicBezTo>
                    <a:pt x="23246" y="24286"/>
                    <a:pt x="24663" y="21454"/>
                    <a:pt x="24663" y="20037"/>
                  </a:cubicBezTo>
                  <a:cubicBezTo>
                    <a:pt x="24663" y="17205"/>
                    <a:pt x="21831" y="15789"/>
                    <a:pt x="20415" y="15789"/>
                  </a:cubicBezTo>
                  <a:cubicBezTo>
                    <a:pt x="17582" y="15789"/>
                    <a:pt x="16166" y="18621"/>
                    <a:pt x="16166" y="20037"/>
                  </a:cubicBezTo>
                  <a:cubicBezTo>
                    <a:pt x="14750" y="22870"/>
                    <a:pt x="17582" y="24286"/>
                    <a:pt x="20415"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9" name="Freeform: Shape 2008">
              <a:extLst>
                <a:ext uri="{FF2B5EF4-FFF2-40B4-BE49-F238E27FC236}">
                  <a16:creationId xmlns:a16="http://schemas.microsoft.com/office/drawing/2014/main" id="{3EB8EF82-C99F-430D-B636-75B823C08BA1}"/>
                </a:ext>
              </a:extLst>
            </p:cNvPr>
            <p:cNvSpPr/>
            <p:nvPr/>
          </p:nvSpPr>
          <p:spPr>
            <a:xfrm>
              <a:off x="8806379" y="4017925"/>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0" name="Freeform: Shape 2009">
              <a:extLst>
                <a:ext uri="{FF2B5EF4-FFF2-40B4-BE49-F238E27FC236}">
                  <a16:creationId xmlns:a16="http://schemas.microsoft.com/office/drawing/2014/main" id="{53C7E426-3CFB-4A2E-AD67-91A4B37208BF}"/>
                </a:ext>
              </a:extLst>
            </p:cNvPr>
            <p:cNvSpPr/>
            <p:nvPr/>
          </p:nvSpPr>
          <p:spPr>
            <a:xfrm>
              <a:off x="8785137" y="3772923"/>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1" name="Freeform: Shape 2010">
              <a:extLst>
                <a:ext uri="{FF2B5EF4-FFF2-40B4-BE49-F238E27FC236}">
                  <a16:creationId xmlns:a16="http://schemas.microsoft.com/office/drawing/2014/main" id="{3A4B1AB5-9CD5-44AE-8139-2D50B18D16D6}"/>
                </a:ext>
              </a:extLst>
            </p:cNvPr>
            <p:cNvSpPr/>
            <p:nvPr/>
          </p:nvSpPr>
          <p:spPr>
            <a:xfrm>
              <a:off x="8864443" y="4051913"/>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2"/>
                  </a:cubicBezTo>
                  <a:cubicBezTo>
                    <a:pt x="35616" y="20037"/>
                    <a:pt x="31368" y="15789"/>
                    <a:pt x="25703" y="15789"/>
                  </a:cubicBezTo>
                  <a:cubicBezTo>
                    <a:pt x="20038" y="15789"/>
                    <a:pt x="15789" y="20037"/>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2" name="Freeform: Shape 2011">
              <a:extLst>
                <a:ext uri="{FF2B5EF4-FFF2-40B4-BE49-F238E27FC236}">
                  <a16:creationId xmlns:a16="http://schemas.microsoft.com/office/drawing/2014/main" id="{8518BDAF-AE90-4682-8EB8-057E5ACEAF6B}"/>
                </a:ext>
              </a:extLst>
            </p:cNvPr>
            <p:cNvSpPr/>
            <p:nvPr/>
          </p:nvSpPr>
          <p:spPr>
            <a:xfrm>
              <a:off x="9415342" y="3578905"/>
              <a:ext cx="42486" cy="42486"/>
            </a:xfrm>
            <a:custGeom>
              <a:avLst/>
              <a:gdLst>
                <a:gd name="connsiteX0" fmla="*/ 27118 w 42485"/>
                <a:gd name="connsiteY0" fmla="*/ 38448 h 42485"/>
                <a:gd name="connsiteX1" fmla="*/ 38448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8" y="32783"/>
                    <a:pt x="38448" y="27119"/>
                  </a:cubicBezTo>
                  <a:cubicBezTo>
                    <a:pt x="38448" y="21454"/>
                    <a:pt x="32783" y="15789"/>
                    <a:pt x="27118" y="15789"/>
                  </a:cubicBezTo>
                  <a:cubicBezTo>
                    <a:pt x="21454" y="15789"/>
                    <a:pt x="15789" y="21454"/>
                    <a:pt x="15789" y="27119"/>
                  </a:cubicBezTo>
                  <a:cubicBezTo>
                    <a:pt x="15789" y="32783"/>
                    <a:pt x="21454"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3" name="Freeform: Shape 2012">
              <a:extLst>
                <a:ext uri="{FF2B5EF4-FFF2-40B4-BE49-F238E27FC236}">
                  <a16:creationId xmlns:a16="http://schemas.microsoft.com/office/drawing/2014/main" id="{68E61B96-107E-46A3-B77B-77302EE142A4}"/>
                </a:ext>
              </a:extLst>
            </p:cNvPr>
            <p:cNvSpPr/>
            <p:nvPr/>
          </p:nvSpPr>
          <p:spPr>
            <a:xfrm>
              <a:off x="9487567" y="3842317"/>
              <a:ext cx="42486" cy="42486"/>
            </a:xfrm>
            <a:custGeom>
              <a:avLst/>
              <a:gdLst>
                <a:gd name="connsiteX0" fmla="*/ 27119 w 42485"/>
                <a:gd name="connsiteY0" fmla="*/ 38448 h 42485"/>
                <a:gd name="connsiteX1" fmla="*/ 38449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9" y="32783"/>
                    <a:pt x="38449" y="27119"/>
                  </a:cubicBezTo>
                  <a:cubicBezTo>
                    <a:pt x="38449" y="21454"/>
                    <a:pt x="32783" y="15789"/>
                    <a:pt x="27119" y="15789"/>
                  </a:cubicBezTo>
                  <a:cubicBezTo>
                    <a:pt x="21454" y="15789"/>
                    <a:pt x="15789" y="21454"/>
                    <a:pt x="15789" y="27119"/>
                  </a:cubicBezTo>
                  <a:cubicBezTo>
                    <a:pt x="15789" y="32783"/>
                    <a:pt x="21454"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4" name="Freeform: Shape 2013">
              <a:extLst>
                <a:ext uri="{FF2B5EF4-FFF2-40B4-BE49-F238E27FC236}">
                  <a16:creationId xmlns:a16="http://schemas.microsoft.com/office/drawing/2014/main" id="{E89E54F1-CE59-443D-AD4C-05A0A6D815C8}"/>
                </a:ext>
              </a:extLst>
            </p:cNvPr>
            <p:cNvSpPr/>
            <p:nvPr/>
          </p:nvSpPr>
          <p:spPr>
            <a:xfrm>
              <a:off x="9395515" y="3689368"/>
              <a:ext cx="42486" cy="42486"/>
            </a:xfrm>
            <a:custGeom>
              <a:avLst/>
              <a:gdLst>
                <a:gd name="connsiteX0" fmla="*/ 27119 w 42485"/>
                <a:gd name="connsiteY0" fmla="*/ 38448 h 42485"/>
                <a:gd name="connsiteX1" fmla="*/ 38449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9" y="32783"/>
                    <a:pt x="38449" y="27119"/>
                  </a:cubicBezTo>
                  <a:cubicBezTo>
                    <a:pt x="38449" y="21454"/>
                    <a:pt x="32783" y="15789"/>
                    <a:pt x="27119" y="15789"/>
                  </a:cubicBezTo>
                  <a:cubicBezTo>
                    <a:pt x="21454" y="15789"/>
                    <a:pt x="15789" y="21454"/>
                    <a:pt x="15789" y="27119"/>
                  </a:cubicBezTo>
                  <a:cubicBezTo>
                    <a:pt x="15789" y="34200"/>
                    <a:pt x="20038"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5" name="Freeform: Shape 2014">
              <a:extLst>
                <a:ext uri="{FF2B5EF4-FFF2-40B4-BE49-F238E27FC236}">
                  <a16:creationId xmlns:a16="http://schemas.microsoft.com/office/drawing/2014/main" id="{574F5857-4F35-445E-8734-37B4C5A253D5}"/>
                </a:ext>
              </a:extLst>
            </p:cNvPr>
            <p:cNvSpPr/>
            <p:nvPr/>
          </p:nvSpPr>
          <p:spPr>
            <a:xfrm>
              <a:off x="9514475" y="3767259"/>
              <a:ext cx="42486" cy="42486"/>
            </a:xfrm>
            <a:custGeom>
              <a:avLst/>
              <a:gdLst>
                <a:gd name="connsiteX0" fmla="*/ 27118 w 42485"/>
                <a:gd name="connsiteY0" fmla="*/ 38448 h 42485"/>
                <a:gd name="connsiteX1" fmla="*/ 38448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8" y="32783"/>
                    <a:pt x="38448" y="27119"/>
                  </a:cubicBezTo>
                  <a:cubicBezTo>
                    <a:pt x="38448" y="21454"/>
                    <a:pt x="32783" y="15789"/>
                    <a:pt x="27118" y="15789"/>
                  </a:cubicBezTo>
                  <a:cubicBezTo>
                    <a:pt x="21454" y="15789"/>
                    <a:pt x="15789" y="21454"/>
                    <a:pt x="15789" y="27119"/>
                  </a:cubicBezTo>
                  <a:cubicBezTo>
                    <a:pt x="15789" y="34200"/>
                    <a:pt x="21454"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6" name="Freeform: Shape 2015">
              <a:extLst>
                <a:ext uri="{FF2B5EF4-FFF2-40B4-BE49-F238E27FC236}">
                  <a16:creationId xmlns:a16="http://schemas.microsoft.com/office/drawing/2014/main" id="{B5CD1800-DF2E-4B45-8ACA-3BED360FE9B1}"/>
                </a:ext>
              </a:extLst>
            </p:cNvPr>
            <p:cNvSpPr/>
            <p:nvPr/>
          </p:nvSpPr>
          <p:spPr>
            <a:xfrm>
              <a:off x="9511643" y="3924456"/>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8"/>
                    <a:pt x="55442" y="15789"/>
                    <a:pt x="41280" y="15789"/>
                  </a:cubicBezTo>
                  <a:cubicBezTo>
                    <a:pt x="27118" y="15789"/>
                    <a:pt x="15789" y="27118"/>
                    <a:pt x="15789" y="41280"/>
                  </a:cubicBezTo>
                  <a:cubicBezTo>
                    <a:pt x="15789" y="55442"/>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7" name="Freeform: Shape 2016">
              <a:extLst>
                <a:ext uri="{FF2B5EF4-FFF2-40B4-BE49-F238E27FC236}">
                  <a16:creationId xmlns:a16="http://schemas.microsoft.com/office/drawing/2014/main" id="{BB91F687-D8B2-4255-9330-7DAECDEE7712}"/>
                </a:ext>
              </a:extLst>
            </p:cNvPr>
            <p:cNvSpPr/>
            <p:nvPr/>
          </p:nvSpPr>
          <p:spPr>
            <a:xfrm>
              <a:off x="9338867" y="3787085"/>
              <a:ext cx="70810" cy="70810"/>
            </a:xfrm>
            <a:custGeom>
              <a:avLst/>
              <a:gdLst>
                <a:gd name="connsiteX0" fmla="*/ 66772 w 70809"/>
                <a:gd name="connsiteY0" fmla="*/ 41280 h 70809"/>
                <a:gd name="connsiteX1" fmla="*/ 41281 w 70809"/>
                <a:gd name="connsiteY1" fmla="*/ 66772 h 70809"/>
                <a:gd name="connsiteX2" fmla="*/ 15790 w 70809"/>
                <a:gd name="connsiteY2" fmla="*/ 41280 h 70809"/>
                <a:gd name="connsiteX3" fmla="*/ 41281 w 70809"/>
                <a:gd name="connsiteY3" fmla="*/ 15789 h 70809"/>
                <a:gd name="connsiteX4" fmla="*/ 66772 w 70809"/>
                <a:gd name="connsiteY4" fmla="*/ 4128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6772" y="41280"/>
                  </a:moveTo>
                  <a:cubicBezTo>
                    <a:pt x="66772" y="55359"/>
                    <a:pt x="55359" y="66772"/>
                    <a:pt x="41281" y="66772"/>
                  </a:cubicBezTo>
                  <a:cubicBezTo>
                    <a:pt x="27202" y="66772"/>
                    <a:pt x="15790" y="55359"/>
                    <a:pt x="15790" y="41280"/>
                  </a:cubicBezTo>
                  <a:cubicBezTo>
                    <a:pt x="15790" y="27202"/>
                    <a:pt x="27203" y="15789"/>
                    <a:pt x="41281" y="15789"/>
                  </a:cubicBezTo>
                  <a:cubicBezTo>
                    <a:pt x="55360" y="15789"/>
                    <a:pt x="66772" y="27202"/>
                    <a:pt x="66772"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8" name="Freeform: Shape 2017">
              <a:extLst>
                <a:ext uri="{FF2B5EF4-FFF2-40B4-BE49-F238E27FC236}">
                  <a16:creationId xmlns:a16="http://schemas.microsoft.com/office/drawing/2014/main" id="{0149A485-6B1B-4DD4-97B9-353375CEA134}"/>
                </a:ext>
              </a:extLst>
            </p:cNvPr>
            <p:cNvSpPr/>
            <p:nvPr/>
          </p:nvSpPr>
          <p:spPr>
            <a:xfrm>
              <a:off x="9980402" y="4373388"/>
              <a:ext cx="70810" cy="70810"/>
            </a:xfrm>
            <a:custGeom>
              <a:avLst/>
              <a:gdLst>
                <a:gd name="connsiteX0" fmla="*/ 41280 w 70809"/>
                <a:gd name="connsiteY0" fmla="*/ 66772 h 70809"/>
                <a:gd name="connsiteX1" fmla="*/ 66772 w 70809"/>
                <a:gd name="connsiteY1" fmla="*/ 41281 h 70809"/>
                <a:gd name="connsiteX2" fmla="*/ 41280 w 70809"/>
                <a:gd name="connsiteY2" fmla="*/ 15789 h 70809"/>
                <a:gd name="connsiteX3" fmla="*/ 15789 w 70809"/>
                <a:gd name="connsiteY3" fmla="*/ 41281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3"/>
                    <a:pt x="66772" y="41281"/>
                  </a:cubicBezTo>
                  <a:cubicBezTo>
                    <a:pt x="66772" y="27119"/>
                    <a:pt x="55442" y="15789"/>
                    <a:pt x="41280" y="15789"/>
                  </a:cubicBezTo>
                  <a:cubicBezTo>
                    <a:pt x="27118" y="15789"/>
                    <a:pt x="15789" y="27119"/>
                    <a:pt x="15789" y="41281"/>
                  </a:cubicBezTo>
                  <a:cubicBezTo>
                    <a:pt x="15789" y="54026"/>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9" name="Freeform: Shape 2018">
              <a:extLst>
                <a:ext uri="{FF2B5EF4-FFF2-40B4-BE49-F238E27FC236}">
                  <a16:creationId xmlns:a16="http://schemas.microsoft.com/office/drawing/2014/main" id="{8741D850-B0CC-4AAA-8960-BA26FE8504CF}"/>
                </a:ext>
              </a:extLst>
            </p:cNvPr>
            <p:cNvSpPr/>
            <p:nvPr/>
          </p:nvSpPr>
          <p:spPr>
            <a:xfrm>
              <a:off x="10028552" y="4516424"/>
              <a:ext cx="113295" cy="113295"/>
            </a:xfrm>
            <a:custGeom>
              <a:avLst/>
              <a:gdLst>
                <a:gd name="connsiteX0" fmla="*/ 56859 w 113295"/>
                <a:gd name="connsiteY0" fmla="*/ 15789 h 113295"/>
                <a:gd name="connsiteX1" fmla="*/ 97928 w 113295"/>
                <a:gd name="connsiteY1" fmla="*/ 56858 h 113295"/>
                <a:gd name="connsiteX2" fmla="*/ 56859 w 113295"/>
                <a:gd name="connsiteY2" fmla="*/ 97928 h 113295"/>
                <a:gd name="connsiteX3" fmla="*/ 15789 w 113295"/>
                <a:gd name="connsiteY3" fmla="*/ 56858 h 113295"/>
                <a:gd name="connsiteX4" fmla="*/ 56859 w 113295"/>
                <a:gd name="connsiteY4" fmla="*/ 15789 h 113295"/>
                <a:gd name="connsiteX5" fmla="*/ 56859 w 113295"/>
                <a:gd name="connsiteY5" fmla="*/ 15789 h 113295"/>
                <a:gd name="connsiteX6" fmla="*/ 56859 w 113295"/>
                <a:gd name="connsiteY6" fmla="*/ 34200 h 113295"/>
                <a:gd name="connsiteX7" fmla="*/ 34199 w 113295"/>
                <a:gd name="connsiteY7" fmla="*/ 56858 h 113295"/>
                <a:gd name="connsiteX8" fmla="*/ 56859 w 113295"/>
                <a:gd name="connsiteY8" fmla="*/ 79518 h 113295"/>
                <a:gd name="connsiteX9" fmla="*/ 79518 w 113295"/>
                <a:gd name="connsiteY9" fmla="*/ 56858 h 113295"/>
                <a:gd name="connsiteX10" fmla="*/ 56859 w 113295"/>
                <a:gd name="connsiteY10" fmla="*/ 34200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56859" y="15789"/>
                  </a:moveTo>
                  <a:cubicBezTo>
                    <a:pt x="79518" y="15789"/>
                    <a:pt x="97928" y="34200"/>
                    <a:pt x="97928" y="56858"/>
                  </a:cubicBezTo>
                  <a:cubicBezTo>
                    <a:pt x="97928" y="79518"/>
                    <a:pt x="79518" y="97928"/>
                    <a:pt x="56859" y="97928"/>
                  </a:cubicBezTo>
                  <a:cubicBezTo>
                    <a:pt x="34199" y="97928"/>
                    <a:pt x="15789" y="79518"/>
                    <a:pt x="15789" y="56858"/>
                  </a:cubicBezTo>
                  <a:cubicBezTo>
                    <a:pt x="15789" y="35616"/>
                    <a:pt x="34199" y="15789"/>
                    <a:pt x="56859" y="15789"/>
                  </a:cubicBezTo>
                  <a:lnTo>
                    <a:pt x="56859" y="15789"/>
                  </a:lnTo>
                  <a:close/>
                  <a:moveTo>
                    <a:pt x="56859" y="34200"/>
                  </a:moveTo>
                  <a:cubicBezTo>
                    <a:pt x="44113" y="34200"/>
                    <a:pt x="34199" y="44113"/>
                    <a:pt x="34199" y="56858"/>
                  </a:cubicBezTo>
                  <a:cubicBezTo>
                    <a:pt x="34199" y="69605"/>
                    <a:pt x="44113" y="79518"/>
                    <a:pt x="56859" y="79518"/>
                  </a:cubicBezTo>
                  <a:cubicBezTo>
                    <a:pt x="69604" y="79518"/>
                    <a:pt x="79518" y="69605"/>
                    <a:pt x="79518" y="56858"/>
                  </a:cubicBezTo>
                  <a:cubicBezTo>
                    <a:pt x="79518" y="45529"/>
                    <a:pt x="69604" y="34200"/>
                    <a:pt x="56859" y="3420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0" name="Freeform: Shape 2019">
              <a:extLst>
                <a:ext uri="{FF2B5EF4-FFF2-40B4-BE49-F238E27FC236}">
                  <a16:creationId xmlns:a16="http://schemas.microsoft.com/office/drawing/2014/main" id="{F61CFB32-2185-40B0-B2A3-24BA4EBD415D}"/>
                </a:ext>
              </a:extLst>
            </p:cNvPr>
            <p:cNvSpPr/>
            <p:nvPr/>
          </p:nvSpPr>
          <p:spPr>
            <a:xfrm>
              <a:off x="9823097" y="4345064"/>
              <a:ext cx="84971" cy="84971"/>
            </a:xfrm>
            <a:custGeom>
              <a:avLst/>
              <a:gdLst>
                <a:gd name="connsiteX0" fmla="*/ 44220 w 84971"/>
                <a:gd name="connsiteY0" fmla="*/ 15789 h 84971"/>
                <a:gd name="connsiteX1" fmla="*/ 72544 w 84971"/>
                <a:gd name="connsiteY1" fmla="*/ 44113 h 84971"/>
                <a:gd name="connsiteX2" fmla="*/ 44220 w 84971"/>
                <a:gd name="connsiteY2" fmla="*/ 72437 h 84971"/>
                <a:gd name="connsiteX3" fmla="*/ 15896 w 84971"/>
                <a:gd name="connsiteY3" fmla="*/ 44113 h 84971"/>
                <a:gd name="connsiteX4" fmla="*/ 44220 w 84971"/>
                <a:gd name="connsiteY4" fmla="*/ 15789 h 84971"/>
                <a:gd name="connsiteX5" fmla="*/ 44220 w 84971"/>
                <a:gd name="connsiteY5" fmla="*/ 15789 h 84971"/>
                <a:gd name="connsiteX6" fmla="*/ 44220 w 84971"/>
                <a:gd name="connsiteY6" fmla="*/ 28535 h 84971"/>
                <a:gd name="connsiteX7" fmla="*/ 28643 w 84971"/>
                <a:gd name="connsiteY7" fmla="*/ 44113 h 84971"/>
                <a:gd name="connsiteX8" fmla="*/ 44220 w 84971"/>
                <a:gd name="connsiteY8" fmla="*/ 59691 h 84971"/>
                <a:gd name="connsiteX9" fmla="*/ 61215 w 84971"/>
                <a:gd name="connsiteY9" fmla="*/ 44113 h 84971"/>
                <a:gd name="connsiteX10" fmla="*/ 44220 w 84971"/>
                <a:gd name="connsiteY10" fmla="*/ 28535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4220" y="15789"/>
                  </a:moveTo>
                  <a:cubicBezTo>
                    <a:pt x="59799" y="15789"/>
                    <a:pt x="72544" y="28535"/>
                    <a:pt x="72544" y="44113"/>
                  </a:cubicBezTo>
                  <a:cubicBezTo>
                    <a:pt x="72544" y="59691"/>
                    <a:pt x="59799" y="72437"/>
                    <a:pt x="44220" y="72437"/>
                  </a:cubicBezTo>
                  <a:cubicBezTo>
                    <a:pt x="28643" y="72437"/>
                    <a:pt x="15896" y="59691"/>
                    <a:pt x="15896" y="44113"/>
                  </a:cubicBezTo>
                  <a:cubicBezTo>
                    <a:pt x="14481" y="28535"/>
                    <a:pt x="27226" y="15789"/>
                    <a:pt x="44220" y="15789"/>
                  </a:cubicBezTo>
                  <a:lnTo>
                    <a:pt x="44220" y="15789"/>
                  </a:lnTo>
                  <a:close/>
                  <a:moveTo>
                    <a:pt x="44220" y="28535"/>
                  </a:moveTo>
                  <a:cubicBezTo>
                    <a:pt x="35723" y="28535"/>
                    <a:pt x="28643" y="35616"/>
                    <a:pt x="28643" y="44113"/>
                  </a:cubicBezTo>
                  <a:cubicBezTo>
                    <a:pt x="28643" y="52610"/>
                    <a:pt x="35723" y="59691"/>
                    <a:pt x="44220" y="59691"/>
                  </a:cubicBezTo>
                  <a:cubicBezTo>
                    <a:pt x="52718" y="59691"/>
                    <a:pt x="61215" y="52610"/>
                    <a:pt x="61215" y="44113"/>
                  </a:cubicBezTo>
                  <a:cubicBezTo>
                    <a:pt x="61215" y="35616"/>
                    <a:pt x="52718" y="28535"/>
                    <a:pt x="44220" y="2853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1" name="Freeform: Shape 2020">
              <a:extLst>
                <a:ext uri="{FF2B5EF4-FFF2-40B4-BE49-F238E27FC236}">
                  <a16:creationId xmlns:a16="http://schemas.microsoft.com/office/drawing/2014/main" id="{BAB5CE37-180E-4E25-9453-53658D754C7E}"/>
                </a:ext>
              </a:extLst>
            </p:cNvPr>
            <p:cNvSpPr/>
            <p:nvPr/>
          </p:nvSpPr>
          <p:spPr>
            <a:xfrm>
              <a:off x="10198495" y="4499430"/>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7" y="15789"/>
                    <a:pt x="15789" y="24286"/>
                    <a:pt x="15789" y="35616"/>
                  </a:cubicBezTo>
                  <a:cubicBezTo>
                    <a:pt x="15789" y="45529"/>
                    <a:pt x="24287"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2" name="Freeform: Shape 2021">
              <a:extLst>
                <a:ext uri="{FF2B5EF4-FFF2-40B4-BE49-F238E27FC236}">
                  <a16:creationId xmlns:a16="http://schemas.microsoft.com/office/drawing/2014/main" id="{4BB4143B-8EE6-492A-9795-F61C1126D292}"/>
                </a:ext>
              </a:extLst>
            </p:cNvPr>
            <p:cNvSpPr/>
            <p:nvPr/>
          </p:nvSpPr>
          <p:spPr>
            <a:xfrm>
              <a:off x="9750979" y="4285585"/>
              <a:ext cx="42486" cy="42486"/>
            </a:xfrm>
            <a:custGeom>
              <a:avLst/>
              <a:gdLst>
                <a:gd name="connsiteX0" fmla="*/ 25703 w 42485"/>
                <a:gd name="connsiteY0" fmla="*/ 35616 h 42485"/>
                <a:gd name="connsiteX1" fmla="*/ 35615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5" y="31367"/>
                    <a:pt x="35615" y="25702"/>
                  </a:cubicBezTo>
                  <a:cubicBezTo>
                    <a:pt x="35615" y="20037"/>
                    <a:pt x="31367" y="15789"/>
                    <a:pt x="25703" y="15789"/>
                  </a:cubicBezTo>
                  <a:cubicBezTo>
                    <a:pt x="20037" y="15789"/>
                    <a:pt x="15789" y="20037"/>
                    <a:pt x="15789" y="25702"/>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3" name="Freeform: Shape 2022">
              <a:extLst>
                <a:ext uri="{FF2B5EF4-FFF2-40B4-BE49-F238E27FC236}">
                  <a16:creationId xmlns:a16="http://schemas.microsoft.com/office/drawing/2014/main" id="{DE700B32-B34A-4CB8-B2B7-90CB46D32791}"/>
                </a:ext>
              </a:extLst>
            </p:cNvPr>
            <p:cNvSpPr/>
            <p:nvPr/>
          </p:nvSpPr>
          <p:spPr>
            <a:xfrm>
              <a:off x="9925171" y="4325238"/>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4" name="Freeform: Shape 2023">
              <a:extLst>
                <a:ext uri="{FF2B5EF4-FFF2-40B4-BE49-F238E27FC236}">
                  <a16:creationId xmlns:a16="http://schemas.microsoft.com/office/drawing/2014/main" id="{BCD9C44F-F237-4326-A890-8EF5ED3BE56B}"/>
                </a:ext>
              </a:extLst>
            </p:cNvPr>
            <p:cNvSpPr/>
            <p:nvPr/>
          </p:nvSpPr>
          <p:spPr>
            <a:xfrm>
              <a:off x="9944998" y="4503678"/>
              <a:ext cx="42486" cy="42486"/>
            </a:xfrm>
            <a:custGeom>
              <a:avLst/>
              <a:gdLst>
                <a:gd name="connsiteX0" fmla="*/ 25702 w 42485"/>
                <a:gd name="connsiteY0" fmla="*/ 35616 h 42485"/>
                <a:gd name="connsiteX1" fmla="*/ 35615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5" y="31367"/>
                    <a:pt x="35615" y="25703"/>
                  </a:cubicBezTo>
                  <a:cubicBezTo>
                    <a:pt x="35615" y="20037"/>
                    <a:pt x="31367" y="15789"/>
                    <a:pt x="25702" y="15789"/>
                  </a:cubicBezTo>
                  <a:cubicBezTo>
                    <a:pt x="20037" y="15789"/>
                    <a:pt x="15789" y="20037"/>
                    <a:pt x="15789" y="25703"/>
                  </a:cubicBezTo>
                  <a:cubicBezTo>
                    <a:pt x="17205" y="31367"/>
                    <a:pt x="21453"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5" name="Freeform: Shape 2024">
              <a:extLst>
                <a:ext uri="{FF2B5EF4-FFF2-40B4-BE49-F238E27FC236}">
                  <a16:creationId xmlns:a16="http://schemas.microsoft.com/office/drawing/2014/main" id="{E722D84C-0927-4DC6-8D05-ADC67ABA37F0}"/>
                </a:ext>
              </a:extLst>
            </p:cNvPr>
            <p:cNvSpPr/>
            <p:nvPr/>
          </p:nvSpPr>
          <p:spPr>
            <a:xfrm>
              <a:off x="10265057" y="4605644"/>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7" y="15789"/>
                    <a:pt x="15789" y="20037"/>
                    <a:pt x="15789" y="25702"/>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6" name="Freeform: Shape 2025">
              <a:extLst>
                <a:ext uri="{FF2B5EF4-FFF2-40B4-BE49-F238E27FC236}">
                  <a16:creationId xmlns:a16="http://schemas.microsoft.com/office/drawing/2014/main" id="{52E3C525-3D03-481F-8131-89B78B849B56}"/>
                </a:ext>
              </a:extLst>
            </p:cNvPr>
            <p:cNvSpPr/>
            <p:nvPr/>
          </p:nvSpPr>
          <p:spPr>
            <a:xfrm>
              <a:off x="10034217" y="4455528"/>
              <a:ext cx="56648" cy="56648"/>
            </a:xfrm>
            <a:custGeom>
              <a:avLst/>
              <a:gdLst>
                <a:gd name="connsiteX0" fmla="*/ 32783 w 56647"/>
                <a:gd name="connsiteY0" fmla="*/ 49777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6" y="49777"/>
                    <a:pt x="49777" y="42697"/>
                    <a:pt x="49777" y="32783"/>
                  </a:cubicBezTo>
                  <a:cubicBezTo>
                    <a:pt x="49777" y="22870"/>
                    <a:pt x="42696" y="15789"/>
                    <a:pt x="32783" y="15789"/>
                  </a:cubicBezTo>
                  <a:cubicBezTo>
                    <a:pt x="22870" y="15789"/>
                    <a:pt x="15789" y="22870"/>
                    <a:pt x="15789" y="32783"/>
                  </a:cubicBezTo>
                  <a:cubicBezTo>
                    <a:pt x="15789" y="42697"/>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7" name="Freeform: Shape 2026">
              <a:extLst>
                <a:ext uri="{FF2B5EF4-FFF2-40B4-BE49-F238E27FC236}">
                  <a16:creationId xmlns:a16="http://schemas.microsoft.com/office/drawing/2014/main" id="{3C5601A6-AC77-44DF-B7CF-C4EBF0AB9F40}"/>
                </a:ext>
              </a:extLst>
            </p:cNvPr>
            <p:cNvSpPr/>
            <p:nvPr/>
          </p:nvSpPr>
          <p:spPr>
            <a:xfrm>
              <a:off x="8880022" y="4391799"/>
              <a:ext cx="84971" cy="84971"/>
            </a:xfrm>
            <a:custGeom>
              <a:avLst/>
              <a:gdLst>
                <a:gd name="connsiteX0" fmla="*/ 45529 w 84971"/>
                <a:gd name="connsiteY0" fmla="*/ 75269 h 84971"/>
                <a:gd name="connsiteX1" fmla="*/ 75269 w 84971"/>
                <a:gd name="connsiteY1" fmla="*/ 45529 h 84971"/>
                <a:gd name="connsiteX2" fmla="*/ 45529 w 84971"/>
                <a:gd name="connsiteY2" fmla="*/ 15789 h 84971"/>
                <a:gd name="connsiteX3" fmla="*/ 15789 w 84971"/>
                <a:gd name="connsiteY3" fmla="*/ 45529 h 84971"/>
                <a:gd name="connsiteX4" fmla="*/ 45529 w 84971"/>
                <a:gd name="connsiteY4" fmla="*/ 7526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529" y="75269"/>
                  </a:moveTo>
                  <a:cubicBezTo>
                    <a:pt x="62523" y="75269"/>
                    <a:pt x="75269" y="62523"/>
                    <a:pt x="75269" y="45529"/>
                  </a:cubicBezTo>
                  <a:cubicBezTo>
                    <a:pt x="75269" y="28535"/>
                    <a:pt x="62523" y="15789"/>
                    <a:pt x="45529" y="15789"/>
                  </a:cubicBezTo>
                  <a:cubicBezTo>
                    <a:pt x="28534" y="15789"/>
                    <a:pt x="15789" y="28535"/>
                    <a:pt x="15789" y="45529"/>
                  </a:cubicBezTo>
                  <a:cubicBezTo>
                    <a:pt x="15789" y="62523"/>
                    <a:pt x="28534" y="75269"/>
                    <a:pt x="45529" y="752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8" name="Freeform: Shape 2027">
              <a:extLst>
                <a:ext uri="{FF2B5EF4-FFF2-40B4-BE49-F238E27FC236}">
                  <a16:creationId xmlns:a16="http://schemas.microsoft.com/office/drawing/2014/main" id="{47F57C07-8084-4EB1-ACDF-98A385B589C3}"/>
                </a:ext>
              </a:extLst>
            </p:cNvPr>
            <p:cNvSpPr/>
            <p:nvPr/>
          </p:nvSpPr>
          <p:spPr>
            <a:xfrm>
              <a:off x="8656263" y="3998098"/>
              <a:ext cx="70810" cy="70810"/>
            </a:xfrm>
            <a:custGeom>
              <a:avLst/>
              <a:gdLst>
                <a:gd name="connsiteX0" fmla="*/ 35615 w 70809"/>
                <a:gd name="connsiteY0" fmla="*/ 55443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3"/>
                  </a:moveTo>
                  <a:cubicBezTo>
                    <a:pt x="46945" y="55443"/>
                    <a:pt x="55442" y="46945"/>
                    <a:pt x="55442" y="35616"/>
                  </a:cubicBezTo>
                  <a:cubicBezTo>
                    <a:pt x="55442" y="24286"/>
                    <a:pt x="46945" y="15789"/>
                    <a:pt x="35615" y="15789"/>
                  </a:cubicBezTo>
                  <a:cubicBezTo>
                    <a:pt x="24286" y="15789"/>
                    <a:pt x="15789" y="24286"/>
                    <a:pt x="15789" y="35616"/>
                  </a:cubicBezTo>
                  <a:cubicBezTo>
                    <a:pt x="15789" y="46945"/>
                    <a:pt x="24286" y="55443"/>
                    <a:pt x="35615" y="554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9" name="Freeform: Shape 2028">
              <a:extLst>
                <a:ext uri="{FF2B5EF4-FFF2-40B4-BE49-F238E27FC236}">
                  <a16:creationId xmlns:a16="http://schemas.microsoft.com/office/drawing/2014/main" id="{2CD725B3-D0B1-4EF5-9B8C-33F8630CF60D}"/>
                </a:ext>
              </a:extLst>
            </p:cNvPr>
            <p:cNvSpPr/>
            <p:nvPr/>
          </p:nvSpPr>
          <p:spPr>
            <a:xfrm>
              <a:off x="8735570" y="4080237"/>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7" y="15789"/>
                    <a:pt x="15789" y="20037"/>
                    <a:pt x="15789" y="25702"/>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0" name="Freeform: Shape 2029">
              <a:extLst>
                <a:ext uri="{FF2B5EF4-FFF2-40B4-BE49-F238E27FC236}">
                  <a16:creationId xmlns:a16="http://schemas.microsoft.com/office/drawing/2014/main" id="{095C087E-0CAB-4DCE-B4EC-D13C89882FD8}"/>
                </a:ext>
              </a:extLst>
            </p:cNvPr>
            <p:cNvSpPr/>
            <p:nvPr/>
          </p:nvSpPr>
          <p:spPr>
            <a:xfrm>
              <a:off x="8806379" y="4303995"/>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7" y="15789"/>
                    <a:pt x="15789" y="20038"/>
                    <a:pt x="15789" y="25703"/>
                  </a:cubicBezTo>
                  <a:cubicBezTo>
                    <a:pt x="15789" y="31367"/>
                    <a:pt x="21454"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1" name="Freeform: Shape 2030">
              <a:extLst>
                <a:ext uri="{FF2B5EF4-FFF2-40B4-BE49-F238E27FC236}">
                  <a16:creationId xmlns:a16="http://schemas.microsoft.com/office/drawing/2014/main" id="{C802D3C1-5F1E-49F9-87C4-EC39E560C06B}"/>
                </a:ext>
              </a:extLst>
            </p:cNvPr>
            <p:cNvSpPr/>
            <p:nvPr/>
          </p:nvSpPr>
          <p:spPr>
            <a:xfrm>
              <a:off x="8935252" y="4295498"/>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3"/>
                  </a:cubicBezTo>
                  <a:cubicBezTo>
                    <a:pt x="35616" y="20038"/>
                    <a:pt x="31368" y="15789"/>
                    <a:pt x="25703" y="15789"/>
                  </a:cubicBezTo>
                  <a:cubicBezTo>
                    <a:pt x="20038" y="15789"/>
                    <a:pt x="15789" y="20038"/>
                    <a:pt x="15789" y="25703"/>
                  </a:cubicBezTo>
                  <a:cubicBezTo>
                    <a:pt x="15789" y="29951"/>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2" name="Freeform: Shape 2031">
              <a:extLst>
                <a:ext uri="{FF2B5EF4-FFF2-40B4-BE49-F238E27FC236}">
                  <a16:creationId xmlns:a16="http://schemas.microsoft.com/office/drawing/2014/main" id="{C5C8D2FF-1574-4687-A08B-86CBDB5F2F7B}"/>
                </a:ext>
              </a:extLst>
            </p:cNvPr>
            <p:cNvSpPr/>
            <p:nvPr/>
          </p:nvSpPr>
          <p:spPr>
            <a:xfrm>
              <a:off x="9061294" y="4500845"/>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3" name="Freeform: Shape 2032">
              <a:extLst>
                <a:ext uri="{FF2B5EF4-FFF2-40B4-BE49-F238E27FC236}">
                  <a16:creationId xmlns:a16="http://schemas.microsoft.com/office/drawing/2014/main" id="{F9C5B063-EAD5-4EAA-AB51-AD1CA93E7384}"/>
                </a:ext>
              </a:extLst>
            </p:cNvPr>
            <p:cNvSpPr/>
            <p:nvPr/>
          </p:nvSpPr>
          <p:spPr>
            <a:xfrm>
              <a:off x="8850281" y="4243099"/>
              <a:ext cx="70810" cy="70810"/>
            </a:xfrm>
            <a:custGeom>
              <a:avLst/>
              <a:gdLst>
                <a:gd name="connsiteX0" fmla="*/ 38449 w 70809"/>
                <a:gd name="connsiteY0" fmla="*/ 61107 h 70809"/>
                <a:gd name="connsiteX1" fmla="*/ 61107 w 70809"/>
                <a:gd name="connsiteY1" fmla="*/ 38448 h 70809"/>
                <a:gd name="connsiteX2" fmla="*/ 38449 w 70809"/>
                <a:gd name="connsiteY2" fmla="*/ 15789 h 70809"/>
                <a:gd name="connsiteX3" fmla="*/ 15789 w 70809"/>
                <a:gd name="connsiteY3" fmla="*/ 38448 h 70809"/>
                <a:gd name="connsiteX4" fmla="*/ 38449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9" y="61107"/>
                  </a:moveTo>
                  <a:cubicBezTo>
                    <a:pt x="51194" y="61107"/>
                    <a:pt x="61107" y="51194"/>
                    <a:pt x="61107" y="38448"/>
                  </a:cubicBezTo>
                  <a:cubicBezTo>
                    <a:pt x="61107" y="25702"/>
                    <a:pt x="51194" y="15789"/>
                    <a:pt x="38449" y="15789"/>
                  </a:cubicBezTo>
                  <a:cubicBezTo>
                    <a:pt x="25703" y="15789"/>
                    <a:pt x="15789" y="25702"/>
                    <a:pt x="15789" y="38448"/>
                  </a:cubicBezTo>
                  <a:cubicBezTo>
                    <a:pt x="17206" y="51194"/>
                    <a:pt x="27119" y="61107"/>
                    <a:pt x="38449"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4" name="Freeform: Shape 2033">
              <a:extLst>
                <a:ext uri="{FF2B5EF4-FFF2-40B4-BE49-F238E27FC236}">
                  <a16:creationId xmlns:a16="http://schemas.microsoft.com/office/drawing/2014/main" id="{18FEBF08-E908-4438-A26A-F8FC4BBABAE5}"/>
                </a:ext>
              </a:extLst>
            </p:cNvPr>
            <p:cNvSpPr/>
            <p:nvPr/>
          </p:nvSpPr>
          <p:spPr>
            <a:xfrm>
              <a:off x="9130688" y="4462608"/>
              <a:ext cx="70810" cy="70810"/>
            </a:xfrm>
            <a:custGeom>
              <a:avLst/>
              <a:gdLst>
                <a:gd name="connsiteX0" fmla="*/ 38448 w 70809"/>
                <a:gd name="connsiteY0" fmla="*/ 61107 h 70809"/>
                <a:gd name="connsiteX1" fmla="*/ 61106 w 70809"/>
                <a:gd name="connsiteY1" fmla="*/ 38448 h 70809"/>
                <a:gd name="connsiteX2" fmla="*/ 38448 w 70809"/>
                <a:gd name="connsiteY2" fmla="*/ 15789 h 70809"/>
                <a:gd name="connsiteX3" fmla="*/ 15789 w 70809"/>
                <a:gd name="connsiteY3" fmla="*/ 38448 h 70809"/>
                <a:gd name="connsiteX4" fmla="*/ 3844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8" y="61107"/>
                  </a:moveTo>
                  <a:cubicBezTo>
                    <a:pt x="51194" y="61107"/>
                    <a:pt x="61106" y="51194"/>
                    <a:pt x="61106" y="38448"/>
                  </a:cubicBezTo>
                  <a:cubicBezTo>
                    <a:pt x="61106" y="25702"/>
                    <a:pt x="51194" y="15789"/>
                    <a:pt x="38448" y="15789"/>
                  </a:cubicBezTo>
                  <a:cubicBezTo>
                    <a:pt x="25702" y="15789"/>
                    <a:pt x="15789" y="25702"/>
                    <a:pt x="15789" y="38448"/>
                  </a:cubicBezTo>
                  <a:cubicBezTo>
                    <a:pt x="15789" y="51194"/>
                    <a:pt x="25702" y="61107"/>
                    <a:pt x="38448"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5" name="Freeform: Shape 2034">
              <a:extLst>
                <a:ext uri="{FF2B5EF4-FFF2-40B4-BE49-F238E27FC236}">
                  <a16:creationId xmlns:a16="http://schemas.microsoft.com/office/drawing/2014/main" id="{E08EF28F-F7AC-4FA8-A63A-2AF688B20114}"/>
                </a:ext>
              </a:extLst>
            </p:cNvPr>
            <p:cNvSpPr/>
            <p:nvPr/>
          </p:nvSpPr>
          <p:spPr>
            <a:xfrm>
              <a:off x="8772390" y="4202029"/>
              <a:ext cx="42486" cy="42486"/>
            </a:xfrm>
            <a:custGeom>
              <a:avLst/>
              <a:gdLst>
                <a:gd name="connsiteX0" fmla="*/ 27119 w 42485"/>
                <a:gd name="connsiteY0" fmla="*/ 38448 h 42485"/>
                <a:gd name="connsiteX1" fmla="*/ 38449 w 42485"/>
                <a:gd name="connsiteY1" fmla="*/ 27118 h 42485"/>
                <a:gd name="connsiteX2" fmla="*/ 27119 w 42485"/>
                <a:gd name="connsiteY2" fmla="*/ 15789 h 42485"/>
                <a:gd name="connsiteX3" fmla="*/ 15789 w 42485"/>
                <a:gd name="connsiteY3" fmla="*/ 27118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9" y="32783"/>
                    <a:pt x="38449" y="27118"/>
                  </a:cubicBezTo>
                  <a:cubicBezTo>
                    <a:pt x="38449" y="21454"/>
                    <a:pt x="32783" y="15789"/>
                    <a:pt x="27119" y="15789"/>
                  </a:cubicBezTo>
                  <a:cubicBezTo>
                    <a:pt x="21454" y="15789"/>
                    <a:pt x="15789" y="21454"/>
                    <a:pt x="15789" y="27118"/>
                  </a:cubicBezTo>
                  <a:cubicBezTo>
                    <a:pt x="15789" y="34199"/>
                    <a:pt x="21454"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6" name="Freeform: Shape 2035">
              <a:extLst>
                <a:ext uri="{FF2B5EF4-FFF2-40B4-BE49-F238E27FC236}">
                  <a16:creationId xmlns:a16="http://schemas.microsoft.com/office/drawing/2014/main" id="{E708E1A7-D24A-437D-83EA-D5E87EB45333}"/>
                </a:ext>
              </a:extLst>
            </p:cNvPr>
            <p:cNvSpPr/>
            <p:nvPr/>
          </p:nvSpPr>
          <p:spPr>
            <a:xfrm>
              <a:off x="9520140" y="4588649"/>
              <a:ext cx="42486" cy="42486"/>
            </a:xfrm>
            <a:custGeom>
              <a:avLst/>
              <a:gdLst>
                <a:gd name="connsiteX0" fmla="*/ 25702 w 42485"/>
                <a:gd name="connsiteY0" fmla="*/ 35616 h 42485"/>
                <a:gd name="connsiteX1" fmla="*/ 35615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5" y="31367"/>
                    <a:pt x="35615" y="25703"/>
                  </a:cubicBezTo>
                  <a:cubicBezTo>
                    <a:pt x="35615" y="20037"/>
                    <a:pt x="31367" y="15789"/>
                    <a:pt x="25702" y="15789"/>
                  </a:cubicBezTo>
                  <a:cubicBezTo>
                    <a:pt x="20037" y="15789"/>
                    <a:pt x="15789" y="20037"/>
                    <a:pt x="15789" y="25703"/>
                  </a:cubicBezTo>
                  <a:cubicBezTo>
                    <a:pt x="17205" y="31367"/>
                    <a:pt x="21453"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7" name="Freeform: Shape 2036">
              <a:extLst>
                <a:ext uri="{FF2B5EF4-FFF2-40B4-BE49-F238E27FC236}">
                  <a16:creationId xmlns:a16="http://schemas.microsoft.com/office/drawing/2014/main" id="{C08A04E3-F6EA-481A-9CC3-5A2422125F29}"/>
                </a:ext>
              </a:extLst>
            </p:cNvPr>
            <p:cNvSpPr/>
            <p:nvPr/>
          </p:nvSpPr>
          <p:spPr>
            <a:xfrm>
              <a:off x="9432336" y="4373388"/>
              <a:ext cx="42486" cy="42486"/>
            </a:xfrm>
            <a:custGeom>
              <a:avLst/>
              <a:gdLst>
                <a:gd name="connsiteX0" fmla="*/ 25703 w 42485"/>
                <a:gd name="connsiteY0" fmla="*/ 35616 h 42485"/>
                <a:gd name="connsiteX1" fmla="*/ 35615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5" y="31367"/>
                    <a:pt x="35615" y="25703"/>
                  </a:cubicBezTo>
                  <a:cubicBezTo>
                    <a:pt x="35615" y="20038"/>
                    <a:pt x="31367" y="15789"/>
                    <a:pt x="25703" y="15789"/>
                  </a:cubicBezTo>
                  <a:cubicBezTo>
                    <a:pt x="20037" y="15789"/>
                    <a:pt x="15789" y="20038"/>
                    <a:pt x="15789" y="25703"/>
                  </a:cubicBezTo>
                  <a:cubicBezTo>
                    <a:pt x="17205" y="31367"/>
                    <a:pt x="21453"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8" name="Freeform: Shape 2037">
              <a:extLst>
                <a:ext uri="{FF2B5EF4-FFF2-40B4-BE49-F238E27FC236}">
                  <a16:creationId xmlns:a16="http://schemas.microsoft.com/office/drawing/2014/main" id="{2DA148B4-AF60-47F4-B481-8A0F3B2D6E38}"/>
                </a:ext>
              </a:extLst>
            </p:cNvPr>
            <p:cNvSpPr/>
            <p:nvPr/>
          </p:nvSpPr>
          <p:spPr>
            <a:xfrm>
              <a:off x="9387018" y="4295498"/>
              <a:ext cx="70810" cy="70810"/>
            </a:xfrm>
            <a:custGeom>
              <a:avLst/>
              <a:gdLst>
                <a:gd name="connsiteX0" fmla="*/ 41280 w 70809"/>
                <a:gd name="connsiteY0" fmla="*/ 66772 h 70809"/>
                <a:gd name="connsiteX1" fmla="*/ 66772 w 70809"/>
                <a:gd name="connsiteY1" fmla="*/ 41281 h 70809"/>
                <a:gd name="connsiteX2" fmla="*/ 41280 w 70809"/>
                <a:gd name="connsiteY2" fmla="*/ 15789 h 70809"/>
                <a:gd name="connsiteX3" fmla="*/ 15789 w 70809"/>
                <a:gd name="connsiteY3" fmla="*/ 41281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3"/>
                    <a:pt x="66772" y="41281"/>
                  </a:cubicBezTo>
                  <a:cubicBezTo>
                    <a:pt x="66772" y="27119"/>
                    <a:pt x="55442" y="15789"/>
                    <a:pt x="41280" y="15789"/>
                  </a:cubicBezTo>
                  <a:cubicBezTo>
                    <a:pt x="27118" y="15789"/>
                    <a:pt x="15789" y="27119"/>
                    <a:pt x="15789" y="41281"/>
                  </a:cubicBezTo>
                  <a:cubicBezTo>
                    <a:pt x="15789" y="55443"/>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9" name="Freeform: Shape 2038">
              <a:extLst>
                <a:ext uri="{FF2B5EF4-FFF2-40B4-BE49-F238E27FC236}">
                  <a16:creationId xmlns:a16="http://schemas.microsoft.com/office/drawing/2014/main" id="{98C1A1B9-26C1-47D6-8CB2-50FCB194619C}"/>
                </a:ext>
              </a:extLst>
            </p:cNvPr>
            <p:cNvSpPr/>
            <p:nvPr/>
          </p:nvSpPr>
          <p:spPr>
            <a:xfrm>
              <a:off x="10580867" y="4558909"/>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0" y="49777"/>
                    <a:pt x="49778" y="42697"/>
                    <a:pt x="49778" y="32783"/>
                  </a:cubicBezTo>
                  <a:cubicBezTo>
                    <a:pt x="49778" y="22870"/>
                    <a:pt x="42697" y="15789"/>
                    <a:pt x="32783" y="15789"/>
                  </a:cubicBezTo>
                  <a:cubicBezTo>
                    <a:pt x="24287" y="15789"/>
                    <a:pt x="15789" y="22870"/>
                    <a:pt x="15789" y="32783"/>
                  </a:cubicBezTo>
                  <a:cubicBezTo>
                    <a:pt x="15789" y="42697"/>
                    <a:pt x="24287"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0" name="Freeform: Shape 2039">
              <a:extLst>
                <a:ext uri="{FF2B5EF4-FFF2-40B4-BE49-F238E27FC236}">
                  <a16:creationId xmlns:a16="http://schemas.microsoft.com/office/drawing/2014/main" id="{B211B219-8A15-43F9-A8D9-F4A37A9374B6}"/>
                </a:ext>
              </a:extLst>
            </p:cNvPr>
            <p:cNvSpPr/>
            <p:nvPr/>
          </p:nvSpPr>
          <p:spPr>
            <a:xfrm>
              <a:off x="10335866" y="4391799"/>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0" y="49777"/>
                    <a:pt x="49778" y="42697"/>
                    <a:pt x="49778" y="32783"/>
                  </a:cubicBezTo>
                  <a:cubicBezTo>
                    <a:pt x="49778" y="22870"/>
                    <a:pt x="42697" y="15789"/>
                    <a:pt x="32783" y="15789"/>
                  </a:cubicBezTo>
                  <a:cubicBezTo>
                    <a:pt x="24286" y="15789"/>
                    <a:pt x="15789" y="22870"/>
                    <a:pt x="15789" y="32783"/>
                  </a:cubicBezTo>
                  <a:cubicBezTo>
                    <a:pt x="15789" y="42697"/>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1" name="Freeform: Shape 2040">
              <a:extLst>
                <a:ext uri="{FF2B5EF4-FFF2-40B4-BE49-F238E27FC236}">
                  <a16:creationId xmlns:a16="http://schemas.microsoft.com/office/drawing/2014/main" id="{67214132-AD2E-479B-88A7-8B00CF039C76}"/>
                </a:ext>
              </a:extLst>
            </p:cNvPr>
            <p:cNvSpPr/>
            <p:nvPr/>
          </p:nvSpPr>
          <p:spPr>
            <a:xfrm>
              <a:off x="10488815" y="4500845"/>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3"/>
                  </a:cubicBezTo>
                  <a:cubicBezTo>
                    <a:pt x="35616" y="20038"/>
                    <a:pt x="31368"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2" name="Freeform: Shape 2041">
              <a:extLst>
                <a:ext uri="{FF2B5EF4-FFF2-40B4-BE49-F238E27FC236}">
                  <a16:creationId xmlns:a16="http://schemas.microsoft.com/office/drawing/2014/main" id="{ED53423E-C449-4A5D-A061-EE1D9B0D9264}"/>
                </a:ext>
              </a:extLst>
            </p:cNvPr>
            <p:cNvSpPr/>
            <p:nvPr/>
          </p:nvSpPr>
          <p:spPr>
            <a:xfrm>
              <a:off x="10818787" y="6081314"/>
              <a:ext cx="84971" cy="84971"/>
            </a:xfrm>
            <a:custGeom>
              <a:avLst/>
              <a:gdLst>
                <a:gd name="connsiteX0" fmla="*/ 42697 w 84971"/>
                <a:gd name="connsiteY0" fmla="*/ 69605 h 84971"/>
                <a:gd name="connsiteX1" fmla="*/ 69605 w 84971"/>
                <a:gd name="connsiteY1" fmla="*/ 42697 h 84971"/>
                <a:gd name="connsiteX2" fmla="*/ 42697 w 84971"/>
                <a:gd name="connsiteY2" fmla="*/ 15789 h 84971"/>
                <a:gd name="connsiteX3" fmla="*/ 15789 w 84971"/>
                <a:gd name="connsiteY3" fmla="*/ 42697 h 84971"/>
                <a:gd name="connsiteX4" fmla="*/ 42697 w 84971"/>
                <a:gd name="connsiteY4" fmla="*/ 69605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7" y="69605"/>
                  </a:moveTo>
                  <a:cubicBezTo>
                    <a:pt x="56859" y="69605"/>
                    <a:pt x="69605" y="58275"/>
                    <a:pt x="69605" y="42697"/>
                  </a:cubicBezTo>
                  <a:cubicBezTo>
                    <a:pt x="69605" y="28535"/>
                    <a:pt x="58275" y="15789"/>
                    <a:pt x="42697" y="15789"/>
                  </a:cubicBezTo>
                  <a:cubicBezTo>
                    <a:pt x="28535" y="15789"/>
                    <a:pt x="15789" y="27119"/>
                    <a:pt x="15789" y="42697"/>
                  </a:cubicBezTo>
                  <a:cubicBezTo>
                    <a:pt x="15789" y="56858"/>
                    <a:pt x="28535" y="69605"/>
                    <a:pt x="42697" y="6960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3" name="Freeform: Shape 2042">
              <a:extLst>
                <a:ext uri="{FF2B5EF4-FFF2-40B4-BE49-F238E27FC236}">
                  <a16:creationId xmlns:a16="http://schemas.microsoft.com/office/drawing/2014/main" id="{79D39AFE-F518-4DCE-9B9F-4D209A446264}"/>
                </a:ext>
              </a:extLst>
            </p:cNvPr>
            <p:cNvSpPr/>
            <p:nvPr/>
          </p:nvSpPr>
          <p:spPr>
            <a:xfrm>
              <a:off x="10876851" y="5986430"/>
              <a:ext cx="56648" cy="56648"/>
            </a:xfrm>
            <a:custGeom>
              <a:avLst/>
              <a:gdLst>
                <a:gd name="connsiteX0" fmla="*/ 32783 w 56647"/>
                <a:gd name="connsiteY0" fmla="*/ 49777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6" y="49777"/>
                    <a:pt x="49777" y="42697"/>
                    <a:pt x="49777" y="32783"/>
                  </a:cubicBezTo>
                  <a:cubicBezTo>
                    <a:pt x="49777" y="22870"/>
                    <a:pt x="42696" y="15789"/>
                    <a:pt x="32783" y="15789"/>
                  </a:cubicBezTo>
                  <a:cubicBezTo>
                    <a:pt x="22870" y="15789"/>
                    <a:pt x="15789" y="22870"/>
                    <a:pt x="15789" y="32783"/>
                  </a:cubicBezTo>
                  <a:cubicBezTo>
                    <a:pt x="15789" y="42697"/>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4" name="Freeform: Shape 2043">
              <a:extLst>
                <a:ext uri="{FF2B5EF4-FFF2-40B4-BE49-F238E27FC236}">
                  <a16:creationId xmlns:a16="http://schemas.microsoft.com/office/drawing/2014/main" id="{ED296FBC-BB1C-4BAA-AFB8-435D5A66E5D8}"/>
                </a:ext>
              </a:extLst>
            </p:cNvPr>
            <p:cNvSpPr/>
            <p:nvPr/>
          </p:nvSpPr>
          <p:spPr>
            <a:xfrm>
              <a:off x="11077951" y="5827816"/>
              <a:ext cx="56648" cy="56648"/>
            </a:xfrm>
            <a:custGeom>
              <a:avLst/>
              <a:gdLst>
                <a:gd name="connsiteX0" fmla="*/ 32783 w 56647"/>
                <a:gd name="connsiteY0" fmla="*/ 49777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6" y="49777"/>
                    <a:pt x="49777" y="42697"/>
                    <a:pt x="49777" y="32783"/>
                  </a:cubicBezTo>
                  <a:cubicBezTo>
                    <a:pt x="49777" y="22870"/>
                    <a:pt x="42696" y="15789"/>
                    <a:pt x="32783" y="15789"/>
                  </a:cubicBezTo>
                  <a:cubicBezTo>
                    <a:pt x="22870" y="15789"/>
                    <a:pt x="15789" y="22870"/>
                    <a:pt x="15789" y="32783"/>
                  </a:cubicBezTo>
                  <a:cubicBezTo>
                    <a:pt x="15789" y="42697"/>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5" name="Freeform: Shape 2044">
              <a:extLst>
                <a:ext uri="{FF2B5EF4-FFF2-40B4-BE49-F238E27FC236}">
                  <a16:creationId xmlns:a16="http://schemas.microsoft.com/office/drawing/2014/main" id="{A698FFFC-B93A-4B54-B5BC-5CCE755843C7}"/>
                </a:ext>
              </a:extLst>
            </p:cNvPr>
            <p:cNvSpPr/>
            <p:nvPr/>
          </p:nvSpPr>
          <p:spPr>
            <a:xfrm>
              <a:off x="11005724" y="5604058"/>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6" name="Freeform: Shape 2045">
              <a:extLst>
                <a:ext uri="{FF2B5EF4-FFF2-40B4-BE49-F238E27FC236}">
                  <a16:creationId xmlns:a16="http://schemas.microsoft.com/office/drawing/2014/main" id="{FCB8561C-C93A-4413-8CD5-40F1A2F8334A}"/>
                </a:ext>
              </a:extLst>
            </p:cNvPr>
            <p:cNvSpPr/>
            <p:nvPr/>
          </p:nvSpPr>
          <p:spPr>
            <a:xfrm>
              <a:off x="11138664" y="5749926"/>
              <a:ext cx="56648" cy="56648"/>
            </a:xfrm>
            <a:custGeom>
              <a:avLst/>
              <a:gdLst>
                <a:gd name="connsiteX0" fmla="*/ 28717 w 56647"/>
                <a:gd name="connsiteY0" fmla="*/ 41280 h 56647"/>
                <a:gd name="connsiteX1" fmla="*/ 41463 w 56647"/>
                <a:gd name="connsiteY1" fmla="*/ 28535 h 56647"/>
                <a:gd name="connsiteX2" fmla="*/ 28717 w 56647"/>
                <a:gd name="connsiteY2" fmla="*/ 15789 h 56647"/>
                <a:gd name="connsiteX3" fmla="*/ 15971 w 56647"/>
                <a:gd name="connsiteY3" fmla="*/ 28535 h 56647"/>
                <a:gd name="connsiteX4" fmla="*/ 28717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717" y="41280"/>
                  </a:moveTo>
                  <a:cubicBezTo>
                    <a:pt x="35798" y="41280"/>
                    <a:pt x="41463" y="35616"/>
                    <a:pt x="41463" y="28535"/>
                  </a:cubicBezTo>
                  <a:cubicBezTo>
                    <a:pt x="41463" y="21454"/>
                    <a:pt x="35798" y="15789"/>
                    <a:pt x="28717" y="15789"/>
                  </a:cubicBezTo>
                  <a:cubicBezTo>
                    <a:pt x="21636" y="15789"/>
                    <a:pt x="15971" y="21454"/>
                    <a:pt x="15971" y="28535"/>
                  </a:cubicBezTo>
                  <a:cubicBezTo>
                    <a:pt x="14555" y="35616"/>
                    <a:pt x="21636" y="41280"/>
                    <a:pt x="28717"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7" name="Freeform: Shape 2046">
              <a:extLst>
                <a:ext uri="{FF2B5EF4-FFF2-40B4-BE49-F238E27FC236}">
                  <a16:creationId xmlns:a16="http://schemas.microsoft.com/office/drawing/2014/main" id="{66D1DD1A-F372-4D52-8896-0AA33081FC94}"/>
                </a:ext>
              </a:extLst>
            </p:cNvPr>
            <p:cNvSpPr/>
            <p:nvPr/>
          </p:nvSpPr>
          <p:spPr>
            <a:xfrm>
              <a:off x="10983066" y="5939695"/>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8" name="Freeform: Shape 2047">
              <a:extLst>
                <a:ext uri="{FF2B5EF4-FFF2-40B4-BE49-F238E27FC236}">
                  <a16:creationId xmlns:a16="http://schemas.microsoft.com/office/drawing/2014/main" id="{40CF596A-0F82-4593-BA81-410F4802831B}"/>
                </a:ext>
              </a:extLst>
            </p:cNvPr>
            <p:cNvSpPr/>
            <p:nvPr/>
          </p:nvSpPr>
          <p:spPr>
            <a:xfrm>
              <a:off x="10968904" y="5843395"/>
              <a:ext cx="56648" cy="56648"/>
            </a:xfrm>
            <a:custGeom>
              <a:avLst/>
              <a:gdLst>
                <a:gd name="connsiteX0" fmla="*/ 28534 w 56647"/>
                <a:gd name="connsiteY0" fmla="*/ 41280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0"/>
                  </a:moveTo>
                  <a:cubicBezTo>
                    <a:pt x="35615" y="41280"/>
                    <a:pt x="41280" y="35616"/>
                    <a:pt x="41280" y="28535"/>
                  </a:cubicBezTo>
                  <a:cubicBezTo>
                    <a:pt x="41280" y="21454"/>
                    <a:pt x="35615" y="15789"/>
                    <a:pt x="28534" y="15789"/>
                  </a:cubicBezTo>
                  <a:cubicBezTo>
                    <a:pt x="21453" y="15789"/>
                    <a:pt x="15789" y="21454"/>
                    <a:pt x="15789" y="28535"/>
                  </a:cubicBezTo>
                  <a:cubicBezTo>
                    <a:pt x="15789" y="35616"/>
                    <a:pt x="21453" y="41280"/>
                    <a:pt x="28534"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9" name="Freeform: Shape 2048">
              <a:extLst>
                <a:ext uri="{FF2B5EF4-FFF2-40B4-BE49-F238E27FC236}">
                  <a16:creationId xmlns:a16="http://schemas.microsoft.com/office/drawing/2014/main" id="{8E2ED8BF-BF1E-4F26-B392-4E3F07541252}"/>
                </a:ext>
              </a:extLst>
            </p:cNvPr>
            <p:cNvSpPr/>
            <p:nvPr/>
          </p:nvSpPr>
          <p:spPr>
            <a:xfrm>
              <a:off x="11015638" y="5774001"/>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2697"/>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0" name="Freeform: Shape 2049">
              <a:extLst>
                <a:ext uri="{FF2B5EF4-FFF2-40B4-BE49-F238E27FC236}">
                  <a16:creationId xmlns:a16="http://schemas.microsoft.com/office/drawing/2014/main" id="{D665B9F5-2E9E-4024-92BB-EEC4E30FA8B7}"/>
                </a:ext>
              </a:extLst>
            </p:cNvPr>
            <p:cNvSpPr/>
            <p:nvPr/>
          </p:nvSpPr>
          <p:spPr>
            <a:xfrm>
              <a:off x="8705830" y="2393554"/>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9"/>
                    <a:pt x="55442" y="15789"/>
                    <a:pt x="41280" y="15789"/>
                  </a:cubicBezTo>
                  <a:cubicBezTo>
                    <a:pt x="27118" y="15789"/>
                    <a:pt x="15789" y="27119"/>
                    <a:pt x="15789" y="41280"/>
                  </a:cubicBezTo>
                  <a:cubicBezTo>
                    <a:pt x="15789" y="55442"/>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1" name="Freeform: Shape 2050">
              <a:extLst>
                <a:ext uri="{FF2B5EF4-FFF2-40B4-BE49-F238E27FC236}">
                  <a16:creationId xmlns:a16="http://schemas.microsoft.com/office/drawing/2014/main" id="{2E13290E-C0B5-490B-94D9-4078DE0BD40D}"/>
                </a:ext>
              </a:extLst>
            </p:cNvPr>
            <p:cNvSpPr/>
            <p:nvPr/>
          </p:nvSpPr>
          <p:spPr>
            <a:xfrm>
              <a:off x="7718745" y="1750603"/>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9"/>
                    <a:pt x="55442" y="15789"/>
                    <a:pt x="41280" y="15789"/>
                  </a:cubicBezTo>
                  <a:cubicBezTo>
                    <a:pt x="27118" y="15789"/>
                    <a:pt x="15789" y="27119"/>
                    <a:pt x="15789" y="41280"/>
                  </a:cubicBezTo>
                  <a:cubicBezTo>
                    <a:pt x="17205" y="55442"/>
                    <a:pt x="28535"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2" name="Freeform: Shape 2051">
              <a:extLst>
                <a:ext uri="{FF2B5EF4-FFF2-40B4-BE49-F238E27FC236}">
                  <a16:creationId xmlns:a16="http://schemas.microsoft.com/office/drawing/2014/main" id="{DF16DD08-A801-4A0F-AFA6-A1A2195FC30F}"/>
                </a:ext>
              </a:extLst>
            </p:cNvPr>
            <p:cNvSpPr/>
            <p:nvPr/>
          </p:nvSpPr>
          <p:spPr>
            <a:xfrm>
              <a:off x="8010480" y="1362567"/>
              <a:ext cx="70810" cy="70810"/>
            </a:xfrm>
            <a:custGeom>
              <a:avLst/>
              <a:gdLst>
                <a:gd name="connsiteX0" fmla="*/ 41281 w 70809"/>
                <a:gd name="connsiteY0" fmla="*/ 66772 h 70809"/>
                <a:gd name="connsiteX1" fmla="*/ 66772 w 70809"/>
                <a:gd name="connsiteY1" fmla="*/ 41280 h 70809"/>
                <a:gd name="connsiteX2" fmla="*/ 41281 w 70809"/>
                <a:gd name="connsiteY2" fmla="*/ 15789 h 70809"/>
                <a:gd name="connsiteX3" fmla="*/ 15789 w 70809"/>
                <a:gd name="connsiteY3" fmla="*/ 41280 h 70809"/>
                <a:gd name="connsiteX4" fmla="*/ 41281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1" y="66772"/>
                  </a:moveTo>
                  <a:cubicBezTo>
                    <a:pt x="55443" y="66772"/>
                    <a:pt x="66772" y="55442"/>
                    <a:pt x="66772" y="41280"/>
                  </a:cubicBezTo>
                  <a:cubicBezTo>
                    <a:pt x="66772" y="27119"/>
                    <a:pt x="55443" y="15789"/>
                    <a:pt x="41281" y="15789"/>
                  </a:cubicBezTo>
                  <a:cubicBezTo>
                    <a:pt x="27119" y="15789"/>
                    <a:pt x="15789" y="27119"/>
                    <a:pt x="15789" y="41280"/>
                  </a:cubicBezTo>
                  <a:cubicBezTo>
                    <a:pt x="17205" y="55442"/>
                    <a:pt x="28535" y="66772"/>
                    <a:pt x="41281"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3" name="Freeform: Shape 2052">
              <a:extLst>
                <a:ext uri="{FF2B5EF4-FFF2-40B4-BE49-F238E27FC236}">
                  <a16:creationId xmlns:a16="http://schemas.microsoft.com/office/drawing/2014/main" id="{1CB5CD26-2D77-43A7-A7D0-5C67259EC063}"/>
                </a:ext>
              </a:extLst>
            </p:cNvPr>
            <p:cNvSpPr/>
            <p:nvPr/>
          </p:nvSpPr>
          <p:spPr>
            <a:xfrm>
              <a:off x="7156516" y="2103235"/>
              <a:ext cx="70810" cy="70810"/>
            </a:xfrm>
            <a:custGeom>
              <a:avLst/>
              <a:gdLst>
                <a:gd name="connsiteX0" fmla="*/ 39864 w 70809"/>
                <a:gd name="connsiteY0" fmla="*/ 63939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39" y="52610"/>
                    <a:pt x="63939" y="39864"/>
                  </a:cubicBezTo>
                  <a:cubicBezTo>
                    <a:pt x="63939" y="27119"/>
                    <a:pt x="52610" y="15789"/>
                    <a:pt x="39864" y="15789"/>
                  </a:cubicBezTo>
                  <a:cubicBezTo>
                    <a:pt x="27118" y="15789"/>
                    <a:pt x="15789" y="27119"/>
                    <a:pt x="15789" y="39864"/>
                  </a:cubicBezTo>
                  <a:cubicBezTo>
                    <a:pt x="15789" y="52610"/>
                    <a:pt x="27118" y="63939"/>
                    <a:pt x="3986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4" name="Freeform: Shape 2053">
              <a:extLst>
                <a:ext uri="{FF2B5EF4-FFF2-40B4-BE49-F238E27FC236}">
                  <a16:creationId xmlns:a16="http://schemas.microsoft.com/office/drawing/2014/main" id="{156EDEE3-92F0-456A-951B-72EBFAC338FA}"/>
                </a:ext>
              </a:extLst>
            </p:cNvPr>
            <p:cNvSpPr/>
            <p:nvPr/>
          </p:nvSpPr>
          <p:spPr>
            <a:xfrm>
              <a:off x="7412847" y="1320081"/>
              <a:ext cx="70810" cy="70810"/>
            </a:xfrm>
            <a:custGeom>
              <a:avLst/>
              <a:gdLst>
                <a:gd name="connsiteX0" fmla="*/ 39864 w 70809"/>
                <a:gd name="connsiteY0" fmla="*/ 63940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2610" y="63940"/>
                    <a:pt x="63939" y="52610"/>
                    <a:pt x="63939" y="39864"/>
                  </a:cubicBezTo>
                  <a:cubicBezTo>
                    <a:pt x="63939" y="27119"/>
                    <a:pt x="52610" y="15789"/>
                    <a:pt x="39864" y="15789"/>
                  </a:cubicBezTo>
                  <a:cubicBezTo>
                    <a:pt x="27118" y="15789"/>
                    <a:pt x="15789" y="27119"/>
                    <a:pt x="15789" y="39864"/>
                  </a:cubicBezTo>
                  <a:cubicBezTo>
                    <a:pt x="15789" y="52610"/>
                    <a:pt x="27118"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5" name="Freeform: Shape 2054">
              <a:extLst>
                <a:ext uri="{FF2B5EF4-FFF2-40B4-BE49-F238E27FC236}">
                  <a16:creationId xmlns:a16="http://schemas.microsoft.com/office/drawing/2014/main" id="{C8452949-B6A3-4AC2-8FAE-1FDC9467C562}"/>
                </a:ext>
              </a:extLst>
            </p:cNvPr>
            <p:cNvSpPr/>
            <p:nvPr/>
          </p:nvSpPr>
          <p:spPr>
            <a:xfrm>
              <a:off x="6245905" y="606321"/>
              <a:ext cx="70810" cy="70810"/>
            </a:xfrm>
            <a:custGeom>
              <a:avLst/>
              <a:gdLst>
                <a:gd name="connsiteX0" fmla="*/ 63940 w 70809"/>
                <a:gd name="connsiteY0" fmla="*/ 39864 h 70809"/>
                <a:gd name="connsiteX1" fmla="*/ 39864 w 70809"/>
                <a:gd name="connsiteY1" fmla="*/ 63940 h 70809"/>
                <a:gd name="connsiteX2" fmla="*/ 15789 w 70809"/>
                <a:gd name="connsiteY2" fmla="*/ 39864 h 70809"/>
                <a:gd name="connsiteX3" fmla="*/ 39864 w 70809"/>
                <a:gd name="connsiteY3" fmla="*/ 15789 h 70809"/>
                <a:gd name="connsiteX4" fmla="*/ 63940 w 70809"/>
                <a:gd name="connsiteY4" fmla="*/ 3986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3940" y="39864"/>
                  </a:moveTo>
                  <a:cubicBezTo>
                    <a:pt x="63940" y="53161"/>
                    <a:pt x="53161" y="63940"/>
                    <a:pt x="39864" y="63940"/>
                  </a:cubicBezTo>
                  <a:cubicBezTo>
                    <a:pt x="26568" y="63940"/>
                    <a:pt x="15789" y="53161"/>
                    <a:pt x="15789" y="39864"/>
                  </a:cubicBezTo>
                  <a:cubicBezTo>
                    <a:pt x="15789" y="26568"/>
                    <a:pt x="26568" y="15789"/>
                    <a:pt x="39864" y="15789"/>
                  </a:cubicBezTo>
                  <a:cubicBezTo>
                    <a:pt x="53160" y="15789"/>
                    <a:pt x="63940" y="26568"/>
                    <a:pt x="63940"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6" name="Freeform: Shape 2055">
              <a:extLst>
                <a:ext uri="{FF2B5EF4-FFF2-40B4-BE49-F238E27FC236}">
                  <a16:creationId xmlns:a16="http://schemas.microsoft.com/office/drawing/2014/main" id="{994BB9F9-7DAC-4674-9B1B-0B8AA760ABF0}"/>
                </a:ext>
              </a:extLst>
            </p:cNvPr>
            <p:cNvSpPr/>
            <p:nvPr/>
          </p:nvSpPr>
          <p:spPr>
            <a:xfrm>
              <a:off x="6179344" y="1835574"/>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7" name="Freeform: Shape 2056">
              <a:extLst>
                <a:ext uri="{FF2B5EF4-FFF2-40B4-BE49-F238E27FC236}">
                  <a16:creationId xmlns:a16="http://schemas.microsoft.com/office/drawing/2014/main" id="{AF7674B0-1835-4CBA-8778-FEB21A730453}"/>
                </a:ext>
              </a:extLst>
            </p:cNvPr>
            <p:cNvSpPr/>
            <p:nvPr/>
          </p:nvSpPr>
          <p:spPr>
            <a:xfrm>
              <a:off x="6565964" y="607737"/>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9951"/>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8" name="Freeform: Shape 2057">
              <a:extLst>
                <a:ext uri="{FF2B5EF4-FFF2-40B4-BE49-F238E27FC236}">
                  <a16:creationId xmlns:a16="http://schemas.microsoft.com/office/drawing/2014/main" id="{6354405C-55AF-4D2A-9877-98EB39B0E078}"/>
                </a:ext>
              </a:extLst>
            </p:cNvPr>
            <p:cNvSpPr/>
            <p:nvPr/>
          </p:nvSpPr>
          <p:spPr>
            <a:xfrm>
              <a:off x="6448421" y="648807"/>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9" name="Freeform: Shape 2058">
              <a:extLst>
                <a:ext uri="{FF2B5EF4-FFF2-40B4-BE49-F238E27FC236}">
                  <a16:creationId xmlns:a16="http://schemas.microsoft.com/office/drawing/2014/main" id="{B6C91825-0EE6-49D7-9D43-641DED589E7B}"/>
                </a:ext>
              </a:extLst>
            </p:cNvPr>
            <p:cNvSpPr/>
            <p:nvPr/>
          </p:nvSpPr>
          <p:spPr>
            <a:xfrm>
              <a:off x="6595705" y="1141641"/>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2" y="58275"/>
                    <a:pt x="58275" y="48361"/>
                    <a:pt x="58275" y="37032"/>
                  </a:cubicBezTo>
                  <a:cubicBezTo>
                    <a:pt x="58275" y="25702"/>
                    <a:pt x="48362" y="15789"/>
                    <a:pt x="37032" y="15789"/>
                  </a:cubicBezTo>
                  <a:cubicBezTo>
                    <a:pt x="25703" y="15789"/>
                    <a:pt x="15789" y="25702"/>
                    <a:pt x="15789" y="37032"/>
                  </a:cubicBezTo>
                  <a:cubicBezTo>
                    <a:pt x="15789" y="48361"/>
                    <a:pt x="25703"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0" name="Freeform: Shape 2059">
              <a:extLst>
                <a:ext uri="{FF2B5EF4-FFF2-40B4-BE49-F238E27FC236}">
                  <a16:creationId xmlns:a16="http://schemas.microsoft.com/office/drawing/2014/main" id="{1FDA4903-8EFD-4250-8F51-B3FE49C674BD}"/>
                </a:ext>
              </a:extLst>
            </p:cNvPr>
            <p:cNvSpPr/>
            <p:nvPr/>
          </p:nvSpPr>
          <p:spPr>
            <a:xfrm>
              <a:off x="6254402" y="1620313"/>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2" y="58275"/>
                    <a:pt x="58275" y="48361"/>
                    <a:pt x="58275" y="37032"/>
                  </a:cubicBezTo>
                  <a:cubicBezTo>
                    <a:pt x="58275" y="25702"/>
                    <a:pt x="48362" y="15789"/>
                    <a:pt x="37032" y="15789"/>
                  </a:cubicBezTo>
                  <a:cubicBezTo>
                    <a:pt x="25703" y="15789"/>
                    <a:pt x="15789" y="25702"/>
                    <a:pt x="15789" y="37032"/>
                  </a:cubicBezTo>
                  <a:cubicBezTo>
                    <a:pt x="15789" y="48361"/>
                    <a:pt x="25703"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1" name="Freeform: Shape 2060">
              <a:extLst>
                <a:ext uri="{FF2B5EF4-FFF2-40B4-BE49-F238E27FC236}">
                  <a16:creationId xmlns:a16="http://schemas.microsoft.com/office/drawing/2014/main" id="{70A3D449-61E6-4251-9EAF-A1B379551809}"/>
                </a:ext>
              </a:extLst>
            </p:cNvPr>
            <p:cNvSpPr/>
            <p:nvPr/>
          </p:nvSpPr>
          <p:spPr>
            <a:xfrm>
              <a:off x="6037725" y="1766181"/>
              <a:ext cx="70810" cy="70810"/>
            </a:xfrm>
            <a:custGeom>
              <a:avLst/>
              <a:gdLst>
                <a:gd name="connsiteX0" fmla="*/ 38448 w 70809"/>
                <a:gd name="connsiteY0" fmla="*/ 15789 h 70809"/>
                <a:gd name="connsiteX1" fmla="*/ 61107 w 70809"/>
                <a:gd name="connsiteY1" fmla="*/ 38448 h 70809"/>
                <a:gd name="connsiteX2" fmla="*/ 38448 w 70809"/>
                <a:gd name="connsiteY2" fmla="*/ 61107 h 70809"/>
                <a:gd name="connsiteX3" fmla="*/ 15789 w 70809"/>
                <a:gd name="connsiteY3" fmla="*/ 38448 h 70809"/>
                <a:gd name="connsiteX4" fmla="*/ 38448 w 70809"/>
                <a:gd name="connsiteY4" fmla="*/ 15789 h 70809"/>
                <a:gd name="connsiteX5" fmla="*/ 38448 w 70809"/>
                <a:gd name="connsiteY5" fmla="*/ 15789 h 70809"/>
                <a:gd name="connsiteX6" fmla="*/ 38448 w 70809"/>
                <a:gd name="connsiteY6" fmla="*/ 25702 h 70809"/>
                <a:gd name="connsiteX7" fmla="*/ 25703 w 70809"/>
                <a:gd name="connsiteY7" fmla="*/ 38448 h 70809"/>
                <a:gd name="connsiteX8" fmla="*/ 38448 w 70809"/>
                <a:gd name="connsiteY8" fmla="*/ 51194 h 70809"/>
                <a:gd name="connsiteX9" fmla="*/ 51194 w 70809"/>
                <a:gd name="connsiteY9" fmla="*/ 38448 h 70809"/>
                <a:gd name="connsiteX10" fmla="*/ 38448 w 70809"/>
                <a:gd name="connsiteY10" fmla="*/ 25702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38448" y="15789"/>
                  </a:moveTo>
                  <a:cubicBezTo>
                    <a:pt x="51194" y="15789"/>
                    <a:pt x="61107" y="25702"/>
                    <a:pt x="61107" y="38448"/>
                  </a:cubicBezTo>
                  <a:cubicBezTo>
                    <a:pt x="61107" y="51194"/>
                    <a:pt x="51194" y="61107"/>
                    <a:pt x="38448" y="61107"/>
                  </a:cubicBezTo>
                  <a:cubicBezTo>
                    <a:pt x="25703" y="61107"/>
                    <a:pt x="15789" y="51194"/>
                    <a:pt x="15789" y="38448"/>
                  </a:cubicBezTo>
                  <a:cubicBezTo>
                    <a:pt x="15789" y="25702"/>
                    <a:pt x="25703" y="15789"/>
                    <a:pt x="38448" y="15789"/>
                  </a:cubicBezTo>
                  <a:lnTo>
                    <a:pt x="38448" y="15789"/>
                  </a:lnTo>
                  <a:close/>
                  <a:moveTo>
                    <a:pt x="38448" y="25702"/>
                  </a:moveTo>
                  <a:cubicBezTo>
                    <a:pt x="31367" y="25702"/>
                    <a:pt x="25703" y="31367"/>
                    <a:pt x="25703" y="38448"/>
                  </a:cubicBezTo>
                  <a:cubicBezTo>
                    <a:pt x="25703" y="45529"/>
                    <a:pt x="31367" y="51194"/>
                    <a:pt x="38448" y="51194"/>
                  </a:cubicBezTo>
                  <a:cubicBezTo>
                    <a:pt x="45529" y="51194"/>
                    <a:pt x="51194" y="45529"/>
                    <a:pt x="51194" y="38448"/>
                  </a:cubicBezTo>
                  <a:cubicBezTo>
                    <a:pt x="51194" y="31367"/>
                    <a:pt x="45529" y="25702"/>
                    <a:pt x="38448" y="2570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2" name="Freeform: Shape 2061">
              <a:extLst>
                <a:ext uri="{FF2B5EF4-FFF2-40B4-BE49-F238E27FC236}">
                  <a16:creationId xmlns:a16="http://schemas.microsoft.com/office/drawing/2014/main" id="{7B86F11F-1FB9-450C-AA5A-E95A4AADAD7D}"/>
                </a:ext>
              </a:extLst>
            </p:cNvPr>
            <p:cNvSpPr/>
            <p:nvPr/>
          </p:nvSpPr>
          <p:spPr>
            <a:xfrm>
              <a:off x="6924261" y="137389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3" name="Freeform: Shape 2062">
              <a:extLst>
                <a:ext uri="{FF2B5EF4-FFF2-40B4-BE49-F238E27FC236}">
                  <a16:creationId xmlns:a16="http://schemas.microsoft.com/office/drawing/2014/main" id="{CADA10B9-D05C-4E71-BF25-9F5D451A8596}"/>
                </a:ext>
              </a:extLst>
            </p:cNvPr>
            <p:cNvSpPr/>
            <p:nvPr/>
          </p:nvSpPr>
          <p:spPr>
            <a:xfrm>
              <a:off x="6430010" y="1591990"/>
              <a:ext cx="70810" cy="70810"/>
            </a:xfrm>
            <a:custGeom>
              <a:avLst/>
              <a:gdLst>
                <a:gd name="connsiteX0" fmla="*/ 63940 w 70809"/>
                <a:gd name="connsiteY0" fmla="*/ 39864 h 70809"/>
                <a:gd name="connsiteX1" fmla="*/ 39864 w 70809"/>
                <a:gd name="connsiteY1" fmla="*/ 63939 h 70809"/>
                <a:gd name="connsiteX2" fmla="*/ 15789 w 70809"/>
                <a:gd name="connsiteY2" fmla="*/ 39864 h 70809"/>
                <a:gd name="connsiteX3" fmla="*/ 39864 w 70809"/>
                <a:gd name="connsiteY3" fmla="*/ 15789 h 70809"/>
                <a:gd name="connsiteX4" fmla="*/ 63940 w 70809"/>
                <a:gd name="connsiteY4" fmla="*/ 3986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3940" y="39864"/>
                  </a:moveTo>
                  <a:cubicBezTo>
                    <a:pt x="63940" y="53161"/>
                    <a:pt x="53161" y="63939"/>
                    <a:pt x="39864" y="63939"/>
                  </a:cubicBezTo>
                  <a:cubicBezTo>
                    <a:pt x="26568" y="63939"/>
                    <a:pt x="15789" y="53161"/>
                    <a:pt x="15789" y="39864"/>
                  </a:cubicBezTo>
                  <a:cubicBezTo>
                    <a:pt x="15789" y="26568"/>
                    <a:pt x="26568" y="15789"/>
                    <a:pt x="39864" y="15789"/>
                  </a:cubicBezTo>
                  <a:cubicBezTo>
                    <a:pt x="53160" y="15789"/>
                    <a:pt x="63940" y="26568"/>
                    <a:pt x="63940"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4" name="Freeform: Shape 2063">
              <a:extLst>
                <a:ext uri="{FF2B5EF4-FFF2-40B4-BE49-F238E27FC236}">
                  <a16:creationId xmlns:a16="http://schemas.microsoft.com/office/drawing/2014/main" id="{B4FDD45A-84AC-4A5B-A320-622EF4ED7F78}"/>
                </a:ext>
              </a:extLst>
            </p:cNvPr>
            <p:cNvSpPr/>
            <p:nvPr/>
          </p:nvSpPr>
          <p:spPr>
            <a:xfrm>
              <a:off x="6156685" y="1675545"/>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5" name="Freeform: Shape 2064">
              <a:extLst>
                <a:ext uri="{FF2B5EF4-FFF2-40B4-BE49-F238E27FC236}">
                  <a16:creationId xmlns:a16="http://schemas.microsoft.com/office/drawing/2014/main" id="{71B27F73-398A-456A-BB3F-8A821006644B}"/>
                </a:ext>
              </a:extLst>
            </p:cNvPr>
            <p:cNvSpPr/>
            <p:nvPr/>
          </p:nvSpPr>
          <p:spPr>
            <a:xfrm>
              <a:off x="6237408" y="1388058"/>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2" y="15789"/>
                    <a:pt x="15789" y="25702"/>
                    <a:pt x="15789" y="37032"/>
                  </a:cubicBezTo>
                  <a:cubicBezTo>
                    <a:pt x="15789" y="48361"/>
                    <a:pt x="25702"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6" name="Freeform: Shape 2065">
              <a:extLst>
                <a:ext uri="{FF2B5EF4-FFF2-40B4-BE49-F238E27FC236}">
                  <a16:creationId xmlns:a16="http://schemas.microsoft.com/office/drawing/2014/main" id="{7937D830-BE61-42EA-BF40-8816E88506FE}"/>
                </a:ext>
              </a:extLst>
            </p:cNvPr>
            <p:cNvSpPr/>
            <p:nvPr/>
          </p:nvSpPr>
          <p:spPr>
            <a:xfrm>
              <a:off x="6142523" y="1468781"/>
              <a:ext cx="99133" cy="99133"/>
            </a:xfrm>
            <a:custGeom>
              <a:avLst/>
              <a:gdLst>
                <a:gd name="connsiteX0" fmla="*/ 55443 w 99133"/>
                <a:gd name="connsiteY0" fmla="*/ 15789 h 99133"/>
                <a:gd name="connsiteX1" fmla="*/ 95096 w 99133"/>
                <a:gd name="connsiteY1" fmla="*/ 55442 h 99133"/>
                <a:gd name="connsiteX2" fmla="*/ 55443 w 99133"/>
                <a:gd name="connsiteY2" fmla="*/ 95096 h 99133"/>
                <a:gd name="connsiteX3" fmla="*/ 15789 w 99133"/>
                <a:gd name="connsiteY3" fmla="*/ 55442 h 99133"/>
                <a:gd name="connsiteX4" fmla="*/ 55443 w 99133"/>
                <a:gd name="connsiteY4" fmla="*/ 15789 h 99133"/>
                <a:gd name="connsiteX5" fmla="*/ 55443 w 99133"/>
                <a:gd name="connsiteY5" fmla="*/ 15789 h 99133"/>
                <a:gd name="connsiteX6" fmla="*/ 55443 w 99133"/>
                <a:gd name="connsiteY6" fmla="*/ 34200 h 99133"/>
                <a:gd name="connsiteX7" fmla="*/ 34200 w 99133"/>
                <a:gd name="connsiteY7" fmla="*/ 55442 h 99133"/>
                <a:gd name="connsiteX8" fmla="*/ 55443 w 99133"/>
                <a:gd name="connsiteY8" fmla="*/ 76685 h 99133"/>
                <a:gd name="connsiteX9" fmla="*/ 76686 w 99133"/>
                <a:gd name="connsiteY9" fmla="*/ 55442 h 99133"/>
                <a:gd name="connsiteX10" fmla="*/ 55443 w 99133"/>
                <a:gd name="connsiteY10" fmla="*/ 34200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55443" y="15789"/>
                  </a:moveTo>
                  <a:cubicBezTo>
                    <a:pt x="76686" y="15789"/>
                    <a:pt x="95096" y="32783"/>
                    <a:pt x="95096" y="55442"/>
                  </a:cubicBezTo>
                  <a:cubicBezTo>
                    <a:pt x="95096" y="76685"/>
                    <a:pt x="78101" y="95096"/>
                    <a:pt x="55443" y="95096"/>
                  </a:cubicBezTo>
                  <a:cubicBezTo>
                    <a:pt x="34200" y="95096"/>
                    <a:pt x="15789" y="78101"/>
                    <a:pt x="15789" y="55442"/>
                  </a:cubicBezTo>
                  <a:cubicBezTo>
                    <a:pt x="17205" y="34200"/>
                    <a:pt x="34200" y="15789"/>
                    <a:pt x="55443" y="15789"/>
                  </a:cubicBezTo>
                  <a:lnTo>
                    <a:pt x="55443" y="15789"/>
                  </a:lnTo>
                  <a:close/>
                  <a:moveTo>
                    <a:pt x="55443" y="34200"/>
                  </a:moveTo>
                  <a:cubicBezTo>
                    <a:pt x="42697" y="34200"/>
                    <a:pt x="34200" y="44113"/>
                    <a:pt x="34200" y="55442"/>
                  </a:cubicBezTo>
                  <a:cubicBezTo>
                    <a:pt x="34200" y="68188"/>
                    <a:pt x="44113" y="76685"/>
                    <a:pt x="55443" y="76685"/>
                  </a:cubicBezTo>
                  <a:cubicBezTo>
                    <a:pt x="68188" y="76685"/>
                    <a:pt x="76686" y="66772"/>
                    <a:pt x="76686" y="55442"/>
                  </a:cubicBezTo>
                  <a:cubicBezTo>
                    <a:pt x="78101" y="42697"/>
                    <a:pt x="68188" y="34200"/>
                    <a:pt x="55443" y="3420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7" name="Freeform: Shape 2066">
              <a:extLst>
                <a:ext uri="{FF2B5EF4-FFF2-40B4-BE49-F238E27FC236}">
                  <a16:creationId xmlns:a16="http://schemas.microsoft.com/office/drawing/2014/main" id="{ACFDF506-A07F-43C8-AC29-BF2576DC0B3D}"/>
                </a:ext>
              </a:extLst>
            </p:cNvPr>
            <p:cNvSpPr/>
            <p:nvPr/>
          </p:nvSpPr>
          <p:spPr>
            <a:xfrm>
              <a:off x="6369114" y="1497105"/>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1" y="49778"/>
                    <a:pt x="49778" y="42697"/>
                    <a:pt x="49778" y="32783"/>
                  </a:cubicBezTo>
                  <a:cubicBezTo>
                    <a:pt x="49778" y="22870"/>
                    <a:pt x="42697"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8" name="Freeform: Shape 2067">
              <a:extLst>
                <a:ext uri="{FF2B5EF4-FFF2-40B4-BE49-F238E27FC236}">
                  <a16:creationId xmlns:a16="http://schemas.microsoft.com/office/drawing/2014/main" id="{EB0A6407-21A3-4A00-9549-23D8E18E3AE4}"/>
                </a:ext>
              </a:extLst>
            </p:cNvPr>
            <p:cNvSpPr/>
            <p:nvPr/>
          </p:nvSpPr>
          <p:spPr>
            <a:xfrm>
              <a:off x="6258651" y="1516931"/>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2870" y="15789"/>
                    <a:pt x="15789" y="22870"/>
                    <a:pt x="15789" y="32783"/>
                  </a:cubicBezTo>
                  <a:cubicBezTo>
                    <a:pt x="15789" y="41280"/>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9" name="Freeform: Shape 2068">
              <a:extLst>
                <a:ext uri="{FF2B5EF4-FFF2-40B4-BE49-F238E27FC236}">
                  <a16:creationId xmlns:a16="http://schemas.microsoft.com/office/drawing/2014/main" id="{369E04DF-86F9-4477-84ED-643A7365F3BB}"/>
                </a:ext>
              </a:extLst>
            </p:cNvPr>
            <p:cNvSpPr/>
            <p:nvPr/>
          </p:nvSpPr>
          <p:spPr>
            <a:xfrm>
              <a:off x="6118448" y="1621730"/>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0" name="Freeform: Shape 2069">
              <a:extLst>
                <a:ext uri="{FF2B5EF4-FFF2-40B4-BE49-F238E27FC236}">
                  <a16:creationId xmlns:a16="http://schemas.microsoft.com/office/drawing/2014/main" id="{8D5602EF-2E56-491F-AA55-85B1BD39AFF2}"/>
                </a:ext>
              </a:extLst>
            </p:cNvPr>
            <p:cNvSpPr/>
            <p:nvPr/>
          </p:nvSpPr>
          <p:spPr>
            <a:xfrm>
              <a:off x="6326628" y="1237942"/>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1" name="Freeform: Shape 2070">
              <a:extLst>
                <a:ext uri="{FF2B5EF4-FFF2-40B4-BE49-F238E27FC236}">
                  <a16:creationId xmlns:a16="http://schemas.microsoft.com/office/drawing/2014/main" id="{4E303446-BD5A-4319-B025-0F28D1B5AD84}"/>
                </a:ext>
              </a:extLst>
            </p:cNvPr>
            <p:cNvSpPr/>
            <p:nvPr/>
          </p:nvSpPr>
          <p:spPr>
            <a:xfrm>
              <a:off x="6473912" y="1345572"/>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2" name="Freeform: Shape 2071">
              <a:extLst>
                <a:ext uri="{FF2B5EF4-FFF2-40B4-BE49-F238E27FC236}">
                  <a16:creationId xmlns:a16="http://schemas.microsoft.com/office/drawing/2014/main" id="{12E332CB-6953-4AB1-BD87-1C3B3A3A6BD0}"/>
                </a:ext>
              </a:extLst>
            </p:cNvPr>
            <p:cNvSpPr/>
            <p:nvPr/>
          </p:nvSpPr>
          <p:spPr>
            <a:xfrm>
              <a:off x="6575878" y="1286092"/>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7" y="15789"/>
                    <a:pt x="15789" y="20038"/>
                    <a:pt x="15789" y="25702"/>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3" name="Freeform: Shape 2072">
              <a:extLst>
                <a:ext uri="{FF2B5EF4-FFF2-40B4-BE49-F238E27FC236}">
                  <a16:creationId xmlns:a16="http://schemas.microsoft.com/office/drawing/2014/main" id="{E9C0E403-B9D2-4600-AD87-24C8D3DC0439}"/>
                </a:ext>
              </a:extLst>
            </p:cNvPr>
            <p:cNvSpPr/>
            <p:nvPr/>
          </p:nvSpPr>
          <p:spPr>
            <a:xfrm>
              <a:off x="6850619" y="1257769"/>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4" name="Freeform: Shape 2073">
              <a:extLst>
                <a:ext uri="{FF2B5EF4-FFF2-40B4-BE49-F238E27FC236}">
                  <a16:creationId xmlns:a16="http://schemas.microsoft.com/office/drawing/2014/main" id="{A7443AE5-DFB3-4E39-9159-424AF3F8A60C}"/>
                </a:ext>
              </a:extLst>
            </p:cNvPr>
            <p:cNvSpPr/>
            <p:nvPr/>
          </p:nvSpPr>
          <p:spPr>
            <a:xfrm>
              <a:off x="5948505" y="1814332"/>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5" name="Freeform: Shape 2074">
              <a:extLst>
                <a:ext uri="{FF2B5EF4-FFF2-40B4-BE49-F238E27FC236}">
                  <a16:creationId xmlns:a16="http://schemas.microsoft.com/office/drawing/2014/main" id="{5238BEDE-E9CD-4726-92BC-DBE5C9EFD35F}"/>
                </a:ext>
              </a:extLst>
            </p:cNvPr>
            <p:cNvSpPr/>
            <p:nvPr/>
          </p:nvSpPr>
          <p:spPr>
            <a:xfrm>
              <a:off x="5937176" y="1644389"/>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6" name="Freeform: Shape 2075">
              <a:extLst>
                <a:ext uri="{FF2B5EF4-FFF2-40B4-BE49-F238E27FC236}">
                  <a16:creationId xmlns:a16="http://schemas.microsoft.com/office/drawing/2014/main" id="{0344C629-7BC0-44F7-A554-B824CD764C42}"/>
                </a:ext>
              </a:extLst>
            </p:cNvPr>
            <p:cNvSpPr/>
            <p:nvPr/>
          </p:nvSpPr>
          <p:spPr>
            <a:xfrm>
              <a:off x="6631109" y="1689707"/>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7" name="Freeform: Shape 2076">
              <a:extLst>
                <a:ext uri="{FF2B5EF4-FFF2-40B4-BE49-F238E27FC236}">
                  <a16:creationId xmlns:a16="http://schemas.microsoft.com/office/drawing/2014/main" id="{0F60237F-109A-49DC-AE8F-9CAE9579BE79}"/>
                </a:ext>
              </a:extLst>
            </p:cNvPr>
            <p:cNvSpPr/>
            <p:nvPr/>
          </p:nvSpPr>
          <p:spPr>
            <a:xfrm>
              <a:off x="6539057" y="167412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1"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8" name="Freeform: Shape 2077">
              <a:extLst>
                <a:ext uri="{FF2B5EF4-FFF2-40B4-BE49-F238E27FC236}">
                  <a16:creationId xmlns:a16="http://schemas.microsoft.com/office/drawing/2014/main" id="{E378AA62-1FF5-45E9-AA4B-C57BB8C33136}"/>
                </a:ext>
              </a:extLst>
            </p:cNvPr>
            <p:cNvSpPr/>
            <p:nvPr/>
          </p:nvSpPr>
          <p:spPr>
            <a:xfrm>
              <a:off x="6516398" y="1431960"/>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1"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9" name="Freeform: Shape 2078">
              <a:extLst>
                <a:ext uri="{FF2B5EF4-FFF2-40B4-BE49-F238E27FC236}">
                  <a16:creationId xmlns:a16="http://schemas.microsoft.com/office/drawing/2014/main" id="{D197F6E2-D484-49DB-9FE0-84BEA3B6B79B}"/>
                </a:ext>
              </a:extLst>
            </p:cNvPr>
            <p:cNvSpPr/>
            <p:nvPr/>
          </p:nvSpPr>
          <p:spPr>
            <a:xfrm>
              <a:off x="6631109" y="1543839"/>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0" name="Freeform: Shape 2079">
              <a:extLst>
                <a:ext uri="{FF2B5EF4-FFF2-40B4-BE49-F238E27FC236}">
                  <a16:creationId xmlns:a16="http://schemas.microsoft.com/office/drawing/2014/main" id="{9BB8E758-D1D2-4C25-8BF3-88FBC0D9C09B}"/>
                </a:ext>
              </a:extLst>
            </p:cNvPr>
            <p:cNvSpPr/>
            <p:nvPr/>
          </p:nvSpPr>
          <p:spPr>
            <a:xfrm>
              <a:off x="6111367" y="2276010"/>
              <a:ext cx="84971" cy="84971"/>
            </a:xfrm>
            <a:custGeom>
              <a:avLst/>
              <a:gdLst>
                <a:gd name="connsiteX0" fmla="*/ 42697 w 84971"/>
                <a:gd name="connsiteY0" fmla="*/ 69604 h 84971"/>
                <a:gd name="connsiteX1" fmla="*/ 69604 w 84971"/>
                <a:gd name="connsiteY1" fmla="*/ 42697 h 84971"/>
                <a:gd name="connsiteX2" fmla="*/ 42697 w 84971"/>
                <a:gd name="connsiteY2" fmla="*/ 15789 h 84971"/>
                <a:gd name="connsiteX3" fmla="*/ 15789 w 84971"/>
                <a:gd name="connsiteY3" fmla="*/ 42697 h 84971"/>
                <a:gd name="connsiteX4" fmla="*/ 42697 w 84971"/>
                <a:gd name="connsiteY4" fmla="*/ 6960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7" y="69604"/>
                  </a:moveTo>
                  <a:cubicBezTo>
                    <a:pt x="56858" y="69604"/>
                    <a:pt x="69604" y="56859"/>
                    <a:pt x="69604" y="42697"/>
                  </a:cubicBezTo>
                  <a:cubicBezTo>
                    <a:pt x="69604" y="28535"/>
                    <a:pt x="56858" y="15789"/>
                    <a:pt x="42697" y="15789"/>
                  </a:cubicBezTo>
                  <a:cubicBezTo>
                    <a:pt x="28535" y="15789"/>
                    <a:pt x="15789" y="28535"/>
                    <a:pt x="15789" y="42697"/>
                  </a:cubicBezTo>
                  <a:cubicBezTo>
                    <a:pt x="15789" y="56859"/>
                    <a:pt x="28535" y="69604"/>
                    <a:pt x="42697" y="6960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1" name="Freeform: Shape 2080">
              <a:extLst>
                <a:ext uri="{FF2B5EF4-FFF2-40B4-BE49-F238E27FC236}">
                  <a16:creationId xmlns:a16="http://schemas.microsoft.com/office/drawing/2014/main" id="{1B38E630-920F-4A6C-B66B-0D2593193424}"/>
                </a:ext>
              </a:extLst>
            </p:cNvPr>
            <p:cNvSpPr/>
            <p:nvPr/>
          </p:nvSpPr>
          <p:spPr>
            <a:xfrm>
              <a:off x="6122697" y="2525259"/>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1280"/>
                    <a:pt x="49778" y="32783"/>
                  </a:cubicBezTo>
                  <a:cubicBezTo>
                    <a:pt x="49778" y="22870"/>
                    <a:pt x="41280" y="15789"/>
                    <a:pt x="32783" y="15789"/>
                  </a:cubicBezTo>
                  <a:cubicBezTo>
                    <a:pt x="22870" y="15789"/>
                    <a:pt x="15789" y="24286"/>
                    <a:pt x="15789" y="32783"/>
                  </a:cubicBezTo>
                  <a:cubicBezTo>
                    <a:pt x="15789" y="41280"/>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2" name="Freeform: Shape 2081">
              <a:extLst>
                <a:ext uri="{FF2B5EF4-FFF2-40B4-BE49-F238E27FC236}">
                  <a16:creationId xmlns:a16="http://schemas.microsoft.com/office/drawing/2014/main" id="{EF1435DF-B05F-4EDC-9E1D-280C60CFFED5}"/>
                </a:ext>
              </a:extLst>
            </p:cNvPr>
            <p:cNvSpPr/>
            <p:nvPr/>
          </p:nvSpPr>
          <p:spPr>
            <a:xfrm>
              <a:off x="5990991" y="2317079"/>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7"/>
                    <a:pt x="31367" y="15789"/>
                    <a:pt x="25702" y="15789"/>
                  </a:cubicBezTo>
                  <a:cubicBezTo>
                    <a:pt x="20037" y="15789"/>
                    <a:pt x="15789" y="20037"/>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3" name="Freeform: Shape 2082">
              <a:extLst>
                <a:ext uri="{FF2B5EF4-FFF2-40B4-BE49-F238E27FC236}">
                  <a16:creationId xmlns:a16="http://schemas.microsoft.com/office/drawing/2014/main" id="{DC4D02B7-9791-4513-A018-623858860D56}"/>
                </a:ext>
              </a:extLst>
            </p:cNvPr>
            <p:cNvSpPr/>
            <p:nvPr/>
          </p:nvSpPr>
          <p:spPr>
            <a:xfrm>
              <a:off x="6152437" y="2056500"/>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4" name="Freeform: Shape 2083">
              <a:extLst>
                <a:ext uri="{FF2B5EF4-FFF2-40B4-BE49-F238E27FC236}">
                  <a16:creationId xmlns:a16="http://schemas.microsoft.com/office/drawing/2014/main" id="{7B17E80F-D753-4014-BB03-DD49106B030D}"/>
                </a:ext>
              </a:extLst>
            </p:cNvPr>
            <p:cNvSpPr/>
            <p:nvPr/>
          </p:nvSpPr>
          <p:spPr>
            <a:xfrm>
              <a:off x="6376195" y="2345403"/>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8" y="15789"/>
                    <a:pt x="15789" y="20037"/>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5" name="Freeform: Shape 2084">
              <a:extLst>
                <a:ext uri="{FF2B5EF4-FFF2-40B4-BE49-F238E27FC236}">
                  <a16:creationId xmlns:a16="http://schemas.microsoft.com/office/drawing/2014/main" id="{AB11A4A4-9B2B-482C-9519-FEC06DB6B719}"/>
                </a:ext>
              </a:extLst>
            </p:cNvPr>
            <p:cNvSpPr/>
            <p:nvPr/>
          </p:nvSpPr>
          <p:spPr>
            <a:xfrm>
              <a:off x="6475328" y="2600318"/>
              <a:ext cx="84971" cy="84971"/>
            </a:xfrm>
            <a:custGeom>
              <a:avLst/>
              <a:gdLst>
                <a:gd name="connsiteX0" fmla="*/ 42697 w 84971"/>
                <a:gd name="connsiteY0" fmla="*/ 69604 h 84971"/>
                <a:gd name="connsiteX1" fmla="*/ 69605 w 84971"/>
                <a:gd name="connsiteY1" fmla="*/ 42697 h 84971"/>
                <a:gd name="connsiteX2" fmla="*/ 42697 w 84971"/>
                <a:gd name="connsiteY2" fmla="*/ 15789 h 84971"/>
                <a:gd name="connsiteX3" fmla="*/ 15789 w 84971"/>
                <a:gd name="connsiteY3" fmla="*/ 42697 h 84971"/>
                <a:gd name="connsiteX4" fmla="*/ 42697 w 84971"/>
                <a:gd name="connsiteY4" fmla="*/ 6960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7" y="69604"/>
                  </a:moveTo>
                  <a:cubicBezTo>
                    <a:pt x="56858" y="69604"/>
                    <a:pt x="69605" y="56858"/>
                    <a:pt x="69605" y="42697"/>
                  </a:cubicBezTo>
                  <a:cubicBezTo>
                    <a:pt x="69605" y="28535"/>
                    <a:pt x="56858" y="15789"/>
                    <a:pt x="42697" y="15789"/>
                  </a:cubicBezTo>
                  <a:cubicBezTo>
                    <a:pt x="28535" y="15789"/>
                    <a:pt x="15789" y="28535"/>
                    <a:pt x="15789" y="42697"/>
                  </a:cubicBezTo>
                  <a:cubicBezTo>
                    <a:pt x="15789" y="56858"/>
                    <a:pt x="28535" y="69604"/>
                    <a:pt x="42697" y="6960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6" name="Freeform: Shape 2085">
              <a:extLst>
                <a:ext uri="{FF2B5EF4-FFF2-40B4-BE49-F238E27FC236}">
                  <a16:creationId xmlns:a16="http://schemas.microsoft.com/office/drawing/2014/main" id="{A5AC9884-141C-4C7D-946A-2954FAAC72DA}"/>
                </a:ext>
              </a:extLst>
            </p:cNvPr>
            <p:cNvSpPr/>
            <p:nvPr/>
          </p:nvSpPr>
          <p:spPr>
            <a:xfrm>
              <a:off x="6560300" y="2169795"/>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7" name="Freeform: Shape 2086">
              <a:extLst>
                <a:ext uri="{FF2B5EF4-FFF2-40B4-BE49-F238E27FC236}">
                  <a16:creationId xmlns:a16="http://schemas.microsoft.com/office/drawing/2014/main" id="{0E544DFC-0772-4243-95E1-2CF739AA0608}"/>
                </a:ext>
              </a:extLst>
            </p:cNvPr>
            <p:cNvSpPr/>
            <p:nvPr/>
          </p:nvSpPr>
          <p:spPr>
            <a:xfrm>
              <a:off x="5978245" y="2499768"/>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8" name="Freeform: Shape 2087">
              <a:extLst>
                <a:ext uri="{FF2B5EF4-FFF2-40B4-BE49-F238E27FC236}">
                  <a16:creationId xmlns:a16="http://schemas.microsoft.com/office/drawing/2014/main" id="{2CD52EA9-09D8-48B8-BBAD-9468EA7EFF14}"/>
                </a:ext>
              </a:extLst>
            </p:cNvPr>
            <p:cNvSpPr/>
            <p:nvPr/>
          </p:nvSpPr>
          <p:spPr>
            <a:xfrm>
              <a:off x="5755903" y="2084824"/>
              <a:ext cx="70810" cy="70810"/>
            </a:xfrm>
            <a:custGeom>
              <a:avLst/>
              <a:gdLst>
                <a:gd name="connsiteX0" fmla="*/ 39864 w 70809"/>
                <a:gd name="connsiteY0" fmla="*/ 63940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2610" y="63940"/>
                    <a:pt x="63939" y="52610"/>
                    <a:pt x="63939" y="39864"/>
                  </a:cubicBezTo>
                  <a:cubicBezTo>
                    <a:pt x="63939" y="27119"/>
                    <a:pt x="52610" y="15789"/>
                    <a:pt x="39864" y="15789"/>
                  </a:cubicBezTo>
                  <a:cubicBezTo>
                    <a:pt x="27118" y="15789"/>
                    <a:pt x="15789" y="27119"/>
                    <a:pt x="15789" y="39864"/>
                  </a:cubicBezTo>
                  <a:cubicBezTo>
                    <a:pt x="15789" y="52610"/>
                    <a:pt x="27118"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9" name="Freeform: Shape 2088">
              <a:extLst>
                <a:ext uri="{FF2B5EF4-FFF2-40B4-BE49-F238E27FC236}">
                  <a16:creationId xmlns:a16="http://schemas.microsoft.com/office/drawing/2014/main" id="{B1D1BE12-77E9-4CA1-AEDC-4D563A9A4A99}"/>
                </a:ext>
              </a:extLst>
            </p:cNvPr>
            <p:cNvSpPr/>
            <p:nvPr/>
          </p:nvSpPr>
          <p:spPr>
            <a:xfrm>
              <a:off x="6578710" y="2502600"/>
              <a:ext cx="56648" cy="56648"/>
            </a:xfrm>
            <a:custGeom>
              <a:avLst/>
              <a:gdLst>
                <a:gd name="connsiteX0" fmla="*/ 49778 w 56647"/>
                <a:gd name="connsiteY0" fmla="*/ 32783 h 56647"/>
                <a:gd name="connsiteX1" fmla="*/ 32783 w 56647"/>
                <a:gd name="connsiteY1" fmla="*/ 49777 h 56647"/>
                <a:gd name="connsiteX2" fmla="*/ 15789 w 56647"/>
                <a:gd name="connsiteY2" fmla="*/ 32783 h 56647"/>
                <a:gd name="connsiteX3" fmla="*/ 32783 w 56647"/>
                <a:gd name="connsiteY3" fmla="*/ 15789 h 56647"/>
                <a:gd name="connsiteX4" fmla="*/ 49778 w 56647"/>
                <a:gd name="connsiteY4" fmla="*/ 3278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49778" y="32783"/>
                  </a:moveTo>
                  <a:cubicBezTo>
                    <a:pt x="49778" y="42169"/>
                    <a:pt x="42169" y="49777"/>
                    <a:pt x="32783" y="49777"/>
                  </a:cubicBezTo>
                  <a:cubicBezTo>
                    <a:pt x="23397" y="49777"/>
                    <a:pt x="15789" y="42169"/>
                    <a:pt x="15789" y="32783"/>
                  </a:cubicBezTo>
                  <a:cubicBezTo>
                    <a:pt x="15789" y="23398"/>
                    <a:pt x="23397" y="15789"/>
                    <a:pt x="32783" y="15789"/>
                  </a:cubicBezTo>
                  <a:cubicBezTo>
                    <a:pt x="42169" y="15789"/>
                    <a:pt x="49778" y="23398"/>
                    <a:pt x="49778"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0" name="Freeform: Shape 2089">
              <a:extLst>
                <a:ext uri="{FF2B5EF4-FFF2-40B4-BE49-F238E27FC236}">
                  <a16:creationId xmlns:a16="http://schemas.microsoft.com/office/drawing/2014/main" id="{10D1B822-8327-4B11-B1E7-B1F6A15A7223}"/>
                </a:ext>
              </a:extLst>
            </p:cNvPr>
            <p:cNvSpPr/>
            <p:nvPr/>
          </p:nvSpPr>
          <p:spPr>
            <a:xfrm>
              <a:off x="6371947" y="2083408"/>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1" name="Freeform: Shape 2090">
              <a:extLst>
                <a:ext uri="{FF2B5EF4-FFF2-40B4-BE49-F238E27FC236}">
                  <a16:creationId xmlns:a16="http://schemas.microsoft.com/office/drawing/2014/main" id="{6B63649C-DF63-4F70-AB36-5325475B1E4C}"/>
                </a:ext>
              </a:extLst>
            </p:cNvPr>
            <p:cNvSpPr/>
            <p:nvPr/>
          </p:nvSpPr>
          <p:spPr>
            <a:xfrm>
              <a:off x="6029228" y="1892222"/>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2" name="Freeform: Shape 2091">
              <a:extLst>
                <a:ext uri="{FF2B5EF4-FFF2-40B4-BE49-F238E27FC236}">
                  <a16:creationId xmlns:a16="http://schemas.microsoft.com/office/drawing/2014/main" id="{FB9F33C7-E6CF-4BF3-BC60-A5C4699063E8}"/>
                </a:ext>
              </a:extLst>
            </p:cNvPr>
            <p:cNvSpPr/>
            <p:nvPr/>
          </p:nvSpPr>
          <p:spPr>
            <a:xfrm>
              <a:off x="5957002" y="2079159"/>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3" name="Freeform: Shape 2092">
              <a:extLst>
                <a:ext uri="{FF2B5EF4-FFF2-40B4-BE49-F238E27FC236}">
                  <a16:creationId xmlns:a16="http://schemas.microsoft.com/office/drawing/2014/main" id="{350A3443-9F33-49FA-A32B-DC9498855C8C}"/>
                </a:ext>
              </a:extLst>
            </p:cNvPr>
            <p:cNvSpPr/>
            <p:nvPr/>
          </p:nvSpPr>
          <p:spPr>
            <a:xfrm>
              <a:off x="6050471" y="2025344"/>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4" name="Freeform: Shape 2093">
              <a:extLst>
                <a:ext uri="{FF2B5EF4-FFF2-40B4-BE49-F238E27FC236}">
                  <a16:creationId xmlns:a16="http://schemas.microsoft.com/office/drawing/2014/main" id="{3C2E43CA-1590-4279-BE0B-26F9D4CCB247}"/>
                </a:ext>
              </a:extLst>
            </p:cNvPr>
            <p:cNvSpPr/>
            <p:nvPr/>
          </p:nvSpPr>
          <p:spPr>
            <a:xfrm>
              <a:off x="6700503" y="2338322"/>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1" y="49777"/>
                    <a:pt x="49778" y="42697"/>
                    <a:pt x="49778" y="32783"/>
                  </a:cubicBezTo>
                  <a:cubicBezTo>
                    <a:pt x="49778" y="24286"/>
                    <a:pt x="42697" y="15789"/>
                    <a:pt x="32783" y="15789"/>
                  </a:cubicBezTo>
                  <a:cubicBezTo>
                    <a:pt x="24286" y="15789"/>
                    <a:pt x="15789" y="22870"/>
                    <a:pt x="15789" y="32783"/>
                  </a:cubicBezTo>
                  <a:cubicBezTo>
                    <a:pt x="15789" y="41280"/>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5" name="Freeform: Shape 2094">
              <a:extLst>
                <a:ext uri="{FF2B5EF4-FFF2-40B4-BE49-F238E27FC236}">
                  <a16:creationId xmlns:a16="http://schemas.microsoft.com/office/drawing/2014/main" id="{17859574-37F0-4DCC-B20F-4BA5271F6944}"/>
                </a:ext>
              </a:extLst>
            </p:cNvPr>
            <p:cNvSpPr/>
            <p:nvPr/>
          </p:nvSpPr>
          <p:spPr>
            <a:xfrm>
              <a:off x="5886193" y="2382224"/>
              <a:ext cx="84971" cy="84971"/>
            </a:xfrm>
            <a:custGeom>
              <a:avLst/>
              <a:gdLst>
                <a:gd name="connsiteX0" fmla="*/ 45529 w 84971"/>
                <a:gd name="connsiteY0" fmla="*/ 15789 h 84971"/>
                <a:gd name="connsiteX1" fmla="*/ 75269 w 84971"/>
                <a:gd name="connsiteY1" fmla="*/ 45529 h 84971"/>
                <a:gd name="connsiteX2" fmla="*/ 45529 w 84971"/>
                <a:gd name="connsiteY2" fmla="*/ 75269 h 84971"/>
                <a:gd name="connsiteX3" fmla="*/ 15789 w 84971"/>
                <a:gd name="connsiteY3" fmla="*/ 45529 h 84971"/>
                <a:gd name="connsiteX4" fmla="*/ 45529 w 84971"/>
                <a:gd name="connsiteY4" fmla="*/ 15789 h 84971"/>
                <a:gd name="connsiteX5" fmla="*/ 45529 w 84971"/>
                <a:gd name="connsiteY5" fmla="*/ 15789 h 84971"/>
                <a:gd name="connsiteX6" fmla="*/ 45529 w 84971"/>
                <a:gd name="connsiteY6" fmla="*/ 28535 h 84971"/>
                <a:gd name="connsiteX7" fmla="*/ 28535 w 84971"/>
                <a:gd name="connsiteY7" fmla="*/ 45529 h 84971"/>
                <a:gd name="connsiteX8" fmla="*/ 45529 w 84971"/>
                <a:gd name="connsiteY8" fmla="*/ 62523 h 84971"/>
                <a:gd name="connsiteX9" fmla="*/ 62524 w 84971"/>
                <a:gd name="connsiteY9" fmla="*/ 45529 h 84971"/>
                <a:gd name="connsiteX10" fmla="*/ 45529 w 84971"/>
                <a:gd name="connsiteY10" fmla="*/ 28535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5529" y="15789"/>
                  </a:moveTo>
                  <a:cubicBezTo>
                    <a:pt x="62524" y="15789"/>
                    <a:pt x="75269" y="28535"/>
                    <a:pt x="75269" y="45529"/>
                  </a:cubicBezTo>
                  <a:cubicBezTo>
                    <a:pt x="75269" y="62523"/>
                    <a:pt x="62524" y="75269"/>
                    <a:pt x="45529" y="75269"/>
                  </a:cubicBezTo>
                  <a:cubicBezTo>
                    <a:pt x="28535" y="75269"/>
                    <a:pt x="15789" y="62523"/>
                    <a:pt x="15789" y="45529"/>
                  </a:cubicBezTo>
                  <a:cubicBezTo>
                    <a:pt x="15789" y="28535"/>
                    <a:pt x="28535" y="15789"/>
                    <a:pt x="45529" y="15789"/>
                  </a:cubicBezTo>
                  <a:lnTo>
                    <a:pt x="45529" y="15789"/>
                  </a:lnTo>
                  <a:close/>
                  <a:moveTo>
                    <a:pt x="45529" y="28535"/>
                  </a:moveTo>
                  <a:cubicBezTo>
                    <a:pt x="35616" y="28535"/>
                    <a:pt x="28535" y="35616"/>
                    <a:pt x="28535" y="45529"/>
                  </a:cubicBezTo>
                  <a:cubicBezTo>
                    <a:pt x="28535" y="55442"/>
                    <a:pt x="35616" y="62523"/>
                    <a:pt x="45529" y="62523"/>
                  </a:cubicBezTo>
                  <a:cubicBezTo>
                    <a:pt x="55443" y="62523"/>
                    <a:pt x="62524" y="55442"/>
                    <a:pt x="62524" y="45529"/>
                  </a:cubicBezTo>
                  <a:cubicBezTo>
                    <a:pt x="62524" y="35616"/>
                    <a:pt x="55443" y="28535"/>
                    <a:pt x="45529" y="2853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6" name="Freeform: Shape 2095">
              <a:extLst>
                <a:ext uri="{FF2B5EF4-FFF2-40B4-BE49-F238E27FC236}">
                  <a16:creationId xmlns:a16="http://schemas.microsoft.com/office/drawing/2014/main" id="{C12E7102-6D5C-40DD-B4B9-4BD1CF2D99C7}"/>
                </a:ext>
              </a:extLst>
            </p:cNvPr>
            <p:cNvSpPr/>
            <p:nvPr/>
          </p:nvSpPr>
          <p:spPr>
            <a:xfrm>
              <a:off x="7104117" y="2467195"/>
              <a:ext cx="84971" cy="84971"/>
            </a:xfrm>
            <a:custGeom>
              <a:avLst/>
              <a:gdLst>
                <a:gd name="connsiteX0" fmla="*/ 45529 w 84971"/>
                <a:gd name="connsiteY0" fmla="*/ 15789 h 84971"/>
                <a:gd name="connsiteX1" fmla="*/ 75269 w 84971"/>
                <a:gd name="connsiteY1" fmla="*/ 45529 h 84971"/>
                <a:gd name="connsiteX2" fmla="*/ 45529 w 84971"/>
                <a:gd name="connsiteY2" fmla="*/ 75269 h 84971"/>
                <a:gd name="connsiteX3" fmla="*/ 15789 w 84971"/>
                <a:gd name="connsiteY3" fmla="*/ 45529 h 84971"/>
                <a:gd name="connsiteX4" fmla="*/ 45529 w 84971"/>
                <a:gd name="connsiteY4" fmla="*/ 15789 h 84971"/>
                <a:gd name="connsiteX5" fmla="*/ 45529 w 84971"/>
                <a:gd name="connsiteY5" fmla="*/ 15789 h 84971"/>
                <a:gd name="connsiteX6" fmla="*/ 45529 w 84971"/>
                <a:gd name="connsiteY6" fmla="*/ 28535 h 84971"/>
                <a:gd name="connsiteX7" fmla="*/ 28535 w 84971"/>
                <a:gd name="connsiteY7" fmla="*/ 45529 h 84971"/>
                <a:gd name="connsiteX8" fmla="*/ 45529 w 84971"/>
                <a:gd name="connsiteY8" fmla="*/ 62523 h 84971"/>
                <a:gd name="connsiteX9" fmla="*/ 62524 w 84971"/>
                <a:gd name="connsiteY9" fmla="*/ 45529 h 84971"/>
                <a:gd name="connsiteX10" fmla="*/ 45529 w 84971"/>
                <a:gd name="connsiteY10" fmla="*/ 28535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5529" y="15789"/>
                  </a:moveTo>
                  <a:cubicBezTo>
                    <a:pt x="62524" y="15789"/>
                    <a:pt x="75269" y="28535"/>
                    <a:pt x="75269" y="45529"/>
                  </a:cubicBezTo>
                  <a:cubicBezTo>
                    <a:pt x="75269" y="62523"/>
                    <a:pt x="62524" y="75269"/>
                    <a:pt x="45529" y="75269"/>
                  </a:cubicBezTo>
                  <a:cubicBezTo>
                    <a:pt x="28535" y="75269"/>
                    <a:pt x="15789" y="62523"/>
                    <a:pt x="15789" y="45529"/>
                  </a:cubicBezTo>
                  <a:cubicBezTo>
                    <a:pt x="15789" y="28535"/>
                    <a:pt x="28535" y="15789"/>
                    <a:pt x="45529" y="15789"/>
                  </a:cubicBezTo>
                  <a:lnTo>
                    <a:pt x="45529" y="15789"/>
                  </a:lnTo>
                  <a:close/>
                  <a:moveTo>
                    <a:pt x="45529" y="28535"/>
                  </a:moveTo>
                  <a:cubicBezTo>
                    <a:pt x="35616" y="28535"/>
                    <a:pt x="28535" y="35616"/>
                    <a:pt x="28535" y="45529"/>
                  </a:cubicBezTo>
                  <a:cubicBezTo>
                    <a:pt x="28535" y="55442"/>
                    <a:pt x="35616" y="62523"/>
                    <a:pt x="45529" y="62523"/>
                  </a:cubicBezTo>
                  <a:cubicBezTo>
                    <a:pt x="55443" y="62523"/>
                    <a:pt x="62524" y="55442"/>
                    <a:pt x="62524" y="45529"/>
                  </a:cubicBezTo>
                  <a:cubicBezTo>
                    <a:pt x="62524" y="35616"/>
                    <a:pt x="55443" y="28535"/>
                    <a:pt x="45529" y="2853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7" name="Freeform: Shape 2096">
              <a:extLst>
                <a:ext uri="{FF2B5EF4-FFF2-40B4-BE49-F238E27FC236}">
                  <a16:creationId xmlns:a16="http://schemas.microsoft.com/office/drawing/2014/main" id="{9B8484F0-ECCE-4007-B86F-E0CF0FC15026}"/>
                </a:ext>
              </a:extLst>
            </p:cNvPr>
            <p:cNvSpPr/>
            <p:nvPr/>
          </p:nvSpPr>
          <p:spPr>
            <a:xfrm>
              <a:off x="6186425" y="2076327"/>
              <a:ext cx="70810" cy="70810"/>
            </a:xfrm>
            <a:custGeom>
              <a:avLst/>
              <a:gdLst>
                <a:gd name="connsiteX0" fmla="*/ 63939 w 70809"/>
                <a:gd name="connsiteY0" fmla="*/ 39864 h 70809"/>
                <a:gd name="connsiteX1" fmla="*/ 39864 w 70809"/>
                <a:gd name="connsiteY1" fmla="*/ 63939 h 70809"/>
                <a:gd name="connsiteX2" fmla="*/ 15789 w 70809"/>
                <a:gd name="connsiteY2" fmla="*/ 39864 h 70809"/>
                <a:gd name="connsiteX3" fmla="*/ 39864 w 70809"/>
                <a:gd name="connsiteY3" fmla="*/ 15789 h 70809"/>
                <a:gd name="connsiteX4" fmla="*/ 63939 w 70809"/>
                <a:gd name="connsiteY4" fmla="*/ 3986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3939" y="39864"/>
                  </a:moveTo>
                  <a:cubicBezTo>
                    <a:pt x="63939" y="53161"/>
                    <a:pt x="53161" y="63939"/>
                    <a:pt x="39864" y="63939"/>
                  </a:cubicBezTo>
                  <a:cubicBezTo>
                    <a:pt x="26568" y="63939"/>
                    <a:pt x="15789" y="53161"/>
                    <a:pt x="15789" y="39864"/>
                  </a:cubicBezTo>
                  <a:cubicBezTo>
                    <a:pt x="15789" y="26568"/>
                    <a:pt x="26567" y="15789"/>
                    <a:pt x="39864" y="15789"/>
                  </a:cubicBezTo>
                  <a:cubicBezTo>
                    <a:pt x="53160" y="15789"/>
                    <a:pt x="63939" y="26568"/>
                    <a:pt x="63939"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8" name="Freeform: Shape 2097">
              <a:extLst>
                <a:ext uri="{FF2B5EF4-FFF2-40B4-BE49-F238E27FC236}">
                  <a16:creationId xmlns:a16="http://schemas.microsoft.com/office/drawing/2014/main" id="{958A1158-4EAA-4EBB-8787-BE8B8792BD21}"/>
                </a:ext>
              </a:extLst>
            </p:cNvPr>
            <p:cNvSpPr/>
            <p:nvPr/>
          </p:nvSpPr>
          <p:spPr>
            <a:xfrm>
              <a:off x="6480993" y="2489855"/>
              <a:ext cx="70810" cy="70810"/>
            </a:xfrm>
            <a:custGeom>
              <a:avLst/>
              <a:gdLst>
                <a:gd name="connsiteX0" fmla="*/ 39864 w 70809"/>
                <a:gd name="connsiteY0" fmla="*/ 63939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40" y="52610"/>
                    <a:pt x="63940" y="39864"/>
                  </a:cubicBezTo>
                  <a:cubicBezTo>
                    <a:pt x="63940" y="27119"/>
                    <a:pt x="52610" y="15789"/>
                    <a:pt x="39864" y="15789"/>
                  </a:cubicBezTo>
                  <a:cubicBezTo>
                    <a:pt x="27119" y="15789"/>
                    <a:pt x="15789" y="27119"/>
                    <a:pt x="15789" y="39864"/>
                  </a:cubicBezTo>
                  <a:cubicBezTo>
                    <a:pt x="15789" y="52610"/>
                    <a:pt x="27119" y="63939"/>
                    <a:pt x="3986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9" name="Freeform: Shape 2098">
              <a:extLst>
                <a:ext uri="{FF2B5EF4-FFF2-40B4-BE49-F238E27FC236}">
                  <a16:creationId xmlns:a16="http://schemas.microsoft.com/office/drawing/2014/main" id="{664D6854-3E2B-4886-BD5D-D56E2F4205CE}"/>
                </a:ext>
              </a:extLst>
            </p:cNvPr>
            <p:cNvSpPr/>
            <p:nvPr/>
          </p:nvSpPr>
          <p:spPr>
            <a:xfrm>
              <a:off x="7249985" y="1329994"/>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0" name="Freeform: Shape 2099">
              <a:extLst>
                <a:ext uri="{FF2B5EF4-FFF2-40B4-BE49-F238E27FC236}">
                  <a16:creationId xmlns:a16="http://schemas.microsoft.com/office/drawing/2014/main" id="{E591CC15-89B1-4866-B9D5-6CEC7E1FA095}"/>
                </a:ext>
              </a:extLst>
            </p:cNvPr>
            <p:cNvSpPr/>
            <p:nvPr/>
          </p:nvSpPr>
          <p:spPr>
            <a:xfrm>
              <a:off x="7119695" y="1313000"/>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1" y="49778"/>
                    <a:pt x="49778" y="42697"/>
                    <a:pt x="49778" y="32783"/>
                  </a:cubicBezTo>
                  <a:cubicBezTo>
                    <a:pt x="49778" y="22870"/>
                    <a:pt x="42697" y="15789"/>
                    <a:pt x="32783" y="15789"/>
                  </a:cubicBezTo>
                  <a:cubicBezTo>
                    <a:pt x="24286"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1" name="Freeform: Shape 2100">
              <a:extLst>
                <a:ext uri="{FF2B5EF4-FFF2-40B4-BE49-F238E27FC236}">
                  <a16:creationId xmlns:a16="http://schemas.microsoft.com/office/drawing/2014/main" id="{F84FE36E-8B73-4B8C-863F-4DE3605EF620}"/>
                </a:ext>
              </a:extLst>
            </p:cNvPr>
            <p:cNvSpPr/>
            <p:nvPr/>
          </p:nvSpPr>
          <p:spPr>
            <a:xfrm>
              <a:off x="7058799" y="1744938"/>
              <a:ext cx="56648" cy="56648"/>
            </a:xfrm>
            <a:custGeom>
              <a:avLst/>
              <a:gdLst>
                <a:gd name="connsiteX0" fmla="*/ 52610 w 56647"/>
                <a:gd name="connsiteY0" fmla="*/ 34199 h 56647"/>
                <a:gd name="connsiteX1" fmla="*/ 34200 w 56647"/>
                <a:gd name="connsiteY1" fmla="*/ 52610 h 56647"/>
                <a:gd name="connsiteX2" fmla="*/ 15790 w 56647"/>
                <a:gd name="connsiteY2" fmla="*/ 34199 h 56647"/>
                <a:gd name="connsiteX3" fmla="*/ 34200 w 56647"/>
                <a:gd name="connsiteY3" fmla="*/ 15789 h 56647"/>
                <a:gd name="connsiteX4" fmla="*/ 52610 w 56647"/>
                <a:gd name="connsiteY4" fmla="*/ 3419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52610" y="34199"/>
                  </a:moveTo>
                  <a:cubicBezTo>
                    <a:pt x="52610" y="44367"/>
                    <a:pt x="44367" y="52610"/>
                    <a:pt x="34200" y="52610"/>
                  </a:cubicBezTo>
                  <a:cubicBezTo>
                    <a:pt x="24032" y="52610"/>
                    <a:pt x="15790" y="44367"/>
                    <a:pt x="15790" y="34199"/>
                  </a:cubicBezTo>
                  <a:cubicBezTo>
                    <a:pt x="15790" y="24032"/>
                    <a:pt x="24032" y="15789"/>
                    <a:pt x="34200" y="15789"/>
                  </a:cubicBezTo>
                  <a:cubicBezTo>
                    <a:pt x="44367" y="15789"/>
                    <a:pt x="52610" y="24032"/>
                    <a:pt x="52610" y="341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2" name="Freeform: Shape 2101">
              <a:extLst>
                <a:ext uri="{FF2B5EF4-FFF2-40B4-BE49-F238E27FC236}">
                  <a16:creationId xmlns:a16="http://schemas.microsoft.com/office/drawing/2014/main" id="{37E1CC68-7E8C-4104-A7DC-6DD694EF6D83}"/>
                </a:ext>
              </a:extLst>
            </p:cNvPr>
            <p:cNvSpPr/>
            <p:nvPr/>
          </p:nvSpPr>
          <p:spPr>
            <a:xfrm>
              <a:off x="6949752" y="1740690"/>
              <a:ext cx="84971" cy="84971"/>
            </a:xfrm>
            <a:custGeom>
              <a:avLst/>
              <a:gdLst>
                <a:gd name="connsiteX0" fmla="*/ 78101 w 84971"/>
                <a:gd name="connsiteY0" fmla="*/ 46945 h 84971"/>
                <a:gd name="connsiteX1" fmla="*/ 46945 w 84971"/>
                <a:gd name="connsiteY1" fmla="*/ 78101 h 84971"/>
                <a:gd name="connsiteX2" fmla="*/ 15788 w 84971"/>
                <a:gd name="connsiteY2" fmla="*/ 46945 h 84971"/>
                <a:gd name="connsiteX3" fmla="*/ 46945 w 84971"/>
                <a:gd name="connsiteY3" fmla="*/ 15789 h 84971"/>
                <a:gd name="connsiteX4" fmla="*/ 78101 w 84971"/>
                <a:gd name="connsiteY4" fmla="*/ 46945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78101" y="46945"/>
                  </a:moveTo>
                  <a:cubicBezTo>
                    <a:pt x="78101" y="64152"/>
                    <a:pt x="64152" y="78101"/>
                    <a:pt x="46945" y="78101"/>
                  </a:cubicBezTo>
                  <a:cubicBezTo>
                    <a:pt x="29738" y="78101"/>
                    <a:pt x="15788" y="64152"/>
                    <a:pt x="15788" y="46945"/>
                  </a:cubicBezTo>
                  <a:cubicBezTo>
                    <a:pt x="15788" y="29738"/>
                    <a:pt x="29738" y="15789"/>
                    <a:pt x="46945" y="15789"/>
                  </a:cubicBezTo>
                  <a:cubicBezTo>
                    <a:pt x="64152" y="15789"/>
                    <a:pt x="78101" y="29738"/>
                    <a:pt x="78101"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3" name="Freeform: Shape 2102">
              <a:extLst>
                <a:ext uri="{FF2B5EF4-FFF2-40B4-BE49-F238E27FC236}">
                  <a16:creationId xmlns:a16="http://schemas.microsoft.com/office/drawing/2014/main" id="{542F2F39-E97E-4334-9844-C7DD3CB545BF}"/>
                </a:ext>
              </a:extLst>
            </p:cNvPr>
            <p:cNvSpPr/>
            <p:nvPr/>
          </p:nvSpPr>
          <p:spPr>
            <a:xfrm>
              <a:off x="8633604" y="1630227"/>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7" y="15789"/>
                    <a:pt x="15789" y="22870"/>
                    <a:pt x="15789" y="32783"/>
                  </a:cubicBezTo>
                  <a:cubicBezTo>
                    <a:pt x="17206" y="42697"/>
                    <a:pt x="24287"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4" name="Freeform: Shape 2103">
              <a:extLst>
                <a:ext uri="{FF2B5EF4-FFF2-40B4-BE49-F238E27FC236}">
                  <a16:creationId xmlns:a16="http://schemas.microsoft.com/office/drawing/2014/main" id="{98325D6E-2748-4ECF-8B83-F689E2D7C0C9}"/>
                </a:ext>
              </a:extLst>
            </p:cNvPr>
            <p:cNvSpPr/>
            <p:nvPr/>
          </p:nvSpPr>
          <p:spPr>
            <a:xfrm>
              <a:off x="7953832" y="1039675"/>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4200" y="38448"/>
                    <a:pt x="38448" y="32783"/>
                    <a:pt x="38448" y="27119"/>
                  </a:cubicBezTo>
                  <a:cubicBezTo>
                    <a:pt x="38448" y="20038"/>
                    <a:pt x="32783" y="15789"/>
                    <a:pt x="27119" y="15789"/>
                  </a:cubicBezTo>
                  <a:cubicBezTo>
                    <a:pt x="20038" y="15789"/>
                    <a:pt x="15789" y="21454"/>
                    <a:pt x="15789" y="27119"/>
                  </a:cubicBezTo>
                  <a:cubicBezTo>
                    <a:pt x="15789" y="34199"/>
                    <a:pt x="21454"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5" name="Freeform: Shape 2104">
              <a:extLst>
                <a:ext uri="{FF2B5EF4-FFF2-40B4-BE49-F238E27FC236}">
                  <a16:creationId xmlns:a16="http://schemas.microsoft.com/office/drawing/2014/main" id="{038EFB0A-CC0D-4557-A71B-4D85E2F597DF}"/>
                </a:ext>
              </a:extLst>
            </p:cNvPr>
            <p:cNvSpPr/>
            <p:nvPr/>
          </p:nvSpPr>
          <p:spPr>
            <a:xfrm>
              <a:off x="8470742" y="87964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7" y="15789"/>
                    <a:pt x="15789" y="22870"/>
                    <a:pt x="15789" y="32783"/>
                  </a:cubicBezTo>
                  <a:cubicBezTo>
                    <a:pt x="17206" y="42697"/>
                    <a:pt x="24287"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6" name="Freeform: Shape 2105">
              <a:extLst>
                <a:ext uri="{FF2B5EF4-FFF2-40B4-BE49-F238E27FC236}">
                  <a16:creationId xmlns:a16="http://schemas.microsoft.com/office/drawing/2014/main" id="{E6AD080D-1141-4B17-878F-18DD16BE373C}"/>
                </a:ext>
              </a:extLst>
            </p:cNvPr>
            <p:cNvSpPr/>
            <p:nvPr/>
          </p:nvSpPr>
          <p:spPr>
            <a:xfrm>
              <a:off x="8299383" y="1157219"/>
              <a:ext cx="56648" cy="56648"/>
            </a:xfrm>
            <a:custGeom>
              <a:avLst/>
              <a:gdLst>
                <a:gd name="connsiteX0" fmla="*/ 32783 w 56647"/>
                <a:gd name="connsiteY0" fmla="*/ 49778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7" y="42697"/>
                    <a:pt x="49777" y="32783"/>
                  </a:cubicBezTo>
                  <a:cubicBezTo>
                    <a:pt x="49777" y="24286"/>
                    <a:pt x="42696" y="15789"/>
                    <a:pt x="32783" y="15789"/>
                  </a:cubicBezTo>
                  <a:cubicBezTo>
                    <a:pt x="24286"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7" name="Freeform: Shape 2106">
              <a:extLst>
                <a:ext uri="{FF2B5EF4-FFF2-40B4-BE49-F238E27FC236}">
                  <a16:creationId xmlns:a16="http://schemas.microsoft.com/office/drawing/2014/main" id="{EA6DA9C4-0147-4D8D-9DE2-009CF05F2C93}"/>
                </a:ext>
              </a:extLst>
            </p:cNvPr>
            <p:cNvSpPr/>
            <p:nvPr/>
          </p:nvSpPr>
          <p:spPr>
            <a:xfrm>
              <a:off x="7527559" y="1696788"/>
              <a:ext cx="42486" cy="42486"/>
            </a:xfrm>
            <a:custGeom>
              <a:avLst/>
              <a:gdLst>
                <a:gd name="connsiteX0" fmla="*/ 32783 w 42485"/>
                <a:gd name="connsiteY0" fmla="*/ 24286 h 42485"/>
                <a:gd name="connsiteX1" fmla="*/ 24286 w 42485"/>
                <a:gd name="connsiteY1" fmla="*/ 32783 h 42485"/>
                <a:gd name="connsiteX2" fmla="*/ 15789 w 42485"/>
                <a:gd name="connsiteY2" fmla="*/ 24286 h 42485"/>
                <a:gd name="connsiteX3" fmla="*/ 24286 w 42485"/>
                <a:gd name="connsiteY3" fmla="*/ 15789 h 42485"/>
                <a:gd name="connsiteX4" fmla="*/ 32783 w 42485"/>
                <a:gd name="connsiteY4" fmla="*/ 2428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3" y="24286"/>
                  </a:moveTo>
                  <a:cubicBezTo>
                    <a:pt x="32783" y="28979"/>
                    <a:pt x="28979" y="32783"/>
                    <a:pt x="24286" y="32783"/>
                  </a:cubicBezTo>
                  <a:cubicBezTo>
                    <a:pt x="19593" y="32783"/>
                    <a:pt x="15789" y="28979"/>
                    <a:pt x="15789" y="24286"/>
                  </a:cubicBezTo>
                  <a:cubicBezTo>
                    <a:pt x="15789" y="19593"/>
                    <a:pt x="19593" y="15789"/>
                    <a:pt x="24286" y="15789"/>
                  </a:cubicBezTo>
                  <a:cubicBezTo>
                    <a:pt x="28979" y="15789"/>
                    <a:pt x="32783" y="19593"/>
                    <a:pt x="32783"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8" name="Freeform: Shape 2107">
              <a:extLst>
                <a:ext uri="{FF2B5EF4-FFF2-40B4-BE49-F238E27FC236}">
                  <a16:creationId xmlns:a16="http://schemas.microsoft.com/office/drawing/2014/main" id="{3398BD9A-E113-49C9-BD4C-FEFDEE2A5DEF}"/>
                </a:ext>
              </a:extLst>
            </p:cNvPr>
            <p:cNvSpPr/>
            <p:nvPr/>
          </p:nvSpPr>
          <p:spPr>
            <a:xfrm>
              <a:off x="9847280" y="5526168"/>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1280"/>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9" name="Freeform: Shape 2108">
              <a:extLst>
                <a:ext uri="{FF2B5EF4-FFF2-40B4-BE49-F238E27FC236}">
                  <a16:creationId xmlns:a16="http://schemas.microsoft.com/office/drawing/2014/main" id="{B3D43372-CBFA-46CE-851D-A2B6489C3B91}"/>
                </a:ext>
              </a:extLst>
            </p:cNvPr>
            <p:cNvSpPr/>
            <p:nvPr/>
          </p:nvSpPr>
          <p:spPr>
            <a:xfrm>
              <a:off x="9226988" y="5316571"/>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8"/>
                    <a:pt x="28534" y="15789"/>
                    <a:pt x="24286" y="15789"/>
                  </a:cubicBezTo>
                  <a:cubicBezTo>
                    <a:pt x="20037" y="15789"/>
                    <a:pt x="15789" y="20038"/>
                    <a:pt x="15789" y="24286"/>
                  </a:cubicBezTo>
                  <a:cubicBezTo>
                    <a:pt x="15789" y="28535"/>
                    <a:pt x="18622"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0" name="Freeform: Shape 2109">
              <a:extLst>
                <a:ext uri="{FF2B5EF4-FFF2-40B4-BE49-F238E27FC236}">
                  <a16:creationId xmlns:a16="http://schemas.microsoft.com/office/drawing/2014/main" id="{177C6424-117D-4A9D-9D21-2C5A9F2D6D2D}"/>
                </a:ext>
              </a:extLst>
            </p:cNvPr>
            <p:cNvSpPr/>
            <p:nvPr/>
          </p:nvSpPr>
          <p:spPr>
            <a:xfrm>
              <a:off x="9192999" y="5157958"/>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7"/>
                    <a:pt x="28535" y="15789"/>
                    <a:pt x="24287" y="15789"/>
                  </a:cubicBezTo>
                  <a:cubicBezTo>
                    <a:pt x="20037" y="15789"/>
                    <a:pt x="15789" y="20037"/>
                    <a:pt x="15789" y="24286"/>
                  </a:cubicBezTo>
                  <a:cubicBezTo>
                    <a:pt x="15789" y="29951"/>
                    <a:pt x="18622" y="32783"/>
                    <a:pt x="24287"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1" name="Freeform: Shape 2110">
              <a:extLst>
                <a:ext uri="{FF2B5EF4-FFF2-40B4-BE49-F238E27FC236}">
                  <a16:creationId xmlns:a16="http://schemas.microsoft.com/office/drawing/2014/main" id="{EBBBF903-49C6-41AF-BF81-190647C3965E}"/>
                </a:ext>
              </a:extLst>
            </p:cNvPr>
            <p:cNvSpPr/>
            <p:nvPr/>
          </p:nvSpPr>
          <p:spPr>
            <a:xfrm>
              <a:off x="9647597" y="5459607"/>
              <a:ext cx="42486" cy="42486"/>
            </a:xfrm>
            <a:custGeom>
              <a:avLst/>
              <a:gdLst>
                <a:gd name="connsiteX0" fmla="*/ 32783 w 42485"/>
                <a:gd name="connsiteY0" fmla="*/ 24286 h 42485"/>
                <a:gd name="connsiteX1" fmla="*/ 24286 w 42485"/>
                <a:gd name="connsiteY1" fmla="*/ 32783 h 42485"/>
                <a:gd name="connsiteX2" fmla="*/ 15789 w 42485"/>
                <a:gd name="connsiteY2" fmla="*/ 24286 h 42485"/>
                <a:gd name="connsiteX3" fmla="*/ 24286 w 42485"/>
                <a:gd name="connsiteY3" fmla="*/ 15789 h 42485"/>
                <a:gd name="connsiteX4" fmla="*/ 32783 w 42485"/>
                <a:gd name="connsiteY4" fmla="*/ 2428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3" y="24286"/>
                  </a:moveTo>
                  <a:cubicBezTo>
                    <a:pt x="32783" y="28979"/>
                    <a:pt x="28979" y="32783"/>
                    <a:pt x="24286" y="32783"/>
                  </a:cubicBezTo>
                  <a:cubicBezTo>
                    <a:pt x="19593" y="32783"/>
                    <a:pt x="15789" y="28979"/>
                    <a:pt x="15789" y="24286"/>
                  </a:cubicBezTo>
                  <a:cubicBezTo>
                    <a:pt x="15789" y="19594"/>
                    <a:pt x="19593" y="15789"/>
                    <a:pt x="24286" y="15789"/>
                  </a:cubicBezTo>
                  <a:cubicBezTo>
                    <a:pt x="28979" y="15789"/>
                    <a:pt x="32783" y="19593"/>
                    <a:pt x="32783"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2" name="Freeform: Shape 2111">
              <a:extLst>
                <a:ext uri="{FF2B5EF4-FFF2-40B4-BE49-F238E27FC236}">
                  <a16:creationId xmlns:a16="http://schemas.microsoft.com/office/drawing/2014/main" id="{71210B01-C49C-4C06-8821-B7D55CBC1BD7}"/>
                </a:ext>
              </a:extLst>
            </p:cNvPr>
            <p:cNvSpPr/>
            <p:nvPr/>
          </p:nvSpPr>
          <p:spPr>
            <a:xfrm>
              <a:off x="10299045" y="512821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7"/>
                    <a:pt x="28534" y="15789"/>
                    <a:pt x="24286" y="15789"/>
                  </a:cubicBezTo>
                  <a:cubicBezTo>
                    <a:pt x="20037" y="15789"/>
                    <a:pt x="15789" y="20037"/>
                    <a:pt x="15789" y="24286"/>
                  </a:cubicBezTo>
                  <a:cubicBezTo>
                    <a:pt x="15789" y="28535"/>
                    <a:pt x="18621"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3" name="Freeform: Shape 2112">
              <a:extLst>
                <a:ext uri="{FF2B5EF4-FFF2-40B4-BE49-F238E27FC236}">
                  <a16:creationId xmlns:a16="http://schemas.microsoft.com/office/drawing/2014/main" id="{0082226F-15D4-4845-B03E-DFA0B309B5FF}"/>
                </a:ext>
              </a:extLst>
            </p:cNvPr>
            <p:cNvSpPr/>
            <p:nvPr/>
          </p:nvSpPr>
          <p:spPr>
            <a:xfrm>
              <a:off x="10001645" y="5718769"/>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8"/>
                    <a:pt x="28534" y="15789"/>
                    <a:pt x="24286" y="15789"/>
                  </a:cubicBezTo>
                  <a:cubicBezTo>
                    <a:pt x="20037" y="15789"/>
                    <a:pt x="15789" y="20038"/>
                    <a:pt x="15789" y="24286"/>
                  </a:cubicBezTo>
                  <a:cubicBezTo>
                    <a:pt x="15789" y="29951"/>
                    <a:pt x="18621"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4" name="Freeform: Shape 2113">
              <a:extLst>
                <a:ext uri="{FF2B5EF4-FFF2-40B4-BE49-F238E27FC236}">
                  <a16:creationId xmlns:a16="http://schemas.microsoft.com/office/drawing/2014/main" id="{2C1F8F18-A536-4E31-A686-F82B2B0ABC22}"/>
                </a:ext>
              </a:extLst>
            </p:cNvPr>
            <p:cNvSpPr/>
            <p:nvPr/>
          </p:nvSpPr>
          <p:spPr>
            <a:xfrm>
              <a:off x="10253727" y="5543162"/>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8"/>
                    <a:pt x="28534" y="15789"/>
                    <a:pt x="24286" y="15789"/>
                  </a:cubicBezTo>
                  <a:cubicBezTo>
                    <a:pt x="20037" y="15789"/>
                    <a:pt x="15789" y="20038"/>
                    <a:pt x="15789" y="24286"/>
                  </a:cubicBezTo>
                  <a:cubicBezTo>
                    <a:pt x="17205"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5" name="Freeform: Shape 2114">
              <a:extLst>
                <a:ext uri="{FF2B5EF4-FFF2-40B4-BE49-F238E27FC236}">
                  <a16:creationId xmlns:a16="http://schemas.microsoft.com/office/drawing/2014/main" id="{729D7D69-0C5B-4521-B0D7-4761246D5B4F}"/>
                </a:ext>
              </a:extLst>
            </p:cNvPr>
            <p:cNvSpPr/>
            <p:nvPr/>
          </p:nvSpPr>
          <p:spPr>
            <a:xfrm>
              <a:off x="10001645" y="5275502"/>
              <a:ext cx="56648" cy="56648"/>
            </a:xfrm>
            <a:custGeom>
              <a:avLst/>
              <a:gdLst>
                <a:gd name="connsiteX0" fmla="*/ 28534 w 56647"/>
                <a:gd name="connsiteY0" fmla="*/ 41280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0"/>
                  </a:moveTo>
                  <a:cubicBezTo>
                    <a:pt x="35615" y="41280"/>
                    <a:pt x="41280" y="35616"/>
                    <a:pt x="41280" y="28535"/>
                  </a:cubicBezTo>
                  <a:cubicBezTo>
                    <a:pt x="41280" y="21454"/>
                    <a:pt x="35615" y="15789"/>
                    <a:pt x="28534" y="15789"/>
                  </a:cubicBezTo>
                  <a:cubicBezTo>
                    <a:pt x="21453" y="15789"/>
                    <a:pt x="15789" y="21454"/>
                    <a:pt x="15789" y="28535"/>
                  </a:cubicBezTo>
                  <a:cubicBezTo>
                    <a:pt x="15789" y="35616"/>
                    <a:pt x="21453" y="41280"/>
                    <a:pt x="28534"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6" name="Freeform: Shape 2115">
              <a:extLst>
                <a:ext uri="{FF2B5EF4-FFF2-40B4-BE49-F238E27FC236}">
                  <a16:creationId xmlns:a16="http://schemas.microsoft.com/office/drawing/2014/main" id="{FC4A94BE-BFE7-4E35-A170-18C1DF4175D9}"/>
                </a:ext>
              </a:extLst>
            </p:cNvPr>
            <p:cNvSpPr/>
            <p:nvPr/>
          </p:nvSpPr>
          <p:spPr>
            <a:xfrm>
              <a:off x="9328954" y="5081484"/>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7" name="Freeform: Shape 2116">
              <a:extLst>
                <a:ext uri="{FF2B5EF4-FFF2-40B4-BE49-F238E27FC236}">
                  <a16:creationId xmlns:a16="http://schemas.microsoft.com/office/drawing/2014/main" id="{D74B442C-93F4-4784-9635-BFD0E6BC924E}"/>
                </a:ext>
              </a:extLst>
            </p:cNvPr>
            <p:cNvSpPr/>
            <p:nvPr/>
          </p:nvSpPr>
          <p:spPr>
            <a:xfrm>
              <a:off x="9496065" y="4904460"/>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8" name="Freeform: Shape 2117">
              <a:extLst>
                <a:ext uri="{FF2B5EF4-FFF2-40B4-BE49-F238E27FC236}">
                  <a16:creationId xmlns:a16="http://schemas.microsoft.com/office/drawing/2014/main" id="{799C1A40-42C9-4BFB-BD73-23346C8D46BE}"/>
                </a:ext>
              </a:extLst>
            </p:cNvPr>
            <p:cNvSpPr/>
            <p:nvPr/>
          </p:nvSpPr>
          <p:spPr>
            <a:xfrm>
              <a:off x="9474822" y="5527584"/>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9" name="Freeform: Shape 2118">
              <a:extLst>
                <a:ext uri="{FF2B5EF4-FFF2-40B4-BE49-F238E27FC236}">
                  <a16:creationId xmlns:a16="http://schemas.microsoft.com/office/drawing/2014/main" id="{68F7B0E3-A79B-4BB2-A545-07317B7BA427}"/>
                </a:ext>
              </a:extLst>
            </p:cNvPr>
            <p:cNvSpPr/>
            <p:nvPr/>
          </p:nvSpPr>
          <p:spPr>
            <a:xfrm>
              <a:off x="9504562" y="5329317"/>
              <a:ext cx="42486" cy="42486"/>
            </a:xfrm>
            <a:custGeom>
              <a:avLst/>
              <a:gdLst>
                <a:gd name="connsiteX0" fmla="*/ 21454 w 42485"/>
                <a:gd name="connsiteY0" fmla="*/ 27119 h 42485"/>
                <a:gd name="connsiteX1" fmla="*/ 27118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7" y="27119"/>
                    <a:pt x="27118" y="24286"/>
                    <a:pt x="27118" y="21454"/>
                  </a:cubicBezTo>
                  <a:cubicBezTo>
                    <a:pt x="27118" y="18622"/>
                    <a:pt x="24287" y="15789"/>
                    <a:pt x="21454" y="15789"/>
                  </a:cubicBezTo>
                  <a:cubicBezTo>
                    <a:pt x="18622" y="15789"/>
                    <a:pt x="15789" y="18622"/>
                    <a:pt x="15789" y="21454"/>
                  </a:cubicBezTo>
                  <a:cubicBezTo>
                    <a:pt x="15789" y="24286"/>
                    <a:pt x="18622"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0" name="Freeform: Shape 2119">
              <a:extLst>
                <a:ext uri="{FF2B5EF4-FFF2-40B4-BE49-F238E27FC236}">
                  <a16:creationId xmlns:a16="http://schemas.microsoft.com/office/drawing/2014/main" id="{0A898074-DF54-4D49-BD02-046915E747F1}"/>
                </a:ext>
              </a:extLst>
            </p:cNvPr>
            <p:cNvSpPr/>
            <p:nvPr/>
          </p:nvSpPr>
          <p:spPr>
            <a:xfrm>
              <a:off x="9263809" y="5503509"/>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1" name="Freeform: Shape 2120">
              <a:extLst>
                <a:ext uri="{FF2B5EF4-FFF2-40B4-BE49-F238E27FC236}">
                  <a16:creationId xmlns:a16="http://schemas.microsoft.com/office/drawing/2014/main" id="{F7CCDE29-C528-40FE-BFEF-79980B5C5FFF}"/>
                </a:ext>
              </a:extLst>
            </p:cNvPr>
            <p:cNvSpPr/>
            <p:nvPr/>
          </p:nvSpPr>
          <p:spPr>
            <a:xfrm>
              <a:off x="9661759" y="5054576"/>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2" name="Freeform: Shape 2121">
              <a:extLst>
                <a:ext uri="{FF2B5EF4-FFF2-40B4-BE49-F238E27FC236}">
                  <a16:creationId xmlns:a16="http://schemas.microsoft.com/office/drawing/2014/main" id="{51864622-5DE7-4ABB-9E99-F5CF1EEB105B}"/>
                </a:ext>
              </a:extLst>
            </p:cNvPr>
            <p:cNvSpPr/>
            <p:nvPr/>
          </p:nvSpPr>
          <p:spPr>
            <a:xfrm>
              <a:off x="9874188" y="5186282"/>
              <a:ext cx="56648" cy="56648"/>
            </a:xfrm>
            <a:custGeom>
              <a:avLst/>
              <a:gdLst>
                <a:gd name="connsiteX0" fmla="*/ 28534 w 56647"/>
                <a:gd name="connsiteY0" fmla="*/ 41280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0"/>
                  </a:moveTo>
                  <a:cubicBezTo>
                    <a:pt x="35615" y="41280"/>
                    <a:pt x="41280" y="35616"/>
                    <a:pt x="41280" y="28535"/>
                  </a:cubicBezTo>
                  <a:cubicBezTo>
                    <a:pt x="41280" y="21454"/>
                    <a:pt x="35615" y="15789"/>
                    <a:pt x="28534" y="15789"/>
                  </a:cubicBezTo>
                  <a:cubicBezTo>
                    <a:pt x="21453" y="15789"/>
                    <a:pt x="15789" y="21454"/>
                    <a:pt x="15789" y="28535"/>
                  </a:cubicBezTo>
                  <a:cubicBezTo>
                    <a:pt x="15789" y="35616"/>
                    <a:pt x="21453" y="41280"/>
                    <a:pt x="28534"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3" name="Freeform: Shape 2122">
              <a:extLst>
                <a:ext uri="{FF2B5EF4-FFF2-40B4-BE49-F238E27FC236}">
                  <a16:creationId xmlns:a16="http://schemas.microsoft.com/office/drawing/2014/main" id="{6460A1DE-9FA5-4A64-8673-FF2DF88CA6EA}"/>
                </a:ext>
              </a:extLst>
            </p:cNvPr>
            <p:cNvSpPr/>
            <p:nvPr/>
          </p:nvSpPr>
          <p:spPr>
            <a:xfrm>
              <a:off x="9457827" y="4648130"/>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7" y="15789"/>
                    <a:pt x="15789" y="20037"/>
                    <a:pt x="15789" y="25702"/>
                  </a:cubicBezTo>
                  <a:cubicBezTo>
                    <a:pt x="17205" y="31367"/>
                    <a:pt x="21454"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4" name="Freeform: Shape 2123">
              <a:extLst>
                <a:ext uri="{FF2B5EF4-FFF2-40B4-BE49-F238E27FC236}">
                  <a16:creationId xmlns:a16="http://schemas.microsoft.com/office/drawing/2014/main" id="{DBCA5916-86D2-4A7B-A626-CBA404BC6CA4}"/>
                </a:ext>
              </a:extLst>
            </p:cNvPr>
            <p:cNvSpPr/>
            <p:nvPr/>
          </p:nvSpPr>
          <p:spPr>
            <a:xfrm>
              <a:off x="9285052" y="5533249"/>
              <a:ext cx="70810" cy="70810"/>
            </a:xfrm>
            <a:custGeom>
              <a:avLst/>
              <a:gdLst>
                <a:gd name="connsiteX0" fmla="*/ 38449 w 70809"/>
                <a:gd name="connsiteY0" fmla="*/ 61107 h 70809"/>
                <a:gd name="connsiteX1" fmla="*/ 61107 w 70809"/>
                <a:gd name="connsiteY1" fmla="*/ 38448 h 70809"/>
                <a:gd name="connsiteX2" fmla="*/ 38449 w 70809"/>
                <a:gd name="connsiteY2" fmla="*/ 15789 h 70809"/>
                <a:gd name="connsiteX3" fmla="*/ 15789 w 70809"/>
                <a:gd name="connsiteY3" fmla="*/ 38448 h 70809"/>
                <a:gd name="connsiteX4" fmla="*/ 38449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9" y="61107"/>
                  </a:moveTo>
                  <a:cubicBezTo>
                    <a:pt x="51194" y="61107"/>
                    <a:pt x="61107" y="51194"/>
                    <a:pt x="61107" y="38448"/>
                  </a:cubicBezTo>
                  <a:cubicBezTo>
                    <a:pt x="61107" y="25702"/>
                    <a:pt x="51194" y="15789"/>
                    <a:pt x="38449" y="15789"/>
                  </a:cubicBezTo>
                  <a:cubicBezTo>
                    <a:pt x="25703" y="15789"/>
                    <a:pt x="15789" y="25702"/>
                    <a:pt x="15789" y="38448"/>
                  </a:cubicBezTo>
                  <a:cubicBezTo>
                    <a:pt x="15789" y="51194"/>
                    <a:pt x="25703" y="61107"/>
                    <a:pt x="38449"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5" name="Freeform: Shape 2124">
              <a:extLst>
                <a:ext uri="{FF2B5EF4-FFF2-40B4-BE49-F238E27FC236}">
                  <a16:creationId xmlns:a16="http://schemas.microsoft.com/office/drawing/2014/main" id="{4DCC1D02-EA75-4CC1-9FE7-4938E71F411A}"/>
                </a:ext>
              </a:extLst>
            </p:cNvPr>
            <p:cNvSpPr/>
            <p:nvPr/>
          </p:nvSpPr>
          <p:spPr>
            <a:xfrm>
              <a:off x="9959160" y="5536081"/>
              <a:ext cx="127457" cy="127457"/>
            </a:xfrm>
            <a:custGeom>
              <a:avLst/>
              <a:gdLst>
                <a:gd name="connsiteX0" fmla="*/ 65356 w 127457"/>
                <a:gd name="connsiteY0" fmla="*/ 114922 h 127457"/>
                <a:gd name="connsiteX1" fmla="*/ 114922 w 127457"/>
                <a:gd name="connsiteY1" fmla="*/ 65356 h 127457"/>
                <a:gd name="connsiteX2" fmla="*/ 65356 w 127457"/>
                <a:gd name="connsiteY2" fmla="*/ 15789 h 127457"/>
                <a:gd name="connsiteX3" fmla="*/ 15789 w 127457"/>
                <a:gd name="connsiteY3" fmla="*/ 65356 h 127457"/>
                <a:gd name="connsiteX4" fmla="*/ 65356 w 127457"/>
                <a:gd name="connsiteY4" fmla="*/ 114922 h 127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57" h="127457">
                  <a:moveTo>
                    <a:pt x="65356" y="114922"/>
                  </a:moveTo>
                  <a:cubicBezTo>
                    <a:pt x="92263" y="114922"/>
                    <a:pt x="114922" y="92263"/>
                    <a:pt x="114922" y="65356"/>
                  </a:cubicBezTo>
                  <a:cubicBezTo>
                    <a:pt x="114922" y="38448"/>
                    <a:pt x="92263" y="15789"/>
                    <a:pt x="65356" y="15789"/>
                  </a:cubicBezTo>
                  <a:cubicBezTo>
                    <a:pt x="38448" y="15789"/>
                    <a:pt x="15789" y="38448"/>
                    <a:pt x="15789" y="65356"/>
                  </a:cubicBezTo>
                  <a:cubicBezTo>
                    <a:pt x="15789" y="92263"/>
                    <a:pt x="38448" y="114922"/>
                    <a:pt x="65356" y="11492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6" name="Freeform: Shape 2125">
              <a:extLst>
                <a:ext uri="{FF2B5EF4-FFF2-40B4-BE49-F238E27FC236}">
                  <a16:creationId xmlns:a16="http://schemas.microsoft.com/office/drawing/2014/main" id="{967D1EDB-F238-43F9-9E9C-D6D0A5F120C9}"/>
                </a:ext>
              </a:extLst>
            </p:cNvPr>
            <p:cNvSpPr/>
            <p:nvPr/>
          </p:nvSpPr>
          <p:spPr>
            <a:xfrm>
              <a:off x="9772222" y="4714690"/>
              <a:ext cx="70810" cy="70810"/>
            </a:xfrm>
            <a:custGeom>
              <a:avLst/>
              <a:gdLst>
                <a:gd name="connsiteX0" fmla="*/ 38448 w 70809"/>
                <a:gd name="connsiteY0" fmla="*/ 61107 h 70809"/>
                <a:gd name="connsiteX1" fmla="*/ 61107 w 70809"/>
                <a:gd name="connsiteY1" fmla="*/ 38448 h 70809"/>
                <a:gd name="connsiteX2" fmla="*/ 38448 w 70809"/>
                <a:gd name="connsiteY2" fmla="*/ 15789 h 70809"/>
                <a:gd name="connsiteX3" fmla="*/ 15789 w 70809"/>
                <a:gd name="connsiteY3" fmla="*/ 38448 h 70809"/>
                <a:gd name="connsiteX4" fmla="*/ 3844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8" y="61107"/>
                  </a:moveTo>
                  <a:cubicBezTo>
                    <a:pt x="51194" y="61107"/>
                    <a:pt x="61107" y="51194"/>
                    <a:pt x="61107" y="38448"/>
                  </a:cubicBezTo>
                  <a:cubicBezTo>
                    <a:pt x="61107" y="25703"/>
                    <a:pt x="51194" y="15789"/>
                    <a:pt x="38448" y="15789"/>
                  </a:cubicBezTo>
                  <a:cubicBezTo>
                    <a:pt x="25703" y="15789"/>
                    <a:pt x="15789" y="25703"/>
                    <a:pt x="15789" y="38448"/>
                  </a:cubicBezTo>
                  <a:cubicBezTo>
                    <a:pt x="15789" y="51194"/>
                    <a:pt x="25703" y="61107"/>
                    <a:pt x="38448"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7" name="Freeform: Shape 2126">
              <a:extLst>
                <a:ext uri="{FF2B5EF4-FFF2-40B4-BE49-F238E27FC236}">
                  <a16:creationId xmlns:a16="http://schemas.microsoft.com/office/drawing/2014/main" id="{D33D521C-1E85-4637-952C-F3E270187373}"/>
                </a:ext>
              </a:extLst>
            </p:cNvPr>
            <p:cNvSpPr/>
            <p:nvPr/>
          </p:nvSpPr>
          <p:spPr>
            <a:xfrm>
              <a:off x="10123437" y="504607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2697"/>
                    <a:pt x="49778" y="32783"/>
                  </a:cubicBezTo>
                  <a:cubicBezTo>
                    <a:pt x="49778" y="22870"/>
                    <a:pt x="42697" y="15789"/>
                    <a:pt x="32783" y="15789"/>
                  </a:cubicBezTo>
                  <a:cubicBezTo>
                    <a:pt x="22870"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8" name="Freeform: Shape 2127">
              <a:extLst>
                <a:ext uri="{FF2B5EF4-FFF2-40B4-BE49-F238E27FC236}">
                  <a16:creationId xmlns:a16="http://schemas.microsoft.com/office/drawing/2014/main" id="{9CD12075-3BCA-43DE-8ABE-4CBE15F48103}"/>
                </a:ext>
              </a:extLst>
            </p:cNvPr>
            <p:cNvSpPr/>
            <p:nvPr/>
          </p:nvSpPr>
          <p:spPr>
            <a:xfrm>
              <a:off x="9426671" y="5473769"/>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2697"/>
                    <a:pt x="24287"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9" name="Freeform: Shape 2128">
              <a:extLst>
                <a:ext uri="{FF2B5EF4-FFF2-40B4-BE49-F238E27FC236}">
                  <a16:creationId xmlns:a16="http://schemas.microsoft.com/office/drawing/2014/main" id="{A0B23FF9-C6DE-4B1B-8B6B-A0755A4B617D}"/>
                </a:ext>
              </a:extLst>
            </p:cNvPr>
            <p:cNvSpPr/>
            <p:nvPr/>
          </p:nvSpPr>
          <p:spPr>
            <a:xfrm>
              <a:off x="9401180" y="5165039"/>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2697"/>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0" name="Freeform: Shape 2129">
              <a:extLst>
                <a:ext uri="{FF2B5EF4-FFF2-40B4-BE49-F238E27FC236}">
                  <a16:creationId xmlns:a16="http://schemas.microsoft.com/office/drawing/2014/main" id="{250144BD-9399-4773-8BD5-742E6E41D1FA}"/>
                </a:ext>
              </a:extLst>
            </p:cNvPr>
            <p:cNvSpPr/>
            <p:nvPr/>
          </p:nvSpPr>
          <p:spPr>
            <a:xfrm>
              <a:off x="9214242" y="521602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2697"/>
                    <a:pt x="49778" y="32783"/>
                  </a:cubicBezTo>
                  <a:cubicBezTo>
                    <a:pt x="49778" y="22870"/>
                    <a:pt x="42697" y="15789"/>
                    <a:pt x="32783" y="15789"/>
                  </a:cubicBezTo>
                  <a:cubicBezTo>
                    <a:pt x="22870" y="15789"/>
                    <a:pt x="15789" y="22870"/>
                    <a:pt x="15789" y="32783"/>
                  </a:cubicBezTo>
                  <a:cubicBezTo>
                    <a:pt x="15789" y="42697"/>
                    <a:pt x="24287"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1" name="Freeform: Shape 2130">
              <a:extLst>
                <a:ext uri="{FF2B5EF4-FFF2-40B4-BE49-F238E27FC236}">
                  <a16:creationId xmlns:a16="http://schemas.microsoft.com/office/drawing/2014/main" id="{3A63E1BC-10D4-4EEB-BAD7-2F9F225E6DED}"/>
                </a:ext>
              </a:extLst>
            </p:cNvPr>
            <p:cNvSpPr/>
            <p:nvPr/>
          </p:nvSpPr>
          <p:spPr>
            <a:xfrm>
              <a:off x="10250895" y="5623885"/>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2697"/>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2" name="Freeform: Shape 2131">
              <a:extLst>
                <a:ext uri="{FF2B5EF4-FFF2-40B4-BE49-F238E27FC236}">
                  <a16:creationId xmlns:a16="http://schemas.microsoft.com/office/drawing/2014/main" id="{A115A667-E7A9-46BA-88B9-D2D8CF2D3EFF}"/>
                </a:ext>
              </a:extLst>
            </p:cNvPr>
            <p:cNvSpPr/>
            <p:nvPr/>
          </p:nvSpPr>
          <p:spPr>
            <a:xfrm>
              <a:off x="10216906" y="5201860"/>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2697"/>
                    <a:pt x="49778" y="32783"/>
                  </a:cubicBezTo>
                  <a:cubicBezTo>
                    <a:pt x="49778" y="22870"/>
                    <a:pt x="42697" y="15789"/>
                    <a:pt x="32783" y="15789"/>
                  </a:cubicBezTo>
                  <a:cubicBezTo>
                    <a:pt x="22870"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3" name="Freeform: Shape 2132">
              <a:extLst>
                <a:ext uri="{FF2B5EF4-FFF2-40B4-BE49-F238E27FC236}">
                  <a16:creationId xmlns:a16="http://schemas.microsoft.com/office/drawing/2014/main" id="{0CA18155-8734-429B-956A-D326BD0354A6}"/>
                </a:ext>
              </a:extLst>
            </p:cNvPr>
            <p:cNvSpPr/>
            <p:nvPr/>
          </p:nvSpPr>
          <p:spPr>
            <a:xfrm>
              <a:off x="10296213" y="5363306"/>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7"/>
                    <a:pt x="28534" y="15789"/>
                    <a:pt x="24286" y="15789"/>
                  </a:cubicBezTo>
                  <a:cubicBezTo>
                    <a:pt x="20037" y="15789"/>
                    <a:pt x="15789" y="20037"/>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4" name="Freeform: Shape 2133">
              <a:extLst>
                <a:ext uri="{FF2B5EF4-FFF2-40B4-BE49-F238E27FC236}">
                  <a16:creationId xmlns:a16="http://schemas.microsoft.com/office/drawing/2014/main" id="{5E87FCF0-C93E-4872-8CEA-8649E30AD611}"/>
                </a:ext>
              </a:extLst>
            </p:cNvPr>
            <p:cNvSpPr/>
            <p:nvPr/>
          </p:nvSpPr>
          <p:spPr>
            <a:xfrm>
              <a:off x="10072455" y="5742845"/>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7"/>
                    <a:pt x="28534" y="15789"/>
                    <a:pt x="24286" y="15789"/>
                  </a:cubicBezTo>
                  <a:cubicBezTo>
                    <a:pt x="20037" y="15789"/>
                    <a:pt x="15789" y="20037"/>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5" name="Freeform: Shape 2134">
              <a:extLst>
                <a:ext uri="{FF2B5EF4-FFF2-40B4-BE49-F238E27FC236}">
                  <a16:creationId xmlns:a16="http://schemas.microsoft.com/office/drawing/2014/main" id="{71060AA4-800F-4AD2-88FC-82323EADC19A}"/>
                </a:ext>
              </a:extLst>
            </p:cNvPr>
            <p:cNvSpPr/>
            <p:nvPr/>
          </p:nvSpPr>
          <p:spPr>
            <a:xfrm>
              <a:off x="10123437" y="5567237"/>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7"/>
                    <a:pt x="28535" y="15789"/>
                    <a:pt x="24286" y="15789"/>
                  </a:cubicBezTo>
                  <a:cubicBezTo>
                    <a:pt x="20037" y="15789"/>
                    <a:pt x="15789" y="20037"/>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6" name="Freeform: Shape 2135">
              <a:extLst>
                <a:ext uri="{FF2B5EF4-FFF2-40B4-BE49-F238E27FC236}">
                  <a16:creationId xmlns:a16="http://schemas.microsoft.com/office/drawing/2014/main" id="{D6738847-A9FE-4F7E-8695-7B0E9356989A}"/>
                </a:ext>
              </a:extLst>
            </p:cNvPr>
            <p:cNvSpPr/>
            <p:nvPr/>
          </p:nvSpPr>
          <p:spPr>
            <a:xfrm>
              <a:off x="10063957" y="4700528"/>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8"/>
                    <a:pt x="28535" y="15789"/>
                    <a:pt x="24287" y="15789"/>
                  </a:cubicBezTo>
                  <a:cubicBezTo>
                    <a:pt x="20037" y="15789"/>
                    <a:pt x="15789" y="20038"/>
                    <a:pt x="15789" y="24286"/>
                  </a:cubicBezTo>
                  <a:cubicBezTo>
                    <a:pt x="15789" y="29951"/>
                    <a:pt x="20037" y="32783"/>
                    <a:pt x="24287"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7" name="Freeform: Shape 2136">
              <a:extLst>
                <a:ext uri="{FF2B5EF4-FFF2-40B4-BE49-F238E27FC236}">
                  <a16:creationId xmlns:a16="http://schemas.microsoft.com/office/drawing/2014/main" id="{26BA2F92-DE3F-429E-924B-6A4E7ACB9A05}"/>
                </a:ext>
              </a:extLst>
            </p:cNvPr>
            <p:cNvSpPr/>
            <p:nvPr/>
          </p:nvSpPr>
          <p:spPr>
            <a:xfrm>
              <a:off x="10253727" y="5040414"/>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8"/>
                    <a:pt x="28534" y="15789"/>
                    <a:pt x="24286" y="15789"/>
                  </a:cubicBezTo>
                  <a:cubicBezTo>
                    <a:pt x="20037" y="15789"/>
                    <a:pt x="15789" y="20038"/>
                    <a:pt x="15789" y="24286"/>
                  </a:cubicBezTo>
                  <a:cubicBezTo>
                    <a:pt x="15789" y="29951"/>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8" name="Freeform: Shape 2137">
              <a:extLst>
                <a:ext uri="{FF2B5EF4-FFF2-40B4-BE49-F238E27FC236}">
                  <a16:creationId xmlns:a16="http://schemas.microsoft.com/office/drawing/2014/main" id="{A51E2E6F-B004-43D5-9741-527393266929}"/>
                </a:ext>
              </a:extLst>
            </p:cNvPr>
            <p:cNvSpPr/>
            <p:nvPr/>
          </p:nvSpPr>
          <p:spPr>
            <a:xfrm>
              <a:off x="10367022" y="5238681"/>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8"/>
                    <a:pt x="28534"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9" name="Freeform: Shape 2138">
              <a:extLst>
                <a:ext uri="{FF2B5EF4-FFF2-40B4-BE49-F238E27FC236}">
                  <a16:creationId xmlns:a16="http://schemas.microsoft.com/office/drawing/2014/main" id="{687F1A6D-2C4E-46CB-B49C-35073E0D2ED4}"/>
                </a:ext>
              </a:extLst>
            </p:cNvPr>
            <p:cNvSpPr/>
            <p:nvPr/>
          </p:nvSpPr>
          <p:spPr>
            <a:xfrm>
              <a:off x="10364190" y="5434115"/>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7"/>
                    <a:pt x="28535" y="15789"/>
                    <a:pt x="24286" y="15789"/>
                  </a:cubicBezTo>
                  <a:cubicBezTo>
                    <a:pt x="20037" y="15789"/>
                    <a:pt x="15789" y="20037"/>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0" name="Freeform: Shape 2139">
              <a:extLst>
                <a:ext uri="{FF2B5EF4-FFF2-40B4-BE49-F238E27FC236}">
                  <a16:creationId xmlns:a16="http://schemas.microsoft.com/office/drawing/2014/main" id="{8FDB6C4F-BA41-4201-8887-EB14EEEFAADC}"/>
                </a:ext>
              </a:extLst>
            </p:cNvPr>
            <p:cNvSpPr/>
            <p:nvPr/>
          </p:nvSpPr>
          <p:spPr>
            <a:xfrm>
              <a:off x="9268057" y="5057409"/>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7"/>
                    <a:pt x="28535" y="15789"/>
                    <a:pt x="24287" y="15789"/>
                  </a:cubicBezTo>
                  <a:cubicBezTo>
                    <a:pt x="20038" y="15789"/>
                    <a:pt x="15789" y="20037"/>
                    <a:pt x="15789" y="24286"/>
                  </a:cubicBezTo>
                  <a:cubicBezTo>
                    <a:pt x="15789" y="28535"/>
                    <a:pt x="20038" y="32783"/>
                    <a:pt x="24287"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1" name="Freeform: Shape 2140">
              <a:extLst>
                <a:ext uri="{FF2B5EF4-FFF2-40B4-BE49-F238E27FC236}">
                  <a16:creationId xmlns:a16="http://schemas.microsoft.com/office/drawing/2014/main" id="{D5563AA8-ECBB-4195-8906-ABC6746C1F9D}"/>
                </a:ext>
              </a:extLst>
            </p:cNvPr>
            <p:cNvSpPr/>
            <p:nvPr/>
          </p:nvSpPr>
          <p:spPr>
            <a:xfrm>
              <a:off x="9463493" y="4887466"/>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7"/>
                    <a:pt x="28534" y="15789"/>
                    <a:pt x="24286" y="15789"/>
                  </a:cubicBezTo>
                  <a:cubicBezTo>
                    <a:pt x="20037" y="15789"/>
                    <a:pt x="15789" y="20037"/>
                    <a:pt x="15789" y="24286"/>
                  </a:cubicBezTo>
                  <a:cubicBezTo>
                    <a:pt x="15789" y="29951"/>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2" name="Freeform: Shape 2141">
              <a:extLst>
                <a:ext uri="{FF2B5EF4-FFF2-40B4-BE49-F238E27FC236}">
                  <a16:creationId xmlns:a16="http://schemas.microsoft.com/office/drawing/2014/main" id="{D4117BD1-FDCF-403D-A378-2967DCC17D63}"/>
                </a:ext>
              </a:extLst>
            </p:cNvPr>
            <p:cNvSpPr/>
            <p:nvPr/>
          </p:nvSpPr>
          <p:spPr>
            <a:xfrm>
              <a:off x="9579620" y="4808159"/>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7"/>
                    <a:pt x="28535" y="15789"/>
                    <a:pt x="24287" y="15789"/>
                  </a:cubicBezTo>
                  <a:cubicBezTo>
                    <a:pt x="20038" y="15789"/>
                    <a:pt x="15789" y="20037"/>
                    <a:pt x="15789" y="24286"/>
                  </a:cubicBezTo>
                  <a:cubicBezTo>
                    <a:pt x="15789" y="29951"/>
                    <a:pt x="20038" y="32783"/>
                    <a:pt x="24287"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3" name="Freeform: Shape 2142">
              <a:extLst>
                <a:ext uri="{FF2B5EF4-FFF2-40B4-BE49-F238E27FC236}">
                  <a16:creationId xmlns:a16="http://schemas.microsoft.com/office/drawing/2014/main" id="{B95A17B8-2C6B-4410-8969-B8B6C7A4514F}"/>
                </a:ext>
              </a:extLst>
            </p:cNvPr>
            <p:cNvSpPr/>
            <p:nvPr/>
          </p:nvSpPr>
          <p:spPr>
            <a:xfrm>
              <a:off x="9607943" y="5315155"/>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8"/>
                    <a:pt x="28535" y="15789"/>
                    <a:pt x="24287" y="15789"/>
                  </a:cubicBezTo>
                  <a:cubicBezTo>
                    <a:pt x="20038" y="15789"/>
                    <a:pt x="15789" y="20038"/>
                    <a:pt x="15789" y="24286"/>
                  </a:cubicBezTo>
                  <a:cubicBezTo>
                    <a:pt x="15789" y="28535"/>
                    <a:pt x="20038" y="32783"/>
                    <a:pt x="24287"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4" name="Freeform: Shape 2143">
              <a:extLst>
                <a:ext uri="{FF2B5EF4-FFF2-40B4-BE49-F238E27FC236}">
                  <a16:creationId xmlns:a16="http://schemas.microsoft.com/office/drawing/2014/main" id="{0143D6C8-0DB0-43E4-869E-35B15607D2E6}"/>
                </a:ext>
              </a:extLst>
            </p:cNvPr>
            <p:cNvSpPr/>
            <p:nvPr/>
          </p:nvSpPr>
          <p:spPr>
            <a:xfrm>
              <a:off x="9758060" y="5046079"/>
              <a:ext cx="42486" cy="42486"/>
            </a:xfrm>
            <a:custGeom>
              <a:avLst/>
              <a:gdLst>
                <a:gd name="connsiteX0" fmla="*/ 32784 w 42485"/>
                <a:gd name="connsiteY0" fmla="*/ 24286 h 42485"/>
                <a:gd name="connsiteX1" fmla="*/ 24287 w 42485"/>
                <a:gd name="connsiteY1" fmla="*/ 32783 h 42485"/>
                <a:gd name="connsiteX2" fmla="*/ 15790 w 42485"/>
                <a:gd name="connsiteY2" fmla="*/ 24286 h 42485"/>
                <a:gd name="connsiteX3" fmla="*/ 24287 w 42485"/>
                <a:gd name="connsiteY3" fmla="*/ 15789 h 42485"/>
                <a:gd name="connsiteX4" fmla="*/ 32784 w 42485"/>
                <a:gd name="connsiteY4" fmla="*/ 2428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4" y="24286"/>
                  </a:moveTo>
                  <a:cubicBezTo>
                    <a:pt x="32784" y="28979"/>
                    <a:pt x="28980" y="32783"/>
                    <a:pt x="24287" y="32783"/>
                  </a:cubicBezTo>
                  <a:cubicBezTo>
                    <a:pt x="19594" y="32783"/>
                    <a:pt x="15790" y="28979"/>
                    <a:pt x="15790" y="24286"/>
                  </a:cubicBezTo>
                  <a:cubicBezTo>
                    <a:pt x="15790" y="19593"/>
                    <a:pt x="19594" y="15789"/>
                    <a:pt x="24287" y="15789"/>
                  </a:cubicBezTo>
                  <a:cubicBezTo>
                    <a:pt x="28980" y="15789"/>
                    <a:pt x="32784" y="19593"/>
                    <a:pt x="32784"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5" name="Freeform: Shape 2144">
              <a:extLst>
                <a:ext uri="{FF2B5EF4-FFF2-40B4-BE49-F238E27FC236}">
                  <a16:creationId xmlns:a16="http://schemas.microsoft.com/office/drawing/2014/main" id="{417A4FF7-697A-4A2B-8FD6-AE8E9E29D6F1}"/>
                </a:ext>
              </a:extLst>
            </p:cNvPr>
            <p:cNvSpPr/>
            <p:nvPr/>
          </p:nvSpPr>
          <p:spPr>
            <a:xfrm>
              <a:off x="9412509" y="5309490"/>
              <a:ext cx="42486" cy="42486"/>
            </a:xfrm>
            <a:custGeom>
              <a:avLst/>
              <a:gdLst>
                <a:gd name="connsiteX0" fmla="*/ 32783 w 42485"/>
                <a:gd name="connsiteY0" fmla="*/ 24286 h 42485"/>
                <a:gd name="connsiteX1" fmla="*/ 24287 w 42485"/>
                <a:gd name="connsiteY1" fmla="*/ 32783 h 42485"/>
                <a:gd name="connsiteX2" fmla="*/ 15790 w 42485"/>
                <a:gd name="connsiteY2" fmla="*/ 24286 h 42485"/>
                <a:gd name="connsiteX3" fmla="*/ 24287 w 42485"/>
                <a:gd name="connsiteY3" fmla="*/ 15789 h 42485"/>
                <a:gd name="connsiteX4" fmla="*/ 32783 w 42485"/>
                <a:gd name="connsiteY4" fmla="*/ 2428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3" y="24286"/>
                  </a:moveTo>
                  <a:cubicBezTo>
                    <a:pt x="32783" y="28979"/>
                    <a:pt x="28979" y="32783"/>
                    <a:pt x="24287" y="32783"/>
                  </a:cubicBezTo>
                  <a:cubicBezTo>
                    <a:pt x="19594" y="32783"/>
                    <a:pt x="15790" y="28979"/>
                    <a:pt x="15790" y="24286"/>
                  </a:cubicBezTo>
                  <a:cubicBezTo>
                    <a:pt x="15790" y="19593"/>
                    <a:pt x="19594" y="15789"/>
                    <a:pt x="24287" y="15789"/>
                  </a:cubicBezTo>
                  <a:cubicBezTo>
                    <a:pt x="28979" y="15789"/>
                    <a:pt x="32783" y="19593"/>
                    <a:pt x="32783"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6" name="Freeform: Shape 2145">
              <a:extLst>
                <a:ext uri="{FF2B5EF4-FFF2-40B4-BE49-F238E27FC236}">
                  <a16:creationId xmlns:a16="http://schemas.microsoft.com/office/drawing/2014/main" id="{3A8013AA-B403-4222-A918-62B35192FECD}"/>
                </a:ext>
              </a:extLst>
            </p:cNvPr>
            <p:cNvSpPr/>
            <p:nvPr/>
          </p:nvSpPr>
          <p:spPr>
            <a:xfrm>
              <a:off x="9340284" y="5407207"/>
              <a:ext cx="70810" cy="70810"/>
            </a:xfrm>
            <a:custGeom>
              <a:avLst/>
              <a:gdLst>
                <a:gd name="connsiteX0" fmla="*/ 39864 w 70809"/>
                <a:gd name="connsiteY0" fmla="*/ 63940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2610" y="63940"/>
                    <a:pt x="63939" y="52610"/>
                    <a:pt x="63939" y="39864"/>
                  </a:cubicBezTo>
                  <a:cubicBezTo>
                    <a:pt x="63939" y="27119"/>
                    <a:pt x="52610" y="15789"/>
                    <a:pt x="39864" y="15789"/>
                  </a:cubicBezTo>
                  <a:cubicBezTo>
                    <a:pt x="27118" y="15789"/>
                    <a:pt x="15789" y="27119"/>
                    <a:pt x="15789" y="39864"/>
                  </a:cubicBezTo>
                  <a:cubicBezTo>
                    <a:pt x="15789" y="54026"/>
                    <a:pt x="27118"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7" name="Freeform: Shape 2146">
              <a:extLst>
                <a:ext uri="{FF2B5EF4-FFF2-40B4-BE49-F238E27FC236}">
                  <a16:creationId xmlns:a16="http://schemas.microsoft.com/office/drawing/2014/main" id="{479CE92D-38EF-40FF-BEAB-E991B9D1274E}"/>
                </a:ext>
              </a:extLst>
            </p:cNvPr>
            <p:cNvSpPr/>
            <p:nvPr/>
          </p:nvSpPr>
          <p:spPr>
            <a:xfrm>
              <a:off x="9660343" y="5271254"/>
              <a:ext cx="70810" cy="70810"/>
            </a:xfrm>
            <a:custGeom>
              <a:avLst/>
              <a:gdLst>
                <a:gd name="connsiteX0" fmla="*/ 39864 w 70809"/>
                <a:gd name="connsiteY0" fmla="*/ 63939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1" y="63939"/>
                    <a:pt x="63940" y="52610"/>
                    <a:pt x="63940" y="39864"/>
                  </a:cubicBezTo>
                  <a:cubicBezTo>
                    <a:pt x="63940" y="27118"/>
                    <a:pt x="52611" y="15789"/>
                    <a:pt x="39864" y="15789"/>
                  </a:cubicBezTo>
                  <a:cubicBezTo>
                    <a:pt x="27118" y="15789"/>
                    <a:pt x="15789" y="27118"/>
                    <a:pt x="15789" y="39864"/>
                  </a:cubicBezTo>
                  <a:cubicBezTo>
                    <a:pt x="15789" y="54026"/>
                    <a:pt x="27118" y="63939"/>
                    <a:pt x="3986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8" name="Freeform: Shape 2147">
              <a:extLst>
                <a:ext uri="{FF2B5EF4-FFF2-40B4-BE49-F238E27FC236}">
                  <a16:creationId xmlns:a16="http://schemas.microsoft.com/office/drawing/2014/main" id="{0E0DCF98-6305-4878-8D9E-18A9713636A3}"/>
                </a:ext>
              </a:extLst>
            </p:cNvPr>
            <p:cNvSpPr/>
            <p:nvPr/>
          </p:nvSpPr>
          <p:spPr>
            <a:xfrm>
              <a:off x="9613519" y="4863390"/>
              <a:ext cx="99133" cy="99133"/>
            </a:xfrm>
            <a:custGeom>
              <a:avLst/>
              <a:gdLst>
                <a:gd name="connsiteX0" fmla="*/ 49867 w 99133"/>
                <a:gd name="connsiteY0" fmla="*/ 83766 h 99133"/>
                <a:gd name="connsiteX1" fmla="*/ 83855 w 99133"/>
                <a:gd name="connsiteY1" fmla="*/ 49777 h 99133"/>
                <a:gd name="connsiteX2" fmla="*/ 49867 w 99133"/>
                <a:gd name="connsiteY2" fmla="*/ 15789 h 99133"/>
                <a:gd name="connsiteX3" fmla="*/ 15878 w 99133"/>
                <a:gd name="connsiteY3" fmla="*/ 49777 h 99133"/>
                <a:gd name="connsiteX4" fmla="*/ 49867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867" y="83766"/>
                  </a:moveTo>
                  <a:cubicBezTo>
                    <a:pt x="68278" y="83766"/>
                    <a:pt x="83855" y="68188"/>
                    <a:pt x="83855" y="49777"/>
                  </a:cubicBezTo>
                  <a:cubicBezTo>
                    <a:pt x="83855" y="31367"/>
                    <a:pt x="68278" y="15789"/>
                    <a:pt x="49867" y="15789"/>
                  </a:cubicBezTo>
                  <a:cubicBezTo>
                    <a:pt x="31456" y="15789"/>
                    <a:pt x="15878" y="31367"/>
                    <a:pt x="15878" y="49777"/>
                  </a:cubicBezTo>
                  <a:cubicBezTo>
                    <a:pt x="14463" y="68188"/>
                    <a:pt x="30040" y="83766"/>
                    <a:pt x="49867" y="8376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9" name="Freeform: Shape 2148">
              <a:extLst>
                <a:ext uri="{FF2B5EF4-FFF2-40B4-BE49-F238E27FC236}">
                  <a16:creationId xmlns:a16="http://schemas.microsoft.com/office/drawing/2014/main" id="{EBC42FC4-50DA-4368-9035-25A62C226164}"/>
                </a:ext>
              </a:extLst>
            </p:cNvPr>
            <p:cNvSpPr/>
            <p:nvPr/>
          </p:nvSpPr>
          <p:spPr>
            <a:xfrm>
              <a:off x="10119189" y="4877552"/>
              <a:ext cx="84971" cy="84971"/>
            </a:xfrm>
            <a:custGeom>
              <a:avLst/>
              <a:gdLst>
                <a:gd name="connsiteX0" fmla="*/ 42696 w 84971"/>
                <a:gd name="connsiteY0" fmla="*/ 69605 h 84971"/>
                <a:gd name="connsiteX1" fmla="*/ 69604 w 84971"/>
                <a:gd name="connsiteY1" fmla="*/ 42697 h 84971"/>
                <a:gd name="connsiteX2" fmla="*/ 42696 w 84971"/>
                <a:gd name="connsiteY2" fmla="*/ 15789 h 84971"/>
                <a:gd name="connsiteX3" fmla="*/ 15789 w 84971"/>
                <a:gd name="connsiteY3" fmla="*/ 42697 h 84971"/>
                <a:gd name="connsiteX4" fmla="*/ 42696 w 84971"/>
                <a:gd name="connsiteY4" fmla="*/ 69605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6" y="69605"/>
                  </a:moveTo>
                  <a:cubicBezTo>
                    <a:pt x="56858" y="69605"/>
                    <a:pt x="69604" y="58275"/>
                    <a:pt x="69604" y="42697"/>
                  </a:cubicBezTo>
                  <a:cubicBezTo>
                    <a:pt x="69604" y="28535"/>
                    <a:pt x="58275" y="15789"/>
                    <a:pt x="42696" y="15789"/>
                  </a:cubicBezTo>
                  <a:cubicBezTo>
                    <a:pt x="28534" y="15789"/>
                    <a:pt x="15789" y="27119"/>
                    <a:pt x="15789" y="42697"/>
                  </a:cubicBezTo>
                  <a:cubicBezTo>
                    <a:pt x="15789" y="58275"/>
                    <a:pt x="28534" y="69605"/>
                    <a:pt x="42696" y="6960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0" name="Freeform: Shape 2149">
              <a:extLst>
                <a:ext uri="{FF2B5EF4-FFF2-40B4-BE49-F238E27FC236}">
                  <a16:creationId xmlns:a16="http://schemas.microsoft.com/office/drawing/2014/main" id="{DEF7B703-9A9F-4F41-928F-3714905303C1}"/>
                </a:ext>
              </a:extLst>
            </p:cNvPr>
            <p:cNvSpPr/>
            <p:nvPr/>
          </p:nvSpPr>
          <p:spPr>
            <a:xfrm>
              <a:off x="10122022" y="5302409"/>
              <a:ext cx="84971" cy="84971"/>
            </a:xfrm>
            <a:custGeom>
              <a:avLst/>
              <a:gdLst>
                <a:gd name="connsiteX0" fmla="*/ 42696 w 84971"/>
                <a:gd name="connsiteY0" fmla="*/ 69605 h 84971"/>
                <a:gd name="connsiteX1" fmla="*/ 69604 w 84971"/>
                <a:gd name="connsiteY1" fmla="*/ 42697 h 84971"/>
                <a:gd name="connsiteX2" fmla="*/ 42696 w 84971"/>
                <a:gd name="connsiteY2" fmla="*/ 15789 h 84971"/>
                <a:gd name="connsiteX3" fmla="*/ 15789 w 84971"/>
                <a:gd name="connsiteY3" fmla="*/ 42697 h 84971"/>
                <a:gd name="connsiteX4" fmla="*/ 42696 w 84971"/>
                <a:gd name="connsiteY4" fmla="*/ 69605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6" y="69605"/>
                  </a:moveTo>
                  <a:cubicBezTo>
                    <a:pt x="56858" y="69605"/>
                    <a:pt x="69604" y="58275"/>
                    <a:pt x="69604" y="42697"/>
                  </a:cubicBezTo>
                  <a:cubicBezTo>
                    <a:pt x="69604" y="28535"/>
                    <a:pt x="58275" y="15789"/>
                    <a:pt x="42696" y="15789"/>
                  </a:cubicBezTo>
                  <a:cubicBezTo>
                    <a:pt x="28534" y="15789"/>
                    <a:pt x="15789" y="27119"/>
                    <a:pt x="15789" y="42697"/>
                  </a:cubicBezTo>
                  <a:cubicBezTo>
                    <a:pt x="15789" y="58275"/>
                    <a:pt x="28534" y="69605"/>
                    <a:pt x="42696" y="6960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1" name="Freeform: Shape 2150">
              <a:extLst>
                <a:ext uri="{FF2B5EF4-FFF2-40B4-BE49-F238E27FC236}">
                  <a16:creationId xmlns:a16="http://schemas.microsoft.com/office/drawing/2014/main" id="{F407F144-DF61-4C6B-A682-16950611D53B}"/>
                </a:ext>
              </a:extLst>
            </p:cNvPr>
            <p:cNvSpPr/>
            <p:nvPr/>
          </p:nvSpPr>
          <p:spPr>
            <a:xfrm>
              <a:off x="10188365" y="5489347"/>
              <a:ext cx="56648" cy="56648"/>
            </a:xfrm>
            <a:custGeom>
              <a:avLst/>
              <a:gdLst>
                <a:gd name="connsiteX0" fmla="*/ 28752 w 56647"/>
                <a:gd name="connsiteY0" fmla="*/ 41280 h 56647"/>
                <a:gd name="connsiteX1" fmla="*/ 41498 w 56647"/>
                <a:gd name="connsiteY1" fmla="*/ 28535 h 56647"/>
                <a:gd name="connsiteX2" fmla="*/ 28752 w 56647"/>
                <a:gd name="connsiteY2" fmla="*/ 15789 h 56647"/>
                <a:gd name="connsiteX3" fmla="*/ 16006 w 56647"/>
                <a:gd name="connsiteY3" fmla="*/ 28535 h 56647"/>
                <a:gd name="connsiteX4" fmla="*/ 28752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752" y="41280"/>
                  </a:moveTo>
                  <a:cubicBezTo>
                    <a:pt x="35833" y="41280"/>
                    <a:pt x="41498" y="35616"/>
                    <a:pt x="41498" y="28535"/>
                  </a:cubicBezTo>
                  <a:cubicBezTo>
                    <a:pt x="41498" y="21454"/>
                    <a:pt x="35833" y="15789"/>
                    <a:pt x="28752" y="15789"/>
                  </a:cubicBezTo>
                  <a:cubicBezTo>
                    <a:pt x="21671" y="15789"/>
                    <a:pt x="16006" y="21454"/>
                    <a:pt x="16006" y="28535"/>
                  </a:cubicBezTo>
                  <a:cubicBezTo>
                    <a:pt x="14590" y="35616"/>
                    <a:pt x="20255" y="41280"/>
                    <a:pt x="28752"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2" name="Freeform: Shape 2151">
              <a:extLst>
                <a:ext uri="{FF2B5EF4-FFF2-40B4-BE49-F238E27FC236}">
                  <a16:creationId xmlns:a16="http://schemas.microsoft.com/office/drawing/2014/main" id="{484F2820-414B-4F45-97F9-608A7F9C1550}"/>
                </a:ext>
              </a:extLst>
            </p:cNvPr>
            <p:cNvSpPr/>
            <p:nvPr/>
          </p:nvSpPr>
          <p:spPr>
            <a:xfrm>
              <a:off x="10320288" y="5238681"/>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3" name="Freeform: Shape 2152">
              <a:extLst>
                <a:ext uri="{FF2B5EF4-FFF2-40B4-BE49-F238E27FC236}">
                  <a16:creationId xmlns:a16="http://schemas.microsoft.com/office/drawing/2014/main" id="{610FBE2D-117D-4A9F-9A12-296007AD8D09}"/>
                </a:ext>
              </a:extLst>
            </p:cNvPr>
            <p:cNvSpPr/>
            <p:nvPr/>
          </p:nvSpPr>
          <p:spPr>
            <a:xfrm>
              <a:off x="9408261" y="4978102"/>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4" name="Freeform: Shape 2153">
              <a:extLst>
                <a:ext uri="{FF2B5EF4-FFF2-40B4-BE49-F238E27FC236}">
                  <a16:creationId xmlns:a16="http://schemas.microsoft.com/office/drawing/2014/main" id="{4E9A0FBC-D9B6-45FA-A5E1-0460ACAEA583}"/>
                </a:ext>
              </a:extLst>
            </p:cNvPr>
            <p:cNvSpPr/>
            <p:nvPr/>
          </p:nvSpPr>
          <p:spPr>
            <a:xfrm>
              <a:off x="9246815" y="5380300"/>
              <a:ext cx="56648" cy="56648"/>
            </a:xfrm>
            <a:custGeom>
              <a:avLst/>
              <a:gdLst>
                <a:gd name="connsiteX0" fmla="*/ 28535 w 56647"/>
                <a:gd name="connsiteY0" fmla="*/ 41281 h 56647"/>
                <a:gd name="connsiteX1" fmla="*/ 41281 w 56647"/>
                <a:gd name="connsiteY1" fmla="*/ 28535 h 56647"/>
                <a:gd name="connsiteX2" fmla="*/ 28535 w 56647"/>
                <a:gd name="connsiteY2" fmla="*/ 15789 h 56647"/>
                <a:gd name="connsiteX3" fmla="*/ 15789 w 56647"/>
                <a:gd name="connsiteY3" fmla="*/ 28535 h 56647"/>
                <a:gd name="connsiteX4" fmla="*/ 28535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1"/>
                  </a:moveTo>
                  <a:cubicBezTo>
                    <a:pt x="35616" y="41281"/>
                    <a:pt x="41281" y="35616"/>
                    <a:pt x="41281" y="28535"/>
                  </a:cubicBezTo>
                  <a:cubicBezTo>
                    <a:pt x="41281" y="21454"/>
                    <a:pt x="35616" y="15789"/>
                    <a:pt x="28535" y="15789"/>
                  </a:cubicBezTo>
                  <a:cubicBezTo>
                    <a:pt x="21454" y="15789"/>
                    <a:pt x="15789" y="21454"/>
                    <a:pt x="15789" y="28535"/>
                  </a:cubicBezTo>
                  <a:cubicBezTo>
                    <a:pt x="15789" y="35616"/>
                    <a:pt x="21454" y="41281"/>
                    <a:pt x="28535"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5" name="Freeform: Shape 2154">
              <a:extLst>
                <a:ext uri="{FF2B5EF4-FFF2-40B4-BE49-F238E27FC236}">
                  <a16:creationId xmlns:a16="http://schemas.microsoft.com/office/drawing/2014/main" id="{D6E67EF0-69A2-4CBE-BD91-5F28D3F73E19}"/>
                </a:ext>
              </a:extLst>
            </p:cNvPr>
            <p:cNvSpPr/>
            <p:nvPr/>
          </p:nvSpPr>
          <p:spPr>
            <a:xfrm>
              <a:off x="9504562" y="5091397"/>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4199"/>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6" name="Freeform: Shape 2155">
              <a:extLst>
                <a:ext uri="{FF2B5EF4-FFF2-40B4-BE49-F238E27FC236}">
                  <a16:creationId xmlns:a16="http://schemas.microsoft.com/office/drawing/2014/main" id="{5AF14E20-8673-48DD-BC12-8D0A8E5C25B6}"/>
                </a:ext>
              </a:extLst>
            </p:cNvPr>
            <p:cNvSpPr/>
            <p:nvPr/>
          </p:nvSpPr>
          <p:spPr>
            <a:xfrm>
              <a:off x="9943581" y="5077235"/>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7" name="Freeform: Shape 2156">
              <a:extLst>
                <a:ext uri="{FF2B5EF4-FFF2-40B4-BE49-F238E27FC236}">
                  <a16:creationId xmlns:a16="http://schemas.microsoft.com/office/drawing/2014/main" id="{93494EB1-A5FF-4F96-A350-3237D7FDDEDD}"/>
                </a:ext>
              </a:extLst>
            </p:cNvPr>
            <p:cNvSpPr/>
            <p:nvPr/>
          </p:nvSpPr>
          <p:spPr>
            <a:xfrm>
              <a:off x="9828870" y="4915790"/>
              <a:ext cx="70810" cy="70810"/>
            </a:xfrm>
            <a:custGeom>
              <a:avLst/>
              <a:gdLst>
                <a:gd name="connsiteX0" fmla="*/ 38448 w 70809"/>
                <a:gd name="connsiteY0" fmla="*/ 61107 h 70809"/>
                <a:gd name="connsiteX1" fmla="*/ 61107 w 70809"/>
                <a:gd name="connsiteY1" fmla="*/ 38448 h 70809"/>
                <a:gd name="connsiteX2" fmla="*/ 38448 w 70809"/>
                <a:gd name="connsiteY2" fmla="*/ 15789 h 70809"/>
                <a:gd name="connsiteX3" fmla="*/ 15789 w 70809"/>
                <a:gd name="connsiteY3" fmla="*/ 38448 h 70809"/>
                <a:gd name="connsiteX4" fmla="*/ 3844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8" y="61107"/>
                  </a:moveTo>
                  <a:cubicBezTo>
                    <a:pt x="51194" y="61107"/>
                    <a:pt x="61107" y="51194"/>
                    <a:pt x="61107" y="38448"/>
                  </a:cubicBezTo>
                  <a:cubicBezTo>
                    <a:pt x="61107" y="25702"/>
                    <a:pt x="51194" y="15789"/>
                    <a:pt x="38448" y="15789"/>
                  </a:cubicBezTo>
                  <a:cubicBezTo>
                    <a:pt x="25703" y="15789"/>
                    <a:pt x="15789" y="25702"/>
                    <a:pt x="15789" y="38448"/>
                  </a:cubicBezTo>
                  <a:cubicBezTo>
                    <a:pt x="15789" y="51194"/>
                    <a:pt x="25703" y="61107"/>
                    <a:pt x="38448"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8" name="Freeform: Shape 2157">
              <a:extLst>
                <a:ext uri="{FF2B5EF4-FFF2-40B4-BE49-F238E27FC236}">
                  <a16:creationId xmlns:a16="http://schemas.microsoft.com/office/drawing/2014/main" id="{F4AAB9E0-2AC7-4358-ABBE-83DFCB4B3655}"/>
                </a:ext>
              </a:extLst>
            </p:cNvPr>
            <p:cNvSpPr/>
            <p:nvPr/>
          </p:nvSpPr>
          <p:spPr>
            <a:xfrm>
              <a:off x="9721239" y="5394462"/>
              <a:ext cx="70810" cy="70810"/>
            </a:xfrm>
            <a:custGeom>
              <a:avLst/>
              <a:gdLst>
                <a:gd name="connsiteX0" fmla="*/ 61107 w 70809"/>
                <a:gd name="connsiteY0" fmla="*/ 38448 h 70809"/>
                <a:gd name="connsiteX1" fmla="*/ 38448 w 70809"/>
                <a:gd name="connsiteY1" fmla="*/ 61107 h 70809"/>
                <a:gd name="connsiteX2" fmla="*/ 15790 w 70809"/>
                <a:gd name="connsiteY2" fmla="*/ 38448 h 70809"/>
                <a:gd name="connsiteX3" fmla="*/ 38448 w 70809"/>
                <a:gd name="connsiteY3" fmla="*/ 15789 h 70809"/>
                <a:gd name="connsiteX4" fmla="*/ 61107 w 70809"/>
                <a:gd name="connsiteY4" fmla="*/ 38448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1107" y="38448"/>
                  </a:moveTo>
                  <a:cubicBezTo>
                    <a:pt x="61107" y="50962"/>
                    <a:pt x="50962" y="61107"/>
                    <a:pt x="38448" y="61107"/>
                  </a:cubicBezTo>
                  <a:cubicBezTo>
                    <a:pt x="25934" y="61107"/>
                    <a:pt x="15790" y="50962"/>
                    <a:pt x="15790" y="38448"/>
                  </a:cubicBezTo>
                  <a:cubicBezTo>
                    <a:pt x="15790" y="25934"/>
                    <a:pt x="25935" y="15789"/>
                    <a:pt x="38448" y="15789"/>
                  </a:cubicBezTo>
                  <a:cubicBezTo>
                    <a:pt x="50963" y="15789"/>
                    <a:pt x="61107" y="25934"/>
                    <a:pt x="61107"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9" name="Freeform: Shape 2158">
              <a:extLst>
                <a:ext uri="{FF2B5EF4-FFF2-40B4-BE49-F238E27FC236}">
                  <a16:creationId xmlns:a16="http://schemas.microsoft.com/office/drawing/2014/main" id="{3471E877-7021-4250-8D0B-8C7A9E1759DA}"/>
                </a:ext>
              </a:extLst>
            </p:cNvPr>
            <p:cNvSpPr/>
            <p:nvPr/>
          </p:nvSpPr>
          <p:spPr>
            <a:xfrm>
              <a:off x="10078119" y="5442612"/>
              <a:ext cx="42486" cy="42486"/>
            </a:xfrm>
            <a:custGeom>
              <a:avLst/>
              <a:gdLst>
                <a:gd name="connsiteX0" fmla="*/ 27118 w 42485"/>
                <a:gd name="connsiteY0" fmla="*/ 38448 h 42485"/>
                <a:gd name="connsiteX1" fmla="*/ 38449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9" y="32783"/>
                    <a:pt x="38449" y="27119"/>
                  </a:cubicBezTo>
                  <a:cubicBezTo>
                    <a:pt x="38449" y="21454"/>
                    <a:pt x="32783" y="15789"/>
                    <a:pt x="27118" y="15789"/>
                  </a:cubicBezTo>
                  <a:cubicBezTo>
                    <a:pt x="21454" y="15789"/>
                    <a:pt x="15789" y="21454"/>
                    <a:pt x="15789" y="27119"/>
                  </a:cubicBezTo>
                  <a:cubicBezTo>
                    <a:pt x="15789" y="34200"/>
                    <a:pt x="21454"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0" name="Freeform: Shape 2159">
              <a:extLst>
                <a:ext uri="{FF2B5EF4-FFF2-40B4-BE49-F238E27FC236}">
                  <a16:creationId xmlns:a16="http://schemas.microsoft.com/office/drawing/2014/main" id="{6182676D-FB35-43C7-99DA-00D18E17E8F5}"/>
                </a:ext>
              </a:extLst>
            </p:cNvPr>
            <p:cNvSpPr/>
            <p:nvPr/>
          </p:nvSpPr>
          <p:spPr>
            <a:xfrm>
              <a:off x="10177252" y="5938279"/>
              <a:ext cx="42486" cy="42486"/>
            </a:xfrm>
            <a:custGeom>
              <a:avLst/>
              <a:gdLst>
                <a:gd name="connsiteX0" fmla="*/ 27118 w 42485"/>
                <a:gd name="connsiteY0" fmla="*/ 38448 h 42485"/>
                <a:gd name="connsiteX1" fmla="*/ 38449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9" y="32783"/>
                    <a:pt x="38449" y="27119"/>
                  </a:cubicBezTo>
                  <a:cubicBezTo>
                    <a:pt x="38449" y="21454"/>
                    <a:pt x="32783" y="15789"/>
                    <a:pt x="27118" y="15789"/>
                  </a:cubicBezTo>
                  <a:cubicBezTo>
                    <a:pt x="21454" y="15789"/>
                    <a:pt x="15789" y="21454"/>
                    <a:pt x="15789" y="27119"/>
                  </a:cubicBezTo>
                  <a:cubicBezTo>
                    <a:pt x="15789" y="32783"/>
                    <a:pt x="21454"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1" name="Freeform: Shape 2160">
              <a:extLst>
                <a:ext uri="{FF2B5EF4-FFF2-40B4-BE49-F238E27FC236}">
                  <a16:creationId xmlns:a16="http://schemas.microsoft.com/office/drawing/2014/main" id="{60F069D2-03CB-4D56-AB76-6819D85A7BD7}"/>
                </a:ext>
              </a:extLst>
            </p:cNvPr>
            <p:cNvSpPr/>
            <p:nvPr/>
          </p:nvSpPr>
          <p:spPr>
            <a:xfrm>
              <a:off x="10222571" y="5856140"/>
              <a:ext cx="42486" cy="42486"/>
            </a:xfrm>
            <a:custGeom>
              <a:avLst/>
              <a:gdLst>
                <a:gd name="connsiteX0" fmla="*/ 27118 w 42485"/>
                <a:gd name="connsiteY0" fmla="*/ 38448 h 42485"/>
                <a:gd name="connsiteX1" fmla="*/ 38448 w 42485"/>
                <a:gd name="connsiteY1" fmla="*/ 27118 h 42485"/>
                <a:gd name="connsiteX2" fmla="*/ 27118 w 42485"/>
                <a:gd name="connsiteY2" fmla="*/ 15789 h 42485"/>
                <a:gd name="connsiteX3" fmla="*/ 15789 w 42485"/>
                <a:gd name="connsiteY3" fmla="*/ 27118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8" y="32783"/>
                    <a:pt x="38448" y="27118"/>
                  </a:cubicBezTo>
                  <a:cubicBezTo>
                    <a:pt x="38448" y="21454"/>
                    <a:pt x="32783" y="15789"/>
                    <a:pt x="27118" y="15789"/>
                  </a:cubicBezTo>
                  <a:cubicBezTo>
                    <a:pt x="21454" y="15789"/>
                    <a:pt x="15789" y="21454"/>
                    <a:pt x="15789" y="27118"/>
                  </a:cubicBezTo>
                  <a:cubicBezTo>
                    <a:pt x="15789" y="32783"/>
                    <a:pt x="21454"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2" name="Freeform: Shape 2161">
              <a:extLst>
                <a:ext uri="{FF2B5EF4-FFF2-40B4-BE49-F238E27FC236}">
                  <a16:creationId xmlns:a16="http://schemas.microsoft.com/office/drawing/2014/main" id="{399D6E3B-9871-4A63-90F5-4FBF9E9B549D}"/>
                </a:ext>
              </a:extLst>
            </p:cNvPr>
            <p:cNvSpPr/>
            <p:nvPr/>
          </p:nvSpPr>
          <p:spPr>
            <a:xfrm>
              <a:off x="10029969" y="4952611"/>
              <a:ext cx="42486" cy="42486"/>
            </a:xfrm>
            <a:custGeom>
              <a:avLst/>
              <a:gdLst>
                <a:gd name="connsiteX0" fmla="*/ 27118 w 42485"/>
                <a:gd name="connsiteY0" fmla="*/ 38448 h 42485"/>
                <a:gd name="connsiteX1" fmla="*/ 38448 w 42485"/>
                <a:gd name="connsiteY1" fmla="*/ 27118 h 42485"/>
                <a:gd name="connsiteX2" fmla="*/ 27118 w 42485"/>
                <a:gd name="connsiteY2" fmla="*/ 15789 h 42485"/>
                <a:gd name="connsiteX3" fmla="*/ 15789 w 42485"/>
                <a:gd name="connsiteY3" fmla="*/ 27118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8" y="32783"/>
                    <a:pt x="38448" y="27118"/>
                  </a:cubicBezTo>
                  <a:cubicBezTo>
                    <a:pt x="38448" y="21454"/>
                    <a:pt x="32783" y="15789"/>
                    <a:pt x="27118" y="15789"/>
                  </a:cubicBezTo>
                  <a:cubicBezTo>
                    <a:pt x="21453" y="15789"/>
                    <a:pt x="15789" y="21454"/>
                    <a:pt x="15789" y="27118"/>
                  </a:cubicBezTo>
                  <a:cubicBezTo>
                    <a:pt x="15789" y="34199"/>
                    <a:pt x="21453"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3" name="Freeform: Shape 2162">
              <a:extLst>
                <a:ext uri="{FF2B5EF4-FFF2-40B4-BE49-F238E27FC236}">
                  <a16:creationId xmlns:a16="http://schemas.microsoft.com/office/drawing/2014/main" id="{90507003-1EAB-4627-A68A-4337183C4594}"/>
                </a:ext>
              </a:extLst>
            </p:cNvPr>
            <p:cNvSpPr/>
            <p:nvPr/>
          </p:nvSpPr>
          <p:spPr>
            <a:xfrm>
              <a:off x="9894014" y="4842147"/>
              <a:ext cx="42486" cy="42486"/>
            </a:xfrm>
            <a:custGeom>
              <a:avLst/>
              <a:gdLst>
                <a:gd name="connsiteX0" fmla="*/ 27118 w 42485"/>
                <a:gd name="connsiteY0" fmla="*/ 38448 h 42485"/>
                <a:gd name="connsiteX1" fmla="*/ 38449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9" y="32783"/>
                    <a:pt x="38449" y="27119"/>
                  </a:cubicBezTo>
                  <a:cubicBezTo>
                    <a:pt x="38449" y="21454"/>
                    <a:pt x="32783" y="15789"/>
                    <a:pt x="27118" y="15789"/>
                  </a:cubicBezTo>
                  <a:cubicBezTo>
                    <a:pt x="21454" y="15789"/>
                    <a:pt x="15789" y="21454"/>
                    <a:pt x="15789" y="27119"/>
                  </a:cubicBezTo>
                  <a:cubicBezTo>
                    <a:pt x="15789" y="34200"/>
                    <a:pt x="21454"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4" name="Freeform: Shape 2163">
              <a:extLst>
                <a:ext uri="{FF2B5EF4-FFF2-40B4-BE49-F238E27FC236}">
                  <a16:creationId xmlns:a16="http://schemas.microsoft.com/office/drawing/2014/main" id="{5B100960-ACC1-409A-AAB4-02209B21232D}"/>
                </a:ext>
              </a:extLst>
            </p:cNvPr>
            <p:cNvSpPr/>
            <p:nvPr/>
          </p:nvSpPr>
          <p:spPr>
            <a:xfrm>
              <a:off x="10318872" y="5524752"/>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7"/>
                    <a:pt x="28535" y="15789"/>
                    <a:pt x="24287" y="15789"/>
                  </a:cubicBezTo>
                  <a:cubicBezTo>
                    <a:pt x="20037" y="15789"/>
                    <a:pt x="15789" y="20037"/>
                    <a:pt x="15789" y="24286"/>
                  </a:cubicBezTo>
                  <a:cubicBezTo>
                    <a:pt x="15789" y="28535"/>
                    <a:pt x="20037" y="32783"/>
                    <a:pt x="24287"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5" name="Freeform: Shape 2164">
              <a:extLst>
                <a:ext uri="{FF2B5EF4-FFF2-40B4-BE49-F238E27FC236}">
                  <a16:creationId xmlns:a16="http://schemas.microsoft.com/office/drawing/2014/main" id="{86CBB2CA-7869-4179-B169-50DCF452CA85}"/>
                </a:ext>
              </a:extLst>
            </p:cNvPr>
            <p:cNvSpPr/>
            <p:nvPr/>
          </p:nvSpPr>
          <p:spPr>
            <a:xfrm>
              <a:off x="9735401" y="5354809"/>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7"/>
                    <a:pt x="28535" y="15789"/>
                    <a:pt x="24287" y="15789"/>
                  </a:cubicBezTo>
                  <a:cubicBezTo>
                    <a:pt x="20038" y="15789"/>
                    <a:pt x="15789" y="20037"/>
                    <a:pt x="15789" y="24286"/>
                  </a:cubicBezTo>
                  <a:cubicBezTo>
                    <a:pt x="15789" y="28535"/>
                    <a:pt x="20038" y="32783"/>
                    <a:pt x="24287"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6" name="Freeform: Shape 2165">
              <a:extLst>
                <a:ext uri="{FF2B5EF4-FFF2-40B4-BE49-F238E27FC236}">
                  <a16:creationId xmlns:a16="http://schemas.microsoft.com/office/drawing/2014/main" id="{0B112D52-3712-4A64-8315-0A4DA43855B9}"/>
                </a:ext>
              </a:extLst>
            </p:cNvPr>
            <p:cNvSpPr/>
            <p:nvPr/>
          </p:nvSpPr>
          <p:spPr>
            <a:xfrm>
              <a:off x="9571123" y="5431283"/>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2697"/>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7" name="Freeform: Shape 2166">
              <a:extLst>
                <a:ext uri="{FF2B5EF4-FFF2-40B4-BE49-F238E27FC236}">
                  <a16:creationId xmlns:a16="http://schemas.microsoft.com/office/drawing/2014/main" id="{594A4E5B-191C-4E84-AEF6-217E645463EA}"/>
                </a:ext>
              </a:extLst>
            </p:cNvPr>
            <p:cNvSpPr/>
            <p:nvPr/>
          </p:nvSpPr>
          <p:spPr>
            <a:xfrm>
              <a:off x="9998813" y="5336398"/>
              <a:ext cx="56648" cy="56648"/>
            </a:xfrm>
            <a:custGeom>
              <a:avLst/>
              <a:gdLst>
                <a:gd name="connsiteX0" fmla="*/ 34199 w 56647"/>
                <a:gd name="connsiteY0" fmla="*/ 52610 h 56647"/>
                <a:gd name="connsiteX1" fmla="*/ 52610 w 56647"/>
                <a:gd name="connsiteY1" fmla="*/ 34200 h 56647"/>
                <a:gd name="connsiteX2" fmla="*/ 34199 w 56647"/>
                <a:gd name="connsiteY2" fmla="*/ 15789 h 56647"/>
                <a:gd name="connsiteX3" fmla="*/ 15789 w 56647"/>
                <a:gd name="connsiteY3" fmla="*/ 34200 h 56647"/>
                <a:gd name="connsiteX4" fmla="*/ 34199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199" y="52610"/>
                  </a:moveTo>
                  <a:cubicBezTo>
                    <a:pt x="44113" y="52610"/>
                    <a:pt x="52610" y="44113"/>
                    <a:pt x="52610" y="34200"/>
                  </a:cubicBezTo>
                  <a:cubicBezTo>
                    <a:pt x="52610" y="24286"/>
                    <a:pt x="44113" y="15789"/>
                    <a:pt x="34199" y="15789"/>
                  </a:cubicBezTo>
                  <a:cubicBezTo>
                    <a:pt x="24286" y="15789"/>
                    <a:pt x="15789" y="24286"/>
                    <a:pt x="15789" y="34200"/>
                  </a:cubicBezTo>
                  <a:cubicBezTo>
                    <a:pt x="15789" y="44113"/>
                    <a:pt x="22870" y="52610"/>
                    <a:pt x="34199"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8" name="Freeform: Shape 2167">
              <a:extLst>
                <a:ext uri="{FF2B5EF4-FFF2-40B4-BE49-F238E27FC236}">
                  <a16:creationId xmlns:a16="http://schemas.microsoft.com/office/drawing/2014/main" id="{20D43F79-ECCE-48B0-8ECD-F9291BBF5A96}"/>
                </a:ext>
              </a:extLst>
            </p:cNvPr>
            <p:cNvSpPr/>
            <p:nvPr/>
          </p:nvSpPr>
          <p:spPr>
            <a:xfrm>
              <a:off x="9481903" y="5020588"/>
              <a:ext cx="56648" cy="56648"/>
            </a:xfrm>
            <a:custGeom>
              <a:avLst/>
              <a:gdLst>
                <a:gd name="connsiteX0" fmla="*/ 34199 w 56647"/>
                <a:gd name="connsiteY0" fmla="*/ 52610 h 56647"/>
                <a:gd name="connsiteX1" fmla="*/ 52610 w 56647"/>
                <a:gd name="connsiteY1" fmla="*/ 34199 h 56647"/>
                <a:gd name="connsiteX2" fmla="*/ 34199 w 56647"/>
                <a:gd name="connsiteY2" fmla="*/ 15789 h 56647"/>
                <a:gd name="connsiteX3" fmla="*/ 15789 w 56647"/>
                <a:gd name="connsiteY3" fmla="*/ 34199 h 56647"/>
                <a:gd name="connsiteX4" fmla="*/ 34199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199" y="52610"/>
                  </a:moveTo>
                  <a:cubicBezTo>
                    <a:pt x="44113" y="52610"/>
                    <a:pt x="52610" y="44113"/>
                    <a:pt x="52610" y="34199"/>
                  </a:cubicBezTo>
                  <a:cubicBezTo>
                    <a:pt x="52610" y="24286"/>
                    <a:pt x="44113" y="15789"/>
                    <a:pt x="34199" y="15789"/>
                  </a:cubicBezTo>
                  <a:cubicBezTo>
                    <a:pt x="24286" y="15789"/>
                    <a:pt x="15789" y="24286"/>
                    <a:pt x="15789" y="34199"/>
                  </a:cubicBezTo>
                  <a:cubicBezTo>
                    <a:pt x="15789" y="44113"/>
                    <a:pt x="24286" y="52610"/>
                    <a:pt x="34199"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9" name="Freeform: Shape 2168">
              <a:extLst>
                <a:ext uri="{FF2B5EF4-FFF2-40B4-BE49-F238E27FC236}">
                  <a16:creationId xmlns:a16="http://schemas.microsoft.com/office/drawing/2014/main" id="{087ED037-6704-40F8-8604-C6EBA6F87E68}"/>
                </a:ext>
              </a:extLst>
            </p:cNvPr>
            <p:cNvSpPr/>
            <p:nvPr/>
          </p:nvSpPr>
          <p:spPr>
            <a:xfrm>
              <a:off x="10160258" y="5237265"/>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3"/>
                  </a:cubicBezTo>
                  <a:cubicBezTo>
                    <a:pt x="35616" y="20038"/>
                    <a:pt x="31368" y="15789"/>
                    <a:pt x="25703" y="15789"/>
                  </a:cubicBezTo>
                  <a:cubicBezTo>
                    <a:pt x="20038" y="15789"/>
                    <a:pt x="15789" y="20038"/>
                    <a:pt x="15789" y="25703"/>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0" name="Freeform: Shape 2169">
              <a:extLst>
                <a:ext uri="{FF2B5EF4-FFF2-40B4-BE49-F238E27FC236}">
                  <a16:creationId xmlns:a16="http://schemas.microsoft.com/office/drawing/2014/main" id="{35872D23-DD55-481B-B78B-AE218C331BEE}"/>
                </a:ext>
              </a:extLst>
            </p:cNvPr>
            <p:cNvSpPr/>
            <p:nvPr/>
          </p:nvSpPr>
          <p:spPr>
            <a:xfrm>
              <a:off x="9701413" y="4854893"/>
              <a:ext cx="42486" cy="42486"/>
            </a:xfrm>
            <a:custGeom>
              <a:avLst/>
              <a:gdLst>
                <a:gd name="connsiteX0" fmla="*/ 25703 w 42485"/>
                <a:gd name="connsiteY0" fmla="*/ 35616 h 42485"/>
                <a:gd name="connsiteX1" fmla="*/ 35615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5" y="31367"/>
                    <a:pt x="35615" y="25703"/>
                  </a:cubicBezTo>
                  <a:cubicBezTo>
                    <a:pt x="35615" y="20038"/>
                    <a:pt x="31367"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1" name="Freeform: Shape 2170">
              <a:extLst>
                <a:ext uri="{FF2B5EF4-FFF2-40B4-BE49-F238E27FC236}">
                  <a16:creationId xmlns:a16="http://schemas.microsoft.com/office/drawing/2014/main" id="{F16751C0-9BAF-4F01-8711-96D7188A0344}"/>
                </a:ext>
              </a:extLst>
            </p:cNvPr>
            <p:cNvSpPr/>
            <p:nvPr/>
          </p:nvSpPr>
          <p:spPr>
            <a:xfrm>
              <a:off x="9251064" y="5126802"/>
              <a:ext cx="42486" cy="42486"/>
            </a:xfrm>
            <a:custGeom>
              <a:avLst/>
              <a:gdLst>
                <a:gd name="connsiteX0" fmla="*/ 25702 w 42485"/>
                <a:gd name="connsiteY0" fmla="*/ 35616 h 42485"/>
                <a:gd name="connsiteX1" fmla="*/ 35615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5" y="31367"/>
                    <a:pt x="35615" y="25703"/>
                  </a:cubicBezTo>
                  <a:cubicBezTo>
                    <a:pt x="35615" y="20037"/>
                    <a:pt x="31367" y="15789"/>
                    <a:pt x="25702" y="15789"/>
                  </a:cubicBezTo>
                  <a:cubicBezTo>
                    <a:pt x="20037" y="15789"/>
                    <a:pt x="15789" y="20037"/>
                    <a:pt x="15789" y="25703"/>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2" name="Freeform: Shape 2171">
              <a:extLst>
                <a:ext uri="{FF2B5EF4-FFF2-40B4-BE49-F238E27FC236}">
                  <a16:creationId xmlns:a16="http://schemas.microsoft.com/office/drawing/2014/main" id="{85E03FD6-02FA-47BD-91E5-A1C3DE7F082C}"/>
                </a:ext>
              </a:extLst>
            </p:cNvPr>
            <p:cNvSpPr/>
            <p:nvPr/>
          </p:nvSpPr>
          <p:spPr>
            <a:xfrm>
              <a:off x="9991732" y="5109807"/>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3" name="Freeform: Shape 2172">
              <a:extLst>
                <a:ext uri="{FF2B5EF4-FFF2-40B4-BE49-F238E27FC236}">
                  <a16:creationId xmlns:a16="http://schemas.microsoft.com/office/drawing/2014/main" id="{34BE479C-401E-4EB4-88C6-D64CD5656C7B}"/>
                </a:ext>
              </a:extLst>
            </p:cNvPr>
            <p:cNvSpPr/>
            <p:nvPr/>
          </p:nvSpPr>
          <p:spPr>
            <a:xfrm>
              <a:off x="9664591" y="5179201"/>
              <a:ext cx="70810" cy="70810"/>
            </a:xfrm>
            <a:custGeom>
              <a:avLst/>
              <a:gdLst>
                <a:gd name="connsiteX0" fmla="*/ 66772 w 70809"/>
                <a:gd name="connsiteY0" fmla="*/ 41280 h 70809"/>
                <a:gd name="connsiteX1" fmla="*/ 41281 w 70809"/>
                <a:gd name="connsiteY1" fmla="*/ 66772 h 70809"/>
                <a:gd name="connsiteX2" fmla="*/ 15790 w 70809"/>
                <a:gd name="connsiteY2" fmla="*/ 41280 h 70809"/>
                <a:gd name="connsiteX3" fmla="*/ 41281 w 70809"/>
                <a:gd name="connsiteY3" fmla="*/ 15789 h 70809"/>
                <a:gd name="connsiteX4" fmla="*/ 66772 w 70809"/>
                <a:gd name="connsiteY4" fmla="*/ 4128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6772" y="41280"/>
                  </a:moveTo>
                  <a:cubicBezTo>
                    <a:pt x="66772" y="55359"/>
                    <a:pt x="55359" y="66772"/>
                    <a:pt x="41281" y="66772"/>
                  </a:cubicBezTo>
                  <a:cubicBezTo>
                    <a:pt x="27202" y="66772"/>
                    <a:pt x="15790" y="55359"/>
                    <a:pt x="15790" y="41280"/>
                  </a:cubicBezTo>
                  <a:cubicBezTo>
                    <a:pt x="15790" y="27202"/>
                    <a:pt x="27203" y="15789"/>
                    <a:pt x="41281" y="15789"/>
                  </a:cubicBezTo>
                  <a:cubicBezTo>
                    <a:pt x="55360" y="15789"/>
                    <a:pt x="66772" y="27202"/>
                    <a:pt x="66772"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4" name="Freeform: Shape 2173">
              <a:extLst>
                <a:ext uri="{FF2B5EF4-FFF2-40B4-BE49-F238E27FC236}">
                  <a16:creationId xmlns:a16="http://schemas.microsoft.com/office/drawing/2014/main" id="{F9F5C886-7B1A-4BDD-B512-15B7BEBF8546}"/>
                </a:ext>
              </a:extLst>
            </p:cNvPr>
            <p:cNvSpPr/>
            <p:nvPr/>
          </p:nvSpPr>
          <p:spPr>
            <a:xfrm>
              <a:off x="10058293" y="4854893"/>
              <a:ext cx="42486" cy="42486"/>
            </a:xfrm>
            <a:custGeom>
              <a:avLst/>
              <a:gdLst>
                <a:gd name="connsiteX0" fmla="*/ 25702 w 42485"/>
                <a:gd name="connsiteY0" fmla="*/ 35616 h 42485"/>
                <a:gd name="connsiteX1" fmla="*/ 35615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5" y="31367"/>
                    <a:pt x="35615" y="25703"/>
                  </a:cubicBezTo>
                  <a:cubicBezTo>
                    <a:pt x="35615" y="20038"/>
                    <a:pt x="31367" y="15789"/>
                    <a:pt x="25702" y="15789"/>
                  </a:cubicBezTo>
                  <a:cubicBezTo>
                    <a:pt x="20037" y="15789"/>
                    <a:pt x="15789" y="20038"/>
                    <a:pt x="15789" y="25703"/>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5" name="Freeform: Shape 2174">
              <a:extLst>
                <a:ext uri="{FF2B5EF4-FFF2-40B4-BE49-F238E27FC236}">
                  <a16:creationId xmlns:a16="http://schemas.microsoft.com/office/drawing/2014/main" id="{99B1307A-BC3C-4194-AC52-4F9FEFBA72AD}"/>
                </a:ext>
              </a:extLst>
            </p:cNvPr>
            <p:cNvSpPr/>
            <p:nvPr/>
          </p:nvSpPr>
          <p:spPr>
            <a:xfrm>
              <a:off x="9531470" y="5472352"/>
              <a:ext cx="42486" cy="42486"/>
            </a:xfrm>
            <a:custGeom>
              <a:avLst/>
              <a:gdLst>
                <a:gd name="connsiteX0" fmla="*/ 25703 w 42485"/>
                <a:gd name="connsiteY0" fmla="*/ 35616 h 42485"/>
                <a:gd name="connsiteX1" fmla="*/ 35615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5" y="31367"/>
                    <a:pt x="35615" y="25703"/>
                  </a:cubicBezTo>
                  <a:cubicBezTo>
                    <a:pt x="35615" y="20038"/>
                    <a:pt x="31367"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6" name="Freeform: Shape 2175">
              <a:extLst>
                <a:ext uri="{FF2B5EF4-FFF2-40B4-BE49-F238E27FC236}">
                  <a16:creationId xmlns:a16="http://schemas.microsoft.com/office/drawing/2014/main" id="{B73248D2-62F7-4C05-8F22-0C7F45EB037C}"/>
                </a:ext>
              </a:extLst>
            </p:cNvPr>
            <p:cNvSpPr/>
            <p:nvPr/>
          </p:nvSpPr>
          <p:spPr>
            <a:xfrm>
              <a:off x="9208578" y="5071571"/>
              <a:ext cx="56648" cy="56648"/>
            </a:xfrm>
            <a:custGeom>
              <a:avLst/>
              <a:gdLst>
                <a:gd name="connsiteX0" fmla="*/ 32783 w 56647"/>
                <a:gd name="connsiteY0" fmla="*/ 49777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6" y="49777"/>
                    <a:pt x="49777" y="42697"/>
                    <a:pt x="49777" y="32783"/>
                  </a:cubicBezTo>
                  <a:cubicBezTo>
                    <a:pt x="49777" y="22870"/>
                    <a:pt x="42696" y="15789"/>
                    <a:pt x="32783" y="15789"/>
                  </a:cubicBezTo>
                  <a:cubicBezTo>
                    <a:pt x="22870" y="15789"/>
                    <a:pt x="15789" y="22870"/>
                    <a:pt x="15789" y="32783"/>
                  </a:cubicBezTo>
                  <a:cubicBezTo>
                    <a:pt x="15789" y="42697"/>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7" name="Freeform: Shape 2176">
              <a:extLst>
                <a:ext uri="{FF2B5EF4-FFF2-40B4-BE49-F238E27FC236}">
                  <a16:creationId xmlns:a16="http://schemas.microsoft.com/office/drawing/2014/main" id="{B3AA2725-0F7B-4C77-BBD9-398FE0489A41}"/>
                </a:ext>
              </a:extLst>
            </p:cNvPr>
            <p:cNvSpPr/>
            <p:nvPr/>
          </p:nvSpPr>
          <p:spPr>
            <a:xfrm>
              <a:off x="10165923" y="5731516"/>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2697"/>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8" name="Freeform: Shape 2177">
              <a:extLst>
                <a:ext uri="{FF2B5EF4-FFF2-40B4-BE49-F238E27FC236}">
                  <a16:creationId xmlns:a16="http://schemas.microsoft.com/office/drawing/2014/main" id="{DE64BB4A-5743-4B9F-BE6D-9305A06BC696}"/>
                </a:ext>
              </a:extLst>
            </p:cNvPr>
            <p:cNvSpPr/>
            <p:nvPr/>
          </p:nvSpPr>
          <p:spPr>
            <a:xfrm>
              <a:off x="6227495" y="2749018"/>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8" y="15789"/>
                    <a:pt x="15789" y="20037"/>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9" name="Freeform: Shape 2178">
              <a:extLst>
                <a:ext uri="{FF2B5EF4-FFF2-40B4-BE49-F238E27FC236}">
                  <a16:creationId xmlns:a16="http://schemas.microsoft.com/office/drawing/2014/main" id="{B318971A-791C-43FC-9613-E0E3C9F09EBE}"/>
                </a:ext>
              </a:extLst>
            </p:cNvPr>
            <p:cNvSpPr/>
            <p:nvPr/>
          </p:nvSpPr>
          <p:spPr>
            <a:xfrm>
              <a:off x="6257235" y="2668295"/>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0" name="Freeform: Shape 2179">
              <a:extLst>
                <a:ext uri="{FF2B5EF4-FFF2-40B4-BE49-F238E27FC236}">
                  <a16:creationId xmlns:a16="http://schemas.microsoft.com/office/drawing/2014/main" id="{AFAFAA29-E0BC-4A13-9A30-029DC08CC766}"/>
                </a:ext>
              </a:extLst>
            </p:cNvPr>
            <p:cNvSpPr/>
            <p:nvPr/>
          </p:nvSpPr>
          <p:spPr>
            <a:xfrm>
              <a:off x="6192090" y="2628641"/>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8" y="15789"/>
                    <a:pt x="15789" y="20037"/>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1" name="Freeform: Shape 2180">
              <a:extLst>
                <a:ext uri="{FF2B5EF4-FFF2-40B4-BE49-F238E27FC236}">
                  <a16:creationId xmlns:a16="http://schemas.microsoft.com/office/drawing/2014/main" id="{38132EF0-0484-4437-BFF2-37D32C01F518}"/>
                </a:ext>
              </a:extLst>
            </p:cNvPr>
            <p:cNvSpPr/>
            <p:nvPr/>
          </p:nvSpPr>
          <p:spPr>
            <a:xfrm>
              <a:off x="6244489" y="2608815"/>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2" name="Freeform: Shape 2181">
              <a:extLst>
                <a:ext uri="{FF2B5EF4-FFF2-40B4-BE49-F238E27FC236}">
                  <a16:creationId xmlns:a16="http://schemas.microsoft.com/office/drawing/2014/main" id="{6BBA1AC2-C49F-4CCB-8F39-A8D29A234E84}"/>
                </a:ext>
              </a:extLst>
            </p:cNvPr>
            <p:cNvSpPr/>
            <p:nvPr/>
          </p:nvSpPr>
          <p:spPr>
            <a:xfrm>
              <a:off x="6621196" y="276459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3" name="Freeform: Shape 2182">
              <a:extLst>
                <a:ext uri="{FF2B5EF4-FFF2-40B4-BE49-F238E27FC236}">
                  <a16:creationId xmlns:a16="http://schemas.microsoft.com/office/drawing/2014/main" id="{E45FBC53-7E8C-4589-9D5C-0571FA4B1220}"/>
                </a:ext>
              </a:extLst>
            </p:cNvPr>
            <p:cNvSpPr/>
            <p:nvPr/>
          </p:nvSpPr>
          <p:spPr>
            <a:xfrm>
              <a:off x="6829376" y="258757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2697"/>
                    <a:pt x="49778" y="32783"/>
                  </a:cubicBezTo>
                  <a:cubicBezTo>
                    <a:pt x="49778" y="22870"/>
                    <a:pt x="42697" y="15789"/>
                    <a:pt x="32783" y="15789"/>
                  </a:cubicBezTo>
                  <a:cubicBezTo>
                    <a:pt x="22870" y="15789"/>
                    <a:pt x="15789" y="22870"/>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4" name="Freeform: Shape 2183">
              <a:extLst>
                <a:ext uri="{FF2B5EF4-FFF2-40B4-BE49-F238E27FC236}">
                  <a16:creationId xmlns:a16="http://schemas.microsoft.com/office/drawing/2014/main" id="{BB5F3223-842C-4AB2-8182-B3349A8117A4}"/>
                </a:ext>
              </a:extLst>
            </p:cNvPr>
            <p:cNvSpPr/>
            <p:nvPr/>
          </p:nvSpPr>
          <p:spPr>
            <a:xfrm>
              <a:off x="6915764" y="2434623"/>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1454"/>
                    <a:pt x="38448" y="15789"/>
                    <a:pt x="29951" y="15789"/>
                  </a:cubicBezTo>
                  <a:cubicBezTo>
                    <a:pt x="22870" y="15789"/>
                    <a:pt x="15789" y="21454"/>
                    <a:pt x="15789" y="29951"/>
                  </a:cubicBezTo>
                  <a:cubicBezTo>
                    <a:pt x="15789" y="38448"/>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5" name="Freeform: Shape 2184">
              <a:extLst>
                <a:ext uri="{FF2B5EF4-FFF2-40B4-BE49-F238E27FC236}">
                  <a16:creationId xmlns:a16="http://schemas.microsoft.com/office/drawing/2014/main" id="{B9E7C65D-11B2-44E5-A2F5-CB6870CE9D7B}"/>
                </a:ext>
              </a:extLst>
            </p:cNvPr>
            <p:cNvSpPr/>
            <p:nvPr/>
          </p:nvSpPr>
          <p:spPr>
            <a:xfrm>
              <a:off x="6379027" y="2400635"/>
              <a:ext cx="70810" cy="70810"/>
            </a:xfrm>
            <a:custGeom>
              <a:avLst/>
              <a:gdLst>
                <a:gd name="connsiteX0" fmla="*/ 37032 w 70809"/>
                <a:gd name="connsiteY0" fmla="*/ 15789 h 70809"/>
                <a:gd name="connsiteX1" fmla="*/ 58275 w 70809"/>
                <a:gd name="connsiteY1" fmla="*/ 37032 h 70809"/>
                <a:gd name="connsiteX2" fmla="*/ 37032 w 70809"/>
                <a:gd name="connsiteY2" fmla="*/ 58275 h 70809"/>
                <a:gd name="connsiteX3" fmla="*/ 15789 w 70809"/>
                <a:gd name="connsiteY3" fmla="*/ 37032 h 70809"/>
                <a:gd name="connsiteX4" fmla="*/ 37032 w 70809"/>
                <a:gd name="connsiteY4" fmla="*/ 15789 h 70809"/>
                <a:gd name="connsiteX5" fmla="*/ 37032 w 70809"/>
                <a:gd name="connsiteY5" fmla="*/ 15789 h 70809"/>
                <a:gd name="connsiteX6" fmla="*/ 37032 w 70809"/>
                <a:gd name="connsiteY6" fmla="*/ 24286 h 70809"/>
                <a:gd name="connsiteX7" fmla="*/ 25702 w 70809"/>
                <a:gd name="connsiteY7" fmla="*/ 35616 h 70809"/>
                <a:gd name="connsiteX8" fmla="*/ 37032 w 70809"/>
                <a:gd name="connsiteY8" fmla="*/ 46945 h 70809"/>
                <a:gd name="connsiteX9" fmla="*/ 48361 w 70809"/>
                <a:gd name="connsiteY9" fmla="*/ 35616 h 70809"/>
                <a:gd name="connsiteX10" fmla="*/ 37032 w 70809"/>
                <a:gd name="connsiteY10" fmla="*/ 24286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37032" y="15789"/>
                  </a:moveTo>
                  <a:cubicBezTo>
                    <a:pt x="48361" y="15789"/>
                    <a:pt x="58275" y="25702"/>
                    <a:pt x="58275" y="37032"/>
                  </a:cubicBezTo>
                  <a:cubicBezTo>
                    <a:pt x="58275" y="48361"/>
                    <a:pt x="48361" y="58275"/>
                    <a:pt x="37032" y="58275"/>
                  </a:cubicBezTo>
                  <a:cubicBezTo>
                    <a:pt x="25702" y="58275"/>
                    <a:pt x="15789" y="48361"/>
                    <a:pt x="15789" y="37032"/>
                  </a:cubicBezTo>
                  <a:cubicBezTo>
                    <a:pt x="15789" y="24286"/>
                    <a:pt x="25702" y="15789"/>
                    <a:pt x="37032" y="15789"/>
                  </a:cubicBezTo>
                  <a:lnTo>
                    <a:pt x="37032" y="15789"/>
                  </a:lnTo>
                  <a:close/>
                  <a:moveTo>
                    <a:pt x="37032" y="24286"/>
                  </a:moveTo>
                  <a:cubicBezTo>
                    <a:pt x="29951" y="24286"/>
                    <a:pt x="25702" y="29951"/>
                    <a:pt x="25702" y="35616"/>
                  </a:cubicBezTo>
                  <a:cubicBezTo>
                    <a:pt x="25702" y="42697"/>
                    <a:pt x="31367" y="46945"/>
                    <a:pt x="37032" y="46945"/>
                  </a:cubicBezTo>
                  <a:cubicBezTo>
                    <a:pt x="44113" y="46945"/>
                    <a:pt x="48361" y="41280"/>
                    <a:pt x="48361" y="35616"/>
                  </a:cubicBezTo>
                  <a:cubicBezTo>
                    <a:pt x="49778" y="29951"/>
                    <a:pt x="44113" y="24286"/>
                    <a:pt x="37032"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6" name="Freeform: Shape 2185">
              <a:extLst>
                <a:ext uri="{FF2B5EF4-FFF2-40B4-BE49-F238E27FC236}">
                  <a16:creationId xmlns:a16="http://schemas.microsoft.com/office/drawing/2014/main" id="{10DBEBB6-D668-477E-BBB2-48C5DA2CAEAB}"/>
                </a:ext>
              </a:extLst>
            </p:cNvPr>
            <p:cNvSpPr/>
            <p:nvPr/>
          </p:nvSpPr>
          <p:spPr>
            <a:xfrm>
              <a:off x="6870446" y="2812746"/>
              <a:ext cx="70810" cy="70810"/>
            </a:xfrm>
            <a:custGeom>
              <a:avLst/>
              <a:gdLst>
                <a:gd name="connsiteX0" fmla="*/ 37032 w 70809"/>
                <a:gd name="connsiteY0" fmla="*/ 15789 h 70809"/>
                <a:gd name="connsiteX1" fmla="*/ 58275 w 70809"/>
                <a:gd name="connsiteY1" fmla="*/ 37032 h 70809"/>
                <a:gd name="connsiteX2" fmla="*/ 37032 w 70809"/>
                <a:gd name="connsiteY2" fmla="*/ 58275 h 70809"/>
                <a:gd name="connsiteX3" fmla="*/ 15789 w 70809"/>
                <a:gd name="connsiteY3" fmla="*/ 37032 h 70809"/>
                <a:gd name="connsiteX4" fmla="*/ 37032 w 70809"/>
                <a:gd name="connsiteY4" fmla="*/ 15789 h 70809"/>
                <a:gd name="connsiteX5" fmla="*/ 37032 w 70809"/>
                <a:gd name="connsiteY5" fmla="*/ 15789 h 70809"/>
                <a:gd name="connsiteX6" fmla="*/ 37032 w 70809"/>
                <a:gd name="connsiteY6" fmla="*/ 24286 h 70809"/>
                <a:gd name="connsiteX7" fmla="*/ 25703 w 70809"/>
                <a:gd name="connsiteY7" fmla="*/ 35616 h 70809"/>
                <a:gd name="connsiteX8" fmla="*/ 37032 w 70809"/>
                <a:gd name="connsiteY8" fmla="*/ 46945 h 70809"/>
                <a:gd name="connsiteX9" fmla="*/ 48362 w 70809"/>
                <a:gd name="connsiteY9" fmla="*/ 35616 h 70809"/>
                <a:gd name="connsiteX10" fmla="*/ 37032 w 70809"/>
                <a:gd name="connsiteY10" fmla="*/ 24286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37032" y="15789"/>
                  </a:moveTo>
                  <a:cubicBezTo>
                    <a:pt x="48362" y="15789"/>
                    <a:pt x="58275" y="25702"/>
                    <a:pt x="58275" y="37032"/>
                  </a:cubicBezTo>
                  <a:cubicBezTo>
                    <a:pt x="58275" y="48361"/>
                    <a:pt x="48362" y="58275"/>
                    <a:pt x="37032" y="58275"/>
                  </a:cubicBezTo>
                  <a:cubicBezTo>
                    <a:pt x="25703" y="58275"/>
                    <a:pt x="15789" y="48361"/>
                    <a:pt x="15789" y="37032"/>
                  </a:cubicBezTo>
                  <a:cubicBezTo>
                    <a:pt x="15789" y="24286"/>
                    <a:pt x="25703" y="15789"/>
                    <a:pt x="37032" y="15789"/>
                  </a:cubicBezTo>
                  <a:lnTo>
                    <a:pt x="37032" y="15789"/>
                  </a:lnTo>
                  <a:close/>
                  <a:moveTo>
                    <a:pt x="37032" y="24286"/>
                  </a:moveTo>
                  <a:cubicBezTo>
                    <a:pt x="29951" y="24286"/>
                    <a:pt x="25703" y="29951"/>
                    <a:pt x="25703" y="35616"/>
                  </a:cubicBezTo>
                  <a:cubicBezTo>
                    <a:pt x="25703" y="42697"/>
                    <a:pt x="31367" y="46945"/>
                    <a:pt x="37032" y="46945"/>
                  </a:cubicBezTo>
                  <a:cubicBezTo>
                    <a:pt x="44113" y="46945"/>
                    <a:pt x="48362" y="41280"/>
                    <a:pt x="48362" y="35616"/>
                  </a:cubicBezTo>
                  <a:cubicBezTo>
                    <a:pt x="48362" y="29951"/>
                    <a:pt x="44113" y="24286"/>
                    <a:pt x="37032"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7" name="Freeform: Shape 2186">
              <a:extLst>
                <a:ext uri="{FF2B5EF4-FFF2-40B4-BE49-F238E27FC236}">
                  <a16:creationId xmlns:a16="http://schemas.microsoft.com/office/drawing/2014/main" id="{1056AF17-9701-42A1-9BD4-9B96FF4A0916}"/>
                </a:ext>
              </a:extLst>
            </p:cNvPr>
            <p:cNvSpPr/>
            <p:nvPr/>
          </p:nvSpPr>
          <p:spPr>
            <a:xfrm>
              <a:off x="7687453" y="3223442"/>
              <a:ext cx="70810" cy="70810"/>
            </a:xfrm>
            <a:custGeom>
              <a:avLst/>
              <a:gdLst>
                <a:gd name="connsiteX0" fmla="*/ 35751 w 70809"/>
                <a:gd name="connsiteY0" fmla="*/ 55442 h 70809"/>
                <a:gd name="connsiteX1" fmla="*/ 55578 w 70809"/>
                <a:gd name="connsiteY1" fmla="*/ 35616 h 70809"/>
                <a:gd name="connsiteX2" fmla="*/ 35751 w 70809"/>
                <a:gd name="connsiteY2" fmla="*/ 15789 h 70809"/>
                <a:gd name="connsiteX3" fmla="*/ 15924 w 70809"/>
                <a:gd name="connsiteY3" fmla="*/ 35616 h 70809"/>
                <a:gd name="connsiteX4" fmla="*/ 35751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751" y="55442"/>
                  </a:moveTo>
                  <a:cubicBezTo>
                    <a:pt x="47081" y="55442"/>
                    <a:pt x="55578" y="46945"/>
                    <a:pt x="55578" y="35616"/>
                  </a:cubicBezTo>
                  <a:cubicBezTo>
                    <a:pt x="55578" y="24286"/>
                    <a:pt x="47081" y="15789"/>
                    <a:pt x="35751" y="15789"/>
                  </a:cubicBezTo>
                  <a:cubicBezTo>
                    <a:pt x="24422" y="15789"/>
                    <a:pt x="15924" y="24286"/>
                    <a:pt x="15924" y="35616"/>
                  </a:cubicBezTo>
                  <a:cubicBezTo>
                    <a:pt x="14508" y="46945"/>
                    <a:pt x="24422" y="55442"/>
                    <a:pt x="35751"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8" name="Freeform: Shape 2187">
              <a:extLst>
                <a:ext uri="{FF2B5EF4-FFF2-40B4-BE49-F238E27FC236}">
                  <a16:creationId xmlns:a16="http://schemas.microsoft.com/office/drawing/2014/main" id="{1AE1A6FE-4B16-4646-AB95-B406658D05AE}"/>
                </a:ext>
              </a:extLst>
            </p:cNvPr>
            <p:cNvSpPr/>
            <p:nvPr/>
          </p:nvSpPr>
          <p:spPr>
            <a:xfrm>
              <a:off x="7996318" y="3590235"/>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4286"/>
                    <a:pt x="46945" y="15789"/>
                    <a:pt x="35616" y="15789"/>
                  </a:cubicBezTo>
                  <a:cubicBezTo>
                    <a:pt x="24286" y="15789"/>
                    <a:pt x="15789" y="24286"/>
                    <a:pt x="15789" y="35616"/>
                  </a:cubicBezTo>
                  <a:cubicBezTo>
                    <a:pt x="15789" y="46945"/>
                    <a:pt x="24286"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9" name="Freeform: Shape 2188">
              <a:extLst>
                <a:ext uri="{FF2B5EF4-FFF2-40B4-BE49-F238E27FC236}">
                  <a16:creationId xmlns:a16="http://schemas.microsoft.com/office/drawing/2014/main" id="{6DDDE704-3093-48B4-9150-84656D817B35}"/>
                </a:ext>
              </a:extLst>
            </p:cNvPr>
            <p:cNvSpPr/>
            <p:nvPr/>
          </p:nvSpPr>
          <p:spPr>
            <a:xfrm>
              <a:off x="7649351" y="2414796"/>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29" y="55442"/>
                    <a:pt x="55443" y="46945"/>
                    <a:pt x="55443" y="35616"/>
                  </a:cubicBezTo>
                  <a:cubicBezTo>
                    <a:pt x="55443" y="25702"/>
                    <a:pt x="46945" y="15789"/>
                    <a:pt x="35616" y="15789"/>
                  </a:cubicBezTo>
                  <a:cubicBezTo>
                    <a:pt x="25703" y="15789"/>
                    <a:pt x="15789" y="24286"/>
                    <a:pt x="15789" y="35616"/>
                  </a:cubicBezTo>
                  <a:cubicBezTo>
                    <a:pt x="17205" y="46945"/>
                    <a:pt x="25703"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0" name="Freeform: Shape 2189">
              <a:extLst>
                <a:ext uri="{FF2B5EF4-FFF2-40B4-BE49-F238E27FC236}">
                  <a16:creationId xmlns:a16="http://schemas.microsoft.com/office/drawing/2014/main" id="{854AB506-6072-409E-8B9C-BEF3C559CB7C}"/>
                </a:ext>
              </a:extLst>
            </p:cNvPr>
            <p:cNvSpPr/>
            <p:nvPr/>
          </p:nvSpPr>
          <p:spPr>
            <a:xfrm>
              <a:off x="8479240" y="3047834"/>
              <a:ext cx="141619" cy="141619"/>
            </a:xfrm>
            <a:custGeom>
              <a:avLst/>
              <a:gdLst>
                <a:gd name="connsiteX0" fmla="*/ 73853 w 141619"/>
                <a:gd name="connsiteY0" fmla="*/ 131917 h 141619"/>
                <a:gd name="connsiteX1" fmla="*/ 131916 w 141619"/>
                <a:gd name="connsiteY1" fmla="*/ 73853 h 141619"/>
                <a:gd name="connsiteX2" fmla="*/ 73853 w 141619"/>
                <a:gd name="connsiteY2" fmla="*/ 15789 h 141619"/>
                <a:gd name="connsiteX3" fmla="*/ 15789 w 141619"/>
                <a:gd name="connsiteY3" fmla="*/ 73853 h 141619"/>
                <a:gd name="connsiteX4" fmla="*/ 73853 w 141619"/>
                <a:gd name="connsiteY4" fmla="*/ 131917 h 141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9" h="141619">
                  <a:moveTo>
                    <a:pt x="73853" y="131917"/>
                  </a:moveTo>
                  <a:cubicBezTo>
                    <a:pt x="106425" y="131917"/>
                    <a:pt x="131916" y="105009"/>
                    <a:pt x="131916" y="73853"/>
                  </a:cubicBezTo>
                  <a:cubicBezTo>
                    <a:pt x="131916" y="41280"/>
                    <a:pt x="105009" y="15789"/>
                    <a:pt x="73853" y="15789"/>
                  </a:cubicBezTo>
                  <a:cubicBezTo>
                    <a:pt x="41280" y="15789"/>
                    <a:pt x="15789" y="42697"/>
                    <a:pt x="15789" y="73853"/>
                  </a:cubicBezTo>
                  <a:cubicBezTo>
                    <a:pt x="15789" y="106425"/>
                    <a:pt x="41280" y="131917"/>
                    <a:pt x="73853" y="13191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1" name="Freeform: Shape 2190">
              <a:extLst>
                <a:ext uri="{FF2B5EF4-FFF2-40B4-BE49-F238E27FC236}">
                  <a16:creationId xmlns:a16="http://schemas.microsoft.com/office/drawing/2014/main" id="{32823861-C85E-4BD0-ACAB-46AD2D9DD429}"/>
                </a:ext>
              </a:extLst>
            </p:cNvPr>
            <p:cNvSpPr/>
            <p:nvPr/>
          </p:nvSpPr>
          <p:spPr>
            <a:xfrm>
              <a:off x="7272644" y="3029423"/>
              <a:ext cx="84971" cy="84971"/>
            </a:xfrm>
            <a:custGeom>
              <a:avLst/>
              <a:gdLst>
                <a:gd name="connsiteX0" fmla="*/ 45529 w 84971"/>
                <a:gd name="connsiteY0" fmla="*/ 75269 h 84971"/>
                <a:gd name="connsiteX1" fmla="*/ 75269 w 84971"/>
                <a:gd name="connsiteY1" fmla="*/ 45529 h 84971"/>
                <a:gd name="connsiteX2" fmla="*/ 45529 w 84971"/>
                <a:gd name="connsiteY2" fmla="*/ 15789 h 84971"/>
                <a:gd name="connsiteX3" fmla="*/ 15789 w 84971"/>
                <a:gd name="connsiteY3" fmla="*/ 45529 h 84971"/>
                <a:gd name="connsiteX4" fmla="*/ 45529 w 84971"/>
                <a:gd name="connsiteY4" fmla="*/ 7526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529" y="75269"/>
                  </a:moveTo>
                  <a:cubicBezTo>
                    <a:pt x="61107" y="75269"/>
                    <a:pt x="75269" y="62523"/>
                    <a:pt x="75269" y="45529"/>
                  </a:cubicBezTo>
                  <a:cubicBezTo>
                    <a:pt x="75269" y="29951"/>
                    <a:pt x="62523" y="15789"/>
                    <a:pt x="45529" y="15789"/>
                  </a:cubicBezTo>
                  <a:cubicBezTo>
                    <a:pt x="28535" y="15789"/>
                    <a:pt x="15789" y="28535"/>
                    <a:pt x="15789" y="45529"/>
                  </a:cubicBezTo>
                  <a:cubicBezTo>
                    <a:pt x="15789" y="62523"/>
                    <a:pt x="29951" y="75269"/>
                    <a:pt x="45529" y="752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2" name="Freeform: Shape 2191">
              <a:extLst>
                <a:ext uri="{FF2B5EF4-FFF2-40B4-BE49-F238E27FC236}">
                  <a16:creationId xmlns:a16="http://schemas.microsoft.com/office/drawing/2014/main" id="{7A66B906-EC43-452F-9987-21E1344756CD}"/>
                </a:ext>
              </a:extLst>
            </p:cNvPr>
            <p:cNvSpPr/>
            <p:nvPr/>
          </p:nvSpPr>
          <p:spPr>
            <a:xfrm>
              <a:off x="7421344" y="3387720"/>
              <a:ext cx="84971" cy="84971"/>
            </a:xfrm>
            <a:custGeom>
              <a:avLst/>
              <a:gdLst>
                <a:gd name="connsiteX0" fmla="*/ 45529 w 84971"/>
                <a:gd name="connsiteY0" fmla="*/ 75269 h 84971"/>
                <a:gd name="connsiteX1" fmla="*/ 75269 w 84971"/>
                <a:gd name="connsiteY1" fmla="*/ 45529 h 84971"/>
                <a:gd name="connsiteX2" fmla="*/ 45529 w 84971"/>
                <a:gd name="connsiteY2" fmla="*/ 15789 h 84971"/>
                <a:gd name="connsiteX3" fmla="*/ 15789 w 84971"/>
                <a:gd name="connsiteY3" fmla="*/ 45529 h 84971"/>
                <a:gd name="connsiteX4" fmla="*/ 45529 w 84971"/>
                <a:gd name="connsiteY4" fmla="*/ 7526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529" y="75269"/>
                  </a:moveTo>
                  <a:cubicBezTo>
                    <a:pt x="61107" y="75269"/>
                    <a:pt x="75269" y="62523"/>
                    <a:pt x="75269" y="45529"/>
                  </a:cubicBezTo>
                  <a:cubicBezTo>
                    <a:pt x="75269" y="29951"/>
                    <a:pt x="62523" y="15789"/>
                    <a:pt x="45529" y="15789"/>
                  </a:cubicBezTo>
                  <a:cubicBezTo>
                    <a:pt x="29951" y="15789"/>
                    <a:pt x="15789" y="28535"/>
                    <a:pt x="15789" y="45529"/>
                  </a:cubicBezTo>
                  <a:cubicBezTo>
                    <a:pt x="15789" y="62523"/>
                    <a:pt x="28535" y="75269"/>
                    <a:pt x="45529" y="752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3" name="Freeform: Shape 2192">
              <a:extLst>
                <a:ext uri="{FF2B5EF4-FFF2-40B4-BE49-F238E27FC236}">
                  <a16:creationId xmlns:a16="http://schemas.microsoft.com/office/drawing/2014/main" id="{12C71B02-3517-41AE-81F1-C1914A9E6341}"/>
                </a:ext>
              </a:extLst>
            </p:cNvPr>
            <p:cNvSpPr/>
            <p:nvPr/>
          </p:nvSpPr>
          <p:spPr>
            <a:xfrm>
              <a:off x="6683509" y="2666878"/>
              <a:ext cx="84971" cy="84971"/>
            </a:xfrm>
            <a:custGeom>
              <a:avLst/>
              <a:gdLst>
                <a:gd name="connsiteX0" fmla="*/ 45529 w 84971"/>
                <a:gd name="connsiteY0" fmla="*/ 75269 h 84971"/>
                <a:gd name="connsiteX1" fmla="*/ 75269 w 84971"/>
                <a:gd name="connsiteY1" fmla="*/ 45529 h 84971"/>
                <a:gd name="connsiteX2" fmla="*/ 45529 w 84971"/>
                <a:gd name="connsiteY2" fmla="*/ 15789 h 84971"/>
                <a:gd name="connsiteX3" fmla="*/ 15789 w 84971"/>
                <a:gd name="connsiteY3" fmla="*/ 45529 h 84971"/>
                <a:gd name="connsiteX4" fmla="*/ 45529 w 84971"/>
                <a:gd name="connsiteY4" fmla="*/ 7526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529" y="75269"/>
                  </a:moveTo>
                  <a:cubicBezTo>
                    <a:pt x="61107" y="75269"/>
                    <a:pt x="75269" y="62523"/>
                    <a:pt x="75269" y="45529"/>
                  </a:cubicBezTo>
                  <a:cubicBezTo>
                    <a:pt x="75269" y="29951"/>
                    <a:pt x="62523" y="15789"/>
                    <a:pt x="45529" y="15789"/>
                  </a:cubicBezTo>
                  <a:cubicBezTo>
                    <a:pt x="29951" y="15789"/>
                    <a:pt x="15789" y="28535"/>
                    <a:pt x="15789" y="45529"/>
                  </a:cubicBezTo>
                  <a:cubicBezTo>
                    <a:pt x="15789" y="62523"/>
                    <a:pt x="29951" y="75269"/>
                    <a:pt x="45529" y="752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4" name="Freeform: Shape 2193">
              <a:extLst>
                <a:ext uri="{FF2B5EF4-FFF2-40B4-BE49-F238E27FC236}">
                  <a16:creationId xmlns:a16="http://schemas.microsoft.com/office/drawing/2014/main" id="{1030326F-D364-4C41-B37B-49E540F7C829}"/>
                </a:ext>
              </a:extLst>
            </p:cNvPr>
            <p:cNvSpPr/>
            <p:nvPr/>
          </p:nvSpPr>
          <p:spPr>
            <a:xfrm>
              <a:off x="7145032" y="3411795"/>
              <a:ext cx="56648" cy="56648"/>
            </a:xfrm>
            <a:custGeom>
              <a:avLst/>
              <a:gdLst>
                <a:gd name="connsiteX0" fmla="*/ 32938 w 56647"/>
                <a:gd name="connsiteY0" fmla="*/ 49778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8"/>
                  </a:moveTo>
                  <a:cubicBezTo>
                    <a:pt x="42852" y="49778"/>
                    <a:pt x="49933" y="41280"/>
                    <a:pt x="49933" y="32783"/>
                  </a:cubicBezTo>
                  <a:cubicBezTo>
                    <a:pt x="49933" y="22870"/>
                    <a:pt x="41435" y="15789"/>
                    <a:pt x="32938" y="15789"/>
                  </a:cubicBezTo>
                  <a:cubicBezTo>
                    <a:pt x="23025" y="15789"/>
                    <a:pt x="15944" y="24286"/>
                    <a:pt x="15944" y="32783"/>
                  </a:cubicBezTo>
                  <a:cubicBezTo>
                    <a:pt x="14528" y="41280"/>
                    <a:pt x="23025" y="49778"/>
                    <a:pt x="32938"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5" name="Freeform: Shape 2194">
              <a:extLst>
                <a:ext uri="{FF2B5EF4-FFF2-40B4-BE49-F238E27FC236}">
                  <a16:creationId xmlns:a16="http://schemas.microsoft.com/office/drawing/2014/main" id="{4E67C854-6ADC-4201-B080-47E573AD47BB}"/>
                </a:ext>
              </a:extLst>
            </p:cNvPr>
            <p:cNvSpPr/>
            <p:nvPr/>
          </p:nvSpPr>
          <p:spPr>
            <a:xfrm>
              <a:off x="7089955" y="3098817"/>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1280"/>
                    <a:pt x="49778" y="32783"/>
                  </a:cubicBezTo>
                  <a:cubicBezTo>
                    <a:pt x="49778" y="22870"/>
                    <a:pt x="41281" y="15789"/>
                    <a:pt x="32783" y="15789"/>
                  </a:cubicBezTo>
                  <a:cubicBezTo>
                    <a:pt x="22870" y="15789"/>
                    <a:pt x="15789" y="24286"/>
                    <a:pt x="15789" y="32783"/>
                  </a:cubicBezTo>
                  <a:cubicBezTo>
                    <a:pt x="15789" y="41280"/>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6" name="Freeform: Shape 2195">
              <a:extLst>
                <a:ext uri="{FF2B5EF4-FFF2-40B4-BE49-F238E27FC236}">
                  <a16:creationId xmlns:a16="http://schemas.microsoft.com/office/drawing/2014/main" id="{BF684EB3-6C5A-4A76-8242-1A03577CA85E}"/>
                </a:ext>
              </a:extLst>
            </p:cNvPr>
            <p:cNvSpPr/>
            <p:nvPr/>
          </p:nvSpPr>
          <p:spPr>
            <a:xfrm>
              <a:off x="7501912" y="3486853"/>
              <a:ext cx="56648" cy="56648"/>
            </a:xfrm>
            <a:custGeom>
              <a:avLst/>
              <a:gdLst>
                <a:gd name="connsiteX0" fmla="*/ 32938 w 56647"/>
                <a:gd name="connsiteY0" fmla="*/ 49778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8"/>
                  </a:moveTo>
                  <a:cubicBezTo>
                    <a:pt x="42852" y="49778"/>
                    <a:pt x="49933" y="41280"/>
                    <a:pt x="49933" y="32783"/>
                  </a:cubicBezTo>
                  <a:cubicBezTo>
                    <a:pt x="49933" y="22870"/>
                    <a:pt x="41436" y="15789"/>
                    <a:pt x="32938" y="15789"/>
                  </a:cubicBezTo>
                  <a:cubicBezTo>
                    <a:pt x="23025" y="15789"/>
                    <a:pt x="15944" y="24286"/>
                    <a:pt x="15944" y="32783"/>
                  </a:cubicBezTo>
                  <a:cubicBezTo>
                    <a:pt x="14528" y="41280"/>
                    <a:pt x="23025" y="49778"/>
                    <a:pt x="32938"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7" name="Freeform: Shape 2196">
              <a:extLst>
                <a:ext uri="{FF2B5EF4-FFF2-40B4-BE49-F238E27FC236}">
                  <a16:creationId xmlns:a16="http://schemas.microsoft.com/office/drawing/2014/main" id="{1D0E2EF8-8899-4A68-9D5C-C2F511473225}"/>
                </a:ext>
              </a:extLst>
            </p:cNvPr>
            <p:cNvSpPr/>
            <p:nvPr/>
          </p:nvSpPr>
          <p:spPr>
            <a:xfrm>
              <a:off x="6829221" y="2945868"/>
              <a:ext cx="56648" cy="56648"/>
            </a:xfrm>
            <a:custGeom>
              <a:avLst/>
              <a:gdLst>
                <a:gd name="connsiteX0" fmla="*/ 32938 w 56647"/>
                <a:gd name="connsiteY0" fmla="*/ 49777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7"/>
                  </a:moveTo>
                  <a:cubicBezTo>
                    <a:pt x="42852" y="49777"/>
                    <a:pt x="49933" y="41280"/>
                    <a:pt x="49933" y="32783"/>
                  </a:cubicBezTo>
                  <a:cubicBezTo>
                    <a:pt x="49933" y="22870"/>
                    <a:pt x="41436" y="15789"/>
                    <a:pt x="32938" y="15789"/>
                  </a:cubicBezTo>
                  <a:cubicBezTo>
                    <a:pt x="23025" y="15789"/>
                    <a:pt x="15944" y="24286"/>
                    <a:pt x="15944" y="32783"/>
                  </a:cubicBezTo>
                  <a:cubicBezTo>
                    <a:pt x="14528" y="42697"/>
                    <a:pt x="23025" y="49777"/>
                    <a:pt x="32938"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8" name="Freeform: Shape 2197">
              <a:extLst>
                <a:ext uri="{FF2B5EF4-FFF2-40B4-BE49-F238E27FC236}">
                  <a16:creationId xmlns:a16="http://schemas.microsoft.com/office/drawing/2014/main" id="{EB122A67-EBA5-4754-9761-03137CA26353}"/>
                </a:ext>
              </a:extLst>
            </p:cNvPr>
            <p:cNvSpPr/>
            <p:nvPr/>
          </p:nvSpPr>
          <p:spPr>
            <a:xfrm>
              <a:off x="7227326" y="3205031"/>
              <a:ext cx="84971" cy="84971"/>
            </a:xfrm>
            <a:custGeom>
              <a:avLst/>
              <a:gdLst>
                <a:gd name="connsiteX0" fmla="*/ 45529 w 84971"/>
                <a:gd name="connsiteY0" fmla="*/ 15789 h 84971"/>
                <a:gd name="connsiteX1" fmla="*/ 75269 w 84971"/>
                <a:gd name="connsiteY1" fmla="*/ 45529 h 84971"/>
                <a:gd name="connsiteX2" fmla="*/ 45529 w 84971"/>
                <a:gd name="connsiteY2" fmla="*/ 75269 h 84971"/>
                <a:gd name="connsiteX3" fmla="*/ 15789 w 84971"/>
                <a:gd name="connsiteY3" fmla="*/ 45529 h 84971"/>
                <a:gd name="connsiteX4" fmla="*/ 45529 w 84971"/>
                <a:gd name="connsiteY4" fmla="*/ 15789 h 84971"/>
                <a:gd name="connsiteX5" fmla="*/ 45529 w 84971"/>
                <a:gd name="connsiteY5" fmla="*/ 15789 h 84971"/>
                <a:gd name="connsiteX6" fmla="*/ 45529 w 84971"/>
                <a:gd name="connsiteY6" fmla="*/ 28535 h 84971"/>
                <a:gd name="connsiteX7" fmla="*/ 28535 w 84971"/>
                <a:gd name="connsiteY7" fmla="*/ 45529 h 84971"/>
                <a:gd name="connsiteX8" fmla="*/ 45529 w 84971"/>
                <a:gd name="connsiteY8" fmla="*/ 62523 h 84971"/>
                <a:gd name="connsiteX9" fmla="*/ 62523 w 84971"/>
                <a:gd name="connsiteY9" fmla="*/ 45529 h 84971"/>
                <a:gd name="connsiteX10" fmla="*/ 45529 w 84971"/>
                <a:gd name="connsiteY10" fmla="*/ 28535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5529" y="15789"/>
                  </a:moveTo>
                  <a:cubicBezTo>
                    <a:pt x="62523" y="15789"/>
                    <a:pt x="75269" y="28535"/>
                    <a:pt x="75269" y="45529"/>
                  </a:cubicBezTo>
                  <a:cubicBezTo>
                    <a:pt x="75269" y="62523"/>
                    <a:pt x="62523" y="75269"/>
                    <a:pt x="45529" y="75269"/>
                  </a:cubicBezTo>
                  <a:cubicBezTo>
                    <a:pt x="28535" y="75269"/>
                    <a:pt x="15789" y="62523"/>
                    <a:pt x="15789" y="45529"/>
                  </a:cubicBezTo>
                  <a:cubicBezTo>
                    <a:pt x="15789" y="28535"/>
                    <a:pt x="28535" y="15789"/>
                    <a:pt x="45529" y="15789"/>
                  </a:cubicBezTo>
                  <a:lnTo>
                    <a:pt x="45529" y="15789"/>
                  </a:lnTo>
                  <a:close/>
                  <a:moveTo>
                    <a:pt x="45529" y="28535"/>
                  </a:moveTo>
                  <a:cubicBezTo>
                    <a:pt x="35616" y="28535"/>
                    <a:pt x="28535" y="35616"/>
                    <a:pt x="28535" y="45529"/>
                  </a:cubicBezTo>
                  <a:cubicBezTo>
                    <a:pt x="28535" y="55442"/>
                    <a:pt x="35616" y="62523"/>
                    <a:pt x="45529" y="62523"/>
                  </a:cubicBezTo>
                  <a:cubicBezTo>
                    <a:pt x="55442" y="62523"/>
                    <a:pt x="62523" y="55442"/>
                    <a:pt x="62523" y="45529"/>
                  </a:cubicBezTo>
                  <a:cubicBezTo>
                    <a:pt x="62523" y="35616"/>
                    <a:pt x="54026" y="28535"/>
                    <a:pt x="45529" y="2853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9" name="Freeform: Shape 2198">
              <a:extLst>
                <a:ext uri="{FF2B5EF4-FFF2-40B4-BE49-F238E27FC236}">
                  <a16:creationId xmlns:a16="http://schemas.microsoft.com/office/drawing/2014/main" id="{37A8B6EF-4B18-4A92-AAA9-F5F9520A4E08}"/>
                </a:ext>
              </a:extLst>
            </p:cNvPr>
            <p:cNvSpPr/>
            <p:nvPr/>
          </p:nvSpPr>
          <p:spPr>
            <a:xfrm>
              <a:off x="7451084" y="3258846"/>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8" y="15789"/>
                    <a:pt x="15789" y="20037"/>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0" name="Freeform: Shape 2199">
              <a:extLst>
                <a:ext uri="{FF2B5EF4-FFF2-40B4-BE49-F238E27FC236}">
                  <a16:creationId xmlns:a16="http://schemas.microsoft.com/office/drawing/2014/main" id="{634F350C-37BE-4151-841D-277FEABF3B79}"/>
                </a:ext>
              </a:extLst>
            </p:cNvPr>
            <p:cNvSpPr/>
            <p:nvPr/>
          </p:nvSpPr>
          <p:spPr>
            <a:xfrm>
              <a:off x="7561547" y="3372142"/>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7"/>
                    <a:pt x="31367" y="15789"/>
                    <a:pt x="25702" y="15789"/>
                  </a:cubicBezTo>
                  <a:cubicBezTo>
                    <a:pt x="20037" y="15789"/>
                    <a:pt x="15789" y="20037"/>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1" name="Freeform: Shape 2200">
              <a:extLst>
                <a:ext uri="{FF2B5EF4-FFF2-40B4-BE49-F238E27FC236}">
                  <a16:creationId xmlns:a16="http://schemas.microsoft.com/office/drawing/2014/main" id="{91C488C1-9BDB-4093-927B-F2E7B25DB8FC}"/>
                </a:ext>
              </a:extLst>
            </p:cNvPr>
            <p:cNvSpPr/>
            <p:nvPr/>
          </p:nvSpPr>
          <p:spPr>
            <a:xfrm>
              <a:off x="8150548" y="3935785"/>
              <a:ext cx="70810" cy="70810"/>
            </a:xfrm>
            <a:custGeom>
              <a:avLst/>
              <a:gdLst>
                <a:gd name="connsiteX0" fmla="*/ 38582 w 70809"/>
                <a:gd name="connsiteY0" fmla="*/ 61107 h 70809"/>
                <a:gd name="connsiteX1" fmla="*/ 61242 w 70809"/>
                <a:gd name="connsiteY1" fmla="*/ 38448 h 70809"/>
                <a:gd name="connsiteX2" fmla="*/ 38582 w 70809"/>
                <a:gd name="connsiteY2" fmla="*/ 15789 h 70809"/>
                <a:gd name="connsiteX3" fmla="*/ 15924 w 70809"/>
                <a:gd name="connsiteY3" fmla="*/ 38448 h 70809"/>
                <a:gd name="connsiteX4" fmla="*/ 38582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582" y="61107"/>
                  </a:moveTo>
                  <a:cubicBezTo>
                    <a:pt x="51328" y="61107"/>
                    <a:pt x="61242" y="51194"/>
                    <a:pt x="61242" y="38448"/>
                  </a:cubicBezTo>
                  <a:cubicBezTo>
                    <a:pt x="61242" y="25703"/>
                    <a:pt x="51328" y="15789"/>
                    <a:pt x="38582" y="15789"/>
                  </a:cubicBezTo>
                  <a:cubicBezTo>
                    <a:pt x="25837" y="15789"/>
                    <a:pt x="15924" y="25703"/>
                    <a:pt x="15924" y="38448"/>
                  </a:cubicBezTo>
                  <a:cubicBezTo>
                    <a:pt x="14507" y="49777"/>
                    <a:pt x="24420" y="61107"/>
                    <a:pt x="38582"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2" name="Freeform: Shape 2201">
              <a:extLst>
                <a:ext uri="{FF2B5EF4-FFF2-40B4-BE49-F238E27FC236}">
                  <a16:creationId xmlns:a16="http://schemas.microsoft.com/office/drawing/2014/main" id="{003F4D01-BEC9-40B3-82C9-252D65CC8A44}"/>
                </a:ext>
              </a:extLst>
            </p:cNvPr>
            <p:cNvSpPr/>
            <p:nvPr/>
          </p:nvSpPr>
          <p:spPr>
            <a:xfrm>
              <a:off x="5467000" y="2127310"/>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18621"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3" name="Freeform: Shape 2202">
              <a:extLst>
                <a:ext uri="{FF2B5EF4-FFF2-40B4-BE49-F238E27FC236}">
                  <a16:creationId xmlns:a16="http://schemas.microsoft.com/office/drawing/2014/main" id="{23609BCB-37D1-4C46-892C-563B770AF2C7}"/>
                </a:ext>
              </a:extLst>
            </p:cNvPr>
            <p:cNvSpPr/>
            <p:nvPr/>
          </p:nvSpPr>
          <p:spPr>
            <a:xfrm>
              <a:off x="5549139" y="1984274"/>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4" name="Freeform: Shape 2203">
              <a:extLst>
                <a:ext uri="{FF2B5EF4-FFF2-40B4-BE49-F238E27FC236}">
                  <a16:creationId xmlns:a16="http://schemas.microsoft.com/office/drawing/2014/main" id="{14054D10-40C9-433C-B32E-0A0D37F0A7BE}"/>
                </a:ext>
              </a:extLst>
            </p:cNvPr>
            <p:cNvSpPr/>
            <p:nvPr/>
          </p:nvSpPr>
          <p:spPr>
            <a:xfrm>
              <a:off x="5454254" y="203100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1" y="49778"/>
                    <a:pt x="49778" y="42697"/>
                    <a:pt x="49778" y="32783"/>
                  </a:cubicBezTo>
                  <a:cubicBezTo>
                    <a:pt x="49778" y="24286"/>
                    <a:pt x="42697" y="15789"/>
                    <a:pt x="32783" y="15789"/>
                  </a:cubicBezTo>
                  <a:cubicBezTo>
                    <a:pt x="22870"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5" name="Freeform: Shape 2204">
              <a:extLst>
                <a:ext uri="{FF2B5EF4-FFF2-40B4-BE49-F238E27FC236}">
                  <a16:creationId xmlns:a16="http://schemas.microsoft.com/office/drawing/2014/main" id="{918CFABB-C236-440A-B05E-B441842D2A1A}"/>
                </a:ext>
              </a:extLst>
            </p:cNvPr>
            <p:cNvSpPr/>
            <p:nvPr/>
          </p:nvSpPr>
          <p:spPr>
            <a:xfrm>
              <a:off x="5522232" y="2130142"/>
              <a:ext cx="28324" cy="28324"/>
            </a:xfrm>
            <a:custGeom>
              <a:avLst/>
              <a:gdLst>
                <a:gd name="connsiteX0" fmla="*/ 20037 w 28323"/>
                <a:gd name="connsiteY0" fmla="*/ 24286 h 28323"/>
                <a:gd name="connsiteX1" fmla="*/ 24286 w 28323"/>
                <a:gd name="connsiteY1" fmla="*/ 20038 h 28323"/>
                <a:gd name="connsiteX2" fmla="*/ 20037 w 28323"/>
                <a:gd name="connsiteY2" fmla="*/ 15789 h 28323"/>
                <a:gd name="connsiteX3" fmla="*/ 15789 w 28323"/>
                <a:gd name="connsiteY3" fmla="*/ 20038 h 28323"/>
                <a:gd name="connsiteX4" fmla="*/ 20037 w 28323"/>
                <a:gd name="connsiteY4" fmla="*/ 24286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0037" y="24286"/>
                  </a:moveTo>
                  <a:cubicBezTo>
                    <a:pt x="22870" y="24286"/>
                    <a:pt x="24286" y="22870"/>
                    <a:pt x="24286" y="20038"/>
                  </a:cubicBezTo>
                  <a:cubicBezTo>
                    <a:pt x="24286" y="17205"/>
                    <a:pt x="22870" y="15789"/>
                    <a:pt x="20037" y="15789"/>
                  </a:cubicBezTo>
                  <a:cubicBezTo>
                    <a:pt x="17205" y="15789"/>
                    <a:pt x="15789" y="17205"/>
                    <a:pt x="15789" y="20038"/>
                  </a:cubicBezTo>
                  <a:cubicBezTo>
                    <a:pt x="15789" y="22870"/>
                    <a:pt x="18621" y="24286"/>
                    <a:pt x="20037"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6" name="Freeform: Shape 2205">
              <a:extLst>
                <a:ext uri="{FF2B5EF4-FFF2-40B4-BE49-F238E27FC236}">
                  <a16:creationId xmlns:a16="http://schemas.microsoft.com/office/drawing/2014/main" id="{B8D8A153-A55F-43B8-AC3D-2CAD1FBD177A}"/>
                </a:ext>
              </a:extLst>
            </p:cNvPr>
            <p:cNvSpPr/>
            <p:nvPr/>
          </p:nvSpPr>
          <p:spPr>
            <a:xfrm>
              <a:off x="5539226" y="2070662"/>
              <a:ext cx="28324" cy="28324"/>
            </a:xfrm>
            <a:custGeom>
              <a:avLst/>
              <a:gdLst>
                <a:gd name="connsiteX0" fmla="*/ 20038 w 28323"/>
                <a:gd name="connsiteY0" fmla="*/ 24286 h 28323"/>
                <a:gd name="connsiteX1" fmla="*/ 24286 w 28323"/>
                <a:gd name="connsiteY1" fmla="*/ 20038 h 28323"/>
                <a:gd name="connsiteX2" fmla="*/ 20038 w 28323"/>
                <a:gd name="connsiteY2" fmla="*/ 15789 h 28323"/>
                <a:gd name="connsiteX3" fmla="*/ 15789 w 28323"/>
                <a:gd name="connsiteY3" fmla="*/ 20038 h 28323"/>
                <a:gd name="connsiteX4" fmla="*/ 20038 w 28323"/>
                <a:gd name="connsiteY4" fmla="*/ 24286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0038" y="24286"/>
                  </a:moveTo>
                  <a:cubicBezTo>
                    <a:pt x="22870" y="24286"/>
                    <a:pt x="24286" y="22870"/>
                    <a:pt x="24286" y="20038"/>
                  </a:cubicBezTo>
                  <a:cubicBezTo>
                    <a:pt x="24286" y="17205"/>
                    <a:pt x="22870" y="15789"/>
                    <a:pt x="20038" y="15789"/>
                  </a:cubicBezTo>
                  <a:cubicBezTo>
                    <a:pt x="17205" y="15789"/>
                    <a:pt x="15789" y="17205"/>
                    <a:pt x="15789" y="20038"/>
                  </a:cubicBezTo>
                  <a:cubicBezTo>
                    <a:pt x="15789" y="22870"/>
                    <a:pt x="17205" y="24286"/>
                    <a:pt x="20038"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7" name="Freeform: Shape 2206">
              <a:extLst>
                <a:ext uri="{FF2B5EF4-FFF2-40B4-BE49-F238E27FC236}">
                  <a16:creationId xmlns:a16="http://schemas.microsoft.com/office/drawing/2014/main" id="{75CCD3C0-5EBC-40A5-92F1-A07C160FD550}"/>
                </a:ext>
              </a:extLst>
            </p:cNvPr>
            <p:cNvSpPr/>
            <p:nvPr/>
          </p:nvSpPr>
          <p:spPr>
            <a:xfrm>
              <a:off x="7040389" y="2883556"/>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4286"/>
                    <a:pt x="46945" y="15789"/>
                    <a:pt x="35616" y="15789"/>
                  </a:cubicBezTo>
                  <a:cubicBezTo>
                    <a:pt x="24286" y="15789"/>
                    <a:pt x="15789" y="24286"/>
                    <a:pt x="15789" y="35616"/>
                  </a:cubicBezTo>
                  <a:cubicBezTo>
                    <a:pt x="15789" y="46945"/>
                    <a:pt x="24286"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8" name="Freeform: Shape 2207">
              <a:extLst>
                <a:ext uri="{FF2B5EF4-FFF2-40B4-BE49-F238E27FC236}">
                  <a16:creationId xmlns:a16="http://schemas.microsoft.com/office/drawing/2014/main" id="{128B7168-869D-4AD0-AAAB-22E95BB39DED}"/>
                </a:ext>
              </a:extLst>
            </p:cNvPr>
            <p:cNvSpPr/>
            <p:nvPr/>
          </p:nvSpPr>
          <p:spPr>
            <a:xfrm>
              <a:off x="7778224" y="2978440"/>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1" y="49777"/>
                    <a:pt x="49778" y="42697"/>
                    <a:pt x="49778" y="32783"/>
                  </a:cubicBezTo>
                  <a:cubicBezTo>
                    <a:pt x="49778" y="22870"/>
                    <a:pt x="42697" y="15789"/>
                    <a:pt x="32783" y="15789"/>
                  </a:cubicBezTo>
                  <a:cubicBezTo>
                    <a:pt x="24286" y="15789"/>
                    <a:pt x="15789" y="22870"/>
                    <a:pt x="15789" y="32783"/>
                  </a:cubicBezTo>
                  <a:cubicBezTo>
                    <a:pt x="15789" y="42697"/>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9" name="Freeform: Shape 2208">
              <a:extLst>
                <a:ext uri="{FF2B5EF4-FFF2-40B4-BE49-F238E27FC236}">
                  <a16:creationId xmlns:a16="http://schemas.microsoft.com/office/drawing/2014/main" id="{1E268E69-162B-4C5A-8451-56E34CB12920}"/>
                </a:ext>
              </a:extLst>
            </p:cNvPr>
            <p:cNvSpPr/>
            <p:nvPr/>
          </p:nvSpPr>
          <p:spPr>
            <a:xfrm>
              <a:off x="7731490" y="2804249"/>
              <a:ext cx="113295" cy="113295"/>
            </a:xfrm>
            <a:custGeom>
              <a:avLst/>
              <a:gdLst>
                <a:gd name="connsiteX0" fmla="*/ 56858 w 113295"/>
                <a:gd name="connsiteY0" fmla="*/ 97928 h 113295"/>
                <a:gd name="connsiteX1" fmla="*/ 97928 w 113295"/>
                <a:gd name="connsiteY1" fmla="*/ 56858 h 113295"/>
                <a:gd name="connsiteX2" fmla="*/ 56858 w 113295"/>
                <a:gd name="connsiteY2" fmla="*/ 15789 h 113295"/>
                <a:gd name="connsiteX3" fmla="*/ 15789 w 113295"/>
                <a:gd name="connsiteY3" fmla="*/ 56858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8"/>
                  </a:cubicBezTo>
                  <a:cubicBezTo>
                    <a:pt x="97928" y="34200"/>
                    <a:pt x="79518" y="15789"/>
                    <a:pt x="56858" y="15789"/>
                  </a:cubicBezTo>
                  <a:cubicBezTo>
                    <a:pt x="34199" y="15789"/>
                    <a:pt x="15789" y="34200"/>
                    <a:pt x="15789" y="56858"/>
                  </a:cubicBezTo>
                  <a:cubicBezTo>
                    <a:pt x="17205" y="79518"/>
                    <a:pt x="35616" y="97928"/>
                    <a:pt x="56858"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0" name="Freeform: Shape 2209">
              <a:extLst>
                <a:ext uri="{FF2B5EF4-FFF2-40B4-BE49-F238E27FC236}">
                  <a16:creationId xmlns:a16="http://schemas.microsoft.com/office/drawing/2014/main" id="{C54CC030-F645-43AF-8512-72F4956DE576}"/>
                </a:ext>
              </a:extLst>
            </p:cNvPr>
            <p:cNvSpPr/>
            <p:nvPr/>
          </p:nvSpPr>
          <p:spPr>
            <a:xfrm>
              <a:off x="9766557" y="1137392"/>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30" y="55442"/>
                    <a:pt x="55442" y="46945"/>
                    <a:pt x="55442" y="35616"/>
                  </a:cubicBezTo>
                  <a:cubicBezTo>
                    <a:pt x="55442" y="25702"/>
                    <a:pt x="46945" y="15789"/>
                    <a:pt x="35616" y="15789"/>
                  </a:cubicBezTo>
                  <a:cubicBezTo>
                    <a:pt x="24287" y="15789"/>
                    <a:pt x="15789" y="24286"/>
                    <a:pt x="15789" y="35616"/>
                  </a:cubicBezTo>
                  <a:cubicBezTo>
                    <a:pt x="17206" y="46945"/>
                    <a:pt x="25703"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1" name="Freeform: Shape 2210">
              <a:extLst>
                <a:ext uri="{FF2B5EF4-FFF2-40B4-BE49-F238E27FC236}">
                  <a16:creationId xmlns:a16="http://schemas.microsoft.com/office/drawing/2014/main" id="{FB83DBEF-9D3A-4639-9278-C12BFC00D457}"/>
                </a:ext>
              </a:extLst>
            </p:cNvPr>
            <p:cNvSpPr/>
            <p:nvPr/>
          </p:nvSpPr>
          <p:spPr>
            <a:xfrm>
              <a:off x="8154931" y="3325407"/>
              <a:ext cx="99133" cy="99133"/>
            </a:xfrm>
            <a:custGeom>
              <a:avLst/>
              <a:gdLst>
                <a:gd name="connsiteX0" fmla="*/ 49778 w 99133"/>
                <a:gd name="connsiteY0" fmla="*/ 83766 h 99133"/>
                <a:gd name="connsiteX1" fmla="*/ 83766 w 99133"/>
                <a:gd name="connsiteY1" fmla="*/ 49777 h 99133"/>
                <a:gd name="connsiteX2" fmla="*/ 49778 w 99133"/>
                <a:gd name="connsiteY2" fmla="*/ 15789 h 99133"/>
                <a:gd name="connsiteX3" fmla="*/ 15789 w 99133"/>
                <a:gd name="connsiteY3" fmla="*/ 49777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7"/>
                  </a:cubicBezTo>
                  <a:cubicBezTo>
                    <a:pt x="83766" y="31367"/>
                    <a:pt x="68188" y="15789"/>
                    <a:pt x="49778" y="15789"/>
                  </a:cubicBezTo>
                  <a:cubicBezTo>
                    <a:pt x="31367" y="15789"/>
                    <a:pt x="15789" y="31367"/>
                    <a:pt x="15789" y="49777"/>
                  </a:cubicBezTo>
                  <a:cubicBezTo>
                    <a:pt x="17205" y="68188"/>
                    <a:pt x="31367" y="83766"/>
                    <a:pt x="49778" y="8376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2" name="Freeform: Shape 2211">
              <a:extLst>
                <a:ext uri="{FF2B5EF4-FFF2-40B4-BE49-F238E27FC236}">
                  <a16:creationId xmlns:a16="http://schemas.microsoft.com/office/drawing/2014/main" id="{520C8AEF-89FB-4901-BC66-759287727951}"/>
                </a:ext>
              </a:extLst>
            </p:cNvPr>
            <p:cNvSpPr/>
            <p:nvPr/>
          </p:nvSpPr>
          <p:spPr>
            <a:xfrm>
              <a:off x="5695007" y="1965864"/>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3" name="Freeform: Shape 2212">
              <a:extLst>
                <a:ext uri="{FF2B5EF4-FFF2-40B4-BE49-F238E27FC236}">
                  <a16:creationId xmlns:a16="http://schemas.microsoft.com/office/drawing/2014/main" id="{B6472949-241A-4D2A-BC6B-859ADF9F8781}"/>
                </a:ext>
              </a:extLst>
            </p:cNvPr>
            <p:cNvSpPr/>
            <p:nvPr/>
          </p:nvSpPr>
          <p:spPr>
            <a:xfrm>
              <a:off x="5594458" y="1883725"/>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4" name="Freeform: Shape 2213">
              <a:extLst>
                <a:ext uri="{FF2B5EF4-FFF2-40B4-BE49-F238E27FC236}">
                  <a16:creationId xmlns:a16="http://schemas.microsoft.com/office/drawing/2014/main" id="{0FC24908-8412-49B1-944F-0F1CBE561CAF}"/>
                </a:ext>
              </a:extLst>
            </p:cNvPr>
            <p:cNvSpPr/>
            <p:nvPr/>
          </p:nvSpPr>
          <p:spPr>
            <a:xfrm>
              <a:off x="5693591" y="2174044"/>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5" name="Freeform: Shape 2214">
              <a:extLst>
                <a:ext uri="{FF2B5EF4-FFF2-40B4-BE49-F238E27FC236}">
                  <a16:creationId xmlns:a16="http://schemas.microsoft.com/office/drawing/2014/main" id="{E344E9FA-8CC0-43DB-ABD9-996711DE8C9F}"/>
                </a:ext>
              </a:extLst>
            </p:cNvPr>
            <p:cNvSpPr/>
            <p:nvPr/>
          </p:nvSpPr>
          <p:spPr>
            <a:xfrm>
              <a:off x="5632694" y="2321328"/>
              <a:ext cx="56648" cy="56648"/>
            </a:xfrm>
            <a:custGeom>
              <a:avLst/>
              <a:gdLst>
                <a:gd name="connsiteX0" fmla="*/ 28535 w 56647"/>
                <a:gd name="connsiteY0" fmla="*/ 41280 h 56647"/>
                <a:gd name="connsiteX1" fmla="*/ 41281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1" y="35616"/>
                    <a:pt x="41281" y="28535"/>
                  </a:cubicBezTo>
                  <a:cubicBezTo>
                    <a:pt x="41281"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6" name="Freeform: Shape 2215">
              <a:extLst>
                <a:ext uri="{FF2B5EF4-FFF2-40B4-BE49-F238E27FC236}">
                  <a16:creationId xmlns:a16="http://schemas.microsoft.com/office/drawing/2014/main" id="{534244C7-6E23-4216-97B2-D061D0173626}"/>
                </a:ext>
              </a:extLst>
            </p:cNvPr>
            <p:cNvSpPr/>
            <p:nvPr/>
          </p:nvSpPr>
          <p:spPr>
            <a:xfrm>
              <a:off x="6458334" y="1882309"/>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7" name="Freeform: Shape 2216">
              <a:extLst>
                <a:ext uri="{FF2B5EF4-FFF2-40B4-BE49-F238E27FC236}">
                  <a16:creationId xmlns:a16="http://schemas.microsoft.com/office/drawing/2014/main" id="{2473085B-BC27-431B-8DA3-DD159CA28EBC}"/>
                </a:ext>
              </a:extLst>
            </p:cNvPr>
            <p:cNvSpPr/>
            <p:nvPr/>
          </p:nvSpPr>
          <p:spPr>
            <a:xfrm>
              <a:off x="7486489" y="460453"/>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1" y="49778"/>
                    <a:pt x="49778" y="42697"/>
                    <a:pt x="49778" y="32783"/>
                  </a:cubicBezTo>
                  <a:cubicBezTo>
                    <a:pt x="49778" y="24286"/>
                    <a:pt x="42697" y="15789"/>
                    <a:pt x="32783" y="15789"/>
                  </a:cubicBezTo>
                  <a:cubicBezTo>
                    <a:pt x="24286"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8" name="Freeform: Shape 2217">
              <a:extLst>
                <a:ext uri="{FF2B5EF4-FFF2-40B4-BE49-F238E27FC236}">
                  <a16:creationId xmlns:a16="http://schemas.microsoft.com/office/drawing/2014/main" id="{6645EF85-1098-49A6-B0F7-7CFFC8DF55C2}"/>
                </a:ext>
              </a:extLst>
            </p:cNvPr>
            <p:cNvSpPr/>
            <p:nvPr/>
          </p:nvSpPr>
          <p:spPr>
            <a:xfrm>
              <a:off x="6131194" y="674298"/>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9" name="Freeform: Shape 2218">
              <a:extLst>
                <a:ext uri="{FF2B5EF4-FFF2-40B4-BE49-F238E27FC236}">
                  <a16:creationId xmlns:a16="http://schemas.microsoft.com/office/drawing/2014/main" id="{0502719A-6100-4C32-91FA-B2E7F1F5DFBF}"/>
                </a:ext>
              </a:extLst>
            </p:cNvPr>
            <p:cNvSpPr/>
            <p:nvPr/>
          </p:nvSpPr>
          <p:spPr>
            <a:xfrm>
              <a:off x="4188179" y="1171381"/>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0" name="Freeform: Shape 2219">
              <a:extLst>
                <a:ext uri="{FF2B5EF4-FFF2-40B4-BE49-F238E27FC236}">
                  <a16:creationId xmlns:a16="http://schemas.microsoft.com/office/drawing/2014/main" id="{78E594F5-6361-40AB-AA10-FBA084E0216F}"/>
                </a:ext>
              </a:extLst>
            </p:cNvPr>
            <p:cNvSpPr/>
            <p:nvPr/>
          </p:nvSpPr>
          <p:spPr>
            <a:xfrm>
              <a:off x="4447342" y="43212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1" name="Freeform: Shape 2220">
              <a:extLst>
                <a:ext uri="{FF2B5EF4-FFF2-40B4-BE49-F238E27FC236}">
                  <a16:creationId xmlns:a16="http://schemas.microsoft.com/office/drawing/2014/main" id="{47402273-9D32-4AFB-99AB-129F078B6EDE}"/>
                </a:ext>
              </a:extLst>
            </p:cNvPr>
            <p:cNvSpPr/>
            <p:nvPr/>
          </p:nvSpPr>
          <p:spPr>
            <a:xfrm>
              <a:off x="3994161" y="654471"/>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2" name="Freeform: Shape 2221">
              <a:extLst>
                <a:ext uri="{FF2B5EF4-FFF2-40B4-BE49-F238E27FC236}">
                  <a16:creationId xmlns:a16="http://schemas.microsoft.com/office/drawing/2014/main" id="{DC4DA0BE-BC6C-4A2F-A97F-9834C443F214}"/>
                </a:ext>
              </a:extLst>
            </p:cNvPr>
            <p:cNvSpPr/>
            <p:nvPr/>
          </p:nvSpPr>
          <p:spPr>
            <a:xfrm>
              <a:off x="3916271" y="487361"/>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3" name="Freeform: Shape 2222">
              <a:extLst>
                <a:ext uri="{FF2B5EF4-FFF2-40B4-BE49-F238E27FC236}">
                  <a16:creationId xmlns:a16="http://schemas.microsoft.com/office/drawing/2014/main" id="{A344B2A9-D3C6-4590-9821-A67A41C412CB}"/>
                </a:ext>
              </a:extLst>
            </p:cNvPr>
            <p:cNvSpPr/>
            <p:nvPr/>
          </p:nvSpPr>
          <p:spPr>
            <a:xfrm>
              <a:off x="4731997" y="855570"/>
              <a:ext cx="113295" cy="113295"/>
            </a:xfrm>
            <a:custGeom>
              <a:avLst/>
              <a:gdLst>
                <a:gd name="connsiteX0" fmla="*/ 56859 w 113295"/>
                <a:gd name="connsiteY0" fmla="*/ 97928 h 113295"/>
                <a:gd name="connsiteX1" fmla="*/ 97928 w 113295"/>
                <a:gd name="connsiteY1" fmla="*/ 56859 h 113295"/>
                <a:gd name="connsiteX2" fmla="*/ 56859 w 113295"/>
                <a:gd name="connsiteY2" fmla="*/ 15789 h 113295"/>
                <a:gd name="connsiteX3" fmla="*/ 15789 w 113295"/>
                <a:gd name="connsiteY3" fmla="*/ 56859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8" y="79518"/>
                    <a:pt x="97928" y="56859"/>
                  </a:cubicBezTo>
                  <a:cubicBezTo>
                    <a:pt x="97928" y="34199"/>
                    <a:pt x="79518" y="15789"/>
                    <a:pt x="56859" y="15789"/>
                  </a:cubicBezTo>
                  <a:cubicBezTo>
                    <a:pt x="34200" y="15789"/>
                    <a:pt x="15789" y="34199"/>
                    <a:pt x="15789" y="56859"/>
                  </a:cubicBezTo>
                  <a:cubicBezTo>
                    <a:pt x="15789" y="79518"/>
                    <a:pt x="34200" y="97928"/>
                    <a:pt x="56859"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4" name="Freeform: Shape 2223">
              <a:extLst>
                <a:ext uri="{FF2B5EF4-FFF2-40B4-BE49-F238E27FC236}">
                  <a16:creationId xmlns:a16="http://schemas.microsoft.com/office/drawing/2014/main" id="{312C56EE-F105-4DB8-9BC9-B0D9C8D93AD1}"/>
                </a:ext>
              </a:extLst>
            </p:cNvPr>
            <p:cNvSpPr/>
            <p:nvPr/>
          </p:nvSpPr>
          <p:spPr>
            <a:xfrm>
              <a:off x="4382198" y="1169965"/>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5" name="Freeform: Shape 2224">
              <a:extLst>
                <a:ext uri="{FF2B5EF4-FFF2-40B4-BE49-F238E27FC236}">
                  <a16:creationId xmlns:a16="http://schemas.microsoft.com/office/drawing/2014/main" id="{B595382A-AD8C-4A31-93A1-B9D1D4AA756B}"/>
                </a:ext>
              </a:extLst>
            </p:cNvPr>
            <p:cNvSpPr/>
            <p:nvPr/>
          </p:nvSpPr>
          <p:spPr>
            <a:xfrm>
              <a:off x="4814136" y="1155803"/>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6" name="Freeform: Shape 2225">
              <a:extLst>
                <a:ext uri="{FF2B5EF4-FFF2-40B4-BE49-F238E27FC236}">
                  <a16:creationId xmlns:a16="http://schemas.microsoft.com/office/drawing/2014/main" id="{E1CEF3D8-141C-47B9-B4E2-016D5C165E70}"/>
                </a:ext>
              </a:extLst>
            </p:cNvPr>
            <p:cNvSpPr/>
            <p:nvPr/>
          </p:nvSpPr>
          <p:spPr>
            <a:xfrm>
              <a:off x="4175279" y="889559"/>
              <a:ext cx="56648" cy="56648"/>
            </a:xfrm>
            <a:custGeom>
              <a:avLst/>
              <a:gdLst>
                <a:gd name="connsiteX0" fmla="*/ 32938 w 56647"/>
                <a:gd name="connsiteY0" fmla="*/ 49778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8"/>
                  </a:moveTo>
                  <a:cubicBezTo>
                    <a:pt x="42852" y="49778"/>
                    <a:pt x="49933" y="41280"/>
                    <a:pt x="49933" y="32783"/>
                  </a:cubicBezTo>
                  <a:cubicBezTo>
                    <a:pt x="49933" y="22870"/>
                    <a:pt x="41435" y="15789"/>
                    <a:pt x="32938" y="15789"/>
                  </a:cubicBezTo>
                  <a:cubicBezTo>
                    <a:pt x="23025" y="15789"/>
                    <a:pt x="15944" y="24286"/>
                    <a:pt x="15944" y="32783"/>
                  </a:cubicBezTo>
                  <a:cubicBezTo>
                    <a:pt x="14528" y="42697"/>
                    <a:pt x="23025" y="49778"/>
                    <a:pt x="32938"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7" name="Freeform: Shape 2226">
              <a:extLst>
                <a:ext uri="{FF2B5EF4-FFF2-40B4-BE49-F238E27FC236}">
                  <a16:creationId xmlns:a16="http://schemas.microsoft.com/office/drawing/2014/main" id="{2A5EF5C9-C812-41ED-9173-C81F7F5E32FB}"/>
                </a:ext>
              </a:extLst>
            </p:cNvPr>
            <p:cNvSpPr/>
            <p:nvPr/>
          </p:nvSpPr>
          <p:spPr>
            <a:xfrm>
              <a:off x="4249076" y="534095"/>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0" y="15789"/>
                    <a:pt x="32783" y="15789"/>
                  </a:cubicBezTo>
                  <a:cubicBezTo>
                    <a:pt x="22870" y="15789"/>
                    <a:pt x="15789" y="24286"/>
                    <a:pt x="15789" y="32783"/>
                  </a:cubicBezTo>
                  <a:cubicBezTo>
                    <a:pt x="15789" y="41280"/>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8" name="Freeform: Shape 2227">
              <a:extLst>
                <a:ext uri="{FF2B5EF4-FFF2-40B4-BE49-F238E27FC236}">
                  <a16:creationId xmlns:a16="http://schemas.microsoft.com/office/drawing/2014/main" id="{96860F0B-20D1-410E-974D-02CF2F57F270}"/>
                </a:ext>
              </a:extLst>
            </p:cNvPr>
            <p:cNvSpPr/>
            <p:nvPr/>
          </p:nvSpPr>
          <p:spPr>
            <a:xfrm>
              <a:off x="3628784" y="705454"/>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9" name="Freeform: Shape 2228">
              <a:extLst>
                <a:ext uri="{FF2B5EF4-FFF2-40B4-BE49-F238E27FC236}">
                  <a16:creationId xmlns:a16="http://schemas.microsoft.com/office/drawing/2014/main" id="{7715ECF0-B893-466F-8A4B-617D7D003DC1}"/>
                </a:ext>
              </a:extLst>
            </p:cNvPr>
            <p:cNvSpPr/>
            <p:nvPr/>
          </p:nvSpPr>
          <p:spPr>
            <a:xfrm>
              <a:off x="3742079" y="800339"/>
              <a:ext cx="42486" cy="42486"/>
            </a:xfrm>
            <a:custGeom>
              <a:avLst/>
              <a:gdLst>
                <a:gd name="connsiteX0" fmla="*/ 32783 w 42485"/>
                <a:gd name="connsiteY0" fmla="*/ 24286 h 42485"/>
                <a:gd name="connsiteX1" fmla="*/ 24286 w 42485"/>
                <a:gd name="connsiteY1" fmla="*/ 32783 h 42485"/>
                <a:gd name="connsiteX2" fmla="*/ 15789 w 42485"/>
                <a:gd name="connsiteY2" fmla="*/ 24286 h 42485"/>
                <a:gd name="connsiteX3" fmla="*/ 24286 w 42485"/>
                <a:gd name="connsiteY3" fmla="*/ 15789 h 42485"/>
                <a:gd name="connsiteX4" fmla="*/ 32783 w 42485"/>
                <a:gd name="connsiteY4" fmla="*/ 2428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3" y="24286"/>
                  </a:moveTo>
                  <a:cubicBezTo>
                    <a:pt x="32783" y="28979"/>
                    <a:pt x="28979" y="32783"/>
                    <a:pt x="24286" y="32783"/>
                  </a:cubicBezTo>
                  <a:cubicBezTo>
                    <a:pt x="19593" y="32783"/>
                    <a:pt x="15789" y="28979"/>
                    <a:pt x="15789" y="24286"/>
                  </a:cubicBezTo>
                  <a:cubicBezTo>
                    <a:pt x="15789" y="19593"/>
                    <a:pt x="19593" y="15789"/>
                    <a:pt x="24286" y="15789"/>
                  </a:cubicBezTo>
                  <a:cubicBezTo>
                    <a:pt x="28979" y="15789"/>
                    <a:pt x="32783" y="19593"/>
                    <a:pt x="32783"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0" name="Freeform: Shape 2229">
              <a:extLst>
                <a:ext uri="{FF2B5EF4-FFF2-40B4-BE49-F238E27FC236}">
                  <a16:creationId xmlns:a16="http://schemas.microsoft.com/office/drawing/2014/main" id="{754A1117-0ADC-42A8-814F-AAE4D712DD2C}"/>
                </a:ext>
              </a:extLst>
            </p:cNvPr>
            <p:cNvSpPr/>
            <p:nvPr/>
          </p:nvSpPr>
          <p:spPr>
            <a:xfrm>
              <a:off x="4047976" y="457621"/>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18621"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1" name="Freeform: Shape 2230">
              <a:extLst>
                <a:ext uri="{FF2B5EF4-FFF2-40B4-BE49-F238E27FC236}">
                  <a16:creationId xmlns:a16="http://schemas.microsoft.com/office/drawing/2014/main" id="{6E9B8223-A49C-4A63-9B1F-67C38E2980D8}"/>
                </a:ext>
              </a:extLst>
            </p:cNvPr>
            <p:cNvSpPr/>
            <p:nvPr/>
          </p:nvSpPr>
          <p:spPr>
            <a:xfrm>
              <a:off x="4219336" y="906553"/>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2" name="Freeform: Shape 2231">
              <a:extLst>
                <a:ext uri="{FF2B5EF4-FFF2-40B4-BE49-F238E27FC236}">
                  <a16:creationId xmlns:a16="http://schemas.microsoft.com/office/drawing/2014/main" id="{A916D99D-2C2E-4A40-BF6D-5466C770B85D}"/>
                </a:ext>
              </a:extLst>
            </p:cNvPr>
            <p:cNvSpPr/>
            <p:nvPr/>
          </p:nvSpPr>
          <p:spPr>
            <a:xfrm>
              <a:off x="4760320" y="358487"/>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1"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3" name="Freeform: Shape 2232">
              <a:extLst>
                <a:ext uri="{FF2B5EF4-FFF2-40B4-BE49-F238E27FC236}">
                  <a16:creationId xmlns:a16="http://schemas.microsoft.com/office/drawing/2014/main" id="{FEFA8139-E0E4-4A59-939A-2FE5E604A00E}"/>
                </a:ext>
              </a:extLst>
            </p:cNvPr>
            <p:cNvSpPr/>
            <p:nvPr/>
          </p:nvSpPr>
          <p:spPr>
            <a:xfrm>
              <a:off x="3929016" y="705454"/>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7205" y="71020"/>
                    <a:pt x="32783"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4" name="Freeform: Shape 2233">
              <a:extLst>
                <a:ext uri="{FF2B5EF4-FFF2-40B4-BE49-F238E27FC236}">
                  <a16:creationId xmlns:a16="http://schemas.microsoft.com/office/drawing/2014/main" id="{A8363CCC-DE63-47F4-87E0-99616DE4CD15}"/>
                </a:ext>
              </a:extLst>
            </p:cNvPr>
            <p:cNvSpPr/>
            <p:nvPr/>
          </p:nvSpPr>
          <p:spPr>
            <a:xfrm>
              <a:off x="4457256" y="1516931"/>
              <a:ext cx="84971" cy="84971"/>
            </a:xfrm>
            <a:custGeom>
              <a:avLst/>
              <a:gdLst>
                <a:gd name="connsiteX0" fmla="*/ 42697 w 84971"/>
                <a:gd name="connsiteY0" fmla="*/ 69604 h 84971"/>
                <a:gd name="connsiteX1" fmla="*/ 69605 w 84971"/>
                <a:gd name="connsiteY1" fmla="*/ 42697 h 84971"/>
                <a:gd name="connsiteX2" fmla="*/ 42697 w 84971"/>
                <a:gd name="connsiteY2" fmla="*/ 15789 h 84971"/>
                <a:gd name="connsiteX3" fmla="*/ 15789 w 84971"/>
                <a:gd name="connsiteY3" fmla="*/ 42697 h 84971"/>
                <a:gd name="connsiteX4" fmla="*/ 42697 w 84971"/>
                <a:gd name="connsiteY4" fmla="*/ 6960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7" y="69604"/>
                  </a:moveTo>
                  <a:cubicBezTo>
                    <a:pt x="58275" y="69604"/>
                    <a:pt x="69605" y="56859"/>
                    <a:pt x="69605" y="42697"/>
                  </a:cubicBezTo>
                  <a:cubicBezTo>
                    <a:pt x="69605" y="27119"/>
                    <a:pt x="56858" y="15789"/>
                    <a:pt x="42697" y="15789"/>
                  </a:cubicBezTo>
                  <a:cubicBezTo>
                    <a:pt x="27119" y="15789"/>
                    <a:pt x="15789" y="28535"/>
                    <a:pt x="15789" y="42697"/>
                  </a:cubicBezTo>
                  <a:cubicBezTo>
                    <a:pt x="15789" y="56859"/>
                    <a:pt x="27119" y="69604"/>
                    <a:pt x="42697" y="6960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5" name="Freeform: Shape 2234">
              <a:extLst>
                <a:ext uri="{FF2B5EF4-FFF2-40B4-BE49-F238E27FC236}">
                  <a16:creationId xmlns:a16="http://schemas.microsoft.com/office/drawing/2014/main" id="{1BEB5DC6-CD7E-4A23-8334-7AC47DB2B9E9}"/>
                </a:ext>
              </a:extLst>
            </p:cNvPr>
            <p:cNvSpPr/>
            <p:nvPr/>
          </p:nvSpPr>
          <p:spPr>
            <a:xfrm>
              <a:off x="5211811" y="514268"/>
              <a:ext cx="42486" cy="42486"/>
            </a:xfrm>
            <a:custGeom>
              <a:avLst/>
              <a:gdLst>
                <a:gd name="connsiteX0" fmla="*/ 24560 w 42485"/>
                <a:gd name="connsiteY0" fmla="*/ 32783 h 42485"/>
                <a:gd name="connsiteX1" fmla="*/ 33058 w 42485"/>
                <a:gd name="connsiteY1" fmla="*/ 24286 h 42485"/>
                <a:gd name="connsiteX2" fmla="*/ 24560 w 42485"/>
                <a:gd name="connsiteY2" fmla="*/ 15789 h 42485"/>
                <a:gd name="connsiteX3" fmla="*/ 16064 w 42485"/>
                <a:gd name="connsiteY3" fmla="*/ 24286 h 42485"/>
                <a:gd name="connsiteX4" fmla="*/ 24560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0" y="32783"/>
                  </a:moveTo>
                  <a:cubicBezTo>
                    <a:pt x="28809" y="32783"/>
                    <a:pt x="33058" y="28535"/>
                    <a:pt x="33058" y="24286"/>
                  </a:cubicBezTo>
                  <a:cubicBezTo>
                    <a:pt x="33058" y="20038"/>
                    <a:pt x="28809" y="15789"/>
                    <a:pt x="24560" y="15789"/>
                  </a:cubicBezTo>
                  <a:cubicBezTo>
                    <a:pt x="20312" y="15789"/>
                    <a:pt x="16064" y="20038"/>
                    <a:pt x="16064" y="24286"/>
                  </a:cubicBezTo>
                  <a:cubicBezTo>
                    <a:pt x="14647" y="28535"/>
                    <a:pt x="18896" y="32783"/>
                    <a:pt x="24560"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6" name="Freeform: Shape 2235">
              <a:extLst>
                <a:ext uri="{FF2B5EF4-FFF2-40B4-BE49-F238E27FC236}">
                  <a16:creationId xmlns:a16="http://schemas.microsoft.com/office/drawing/2014/main" id="{CA555158-9363-4C9F-80AE-F72438166BB9}"/>
                </a:ext>
              </a:extLst>
            </p:cNvPr>
            <p:cNvSpPr/>
            <p:nvPr/>
          </p:nvSpPr>
          <p:spPr>
            <a:xfrm>
              <a:off x="4679598" y="138805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9951"/>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7" name="Freeform: Shape 2236">
              <a:extLst>
                <a:ext uri="{FF2B5EF4-FFF2-40B4-BE49-F238E27FC236}">
                  <a16:creationId xmlns:a16="http://schemas.microsoft.com/office/drawing/2014/main" id="{8330AAB8-3BA8-4063-919E-B02AE504E046}"/>
                </a:ext>
              </a:extLst>
            </p:cNvPr>
            <p:cNvSpPr/>
            <p:nvPr/>
          </p:nvSpPr>
          <p:spPr>
            <a:xfrm>
              <a:off x="4525233" y="858403"/>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8" name="Freeform: Shape 2237">
              <a:extLst>
                <a:ext uri="{FF2B5EF4-FFF2-40B4-BE49-F238E27FC236}">
                  <a16:creationId xmlns:a16="http://schemas.microsoft.com/office/drawing/2014/main" id="{261B7F1B-0981-425E-8D53-5979FFE646FE}"/>
                </a:ext>
              </a:extLst>
            </p:cNvPr>
            <p:cNvSpPr/>
            <p:nvPr/>
          </p:nvSpPr>
          <p:spPr>
            <a:xfrm>
              <a:off x="4804222" y="515685"/>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9"/>
                  </a:cubicBezTo>
                  <a:cubicBezTo>
                    <a:pt x="38448" y="21454"/>
                    <a:pt x="32783" y="15789"/>
                    <a:pt x="27119" y="15789"/>
                  </a:cubicBezTo>
                  <a:cubicBezTo>
                    <a:pt x="21454" y="15789"/>
                    <a:pt x="15789" y="21454"/>
                    <a:pt x="15789" y="27119"/>
                  </a:cubicBezTo>
                  <a:cubicBezTo>
                    <a:pt x="15789" y="32783"/>
                    <a:pt x="21454"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9" name="Freeform: Shape 2238">
              <a:extLst>
                <a:ext uri="{FF2B5EF4-FFF2-40B4-BE49-F238E27FC236}">
                  <a16:creationId xmlns:a16="http://schemas.microsoft.com/office/drawing/2014/main" id="{BE7F3404-FB8C-40C5-9082-506B3B040FFA}"/>
                </a:ext>
              </a:extLst>
            </p:cNvPr>
            <p:cNvSpPr/>
            <p:nvPr/>
          </p:nvSpPr>
          <p:spPr>
            <a:xfrm>
              <a:off x="5056305" y="885310"/>
              <a:ext cx="42486" cy="42486"/>
            </a:xfrm>
            <a:custGeom>
              <a:avLst/>
              <a:gdLst>
                <a:gd name="connsiteX0" fmla="*/ 27118 w 42485"/>
                <a:gd name="connsiteY0" fmla="*/ 38448 h 42485"/>
                <a:gd name="connsiteX1" fmla="*/ 38448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8" y="32783"/>
                    <a:pt x="38448" y="27119"/>
                  </a:cubicBezTo>
                  <a:cubicBezTo>
                    <a:pt x="38448" y="21454"/>
                    <a:pt x="34199" y="15789"/>
                    <a:pt x="27118" y="15789"/>
                  </a:cubicBezTo>
                  <a:cubicBezTo>
                    <a:pt x="21454" y="15789"/>
                    <a:pt x="15789" y="21454"/>
                    <a:pt x="15789" y="27119"/>
                  </a:cubicBezTo>
                  <a:cubicBezTo>
                    <a:pt x="15789" y="34199"/>
                    <a:pt x="20037"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0" name="Freeform: Shape 2239">
              <a:extLst>
                <a:ext uri="{FF2B5EF4-FFF2-40B4-BE49-F238E27FC236}">
                  <a16:creationId xmlns:a16="http://schemas.microsoft.com/office/drawing/2014/main" id="{627FC585-AC4A-4942-BCC7-40F4BF58406D}"/>
                </a:ext>
              </a:extLst>
            </p:cNvPr>
            <p:cNvSpPr/>
            <p:nvPr/>
          </p:nvSpPr>
          <p:spPr>
            <a:xfrm>
              <a:off x="4644085" y="606321"/>
              <a:ext cx="84971" cy="84971"/>
            </a:xfrm>
            <a:custGeom>
              <a:avLst/>
              <a:gdLst>
                <a:gd name="connsiteX0" fmla="*/ 42804 w 84971"/>
                <a:gd name="connsiteY0" fmla="*/ 69604 h 84971"/>
                <a:gd name="connsiteX1" fmla="*/ 69712 w 84971"/>
                <a:gd name="connsiteY1" fmla="*/ 42697 h 84971"/>
                <a:gd name="connsiteX2" fmla="*/ 42804 w 84971"/>
                <a:gd name="connsiteY2" fmla="*/ 15789 h 84971"/>
                <a:gd name="connsiteX3" fmla="*/ 15897 w 84971"/>
                <a:gd name="connsiteY3" fmla="*/ 42697 h 84971"/>
                <a:gd name="connsiteX4" fmla="*/ 42804 w 84971"/>
                <a:gd name="connsiteY4" fmla="*/ 6960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804" y="69604"/>
                  </a:moveTo>
                  <a:cubicBezTo>
                    <a:pt x="58382" y="69604"/>
                    <a:pt x="69712" y="56859"/>
                    <a:pt x="69712" y="42697"/>
                  </a:cubicBezTo>
                  <a:cubicBezTo>
                    <a:pt x="69712" y="27119"/>
                    <a:pt x="56966" y="15789"/>
                    <a:pt x="42804" y="15789"/>
                  </a:cubicBezTo>
                  <a:cubicBezTo>
                    <a:pt x="28642" y="15789"/>
                    <a:pt x="15897" y="28535"/>
                    <a:pt x="15897" y="42697"/>
                  </a:cubicBezTo>
                  <a:cubicBezTo>
                    <a:pt x="14480" y="56859"/>
                    <a:pt x="27226" y="69604"/>
                    <a:pt x="42804" y="6960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1" name="Freeform: Shape 2240">
              <a:extLst>
                <a:ext uri="{FF2B5EF4-FFF2-40B4-BE49-F238E27FC236}">
                  <a16:creationId xmlns:a16="http://schemas.microsoft.com/office/drawing/2014/main" id="{EC3FC1FA-76D0-4839-84D1-BFD7C73111BF}"/>
                </a:ext>
              </a:extLst>
            </p:cNvPr>
            <p:cNvSpPr/>
            <p:nvPr/>
          </p:nvSpPr>
          <p:spPr>
            <a:xfrm>
              <a:off x="4298642" y="1613233"/>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0" y="15789"/>
                    <a:pt x="32783" y="15789"/>
                  </a:cubicBezTo>
                  <a:cubicBezTo>
                    <a:pt x="22870" y="15789"/>
                    <a:pt x="15789" y="24286"/>
                    <a:pt x="15789" y="32783"/>
                  </a:cubicBezTo>
                  <a:cubicBezTo>
                    <a:pt x="15789" y="41280"/>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2" name="Freeform: Shape 2241">
              <a:extLst>
                <a:ext uri="{FF2B5EF4-FFF2-40B4-BE49-F238E27FC236}">
                  <a16:creationId xmlns:a16="http://schemas.microsoft.com/office/drawing/2014/main" id="{8E38CCEC-7F1B-4EFC-929F-735283219048}"/>
                </a:ext>
              </a:extLst>
            </p:cNvPr>
            <p:cNvSpPr/>
            <p:nvPr/>
          </p:nvSpPr>
          <p:spPr>
            <a:xfrm>
              <a:off x="4186763" y="1471613"/>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3" name="Freeform: Shape 2242">
              <a:extLst>
                <a:ext uri="{FF2B5EF4-FFF2-40B4-BE49-F238E27FC236}">
                  <a16:creationId xmlns:a16="http://schemas.microsoft.com/office/drawing/2014/main" id="{F1FC7894-1627-4056-8F9D-EBAEBF3A8153}"/>
                </a:ext>
              </a:extLst>
            </p:cNvPr>
            <p:cNvSpPr/>
            <p:nvPr/>
          </p:nvSpPr>
          <p:spPr>
            <a:xfrm>
              <a:off x="4297226" y="1587741"/>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9951"/>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4" name="Freeform: Shape 2243">
              <a:extLst>
                <a:ext uri="{FF2B5EF4-FFF2-40B4-BE49-F238E27FC236}">
                  <a16:creationId xmlns:a16="http://schemas.microsoft.com/office/drawing/2014/main" id="{84F932E6-62F0-4CD6-ABDF-EF8F33806A51}"/>
                </a:ext>
              </a:extLst>
            </p:cNvPr>
            <p:cNvSpPr/>
            <p:nvPr/>
          </p:nvSpPr>
          <p:spPr>
            <a:xfrm>
              <a:off x="4451591" y="1679793"/>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5" name="Freeform: Shape 2244">
              <a:extLst>
                <a:ext uri="{FF2B5EF4-FFF2-40B4-BE49-F238E27FC236}">
                  <a16:creationId xmlns:a16="http://schemas.microsoft.com/office/drawing/2014/main" id="{AD35139B-664B-4CB0-A5BE-70F7D1F80CCB}"/>
                </a:ext>
              </a:extLst>
            </p:cNvPr>
            <p:cNvSpPr/>
            <p:nvPr/>
          </p:nvSpPr>
          <p:spPr>
            <a:xfrm>
              <a:off x="4918934" y="1264850"/>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9951"/>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6" name="Freeform: Shape 2245">
              <a:extLst>
                <a:ext uri="{FF2B5EF4-FFF2-40B4-BE49-F238E27FC236}">
                  <a16:creationId xmlns:a16="http://schemas.microsoft.com/office/drawing/2014/main" id="{632B3E84-7586-4568-A32F-7689F589EBC7}"/>
                </a:ext>
              </a:extLst>
            </p:cNvPr>
            <p:cNvSpPr/>
            <p:nvPr/>
          </p:nvSpPr>
          <p:spPr>
            <a:xfrm>
              <a:off x="4911853" y="122661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7" name="Freeform: Shape 2246">
              <a:extLst>
                <a:ext uri="{FF2B5EF4-FFF2-40B4-BE49-F238E27FC236}">
                  <a16:creationId xmlns:a16="http://schemas.microsoft.com/office/drawing/2014/main" id="{45F7610C-E27F-4128-BA94-C2A7791C6624}"/>
                </a:ext>
              </a:extLst>
            </p:cNvPr>
            <p:cNvSpPr/>
            <p:nvPr/>
          </p:nvSpPr>
          <p:spPr>
            <a:xfrm>
              <a:off x="4069219" y="103825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8" name="Freeform: Shape 2247">
              <a:extLst>
                <a:ext uri="{FF2B5EF4-FFF2-40B4-BE49-F238E27FC236}">
                  <a16:creationId xmlns:a16="http://schemas.microsoft.com/office/drawing/2014/main" id="{1AE55718-142B-4C48-BEE5-5D77D8550DAC}"/>
                </a:ext>
              </a:extLst>
            </p:cNvPr>
            <p:cNvSpPr/>
            <p:nvPr/>
          </p:nvSpPr>
          <p:spPr>
            <a:xfrm>
              <a:off x="3741924" y="668633"/>
              <a:ext cx="56648" cy="56648"/>
            </a:xfrm>
            <a:custGeom>
              <a:avLst/>
              <a:gdLst>
                <a:gd name="connsiteX0" fmla="*/ 32938 w 56647"/>
                <a:gd name="connsiteY0" fmla="*/ 49778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8"/>
                  </a:moveTo>
                  <a:cubicBezTo>
                    <a:pt x="42852" y="49778"/>
                    <a:pt x="49933" y="41280"/>
                    <a:pt x="49933" y="32783"/>
                  </a:cubicBezTo>
                  <a:cubicBezTo>
                    <a:pt x="49933" y="22870"/>
                    <a:pt x="41435" y="15789"/>
                    <a:pt x="32938" y="15789"/>
                  </a:cubicBezTo>
                  <a:cubicBezTo>
                    <a:pt x="23025" y="15789"/>
                    <a:pt x="15944" y="24286"/>
                    <a:pt x="15944" y="32783"/>
                  </a:cubicBezTo>
                  <a:cubicBezTo>
                    <a:pt x="14528" y="42697"/>
                    <a:pt x="23025" y="49778"/>
                    <a:pt x="32938"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9" name="Freeform: Shape 2248">
              <a:extLst>
                <a:ext uri="{FF2B5EF4-FFF2-40B4-BE49-F238E27FC236}">
                  <a16:creationId xmlns:a16="http://schemas.microsoft.com/office/drawing/2014/main" id="{A097CCE8-5B02-4460-8A42-0E1E75B89FF0}"/>
                </a:ext>
              </a:extLst>
            </p:cNvPr>
            <p:cNvSpPr/>
            <p:nvPr/>
          </p:nvSpPr>
          <p:spPr>
            <a:xfrm>
              <a:off x="3887672" y="515685"/>
              <a:ext cx="42486" cy="42486"/>
            </a:xfrm>
            <a:custGeom>
              <a:avLst/>
              <a:gdLst>
                <a:gd name="connsiteX0" fmla="*/ 24561 w 42485"/>
                <a:gd name="connsiteY0" fmla="*/ 32783 h 42485"/>
                <a:gd name="connsiteX1" fmla="*/ 33058 w 42485"/>
                <a:gd name="connsiteY1" fmla="*/ 24286 h 42485"/>
                <a:gd name="connsiteX2" fmla="*/ 24561 w 42485"/>
                <a:gd name="connsiteY2" fmla="*/ 15789 h 42485"/>
                <a:gd name="connsiteX3" fmla="*/ 16063 w 42485"/>
                <a:gd name="connsiteY3" fmla="*/ 24286 h 42485"/>
                <a:gd name="connsiteX4" fmla="*/ 24561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1" y="32783"/>
                  </a:moveTo>
                  <a:cubicBezTo>
                    <a:pt x="28809" y="32783"/>
                    <a:pt x="33058" y="28535"/>
                    <a:pt x="33058" y="24286"/>
                  </a:cubicBezTo>
                  <a:cubicBezTo>
                    <a:pt x="33058" y="20038"/>
                    <a:pt x="28809" y="15789"/>
                    <a:pt x="24561" y="15789"/>
                  </a:cubicBezTo>
                  <a:cubicBezTo>
                    <a:pt x="20312" y="15789"/>
                    <a:pt x="16063" y="20038"/>
                    <a:pt x="16063" y="24286"/>
                  </a:cubicBezTo>
                  <a:cubicBezTo>
                    <a:pt x="14647" y="29951"/>
                    <a:pt x="18896" y="32783"/>
                    <a:pt x="24561"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0" name="Freeform: Shape 2249">
              <a:extLst>
                <a:ext uri="{FF2B5EF4-FFF2-40B4-BE49-F238E27FC236}">
                  <a16:creationId xmlns:a16="http://schemas.microsoft.com/office/drawing/2014/main" id="{B5E73FD1-2BDE-4CD3-85A9-98A8C7CAB25E}"/>
                </a:ext>
              </a:extLst>
            </p:cNvPr>
            <p:cNvSpPr/>
            <p:nvPr/>
          </p:nvSpPr>
          <p:spPr>
            <a:xfrm>
              <a:off x="4621534" y="332996"/>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9951" y="15789"/>
                    <a:pt x="24286" y="15789"/>
                  </a:cubicBezTo>
                  <a:cubicBezTo>
                    <a:pt x="18622"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1" name="Freeform: Shape 2250">
              <a:extLst>
                <a:ext uri="{FF2B5EF4-FFF2-40B4-BE49-F238E27FC236}">
                  <a16:creationId xmlns:a16="http://schemas.microsoft.com/office/drawing/2014/main" id="{4EC8CCFC-9A22-4C82-93E2-83A3BF8EACC9}"/>
                </a:ext>
              </a:extLst>
            </p:cNvPr>
            <p:cNvSpPr/>
            <p:nvPr/>
          </p:nvSpPr>
          <p:spPr>
            <a:xfrm>
              <a:off x="5035062" y="385395"/>
              <a:ext cx="42486" cy="42486"/>
            </a:xfrm>
            <a:custGeom>
              <a:avLst/>
              <a:gdLst>
                <a:gd name="connsiteX0" fmla="*/ 21454 w 42485"/>
                <a:gd name="connsiteY0" fmla="*/ 27119 h 42485"/>
                <a:gd name="connsiteX1" fmla="*/ 27118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8" y="24286"/>
                    <a:pt x="27118" y="21454"/>
                  </a:cubicBezTo>
                  <a:cubicBezTo>
                    <a:pt x="27118" y="18621"/>
                    <a:pt x="24286" y="15789"/>
                    <a:pt x="21454" y="15789"/>
                  </a:cubicBezTo>
                  <a:cubicBezTo>
                    <a:pt x="18621" y="15789"/>
                    <a:pt x="15789" y="18621"/>
                    <a:pt x="15789" y="21454"/>
                  </a:cubicBezTo>
                  <a:cubicBezTo>
                    <a:pt x="15789" y="24286"/>
                    <a:pt x="18621"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2" name="Freeform: Shape 2251">
              <a:extLst>
                <a:ext uri="{FF2B5EF4-FFF2-40B4-BE49-F238E27FC236}">
                  <a16:creationId xmlns:a16="http://schemas.microsoft.com/office/drawing/2014/main" id="{7A17DEF3-7142-429D-A7D6-085523E9429A}"/>
                </a:ext>
              </a:extLst>
            </p:cNvPr>
            <p:cNvSpPr/>
            <p:nvPr/>
          </p:nvSpPr>
          <p:spPr>
            <a:xfrm>
              <a:off x="4804222" y="342909"/>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2" y="15789"/>
                    <a:pt x="15789" y="18621"/>
                    <a:pt x="15789" y="21454"/>
                  </a:cubicBezTo>
                  <a:cubicBezTo>
                    <a:pt x="15789" y="25702"/>
                    <a:pt x="18622"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3" name="Freeform: Shape 2252">
              <a:extLst>
                <a:ext uri="{FF2B5EF4-FFF2-40B4-BE49-F238E27FC236}">
                  <a16:creationId xmlns:a16="http://schemas.microsoft.com/office/drawing/2014/main" id="{4CC13D56-F2FA-42BF-997E-EAB8D8010B6F}"/>
                </a:ext>
              </a:extLst>
            </p:cNvPr>
            <p:cNvSpPr/>
            <p:nvPr/>
          </p:nvSpPr>
          <p:spPr>
            <a:xfrm>
              <a:off x="4427464" y="597766"/>
              <a:ext cx="70810" cy="70810"/>
            </a:xfrm>
            <a:custGeom>
              <a:avLst/>
              <a:gdLst>
                <a:gd name="connsiteX0" fmla="*/ 63997 w 70809"/>
                <a:gd name="connsiteY0" fmla="*/ 39887 h 70809"/>
                <a:gd name="connsiteX1" fmla="*/ 39955 w 70809"/>
                <a:gd name="connsiteY1" fmla="*/ 63996 h 70809"/>
                <a:gd name="connsiteX2" fmla="*/ 15846 w 70809"/>
                <a:gd name="connsiteY2" fmla="*/ 39955 h 70809"/>
                <a:gd name="connsiteX3" fmla="*/ 39887 w 70809"/>
                <a:gd name="connsiteY3" fmla="*/ 15846 h 70809"/>
                <a:gd name="connsiteX4" fmla="*/ 63997 w 70809"/>
                <a:gd name="connsiteY4" fmla="*/ 3988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3997" y="39887"/>
                  </a:moveTo>
                  <a:cubicBezTo>
                    <a:pt x="64015" y="53183"/>
                    <a:pt x="53252" y="63977"/>
                    <a:pt x="39955" y="63996"/>
                  </a:cubicBezTo>
                  <a:cubicBezTo>
                    <a:pt x="26659" y="64015"/>
                    <a:pt x="15865" y="53252"/>
                    <a:pt x="15846" y="39955"/>
                  </a:cubicBezTo>
                  <a:cubicBezTo>
                    <a:pt x="15827" y="26659"/>
                    <a:pt x="26590" y="15865"/>
                    <a:pt x="39887" y="15846"/>
                  </a:cubicBezTo>
                  <a:cubicBezTo>
                    <a:pt x="53183" y="15827"/>
                    <a:pt x="63978" y="26590"/>
                    <a:pt x="63997" y="3988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4" name="Freeform: Shape 2253">
              <a:extLst>
                <a:ext uri="{FF2B5EF4-FFF2-40B4-BE49-F238E27FC236}">
                  <a16:creationId xmlns:a16="http://schemas.microsoft.com/office/drawing/2014/main" id="{41E8F364-1A9A-4883-8A9C-19F5678BC7D7}"/>
                </a:ext>
              </a:extLst>
            </p:cNvPr>
            <p:cNvSpPr/>
            <p:nvPr/>
          </p:nvSpPr>
          <p:spPr>
            <a:xfrm>
              <a:off x="4491244" y="553922"/>
              <a:ext cx="70810" cy="70810"/>
            </a:xfrm>
            <a:custGeom>
              <a:avLst/>
              <a:gdLst>
                <a:gd name="connsiteX0" fmla="*/ 39864 w 70809"/>
                <a:gd name="connsiteY0" fmla="*/ 63939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40" y="52610"/>
                    <a:pt x="63940" y="39864"/>
                  </a:cubicBezTo>
                  <a:cubicBezTo>
                    <a:pt x="63940" y="27119"/>
                    <a:pt x="52610" y="15789"/>
                    <a:pt x="39864" y="15789"/>
                  </a:cubicBezTo>
                  <a:cubicBezTo>
                    <a:pt x="27119" y="15789"/>
                    <a:pt x="15789" y="27119"/>
                    <a:pt x="15789" y="39864"/>
                  </a:cubicBezTo>
                  <a:cubicBezTo>
                    <a:pt x="17205" y="54026"/>
                    <a:pt x="27119" y="63939"/>
                    <a:pt x="3986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5" name="Freeform: Shape 2254">
              <a:extLst>
                <a:ext uri="{FF2B5EF4-FFF2-40B4-BE49-F238E27FC236}">
                  <a16:creationId xmlns:a16="http://schemas.microsoft.com/office/drawing/2014/main" id="{81CDEE26-3E3E-432A-9C89-ADEF16C92060}"/>
                </a:ext>
              </a:extLst>
            </p:cNvPr>
            <p:cNvSpPr/>
            <p:nvPr/>
          </p:nvSpPr>
          <p:spPr>
            <a:xfrm>
              <a:off x="4686460" y="1137392"/>
              <a:ext cx="42486" cy="42486"/>
            </a:xfrm>
            <a:custGeom>
              <a:avLst/>
              <a:gdLst>
                <a:gd name="connsiteX0" fmla="*/ 27337 w 42485"/>
                <a:gd name="connsiteY0" fmla="*/ 38448 h 42485"/>
                <a:gd name="connsiteX1" fmla="*/ 38667 w 42485"/>
                <a:gd name="connsiteY1" fmla="*/ 27119 h 42485"/>
                <a:gd name="connsiteX2" fmla="*/ 27337 w 42485"/>
                <a:gd name="connsiteY2" fmla="*/ 15789 h 42485"/>
                <a:gd name="connsiteX3" fmla="*/ 16007 w 42485"/>
                <a:gd name="connsiteY3" fmla="*/ 27119 h 42485"/>
                <a:gd name="connsiteX4" fmla="*/ 27337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8448"/>
                  </a:moveTo>
                  <a:cubicBezTo>
                    <a:pt x="34418" y="38448"/>
                    <a:pt x="38667" y="32783"/>
                    <a:pt x="38667" y="27119"/>
                  </a:cubicBezTo>
                  <a:cubicBezTo>
                    <a:pt x="38667" y="20038"/>
                    <a:pt x="33002" y="15789"/>
                    <a:pt x="27337" y="15789"/>
                  </a:cubicBezTo>
                  <a:cubicBezTo>
                    <a:pt x="20256" y="15789"/>
                    <a:pt x="16007" y="21454"/>
                    <a:pt x="16007" y="27119"/>
                  </a:cubicBezTo>
                  <a:cubicBezTo>
                    <a:pt x="14591" y="32783"/>
                    <a:pt x="20256" y="38448"/>
                    <a:pt x="27337"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6" name="Freeform: Shape 2255">
              <a:extLst>
                <a:ext uri="{FF2B5EF4-FFF2-40B4-BE49-F238E27FC236}">
                  <a16:creationId xmlns:a16="http://schemas.microsoft.com/office/drawing/2014/main" id="{08CDBB62-FC4A-4946-89CB-AEA3F43892CF}"/>
                </a:ext>
              </a:extLst>
            </p:cNvPr>
            <p:cNvSpPr/>
            <p:nvPr/>
          </p:nvSpPr>
          <p:spPr>
            <a:xfrm>
              <a:off x="5372115" y="490193"/>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5789" y="38448"/>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7" name="Freeform: Shape 2256">
              <a:extLst>
                <a:ext uri="{FF2B5EF4-FFF2-40B4-BE49-F238E27FC236}">
                  <a16:creationId xmlns:a16="http://schemas.microsoft.com/office/drawing/2014/main" id="{BD5DB8FD-9192-4DEA-93CD-15D7C7E38D43}"/>
                </a:ext>
              </a:extLst>
            </p:cNvPr>
            <p:cNvSpPr/>
            <p:nvPr/>
          </p:nvSpPr>
          <p:spPr>
            <a:xfrm>
              <a:off x="5101623" y="1507018"/>
              <a:ext cx="42486" cy="42486"/>
            </a:xfrm>
            <a:custGeom>
              <a:avLst/>
              <a:gdLst>
                <a:gd name="connsiteX0" fmla="*/ 32783 w 42485"/>
                <a:gd name="connsiteY0" fmla="*/ 24286 h 42485"/>
                <a:gd name="connsiteX1" fmla="*/ 24286 w 42485"/>
                <a:gd name="connsiteY1" fmla="*/ 32783 h 42485"/>
                <a:gd name="connsiteX2" fmla="*/ 15789 w 42485"/>
                <a:gd name="connsiteY2" fmla="*/ 24286 h 42485"/>
                <a:gd name="connsiteX3" fmla="*/ 24286 w 42485"/>
                <a:gd name="connsiteY3" fmla="*/ 15789 h 42485"/>
                <a:gd name="connsiteX4" fmla="*/ 32783 w 42485"/>
                <a:gd name="connsiteY4" fmla="*/ 2428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3" y="24286"/>
                  </a:moveTo>
                  <a:cubicBezTo>
                    <a:pt x="32783" y="28979"/>
                    <a:pt x="28979" y="32783"/>
                    <a:pt x="24286" y="32783"/>
                  </a:cubicBezTo>
                  <a:cubicBezTo>
                    <a:pt x="19593" y="32783"/>
                    <a:pt x="15789" y="28979"/>
                    <a:pt x="15789" y="24286"/>
                  </a:cubicBezTo>
                  <a:cubicBezTo>
                    <a:pt x="15789" y="19593"/>
                    <a:pt x="19593" y="15789"/>
                    <a:pt x="24286" y="15789"/>
                  </a:cubicBezTo>
                  <a:cubicBezTo>
                    <a:pt x="28979" y="15789"/>
                    <a:pt x="32783" y="19593"/>
                    <a:pt x="32783"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8" name="Freeform: Shape 2257">
              <a:extLst>
                <a:ext uri="{FF2B5EF4-FFF2-40B4-BE49-F238E27FC236}">
                  <a16:creationId xmlns:a16="http://schemas.microsoft.com/office/drawing/2014/main" id="{14115E49-D346-47AF-ACCC-43A956D45406}"/>
                </a:ext>
              </a:extLst>
            </p:cNvPr>
            <p:cNvSpPr/>
            <p:nvPr/>
          </p:nvSpPr>
          <p:spPr>
            <a:xfrm>
              <a:off x="5321132" y="1419214"/>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4200" y="38448"/>
                    <a:pt x="38448" y="32783"/>
                    <a:pt x="38448" y="27119"/>
                  </a:cubicBezTo>
                  <a:cubicBezTo>
                    <a:pt x="38448" y="20038"/>
                    <a:pt x="32783" y="15789"/>
                    <a:pt x="27119" y="15789"/>
                  </a:cubicBezTo>
                  <a:cubicBezTo>
                    <a:pt x="21454" y="15789"/>
                    <a:pt x="15789" y="21454"/>
                    <a:pt x="15789" y="27119"/>
                  </a:cubicBezTo>
                  <a:cubicBezTo>
                    <a:pt x="15789" y="32783"/>
                    <a:pt x="21454"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9" name="Freeform: Shape 2258">
              <a:extLst>
                <a:ext uri="{FF2B5EF4-FFF2-40B4-BE49-F238E27FC236}">
                  <a16:creationId xmlns:a16="http://schemas.microsoft.com/office/drawing/2014/main" id="{C33A55FB-0311-493F-9748-403ADECCCE99}"/>
                </a:ext>
              </a:extLst>
            </p:cNvPr>
            <p:cNvSpPr/>
            <p:nvPr/>
          </p:nvSpPr>
          <p:spPr>
            <a:xfrm>
              <a:off x="5277230" y="1498521"/>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1280"/>
                    <a:pt x="49778" y="32783"/>
                  </a:cubicBezTo>
                  <a:cubicBezTo>
                    <a:pt x="49778" y="22870"/>
                    <a:pt x="41281" y="15789"/>
                    <a:pt x="32783" y="15789"/>
                  </a:cubicBezTo>
                  <a:cubicBezTo>
                    <a:pt x="22870" y="15789"/>
                    <a:pt x="15789" y="24286"/>
                    <a:pt x="15789" y="32783"/>
                  </a:cubicBezTo>
                  <a:cubicBezTo>
                    <a:pt x="15789" y="41280"/>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0" name="Freeform: Shape 2259">
              <a:extLst>
                <a:ext uri="{FF2B5EF4-FFF2-40B4-BE49-F238E27FC236}">
                  <a16:creationId xmlns:a16="http://schemas.microsoft.com/office/drawing/2014/main" id="{7514106A-6BF8-4797-98E6-356750753F76}"/>
                </a:ext>
              </a:extLst>
            </p:cNvPr>
            <p:cNvSpPr/>
            <p:nvPr/>
          </p:nvSpPr>
          <p:spPr>
            <a:xfrm>
              <a:off x="5131088" y="1433376"/>
              <a:ext cx="42486" cy="42486"/>
            </a:xfrm>
            <a:custGeom>
              <a:avLst/>
              <a:gdLst>
                <a:gd name="connsiteX0" fmla="*/ 24561 w 42485"/>
                <a:gd name="connsiteY0" fmla="*/ 32783 h 42485"/>
                <a:gd name="connsiteX1" fmla="*/ 33058 w 42485"/>
                <a:gd name="connsiteY1" fmla="*/ 24286 h 42485"/>
                <a:gd name="connsiteX2" fmla="*/ 24561 w 42485"/>
                <a:gd name="connsiteY2" fmla="*/ 15789 h 42485"/>
                <a:gd name="connsiteX3" fmla="*/ 16064 w 42485"/>
                <a:gd name="connsiteY3" fmla="*/ 24286 h 42485"/>
                <a:gd name="connsiteX4" fmla="*/ 24561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1" y="32783"/>
                  </a:moveTo>
                  <a:cubicBezTo>
                    <a:pt x="28809" y="32783"/>
                    <a:pt x="33058" y="28535"/>
                    <a:pt x="33058" y="24286"/>
                  </a:cubicBezTo>
                  <a:cubicBezTo>
                    <a:pt x="33058" y="20038"/>
                    <a:pt x="28809" y="15789"/>
                    <a:pt x="24561" y="15789"/>
                  </a:cubicBezTo>
                  <a:cubicBezTo>
                    <a:pt x="20312" y="15789"/>
                    <a:pt x="16064" y="20038"/>
                    <a:pt x="16064" y="24286"/>
                  </a:cubicBezTo>
                  <a:cubicBezTo>
                    <a:pt x="14647" y="28535"/>
                    <a:pt x="18896" y="32783"/>
                    <a:pt x="24561"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1" name="Freeform: Shape 2260">
              <a:extLst>
                <a:ext uri="{FF2B5EF4-FFF2-40B4-BE49-F238E27FC236}">
                  <a16:creationId xmlns:a16="http://schemas.microsoft.com/office/drawing/2014/main" id="{492484D3-5A6F-4552-9088-C3AA791E072C}"/>
                </a:ext>
              </a:extLst>
            </p:cNvPr>
            <p:cNvSpPr/>
            <p:nvPr/>
          </p:nvSpPr>
          <p:spPr>
            <a:xfrm>
              <a:off x="5162519" y="1545255"/>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9951"/>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2" name="Freeform: Shape 2261">
              <a:extLst>
                <a:ext uri="{FF2B5EF4-FFF2-40B4-BE49-F238E27FC236}">
                  <a16:creationId xmlns:a16="http://schemas.microsoft.com/office/drawing/2014/main" id="{DAE8D086-D268-4F01-8EBE-FE47B11B6E5C}"/>
                </a:ext>
              </a:extLst>
            </p:cNvPr>
            <p:cNvSpPr/>
            <p:nvPr/>
          </p:nvSpPr>
          <p:spPr>
            <a:xfrm>
              <a:off x="3380950" y="681379"/>
              <a:ext cx="70810" cy="70810"/>
            </a:xfrm>
            <a:custGeom>
              <a:avLst/>
              <a:gdLst>
                <a:gd name="connsiteX0" fmla="*/ 39864 w 70809"/>
                <a:gd name="connsiteY0" fmla="*/ 63939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40" y="52610"/>
                    <a:pt x="63940" y="39864"/>
                  </a:cubicBezTo>
                  <a:cubicBezTo>
                    <a:pt x="63940" y="27119"/>
                    <a:pt x="52610" y="15789"/>
                    <a:pt x="39864" y="15789"/>
                  </a:cubicBezTo>
                  <a:cubicBezTo>
                    <a:pt x="27119" y="15789"/>
                    <a:pt x="15789" y="27119"/>
                    <a:pt x="15789" y="39864"/>
                  </a:cubicBezTo>
                  <a:cubicBezTo>
                    <a:pt x="15789" y="54026"/>
                    <a:pt x="27119" y="63939"/>
                    <a:pt x="3986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3" name="Freeform: Shape 2262">
              <a:extLst>
                <a:ext uri="{FF2B5EF4-FFF2-40B4-BE49-F238E27FC236}">
                  <a16:creationId xmlns:a16="http://schemas.microsoft.com/office/drawing/2014/main" id="{1A78866F-1374-44B9-8921-257E19D2B14B}"/>
                </a:ext>
              </a:extLst>
            </p:cNvPr>
            <p:cNvSpPr/>
            <p:nvPr/>
          </p:nvSpPr>
          <p:spPr>
            <a:xfrm>
              <a:off x="3301644" y="457621"/>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5789" y="46945"/>
                    <a:pt x="24286"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4" name="Freeform: Shape 2263">
              <a:extLst>
                <a:ext uri="{FF2B5EF4-FFF2-40B4-BE49-F238E27FC236}">
                  <a16:creationId xmlns:a16="http://schemas.microsoft.com/office/drawing/2014/main" id="{A2C2E2B2-BF57-4C29-A48B-CCB08236E1AD}"/>
                </a:ext>
              </a:extLst>
            </p:cNvPr>
            <p:cNvSpPr/>
            <p:nvPr/>
          </p:nvSpPr>
          <p:spPr>
            <a:xfrm>
              <a:off x="3698177" y="39247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0" y="15789"/>
                    <a:pt x="32783" y="15789"/>
                  </a:cubicBezTo>
                  <a:cubicBezTo>
                    <a:pt x="22870" y="15789"/>
                    <a:pt x="15789" y="24286"/>
                    <a:pt x="15789" y="32783"/>
                  </a:cubicBezTo>
                  <a:cubicBezTo>
                    <a:pt x="15789" y="41280"/>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5" name="Freeform: Shape 2264">
              <a:extLst>
                <a:ext uri="{FF2B5EF4-FFF2-40B4-BE49-F238E27FC236}">
                  <a16:creationId xmlns:a16="http://schemas.microsoft.com/office/drawing/2014/main" id="{75F2984B-33A3-41C8-AF07-185348485B70}"/>
                </a:ext>
              </a:extLst>
            </p:cNvPr>
            <p:cNvSpPr/>
            <p:nvPr/>
          </p:nvSpPr>
          <p:spPr>
            <a:xfrm>
              <a:off x="3216672" y="70403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9951"/>
                    <a:pt x="18621"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6" name="Freeform: Shape 2265">
              <a:extLst>
                <a:ext uri="{FF2B5EF4-FFF2-40B4-BE49-F238E27FC236}">
                  <a16:creationId xmlns:a16="http://schemas.microsoft.com/office/drawing/2014/main" id="{0C0B7BF9-03C1-4A6F-9879-8F9156A6D141}"/>
                </a:ext>
              </a:extLst>
            </p:cNvPr>
            <p:cNvSpPr/>
            <p:nvPr/>
          </p:nvSpPr>
          <p:spPr>
            <a:xfrm>
              <a:off x="2949012" y="647390"/>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7" name="Freeform: Shape 2266">
              <a:extLst>
                <a:ext uri="{FF2B5EF4-FFF2-40B4-BE49-F238E27FC236}">
                  <a16:creationId xmlns:a16="http://schemas.microsoft.com/office/drawing/2014/main" id="{B467E1CC-9847-4C32-8AEF-83CB45F13F8A}"/>
                </a:ext>
              </a:extLst>
            </p:cNvPr>
            <p:cNvSpPr/>
            <p:nvPr/>
          </p:nvSpPr>
          <p:spPr>
            <a:xfrm>
              <a:off x="3329967" y="682795"/>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8" name="Freeform: Shape 2267">
              <a:extLst>
                <a:ext uri="{FF2B5EF4-FFF2-40B4-BE49-F238E27FC236}">
                  <a16:creationId xmlns:a16="http://schemas.microsoft.com/office/drawing/2014/main" id="{A598BBDE-84D9-4F03-8877-C92D2F81B786}"/>
                </a:ext>
              </a:extLst>
            </p:cNvPr>
            <p:cNvSpPr/>
            <p:nvPr/>
          </p:nvSpPr>
          <p:spPr>
            <a:xfrm>
              <a:off x="3366788" y="46611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9951"/>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9" name="Freeform: Shape 2268">
              <a:extLst>
                <a:ext uri="{FF2B5EF4-FFF2-40B4-BE49-F238E27FC236}">
                  <a16:creationId xmlns:a16="http://schemas.microsoft.com/office/drawing/2014/main" id="{50A48A6A-CA42-491E-8124-8A66233E54E4}"/>
                </a:ext>
              </a:extLst>
            </p:cNvPr>
            <p:cNvSpPr/>
            <p:nvPr/>
          </p:nvSpPr>
          <p:spPr>
            <a:xfrm>
              <a:off x="3009908" y="518517"/>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5789" y="45529"/>
                    <a:pt x="24286"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0" name="Freeform: Shape 2269">
              <a:extLst>
                <a:ext uri="{FF2B5EF4-FFF2-40B4-BE49-F238E27FC236}">
                  <a16:creationId xmlns:a16="http://schemas.microsoft.com/office/drawing/2014/main" id="{49D6749D-79ED-48EF-BEC1-0256D723F59E}"/>
                </a:ext>
              </a:extLst>
            </p:cNvPr>
            <p:cNvSpPr/>
            <p:nvPr/>
          </p:nvSpPr>
          <p:spPr>
            <a:xfrm>
              <a:off x="3574969" y="570916"/>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1" name="Freeform: Shape 2270">
              <a:extLst>
                <a:ext uri="{FF2B5EF4-FFF2-40B4-BE49-F238E27FC236}">
                  <a16:creationId xmlns:a16="http://schemas.microsoft.com/office/drawing/2014/main" id="{F2325EE2-2461-41C3-876D-B519413FEDAC}"/>
                </a:ext>
              </a:extLst>
            </p:cNvPr>
            <p:cNvSpPr/>
            <p:nvPr/>
          </p:nvSpPr>
          <p:spPr>
            <a:xfrm>
              <a:off x="3691096" y="477447"/>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7205" y="41280"/>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2" name="Freeform: Shape 2271">
              <a:extLst>
                <a:ext uri="{FF2B5EF4-FFF2-40B4-BE49-F238E27FC236}">
                  <a16:creationId xmlns:a16="http://schemas.microsoft.com/office/drawing/2014/main" id="{2FA99211-C8D0-49E7-A1E9-AF9A59A482D7}"/>
                </a:ext>
              </a:extLst>
            </p:cNvPr>
            <p:cNvSpPr/>
            <p:nvPr/>
          </p:nvSpPr>
          <p:spPr>
            <a:xfrm>
              <a:off x="3148695" y="596407"/>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3" name="Freeform: Shape 2272">
              <a:extLst>
                <a:ext uri="{FF2B5EF4-FFF2-40B4-BE49-F238E27FC236}">
                  <a16:creationId xmlns:a16="http://schemas.microsoft.com/office/drawing/2014/main" id="{AD098A3C-F0C8-4C31-B699-457DEFE2DEE5}"/>
                </a:ext>
              </a:extLst>
            </p:cNvPr>
            <p:cNvSpPr/>
            <p:nvPr/>
          </p:nvSpPr>
          <p:spPr>
            <a:xfrm>
              <a:off x="3373869" y="568084"/>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4" name="Freeform: Shape 2273">
              <a:extLst>
                <a:ext uri="{FF2B5EF4-FFF2-40B4-BE49-F238E27FC236}">
                  <a16:creationId xmlns:a16="http://schemas.microsoft.com/office/drawing/2014/main" id="{598E9B0B-73F5-42E9-95A1-A39C59C48A1D}"/>
                </a:ext>
              </a:extLst>
            </p:cNvPr>
            <p:cNvSpPr/>
            <p:nvPr/>
          </p:nvSpPr>
          <p:spPr>
            <a:xfrm>
              <a:off x="3267655" y="80883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5" name="Freeform: Shape 2274">
              <a:extLst>
                <a:ext uri="{FF2B5EF4-FFF2-40B4-BE49-F238E27FC236}">
                  <a16:creationId xmlns:a16="http://schemas.microsoft.com/office/drawing/2014/main" id="{F19E1027-11BC-4330-BE0A-CE74E823CDE1}"/>
                </a:ext>
              </a:extLst>
            </p:cNvPr>
            <p:cNvSpPr/>
            <p:nvPr/>
          </p:nvSpPr>
          <p:spPr>
            <a:xfrm>
              <a:off x="2798741" y="796090"/>
              <a:ext cx="56648" cy="56648"/>
            </a:xfrm>
            <a:custGeom>
              <a:avLst/>
              <a:gdLst>
                <a:gd name="connsiteX0" fmla="*/ 32938 w 56647"/>
                <a:gd name="connsiteY0" fmla="*/ 49778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8"/>
                  </a:moveTo>
                  <a:cubicBezTo>
                    <a:pt x="42852" y="49778"/>
                    <a:pt x="49933" y="41280"/>
                    <a:pt x="49933" y="32783"/>
                  </a:cubicBezTo>
                  <a:cubicBezTo>
                    <a:pt x="49933" y="22870"/>
                    <a:pt x="41435" y="15789"/>
                    <a:pt x="32938" y="15789"/>
                  </a:cubicBezTo>
                  <a:cubicBezTo>
                    <a:pt x="23025" y="15789"/>
                    <a:pt x="15944" y="24286"/>
                    <a:pt x="15944" y="32783"/>
                  </a:cubicBezTo>
                  <a:cubicBezTo>
                    <a:pt x="14528" y="42697"/>
                    <a:pt x="23025" y="49778"/>
                    <a:pt x="32938"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6" name="Freeform: Shape 2275">
              <a:extLst>
                <a:ext uri="{FF2B5EF4-FFF2-40B4-BE49-F238E27FC236}">
                  <a16:creationId xmlns:a16="http://schemas.microsoft.com/office/drawing/2014/main" id="{31005D99-5D33-48EF-A605-E35C214BF704}"/>
                </a:ext>
              </a:extLst>
            </p:cNvPr>
            <p:cNvSpPr/>
            <p:nvPr/>
          </p:nvSpPr>
          <p:spPr>
            <a:xfrm>
              <a:off x="3165689" y="1117566"/>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18621"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7" name="Freeform: Shape 2276">
              <a:extLst>
                <a:ext uri="{FF2B5EF4-FFF2-40B4-BE49-F238E27FC236}">
                  <a16:creationId xmlns:a16="http://schemas.microsoft.com/office/drawing/2014/main" id="{9A80E055-6CDB-4F9F-9250-E2B28FA6F83E}"/>
                </a:ext>
              </a:extLst>
            </p:cNvPr>
            <p:cNvSpPr/>
            <p:nvPr/>
          </p:nvSpPr>
          <p:spPr>
            <a:xfrm>
              <a:off x="2790124" y="1358318"/>
              <a:ext cx="42486" cy="42486"/>
            </a:xfrm>
            <a:custGeom>
              <a:avLst/>
              <a:gdLst>
                <a:gd name="connsiteX0" fmla="*/ 24561 w 42485"/>
                <a:gd name="connsiteY0" fmla="*/ 32783 h 42485"/>
                <a:gd name="connsiteX1" fmla="*/ 33058 w 42485"/>
                <a:gd name="connsiteY1" fmla="*/ 24286 h 42485"/>
                <a:gd name="connsiteX2" fmla="*/ 24561 w 42485"/>
                <a:gd name="connsiteY2" fmla="*/ 15789 h 42485"/>
                <a:gd name="connsiteX3" fmla="*/ 16063 w 42485"/>
                <a:gd name="connsiteY3" fmla="*/ 24286 h 42485"/>
                <a:gd name="connsiteX4" fmla="*/ 24561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1" y="32783"/>
                  </a:moveTo>
                  <a:cubicBezTo>
                    <a:pt x="28809" y="32783"/>
                    <a:pt x="33058" y="28535"/>
                    <a:pt x="33058" y="24286"/>
                  </a:cubicBezTo>
                  <a:cubicBezTo>
                    <a:pt x="33058" y="20038"/>
                    <a:pt x="28809" y="15789"/>
                    <a:pt x="24561" y="15789"/>
                  </a:cubicBezTo>
                  <a:cubicBezTo>
                    <a:pt x="20312" y="15789"/>
                    <a:pt x="16063" y="20038"/>
                    <a:pt x="16063" y="24286"/>
                  </a:cubicBezTo>
                  <a:cubicBezTo>
                    <a:pt x="14647" y="29951"/>
                    <a:pt x="18896" y="32783"/>
                    <a:pt x="24561"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8" name="Freeform: Shape 2277">
              <a:extLst>
                <a:ext uri="{FF2B5EF4-FFF2-40B4-BE49-F238E27FC236}">
                  <a16:creationId xmlns:a16="http://schemas.microsoft.com/office/drawing/2014/main" id="{5FD4482F-FC8C-4D40-8F0F-05D9F9F61B07}"/>
                </a:ext>
              </a:extLst>
            </p:cNvPr>
            <p:cNvSpPr/>
            <p:nvPr/>
          </p:nvSpPr>
          <p:spPr>
            <a:xfrm>
              <a:off x="3498494" y="1077912"/>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9" name="Freeform: Shape 2278">
              <a:extLst>
                <a:ext uri="{FF2B5EF4-FFF2-40B4-BE49-F238E27FC236}">
                  <a16:creationId xmlns:a16="http://schemas.microsoft.com/office/drawing/2014/main" id="{47E7A09C-9177-4142-9BDF-0195D55D9756}"/>
                </a:ext>
              </a:extLst>
            </p:cNvPr>
            <p:cNvSpPr/>
            <p:nvPr/>
          </p:nvSpPr>
          <p:spPr>
            <a:xfrm>
              <a:off x="3363956" y="1158635"/>
              <a:ext cx="70810" cy="70810"/>
            </a:xfrm>
            <a:custGeom>
              <a:avLst/>
              <a:gdLst>
                <a:gd name="connsiteX0" fmla="*/ 39864 w 70809"/>
                <a:gd name="connsiteY0" fmla="*/ 63940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2610" y="63940"/>
                    <a:pt x="63940" y="52610"/>
                    <a:pt x="63940" y="39864"/>
                  </a:cubicBezTo>
                  <a:cubicBezTo>
                    <a:pt x="63940" y="27119"/>
                    <a:pt x="52610" y="15789"/>
                    <a:pt x="39864" y="15789"/>
                  </a:cubicBezTo>
                  <a:cubicBezTo>
                    <a:pt x="27119" y="15789"/>
                    <a:pt x="15789" y="27119"/>
                    <a:pt x="15789" y="39864"/>
                  </a:cubicBezTo>
                  <a:cubicBezTo>
                    <a:pt x="15789" y="54026"/>
                    <a:pt x="27119"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0" name="Freeform: Shape 2279">
              <a:extLst>
                <a:ext uri="{FF2B5EF4-FFF2-40B4-BE49-F238E27FC236}">
                  <a16:creationId xmlns:a16="http://schemas.microsoft.com/office/drawing/2014/main" id="{2C47291D-FFEF-46F5-B841-E59C49BCB813}"/>
                </a:ext>
              </a:extLst>
            </p:cNvPr>
            <p:cNvSpPr/>
            <p:nvPr/>
          </p:nvSpPr>
          <p:spPr>
            <a:xfrm>
              <a:off x="3240473" y="1243607"/>
              <a:ext cx="42486" cy="42486"/>
            </a:xfrm>
            <a:custGeom>
              <a:avLst/>
              <a:gdLst>
                <a:gd name="connsiteX0" fmla="*/ 24561 w 42485"/>
                <a:gd name="connsiteY0" fmla="*/ 32783 h 42485"/>
                <a:gd name="connsiteX1" fmla="*/ 33058 w 42485"/>
                <a:gd name="connsiteY1" fmla="*/ 24286 h 42485"/>
                <a:gd name="connsiteX2" fmla="*/ 24561 w 42485"/>
                <a:gd name="connsiteY2" fmla="*/ 15789 h 42485"/>
                <a:gd name="connsiteX3" fmla="*/ 16064 w 42485"/>
                <a:gd name="connsiteY3" fmla="*/ 24286 h 42485"/>
                <a:gd name="connsiteX4" fmla="*/ 24561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1" y="32783"/>
                  </a:moveTo>
                  <a:cubicBezTo>
                    <a:pt x="28809" y="32783"/>
                    <a:pt x="33058" y="28535"/>
                    <a:pt x="33058" y="24286"/>
                  </a:cubicBezTo>
                  <a:cubicBezTo>
                    <a:pt x="33058" y="20038"/>
                    <a:pt x="28809" y="15789"/>
                    <a:pt x="24561" y="15789"/>
                  </a:cubicBezTo>
                  <a:cubicBezTo>
                    <a:pt x="20312" y="15789"/>
                    <a:pt x="16064" y="20038"/>
                    <a:pt x="16064" y="24286"/>
                  </a:cubicBezTo>
                  <a:cubicBezTo>
                    <a:pt x="14647" y="28535"/>
                    <a:pt x="18896" y="32783"/>
                    <a:pt x="24561"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1" name="Freeform: Shape 2280">
              <a:extLst>
                <a:ext uri="{FF2B5EF4-FFF2-40B4-BE49-F238E27FC236}">
                  <a16:creationId xmlns:a16="http://schemas.microsoft.com/office/drawing/2014/main" id="{33BF751C-302A-4028-9401-E83D45C866EA}"/>
                </a:ext>
              </a:extLst>
            </p:cNvPr>
            <p:cNvSpPr/>
            <p:nvPr/>
          </p:nvSpPr>
          <p:spPr>
            <a:xfrm>
              <a:off x="2913607" y="119120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2" name="Freeform: Shape 2281">
              <a:extLst>
                <a:ext uri="{FF2B5EF4-FFF2-40B4-BE49-F238E27FC236}">
                  <a16:creationId xmlns:a16="http://schemas.microsoft.com/office/drawing/2014/main" id="{D88B09AE-B995-4CF3-8FF0-432D818FA3EA}"/>
                </a:ext>
              </a:extLst>
            </p:cNvPr>
            <p:cNvSpPr/>
            <p:nvPr/>
          </p:nvSpPr>
          <p:spPr>
            <a:xfrm>
              <a:off x="2291899" y="84140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3" name="Freeform: Shape 2282">
              <a:extLst>
                <a:ext uri="{FF2B5EF4-FFF2-40B4-BE49-F238E27FC236}">
                  <a16:creationId xmlns:a16="http://schemas.microsoft.com/office/drawing/2014/main" id="{5087A60D-A58A-4FA0-88E4-724FD19A9DC8}"/>
                </a:ext>
              </a:extLst>
            </p:cNvPr>
            <p:cNvSpPr/>
            <p:nvPr/>
          </p:nvSpPr>
          <p:spPr>
            <a:xfrm>
              <a:off x="2423605" y="66296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4" name="Freeform: Shape 2283">
              <a:extLst>
                <a:ext uri="{FF2B5EF4-FFF2-40B4-BE49-F238E27FC236}">
                  <a16:creationId xmlns:a16="http://schemas.microsoft.com/office/drawing/2014/main" id="{B01EA1B7-32F5-4660-BB21-5F19C046BE10}"/>
                </a:ext>
              </a:extLst>
            </p:cNvPr>
            <p:cNvSpPr/>
            <p:nvPr/>
          </p:nvSpPr>
          <p:spPr>
            <a:xfrm>
              <a:off x="3540980" y="1422047"/>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41280"/>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5" name="Freeform: Shape 2284">
              <a:extLst>
                <a:ext uri="{FF2B5EF4-FFF2-40B4-BE49-F238E27FC236}">
                  <a16:creationId xmlns:a16="http://schemas.microsoft.com/office/drawing/2014/main" id="{3B5F0473-B70B-4EC6-B354-480C1C1894D6}"/>
                </a:ext>
              </a:extLst>
            </p:cNvPr>
            <p:cNvSpPr/>
            <p:nvPr/>
          </p:nvSpPr>
          <p:spPr>
            <a:xfrm>
              <a:off x="3768712" y="1329994"/>
              <a:ext cx="42486" cy="42486"/>
            </a:xfrm>
            <a:custGeom>
              <a:avLst/>
              <a:gdLst>
                <a:gd name="connsiteX0" fmla="*/ 24561 w 42485"/>
                <a:gd name="connsiteY0" fmla="*/ 32783 h 42485"/>
                <a:gd name="connsiteX1" fmla="*/ 33058 w 42485"/>
                <a:gd name="connsiteY1" fmla="*/ 24286 h 42485"/>
                <a:gd name="connsiteX2" fmla="*/ 24561 w 42485"/>
                <a:gd name="connsiteY2" fmla="*/ 15789 h 42485"/>
                <a:gd name="connsiteX3" fmla="*/ 16064 w 42485"/>
                <a:gd name="connsiteY3" fmla="*/ 24286 h 42485"/>
                <a:gd name="connsiteX4" fmla="*/ 24561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1" y="32783"/>
                  </a:moveTo>
                  <a:cubicBezTo>
                    <a:pt x="28809" y="32783"/>
                    <a:pt x="33058" y="28535"/>
                    <a:pt x="33058" y="24286"/>
                  </a:cubicBezTo>
                  <a:cubicBezTo>
                    <a:pt x="33058" y="20038"/>
                    <a:pt x="28809" y="15789"/>
                    <a:pt x="24561" y="15789"/>
                  </a:cubicBezTo>
                  <a:cubicBezTo>
                    <a:pt x="20312" y="15789"/>
                    <a:pt x="16064" y="20038"/>
                    <a:pt x="16064" y="24286"/>
                  </a:cubicBezTo>
                  <a:cubicBezTo>
                    <a:pt x="14647" y="28535"/>
                    <a:pt x="18896" y="32783"/>
                    <a:pt x="24561"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6" name="Freeform: Shape 2285">
              <a:extLst>
                <a:ext uri="{FF2B5EF4-FFF2-40B4-BE49-F238E27FC236}">
                  <a16:creationId xmlns:a16="http://schemas.microsoft.com/office/drawing/2014/main" id="{9C9DB2EA-8211-42F6-B1B9-C63F7F6217CB}"/>
                </a:ext>
              </a:extLst>
            </p:cNvPr>
            <p:cNvSpPr/>
            <p:nvPr/>
          </p:nvSpPr>
          <p:spPr>
            <a:xfrm>
              <a:off x="3685431" y="1508434"/>
              <a:ext cx="70810" cy="70810"/>
            </a:xfrm>
            <a:custGeom>
              <a:avLst/>
              <a:gdLst>
                <a:gd name="connsiteX0" fmla="*/ 38448 w 70809"/>
                <a:gd name="connsiteY0" fmla="*/ 61107 h 70809"/>
                <a:gd name="connsiteX1" fmla="*/ 61107 w 70809"/>
                <a:gd name="connsiteY1" fmla="*/ 38448 h 70809"/>
                <a:gd name="connsiteX2" fmla="*/ 38448 w 70809"/>
                <a:gd name="connsiteY2" fmla="*/ 15789 h 70809"/>
                <a:gd name="connsiteX3" fmla="*/ 15789 w 70809"/>
                <a:gd name="connsiteY3" fmla="*/ 38448 h 70809"/>
                <a:gd name="connsiteX4" fmla="*/ 3844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8" y="61107"/>
                  </a:moveTo>
                  <a:cubicBezTo>
                    <a:pt x="51194" y="61107"/>
                    <a:pt x="61107" y="51194"/>
                    <a:pt x="61107" y="38448"/>
                  </a:cubicBezTo>
                  <a:cubicBezTo>
                    <a:pt x="61107" y="25702"/>
                    <a:pt x="51194" y="15789"/>
                    <a:pt x="38448" y="15789"/>
                  </a:cubicBezTo>
                  <a:cubicBezTo>
                    <a:pt x="25703" y="15789"/>
                    <a:pt x="15789" y="25702"/>
                    <a:pt x="15789" y="38448"/>
                  </a:cubicBezTo>
                  <a:cubicBezTo>
                    <a:pt x="15789" y="51194"/>
                    <a:pt x="25703" y="61107"/>
                    <a:pt x="38448"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7" name="Freeform: Shape 2286">
              <a:extLst>
                <a:ext uri="{FF2B5EF4-FFF2-40B4-BE49-F238E27FC236}">
                  <a16:creationId xmlns:a16="http://schemas.microsoft.com/office/drawing/2014/main" id="{02346402-3553-417E-9F91-0EC2E933A930}"/>
                </a:ext>
              </a:extLst>
            </p:cNvPr>
            <p:cNvSpPr/>
            <p:nvPr/>
          </p:nvSpPr>
          <p:spPr>
            <a:xfrm>
              <a:off x="3652859" y="117846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8" name="Freeform: Shape 2287">
              <a:extLst>
                <a:ext uri="{FF2B5EF4-FFF2-40B4-BE49-F238E27FC236}">
                  <a16:creationId xmlns:a16="http://schemas.microsoft.com/office/drawing/2014/main" id="{F16008FB-5BA2-4D02-B1BD-7F799B12D0FD}"/>
                </a:ext>
              </a:extLst>
            </p:cNvPr>
            <p:cNvSpPr/>
            <p:nvPr/>
          </p:nvSpPr>
          <p:spPr>
            <a:xfrm>
              <a:off x="3604708" y="1574995"/>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9" name="Freeform: Shape 2288">
              <a:extLst>
                <a:ext uri="{FF2B5EF4-FFF2-40B4-BE49-F238E27FC236}">
                  <a16:creationId xmlns:a16="http://schemas.microsoft.com/office/drawing/2014/main" id="{D00488DF-44DD-4DC0-A6D8-68990B4A6C14}"/>
                </a:ext>
              </a:extLst>
            </p:cNvPr>
            <p:cNvSpPr/>
            <p:nvPr/>
          </p:nvSpPr>
          <p:spPr>
            <a:xfrm>
              <a:off x="3538147" y="1134560"/>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0" name="Freeform: Shape 2289">
              <a:extLst>
                <a:ext uri="{FF2B5EF4-FFF2-40B4-BE49-F238E27FC236}">
                  <a16:creationId xmlns:a16="http://schemas.microsoft.com/office/drawing/2014/main" id="{6490BE14-FA3B-43F1-9CAC-E44DBD096B79}"/>
                </a:ext>
              </a:extLst>
            </p:cNvPr>
            <p:cNvSpPr/>
            <p:nvPr/>
          </p:nvSpPr>
          <p:spPr>
            <a:xfrm>
              <a:off x="3805808" y="1440457"/>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1" name="Freeform: Shape 2290">
              <a:extLst>
                <a:ext uri="{FF2B5EF4-FFF2-40B4-BE49-F238E27FC236}">
                  <a16:creationId xmlns:a16="http://schemas.microsoft.com/office/drawing/2014/main" id="{A9B2C11A-D6D0-4865-93B9-9EF4E9EB98C4}"/>
                </a:ext>
              </a:extLst>
            </p:cNvPr>
            <p:cNvSpPr/>
            <p:nvPr/>
          </p:nvSpPr>
          <p:spPr>
            <a:xfrm>
              <a:off x="3242164" y="1059502"/>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18621"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2" name="Freeform: Shape 2291">
              <a:extLst>
                <a:ext uri="{FF2B5EF4-FFF2-40B4-BE49-F238E27FC236}">
                  <a16:creationId xmlns:a16="http://schemas.microsoft.com/office/drawing/2014/main" id="{9ED4407E-C7BB-4F87-A338-5099303521EB}"/>
                </a:ext>
              </a:extLst>
            </p:cNvPr>
            <p:cNvSpPr/>
            <p:nvPr/>
          </p:nvSpPr>
          <p:spPr>
            <a:xfrm>
              <a:off x="3175602" y="973114"/>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3" name="Freeform: Shape 2292">
              <a:extLst>
                <a:ext uri="{FF2B5EF4-FFF2-40B4-BE49-F238E27FC236}">
                  <a16:creationId xmlns:a16="http://schemas.microsoft.com/office/drawing/2014/main" id="{FFD3FAA0-8AD0-46AE-9483-8A15C89ABD3E}"/>
                </a:ext>
              </a:extLst>
            </p:cNvPr>
            <p:cNvSpPr/>
            <p:nvPr/>
          </p:nvSpPr>
          <p:spPr>
            <a:xfrm>
              <a:off x="3205343" y="98727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4" name="Freeform: Shape 2293">
              <a:extLst>
                <a:ext uri="{FF2B5EF4-FFF2-40B4-BE49-F238E27FC236}">
                  <a16:creationId xmlns:a16="http://schemas.microsoft.com/office/drawing/2014/main" id="{0A8FC651-3F37-478C-9A7D-BA3B06D27501}"/>
                </a:ext>
              </a:extLst>
            </p:cNvPr>
            <p:cNvSpPr/>
            <p:nvPr/>
          </p:nvSpPr>
          <p:spPr>
            <a:xfrm>
              <a:off x="3041064" y="1075080"/>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5" name="Freeform: Shape 2294">
              <a:extLst>
                <a:ext uri="{FF2B5EF4-FFF2-40B4-BE49-F238E27FC236}">
                  <a16:creationId xmlns:a16="http://schemas.microsoft.com/office/drawing/2014/main" id="{4E0DE109-B03F-4CC8-9051-49375196770E}"/>
                </a:ext>
              </a:extLst>
            </p:cNvPr>
            <p:cNvSpPr/>
            <p:nvPr/>
          </p:nvSpPr>
          <p:spPr>
            <a:xfrm>
              <a:off x="3184100" y="1240774"/>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6" name="Freeform: Shape 2295">
              <a:extLst>
                <a:ext uri="{FF2B5EF4-FFF2-40B4-BE49-F238E27FC236}">
                  <a16:creationId xmlns:a16="http://schemas.microsoft.com/office/drawing/2014/main" id="{AE947BAF-9407-4660-84E3-3A4A8BFDE320}"/>
                </a:ext>
              </a:extLst>
            </p:cNvPr>
            <p:cNvSpPr/>
            <p:nvPr/>
          </p:nvSpPr>
          <p:spPr>
            <a:xfrm>
              <a:off x="3427685" y="1168549"/>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18621"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7" name="Freeform: Shape 2296">
              <a:extLst>
                <a:ext uri="{FF2B5EF4-FFF2-40B4-BE49-F238E27FC236}">
                  <a16:creationId xmlns:a16="http://schemas.microsoft.com/office/drawing/2014/main" id="{B8609D5E-3678-4405-B4ED-5F6025E22EB3}"/>
                </a:ext>
              </a:extLst>
            </p:cNvPr>
            <p:cNvSpPr/>
            <p:nvPr/>
          </p:nvSpPr>
          <p:spPr>
            <a:xfrm>
              <a:off x="3577801" y="1235110"/>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8" name="Freeform: Shape 2297">
              <a:extLst>
                <a:ext uri="{FF2B5EF4-FFF2-40B4-BE49-F238E27FC236}">
                  <a16:creationId xmlns:a16="http://schemas.microsoft.com/office/drawing/2014/main" id="{0A57531B-BD41-49A2-9D5B-068D4FC1CF69}"/>
                </a:ext>
              </a:extLst>
            </p:cNvPr>
            <p:cNvSpPr/>
            <p:nvPr/>
          </p:nvSpPr>
          <p:spPr>
            <a:xfrm>
              <a:off x="3250661" y="1378145"/>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9" name="Freeform: Shape 2298">
              <a:extLst>
                <a:ext uri="{FF2B5EF4-FFF2-40B4-BE49-F238E27FC236}">
                  <a16:creationId xmlns:a16="http://schemas.microsoft.com/office/drawing/2014/main" id="{F7E8CC10-BB92-4308-898E-ED851D45B7C2}"/>
                </a:ext>
              </a:extLst>
            </p:cNvPr>
            <p:cNvSpPr/>
            <p:nvPr/>
          </p:nvSpPr>
          <p:spPr>
            <a:xfrm>
              <a:off x="3162857" y="1407885"/>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0" name="Freeform: Shape 2299">
              <a:extLst>
                <a:ext uri="{FF2B5EF4-FFF2-40B4-BE49-F238E27FC236}">
                  <a16:creationId xmlns:a16="http://schemas.microsoft.com/office/drawing/2014/main" id="{AA61306D-BC20-40FB-95EF-1971EB50E300}"/>
                </a:ext>
              </a:extLst>
            </p:cNvPr>
            <p:cNvSpPr/>
            <p:nvPr/>
          </p:nvSpPr>
          <p:spPr>
            <a:xfrm>
              <a:off x="2443431" y="1574995"/>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1" name="Freeform: Shape 2300">
              <a:extLst>
                <a:ext uri="{FF2B5EF4-FFF2-40B4-BE49-F238E27FC236}">
                  <a16:creationId xmlns:a16="http://schemas.microsoft.com/office/drawing/2014/main" id="{A6517242-4FF3-412B-BCC4-0F8D9F67749F}"/>
                </a:ext>
              </a:extLst>
            </p:cNvPr>
            <p:cNvSpPr/>
            <p:nvPr/>
          </p:nvSpPr>
          <p:spPr>
            <a:xfrm>
              <a:off x="2543116" y="2540623"/>
              <a:ext cx="84971" cy="84971"/>
            </a:xfrm>
            <a:custGeom>
              <a:avLst/>
              <a:gdLst>
                <a:gd name="connsiteX0" fmla="*/ 44220 w 84971"/>
                <a:gd name="connsiteY0" fmla="*/ 72437 h 84971"/>
                <a:gd name="connsiteX1" fmla="*/ 72544 w 84971"/>
                <a:gd name="connsiteY1" fmla="*/ 44113 h 84971"/>
                <a:gd name="connsiteX2" fmla="*/ 44220 w 84971"/>
                <a:gd name="connsiteY2" fmla="*/ 15789 h 84971"/>
                <a:gd name="connsiteX3" fmla="*/ 15896 w 84971"/>
                <a:gd name="connsiteY3" fmla="*/ 44113 h 84971"/>
                <a:gd name="connsiteX4" fmla="*/ 44220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220" y="72437"/>
                  </a:moveTo>
                  <a:cubicBezTo>
                    <a:pt x="59798" y="72437"/>
                    <a:pt x="72544" y="59691"/>
                    <a:pt x="72544" y="44113"/>
                  </a:cubicBezTo>
                  <a:cubicBezTo>
                    <a:pt x="72544" y="28535"/>
                    <a:pt x="59798" y="15789"/>
                    <a:pt x="44220" y="15789"/>
                  </a:cubicBezTo>
                  <a:cubicBezTo>
                    <a:pt x="28642" y="15789"/>
                    <a:pt x="15896" y="28535"/>
                    <a:pt x="15896" y="44113"/>
                  </a:cubicBezTo>
                  <a:cubicBezTo>
                    <a:pt x="14480" y="59691"/>
                    <a:pt x="27226" y="72437"/>
                    <a:pt x="44220"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2" name="Freeform: Shape 2301">
              <a:extLst>
                <a:ext uri="{FF2B5EF4-FFF2-40B4-BE49-F238E27FC236}">
                  <a16:creationId xmlns:a16="http://schemas.microsoft.com/office/drawing/2014/main" id="{C7573C15-FB95-4BF9-84BE-1DE4BC6F08BC}"/>
                </a:ext>
              </a:extLst>
            </p:cNvPr>
            <p:cNvSpPr/>
            <p:nvPr/>
          </p:nvSpPr>
          <p:spPr>
            <a:xfrm>
              <a:off x="2657656" y="2057587"/>
              <a:ext cx="84971" cy="84971"/>
            </a:xfrm>
            <a:custGeom>
              <a:avLst/>
              <a:gdLst>
                <a:gd name="connsiteX0" fmla="*/ 44220 w 84971"/>
                <a:gd name="connsiteY0" fmla="*/ 72437 h 84971"/>
                <a:gd name="connsiteX1" fmla="*/ 72544 w 84971"/>
                <a:gd name="connsiteY1" fmla="*/ 44113 h 84971"/>
                <a:gd name="connsiteX2" fmla="*/ 44220 w 84971"/>
                <a:gd name="connsiteY2" fmla="*/ 15789 h 84971"/>
                <a:gd name="connsiteX3" fmla="*/ 15897 w 84971"/>
                <a:gd name="connsiteY3" fmla="*/ 44113 h 84971"/>
                <a:gd name="connsiteX4" fmla="*/ 44220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220" y="72437"/>
                  </a:moveTo>
                  <a:cubicBezTo>
                    <a:pt x="59798" y="72437"/>
                    <a:pt x="72544" y="59691"/>
                    <a:pt x="72544" y="44113"/>
                  </a:cubicBezTo>
                  <a:cubicBezTo>
                    <a:pt x="72544" y="28535"/>
                    <a:pt x="59798" y="15789"/>
                    <a:pt x="44220" y="15789"/>
                  </a:cubicBezTo>
                  <a:cubicBezTo>
                    <a:pt x="28642" y="15789"/>
                    <a:pt x="15897" y="28535"/>
                    <a:pt x="15897" y="44113"/>
                  </a:cubicBezTo>
                  <a:cubicBezTo>
                    <a:pt x="14480" y="59691"/>
                    <a:pt x="27226" y="72437"/>
                    <a:pt x="44220"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3" name="Freeform: Shape 2302">
              <a:extLst>
                <a:ext uri="{FF2B5EF4-FFF2-40B4-BE49-F238E27FC236}">
                  <a16:creationId xmlns:a16="http://schemas.microsoft.com/office/drawing/2014/main" id="{D28F61CB-593F-4FEF-AF2B-7AC282EB848B}"/>
                </a:ext>
              </a:extLst>
            </p:cNvPr>
            <p:cNvSpPr/>
            <p:nvPr/>
          </p:nvSpPr>
          <p:spPr>
            <a:xfrm>
              <a:off x="3052394" y="2495519"/>
              <a:ext cx="113295" cy="113295"/>
            </a:xfrm>
            <a:custGeom>
              <a:avLst/>
              <a:gdLst>
                <a:gd name="connsiteX0" fmla="*/ 56859 w 113295"/>
                <a:gd name="connsiteY0" fmla="*/ 97928 h 113295"/>
                <a:gd name="connsiteX1" fmla="*/ 97928 w 113295"/>
                <a:gd name="connsiteY1" fmla="*/ 56859 h 113295"/>
                <a:gd name="connsiteX2" fmla="*/ 56859 w 113295"/>
                <a:gd name="connsiteY2" fmla="*/ 15789 h 113295"/>
                <a:gd name="connsiteX3" fmla="*/ 15789 w 113295"/>
                <a:gd name="connsiteY3" fmla="*/ 56859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8" y="79518"/>
                    <a:pt x="97928" y="56859"/>
                  </a:cubicBezTo>
                  <a:cubicBezTo>
                    <a:pt x="97928" y="34200"/>
                    <a:pt x="79518" y="15789"/>
                    <a:pt x="56859" y="15789"/>
                  </a:cubicBezTo>
                  <a:cubicBezTo>
                    <a:pt x="34200" y="15789"/>
                    <a:pt x="15789" y="34200"/>
                    <a:pt x="15789" y="56859"/>
                  </a:cubicBezTo>
                  <a:cubicBezTo>
                    <a:pt x="15789" y="79518"/>
                    <a:pt x="34200" y="97928"/>
                    <a:pt x="56859"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4" name="Freeform: Shape 2303">
              <a:extLst>
                <a:ext uri="{FF2B5EF4-FFF2-40B4-BE49-F238E27FC236}">
                  <a16:creationId xmlns:a16="http://schemas.microsoft.com/office/drawing/2014/main" id="{8070735D-AD39-4A77-901E-E79BEC4688D9}"/>
                </a:ext>
              </a:extLst>
            </p:cNvPr>
            <p:cNvSpPr/>
            <p:nvPr/>
          </p:nvSpPr>
          <p:spPr>
            <a:xfrm>
              <a:off x="2204095" y="1550920"/>
              <a:ext cx="127457" cy="127457"/>
            </a:xfrm>
            <a:custGeom>
              <a:avLst/>
              <a:gdLst>
                <a:gd name="connsiteX0" fmla="*/ 63939 w 127457"/>
                <a:gd name="connsiteY0" fmla="*/ 15789 h 127457"/>
                <a:gd name="connsiteX1" fmla="*/ 112090 w 127457"/>
                <a:gd name="connsiteY1" fmla="*/ 63940 h 127457"/>
                <a:gd name="connsiteX2" fmla="*/ 63939 w 127457"/>
                <a:gd name="connsiteY2" fmla="*/ 112090 h 127457"/>
                <a:gd name="connsiteX3" fmla="*/ 15789 w 127457"/>
                <a:gd name="connsiteY3" fmla="*/ 63940 h 127457"/>
                <a:gd name="connsiteX4" fmla="*/ 63939 w 127457"/>
                <a:gd name="connsiteY4" fmla="*/ 15789 h 127457"/>
                <a:gd name="connsiteX5" fmla="*/ 63939 w 127457"/>
                <a:gd name="connsiteY5" fmla="*/ 15789 h 127457"/>
                <a:gd name="connsiteX6" fmla="*/ 63939 w 127457"/>
                <a:gd name="connsiteY6" fmla="*/ 37032 h 127457"/>
                <a:gd name="connsiteX7" fmla="*/ 37032 w 127457"/>
                <a:gd name="connsiteY7" fmla="*/ 63940 h 127457"/>
                <a:gd name="connsiteX8" fmla="*/ 63939 w 127457"/>
                <a:gd name="connsiteY8" fmla="*/ 90847 h 127457"/>
                <a:gd name="connsiteX9" fmla="*/ 90847 w 127457"/>
                <a:gd name="connsiteY9" fmla="*/ 63940 h 127457"/>
                <a:gd name="connsiteX10" fmla="*/ 63939 w 127457"/>
                <a:gd name="connsiteY10" fmla="*/ 37032 h 12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457" h="127457">
                  <a:moveTo>
                    <a:pt x="63939" y="15789"/>
                  </a:moveTo>
                  <a:cubicBezTo>
                    <a:pt x="90847" y="15789"/>
                    <a:pt x="112090" y="37032"/>
                    <a:pt x="112090" y="63940"/>
                  </a:cubicBezTo>
                  <a:cubicBezTo>
                    <a:pt x="112090" y="90847"/>
                    <a:pt x="90847" y="112090"/>
                    <a:pt x="63939" y="112090"/>
                  </a:cubicBezTo>
                  <a:cubicBezTo>
                    <a:pt x="37032" y="112090"/>
                    <a:pt x="15789" y="90847"/>
                    <a:pt x="15789" y="63940"/>
                  </a:cubicBezTo>
                  <a:cubicBezTo>
                    <a:pt x="15789" y="37032"/>
                    <a:pt x="37032" y="15789"/>
                    <a:pt x="63939" y="15789"/>
                  </a:cubicBezTo>
                  <a:lnTo>
                    <a:pt x="63939" y="15789"/>
                  </a:lnTo>
                  <a:close/>
                  <a:moveTo>
                    <a:pt x="63939" y="37032"/>
                  </a:moveTo>
                  <a:cubicBezTo>
                    <a:pt x="48361" y="37032"/>
                    <a:pt x="37032" y="49778"/>
                    <a:pt x="37032" y="63940"/>
                  </a:cubicBezTo>
                  <a:cubicBezTo>
                    <a:pt x="37032" y="79518"/>
                    <a:pt x="49778" y="90847"/>
                    <a:pt x="63939" y="90847"/>
                  </a:cubicBezTo>
                  <a:cubicBezTo>
                    <a:pt x="79518" y="90847"/>
                    <a:pt x="90847" y="78101"/>
                    <a:pt x="90847" y="63940"/>
                  </a:cubicBezTo>
                  <a:cubicBezTo>
                    <a:pt x="90847" y="49778"/>
                    <a:pt x="78101" y="37032"/>
                    <a:pt x="63939" y="3703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5" name="Freeform: Shape 2304">
              <a:extLst>
                <a:ext uri="{FF2B5EF4-FFF2-40B4-BE49-F238E27FC236}">
                  <a16:creationId xmlns:a16="http://schemas.microsoft.com/office/drawing/2014/main" id="{B93CA15C-8586-483A-914A-504949F930D2}"/>
                </a:ext>
              </a:extLst>
            </p:cNvPr>
            <p:cNvSpPr/>
            <p:nvPr/>
          </p:nvSpPr>
          <p:spPr>
            <a:xfrm>
              <a:off x="2225636" y="2936101"/>
              <a:ext cx="70810" cy="70810"/>
            </a:xfrm>
            <a:custGeom>
              <a:avLst/>
              <a:gdLst>
                <a:gd name="connsiteX0" fmla="*/ 39864 w 70809"/>
                <a:gd name="connsiteY0" fmla="*/ 63939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40" y="52610"/>
                    <a:pt x="63940" y="39864"/>
                  </a:cubicBezTo>
                  <a:cubicBezTo>
                    <a:pt x="63940" y="27118"/>
                    <a:pt x="52610" y="15789"/>
                    <a:pt x="39864" y="15789"/>
                  </a:cubicBezTo>
                  <a:cubicBezTo>
                    <a:pt x="27118" y="15789"/>
                    <a:pt x="15789" y="27118"/>
                    <a:pt x="15789" y="39864"/>
                  </a:cubicBezTo>
                  <a:cubicBezTo>
                    <a:pt x="15789" y="52610"/>
                    <a:pt x="27118" y="63939"/>
                    <a:pt x="3986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6" name="Freeform: Shape 2305">
              <a:extLst>
                <a:ext uri="{FF2B5EF4-FFF2-40B4-BE49-F238E27FC236}">
                  <a16:creationId xmlns:a16="http://schemas.microsoft.com/office/drawing/2014/main" id="{5C4A38AB-5A00-4F53-939C-09FD62BCFBBA}"/>
                </a:ext>
              </a:extLst>
            </p:cNvPr>
            <p:cNvSpPr/>
            <p:nvPr/>
          </p:nvSpPr>
          <p:spPr>
            <a:xfrm>
              <a:off x="2143199" y="2593237"/>
              <a:ext cx="84971" cy="99133"/>
            </a:xfrm>
            <a:custGeom>
              <a:avLst/>
              <a:gdLst>
                <a:gd name="connsiteX0" fmla="*/ 48361 w 84971"/>
                <a:gd name="connsiteY0" fmla="*/ 15789 h 99133"/>
                <a:gd name="connsiteX1" fmla="*/ 82350 w 84971"/>
                <a:gd name="connsiteY1" fmla="*/ 49777 h 99133"/>
                <a:gd name="connsiteX2" fmla="*/ 48361 w 84971"/>
                <a:gd name="connsiteY2" fmla="*/ 83766 h 99133"/>
                <a:gd name="connsiteX3" fmla="*/ 15789 w 84971"/>
                <a:gd name="connsiteY3" fmla="*/ 49777 h 99133"/>
                <a:gd name="connsiteX4" fmla="*/ 48361 w 84971"/>
                <a:gd name="connsiteY4" fmla="*/ 15789 h 99133"/>
                <a:gd name="connsiteX5" fmla="*/ 48361 w 84971"/>
                <a:gd name="connsiteY5" fmla="*/ 15789 h 99133"/>
                <a:gd name="connsiteX6" fmla="*/ 48361 w 84971"/>
                <a:gd name="connsiteY6" fmla="*/ 29951 h 99133"/>
                <a:gd name="connsiteX7" fmla="*/ 29951 w 84971"/>
                <a:gd name="connsiteY7" fmla="*/ 48361 h 99133"/>
                <a:gd name="connsiteX8" fmla="*/ 48361 w 84971"/>
                <a:gd name="connsiteY8" fmla="*/ 66772 h 99133"/>
                <a:gd name="connsiteX9" fmla="*/ 66772 w 84971"/>
                <a:gd name="connsiteY9" fmla="*/ 48361 h 99133"/>
                <a:gd name="connsiteX10" fmla="*/ 48361 w 84971"/>
                <a:gd name="connsiteY10" fmla="*/ 29951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99133">
                  <a:moveTo>
                    <a:pt x="48361" y="15789"/>
                  </a:moveTo>
                  <a:cubicBezTo>
                    <a:pt x="66772" y="15789"/>
                    <a:pt x="82350" y="31367"/>
                    <a:pt x="82350" y="49777"/>
                  </a:cubicBezTo>
                  <a:cubicBezTo>
                    <a:pt x="82350" y="68188"/>
                    <a:pt x="66772" y="83766"/>
                    <a:pt x="48361" y="83766"/>
                  </a:cubicBezTo>
                  <a:cubicBezTo>
                    <a:pt x="29951" y="83766"/>
                    <a:pt x="15789" y="68188"/>
                    <a:pt x="15789" y="49777"/>
                  </a:cubicBezTo>
                  <a:cubicBezTo>
                    <a:pt x="15789" y="31367"/>
                    <a:pt x="29951" y="15789"/>
                    <a:pt x="48361" y="15789"/>
                  </a:cubicBezTo>
                  <a:lnTo>
                    <a:pt x="48361" y="15789"/>
                  </a:lnTo>
                  <a:close/>
                  <a:moveTo>
                    <a:pt x="48361" y="29951"/>
                  </a:moveTo>
                  <a:cubicBezTo>
                    <a:pt x="38448" y="29951"/>
                    <a:pt x="29951" y="38448"/>
                    <a:pt x="29951" y="48361"/>
                  </a:cubicBezTo>
                  <a:cubicBezTo>
                    <a:pt x="29951" y="58275"/>
                    <a:pt x="38448" y="66772"/>
                    <a:pt x="48361" y="66772"/>
                  </a:cubicBezTo>
                  <a:cubicBezTo>
                    <a:pt x="58275" y="66772"/>
                    <a:pt x="66772" y="58275"/>
                    <a:pt x="66772" y="48361"/>
                  </a:cubicBezTo>
                  <a:cubicBezTo>
                    <a:pt x="68188" y="38448"/>
                    <a:pt x="59691" y="29951"/>
                    <a:pt x="48361"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7" name="Freeform: Shape 2306">
              <a:extLst>
                <a:ext uri="{FF2B5EF4-FFF2-40B4-BE49-F238E27FC236}">
                  <a16:creationId xmlns:a16="http://schemas.microsoft.com/office/drawing/2014/main" id="{A20A2F13-B8FF-4BF3-A1FA-75F213B500E7}"/>
                </a:ext>
              </a:extLst>
            </p:cNvPr>
            <p:cNvSpPr/>
            <p:nvPr/>
          </p:nvSpPr>
          <p:spPr>
            <a:xfrm>
              <a:off x="2075137" y="2193786"/>
              <a:ext cx="68147" cy="68147"/>
            </a:xfrm>
            <a:custGeom>
              <a:avLst/>
              <a:gdLst>
                <a:gd name="connsiteX0" fmla="*/ 63940 w 127457"/>
                <a:gd name="connsiteY0" fmla="*/ 112090 h 127457"/>
                <a:gd name="connsiteX1" fmla="*/ 112090 w 127457"/>
                <a:gd name="connsiteY1" fmla="*/ 63939 h 127457"/>
                <a:gd name="connsiteX2" fmla="*/ 63940 w 127457"/>
                <a:gd name="connsiteY2" fmla="*/ 15789 h 127457"/>
                <a:gd name="connsiteX3" fmla="*/ 15789 w 127457"/>
                <a:gd name="connsiteY3" fmla="*/ 63939 h 127457"/>
                <a:gd name="connsiteX4" fmla="*/ 63940 w 127457"/>
                <a:gd name="connsiteY4" fmla="*/ 112090 h 127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57" h="127457">
                  <a:moveTo>
                    <a:pt x="63940" y="112090"/>
                  </a:moveTo>
                  <a:cubicBezTo>
                    <a:pt x="90847" y="112090"/>
                    <a:pt x="112090" y="90847"/>
                    <a:pt x="112090" y="63939"/>
                  </a:cubicBezTo>
                  <a:cubicBezTo>
                    <a:pt x="112090" y="37032"/>
                    <a:pt x="90847" y="15789"/>
                    <a:pt x="63940" y="15789"/>
                  </a:cubicBezTo>
                  <a:cubicBezTo>
                    <a:pt x="37032" y="15789"/>
                    <a:pt x="15789" y="37032"/>
                    <a:pt x="15789" y="63939"/>
                  </a:cubicBezTo>
                  <a:cubicBezTo>
                    <a:pt x="15789" y="90847"/>
                    <a:pt x="38448" y="112090"/>
                    <a:pt x="63940" y="11209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8" name="Freeform: Shape 2307">
              <a:extLst>
                <a:ext uri="{FF2B5EF4-FFF2-40B4-BE49-F238E27FC236}">
                  <a16:creationId xmlns:a16="http://schemas.microsoft.com/office/drawing/2014/main" id="{E345322C-0DAE-4E09-85DD-38D188C9D5DC}"/>
                </a:ext>
              </a:extLst>
            </p:cNvPr>
            <p:cNvSpPr/>
            <p:nvPr/>
          </p:nvSpPr>
          <p:spPr>
            <a:xfrm>
              <a:off x="2883867" y="1906384"/>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9" name="Freeform: Shape 2308">
              <a:extLst>
                <a:ext uri="{FF2B5EF4-FFF2-40B4-BE49-F238E27FC236}">
                  <a16:creationId xmlns:a16="http://schemas.microsoft.com/office/drawing/2014/main" id="{19300047-CCFD-4BDC-A92A-4260D8CB6373}"/>
                </a:ext>
              </a:extLst>
            </p:cNvPr>
            <p:cNvSpPr/>
            <p:nvPr/>
          </p:nvSpPr>
          <p:spPr>
            <a:xfrm>
              <a:off x="2751462" y="2493833"/>
              <a:ext cx="127457" cy="127457"/>
            </a:xfrm>
            <a:custGeom>
              <a:avLst/>
              <a:gdLst>
                <a:gd name="connsiteX0" fmla="*/ 63939 w 127457"/>
                <a:gd name="connsiteY0" fmla="*/ 15789 h 127457"/>
                <a:gd name="connsiteX1" fmla="*/ 112090 w 127457"/>
                <a:gd name="connsiteY1" fmla="*/ 63940 h 127457"/>
                <a:gd name="connsiteX2" fmla="*/ 63939 w 127457"/>
                <a:gd name="connsiteY2" fmla="*/ 112090 h 127457"/>
                <a:gd name="connsiteX3" fmla="*/ 15789 w 127457"/>
                <a:gd name="connsiteY3" fmla="*/ 63940 h 127457"/>
                <a:gd name="connsiteX4" fmla="*/ 63939 w 127457"/>
                <a:gd name="connsiteY4" fmla="*/ 15789 h 127457"/>
                <a:gd name="connsiteX5" fmla="*/ 63939 w 127457"/>
                <a:gd name="connsiteY5" fmla="*/ 15789 h 127457"/>
                <a:gd name="connsiteX6" fmla="*/ 63939 w 127457"/>
                <a:gd name="connsiteY6" fmla="*/ 37032 h 127457"/>
                <a:gd name="connsiteX7" fmla="*/ 37032 w 127457"/>
                <a:gd name="connsiteY7" fmla="*/ 63940 h 127457"/>
                <a:gd name="connsiteX8" fmla="*/ 63939 w 127457"/>
                <a:gd name="connsiteY8" fmla="*/ 90847 h 127457"/>
                <a:gd name="connsiteX9" fmla="*/ 90847 w 127457"/>
                <a:gd name="connsiteY9" fmla="*/ 63940 h 127457"/>
                <a:gd name="connsiteX10" fmla="*/ 63939 w 127457"/>
                <a:gd name="connsiteY10" fmla="*/ 37032 h 12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457" h="127457">
                  <a:moveTo>
                    <a:pt x="63939" y="15789"/>
                  </a:moveTo>
                  <a:cubicBezTo>
                    <a:pt x="90847" y="15789"/>
                    <a:pt x="112090" y="37032"/>
                    <a:pt x="112090" y="63940"/>
                  </a:cubicBezTo>
                  <a:cubicBezTo>
                    <a:pt x="112090" y="90847"/>
                    <a:pt x="90847" y="112090"/>
                    <a:pt x="63939" y="112090"/>
                  </a:cubicBezTo>
                  <a:cubicBezTo>
                    <a:pt x="37032" y="112090"/>
                    <a:pt x="15789" y="90847"/>
                    <a:pt x="15789" y="63940"/>
                  </a:cubicBezTo>
                  <a:cubicBezTo>
                    <a:pt x="15789" y="37032"/>
                    <a:pt x="37032" y="15789"/>
                    <a:pt x="63939" y="15789"/>
                  </a:cubicBezTo>
                  <a:lnTo>
                    <a:pt x="63939" y="15789"/>
                  </a:lnTo>
                  <a:close/>
                  <a:moveTo>
                    <a:pt x="63939" y="37032"/>
                  </a:moveTo>
                  <a:cubicBezTo>
                    <a:pt x="48361" y="37032"/>
                    <a:pt x="37032" y="49778"/>
                    <a:pt x="37032" y="63940"/>
                  </a:cubicBezTo>
                  <a:cubicBezTo>
                    <a:pt x="37032" y="79518"/>
                    <a:pt x="49778" y="90847"/>
                    <a:pt x="63939" y="90847"/>
                  </a:cubicBezTo>
                  <a:cubicBezTo>
                    <a:pt x="79518" y="90847"/>
                    <a:pt x="90847" y="78102"/>
                    <a:pt x="90847" y="63940"/>
                  </a:cubicBezTo>
                  <a:cubicBezTo>
                    <a:pt x="90847" y="48361"/>
                    <a:pt x="79518" y="37032"/>
                    <a:pt x="63939" y="3703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0" name="Freeform: Shape 2309">
              <a:extLst>
                <a:ext uri="{FF2B5EF4-FFF2-40B4-BE49-F238E27FC236}">
                  <a16:creationId xmlns:a16="http://schemas.microsoft.com/office/drawing/2014/main" id="{54330D58-76BE-454F-B63E-540AEBFE6F27}"/>
                </a:ext>
              </a:extLst>
            </p:cNvPr>
            <p:cNvSpPr/>
            <p:nvPr/>
          </p:nvSpPr>
          <p:spPr>
            <a:xfrm>
              <a:off x="1049899" y="1509851"/>
              <a:ext cx="99133" cy="99133"/>
            </a:xfrm>
            <a:custGeom>
              <a:avLst/>
              <a:gdLst>
                <a:gd name="connsiteX0" fmla="*/ 49778 w 99133"/>
                <a:gd name="connsiteY0" fmla="*/ 15789 h 99133"/>
                <a:gd name="connsiteX1" fmla="*/ 83766 w 99133"/>
                <a:gd name="connsiteY1" fmla="*/ 49778 h 99133"/>
                <a:gd name="connsiteX2" fmla="*/ 49778 w 99133"/>
                <a:gd name="connsiteY2" fmla="*/ 83766 h 99133"/>
                <a:gd name="connsiteX3" fmla="*/ 15789 w 99133"/>
                <a:gd name="connsiteY3" fmla="*/ 49778 h 99133"/>
                <a:gd name="connsiteX4" fmla="*/ 49778 w 99133"/>
                <a:gd name="connsiteY4" fmla="*/ 15789 h 99133"/>
                <a:gd name="connsiteX5" fmla="*/ 49778 w 99133"/>
                <a:gd name="connsiteY5" fmla="*/ 15789 h 99133"/>
                <a:gd name="connsiteX6" fmla="*/ 49778 w 99133"/>
                <a:gd name="connsiteY6" fmla="*/ 29951 h 99133"/>
                <a:gd name="connsiteX7" fmla="*/ 31367 w 99133"/>
                <a:gd name="connsiteY7" fmla="*/ 48361 h 99133"/>
                <a:gd name="connsiteX8" fmla="*/ 49778 w 99133"/>
                <a:gd name="connsiteY8" fmla="*/ 66772 h 99133"/>
                <a:gd name="connsiteX9" fmla="*/ 68188 w 99133"/>
                <a:gd name="connsiteY9" fmla="*/ 48361 h 99133"/>
                <a:gd name="connsiteX10" fmla="*/ 49778 w 99133"/>
                <a:gd name="connsiteY10" fmla="*/ 29951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49778" y="15789"/>
                  </a:moveTo>
                  <a:cubicBezTo>
                    <a:pt x="68188" y="15789"/>
                    <a:pt x="83766" y="31367"/>
                    <a:pt x="83766" y="49778"/>
                  </a:cubicBezTo>
                  <a:cubicBezTo>
                    <a:pt x="83766" y="68188"/>
                    <a:pt x="68188" y="83766"/>
                    <a:pt x="49778" y="83766"/>
                  </a:cubicBezTo>
                  <a:cubicBezTo>
                    <a:pt x="31367" y="83766"/>
                    <a:pt x="15789" y="68188"/>
                    <a:pt x="15789" y="49778"/>
                  </a:cubicBezTo>
                  <a:cubicBezTo>
                    <a:pt x="15789" y="29951"/>
                    <a:pt x="31367" y="15789"/>
                    <a:pt x="49778" y="15789"/>
                  </a:cubicBezTo>
                  <a:lnTo>
                    <a:pt x="49778" y="15789"/>
                  </a:lnTo>
                  <a:close/>
                  <a:moveTo>
                    <a:pt x="49778" y="29951"/>
                  </a:moveTo>
                  <a:cubicBezTo>
                    <a:pt x="39864" y="29951"/>
                    <a:pt x="31367" y="38448"/>
                    <a:pt x="31367" y="48361"/>
                  </a:cubicBezTo>
                  <a:cubicBezTo>
                    <a:pt x="31367" y="58275"/>
                    <a:pt x="39864" y="66772"/>
                    <a:pt x="49778" y="66772"/>
                  </a:cubicBezTo>
                  <a:cubicBezTo>
                    <a:pt x="59691" y="66772"/>
                    <a:pt x="68188" y="58275"/>
                    <a:pt x="68188" y="48361"/>
                  </a:cubicBezTo>
                  <a:cubicBezTo>
                    <a:pt x="68188" y="38448"/>
                    <a:pt x="59691" y="29951"/>
                    <a:pt x="49778"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1" name="Freeform: Shape 2310">
              <a:extLst>
                <a:ext uri="{FF2B5EF4-FFF2-40B4-BE49-F238E27FC236}">
                  <a16:creationId xmlns:a16="http://schemas.microsoft.com/office/drawing/2014/main" id="{1F41DCE3-0BAB-4380-B75A-ED943475DE3D}"/>
                </a:ext>
              </a:extLst>
            </p:cNvPr>
            <p:cNvSpPr/>
            <p:nvPr/>
          </p:nvSpPr>
          <p:spPr>
            <a:xfrm>
              <a:off x="2287808" y="2727603"/>
              <a:ext cx="42486" cy="42486"/>
            </a:xfrm>
            <a:custGeom>
              <a:avLst/>
              <a:gdLst>
                <a:gd name="connsiteX0" fmla="*/ 27119 w 42485"/>
                <a:gd name="connsiteY0" fmla="*/ 39864 h 42485"/>
                <a:gd name="connsiteX1" fmla="*/ 38448 w 42485"/>
                <a:gd name="connsiteY1" fmla="*/ 28535 h 42485"/>
                <a:gd name="connsiteX2" fmla="*/ 27119 w 42485"/>
                <a:gd name="connsiteY2" fmla="*/ 15789 h 42485"/>
                <a:gd name="connsiteX3" fmla="*/ 15789 w 42485"/>
                <a:gd name="connsiteY3" fmla="*/ 28535 h 42485"/>
                <a:gd name="connsiteX4" fmla="*/ 27119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9864"/>
                  </a:moveTo>
                  <a:cubicBezTo>
                    <a:pt x="34200" y="39864"/>
                    <a:pt x="38448" y="34200"/>
                    <a:pt x="38448" y="28535"/>
                  </a:cubicBezTo>
                  <a:cubicBezTo>
                    <a:pt x="38448" y="21454"/>
                    <a:pt x="32783" y="15789"/>
                    <a:pt x="27119" y="15789"/>
                  </a:cubicBezTo>
                  <a:cubicBezTo>
                    <a:pt x="21454" y="15789"/>
                    <a:pt x="15789" y="21454"/>
                    <a:pt x="15789" y="28535"/>
                  </a:cubicBezTo>
                  <a:cubicBezTo>
                    <a:pt x="15789" y="34200"/>
                    <a:pt x="20038" y="39864"/>
                    <a:pt x="27119"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2" name="Freeform: Shape 2311">
              <a:extLst>
                <a:ext uri="{FF2B5EF4-FFF2-40B4-BE49-F238E27FC236}">
                  <a16:creationId xmlns:a16="http://schemas.microsoft.com/office/drawing/2014/main" id="{DB16B250-5ADE-4718-9F20-352038E6CBB4}"/>
                </a:ext>
              </a:extLst>
            </p:cNvPr>
            <p:cNvSpPr/>
            <p:nvPr/>
          </p:nvSpPr>
          <p:spPr>
            <a:xfrm>
              <a:off x="2399015" y="1866816"/>
              <a:ext cx="42486" cy="42486"/>
            </a:xfrm>
            <a:custGeom>
              <a:avLst/>
              <a:gdLst>
                <a:gd name="connsiteX0" fmla="*/ 27118 w 42485"/>
                <a:gd name="connsiteY0" fmla="*/ 39864 h 42485"/>
                <a:gd name="connsiteX1" fmla="*/ 38448 w 42485"/>
                <a:gd name="connsiteY1" fmla="*/ 27119 h 42485"/>
                <a:gd name="connsiteX2" fmla="*/ 27118 w 42485"/>
                <a:gd name="connsiteY2" fmla="*/ 15789 h 42485"/>
                <a:gd name="connsiteX3" fmla="*/ 15789 w 42485"/>
                <a:gd name="connsiteY3" fmla="*/ 27119 h 42485"/>
                <a:gd name="connsiteX4" fmla="*/ 27118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9864"/>
                  </a:moveTo>
                  <a:cubicBezTo>
                    <a:pt x="34199" y="39864"/>
                    <a:pt x="38448" y="34200"/>
                    <a:pt x="38448" y="27119"/>
                  </a:cubicBezTo>
                  <a:cubicBezTo>
                    <a:pt x="38448" y="20038"/>
                    <a:pt x="32783" y="15789"/>
                    <a:pt x="27118" y="15789"/>
                  </a:cubicBezTo>
                  <a:cubicBezTo>
                    <a:pt x="21454" y="15789"/>
                    <a:pt x="15789" y="21454"/>
                    <a:pt x="15789" y="27119"/>
                  </a:cubicBezTo>
                  <a:cubicBezTo>
                    <a:pt x="15789" y="34200"/>
                    <a:pt x="20038" y="39864"/>
                    <a:pt x="27118"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3" name="Freeform: Shape 2312">
              <a:extLst>
                <a:ext uri="{FF2B5EF4-FFF2-40B4-BE49-F238E27FC236}">
                  <a16:creationId xmlns:a16="http://schemas.microsoft.com/office/drawing/2014/main" id="{8C209649-DF95-4E98-8371-DCF3647714EC}"/>
                </a:ext>
              </a:extLst>
            </p:cNvPr>
            <p:cNvSpPr/>
            <p:nvPr/>
          </p:nvSpPr>
          <p:spPr>
            <a:xfrm>
              <a:off x="3057939" y="2688121"/>
              <a:ext cx="70810" cy="70810"/>
            </a:xfrm>
            <a:custGeom>
              <a:avLst/>
              <a:gdLst>
                <a:gd name="connsiteX0" fmla="*/ 39984 w 70809"/>
                <a:gd name="connsiteY0" fmla="*/ 63939 h 70809"/>
                <a:gd name="connsiteX1" fmla="*/ 64059 w 70809"/>
                <a:gd name="connsiteY1" fmla="*/ 39864 h 70809"/>
                <a:gd name="connsiteX2" fmla="*/ 39984 w 70809"/>
                <a:gd name="connsiteY2" fmla="*/ 15789 h 70809"/>
                <a:gd name="connsiteX3" fmla="*/ 15909 w 70809"/>
                <a:gd name="connsiteY3" fmla="*/ 39864 h 70809"/>
                <a:gd name="connsiteX4" fmla="*/ 3998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984" y="63939"/>
                  </a:moveTo>
                  <a:cubicBezTo>
                    <a:pt x="54146" y="63939"/>
                    <a:pt x="64059" y="52610"/>
                    <a:pt x="64059" y="39864"/>
                  </a:cubicBezTo>
                  <a:cubicBezTo>
                    <a:pt x="64059" y="25702"/>
                    <a:pt x="52730" y="15789"/>
                    <a:pt x="39984" y="15789"/>
                  </a:cubicBezTo>
                  <a:cubicBezTo>
                    <a:pt x="25822" y="15789"/>
                    <a:pt x="15909" y="27119"/>
                    <a:pt x="15909" y="39864"/>
                  </a:cubicBezTo>
                  <a:cubicBezTo>
                    <a:pt x="14493" y="54026"/>
                    <a:pt x="25822" y="63939"/>
                    <a:pt x="3998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4" name="Freeform: Shape 2313">
              <a:extLst>
                <a:ext uri="{FF2B5EF4-FFF2-40B4-BE49-F238E27FC236}">
                  <a16:creationId xmlns:a16="http://schemas.microsoft.com/office/drawing/2014/main" id="{D8CA5805-7332-4E21-A541-BE9B521B1FEB}"/>
                </a:ext>
              </a:extLst>
            </p:cNvPr>
            <p:cNvSpPr/>
            <p:nvPr/>
          </p:nvSpPr>
          <p:spPr>
            <a:xfrm>
              <a:off x="3381939" y="2723856"/>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1" y="15789"/>
                    <a:pt x="15789" y="18621"/>
                    <a:pt x="15789" y="21454"/>
                  </a:cubicBezTo>
                  <a:cubicBezTo>
                    <a:pt x="17205" y="24286"/>
                    <a:pt x="18621"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5" name="Freeform: Shape 2314">
              <a:extLst>
                <a:ext uri="{FF2B5EF4-FFF2-40B4-BE49-F238E27FC236}">
                  <a16:creationId xmlns:a16="http://schemas.microsoft.com/office/drawing/2014/main" id="{3FCAEBD2-2768-420A-A86B-3AB6BB5B811D}"/>
                </a:ext>
              </a:extLst>
            </p:cNvPr>
            <p:cNvSpPr/>
            <p:nvPr/>
          </p:nvSpPr>
          <p:spPr>
            <a:xfrm>
              <a:off x="3222996" y="2494103"/>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8" y="29951"/>
                    <a:pt x="29951" y="27118"/>
                    <a:pt x="29951" y="22870"/>
                  </a:cubicBezTo>
                  <a:cubicBezTo>
                    <a:pt x="29951" y="18621"/>
                    <a:pt x="27118" y="15789"/>
                    <a:pt x="22870" y="15789"/>
                  </a:cubicBezTo>
                  <a:cubicBezTo>
                    <a:pt x="18621" y="15789"/>
                    <a:pt x="15789" y="18621"/>
                    <a:pt x="15789" y="22870"/>
                  </a:cubicBezTo>
                  <a:cubicBezTo>
                    <a:pt x="15789" y="27118"/>
                    <a:pt x="18621" y="29951"/>
                    <a:pt x="22870"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6" name="Freeform: Shape 2315">
              <a:extLst>
                <a:ext uri="{FF2B5EF4-FFF2-40B4-BE49-F238E27FC236}">
                  <a16:creationId xmlns:a16="http://schemas.microsoft.com/office/drawing/2014/main" id="{25EAD455-65D3-4A4E-988A-BCF9C1138FD5}"/>
                </a:ext>
              </a:extLst>
            </p:cNvPr>
            <p:cNvSpPr/>
            <p:nvPr/>
          </p:nvSpPr>
          <p:spPr>
            <a:xfrm>
              <a:off x="3226071" y="2579489"/>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1" y="15789"/>
                    <a:pt x="15789" y="18621"/>
                    <a:pt x="15789" y="21454"/>
                  </a:cubicBezTo>
                  <a:cubicBezTo>
                    <a:pt x="17205" y="25702"/>
                    <a:pt x="18621"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7" name="Freeform: Shape 2316">
              <a:extLst>
                <a:ext uri="{FF2B5EF4-FFF2-40B4-BE49-F238E27FC236}">
                  <a16:creationId xmlns:a16="http://schemas.microsoft.com/office/drawing/2014/main" id="{C2570AA6-94A1-41CF-8771-729F913F7FC3}"/>
                </a:ext>
              </a:extLst>
            </p:cNvPr>
            <p:cNvSpPr/>
            <p:nvPr/>
          </p:nvSpPr>
          <p:spPr>
            <a:xfrm>
              <a:off x="3237415" y="2674117"/>
              <a:ext cx="42486" cy="42486"/>
            </a:xfrm>
            <a:custGeom>
              <a:avLst/>
              <a:gdLst>
                <a:gd name="connsiteX0" fmla="*/ 21454 w 42485"/>
                <a:gd name="connsiteY0" fmla="*/ 27118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8"/>
                  </a:moveTo>
                  <a:cubicBezTo>
                    <a:pt x="24286" y="27118"/>
                    <a:pt x="27119" y="24286"/>
                    <a:pt x="27119" y="21454"/>
                  </a:cubicBezTo>
                  <a:cubicBezTo>
                    <a:pt x="27119" y="18621"/>
                    <a:pt x="24286" y="15789"/>
                    <a:pt x="21454" y="15789"/>
                  </a:cubicBezTo>
                  <a:cubicBezTo>
                    <a:pt x="18621" y="15789"/>
                    <a:pt x="15789" y="18621"/>
                    <a:pt x="15789" y="21454"/>
                  </a:cubicBezTo>
                  <a:cubicBezTo>
                    <a:pt x="15789" y="24286"/>
                    <a:pt x="17205" y="27118"/>
                    <a:pt x="21454" y="2711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8" name="Freeform: Shape 2317">
              <a:extLst>
                <a:ext uri="{FF2B5EF4-FFF2-40B4-BE49-F238E27FC236}">
                  <a16:creationId xmlns:a16="http://schemas.microsoft.com/office/drawing/2014/main" id="{32A6B034-1B56-445E-9566-88D1151A05A7}"/>
                </a:ext>
              </a:extLst>
            </p:cNvPr>
            <p:cNvSpPr/>
            <p:nvPr/>
          </p:nvSpPr>
          <p:spPr>
            <a:xfrm>
              <a:off x="2113459" y="1722279"/>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7205" y="71020"/>
                    <a:pt x="32783"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9" name="Freeform: Shape 2318">
              <a:extLst>
                <a:ext uri="{FF2B5EF4-FFF2-40B4-BE49-F238E27FC236}">
                  <a16:creationId xmlns:a16="http://schemas.microsoft.com/office/drawing/2014/main" id="{7F608411-232A-4938-A824-13E1702E0FA5}"/>
                </a:ext>
              </a:extLst>
            </p:cNvPr>
            <p:cNvSpPr/>
            <p:nvPr/>
          </p:nvSpPr>
          <p:spPr>
            <a:xfrm>
              <a:off x="2178676" y="2243852"/>
              <a:ext cx="42486" cy="42486"/>
            </a:xfrm>
            <a:custGeom>
              <a:avLst/>
              <a:gdLst>
                <a:gd name="connsiteX0" fmla="*/ 27119 w 42485"/>
                <a:gd name="connsiteY0" fmla="*/ 39864 h 42485"/>
                <a:gd name="connsiteX1" fmla="*/ 38448 w 42485"/>
                <a:gd name="connsiteY1" fmla="*/ 28535 h 42485"/>
                <a:gd name="connsiteX2" fmla="*/ 27119 w 42485"/>
                <a:gd name="connsiteY2" fmla="*/ 15789 h 42485"/>
                <a:gd name="connsiteX3" fmla="*/ 15789 w 42485"/>
                <a:gd name="connsiteY3" fmla="*/ 28535 h 42485"/>
                <a:gd name="connsiteX4" fmla="*/ 27119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9864"/>
                  </a:moveTo>
                  <a:cubicBezTo>
                    <a:pt x="34200" y="39864"/>
                    <a:pt x="38448" y="34200"/>
                    <a:pt x="38448" y="28535"/>
                  </a:cubicBezTo>
                  <a:cubicBezTo>
                    <a:pt x="38448" y="21454"/>
                    <a:pt x="32783" y="15789"/>
                    <a:pt x="27119" y="15789"/>
                  </a:cubicBezTo>
                  <a:cubicBezTo>
                    <a:pt x="21454" y="15789"/>
                    <a:pt x="15789" y="21454"/>
                    <a:pt x="15789" y="28535"/>
                  </a:cubicBezTo>
                  <a:cubicBezTo>
                    <a:pt x="15789" y="34200"/>
                    <a:pt x="20038" y="39864"/>
                    <a:pt x="27119"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0" name="Freeform: Shape 2319">
              <a:extLst>
                <a:ext uri="{FF2B5EF4-FFF2-40B4-BE49-F238E27FC236}">
                  <a16:creationId xmlns:a16="http://schemas.microsoft.com/office/drawing/2014/main" id="{AB8F03EC-1016-4D06-9ED6-730DD04252FF}"/>
                </a:ext>
              </a:extLst>
            </p:cNvPr>
            <p:cNvSpPr/>
            <p:nvPr/>
          </p:nvSpPr>
          <p:spPr>
            <a:xfrm>
              <a:off x="2677677" y="2429373"/>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1" name="Freeform: Shape 2320">
              <a:extLst>
                <a:ext uri="{FF2B5EF4-FFF2-40B4-BE49-F238E27FC236}">
                  <a16:creationId xmlns:a16="http://schemas.microsoft.com/office/drawing/2014/main" id="{21CA89C4-6D7F-4B69-9899-B872228CD93B}"/>
                </a:ext>
              </a:extLst>
            </p:cNvPr>
            <p:cNvSpPr/>
            <p:nvPr/>
          </p:nvSpPr>
          <p:spPr>
            <a:xfrm>
              <a:off x="2147448" y="1328578"/>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2" y="15789"/>
                    <a:pt x="15789" y="25702"/>
                    <a:pt x="15789" y="37032"/>
                  </a:cubicBezTo>
                  <a:cubicBezTo>
                    <a:pt x="15789" y="49777"/>
                    <a:pt x="25702"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2" name="Freeform: Shape 2321">
              <a:extLst>
                <a:ext uri="{FF2B5EF4-FFF2-40B4-BE49-F238E27FC236}">
                  <a16:creationId xmlns:a16="http://schemas.microsoft.com/office/drawing/2014/main" id="{334FA409-609B-41E8-96C8-4977A67CA29A}"/>
                </a:ext>
              </a:extLst>
            </p:cNvPr>
            <p:cNvSpPr/>
            <p:nvPr/>
          </p:nvSpPr>
          <p:spPr>
            <a:xfrm>
              <a:off x="2475884" y="1654302"/>
              <a:ext cx="70810" cy="70810"/>
            </a:xfrm>
            <a:custGeom>
              <a:avLst/>
              <a:gdLst>
                <a:gd name="connsiteX0" fmla="*/ 38568 w 70809"/>
                <a:gd name="connsiteY0" fmla="*/ 61107 h 70809"/>
                <a:gd name="connsiteX1" fmla="*/ 61227 w 70809"/>
                <a:gd name="connsiteY1" fmla="*/ 38448 h 70809"/>
                <a:gd name="connsiteX2" fmla="*/ 38568 w 70809"/>
                <a:gd name="connsiteY2" fmla="*/ 15789 h 70809"/>
                <a:gd name="connsiteX3" fmla="*/ 15909 w 70809"/>
                <a:gd name="connsiteY3" fmla="*/ 38448 h 70809"/>
                <a:gd name="connsiteX4" fmla="*/ 3856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568" y="61107"/>
                  </a:moveTo>
                  <a:cubicBezTo>
                    <a:pt x="51314" y="61107"/>
                    <a:pt x="61227" y="51194"/>
                    <a:pt x="61227" y="38448"/>
                  </a:cubicBezTo>
                  <a:cubicBezTo>
                    <a:pt x="61227" y="25702"/>
                    <a:pt x="51314" y="15789"/>
                    <a:pt x="38568" y="15789"/>
                  </a:cubicBezTo>
                  <a:cubicBezTo>
                    <a:pt x="25822" y="15789"/>
                    <a:pt x="15909" y="25702"/>
                    <a:pt x="15909" y="38448"/>
                  </a:cubicBezTo>
                  <a:cubicBezTo>
                    <a:pt x="14493" y="51194"/>
                    <a:pt x="25822" y="61107"/>
                    <a:pt x="38568"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3" name="Freeform: Shape 2322">
              <a:extLst>
                <a:ext uri="{FF2B5EF4-FFF2-40B4-BE49-F238E27FC236}">
                  <a16:creationId xmlns:a16="http://schemas.microsoft.com/office/drawing/2014/main" id="{4949C652-FCCB-486E-B858-AE2AC43AC7A3}"/>
                </a:ext>
              </a:extLst>
            </p:cNvPr>
            <p:cNvSpPr/>
            <p:nvPr/>
          </p:nvSpPr>
          <p:spPr>
            <a:xfrm>
              <a:off x="2219455" y="1430544"/>
              <a:ext cx="42486" cy="42486"/>
            </a:xfrm>
            <a:custGeom>
              <a:avLst/>
              <a:gdLst>
                <a:gd name="connsiteX0" fmla="*/ 27337 w 42485"/>
                <a:gd name="connsiteY0" fmla="*/ 38448 h 42485"/>
                <a:gd name="connsiteX1" fmla="*/ 38667 w 42485"/>
                <a:gd name="connsiteY1" fmla="*/ 27119 h 42485"/>
                <a:gd name="connsiteX2" fmla="*/ 27337 w 42485"/>
                <a:gd name="connsiteY2" fmla="*/ 15789 h 42485"/>
                <a:gd name="connsiteX3" fmla="*/ 16007 w 42485"/>
                <a:gd name="connsiteY3" fmla="*/ 27119 h 42485"/>
                <a:gd name="connsiteX4" fmla="*/ 27337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8448"/>
                  </a:moveTo>
                  <a:cubicBezTo>
                    <a:pt x="34418" y="38448"/>
                    <a:pt x="38667" y="32783"/>
                    <a:pt x="38667" y="27119"/>
                  </a:cubicBezTo>
                  <a:cubicBezTo>
                    <a:pt x="38667" y="20038"/>
                    <a:pt x="33002" y="15789"/>
                    <a:pt x="27337" y="15789"/>
                  </a:cubicBezTo>
                  <a:cubicBezTo>
                    <a:pt x="21672" y="15789"/>
                    <a:pt x="16007" y="21454"/>
                    <a:pt x="16007" y="27119"/>
                  </a:cubicBezTo>
                  <a:cubicBezTo>
                    <a:pt x="14591" y="32783"/>
                    <a:pt x="20256" y="38448"/>
                    <a:pt x="27337"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4" name="Freeform: Shape 2323">
              <a:extLst>
                <a:ext uri="{FF2B5EF4-FFF2-40B4-BE49-F238E27FC236}">
                  <a16:creationId xmlns:a16="http://schemas.microsoft.com/office/drawing/2014/main" id="{1DF19273-EC95-4822-B9AC-93DF196F5F29}"/>
                </a:ext>
              </a:extLst>
            </p:cNvPr>
            <p:cNvSpPr/>
            <p:nvPr/>
          </p:nvSpPr>
          <p:spPr>
            <a:xfrm>
              <a:off x="2344080" y="1397971"/>
              <a:ext cx="42486" cy="42486"/>
            </a:xfrm>
            <a:custGeom>
              <a:avLst/>
              <a:gdLst>
                <a:gd name="connsiteX0" fmla="*/ 27337 w 42485"/>
                <a:gd name="connsiteY0" fmla="*/ 39864 h 42485"/>
                <a:gd name="connsiteX1" fmla="*/ 38667 w 42485"/>
                <a:gd name="connsiteY1" fmla="*/ 27119 h 42485"/>
                <a:gd name="connsiteX2" fmla="*/ 27337 w 42485"/>
                <a:gd name="connsiteY2" fmla="*/ 15789 h 42485"/>
                <a:gd name="connsiteX3" fmla="*/ 16007 w 42485"/>
                <a:gd name="connsiteY3" fmla="*/ 27119 h 42485"/>
                <a:gd name="connsiteX4" fmla="*/ 27337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9864"/>
                  </a:moveTo>
                  <a:cubicBezTo>
                    <a:pt x="34418" y="39864"/>
                    <a:pt x="38667" y="34200"/>
                    <a:pt x="38667" y="27119"/>
                  </a:cubicBezTo>
                  <a:cubicBezTo>
                    <a:pt x="38667" y="20038"/>
                    <a:pt x="33002" y="15789"/>
                    <a:pt x="27337" y="15789"/>
                  </a:cubicBezTo>
                  <a:cubicBezTo>
                    <a:pt x="20256" y="15789"/>
                    <a:pt x="16007" y="21454"/>
                    <a:pt x="16007" y="27119"/>
                  </a:cubicBezTo>
                  <a:cubicBezTo>
                    <a:pt x="14591" y="34200"/>
                    <a:pt x="20256" y="39864"/>
                    <a:pt x="27337"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5" name="Freeform: Shape 2324">
              <a:extLst>
                <a:ext uri="{FF2B5EF4-FFF2-40B4-BE49-F238E27FC236}">
                  <a16:creationId xmlns:a16="http://schemas.microsoft.com/office/drawing/2014/main" id="{2B7FAC2A-9C6F-4711-93C4-2CCF2EE0F50A}"/>
                </a:ext>
              </a:extLst>
            </p:cNvPr>
            <p:cNvSpPr/>
            <p:nvPr/>
          </p:nvSpPr>
          <p:spPr>
            <a:xfrm>
              <a:off x="2070716" y="2424867"/>
              <a:ext cx="42486" cy="56648"/>
            </a:xfrm>
            <a:custGeom>
              <a:avLst/>
              <a:gdLst>
                <a:gd name="connsiteX0" fmla="*/ 27118 w 42485"/>
                <a:gd name="connsiteY0" fmla="*/ 41280 h 56647"/>
                <a:gd name="connsiteX1" fmla="*/ 38448 w 42485"/>
                <a:gd name="connsiteY1" fmla="*/ 28535 h 56647"/>
                <a:gd name="connsiteX2" fmla="*/ 27118 w 42485"/>
                <a:gd name="connsiteY2" fmla="*/ 15789 h 56647"/>
                <a:gd name="connsiteX3" fmla="*/ 15789 w 42485"/>
                <a:gd name="connsiteY3" fmla="*/ 28535 h 56647"/>
                <a:gd name="connsiteX4" fmla="*/ 27118 w 42485"/>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56647">
                  <a:moveTo>
                    <a:pt x="27118" y="41280"/>
                  </a:moveTo>
                  <a:cubicBezTo>
                    <a:pt x="34199" y="41280"/>
                    <a:pt x="38448" y="35616"/>
                    <a:pt x="38448" y="28535"/>
                  </a:cubicBezTo>
                  <a:cubicBezTo>
                    <a:pt x="38448" y="21454"/>
                    <a:pt x="32783" y="15789"/>
                    <a:pt x="27118" y="15789"/>
                  </a:cubicBezTo>
                  <a:cubicBezTo>
                    <a:pt x="20038" y="15789"/>
                    <a:pt x="15789" y="21454"/>
                    <a:pt x="15789" y="28535"/>
                  </a:cubicBezTo>
                  <a:cubicBezTo>
                    <a:pt x="15789" y="35616"/>
                    <a:pt x="21454" y="41280"/>
                    <a:pt x="27118"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6" name="Freeform: Shape 2325">
              <a:extLst>
                <a:ext uri="{FF2B5EF4-FFF2-40B4-BE49-F238E27FC236}">
                  <a16:creationId xmlns:a16="http://schemas.microsoft.com/office/drawing/2014/main" id="{667528EF-C009-4FCA-BF0A-0788CDD65664}"/>
                </a:ext>
              </a:extLst>
            </p:cNvPr>
            <p:cNvSpPr/>
            <p:nvPr/>
          </p:nvSpPr>
          <p:spPr>
            <a:xfrm>
              <a:off x="2110943" y="1985276"/>
              <a:ext cx="42486" cy="42486"/>
            </a:xfrm>
            <a:custGeom>
              <a:avLst/>
              <a:gdLst>
                <a:gd name="connsiteX0" fmla="*/ 21454 w 42485"/>
                <a:gd name="connsiteY0" fmla="*/ 27118 h 42485"/>
                <a:gd name="connsiteX1" fmla="*/ 27118 w 42485"/>
                <a:gd name="connsiteY1" fmla="*/ 21454 h 42485"/>
                <a:gd name="connsiteX2" fmla="*/ 21454 w 42485"/>
                <a:gd name="connsiteY2" fmla="*/ 15789 h 42485"/>
                <a:gd name="connsiteX3" fmla="*/ 15789 w 42485"/>
                <a:gd name="connsiteY3" fmla="*/ 21454 h 42485"/>
                <a:gd name="connsiteX4" fmla="*/ 21454 w 42485"/>
                <a:gd name="connsiteY4" fmla="*/ 2711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8"/>
                  </a:moveTo>
                  <a:cubicBezTo>
                    <a:pt x="24286" y="27118"/>
                    <a:pt x="27118" y="24286"/>
                    <a:pt x="27118" y="21454"/>
                  </a:cubicBezTo>
                  <a:cubicBezTo>
                    <a:pt x="27118" y="18621"/>
                    <a:pt x="24286" y="15789"/>
                    <a:pt x="21454" y="15789"/>
                  </a:cubicBezTo>
                  <a:cubicBezTo>
                    <a:pt x="18621" y="15789"/>
                    <a:pt x="15789" y="18621"/>
                    <a:pt x="15789" y="21454"/>
                  </a:cubicBezTo>
                  <a:cubicBezTo>
                    <a:pt x="15789" y="24286"/>
                    <a:pt x="18621" y="27118"/>
                    <a:pt x="21454" y="2711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7" name="Freeform: Shape 2326">
              <a:extLst>
                <a:ext uri="{FF2B5EF4-FFF2-40B4-BE49-F238E27FC236}">
                  <a16:creationId xmlns:a16="http://schemas.microsoft.com/office/drawing/2014/main" id="{A0AAFB42-AF19-49AB-8A7E-4A9F11395801}"/>
                </a:ext>
              </a:extLst>
            </p:cNvPr>
            <p:cNvSpPr/>
            <p:nvPr/>
          </p:nvSpPr>
          <p:spPr>
            <a:xfrm>
              <a:off x="2795721" y="2280416"/>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1" y="15789"/>
                    <a:pt x="15789" y="18621"/>
                    <a:pt x="15789" y="21454"/>
                  </a:cubicBezTo>
                  <a:cubicBezTo>
                    <a:pt x="15789" y="24286"/>
                    <a:pt x="17205"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8" name="Freeform: Shape 2327">
              <a:extLst>
                <a:ext uri="{FF2B5EF4-FFF2-40B4-BE49-F238E27FC236}">
                  <a16:creationId xmlns:a16="http://schemas.microsoft.com/office/drawing/2014/main" id="{C75AA0EA-93DE-455C-A51A-6B76E58F6F38}"/>
                </a:ext>
              </a:extLst>
            </p:cNvPr>
            <p:cNvSpPr/>
            <p:nvPr/>
          </p:nvSpPr>
          <p:spPr>
            <a:xfrm>
              <a:off x="2709547" y="2642247"/>
              <a:ext cx="56648" cy="56648"/>
            </a:xfrm>
            <a:custGeom>
              <a:avLst/>
              <a:gdLst>
                <a:gd name="connsiteX0" fmla="*/ 44113 w 56647"/>
                <a:gd name="connsiteY0" fmla="*/ 29951 h 56647"/>
                <a:gd name="connsiteX1" fmla="*/ 29951 w 56647"/>
                <a:gd name="connsiteY1" fmla="*/ 44113 h 56647"/>
                <a:gd name="connsiteX2" fmla="*/ 15789 w 56647"/>
                <a:gd name="connsiteY2" fmla="*/ 29951 h 56647"/>
                <a:gd name="connsiteX3" fmla="*/ 29951 w 56647"/>
                <a:gd name="connsiteY3" fmla="*/ 15789 h 56647"/>
                <a:gd name="connsiteX4" fmla="*/ 44113 w 56647"/>
                <a:gd name="connsiteY4" fmla="*/ 2995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44113" y="29951"/>
                  </a:moveTo>
                  <a:cubicBezTo>
                    <a:pt x="44113" y="37772"/>
                    <a:pt x="37772" y="44113"/>
                    <a:pt x="29951" y="44113"/>
                  </a:cubicBezTo>
                  <a:cubicBezTo>
                    <a:pt x="22129" y="44113"/>
                    <a:pt x="15789" y="37772"/>
                    <a:pt x="15789" y="29951"/>
                  </a:cubicBezTo>
                  <a:cubicBezTo>
                    <a:pt x="15789" y="22129"/>
                    <a:pt x="22129" y="15789"/>
                    <a:pt x="29951" y="15789"/>
                  </a:cubicBezTo>
                  <a:cubicBezTo>
                    <a:pt x="37772" y="15789"/>
                    <a:pt x="44113" y="22129"/>
                    <a:pt x="44113"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9" name="Freeform: Shape 2328">
              <a:extLst>
                <a:ext uri="{FF2B5EF4-FFF2-40B4-BE49-F238E27FC236}">
                  <a16:creationId xmlns:a16="http://schemas.microsoft.com/office/drawing/2014/main" id="{D9DDD13F-1DB0-4D5F-8213-87D817D840DC}"/>
                </a:ext>
              </a:extLst>
            </p:cNvPr>
            <p:cNvSpPr/>
            <p:nvPr/>
          </p:nvSpPr>
          <p:spPr>
            <a:xfrm>
              <a:off x="2261275" y="2520755"/>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1454"/>
                    <a:pt x="38448" y="15789"/>
                    <a:pt x="29951" y="15789"/>
                  </a:cubicBezTo>
                  <a:cubicBezTo>
                    <a:pt x="21454" y="15789"/>
                    <a:pt x="15789" y="21454"/>
                    <a:pt x="15789" y="29951"/>
                  </a:cubicBezTo>
                  <a:cubicBezTo>
                    <a:pt x="15789" y="38448"/>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0" name="Freeform: Shape 2329">
              <a:extLst>
                <a:ext uri="{FF2B5EF4-FFF2-40B4-BE49-F238E27FC236}">
                  <a16:creationId xmlns:a16="http://schemas.microsoft.com/office/drawing/2014/main" id="{1CE93304-3A82-4F1F-84C1-661A209276B7}"/>
                </a:ext>
              </a:extLst>
            </p:cNvPr>
            <p:cNvSpPr/>
            <p:nvPr/>
          </p:nvSpPr>
          <p:spPr>
            <a:xfrm>
              <a:off x="2585710" y="2246184"/>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1454"/>
                    <a:pt x="38448" y="15789"/>
                    <a:pt x="29951" y="15789"/>
                  </a:cubicBezTo>
                  <a:cubicBezTo>
                    <a:pt x="21454" y="15789"/>
                    <a:pt x="15789" y="21454"/>
                    <a:pt x="15789" y="29951"/>
                  </a:cubicBezTo>
                  <a:cubicBezTo>
                    <a:pt x="15789" y="37032"/>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1" name="Freeform: Shape 2330">
              <a:extLst>
                <a:ext uri="{FF2B5EF4-FFF2-40B4-BE49-F238E27FC236}">
                  <a16:creationId xmlns:a16="http://schemas.microsoft.com/office/drawing/2014/main" id="{F4E2ED8D-DFCD-4875-9AE1-AE3131247D9C}"/>
                </a:ext>
              </a:extLst>
            </p:cNvPr>
            <p:cNvSpPr/>
            <p:nvPr/>
          </p:nvSpPr>
          <p:spPr>
            <a:xfrm>
              <a:off x="2142355" y="1958698"/>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8448"/>
                    <a:pt x="44113" y="29951"/>
                  </a:cubicBezTo>
                  <a:cubicBezTo>
                    <a:pt x="44113" y="21454"/>
                    <a:pt x="38448" y="15789"/>
                    <a:pt x="29951" y="15789"/>
                  </a:cubicBezTo>
                  <a:cubicBezTo>
                    <a:pt x="21454" y="15789"/>
                    <a:pt x="15789" y="21454"/>
                    <a:pt x="15789" y="29951"/>
                  </a:cubicBezTo>
                  <a:cubicBezTo>
                    <a:pt x="15789" y="37032"/>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2" name="Freeform: Shape 2331">
              <a:extLst>
                <a:ext uri="{FF2B5EF4-FFF2-40B4-BE49-F238E27FC236}">
                  <a16:creationId xmlns:a16="http://schemas.microsoft.com/office/drawing/2014/main" id="{CCE6EA17-49B5-4A9F-9504-444A6C678C6E}"/>
                </a:ext>
              </a:extLst>
            </p:cNvPr>
            <p:cNvSpPr/>
            <p:nvPr/>
          </p:nvSpPr>
          <p:spPr>
            <a:xfrm>
              <a:off x="2706625" y="1732193"/>
              <a:ext cx="42486" cy="42486"/>
            </a:xfrm>
            <a:custGeom>
              <a:avLst/>
              <a:gdLst>
                <a:gd name="connsiteX0" fmla="*/ 27337 w 42485"/>
                <a:gd name="connsiteY0" fmla="*/ 39864 h 42485"/>
                <a:gd name="connsiteX1" fmla="*/ 38666 w 42485"/>
                <a:gd name="connsiteY1" fmla="*/ 28535 h 42485"/>
                <a:gd name="connsiteX2" fmla="*/ 27337 w 42485"/>
                <a:gd name="connsiteY2" fmla="*/ 15789 h 42485"/>
                <a:gd name="connsiteX3" fmla="*/ 16007 w 42485"/>
                <a:gd name="connsiteY3" fmla="*/ 28535 h 42485"/>
                <a:gd name="connsiteX4" fmla="*/ 27337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9864"/>
                  </a:moveTo>
                  <a:cubicBezTo>
                    <a:pt x="34418" y="39864"/>
                    <a:pt x="38666" y="34199"/>
                    <a:pt x="38666" y="28535"/>
                  </a:cubicBezTo>
                  <a:cubicBezTo>
                    <a:pt x="38666" y="21454"/>
                    <a:pt x="33002" y="15789"/>
                    <a:pt x="27337" y="15789"/>
                  </a:cubicBezTo>
                  <a:cubicBezTo>
                    <a:pt x="20256" y="15789"/>
                    <a:pt x="16007" y="21454"/>
                    <a:pt x="16007" y="28535"/>
                  </a:cubicBezTo>
                  <a:cubicBezTo>
                    <a:pt x="14591" y="34199"/>
                    <a:pt x="20256" y="39864"/>
                    <a:pt x="27337"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3" name="Freeform: Shape 2332">
              <a:extLst>
                <a:ext uri="{FF2B5EF4-FFF2-40B4-BE49-F238E27FC236}">
                  <a16:creationId xmlns:a16="http://schemas.microsoft.com/office/drawing/2014/main" id="{F67F7F38-E8C0-4D38-9133-1BB977B38BBF}"/>
                </a:ext>
              </a:extLst>
            </p:cNvPr>
            <p:cNvSpPr/>
            <p:nvPr/>
          </p:nvSpPr>
          <p:spPr>
            <a:xfrm>
              <a:off x="3075053" y="1781759"/>
              <a:ext cx="42486" cy="42486"/>
            </a:xfrm>
            <a:custGeom>
              <a:avLst/>
              <a:gdLst>
                <a:gd name="connsiteX0" fmla="*/ 27119 w 42485"/>
                <a:gd name="connsiteY0" fmla="*/ 39864 h 42485"/>
                <a:gd name="connsiteX1" fmla="*/ 38448 w 42485"/>
                <a:gd name="connsiteY1" fmla="*/ 28535 h 42485"/>
                <a:gd name="connsiteX2" fmla="*/ 27119 w 42485"/>
                <a:gd name="connsiteY2" fmla="*/ 15789 h 42485"/>
                <a:gd name="connsiteX3" fmla="*/ 15789 w 42485"/>
                <a:gd name="connsiteY3" fmla="*/ 28535 h 42485"/>
                <a:gd name="connsiteX4" fmla="*/ 27119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9864"/>
                  </a:moveTo>
                  <a:cubicBezTo>
                    <a:pt x="34200" y="39864"/>
                    <a:pt x="38448" y="34199"/>
                    <a:pt x="38448" y="28535"/>
                  </a:cubicBezTo>
                  <a:cubicBezTo>
                    <a:pt x="38448" y="22870"/>
                    <a:pt x="32783" y="15789"/>
                    <a:pt x="27119" y="15789"/>
                  </a:cubicBezTo>
                  <a:cubicBezTo>
                    <a:pt x="20038" y="15789"/>
                    <a:pt x="15789" y="21454"/>
                    <a:pt x="15789" y="28535"/>
                  </a:cubicBezTo>
                  <a:cubicBezTo>
                    <a:pt x="15789" y="35616"/>
                    <a:pt x="21454" y="39864"/>
                    <a:pt x="27119"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4" name="Freeform: Shape 2333">
              <a:extLst>
                <a:ext uri="{FF2B5EF4-FFF2-40B4-BE49-F238E27FC236}">
                  <a16:creationId xmlns:a16="http://schemas.microsoft.com/office/drawing/2014/main" id="{B46FE1F4-B4FC-414D-A1B1-19DD1562FC0B}"/>
                </a:ext>
              </a:extLst>
            </p:cNvPr>
            <p:cNvSpPr/>
            <p:nvPr/>
          </p:nvSpPr>
          <p:spPr>
            <a:xfrm>
              <a:off x="3025888" y="2418873"/>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1454"/>
                    <a:pt x="37032" y="15789"/>
                    <a:pt x="29951" y="15789"/>
                  </a:cubicBezTo>
                  <a:cubicBezTo>
                    <a:pt x="21454" y="15789"/>
                    <a:pt x="15789" y="22870"/>
                    <a:pt x="15789" y="29951"/>
                  </a:cubicBezTo>
                  <a:cubicBezTo>
                    <a:pt x="15789" y="38448"/>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5" name="Freeform: Shape 2334">
              <a:extLst>
                <a:ext uri="{FF2B5EF4-FFF2-40B4-BE49-F238E27FC236}">
                  <a16:creationId xmlns:a16="http://schemas.microsoft.com/office/drawing/2014/main" id="{3B4EB689-CB8A-4705-BFD1-FD817786AB56}"/>
                </a:ext>
              </a:extLst>
            </p:cNvPr>
            <p:cNvSpPr/>
            <p:nvPr/>
          </p:nvSpPr>
          <p:spPr>
            <a:xfrm>
              <a:off x="2483572" y="1997350"/>
              <a:ext cx="84971" cy="84971"/>
            </a:xfrm>
            <a:custGeom>
              <a:avLst/>
              <a:gdLst>
                <a:gd name="connsiteX0" fmla="*/ 45529 w 84971"/>
                <a:gd name="connsiteY0" fmla="*/ 75269 h 84971"/>
                <a:gd name="connsiteX1" fmla="*/ 75269 w 84971"/>
                <a:gd name="connsiteY1" fmla="*/ 45529 h 84971"/>
                <a:gd name="connsiteX2" fmla="*/ 45529 w 84971"/>
                <a:gd name="connsiteY2" fmla="*/ 15789 h 84971"/>
                <a:gd name="connsiteX3" fmla="*/ 15789 w 84971"/>
                <a:gd name="connsiteY3" fmla="*/ 45529 h 84971"/>
                <a:gd name="connsiteX4" fmla="*/ 45529 w 84971"/>
                <a:gd name="connsiteY4" fmla="*/ 7526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529" y="75269"/>
                  </a:moveTo>
                  <a:cubicBezTo>
                    <a:pt x="62523" y="75269"/>
                    <a:pt x="75269" y="61107"/>
                    <a:pt x="75269" y="45529"/>
                  </a:cubicBezTo>
                  <a:cubicBezTo>
                    <a:pt x="75269" y="28535"/>
                    <a:pt x="61107" y="15789"/>
                    <a:pt x="45529" y="15789"/>
                  </a:cubicBezTo>
                  <a:cubicBezTo>
                    <a:pt x="28535" y="15789"/>
                    <a:pt x="15789" y="29951"/>
                    <a:pt x="15789" y="45529"/>
                  </a:cubicBezTo>
                  <a:cubicBezTo>
                    <a:pt x="15789" y="62523"/>
                    <a:pt x="29951" y="75269"/>
                    <a:pt x="45529" y="752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6" name="Freeform: Shape 2335">
              <a:extLst>
                <a:ext uri="{FF2B5EF4-FFF2-40B4-BE49-F238E27FC236}">
                  <a16:creationId xmlns:a16="http://schemas.microsoft.com/office/drawing/2014/main" id="{6FAD8298-3346-497A-85AF-CD8378E9790E}"/>
                </a:ext>
              </a:extLst>
            </p:cNvPr>
            <p:cNvSpPr/>
            <p:nvPr/>
          </p:nvSpPr>
          <p:spPr>
            <a:xfrm>
              <a:off x="2207672" y="2695373"/>
              <a:ext cx="56648" cy="56648"/>
            </a:xfrm>
            <a:custGeom>
              <a:avLst/>
              <a:gdLst>
                <a:gd name="connsiteX0" fmla="*/ 34200 w 56647"/>
                <a:gd name="connsiteY0" fmla="*/ 52610 h 56647"/>
                <a:gd name="connsiteX1" fmla="*/ 52610 w 56647"/>
                <a:gd name="connsiteY1" fmla="*/ 34200 h 56647"/>
                <a:gd name="connsiteX2" fmla="*/ 34200 w 56647"/>
                <a:gd name="connsiteY2" fmla="*/ 15789 h 56647"/>
                <a:gd name="connsiteX3" fmla="*/ 15789 w 56647"/>
                <a:gd name="connsiteY3" fmla="*/ 34200 h 56647"/>
                <a:gd name="connsiteX4" fmla="*/ 34200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200" y="52610"/>
                  </a:moveTo>
                  <a:cubicBezTo>
                    <a:pt x="44113" y="52610"/>
                    <a:pt x="52610" y="44113"/>
                    <a:pt x="52610" y="34200"/>
                  </a:cubicBezTo>
                  <a:cubicBezTo>
                    <a:pt x="52610" y="24286"/>
                    <a:pt x="44113" y="15789"/>
                    <a:pt x="34200" y="15789"/>
                  </a:cubicBezTo>
                  <a:cubicBezTo>
                    <a:pt x="24286" y="15789"/>
                    <a:pt x="15789" y="24286"/>
                    <a:pt x="15789" y="34200"/>
                  </a:cubicBezTo>
                  <a:cubicBezTo>
                    <a:pt x="15789" y="44113"/>
                    <a:pt x="24286" y="52610"/>
                    <a:pt x="34200"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7" name="Freeform: Shape 2336">
              <a:extLst>
                <a:ext uri="{FF2B5EF4-FFF2-40B4-BE49-F238E27FC236}">
                  <a16:creationId xmlns:a16="http://schemas.microsoft.com/office/drawing/2014/main" id="{9EA8F082-BF73-4B8F-8275-C56645635A90}"/>
                </a:ext>
              </a:extLst>
            </p:cNvPr>
            <p:cNvSpPr/>
            <p:nvPr/>
          </p:nvSpPr>
          <p:spPr>
            <a:xfrm>
              <a:off x="2148864" y="2141472"/>
              <a:ext cx="42486" cy="42486"/>
            </a:xfrm>
            <a:custGeom>
              <a:avLst/>
              <a:gdLst>
                <a:gd name="connsiteX0" fmla="*/ 27118 w 42485"/>
                <a:gd name="connsiteY0" fmla="*/ 38448 h 42485"/>
                <a:gd name="connsiteX1" fmla="*/ 38448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4199" y="38448"/>
                    <a:pt x="38448" y="32783"/>
                    <a:pt x="38448" y="27119"/>
                  </a:cubicBezTo>
                  <a:cubicBezTo>
                    <a:pt x="38448" y="20038"/>
                    <a:pt x="32783" y="15789"/>
                    <a:pt x="27118" y="15789"/>
                  </a:cubicBezTo>
                  <a:cubicBezTo>
                    <a:pt x="21454" y="15789"/>
                    <a:pt x="15789" y="21454"/>
                    <a:pt x="15789" y="27119"/>
                  </a:cubicBezTo>
                  <a:cubicBezTo>
                    <a:pt x="15789" y="32783"/>
                    <a:pt x="21454"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8" name="Freeform: Shape 2337">
              <a:extLst>
                <a:ext uri="{FF2B5EF4-FFF2-40B4-BE49-F238E27FC236}">
                  <a16:creationId xmlns:a16="http://schemas.microsoft.com/office/drawing/2014/main" id="{167CB62A-577D-46F1-8BF1-2F60DAFF4199}"/>
                </a:ext>
              </a:extLst>
            </p:cNvPr>
            <p:cNvSpPr/>
            <p:nvPr/>
          </p:nvSpPr>
          <p:spPr>
            <a:xfrm>
              <a:off x="2028487" y="1587741"/>
              <a:ext cx="42486" cy="42486"/>
            </a:xfrm>
            <a:custGeom>
              <a:avLst/>
              <a:gdLst>
                <a:gd name="connsiteX0" fmla="*/ 28535 w 42485"/>
                <a:gd name="connsiteY0" fmla="*/ 39864 h 42485"/>
                <a:gd name="connsiteX1" fmla="*/ 39864 w 42485"/>
                <a:gd name="connsiteY1" fmla="*/ 28535 h 42485"/>
                <a:gd name="connsiteX2" fmla="*/ 28535 w 42485"/>
                <a:gd name="connsiteY2" fmla="*/ 15789 h 42485"/>
                <a:gd name="connsiteX3" fmla="*/ 15789 w 42485"/>
                <a:gd name="connsiteY3" fmla="*/ 28535 h 42485"/>
                <a:gd name="connsiteX4" fmla="*/ 28535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8535" y="39864"/>
                  </a:moveTo>
                  <a:cubicBezTo>
                    <a:pt x="35616" y="39864"/>
                    <a:pt x="39864" y="34200"/>
                    <a:pt x="39864" y="28535"/>
                  </a:cubicBezTo>
                  <a:cubicBezTo>
                    <a:pt x="39864" y="21454"/>
                    <a:pt x="34199" y="15789"/>
                    <a:pt x="28535" y="15789"/>
                  </a:cubicBezTo>
                  <a:cubicBezTo>
                    <a:pt x="21454" y="15789"/>
                    <a:pt x="15789" y="21454"/>
                    <a:pt x="15789" y="28535"/>
                  </a:cubicBezTo>
                  <a:cubicBezTo>
                    <a:pt x="15789" y="34200"/>
                    <a:pt x="21454" y="39864"/>
                    <a:pt x="28535"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9" name="Freeform: Shape 2338">
              <a:extLst>
                <a:ext uri="{FF2B5EF4-FFF2-40B4-BE49-F238E27FC236}">
                  <a16:creationId xmlns:a16="http://schemas.microsoft.com/office/drawing/2014/main" id="{F2BA6703-E438-4007-A8FC-C457A5CB1CF7}"/>
                </a:ext>
              </a:extLst>
            </p:cNvPr>
            <p:cNvSpPr/>
            <p:nvPr/>
          </p:nvSpPr>
          <p:spPr>
            <a:xfrm>
              <a:off x="2983000" y="1777511"/>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8448"/>
                    <a:pt x="44113" y="29951"/>
                  </a:cubicBezTo>
                  <a:cubicBezTo>
                    <a:pt x="44113" y="21454"/>
                    <a:pt x="38448" y="15789"/>
                    <a:pt x="29951" y="15789"/>
                  </a:cubicBezTo>
                  <a:cubicBezTo>
                    <a:pt x="21454" y="15789"/>
                    <a:pt x="15789" y="21454"/>
                    <a:pt x="15789" y="29951"/>
                  </a:cubicBezTo>
                  <a:cubicBezTo>
                    <a:pt x="15789" y="37032"/>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0" name="Freeform: Shape 2339">
              <a:extLst>
                <a:ext uri="{FF2B5EF4-FFF2-40B4-BE49-F238E27FC236}">
                  <a16:creationId xmlns:a16="http://schemas.microsoft.com/office/drawing/2014/main" id="{075706F5-C0D5-498E-80B0-3760B5E61051}"/>
                </a:ext>
              </a:extLst>
            </p:cNvPr>
            <p:cNvSpPr/>
            <p:nvPr/>
          </p:nvSpPr>
          <p:spPr>
            <a:xfrm>
              <a:off x="1709844" y="1872395"/>
              <a:ext cx="70810" cy="70810"/>
            </a:xfrm>
            <a:custGeom>
              <a:avLst/>
              <a:gdLst>
                <a:gd name="connsiteX0" fmla="*/ 39864 w 70809"/>
                <a:gd name="connsiteY0" fmla="*/ 63940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2610" y="63940"/>
                    <a:pt x="63940" y="52610"/>
                    <a:pt x="63940" y="39864"/>
                  </a:cubicBezTo>
                  <a:cubicBezTo>
                    <a:pt x="63940" y="27119"/>
                    <a:pt x="52610" y="15789"/>
                    <a:pt x="39864" y="15789"/>
                  </a:cubicBezTo>
                  <a:cubicBezTo>
                    <a:pt x="27119" y="15789"/>
                    <a:pt x="15789" y="27119"/>
                    <a:pt x="15789" y="39864"/>
                  </a:cubicBezTo>
                  <a:cubicBezTo>
                    <a:pt x="15789" y="52610"/>
                    <a:pt x="27119"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1" name="Freeform: Shape 2340">
              <a:extLst>
                <a:ext uri="{FF2B5EF4-FFF2-40B4-BE49-F238E27FC236}">
                  <a16:creationId xmlns:a16="http://schemas.microsoft.com/office/drawing/2014/main" id="{03FDBBAE-0FC8-4A7F-A155-E96858C9BE3B}"/>
                </a:ext>
              </a:extLst>
            </p:cNvPr>
            <p:cNvSpPr/>
            <p:nvPr/>
          </p:nvSpPr>
          <p:spPr>
            <a:xfrm>
              <a:off x="1358629" y="1623146"/>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5789" y="71020"/>
                    <a:pt x="31367"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2" name="Freeform: Shape 2341">
              <a:extLst>
                <a:ext uri="{FF2B5EF4-FFF2-40B4-BE49-F238E27FC236}">
                  <a16:creationId xmlns:a16="http://schemas.microsoft.com/office/drawing/2014/main" id="{E0A02818-7B39-4CF2-BD68-A5BA49DA5AC2}"/>
                </a:ext>
              </a:extLst>
            </p:cNvPr>
            <p:cNvSpPr/>
            <p:nvPr/>
          </p:nvSpPr>
          <p:spPr>
            <a:xfrm>
              <a:off x="2141034" y="2883480"/>
              <a:ext cx="56648" cy="56648"/>
            </a:xfrm>
            <a:custGeom>
              <a:avLst/>
              <a:gdLst>
                <a:gd name="connsiteX0" fmla="*/ 34199 w 56647"/>
                <a:gd name="connsiteY0" fmla="*/ 52610 h 56647"/>
                <a:gd name="connsiteX1" fmla="*/ 52610 w 56647"/>
                <a:gd name="connsiteY1" fmla="*/ 34200 h 56647"/>
                <a:gd name="connsiteX2" fmla="*/ 34199 w 56647"/>
                <a:gd name="connsiteY2" fmla="*/ 15789 h 56647"/>
                <a:gd name="connsiteX3" fmla="*/ 15789 w 56647"/>
                <a:gd name="connsiteY3" fmla="*/ 34200 h 56647"/>
                <a:gd name="connsiteX4" fmla="*/ 34199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199" y="52610"/>
                  </a:moveTo>
                  <a:cubicBezTo>
                    <a:pt x="44113" y="52610"/>
                    <a:pt x="52610" y="44113"/>
                    <a:pt x="52610" y="34200"/>
                  </a:cubicBezTo>
                  <a:cubicBezTo>
                    <a:pt x="52610" y="24286"/>
                    <a:pt x="44113" y="15789"/>
                    <a:pt x="34199" y="15789"/>
                  </a:cubicBezTo>
                  <a:cubicBezTo>
                    <a:pt x="24286" y="15789"/>
                    <a:pt x="15789" y="24286"/>
                    <a:pt x="15789" y="34200"/>
                  </a:cubicBezTo>
                  <a:cubicBezTo>
                    <a:pt x="15789" y="44113"/>
                    <a:pt x="22870" y="52610"/>
                    <a:pt x="34199"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3" name="Freeform: Shape 2342">
              <a:extLst>
                <a:ext uri="{FF2B5EF4-FFF2-40B4-BE49-F238E27FC236}">
                  <a16:creationId xmlns:a16="http://schemas.microsoft.com/office/drawing/2014/main" id="{E5E60501-BD61-40C8-B93C-1080059C110E}"/>
                </a:ext>
              </a:extLst>
            </p:cNvPr>
            <p:cNvSpPr/>
            <p:nvPr/>
          </p:nvSpPr>
          <p:spPr>
            <a:xfrm>
              <a:off x="972009" y="1117566"/>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4" name="Freeform: Shape 2343">
              <a:extLst>
                <a:ext uri="{FF2B5EF4-FFF2-40B4-BE49-F238E27FC236}">
                  <a16:creationId xmlns:a16="http://schemas.microsoft.com/office/drawing/2014/main" id="{4009260A-85ED-4F80-9028-3B6FDBAC8355}"/>
                </a:ext>
              </a:extLst>
            </p:cNvPr>
            <p:cNvSpPr/>
            <p:nvPr/>
          </p:nvSpPr>
          <p:spPr>
            <a:xfrm>
              <a:off x="1384120" y="1198289"/>
              <a:ext cx="70810" cy="70810"/>
            </a:xfrm>
            <a:custGeom>
              <a:avLst/>
              <a:gdLst>
                <a:gd name="connsiteX0" fmla="*/ 58275 w 70809"/>
                <a:gd name="connsiteY0" fmla="*/ 37032 h 70809"/>
                <a:gd name="connsiteX1" fmla="*/ 37032 w 70809"/>
                <a:gd name="connsiteY1" fmla="*/ 58275 h 70809"/>
                <a:gd name="connsiteX2" fmla="*/ 15789 w 70809"/>
                <a:gd name="connsiteY2" fmla="*/ 37032 h 70809"/>
                <a:gd name="connsiteX3" fmla="*/ 37032 w 70809"/>
                <a:gd name="connsiteY3" fmla="*/ 15789 h 70809"/>
                <a:gd name="connsiteX4" fmla="*/ 58275 w 70809"/>
                <a:gd name="connsiteY4" fmla="*/ 3703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58275" y="37032"/>
                  </a:moveTo>
                  <a:cubicBezTo>
                    <a:pt x="58275" y="48764"/>
                    <a:pt x="48764" y="58275"/>
                    <a:pt x="37032" y="58275"/>
                  </a:cubicBezTo>
                  <a:cubicBezTo>
                    <a:pt x="25300" y="58275"/>
                    <a:pt x="15789" y="48764"/>
                    <a:pt x="15789" y="37032"/>
                  </a:cubicBezTo>
                  <a:cubicBezTo>
                    <a:pt x="15789" y="25300"/>
                    <a:pt x="25300" y="15789"/>
                    <a:pt x="37032" y="15789"/>
                  </a:cubicBezTo>
                  <a:cubicBezTo>
                    <a:pt x="48764" y="15789"/>
                    <a:pt x="58275" y="25300"/>
                    <a:pt x="58275" y="3703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5" name="Freeform: Shape 2344">
              <a:extLst>
                <a:ext uri="{FF2B5EF4-FFF2-40B4-BE49-F238E27FC236}">
                  <a16:creationId xmlns:a16="http://schemas.microsoft.com/office/drawing/2014/main" id="{64581AF6-A7FF-4B74-9D50-6E3DEE592364}"/>
                </a:ext>
              </a:extLst>
            </p:cNvPr>
            <p:cNvSpPr/>
            <p:nvPr/>
          </p:nvSpPr>
          <p:spPr>
            <a:xfrm>
              <a:off x="1013078" y="1761933"/>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2" y="15789"/>
                    <a:pt x="15789" y="25702"/>
                    <a:pt x="15789" y="37032"/>
                  </a:cubicBezTo>
                  <a:cubicBezTo>
                    <a:pt x="15789" y="49778"/>
                    <a:pt x="25702"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6" name="Freeform: Shape 2345">
              <a:extLst>
                <a:ext uri="{FF2B5EF4-FFF2-40B4-BE49-F238E27FC236}">
                  <a16:creationId xmlns:a16="http://schemas.microsoft.com/office/drawing/2014/main" id="{4CF8EE7F-E80E-4AE8-A9B0-4013C7139566}"/>
                </a:ext>
              </a:extLst>
            </p:cNvPr>
            <p:cNvSpPr/>
            <p:nvPr/>
          </p:nvSpPr>
          <p:spPr>
            <a:xfrm>
              <a:off x="900981" y="1574995"/>
              <a:ext cx="42486" cy="42486"/>
            </a:xfrm>
            <a:custGeom>
              <a:avLst/>
              <a:gdLst>
                <a:gd name="connsiteX0" fmla="*/ 27337 w 42485"/>
                <a:gd name="connsiteY0" fmla="*/ 39864 h 42485"/>
                <a:gd name="connsiteX1" fmla="*/ 38667 w 42485"/>
                <a:gd name="connsiteY1" fmla="*/ 28535 h 42485"/>
                <a:gd name="connsiteX2" fmla="*/ 27337 w 42485"/>
                <a:gd name="connsiteY2" fmla="*/ 15789 h 42485"/>
                <a:gd name="connsiteX3" fmla="*/ 16007 w 42485"/>
                <a:gd name="connsiteY3" fmla="*/ 28535 h 42485"/>
                <a:gd name="connsiteX4" fmla="*/ 27337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9864"/>
                  </a:moveTo>
                  <a:cubicBezTo>
                    <a:pt x="34418" y="39864"/>
                    <a:pt x="38667" y="34200"/>
                    <a:pt x="38667" y="28535"/>
                  </a:cubicBezTo>
                  <a:cubicBezTo>
                    <a:pt x="38667" y="21454"/>
                    <a:pt x="33002" y="15789"/>
                    <a:pt x="27337" y="15789"/>
                  </a:cubicBezTo>
                  <a:cubicBezTo>
                    <a:pt x="20256" y="15789"/>
                    <a:pt x="16007" y="21454"/>
                    <a:pt x="16007" y="28535"/>
                  </a:cubicBezTo>
                  <a:cubicBezTo>
                    <a:pt x="14591" y="34200"/>
                    <a:pt x="20256" y="39864"/>
                    <a:pt x="27337"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7" name="Freeform: Shape 2346">
              <a:extLst>
                <a:ext uri="{FF2B5EF4-FFF2-40B4-BE49-F238E27FC236}">
                  <a16:creationId xmlns:a16="http://schemas.microsoft.com/office/drawing/2014/main" id="{C2ED6952-7767-4D69-B65A-D5ADD39F6F42}"/>
                </a:ext>
              </a:extLst>
            </p:cNvPr>
            <p:cNvSpPr/>
            <p:nvPr/>
          </p:nvSpPr>
          <p:spPr>
            <a:xfrm>
              <a:off x="1140535" y="1233693"/>
              <a:ext cx="42486" cy="42486"/>
            </a:xfrm>
            <a:custGeom>
              <a:avLst/>
              <a:gdLst>
                <a:gd name="connsiteX0" fmla="*/ 28535 w 42485"/>
                <a:gd name="connsiteY0" fmla="*/ 39864 h 42485"/>
                <a:gd name="connsiteX1" fmla="*/ 39864 w 42485"/>
                <a:gd name="connsiteY1" fmla="*/ 28535 h 42485"/>
                <a:gd name="connsiteX2" fmla="*/ 28535 w 42485"/>
                <a:gd name="connsiteY2" fmla="*/ 15789 h 42485"/>
                <a:gd name="connsiteX3" fmla="*/ 15789 w 42485"/>
                <a:gd name="connsiteY3" fmla="*/ 28535 h 42485"/>
                <a:gd name="connsiteX4" fmla="*/ 28535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8535" y="39864"/>
                  </a:moveTo>
                  <a:cubicBezTo>
                    <a:pt x="35616" y="39864"/>
                    <a:pt x="39864" y="34200"/>
                    <a:pt x="39864" y="28535"/>
                  </a:cubicBezTo>
                  <a:cubicBezTo>
                    <a:pt x="39864" y="22870"/>
                    <a:pt x="34199" y="15789"/>
                    <a:pt x="28535" y="15789"/>
                  </a:cubicBezTo>
                  <a:cubicBezTo>
                    <a:pt x="21454" y="15789"/>
                    <a:pt x="15789" y="21454"/>
                    <a:pt x="15789" y="28535"/>
                  </a:cubicBezTo>
                  <a:cubicBezTo>
                    <a:pt x="15789" y="35616"/>
                    <a:pt x="21454" y="39864"/>
                    <a:pt x="28535"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8" name="Freeform: Shape 2347">
              <a:extLst>
                <a:ext uri="{FF2B5EF4-FFF2-40B4-BE49-F238E27FC236}">
                  <a16:creationId xmlns:a16="http://schemas.microsoft.com/office/drawing/2014/main" id="{F79D7FDD-981C-40E4-BF2C-DEA14B239C59}"/>
                </a:ext>
              </a:extLst>
            </p:cNvPr>
            <p:cNvSpPr/>
            <p:nvPr/>
          </p:nvSpPr>
          <p:spPr>
            <a:xfrm>
              <a:off x="874292" y="1293173"/>
              <a:ext cx="113295" cy="113295"/>
            </a:xfrm>
            <a:custGeom>
              <a:avLst/>
              <a:gdLst>
                <a:gd name="connsiteX0" fmla="*/ 58275 w 113295"/>
                <a:gd name="connsiteY0" fmla="*/ 100760 h 113295"/>
                <a:gd name="connsiteX1" fmla="*/ 100760 w 113295"/>
                <a:gd name="connsiteY1" fmla="*/ 58275 h 113295"/>
                <a:gd name="connsiteX2" fmla="*/ 58275 w 113295"/>
                <a:gd name="connsiteY2" fmla="*/ 15789 h 113295"/>
                <a:gd name="connsiteX3" fmla="*/ 15789 w 113295"/>
                <a:gd name="connsiteY3" fmla="*/ 58275 h 113295"/>
                <a:gd name="connsiteX4" fmla="*/ 58275 w 113295"/>
                <a:gd name="connsiteY4" fmla="*/ 100760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8275" y="100760"/>
                  </a:moveTo>
                  <a:cubicBezTo>
                    <a:pt x="82350" y="100760"/>
                    <a:pt x="100760" y="80934"/>
                    <a:pt x="100760" y="58275"/>
                  </a:cubicBezTo>
                  <a:cubicBezTo>
                    <a:pt x="100760" y="35616"/>
                    <a:pt x="80934" y="15789"/>
                    <a:pt x="58275" y="15789"/>
                  </a:cubicBezTo>
                  <a:cubicBezTo>
                    <a:pt x="34199" y="15789"/>
                    <a:pt x="15789" y="35616"/>
                    <a:pt x="15789" y="58275"/>
                  </a:cubicBezTo>
                  <a:cubicBezTo>
                    <a:pt x="15789" y="80934"/>
                    <a:pt x="34199" y="100760"/>
                    <a:pt x="58275" y="1007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9" name="Freeform: Shape 2348">
              <a:extLst>
                <a:ext uri="{FF2B5EF4-FFF2-40B4-BE49-F238E27FC236}">
                  <a16:creationId xmlns:a16="http://schemas.microsoft.com/office/drawing/2014/main" id="{4A486E2B-8F8A-41F8-94F9-792D03EED646}"/>
                </a:ext>
              </a:extLst>
            </p:cNvPr>
            <p:cNvSpPr/>
            <p:nvPr/>
          </p:nvSpPr>
          <p:spPr>
            <a:xfrm>
              <a:off x="2141783" y="1015600"/>
              <a:ext cx="113295" cy="113295"/>
            </a:xfrm>
            <a:custGeom>
              <a:avLst/>
              <a:gdLst>
                <a:gd name="connsiteX0" fmla="*/ 58275 w 113295"/>
                <a:gd name="connsiteY0" fmla="*/ 100760 h 113295"/>
                <a:gd name="connsiteX1" fmla="*/ 100760 w 113295"/>
                <a:gd name="connsiteY1" fmla="*/ 58275 h 113295"/>
                <a:gd name="connsiteX2" fmla="*/ 58275 w 113295"/>
                <a:gd name="connsiteY2" fmla="*/ 15789 h 113295"/>
                <a:gd name="connsiteX3" fmla="*/ 15789 w 113295"/>
                <a:gd name="connsiteY3" fmla="*/ 58275 h 113295"/>
                <a:gd name="connsiteX4" fmla="*/ 58275 w 113295"/>
                <a:gd name="connsiteY4" fmla="*/ 100760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8275" y="100760"/>
                  </a:moveTo>
                  <a:cubicBezTo>
                    <a:pt x="82350" y="100760"/>
                    <a:pt x="100760" y="80934"/>
                    <a:pt x="100760" y="58275"/>
                  </a:cubicBezTo>
                  <a:cubicBezTo>
                    <a:pt x="100760" y="35616"/>
                    <a:pt x="80934" y="15789"/>
                    <a:pt x="58275" y="15789"/>
                  </a:cubicBezTo>
                  <a:cubicBezTo>
                    <a:pt x="34199" y="15789"/>
                    <a:pt x="15789" y="35616"/>
                    <a:pt x="15789" y="58275"/>
                  </a:cubicBezTo>
                  <a:cubicBezTo>
                    <a:pt x="15789" y="80934"/>
                    <a:pt x="34199" y="100760"/>
                    <a:pt x="58275" y="1007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0" name="Freeform: Shape 2349">
              <a:extLst>
                <a:ext uri="{FF2B5EF4-FFF2-40B4-BE49-F238E27FC236}">
                  <a16:creationId xmlns:a16="http://schemas.microsoft.com/office/drawing/2014/main" id="{225DF158-EB5D-49A9-AC01-A2919C40B862}"/>
                </a:ext>
              </a:extLst>
            </p:cNvPr>
            <p:cNvSpPr/>
            <p:nvPr/>
          </p:nvSpPr>
          <p:spPr>
            <a:xfrm>
              <a:off x="2725254" y="1526845"/>
              <a:ext cx="84971" cy="84971"/>
            </a:xfrm>
            <a:custGeom>
              <a:avLst/>
              <a:gdLst>
                <a:gd name="connsiteX0" fmla="*/ 46945 w 84971"/>
                <a:gd name="connsiteY0" fmla="*/ 78101 h 84971"/>
                <a:gd name="connsiteX1" fmla="*/ 78101 w 84971"/>
                <a:gd name="connsiteY1" fmla="*/ 46945 h 84971"/>
                <a:gd name="connsiteX2" fmla="*/ 46945 w 84971"/>
                <a:gd name="connsiteY2" fmla="*/ 15789 h 84971"/>
                <a:gd name="connsiteX3" fmla="*/ 15789 w 84971"/>
                <a:gd name="connsiteY3" fmla="*/ 46945 h 84971"/>
                <a:gd name="connsiteX4" fmla="*/ 46945 w 84971"/>
                <a:gd name="connsiteY4" fmla="*/ 78101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6945" y="78101"/>
                  </a:moveTo>
                  <a:cubicBezTo>
                    <a:pt x="63939" y="78101"/>
                    <a:pt x="78101" y="63939"/>
                    <a:pt x="78101" y="46945"/>
                  </a:cubicBezTo>
                  <a:cubicBezTo>
                    <a:pt x="78101" y="29951"/>
                    <a:pt x="63939" y="15789"/>
                    <a:pt x="46945" y="15789"/>
                  </a:cubicBezTo>
                  <a:cubicBezTo>
                    <a:pt x="29951" y="15789"/>
                    <a:pt x="15789" y="29951"/>
                    <a:pt x="15789" y="46945"/>
                  </a:cubicBezTo>
                  <a:cubicBezTo>
                    <a:pt x="15789" y="65356"/>
                    <a:pt x="29951" y="78101"/>
                    <a:pt x="46945" y="7810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1" name="Freeform: Shape 2350">
              <a:extLst>
                <a:ext uri="{FF2B5EF4-FFF2-40B4-BE49-F238E27FC236}">
                  <a16:creationId xmlns:a16="http://schemas.microsoft.com/office/drawing/2014/main" id="{CCBE19E2-C64A-4370-9F23-D1263C9B2EA4}"/>
                </a:ext>
              </a:extLst>
            </p:cNvPr>
            <p:cNvSpPr/>
            <p:nvPr/>
          </p:nvSpPr>
          <p:spPr>
            <a:xfrm>
              <a:off x="1597965" y="1280428"/>
              <a:ext cx="42486" cy="42486"/>
            </a:xfrm>
            <a:custGeom>
              <a:avLst/>
              <a:gdLst>
                <a:gd name="connsiteX0" fmla="*/ 27119 w 42485"/>
                <a:gd name="connsiteY0" fmla="*/ 38448 h 42485"/>
                <a:gd name="connsiteX1" fmla="*/ 38448 w 42485"/>
                <a:gd name="connsiteY1" fmla="*/ 27118 h 42485"/>
                <a:gd name="connsiteX2" fmla="*/ 27119 w 42485"/>
                <a:gd name="connsiteY2" fmla="*/ 15789 h 42485"/>
                <a:gd name="connsiteX3" fmla="*/ 15789 w 42485"/>
                <a:gd name="connsiteY3" fmla="*/ 27118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8"/>
                  </a:cubicBezTo>
                  <a:cubicBezTo>
                    <a:pt x="38448" y="21454"/>
                    <a:pt x="32783" y="15789"/>
                    <a:pt x="27119" y="15789"/>
                  </a:cubicBezTo>
                  <a:cubicBezTo>
                    <a:pt x="21454" y="15789"/>
                    <a:pt x="15789" y="21454"/>
                    <a:pt x="15789" y="27118"/>
                  </a:cubicBezTo>
                  <a:cubicBezTo>
                    <a:pt x="15789" y="32783"/>
                    <a:pt x="21454"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2" name="Freeform: Shape 2351">
              <a:extLst>
                <a:ext uri="{FF2B5EF4-FFF2-40B4-BE49-F238E27FC236}">
                  <a16:creationId xmlns:a16="http://schemas.microsoft.com/office/drawing/2014/main" id="{E45C4FAF-FEB7-4E2F-95CC-50419CEDCE03}"/>
                </a:ext>
              </a:extLst>
            </p:cNvPr>
            <p:cNvSpPr/>
            <p:nvPr/>
          </p:nvSpPr>
          <p:spPr>
            <a:xfrm>
              <a:off x="1838718" y="1215283"/>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3" name="Freeform: Shape 2352">
              <a:extLst>
                <a:ext uri="{FF2B5EF4-FFF2-40B4-BE49-F238E27FC236}">
                  <a16:creationId xmlns:a16="http://schemas.microsoft.com/office/drawing/2014/main" id="{CE21C2A3-1196-4CE4-A0CB-6FCC6393E858}"/>
                </a:ext>
              </a:extLst>
            </p:cNvPr>
            <p:cNvSpPr/>
            <p:nvPr/>
          </p:nvSpPr>
          <p:spPr>
            <a:xfrm>
              <a:off x="2134483" y="1242190"/>
              <a:ext cx="42486" cy="42486"/>
            </a:xfrm>
            <a:custGeom>
              <a:avLst/>
              <a:gdLst>
                <a:gd name="connsiteX0" fmla="*/ 27337 w 42485"/>
                <a:gd name="connsiteY0" fmla="*/ 39864 h 42485"/>
                <a:gd name="connsiteX1" fmla="*/ 38667 w 42485"/>
                <a:gd name="connsiteY1" fmla="*/ 27119 h 42485"/>
                <a:gd name="connsiteX2" fmla="*/ 27337 w 42485"/>
                <a:gd name="connsiteY2" fmla="*/ 15789 h 42485"/>
                <a:gd name="connsiteX3" fmla="*/ 16007 w 42485"/>
                <a:gd name="connsiteY3" fmla="*/ 27119 h 42485"/>
                <a:gd name="connsiteX4" fmla="*/ 27337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9864"/>
                  </a:moveTo>
                  <a:cubicBezTo>
                    <a:pt x="34418" y="39864"/>
                    <a:pt x="38667" y="34200"/>
                    <a:pt x="38667" y="27119"/>
                  </a:cubicBezTo>
                  <a:cubicBezTo>
                    <a:pt x="38667" y="20038"/>
                    <a:pt x="33002" y="15789"/>
                    <a:pt x="27337" y="15789"/>
                  </a:cubicBezTo>
                  <a:cubicBezTo>
                    <a:pt x="21672" y="15789"/>
                    <a:pt x="16007" y="21454"/>
                    <a:pt x="16007" y="27119"/>
                  </a:cubicBezTo>
                  <a:cubicBezTo>
                    <a:pt x="14591" y="34200"/>
                    <a:pt x="20256" y="39864"/>
                    <a:pt x="27337"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4" name="Freeform: Shape 2353">
              <a:extLst>
                <a:ext uri="{FF2B5EF4-FFF2-40B4-BE49-F238E27FC236}">
                  <a16:creationId xmlns:a16="http://schemas.microsoft.com/office/drawing/2014/main" id="{76206B44-E3C5-4E7E-908D-A6B73DC08A4F}"/>
                </a:ext>
              </a:extLst>
            </p:cNvPr>
            <p:cNvSpPr/>
            <p:nvPr/>
          </p:nvSpPr>
          <p:spPr>
            <a:xfrm>
              <a:off x="2631785" y="1185543"/>
              <a:ext cx="42486" cy="42486"/>
            </a:xfrm>
            <a:custGeom>
              <a:avLst/>
              <a:gdLst>
                <a:gd name="connsiteX0" fmla="*/ 27119 w 42485"/>
                <a:gd name="connsiteY0" fmla="*/ 39864 h 42485"/>
                <a:gd name="connsiteX1" fmla="*/ 38448 w 42485"/>
                <a:gd name="connsiteY1" fmla="*/ 28535 h 42485"/>
                <a:gd name="connsiteX2" fmla="*/ 27119 w 42485"/>
                <a:gd name="connsiteY2" fmla="*/ 15789 h 42485"/>
                <a:gd name="connsiteX3" fmla="*/ 15789 w 42485"/>
                <a:gd name="connsiteY3" fmla="*/ 28535 h 42485"/>
                <a:gd name="connsiteX4" fmla="*/ 27119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9864"/>
                  </a:moveTo>
                  <a:cubicBezTo>
                    <a:pt x="34200" y="39864"/>
                    <a:pt x="38448" y="34199"/>
                    <a:pt x="38448" y="28535"/>
                  </a:cubicBezTo>
                  <a:cubicBezTo>
                    <a:pt x="38448" y="22870"/>
                    <a:pt x="32783" y="15789"/>
                    <a:pt x="27119" y="15789"/>
                  </a:cubicBezTo>
                  <a:cubicBezTo>
                    <a:pt x="20038" y="15789"/>
                    <a:pt x="15789" y="21454"/>
                    <a:pt x="15789" y="28535"/>
                  </a:cubicBezTo>
                  <a:cubicBezTo>
                    <a:pt x="15789" y="35616"/>
                    <a:pt x="20038" y="39864"/>
                    <a:pt x="27119"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5" name="Freeform: Shape 2354">
              <a:extLst>
                <a:ext uri="{FF2B5EF4-FFF2-40B4-BE49-F238E27FC236}">
                  <a16:creationId xmlns:a16="http://schemas.microsoft.com/office/drawing/2014/main" id="{A177C2EF-3EA8-4E11-9128-C19841787A1A}"/>
                </a:ext>
              </a:extLst>
            </p:cNvPr>
            <p:cNvSpPr/>
            <p:nvPr/>
          </p:nvSpPr>
          <p:spPr>
            <a:xfrm>
              <a:off x="2631785" y="651639"/>
              <a:ext cx="42486" cy="42486"/>
            </a:xfrm>
            <a:custGeom>
              <a:avLst/>
              <a:gdLst>
                <a:gd name="connsiteX0" fmla="*/ 28535 w 42485"/>
                <a:gd name="connsiteY0" fmla="*/ 38448 h 42485"/>
                <a:gd name="connsiteX1" fmla="*/ 39864 w 42485"/>
                <a:gd name="connsiteY1" fmla="*/ 27119 h 42485"/>
                <a:gd name="connsiteX2" fmla="*/ 28535 w 42485"/>
                <a:gd name="connsiteY2" fmla="*/ 15789 h 42485"/>
                <a:gd name="connsiteX3" fmla="*/ 15789 w 42485"/>
                <a:gd name="connsiteY3" fmla="*/ 27119 h 42485"/>
                <a:gd name="connsiteX4" fmla="*/ 28535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8535" y="38448"/>
                  </a:moveTo>
                  <a:cubicBezTo>
                    <a:pt x="35616" y="38448"/>
                    <a:pt x="39864" y="32783"/>
                    <a:pt x="39864" y="27119"/>
                  </a:cubicBezTo>
                  <a:cubicBezTo>
                    <a:pt x="39864" y="20038"/>
                    <a:pt x="34200" y="15789"/>
                    <a:pt x="28535" y="15789"/>
                  </a:cubicBezTo>
                  <a:cubicBezTo>
                    <a:pt x="21454" y="15789"/>
                    <a:pt x="15789" y="21454"/>
                    <a:pt x="15789" y="27119"/>
                  </a:cubicBezTo>
                  <a:cubicBezTo>
                    <a:pt x="17205" y="34199"/>
                    <a:pt x="22870" y="38448"/>
                    <a:pt x="28535"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6" name="Freeform: Shape 2355">
              <a:extLst>
                <a:ext uri="{FF2B5EF4-FFF2-40B4-BE49-F238E27FC236}">
                  <a16:creationId xmlns:a16="http://schemas.microsoft.com/office/drawing/2014/main" id="{7D536004-FF5A-4FF4-BF98-61DCD1619864}"/>
                </a:ext>
              </a:extLst>
            </p:cNvPr>
            <p:cNvSpPr/>
            <p:nvPr/>
          </p:nvSpPr>
          <p:spPr>
            <a:xfrm>
              <a:off x="2082028" y="779096"/>
              <a:ext cx="42486" cy="42486"/>
            </a:xfrm>
            <a:custGeom>
              <a:avLst/>
              <a:gdLst>
                <a:gd name="connsiteX0" fmla="*/ 24561 w 42485"/>
                <a:gd name="connsiteY0" fmla="*/ 32783 h 42485"/>
                <a:gd name="connsiteX1" fmla="*/ 33058 w 42485"/>
                <a:gd name="connsiteY1" fmla="*/ 24286 h 42485"/>
                <a:gd name="connsiteX2" fmla="*/ 24561 w 42485"/>
                <a:gd name="connsiteY2" fmla="*/ 15789 h 42485"/>
                <a:gd name="connsiteX3" fmla="*/ 16063 w 42485"/>
                <a:gd name="connsiteY3" fmla="*/ 24286 h 42485"/>
                <a:gd name="connsiteX4" fmla="*/ 24561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1" y="32783"/>
                  </a:moveTo>
                  <a:cubicBezTo>
                    <a:pt x="28809" y="32783"/>
                    <a:pt x="33058" y="28535"/>
                    <a:pt x="33058" y="24286"/>
                  </a:cubicBezTo>
                  <a:cubicBezTo>
                    <a:pt x="33058" y="20038"/>
                    <a:pt x="28809" y="15789"/>
                    <a:pt x="24561" y="15789"/>
                  </a:cubicBezTo>
                  <a:cubicBezTo>
                    <a:pt x="20312" y="15789"/>
                    <a:pt x="16063" y="20038"/>
                    <a:pt x="16063" y="24286"/>
                  </a:cubicBezTo>
                  <a:cubicBezTo>
                    <a:pt x="14647" y="28535"/>
                    <a:pt x="18896" y="32783"/>
                    <a:pt x="24561"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7" name="Freeform: Shape 2356">
              <a:extLst>
                <a:ext uri="{FF2B5EF4-FFF2-40B4-BE49-F238E27FC236}">
                  <a16:creationId xmlns:a16="http://schemas.microsoft.com/office/drawing/2014/main" id="{2E743CC0-338A-42CE-AB74-3F0256AB3B98}"/>
                </a:ext>
              </a:extLst>
            </p:cNvPr>
            <p:cNvSpPr/>
            <p:nvPr/>
          </p:nvSpPr>
          <p:spPr>
            <a:xfrm>
              <a:off x="3049561" y="1460284"/>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8" name="Freeform: Shape 2357">
              <a:extLst>
                <a:ext uri="{FF2B5EF4-FFF2-40B4-BE49-F238E27FC236}">
                  <a16:creationId xmlns:a16="http://schemas.microsoft.com/office/drawing/2014/main" id="{29B38326-7AEB-4806-8BE0-A3E9396B8864}"/>
                </a:ext>
              </a:extLst>
            </p:cNvPr>
            <p:cNvSpPr/>
            <p:nvPr/>
          </p:nvSpPr>
          <p:spPr>
            <a:xfrm>
              <a:off x="2902061" y="1658551"/>
              <a:ext cx="56648" cy="56648"/>
            </a:xfrm>
            <a:custGeom>
              <a:avLst/>
              <a:gdLst>
                <a:gd name="connsiteX0" fmla="*/ 28752 w 56647"/>
                <a:gd name="connsiteY0" fmla="*/ 41280 h 56647"/>
                <a:gd name="connsiteX1" fmla="*/ 41497 w 56647"/>
                <a:gd name="connsiteY1" fmla="*/ 28535 h 56647"/>
                <a:gd name="connsiteX2" fmla="*/ 28752 w 56647"/>
                <a:gd name="connsiteY2" fmla="*/ 15789 h 56647"/>
                <a:gd name="connsiteX3" fmla="*/ 16006 w 56647"/>
                <a:gd name="connsiteY3" fmla="*/ 28535 h 56647"/>
                <a:gd name="connsiteX4" fmla="*/ 28752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752" y="41280"/>
                  </a:moveTo>
                  <a:cubicBezTo>
                    <a:pt x="35833" y="41280"/>
                    <a:pt x="41497" y="35616"/>
                    <a:pt x="41497" y="28535"/>
                  </a:cubicBezTo>
                  <a:cubicBezTo>
                    <a:pt x="41497" y="21454"/>
                    <a:pt x="35833" y="15789"/>
                    <a:pt x="28752" y="15789"/>
                  </a:cubicBezTo>
                  <a:cubicBezTo>
                    <a:pt x="21671" y="15789"/>
                    <a:pt x="16006" y="21454"/>
                    <a:pt x="16006" y="28535"/>
                  </a:cubicBezTo>
                  <a:cubicBezTo>
                    <a:pt x="14590" y="35616"/>
                    <a:pt x="20254" y="41280"/>
                    <a:pt x="28752"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9" name="Freeform: Shape 2358">
              <a:extLst>
                <a:ext uri="{FF2B5EF4-FFF2-40B4-BE49-F238E27FC236}">
                  <a16:creationId xmlns:a16="http://schemas.microsoft.com/office/drawing/2014/main" id="{243B8632-8DDB-43DA-AD82-023D90034557}"/>
                </a:ext>
              </a:extLst>
            </p:cNvPr>
            <p:cNvSpPr/>
            <p:nvPr/>
          </p:nvSpPr>
          <p:spPr>
            <a:xfrm>
              <a:off x="3436182" y="1678377"/>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0" name="Freeform: Shape 2359">
              <a:extLst>
                <a:ext uri="{FF2B5EF4-FFF2-40B4-BE49-F238E27FC236}">
                  <a16:creationId xmlns:a16="http://schemas.microsoft.com/office/drawing/2014/main" id="{9E40B6C6-ECE6-4BBB-9A53-7D57F27F6368}"/>
                </a:ext>
              </a:extLst>
            </p:cNvPr>
            <p:cNvSpPr/>
            <p:nvPr/>
          </p:nvSpPr>
          <p:spPr>
            <a:xfrm>
              <a:off x="3870952" y="1933292"/>
              <a:ext cx="70810" cy="70810"/>
            </a:xfrm>
            <a:custGeom>
              <a:avLst/>
              <a:gdLst>
                <a:gd name="connsiteX0" fmla="*/ 38448 w 70809"/>
                <a:gd name="connsiteY0" fmla="*/ 61107 h 70809"/>
                <a:gd name="connsiteX1" fmla="*/ 61107 w 70809"/>
                <a:gd name="connsiteY1" fmla="*/ 38448 h 70809"/>
                <a:gd name="connsiteX2" fmla="*/ 38448 w 70809"/>
                <a:gd name="connsiteY2" fmla="*/ 15789 h 70809"/>
                <a:gd name="connsiteX3" fmla="*/ 15789 w 70809"/>
                <a:gd name="connsiteY3" fmla="*/ 38448 h 70809"/>
                <a:gd name="connsiteX4" fmla="*/ 3844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8" y="61107"/>
                  </a:moveTo>
                  <a:cubicBezTo>
                    <a:pt x="51194" y="61107"/>
                    <a:pt x="61107" y="51194"/>
                    <a:pt x="61107" y="38448"/>
                  </a:cubicBezTo>
                  <a:cubicBezTo>
                    <a:pt x="61107" y="25702"/>
                    <a:pt x="51194" y="15789"/>
                    <a:pt x="38448" y="15789"/>
                  </a:cubicBezTo>
                  <a:cubicBezTo>
                    <a:pt x="25702" y="15789"/>
                    <a:pt x="15789" y="25702"/>
                    <a:pt x="15789" y="38448"/>
                  </a:cubicBezTo>
                  <a:cubicBezTo>
                    <a:pt x="15789" y="51194"/>
                    <a:pt x="25702" y="61107"/>
                    <a:pt x="38448"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1" name="Freeform: Shape 2360">
              <a:extLst>
                <a:ext uri="{FF2B5EF4-FFF2-40B4-BE49-F238E27FC236}">
                  <a16:creationId xmlns:a16="http://schemas.microsoft.com/office/drawing/2014/main" id="{2E04573D-E96E-42DB-956C-9028B3FD8CAF}"/>
                </a:ext>
              </a:extLst>
            </p:cNvPr>
            <p:cNvSpPr/>
            <p:nvPr/>
          </p:nvSpPr>
          <p:spPr>
            <a:xfrm>
              <a:off x="3400511" y="2072860"/>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9"/>
                  </a:cubicBezTo>
                  <a:cubicBezTo>
                    <a:pt x="38448" y="21454"/>
                    <a:pt x="32783" y="15789"/>
                    <a:pt x="27119" y="15789"/>
                  </a:cubicBezTo>
                  <a:cubicBezTo>
                    <a:pt x="21454" y="15789"/>
                    <a:pt x="15789" y="21454"/>
                    <a:pt x="15789" y="27119"/>
                  </a:cubicBezTo>
                  <a:cubicBezTo>
                    <a:pt x="15789" y="32783"/>
                    <a:pt x="21454"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2" name="Freeform: Shape 2361">
              <a:extLst>
                <a:ext uri="{FF2B5EF4-FFF2-40B4-BE49-F238E27FC236}">
                  <a16:creationId xmlns:a16="http://schemas.microsoft.com/office/drawing/2014/main" id="{4873BA0F-DB09-455F-AA73-5BA8180B430A}"/>
                </a:ext>
              </a:extLst>
            </p:cNvPr>
            <p:cNvSpPr/>
            <p:nvPr/>
          </p:nvSpPr>
          <p:spPr>
            <a:xfrm>
              <a:off x="3688166" y="1798753"/>
              <a:ext cx="84971" cy="84971"/>
            </a:xfrm>
            <a:custGeom>
              <a:avLst/>
              <a:gdLst>
                <a:gd name="connsiteX0" fmla="*/ 44211 w 84971"/>
                <a:gd name="connsiteY0" fmla="*/ 72437 h 84971"/>
                <a:gd name="connsiteX1" fmla="*/ 72535 w 84971"/>
                <a:gd name="connsiteY1" fmla="*/ 44113 h 84971"/>
                <a:gd name="connsiteX2" fmla="*/ 44211 w 84971"/>
                <a:gd name="connsiteY2" fmla="*/ 15789 h 84971"/>
                <a:gd name="connsiteX3" fmla="*/ 15887 w 84971"/>
                <a:gd name="connsiteY3" fmla="*/ 44113 h 84971"/>
                <a:gd name="connsiteX4" fmla="*/ 44211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211" y="72437"/>
                  </a:moveTo>
                  <a:cubicBezTo>
                    <a:pt x="59789" y="72437"/>
                    <a:pt x="72535" y="59691"/>
                    <a:pt x="72535" y="44113"/>
                  </a:cubicBezTo>
                  <a:cubicBezTo>
                    <a:pt x="72535" y="28535"/>
                    <a:pt x="59789" y="15789"/>
                    <a:pt x="44211" y="15789"/>
                  </a:cubicBezTo>
                  <a:cubicBezTo>
                    <a:pt x="28633" y="15789"/>
                    <a:pt x="15887" y="28535"/>
                    <a:pt x="15887" y="44113"/>
                  </a:cubicBezTo>
                  <a:cubicBezTo>
                    <a:pt x="14471" y="59691"/>
                    <a:pt x="28633" y="72437"/>
                    <a:pt x="44211"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3" name="Freeform: Shape 2362">
              <a:extLst>
                <a:ext uri="{FF2B5EF4-FFF2-40B4-BE49-F238E27FC236}">
                  <a16:creationId xmlns:a16="http://schemas.microsoft.com/office/drawing/2014/main" id="{2FB85148-C922-4930-8380-792D067C8920}"/>
                </a:ext>
              </a:extLst>
            </p:cNvPr>
            <p:cNvSpPr/>
            <p:nvPr/>
          </p:nvSpPr>
          <p:spPr>
            <a:xfrm>
              <a:off x="2951844" y="1250688"/>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8275"/>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4" name="Freeform: Shape 2363">
              <a:extLst>
                <a:ext uri="{FF2B5EF4-FFF2-40B4-BE49-F238E27FC236}">
                  <a16:creationId xmlns:a16="http://schemas.microsoft.com/office/drawing/2014/main" id="{8C566975-6026-4B06-9F5F-31420F50B77F}"/>
                </a:ext>
              </a:extLst>
            </p:cNvPr>
            <p:cNvSpPr/>
            <p:nvPr/>
          </p:nvSpPr>
          <p:spPr>
            <a:xfrm>
              <a:off x="2536900" y="1297422"/>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1454"/>
                    <a:pt x="37032" y="15789"/>
                    <a:pt x="29951" y="15789"/>
                  </a:cubicBezTo>
                  <a:cubicBezTo>
                    <a:pt x="21454" y="15789"/>
                    <a:pt x="15789" y="22870"/>
                    <a:pt x="15789" y="29951"/>
                  </a:cubicBezTo>
                  <a:cubicBezTo>
                    <a:pt x="15789" y="38448"/>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5" name="Freeform: Shape 2364">
              <a:extLst>
                <a:ext uri="{FF2B5EF4-FFF2-40B4-BE49-F238E27FC236}">
                  <a16:creationId xmlns:a16="http://schemas.microsoft.com/office/drawing/2014/main" id="{7036F36D-E8F9-4972-98D6-C4AF81095AF8}"/>
                </a:ext>
              </a:extLst>
            </p:cNvPr>
            <p:cNvSpPr/>
            <p:nvPr/>
          </p:nvSpPr>
          <p:spPr>
            <a:xfrm>
              <a:off x="2500079" y="1049589"/>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2870"/>
                    <a:pt x="37032" y="15789"/>
                    <a:pt x="29951" y="15789"/>
                  </a:cubicBezTo>
                  <a:cubicBezTo>
                    <a:pt x="21454" y="15789"/>
                    <a:pt x="15789" y="22870"/>
                    <a:pt x="15789" y="29951"/>
                  </a:cubicBezTo>
                  <a:cubicBezTo>
                    <a:pt x="15789" y="37032"/>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6" name="Freeform: Shape 2365">
              <a:extLst>
                <a:ext uri="{FF2B5EF4-FFF2-40B4-BE49-F238E27FC236}">
                  <a16:creationId xmlns:a16="http://schemas.microsoft.com/office/drawing/2014/main" id="{B6D6F538-770A-4ABA-85B7-B3DC752C71DA}"/>
                </a:ext>
              </a:extLst>
            </p:cNvPr>
            <p:cNvSpPr/>
            <p:nvPr/>
          </p:nvSpPr>
          <p:spPr>
            <a:xfrm>
              <a:off x="1685769" y="161464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5789" y="41280"/>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7" name="Freeform: Shape 2366">
              <a:extLst>
                <a:ext uri="{FF2B5EF4-FFF2-40B4-BE49-F238E27FC236}">
                  <a16:creationId xmlns:a16="http://schemas.microsoft.com/office/drawing/2014/main" id="{B43651F6-4696-4C99-9A25-4481D8BD0A36}"/>
                </a:ext>
              </a:extLst>
            </p:cNvPr>
            <p:cNvSpPr/>
            <p:nvPr/>
          </p:nvSpPr>
          <p:spPr>
            <a:xfrm>
              <a:off x="1691434" y="1664215"/>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2" y="15789"/>
                    <a:pt x="15789" y="25702"/>
                    <a:pt x="15789" y="37032"/>
                  </a:cubicBezTo>
                  <a:cubicBezTo>
                    <a:pt x="17205" y="48361"/>
                    <a:pt x="25702"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8" name="Freeform: Shape 2367">
              <a:extLst>
                <a:ext uri="{FF2B5EF4-FFF2-40B4-BE49-F238E27FC236}">
                  <a16:creationId xmlns:a16="http://schemas.microsoft.com/office/drawing/2014/main" id="{48A1A59F-F957-4AB1-9DBB-4E5E81132936}"/>
                </a:ext>
              </a:extLst>
            </p:cNvPr>
            <p:cNvSpPr/>
            <p:nvPr/>
          </p:nvSpPr>
          <p:spPr>
            <a:xfrm>
              <a:off x="1643283" y="1399388"/>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5789" y="71020"/>
                    <a:pt x="31367"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9" name="Freeform: Shape 2368">
              <a:extLst>
                <a:ext uri="{FF2B5EF4-FFF2-40B4-BE49-F238E27FC236}">
                  <a16:creationId xmlns:a16="http://schemas.microsoft.com/office/drawing/2014/main" id="{ABBEFF95-C975-4415-8871-DD31CFFE5C9A}"/>
                </a:ext>
              </a:extLst>
            </p:cNvPr>
            <p:cNvSpPr/>
            <p:nvPr/>
          </p:nvSpPr>
          <p:spPr>
            <a:xfrm>
              <a:off x="1925399" y="1962663"/>
              <a:ext cx="84971" cy="84971"/>
            </a:xfrm>
            <a:custGeom>
              <a:avLst/>
              <a:gdLst>
                <a:gd name="connsiteX0" fmla="*/ 42697 w 84971"/>
                <a:gd name="connsiteY0" fmla="*/ 69604 h 84971"/>
                <a:gd name="connsiteX1" fmla="*/ 69604 w 84971"/>
                <a:gd name="connsiteY1" fmla="*/ 42697 h 84971"/>
                <a:gd name="connsiteX2" fmla="*/ 42697 w 84971"/>
                <a:gd name="connsiteY2" fmla="*/ 15789 h 84971"/>
                <a:gd name="connsiteX3" fmla="*/ 15789 w 84971"/>
                <a:gd name="connsiteY3" fmla="*/ 42697 h 84971"/>
                <a:gd name="connsiteX4" fmla="*/ 42697 w 84971"/>
                <a:gd name="connsiteY4" fmla="*/ 6960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7" y="69604"/>
                  </a:moveTo>
                  <a:cubicBezTo>
                    <a:pt x="56859" y="69604"/>
                    <a:pt x="69604" y="56859"/>
                    <a:pt x="69604" y="42697"/>
                  </a:cubicBezTo>
                  <a:cubicBezTo>
                    <a:pt x="69604" y="28535"/>
                    <a:pt x="56859" y="15789"/>
                    <a:pt x="42697" y="15789"/>
                  </a:cubicBezTo>
                  <a:cubicBezTo>
                    <a:pt x="28535" y="15789"/>
                    <a:pt x="15789" y="28535"/>
                    <a:pt x="15789" y="42697"/>
                  </a:cubicBezTo>
                  <a:cubicBezTo>
                    <a:pt x="15789" y="56859"/>
                    <a:pt x="27119" y="69604"/>
                    <a:pt x="42697" y="6960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0" name="Freeform: Shape 2369">
              <a:extLst>
                <a:ext uri="{FF2B5EF4-FFF2-40B4-BE49-F238E27FC236}">
                  <a16:creationId xmlns:a16="http://schemas.microsoft.com/office/drawing/2014/main" id="{2DEB11F4-34F9-4CC7-8E79-93830F54E59A}"/>
                </a:ext>
              </a:extLst>
            </p:cNvPr>
            <p:cNvSpPr/>
            <p:nvPr/>
          </p:nvSpPr>
          <p:spPr>
            <a:xfrm>
              <a:off x="3160171" y="1973764"/>
              <a:ext cx="56648" cy="56648"/>
            </a:xfrm>
            <a:custGeom>
              <a:avLst/>
              <a:gdLst>
                <a:gd name="connsiteX0" fmla="*/ 29951 w 56647"/>
                <a:gd name="connsiteY0" fmla="*/ 42697 h 56647"/>
                <a:gd name="connsiteX1" fmla="*/ 42697 w 56647"/>
                <a:gd name="connsiteY1" fmla="*/ 29951 h 56647"/>
                <a:gd name="connsiteX2" fmla="*/ 29951 w 56647"/>
                <a:gd name="connsiteY2" fmla="*/ 15789 h 56647"/>
                <a:gd name="connsiteX3" fmla="*/ 15789 w 56647"/>
                <a:gd name="connsiteY3" fmla="*/ 29951 h 56647"/>
                <a:gd name="connsiteX4" fmla="*/ 29951 w 56647"/>
                <a:gd name="connsiteY4" fmla="*/ 4269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2697"/>
                  </a:moveTo>
                  <a:cubicBezTo>
                    <a:pt x="37032" y="42697"/>
                    <a:pt x="42697" y="37032"/>
                    <a:pt x="42697" y="29951"/>
                  </a:cubicBezTo>
                  <a:cubicBezTo>
                    <a:pt x="42697" y="22870"/>
                    <a:pt x="37032" y="15789"/>
                    <a:pt x="29951" y="15789"/>
                  </a:cubicBezTo>
                  <a:cubicBezTo>
                    <a:pt x="22870" y="15789"/>
                    <a:pt x="15789" y="21454"/>
                    <a:pt x="15789" y="29951"/>
                  </a:cubicBezTo>
                  <a:cubicBezTo>
                    <a:pt x="15789" y="37032"/>
                    <a:pt x="22870" y="42697"/>
                    <a:pt x="29951" y="4269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1" name="Freeform: Shape 2370">
              <a:extLst>
                <a:ext uri="{FF2B5EF4-FFF2-40B4-BE49-F238E27FC236}">
                  <a16:creationId xmlns:a16="http://schemas.microsoft.com/office/drawing/2014/main" id="{3729B7E0-0D16-4817-AA69-3F0E569E2DCF}"/>
                </a:ext>
              </a:extLst>
            </p:cNvPr>
            <p:cNvSpPr/>
            <p:nvPr/>
          </p:nvSpPr>
          <p:spPr>
            <a:xfrm>
              <a:off x="3034575" y="1878842"/>
              <a:ext cx="42486" cy="42486"/>
            </a:xfrm>
            <a:custGeom>
              <a:avLst/>
              <a:gdLst>
                <a:gd name="connsiteX0" fmla="*/ 27118 w 42485"/>
                <a:gd name="connsiteY0" fmla="*/ 39864 h 42485"/>
                <a:gd name="connsiteX1" fmla="*/ 38448 w 42485"/>
                <a:gd name="connsiteY1" fmla="*/ 28535 h 42485"/>
                <a:gd name="connsiteX2" fmla="*/ 27118 w 42485"/>
                <a:gd name="connsiteY2" fmla="*/ 15789 h 42485"/>
                <a:gd name="connsiteX3" fmla="*/ 15789 w 42485"/>
                <a:gd name="connsiteY3" fmla="*/ 28535 h 42485"/>
                <a:gd name="connsiteX4" fmla="*/ 27118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9864"/>
                  </a:moveTo>
                  <a:cubicBezTo>
                    <a:pt x="34199" y="39864"/>
                    <a:pt x="38448" y="34199"/>
                    <a:pt x="38448" y="28535"/>
                  </a:cubicBezTo>
                  <a:cubicBezTo>
                    <a:pt x="38448" y="22870"/>
                    <a:pt x="32783" y="15789"/>
                    <a:pt x="27118" y="15789"/>
                  </a:cubicBezTo>
                  <a:cubicBezTo>
                    <a:pt x="20037" y="15789"/>
                    <a:pt x="15789" y="21454"/>
                    <a:pt x="15789" y="28535"/>
                  </a:cubicBezTo>
                  <a:cubicBezTo>
                    <a:pt x="15789" y="35616"/>
                    <a:pt x="20037" y="39864"/>
                    <a:pt x="27118"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2" name="Freeform: Shape 2371">
              <a:extLst>
                <a:ext uri="{FF2B5EF4-FFF2-40B4-BE49-F238E27FC236}">
                  <a16:creationId xmlns:a16="http://schemas.microsoft.com/office/drawing/2014/main" id="{5DE56250-ABF0-4A28-AF94-169057551002}"/>
                </a:ext>
              </a:extLst>
            </p:cNvPr>
            <p:cNvSpPr/>
            <p:nvPr/>
          </p:nvSpPr>
          <p:spPr>
            <a:xfrm>
              <a:off x="3470241" y="1907426"/>
              <a:ext cx="42486" cy="42486"/>
            </a:xfrm>
            <a:custGeom>
              <a:avLst/>
              <a:gdLst>
                <a:gd name="connsiteX0" fmla="*/ 27118 w 42485"/>
                <a:gd name="connsiteY0" fmla="*/ 38448 h 42485"/>
                <a:gd name="connsiteX1" fmla="*/ 39864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4199" y="38448"/>
                    <a:pt x="39864" y="32783"/>
                    <a:pt x="39864" y="27119"/>
                  </a:cubicBezTo>
                  <a:cubicBezTo>
                    <a:pt x="39864" y="21454"/>
                    <a:pt x="34199" y="15789"/>
                    <a:pt x="27118" y="15789"/>
                  </a:cubicBezTo>
                  <a:cubicBezTo>
                    <a:pt x="20037" y="15789"/>
                    <a:pt x="15789" y="21454"/>
                    <a:pt x="15789" y="27119"/>
                  </a:cubicBezTo>
                  <a:cubicBezTo>
                    <a:pt x="15789" y="32783"/>
                    <a:pt x="21454"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3" name="Freeform: Shape 2372">
              <a:extLst>
                <a:ext uri="{FF2B5EF4-FFF2-40B4-BE49-F238E27FC236}">
                  <a16:creationId xmlns:a16="http://schemas.microsoft.com/office/drawing/2014/main" id="{4AF4F77E-1158-4E97-93FF-8AAF7F2B0AE3}"/>
                </a:ext>
              </a:extLst>
            </p:cNvPr>
            <p:cNvSpPr/>
            <p:nvPr/>
          </p:nvSpPr>
          <p:spPr>
            <a:xfrm>
              <a:off x="3742524" y="2426273"/>
              <a:ext cx="42486" cy="42486"/>
            </a:xfrm>
            <a:custGeom>
              <a:avLst/>
              <a:gdLst>
                <a:gd name="connsiteX0" fmla="*/ 27119 w 42485"/>
                <a:gd name="connsiteY0" fmla="*/ 39864 h 42485"/>
                <a:gd name="connsiteX1" fmla="*/ 38448 w 42485"/>
                <a:gd name="connsiteY1" fmla="*/ 27118 h 42485"/>
                <a:gd name="connsiteX2" fmla="*/ 27119 w 42485"/>
                <a:gd name="connsiteY2" fmla="*/ 15789 h 42485"/>
                <a:gd name="connsiteX3" fmla="*/ 15789 w 42485"/>
                <a:gd name="connsiteY3" fmla="*/ 27118 h 42485"/>
                <a:gd name="connsiteX4" fmla="*/ 27119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9864"/>
                  </a:moveTo>
                  <a:cubicBezTo>
                    <a:pt x="34200" y="39864"/>
                    <a:pt x="38448" y="34199"/>
                    <a:pt x="38448" y="27118"/>
                  </a:cubicBezTo>
                  <a:cubicBezTo>
                    <a:pt x="38448" y="20037"/>
                    <a:pt x="32783" y="15789"/>
                    <a:pt x="27119" y="15789"/>
                  </a:cubicBezTo>
                  <a:cubicBezTo>
                    <a:pt x="20038" y="15789"/>
                    <a:pt x="15789" y="21454"/>
                    <a:pt x="15789" y="27118"/>
                  </a:cubicBezTo>
                  <a:cubicBezTo>
                    <a:pt x="15789" y="34199"/>
                    <a:pt x="20038" y="39864"/>
                    <a:pt x="27119"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4" name="Freeform: Shape 2373">
              <a:extLst>
                <a:ext uri="{FF2B5EF4-FFF2-40B4-BE49-F238E27FC236}">
                  <a16:creationId xmlns:a16="http://schemas.microsoft.com/office/drawing/2014/main" id="{AC22C31B-4B09-4405-9EFD-CA53099967E0}"/>
                </a:ext>
              </a:extLst>
            </p:cNvPr>
            <p:cNvSpPr/>
            <p:nvPr/>
          </p:nvSpPr>
          <p:spPr>
            <a:xfrm>
              <a:off x="3535097" y="2571994"/>
              <a:ext cx="42486" cy="42486"/>
            </a:xfrm>
            <a:custGeom>
              <a:avLst/>
              <a:gdLst>
                <a:gd name="connsiteX0" fmla="*/ 27337 w 42485"/>
                <a:gd name="connsiteY0" fmla="*/ 39864 h 42485"/>
                <a:gd name="connsiteX1" fmla="*/ 38666 w 42485"/>
                <a:gd name="connsiteY1" fmla="*/ 27118 h 42485"/>
                <a:gd name="connsiteX2" fmla="*/ 27337 w 42485"/>
                <a:gd name="connsiteY2" fmla="*/ 15789 h 42485"/>
                <a:gd name="connsiteX3" fmla="*/ 16007 w 42485"/>
                <a:gd name="connsiteY3" fmla="*/ 27118 h 42485"/>
                <a:gd name="connsiteX4" fmla="*/ 27337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9864"/>
                  </a:moveTo>
                  <a:cubicBezTo>
                    <a:pt x="34418" y="39864"/>
                    <a:pt x="38666" y="34199"/>
                    <a:pt x="38666" y="27118"/>
                  </a:cubicBezTo>
                  <a:cubicBezTo>
                    <a:pt x="38666" y="20037"/>
                    <a:pt x="33002" y="15789"/>
                    <a:pt x="27337" y="15789"/>
                  </a:cubicBezTo>
                  <a:cubicBezTo>
                    <a:pt x="20256" y="15789"/>
                    <a:pt x="16007" y="21454"/>
                    <a:pt x="16007" y="27118"/>
                  </a:cubicBezTo>
                  <a:cubicBezTo>
                    <a:pt x="14591" y="34199"/>
                    <a:pt x="20256" y="39864"/>
                    <a:pt x="27337"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5" name="Freeform: Shape 2374">
              <a:extLst>
                <a:ext uri="{FF2B5EF4-FFF2-40B4-BE49-F238E27FC236}">
                  <a16:creationId xmlns:a16="http://schemas.microsoft.com/office/drawing/2014/main" id="{4B885425-071B-459B-BA54-FA8E576D39CE}"/>
                </a:ext>
              </a:extLst>
            </p:cNvPr>
            <p:cNvSpPr/>
            <p:nvPr/>
          </p:nvSpPr>
          <p:spPr>
            <a:xfrm>
              <a:off x="3555142" y="2368062"/>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6" name="Freeform: Shape 2375">
              <a:extLst>
                <a:ext uri="{FF2B5EF4-FFF2-40B4-BE49-F238E27FC236}">
                  <a16:creationId xmlns:a16="http://schemas.microsoft.com/office/drawing/2014/main" id="{357C52B8-E2F6-4B74-80A8-3F45C653AC80}"/>
                </a:ext>
              </a:extLst>
            </p:cNvPr>
            <p:cNvSpPr/>
            <p:nvPr/>
          </p:nvSpPr>
          <p:spPr>
            <a:xfrm>
              <a:off x="3518543" y="2348382"/>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1454"/>
                    <a:pt x="37032" y="15789"/>
                    <a:pt x="29951" y="15789"/>
                  </a:cubicBezTo>
                  <a:cubicBezTo>
                    <a:pt x="21454" y="15789"/>
                    <a:pt x="15789" y="22870"/>
                    <a:pt x="15789" y="29951"/>
                  </a:cubicBezTo>
                  <a:cubicBezTo>
                    <a:pt x="15789" y="37032"/>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7" name="Freeform: Shape 2376">
              <a:extLst>
                <a:ext uri="{FF2B5EF4-FFF2-40B4-BE49-F238E27FC236}">
                  <a16:creationId xmlns:a16="http://schemas.microsoft.com/office/drawing/2014/main" id="{A8C14E57-A790-4435-BB91-6544BFC04487}"/>
                </a:ext>
              </a:extLst>
            </p:cNvPr>
            <p:cNvSpPr/>
            <p:nvPr/>
          </p:nvSpPr>
          <p:spPr>
            <a:xfrm>
              <a:off x="3182531" y="2256011"/>
              <a:ext cx="56648" cy="56648"/>
            </a:xfrm>
            <a:custGeom>
              <a:avLst/>
              <a:gdLst>
                <a:gd name="connsiteX0" fmla="*/ 30132 w 56647"/>
                <a:gd name="connsiteY0" fmla="*/ 44113 h 56647"/>
                <a:gd name="connsiteX1" fmla="*/ 44294 w 56647"/>
                <a:gd name="connsiteY1" fmla="*/ 29951 h 56647"/>
                <a:gd name="connsiteX2" fmla="*/ 30132 w 56647"/>
                <a:gd name="connsiteY2" fmla="*/ 15789 h 56647"/>
                <a:gd name="connsiteX3" fmla="*/ 15970 w 56647"/>
                <a:gd name="connsiteY3" fmla="*/ 29951 h 56647"/>
                <a:gd name="connsiteX4" fmla="*/ 30132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0132" y="44113"/>
                  </a:moveTo>
                  <a:cubicBezTo>
                    <a:pt x="38629" y="44113"/>
                    <a:pt x="44294" y="37032"/>
                    <a:pt x="44294" y="29951"/>
                  </a:cubicBezTo>
                  <a:cubicBezTo>
                    <a:pt x="44294" y="21454"/>
                    <a:pt x="37213" y="15789"/>
                    <a:pt x="30132" y="15789"/>
                  </a:cubicBezTo>
                  <a:cubicBezTo>
                    <a:pt x="21635" y="15789"/>
                    <a:pt x="15970" y="22870"/>
                    <a:pt x="15970" y="29951"/>
                  </a:cubicBezTo>
                  <a:cubicBezTo>
                    <a:pt x="14554" y="38448"/>
                    <a:pt x="21635" y="44113"/>
                    <a:pt x="30132"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8" name="Freeform: Shape 2377">
              <a:extLst>
                <a:ext uri="{FF2B5EF4-FFF2-40B4-BE49-F238E27FC236}">
                  <a16:creationId xmlns:a16="http://schemas.microsoft.com/office/drawing/2014/main" id="{9187CB59-02C9-4C00-936D-60170BFF5561}"/>
                </a:ext>
              </a:extLst>
            </p:cNvPr>
            <p:cNvSpPr/>
            <p:nvPr/>
          </p:nvSpPr>
          <p:spPr>
            <a:xfrm>
              <a:off x="2851439" y="2252349"/>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1454"/>
                    <a:pt x="37032" y="15789"/>
                    <a:pt x="29951" y="15789"/>
                  </a:cubicBezTo>
                  <a:cubicBezTo>
                    <a:pt x="21454" y="15789"/>
                    <a:pt x="15789" y="22870"/>
                    <a:pt x="15789" y="29951"/>
                  </a:cubicBezTo>
                  <a:cubicBezTo>
                    <a:pt x="15789" y="37032"/>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9" name="Freeform: Shape 2378">
              <a:extLst>
                <a:ext uri="{FF2B5EF4-FFF2-40B4-BE49-F238E27FC236}">
                  <a16:creationId xmlns:a16="http://schemas.microsoft.com/office/drawing/2014/main" id="{4EE54A00-FCA9-4EA6-9AE2-808334FAFF8D}"/>
                </a:ext>
              </a:extLst>
            </p:cNvPr>
            <p:cNvSpPr/>
            <p:nvPr/>
          </p:nvSpPr>
          <p:spPr>
            <a:xfrm>
              <a:off x="3682599" y="2206616"/>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0" name="Freeform: Shape 2379">
              <a:extLst>
                <a:ext uri="{FF2B5EF4-FFF2-40B4-BE49-F238E27FC236}">
                  <a16:creationId xmlns:a16="http://schemas.microsoft.com/office/drawing/2014/main" id="{65B1343E-2BCD-4368-8AEB-BE8D1CC49725}"/>
                </a:ext>
              </a:extLst>
            </p:cNvPr>
            <p:cNvSpPr/>
            <p:nvPr/>
          </p:nvSpPr>
          <p:spPr>
            <a:xfrm>
              <a:off x="3652641" y="2038090"/>
              <a:ext cx="42486" cy="42486"/>
            </a:xfrm>
            <a:custGeom>
              <a:avLst/>
              <a:gdLst>
                <a:gd name="connsiteX0" fmla="*/ 27337 w 42485"/>
                <a:gd name="connsiteY0" fmla="*/ 38448 h 42485"/>
                <a:gd name="connsiteX1" fmla="*/ 40083 w 42485"/>
                <a:gd name="connsiteY1" fmla="*/ 27118 h 42485"/>
                <a:gd name="connsiteX2" fmla="*/ 27337 w 42485"/>
                <a:gd name="connsiteY2" fmla="*/ 15789 h 42485"/>
                <a:gd name="connsiteX3" fmla="*/ 16007 w 42485"/>
                <a:gd name="connsiteY3" fmla="*/ 27118 h 42485"/>
                <a:gd name="connsiteX4" fmla="*/ 27337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8448"/>
                  </a:moveTo>
                  <a:cubicBezTo>
                    <a:pt x="34418" y="38448"/>
                    <a:pt x="40083" y="32783"/>
                    <a:pt x="40083" y="27118"/>
                  </a:cubicBezTo>
                  <a:cubicBezTo>
                    <a:pt x="40083" y="20038"/>
                    <a:pt x="34418" y="15789"/>
                    <a:pt x="27337" y="15789"/>
                  </a:cubicBezTo>
                  <a:cubicBezTo>
                    <a:pt x="20256" y="15789"/>
                    <a:pt x="16007" y="21454"/>
                    <a:pt x="16007" y="27118"/>
                  </a:cubicBezTo>
                  <a:cubicBezTo>
                    <a:pt x="14591" y="32783"/>
                    <a:pt x="20256" y="38448"/>
                    <a:pt x="27337"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1" name="Freeform: Shape 2380">
              <a:extLst>
                <a:ext uri="{FF2B5EF4-FFF2-40B4-BE49-F238E27FC236}">
                  <a16:creationId xmlns:a16="http://schemas.microsoft.com/office/drawing/2014/main" id="{A28FD1E0-04AF-41A5-B6C6-8B0B4EBB1487}"/>
                </a:ext>
              </a:extLst>
            </p:cNvPr>
            <p:cNvSpPr/>
            <p:nvPr/>
          </p:nvSpPr>
          <p:spPr>
            <a:xfrm>
              <a:off x="3866704" y="2121645"/>
              <a:ext cx="99133" cy="99133"/>
            </a:xfrm>
            <a:custGeom>
              <a:avLst/>
              <a:gdLst>
                <a:gd name="connsiteX0" fmla="*/ 55442 w 99133"/>
                <a:gd name="connsiteY0" fmla="*/ 95096 h 99133"/>
                <a:gd name="connsiteX1" fmla="*/ 95096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8102" y="95096"/>
                    <a:pt x="95096" y="76685"/>
                    <a:pt x="95096" y="55442"/>
                  </a:cubicBezTo>
                  <a:cubicBezTo>
                    <a:pt x="95096" y="32783"/>
                    <a:pt x="76685" y="15789"/>
                    <a:pt x="55442" y="15789"/>
                  </a:cubicBezTo>
                  <a:cubicBezTo>
                    <a:pt x="32783" y="15789"/>
                    <a:pt x="15789" y="34199"/>
                    <a:pt x="15789" y="55442"/>
                  </a:cubicBezTo>
                  <a:cubicBezTo>
                    <a:pt x="15789" y="78101"/>
                    <a:pt x="32783" y="95096"/>
                    <a:pt x="55442" y="950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2" name="Freeform: Shape 2381">
              <a:extLst>
                <a:ext uri="{FF2B5EF4-FFF2-40B4-BE49-F238E27FC236}">
                  <a16:creationId xmlns:a16="http://schemas.microsoft.com/office/drawing/2014/main" id="{174CF808-8675-4529-BB77-4AA2322676B8}"/>
                </a:ext>
              </a:extLst>
            </p:cNvPr>
            <p:cNvSpPr/>
            <p:nvPr/>
          </p:nvSpPr>
          <p:spPr>
            <a:xfrm>
              <a:off x="3325719" y="2232108"/>
              <a:ext cx="70810" cy="70810"/>
            </a:xfrm>
            <a:custGeom>
              <a:avLst/>
              <a:gdLst>
                <a:gd name="connsiteX0" fmla="*/ 39864 w 70809"/>
                <a:gd name="connsiteY0" fmla="*/ 63939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39" y="52610"/>
                    <a:pt x="63939" y="39864"/>
                  </a:cubicBezTo>
                  <a:cubicBezTo>
                    <a:pt x="63939" y="27118"/>
                    <a:pt x="52610" y="15789"/>
                    <a:pt x="39864" y="15789"/>
                  </a:cubicBezTo>
                  <a:cubicBezTo>
                    <a:pt x="27119" y="15789"/>
                    <a:pt x="15789" y="27118"/>
                    <a:pt x="15789" y="39864"/>
                  </a:cubicBezTo>
                  <a:cubicBezTo>
                    <a:pt x="15789" y="52610"/>
                    <a:pt x="27119" y="63939"/>
                    <a:pt x="3986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3" name="Freeform: Shape 2382">
              <a:extLst>
                <a:ext uri="{FF2B5EF4-FFF2-40B4-BE49-F238E27FC236}">
                  <a16:creationId xmlns:a16="http://schemas.microsoft.com/office/drawing/2014/main" id="{4F2EAA92-06D8-46F0-824D-5A6BA6845BE0}"/>
                </a:ext>
              </a:extLst>
            </p:cNvPr>
            <p:cNvSpPr/>
            <p:nvPr/>
          </p:nvSpPr>
          <p:spPr>
            <a:xfrm>
              <a:off x="3365372" y="2644219"/>
              <a:ext cx="70810" cy="70810"/>
            </a:xfrm>
            <a:custGeom>
              <a:avLst/>
              <a:gdLst>
                <a:gd name="connsiteX0" fmla="*/ 39864 w 70809"/>
                <a:gd name="connsiteY0" fmla="*/ 63940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2610" y="63940"/>
                    <a:pt x="63939" y="52610"/>
                    <a:pt x="63939" y="39864"/>
                  </a:cubicBezTo>
                  <a:cubicBezTo>
                    <a:pt x="63939" y="27119"/>
                    <a:pt x="52610" y="15789"/>
                    <a:pt x="39864" y="15789"/>
                  </a:cubicBezTo>
                  <a:cubicBezTo>
                    <a:pt x="27119" y="15789"/>
                    <a:pt x="15789" y="27119"/>
                    <a:pt x="15789" y="39864"/>
                  </a:cubicBezTo>
                  <a:cubicBezTo>
                    <a:pt x="15789" y="52610"/>
                    <a:pt x="27119"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4" name="Freeform: Shape 2383">
              <a:extLst>
                <a:ext uri="{FF2B5EF4-FFF2-40B4-BE49-F238E27FC236}">
                  <a16:creationId xmlns:a16="http://schemas.microsoft.com/office/drawing/2014/main" id="{AD401AD1-81B1-4C78-A225-1008F1B3EABC}"/>
                </a:ext>
              </a:extLst>
            </p:cNvPr>
            <p:cNvSpPr/>
            <p:nvPr/>
          </p:nvSpPr>
          <p:spPr>
            <a:xfrm>
              <a:off x="2786150" y="2989770"/>
              <a:ext cx="99133" cy="99133"/>
            </a:xfrm>
            <a:custGeom>
              <a:avLst/>
              <a:gdLst>
                <a:gd name="connsiteX0" fmla="*/ 49778 w 99133"/>
                <a:gd name="connsiteY0" fmla="*/ 15789 h 99133"/>
                <a:gd name="connsiteX1" fmla="*/ 83766 w 99133"/>
                <a:gd name="connsiteY1" fmla="*/ 49777 h 99133"/>
                <a:gd name="connsiteX2" fmla="*/ 49778 w 99133"/>
                <a:gd name="connsiteY2" fmla="*/ 83766 h 99133"/>
                <a:gd name="connsiteX3" fmla="*/ 15789 w 99133"/>
                <a:gd name="connsiteY3" fmla="*/ 49777 h 99133"/>
                <a:gd name="connsiteX4" fmla="*/ 49778 w 99133"/>
                <a:gd name="connsiteY4" fmla="*/ 15789 h 99133"/>
                <a:gd name="connsiteX5" fmla="*/ 49778 w 99133"/>
                <a:gd name="connsiteY5" fmla="*/ 15789 h 99133"/>
                <a:gd name="connsiteX6" fmla="*/ 49778 w 99133"/>
                <a:gd name="connsiteY6" fmla="*/ 31367 h 99133"/>
                <a:gd name="connsiteX7" fmla="*/ 31367 w 99133"/>
                <a:gd name="connsiteY7" fmla="*/ 49777 h 99133"/>
                <a:gd name="connsiteX8" fmla="*/ 49778 w 99133"/>
                <a:gd name="connsiteY8" fmla="*/ 68188 h 99133"/>
                <a:gd name="connsiteX9" fmla="*/ 68188 w 99133"/>
                <a:gd name="connsiteY9" fmla="*/ 49777 h 99133"/>
                <a:gd name="connsiteX10" fmla="*/ 49778 w 99133"/>
                <a:gd name="connsiteY10" fmla="*/ 31367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49778" y="15789"/>
                  </a:moveTo>
                  <a:cubicBezTo>
                    <a:pt x="68188" y="15789"/>
                    <a:pt x="83766" y="31367"/>
                    <a:pt x="83766" y="49777"/>
                  </a:cubicBezTo>
                  <a:cubicBezTo>
                    <a:pt x="83766" y="68188"/>
                    <a:pt x="68188" y="83766"/>
                    <a:pt x="49778" y="83766"/>
                  </a:cubicBezTo>
                  <a:cubicBezTo>
                    <a:pt x="31367" y="83766"/>
                    <a:pt x="15789" y="68188"/>
                    <a:pt x="15789" y="49777"/>
                  </a:cubicBezTo>
                  <a:cubicBezTo>
                    <a:pt x="15789" y="31367"/>
                    <a:pt x="29951" y="15789"/>
                    <a:pt x="49778" y="15789"/>
                  </a:cubicBezTo>
                  <a:lnTo>
                    <a:pt x="49778" y="15789"/>
                  </a:lnTo>
                  <a:close/>
                  <a:moveTo>
                    <a:pt x="49778" y="31367"/>
                  </a:moveTo>
                  <a:cubicBezTo>
                    <a:pt x="39864" y="31367"/>
                    <a:pt x="31367" y="39864"/>
                    <a:pt x="31367" y="49777"/>
                  </a:cubicBezTo>
                  <a:cubicBezTo>
                    <a:pt x="31367" y="59691"/>
                    <a:pt x="39864" y="68188"/>
                    <a:pt x="49778" y="68188"/>
                  </a:cubicBezTo>
                  <a:cubicBezTo>
                    <a:pt x="59691" y="68188"/>
                    <a:pt x="68188" y="59691"/>
                    <a:pt x="68188" y="49777"/>
                  </a:cubicBezTo>
                  <a:cubicBezTo>
                    <a:pt x="68188" y="39864"/>
                    <a:pt x="59691" y="31367"/>
                    <a:pt x="49778" y="3136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5" name="Freeform: Shape 2384">
              <a:extLst>
                <a:ext uri="{FF2B5EF4-FFF2-40B4-BE49-F238E27FC236}">
                  <a16:creationId xmlns:a16="http://schemas.microsoft.com/office/drawing/2014/main" id="{F034A4DD-104E-4C35-A387-8DE5F6E5FF22}"/>
                </a:ext>
              </a:extLst>
            </p:cNvPr>
            <p:cNvSpPr/>
            <p:nvPr/>
          </p:nvSpPr>
          <p:spPr>
            <a:xfrm>
              <a:off x="2464592" y="3185204"/>
              <a:ext cx="99133" cy="99133"/>
            </a:xfrm>
            <a:custGeom>
              <a:avLst/>
              <a:gdLst>
                <a:gd name="connsiteX0" fmla="*/ 51276 w 99133"/>
                <a:gd name="connsiteY0" fmla="*/ 86599 h 99133"/>
                <a:gd name="connsiteX1" fmla="*/ 86681 w 99133"/>
                <a:gd name="connsiteY1" fmla="*/ 51194 h 99133"/>
                <a:gd name="connsiteX2" fmla="*/ 51276 w 99133"/>
                <a:gd name="connsiteY2" fmla="*/ 15789 h 99133"/>
                <a:gd name="connsiteX3" fmla="*/ 15872 w 99133"/>
                <a:gd name="connsiteY3" fmla="*/ 51194 h 99133"/>
                <a:gd name="connsiteX4" fmla="*/ 51276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276" y="86599"/>
                  </a:moveTo>
                  <a:cubicBezTo>
                    <a:pt x="71103" y="86599"/>
                    <a:pt x="86681" y="71021"/>
                    <a:pt x="86681" y="51194"/>
                  </a:cubicBezTo>
                  <a:cubicBezTo>
                    <a:pt x="86681" y="31367"/>
                    <a:pt x="71103" y="15789"/>
                    <a:pt x="51276" y="15789"/>
                  </a:cubicBezTo>
                  <a:cubicBezTo>
                    <a:pt x="31450" y="15789"/>
                    <a:pt x="15872" y="31367"/>
                    <a:pt x="15872" y="51194"/>
                  </a:cubicBezTo>
                  <a:cubicBezTo>
                    <a:pt x="14455" y="71021"/>
                    <a:pt x="31450" y="86599"/>
                    <a:pt x="51276"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6" name="Freeform: Shape 2385">
              <a:extLst>
                <a:ext uri="{FF2B5EF4-FFF2-40B4-BE49-F238E27FC236}">
                  <a16:creationId xmlns:a16="http://schemas.microsoft.com/office/drawing/2014/main" id="{CCA05F03-CE96-45AE-9C59-6BD5FB549B75}"/>
                </a:ext>
              </a:extLst>
            </p:cNvPr>
            <p:cNvSpPr/>
            <p:nvPr/>
          </p:nvSpPr>
          <p:spPr>
            <a:xfrm>
              <a:off x="3181267" y="3022342"/>
              <a:ext cx="99133" cy="99133"/>
            </a:xfrm>
            <a:custGeom>
              <a:avLst/>
              <a:gdLst>
                <a:gd name="connsiteX0" fmla="*/ 86599 w 99133"/>
                <a:gd name="connsiteY0" fmla="*/ 51194 h 99133"/>
                <a:gd name="connsiteX1" fmla="*/ 51194 w 99133"/>
                <a:gd name="connsiteY1" fmla="*/ 86598 h 99133"/>
                <a:gd name="connsiteX2" fmla="*/ 15789 w 99133"/>
                <a:gd name="connsiteY2" fmla="*/ 51194 h 99133"/>
                <a:gd name="connsiteX3" fmla="*/ 51194 w 99133"/>
                <a:gd name="connsiteY3" fmla="*/ 15789 h 99133"/>
                <a:gd name="connsiteX4" fmla="*/ 86599 w 99133"/>
                <a:gd name="connsiteY4" fmla="*/ 51194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86599" y="51194"/>
                  </a:moveTo>
                  <a:cubicBezTo>
                    <a:pt x="86599" y="70747"/>
                    <a:pt x="70747" y="86598"/>
                    <a:pt x="51194" y="86598"/>
                  </a:cubicBezTo>
                  <a:cubicBezTo>
                    <a:pt x="31640" y="86598"/>
                    <a:pt x="15789" y="70747"/>
                    <a:pt x="15789" y="51194"/>
                  </a:cubicBezTo>
                  <a:cubicBezTo>
                    <a:pt x="15789" y="31640"/>
                    <a:pt x="31640" y="15789"/>
                    <a:pt x="51194" y="15789"/>
                  </a:cubicBezTo>
                  <a:cubicBezTo>
                    <a:pt x="70747" y="15789"/>
                    <a:pt x="86599" y="31640"/>
                    <a:pt x="86599" y="5119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7" name="Freeform: Shape 2386">
              <a:extLst>
                <a:ext uri="{FF2B5EF4-FFF2-40B4-BE49-F238E27FC236}">
                  <a16:creationId xmlns:a16="http://schemas.microsoft.com/office/drawing/2014/main" id="{55927ED2-0ED1-4B71-82FC-3B19DCD28517}"/>
                </a:ext>
              </a:extLst>
            </p:cNvPr>
            <p:cNvSpPr/>
            <p:nvPr/>
          </p:nvSpPr>
          <p:spPr>
            <a:xfrm>
              <a:off x="2628953" y="3373558"/>
              <a:ext cx="70810" cy="70810"/>
            </a:xfrm>
            <a:custGeom>
              <a:avLst/>
              <a:gdLst>
                <a:gd name="connsiteX0" fmla="*/ 39864 w 70809"/>
                <a:gd name="connsiteY0" fmla="*/ 15789 h 70809"/>
                <a:gd name="connsiteX1" fmla="*/ 63939 w 70809"/>
                <a:gd name="connsiteY1" fmla="*/ 39864 h 70809"/>
                <a:gd name="connsiteX2" fmla="*/ 39864 w 70809"/>
                <a:gd name="connsiteY2" fmla="*/ 63940 h 70809"/>
                <a:gd name="connsiteX3" fmla="*/ 15789 w 70809"/>
                <a:gd name="connsiteY3" fmla="*/ 39864 h 70809"/>
                <a:gd name="connsiteX4" fmla="*/ 39864 w 70809"/>
                <a:gd name="connsiteY4" fmla="*/ 15789 h 70809"/>
                <a:gd name="connsiteX5" fmla="*/ 39864 w 70809"/>
                <a:gd name="connsiteY5" fmla="*/ 15789 h 70809"/>
                <a:gd name="connsiteX6" fmla="*/ 39864 w 70809"/>
                <a:gd name="connsiteY6" fmla="*/ 27119 h 70809"/>
                <a:gd name="connsiteX7" fmla="*/ 25702 w 70809"/>
                <a:gd name="connsiteY7" fmla="*/ 41280 h 70809"/>
                <a:gd name="connsiteX8" fmla="*/ 39864 w 70809"/>
                <a:gd name="connsiteY8" fmla="*/ 55442 h 70809"/>
                <a:gd name="connsiteX9" fmla="*/ 54026 w 70809"/>
                <a:gd name="connsiteY9" fmla="*/ 41280 h 70809"/>
                <a:gd name="connsiteX10" fmla="*/ 39864 w 70809"/>
                <a:gd name="connsiteY10" fmla="*/ 27119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39864" y="15789"/>
                  </a:moveTo>
                  <a:cubicBezTo>
                    <a:pt x="52610" y="15789"/>
                    <a:pt x="63939" y="27119"/>
                    <a:pt x="63939" y="39864"/>
                  </a:cubicBezTo>
                  <a:cubicBezTo>
                    <a:pt x="63939" y="52610"/>
                    <a:pt x="52610" y="63940"/>
                    <a:pt x="39864" y="63940"/>
                  </a:cubicBezTo>
                  <a:cubicBezTo>
                    <a:pt x="27119" y="63940"/>
                    <a:pt x="15789" y="52610"/>
                    <a:pt x="15789" y="39864"/>
                  </a:cubicBezTo>
                  <a:cubicBezTo>
                    <a:pt x="15789" y="27119"/>
                    <a:pt x="25702" y="15789"/>
                    <a:pt x="39864" y="15789"/>
                  </a:cubicBezTo>
                  <a:lnTo>
                    <a:pt x="39864" y="15789"/>
                  </a:lnTo>
                  <a:close/>
                  <a:moveTo>
                    <a:pt x="39864" y="27119"/>
                  </a:moveTo>
                  <a:cubicBezTo>
                    <a:pt x="32783" y="27119"/>
                    <a:pt x="25702" y="32783"/>
                    <a:pt x="25702" y="41280"/>
                  </a:cubicBezTo>
                  <a:cubicBezTo>
                    <a:pt x="25702" y="48361"/>
                    <a:pt x="31367" y="55442"/>
                    <a:pt x="39864" y="55442"/>
                  </a:cubicBezTo>
                  <a:cubicBezTo>
                    <a:pt x="46945" y="55442"/>
                    <a:pt x="54026" y="49778"/>
                    <a:pt x="54026" y="41280"/>
                  </a:cubicBezTo>
                  <a:cubicBezTo>
                    <a:pt x="52610" y="32783"/>
                    <a:pt x="46945" y="27119"/>
                    <a:pt x="3986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8" name="Freeform: Shape 2387">
              <a:extLst>
                <a:ext uri="{FF2B5EF4-FFF2-40B4-BE49-F238E27FC236}">
                  <a16:creationId xmlns:a16="http://schemas.microsoft.com/office/drawing/2014/main" id="{9464A2FA-C8F9-4885-BE90-2E2C447DE0A6}"/>
                </a:ext>
              </a:extLst>
            </p:cNvPr>
            <p:cNvSpPr/>
            <p:nvPr/>
          </p:nvSpPr>
          <p:spPr>
            <a:xfrm>
              <a:off x="2643115" y="2831156"/>
              <a:ext cx="56648" cy="56648"/>
            </a:xfrm>
            <a:custGeom>
              <a:avLst/>
              <a:gdLst>
                <a:gd name="connsiteX0" fmla="*/ 34200 w 56647"/>
                <a:gd name="connsiteY0" fmla="*/ 52610 h 56647"/>
                <a:gd name="connsiteX1" fmla="*/ 52610 w 56647"/>
                <a:gd name="connsiteY1" fmla="*/ 34200 h 56647"/>
                <a:gd name="connsiteX2" fmla="*/ 34200 w 56647"/>
                <a:gd name="connsiteY2" fmla="*/ 15789 h 56647"/>
                <a:gd name="connsiteX3" fmla="*/ 15789 w 56647"/>
                <a:gd name="connsiteY3" fmla="*/ 34200 h 56647"/>
                <a:gd name="connsiteX4" fmla="*/ 34200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200" y="52610"/>
                  </a:moveTo>
                  <a:cubicBezTo>
                    <a:pt x="44113" y="52610"/>
                    <a:pt x="52610" y="44113"/>
                    <a:pt x="52610" y="34200"/>
                  </a:cubicBezTo>
                  <a:cubicBezTo>
                    <a:pt x="52610" y="24286"/>
                    <a:pt x="44113" y="15789"/>
                    <a:pt x="34200" y="15789"/>
                  </a:cubicBezTo>
                  <a:cubicBezTo>
                    <a:pt x="24286" y="15789"/>
                    <a:pt x="15789" y="24286"/>
                    <a:pt x="15789" y="34200"/>
                  </a:cubicBezTo>
                  <a:cubicBezTo>
                    <a:pt x="17205" y="44113"/>
                    <a:pt x="24286" y="52610"/>
                    <a:pt x="34200"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9" name="Freeform: Shape 2388">
              <a:extLst>
                <a:ext uri="{FF2B5EF4-FFF2-40B4-BE49-F238E27FC236}">
                  <a16:creationId xmlns:a16="http://schemas.microsoft.com/office/drawing/2014/main" id="{9B1E2134-1106-425C-BD5D-B5DE6CF450DB}"/>
                </a:ext>
              </a:extLst>
            </p:cNvPr>
            <p:cNvSpPr/>
            <p:nvPr/>
          </p:nvSpPr>
          <p:spPr>
            <a:xfrm>
              <a:off x="3008492" y="3045001"/>
              <a:ext cx="56648" cy="56648"/>
            </a:xfrm>
            <a:custGeom>
              <a:avLst/>
              <a:gdLst>
                <a:gd name="connsiteX0" fmla="*/ 34199 w 56647"/>
                <a:gd name="connsiteY0" fmla="*/ 52610 h 56647"/>
                <a:gd name="connsiteX1" fmla="*/ 52610 w 56647"/>
                <a:gd name="connsiteY1" fmla="*/ 34200 h 56647"/>
                <a:gd name="connsiteX2" fmla="*/ 34199 w 56647"/>
                <a:gd name="connsiteY2" fmla="*/ 15789 h 56647"/>
                <a:gd name="connsiteX3" fmla="*/ 15789 w 56647"/>
                <a:gd name="connsiteY3" fmla="*/ 34200 h 56647"/>
                <a:gd name="connsiteX4" fmla="*/ 34199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199" y="52610"/>
                  </a:moveTo>
                  <a:cubicBezTo>
                    <a:pt x="44113" y="52610"/>
                    <a:pt x="52610" y="44113"/>
                    <a:pt x="52610" y="34200"/>
                  </a:cubicBezTo>
                  <a:cubicBezTo>
                    <a:pt x="52610" y="24286"/>
                    <a:pt x="44113" y="15789"/>
                    <a:pt x="34199" y="15789"/>
                  </a:cubicBezTo>
                  <a:cubicBezTo>
                    <a:pt x="24286" y="15789"/>
                    <a:pt x="15789" y="24286"/>
                    <a:pt x="15789" y="34200"/>
                  </a:cubicBezTo>
                  <a:cubicBezTo>
                    <a:pt x="15789" y="45529"/>
                    <a:pt x="24286" y="52610"/>
                    <a:pt x="34199"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0" name="Freeform: Shape 2389">
              <a:extLst>
                <a:ext uri="{FF2B5EF4-FFF2-40B4-BE49-F238E27FC236}">
                  <a16:creationId xmlns:a16="http://schemas.microsoft.com/office/drawing/2014/main" id="{DF3FA466-707C-4BEB-9163-9425C7F879C6}"/>
                </a:ext>
              </a:extLst>
            </p:cNvPr>
            <p:cNvSpPr/>
            <p:nvPr/>
          </p:nvSpPr>
          <p:spPr>
            <a:xfrm>
              <a:off x="3290314" y="3202199"/>
              <a:ext cx="56648" cy="56648"/>
            </a:xfrm>
            <a:custGeom>
              <a:avLst/>
              <a:gdLst>
                <a:gd name="connsiteX0" fmla="*/ 34200 w 56647"/>
                <a:gd name="connsiteY0" fmla="*/ 52610 h 56647"/>
                <a:gd name="connsiteX1" fmla="*/ 52610 w 56647"/>
                <a:gd name="connsiteY1" fmla="*/ 34199 h 56647"/>
                <a:gd name="connsiteX2" fmla="*/ 34200 w 56647"/>
                <a:gd name="connsiteY2" fmla="*/ 15789 h 56647"/>
                <a:gd name="connsiteX3" fmla="*/ 15789 w 56647"/>
                <a:gd name="connsiteY3" fmla="*/ 34199 h 56647"/>
                <a:gd name="connsiteX4" fmla="*/ 34200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200" y="52610"/>
                  </a:moveTo>
                  <a:cubicBezTo>
                    <a:pt x="44113" y="52610"/>
                    <a:pt x="52610" y="44113"/>
                    <a:pt x="52610" y="34199"/>
                  </a:cubicBezTo>
                  <a:cubicBezTo>
                    <a:pt x="52610" y="24286"/>
                    <a:pt x="44113" y="15789"/>
                    <a:pt x="34200" y="15789"/>
                  </a:cubicBezTo>
                  <a:cubicBezTo>
                    <a:pt x="24286" y="15789"/>
                    <a:pt x="15789" y="24286"/>
                    <a:pt x="15789" y="34199"/>
                  </a:cubicBezTo>
                  <a:cubicBezTo>
                    <a:pt x="15789" y="44113"/>
                    <a:pt x="24286" y="52610"/>
                    <a:pt x="34200"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1" name="Freeform: Shape 2390">
              <a:extLst>
                <a:ext uri="{FF2B5EF4-FFF2-40B4-BE49-F238E27FC236}">
                  <a16:creationId xmlns:a16="http://schemas.microsoft.com/office/drawing/2014/main" id="{1DA0D1FE-AC46-4743-926B-D2DF5845FD39}"/>
                </a:ext>
              </a:extLst>
            </p:cNvPr>
            <p:cNvSpPr/>
            <p:nvPr/>
          </p:nvSpPr>
          <p:spPr>
            <a:xfrm>
              <a:off x="3331383" y="2896301"/>
              <a:ext cx="56648" cy="56648"/>
            </a:xfrm>
            <a:custGeom>
              <a:avLst/>
              <a:gdLst>
                <a:gd name="connsiteX0" fmla="*/ 34200 w 56647"/>
                <a:gd name="connsiteY0" fmla="*/ 52610 h 56647"/>
                <a:gd name="connsiteX1" fmla="*/ 52610 w 56647"/>
                <a:gd name="connsiteY1" fmla="*/ 34200 h 56647"/>
                <a:gd name="connsiteX2" fmla="*/ 34200 w 56647"/>
                <a:gd name="connsiteY2" fmla="*/ 15789 h 56647"/>
                <a:gd name="connsiteX3" fmla="*/ 15789 w 56647"/>
                <a:gd name="connsiteY3" fmla="*/ 34200 h 56647"/>
                <a:gd name="connsiteX4" fmla="*/ 34200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200" y="52610"/>
                  </a:moveTo>
                  <a:cubicBezTo>
                    <a:pt x="44113" y="52610"/>
                    <a:pt x="52610" y="44113"/>
                    <a:pt x="52610" y="34200"/>
                  </a:cubicBezTo>
                  <a:cubicBezTo>
                    <a:pt x="52610" y="24286"/>
                    <a:pt x="44113" y="15789"/>
                    <a:pt x="34200" y="15789"/>
                  </a:cubicBezTo>
                  <a:cubicBezTo>
                    <a:pt x="24286" y="15789"/>
                    <a:pt x="15789" y="24286"/>
                    <a:pt x="15789" y="34200"/>
                  </a:cubicBezTo>
                  <a:cubicBezTo>
                    <a:pt x="15789" y="44113"/>
                    <a:pt x="24286" y="52610"/>
                    <a:pt x="34200"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2" name="Freeform: Shape 2391">
              <a:extLst>
                <a:ext uri="{FF2B5EF4-FFF2-40B4-BE49-F238E27FC236}">
                  <a16:creationId xmlns:a16="http://schemas.microsoft.com/office/drawing/2014/main" id="{43B62568-0032-47F0-B529-3C586E624A3B}"/>
                </a:ext>
              </a:extLst>
            </p:cNvPr>
            <p:cNvSpPr/>
            <p:nvPr/>
          </p:nvSpPr>
          <p:spPr>
            <a:xfrm>
              <a:off x="3873603" y="2411964"/>
              <a:ext cx="56648" cy="56648"/>
            </a:xfrm>
            <a:custGeom>
              <a:avLst/>
              <a:gdLst>
                <a:gd name="connsiteX0" fmla="*/ 28717 w 56647"/>
                <a:gd name="connsiteY0" fmla="*/ 41280 h 56647"/>
                <a:gd name="connsiteX1" fmla="*/ 41463 w 56647"/>
                <a:gd name="connsiteY1" fmla="*/ 28535 h 56647"/>
                <a:gd name="connsiteX2" fmla="*/ 28717 w 56647"/>
                <a:gd name="connsiteY2" fmla="*/ 15789 h 56647"/>
                <a:gd name="connsiteX3" fmla="*/ 15971 w 56647"/>
                <a:gd name="connsiteY3" fmla="*/ 28535 h 56647"/>
                <a:gd name="connsiteX4" fmla="*/ 28717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717" y="41280"/>
                  </a:moveTo>
                  <a:cubicBezTo>
                    <a:pt x="35798" y="41280"/>
                    <a:pt x="41463" y="35616"/>
                    <a:pt x="41463" y="28535"/>
                  </a:cubicBezTo>
                  <a:cubicBezTo>
                    <a:pt x="41463" y="21454"/>
                    <a:pt x="35798" y="15789"/>
                    <a:pt x="28717" y="15789"/>
                  </a:cubicBezTo>
                  <a:cubicBezTo>
                    <a:pt x="21636" y="15789"/>
                    <a:pt x="15971" y="21454"/>
                    <a:pt x="15971" y="28535"/>
                  </a:cubicBezTo>
                  <a:cubicBezTo>
                    <a:pt x="14555" y="35616"/>
                    <a:pt x="21636" y="41280"/>
                    <a:pt x="28717"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3" name="Freeform: Shape 2392">
              <a:extLst>
                <a:ext uri="{FF2B5EF4-FFF2-40B4-BE49-F238E27FC236}">
                  <a16:creationId xmlns:a16="http://schemas.microsoft.com/office/drawing/2014/main" id="{4C8603EE-EB86-41AD-8F01-B02F6087B8A1}"/>
                </a:ext>
              </a:extLst>
            </p:cNvPr>
            <p:cNvSpPr/>
            <p:nvPr/>
          </p:nvSpPr>
          <p:spPr>
            <a:xfrm>
              <a:off x="4159855" y="2298669"/>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9"/>
                  </a:cubicBezTo>
                  <a:cubicBezTo>
                    <a:pt x="38448" y="21454"/>
                    <a:pt x="32783" y="15789"/>
                    <a:pt x="27119" y="15789"/>
                  </a:cubicBezTo>
                  <a:cubicBezTo>
                    <a:pt x="21454" y="15789"/>
                    <a:pt x="15789" y="21454"/>
                    <a:pt x="15789" y="27119"/>
                  </a:cubicBezTo>
                  <a:cubicBezTo>
                    <a:pt x="15789" y="34200"/>
                    <a:pt x="20038"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4" name="Freeform: Shape 2393">
              <a:extLst>
                <a:ext uri="{FF2B5EF4-FFF2-40B4-BE49-F238E27FC236}">
                  <a16:creationId xmlns:a16="http://schemas.microsoft.com/office/drawing/2014/main" id="{CEF61C6E-A6F7-4D85-99F9-2DB5E4B19DE5}"/>
                </a:ext>
              </a:extLst>
            </p:cNvPr>
            <p:cNvSpPr/>
            <p:nvPr/>
          </p:nvSpPr>
          <p:spPr>
            <a:xfrm>
              <a:off x="4022207" y="2297253"/>
              <a:ext cx="42486" cy="42486"/>
            </a:xfrm>
            <a:custGeom>
              <a:avLst/>
              <a:gdLst>
                <a:gd name="connsiteX0" fmla="*/ 23148 w 42485"/>
                <a:gd name="connsiteY0" fmla="*/ 29951 h 42485"/>
                <a:gd name="connsiteX1" fmla="*/ 30229 w 42485"/>
                <a:gd name="connsiteY1" fmla="*/ 22870 h 42485"/>
                <a:gd name="connsiteX2" fmla="*/ 23148 w 42485"/>
                <a:gd name="connsiteY2" fmla="*/ 15789 h 42485"/>
                <a:gd name="connsiteX3" fmla="*/ 16067 w 42485"/>
                <a:gd name="connsiteY3" fmla="*/ 22870 h 42485"/>
                <a:gd name="connsiteX4" fmla="*/ 23148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148" y="29951"/>
                  </a:moveTo>
                  <a:cubicBezTo>
                    <a:pt x="27396" y="29951"/>
                    <a:pt x="30229" y="27119"/>
                    <a:pt x="30229" y="22870"/>
                  </a:cubicBezTo>
                  <a:cubicBezTo>
                    <a:pt x="30229" y="18621"/>
                    <a:pt x="27396" y="15789"/>
                    <a:pt x="23148" y="15789"/>
                  </a:cubicBezTo>
                  <a:cubicBezTo>
                    <a:pt x="18899" y="15789"/>
                    <a:pt x="16067" y="18621"/>
                    <a:pt x="16067" y="22870"/>
                  </a:cubicBezTo>
                  <a:cubicBezTo>
                    <a:pt x="14651" y="25702"/>
                    <a:pt x="18899" y="29951"/>
                    <a:pt x="23148"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5" name="Freeform: Shape 2394">
              <a:extLst>
                <a:ext uri="{FF2B5EF4-FFF2-40B4-BE49-F238E27FC236}">
                  <a16:creationId xmlns:a16="http://schemas.microsoft.com/office/drawing/2014/main" id="{7B10048A-2361-43A3-A9EC-95BF7DEFC30D}"/>
                </a:ext>
              </a:extLst>
            </p:cNvPr>
            <p:cNvSpPr/>
            <p:nvPr/>
          </p:nvSpPr>
          <p:spPr>
            <a:xfrm>
              <a:off x="4049393" y="2097570"/>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7205" y="37032"/>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6" name="Freeform: Shape 2395">
              <a:extLst>
                <a:ext uri="{FF2B5EF4-FFF2-40B4-BE49-F238E27FC236}">
                  <a16:creationId xmlns:a16="http://schemas.microsoft.com/office/drawing/2014/main" id="{6142E6E5-601C-4ABC-9ACE-DAD16140124F}"/>
                </a:ext>
              </a:extLst>
            </p:cNvPr>
            <p:cNvSpPr/>
            <p:nvPr/>
          </p:nvSpPr>
          <p:spPr>
            <a:xfrm>
              <a:off x="5078964" y="1073664"/>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1"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7" name="Freeform: Shape 2396">
              <a:extLst>
                <a:ext uri="{FF2B5EF4-FFF2-40B4-BE49-F238E27FC236}">
                  <a16:creationId xmlns:a16="http://schemas.microsoft.com/office/drawing/2014/main" id="{BE2AE66F-638A-4824-BCA9-803FDEF45C7D}"/>
                </a:ext>
              </a:extLst>
            </p:cNvPr>
            <p:cNvSpPr/>
            <p:nvPr/>
          </p:nvSpPr>
          <p:spPr>
            <a:xfrm>
              <a:off x="4815552" y="885310"/>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8" name="Freeform: Shape 2397">
              <a:extLst>
                <a:ext uri="{FF2B5EF4-FFF2-40B4-BE49-F238E27FC236}">
                  <a16:creationId xmlns:a16="http://schemas.microsoft.com/office/drawing/2014/main" id="{8F4FE83F-9DD8-489D-A688-4C14DA470B3B}"/>
                </a:ext>
              </a:extLst>
            </p:cNvPr>
            <p:cNvSpPr/>
            <p:nvPr/>
          </p:nvSpPr>
          <p:spPr>
            <a:xfrm>
              <a:off x="2847046" y="2824076"/>
              <a:ext cx="70810" cy="70810"/>
            </a:xfrm>
            <a:custGeom>
              <a:avLst/>
              <a:gdLst>
                <a:gd name="connsiteX0" fmla="*/ 39864 w 70809"/>
                <a:gd name="connsiteY0" fmla="*/ 63940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4026" y="63940"/>
                    <a:pt x="63940" y="52610"/>
                    <a:pt x="63940" y="39864"/>
                  </a:cubicBezTo>
                  <a:cubicBezTo>
                    <a:pt x="63940" y="25703"/>
                    <a:pt x="52610" y="15789"/>
                    <a:pt x="39864" y="15789"/>
                  </a:cubicBezTo>
                  <a:cubicBezTo>
                    <a:pt x="25702" y="15789"/>
                    <a:pt x="15789" y="27119"/>
                    <a:pt x="15789" y="39864"/>
                  </a:cubicBezTo>
                  <a:cubicBezTo>
                    <a:pt x="15789" y="52610"/>
                    <a:pt x="27119"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9" name="Freeform: Shape 2398">
              <a:extLst>
                <a:ext uri="{FF2B5EF4-FFF2-40B4-BE49-F238E27FC236}">
                  <a16:creationId xmlns:a16="http://schemas.microsoft.com/office/drawing/2014/main" id="{6AE1803B-1C07-4446-99C8-A6C2C4CD7537}"/>
                </a:ext>
              </a:extLst>
            </p:cNvPr>
            <p:cNvSpPr/>
            <p:nvPr/>
          </p:nvSpPr>
          <p:spPr>
            <a:xfrm>
              <a:off x="2885163" y="3581738"/>
              <a:ext cx="70810" cy="70810"/>
            </a:xfrm>
            <a:custGeom>
              <a:avLst/>
              <a:gdLst>
                <a:gd name="connsiteX0" fmla="*/ 39984 w 70809"/>
                <a:gd name="connsiteY0" fmla="*/ 63940 h 70809"/>
                <a:gd name="connsiteX1" fmla="*/ 64059 w 70809"/>
                <a:gd name="connsiteY1" fmla="*/ 39864 h 70809"/>
                <a:gd name="connsiteX2" fmla="*/ 39984 w 70809"/>
                <a:gd name="connsiteY2" fmla="*/ 15789 h 70809"/>
                <a:gd name="connsiteX3" fmla="*/ 15909 w 70809"/>
                <a:gd name="connsiteY3" fmla="*/ 39864 h 70809"/>
                <a:gd name="connsiteX4" fmla="*/ 3998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984" y="63940"/>
                  </a:moveTo>
                  <a:cubicBezTo>
                    <a:pt x="54146" y="63940"/>
                    <a:pt x="64059" y="52610"/>
                    <a:pt x="64059" y="39864"/>
                  </a:cubicBezTo>
                  <a:cubicBezTo>
                    <a:pt x="64059" y="25703"/>
                    <a:pt x="52730" y="15789"/>
                    <a:pt x="39984" y="15789"/>
                  </a:cubicBezTo>
                  <a:cubicBezTo>
                    <a:pt x="25822" y="15789"/>
                    <a:pt x="15909" y="27119"/>
                    <a:pt x="15909" y="39864"/>
                  </a:cubicBezTo>
                  <a:cubicBezTo>
                    <a:pt x="14493" y="52610"/>
                    <a:pt x="25822" y="63940"/>
                    <a:pt x="3998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0" name="Freeform: Shape 2399">
              <a:extLst>
                <a:ext uri="{FF2B5EF4-FFF2-40B4-BE49-F238E27FC236}">
                  <a16:creationId xmlns:a16="http://schemas.microsoft.com/office/drawing/2014/main" id="{FAB5C53B-D43B-4E0B-A9C6-068E932B6541}"/>
                </a:ext>
              </a:extLst>
            </p:cNvPr>
            <p:cNvSpPr/>
            <p:nvPr/>
          </p:nvSpPr>
          <p:spPr>
            <a:xfrm>
              <a:off x="3073637" y="3393384"/>
              <a:ext cx="56648" cy="56648"/>
            </a:xfrm>
            <a:custGeom>
              <a:avLst/>
              <a:gdLst>
                <a:gd name="connsiteX0" fmla="*/ 44113 w 56647"/>
                <a:gd name="connsiteY0" fmla="*/ 29951 h 56647"/>
                <a:gd name="connsiteX1" fmla="*/ 29951 w 56647"/>
                <a:gd name="connsiteY1" fmla="*/ 44113 h 56647"/>
                <a:gd name="connsiteX2" fmla="*/ 15789 w 56647"/>
                <a:gd name="connsiteY2" fmla="*/ 29951 h 56647"/>
                <a:gd name="connsiteX3" fmla="*/ 29951 w 56647"/>
                <a:gd name="connsiteY3" fmla="*/ 15789 h 56647"/>
                <a:gd name="connsiteX4" fmla="*/ 44113 w 56647"/>
                <a:gd name="connsiteY4" fmla="*/ 2995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44113" y="29951"/>
                  </a:moveTo>
                  <a:cubicBezTo>
                    <a:pt x="44113" y="37773"/>
                    <a:pt x="37772" y="44113"/>
                    <a:pt x="29951" y="44113"/>
                  </a:cubicBezTo>
                  <a:cubicBezTo>
                    <a:pt x="22129" y="44113"/>
                    <a:pt x="15789" y="37773"/>
                    <a:pt x="15789" y="29951"/>
                  </a:cubicBezTo>
                  <a:cubicBezTo>
                    <a:pt x="15789" y="22129"/>
                    <a:pt x="22129" y="15789"/>
                    <a:pt x="29951" y="15789"/>
                  </a:cubicBezTo>
                  <a:cubicBezTo>
                    <a:pt x="37772" y="15789"/>
                    <a:pt x="44113" y="22129"/>
                    <a:pt x="44113"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1" name="Freeform: Shape 2400">
              <a:extLst>
                <a:ext uri="{FF2B5EF4-FFF2-40B4-BE49-F238E27FC236}">
                  <a16:creationId xmlns:a16="http://schemas.microsoft.com/office/drawing/2014/main" id="{F325C14D-4FA4-4C1A-BC7C-40351CB58A59}"/>
                </a:ext>
              </a:extLst>
            </p:cNvPr>
            <p:cNvSpPr/>
            <p:nvPr/>
          </p:nvSpPr>
          <p:spPr>
            <a:xfrm>
              <a:off x="3019821" y="3692201"/>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8448"/>
                    <a:pt x="44113" y="29951"/>
                  </a:cubicBezTo>
                  <a:cubicBezTo>
                    <a:pt x="44113" y="21454"/>
                    <a:pt x="38448" y="15789"/>
                    <a:pt x="29951" y="15789"/>
                  </a:cubicBezTo>
                  <a:cubicBezTo>
                    <a:pt x="21454" y="15789"/>
                    <a:pt x="15789" y="22870"/>
                    <a:pt x="15789" y="29951"/>
                  </a:cubicBezTo>
                  <a:cubicBezTo>
                    <a:pt x="15789" y="38448"/>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2" name="Freeform: Shape 2401">
              <a:extLst>
                <a:ext uri="{FF2B5EF4-FFF2-40B4-BE49-F238E27FC236}">
                  <a16:creationId xmlns:a16="http://schemas.microsoft.com/office/drawing/2014/main" id="{DB749465-82F2-4881-9B4A-2FF247349F4C}"/>
                </a:ext>
              </a:extLst>
            </p:cNvPr>
            <p:cNvSpPr/>
            <p:nvPr/>
          </p:nvSpPr>
          <p:spPr>
            <a:xfrm>
              <a:off x="2766323" y="3427373"/>
              <a:ext cx="70810" cy="70810"/>
            </a:xfrm>
            <a:custGeom>
              <a:avLst/>
              <a:gdLst>
                <a:gd name="connsiteX0" fmla="*/ 39864 w 70809"/>
                <a:gd name="connsiteY0" fmla="*/ 63939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39" y="52610"/>
                    <a:pt x="63939" y="39864"/>
                  </a:cubicBezTo>
                  <a:cubicBezTo>
                    <a:pt x="63939" y="27119"/>
                    <a:pt x="52610" y="15789"/>
                    <a:pt x="39864" y="15789"/>
                  </a:cubicBezTo>
                  <a:cubicBezTo>
                    <a:pt x="27119" y="15789"/>
                    <a:pt x="15789" y="27119"/>
                    <a:pt x="15789" y="39864"/>
                  </a:cubicBezTo>
                  <a:cubicBezTo>
                    <a:pt x="15789" y="52610"/>
                    <a:pt x="27119" y="63939"/>
                    <a:pt x="3986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3" name="Freeform: Shape 2402">
              <a:extLst>
                <a:ext uri="{FF2B5EF4-FFF2-40B4-BE49-F238E27FC236}">
                  <a16:creationId xmlns:a16="http://schemas.microsoft.com/office/drawing/2014/main" id="{CE8047A4-CC9B-45BB-A51B-921D91D4DD42}"/>
                </a:ext>
              </a:extLst>
            </p:cNvPr>
            <p:cNvSpPr/>
            <p:nvPr/>
          </p:nvSpPr>
          <p:spPr>
            <a:xfrm>
              <a:off x="3162857" y="3757345"/>
              <a:ext cx="70810" cy="70810"/>
            </a:xfrm>
            <a:custGeom>
              <a:avLst/>
              <a:gdLst>
                <a:gd name="connsiteX0" fmla="*/ 39864 w 70809"/>
                <a:gd name="connsiteY0" fmla="*/ 63939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39" y="52610"/>
                    <a:pt x="63939" y="39864"/>
                  </a:cubicBezTo>
                  <a:cubicBezTo>
                    <a:pt x="63939" y="27119"/>
                    <a:pt x="52610" y="15789"/>
                    <a:pt x="39864" y="15789"/>
                  </a:cubicBezTo>
                  <a:cubicBezTo>
                    <a:pt x="27119" y="15789"/>
                    <a:pt x="15789" y="27119"/>
                    <a:pt x="15789" y="39864"/>
                  </a:cubicBezTo>
                  <a:cubicBezTo>
                    <a:pt x="15789" y="52610"/>
                    <a:pt x="25702" y="63939"/>
                    <a:pt x="3986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4" name="Freeform: Shape 2403">
              <a:extLst>
                <a:ext uri="{FF2B5EF4-FFF2-40B4-BE49-F238E27FC236}">
                  <a16:creationId xmlns:a16="http://schemas.microsoft.com/office/drawing/2014/main" id="{308BA547-2C0C-43BF-9A6D-268F675DC2F8}"/>
                </a:ext>
              </a:extLst>
            </p:cNvPr>
            <p:cNvSpPr/>
            <p:nvPr/>
          </p:nvSpPr>
          <p:spPr>
            <a:xfrm>
              <a:off x="3209591" y="3659628"/>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2"/>
                    <a:pt x="24286" y="15789"/>
                    <a:pt x="21454" y="15789"/>
                  </a:cubicBezTo>
                  <a:cubicBezTo>
                    <a:pt x="18621" y="15789"/>
                    <a:pt x="15789" y="18622"/>
                    <a:pt x="15789" y="21454"/>
                  </a:cubicBezTo>
                  <a:cubicBezTo>
                    <a:pt x="15789" y="24286"/>
                    <a:pt x="18621"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5" name="Freeform: Shape 2404">
              <a:extLst>
                <a:ext uri="{FF2B5EF4-FFF2-40B4-BE49-F238E27FC236}">
                  <a16:creationId xmlns:a16="http://schemas.microsoft.com/office/drawing/2014/main" id="{FB576A35-C58D-4487-A3BD-46629DAE18CB}"/>
                </a:ext>
              </a:extLst>
            </p:cNvPr>
            <p:cNvSpPr/>
            <p:nvPr/>
          </p:nvSpPr>
          <p:spPr>
            <a:xfrm>
              <a:off x="3089215" y="3696449"/>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1" y="15789"/>
                    <a:pt x="15789" y="18621"/>
                    <a:pt x="15789" y="21454"/>
                  </a:cubicBezTo>
                  <a:cubicBezTo>
                    <a:pt x="15789" y="24286"/>
                    <a:pt x="18621"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6" name="Freeform: Shape 2405">
              <a:extLst>
                <a:ext uri="{FF2B5EF4-FFF2-40B4-BE49-F238E27FC236}">
                  <a16:creationId xmlns:a16="http://schemas.microsoft.com/office/drawing/2014/main" id="{D9FC2005-74EB-42F1-82D3-8A62C0FFCDBD}"/>
                </a:ext>
              </a:extLst>
            </p:cNvPr>
            <p:cNvSpPr/>
            <p:nvPr/>
          </p:nvSpPr>
          <p:spPr>
            <a:xfrm>
              <a:off x="2331552" y="3244684"/>
              <a:ext cx="99133" cy="99133"/>
            </a:xfrm>
            <a:custGeom>
              <a:avLst/>
              <a:gdLst>
                <a:gd name="connsiteX0" fmla="*/ 49778 w 99133"/>
                <a:gd name="connsiteY0" fmla="*/ 15789 h 99133"/>
                <a:gd name="connsiteX1" fmla="*/ 83766 w 99133"/>
                <a:gd name="connsiteY1" fmla="*/ 49777 h 99133"/>
                <a:gd name="connsiteX2" fmla="*/ 49778 w 99133"/>
                <a:gd name="connsiteY2" fmla="*/ 83766 h 99133"/>
                <a:gd name="connsiteX3" fmla="*/ 15789 w 99133"/>
                <a:gd name="connsiteY3" fmla="*/ 49777 h 99133"/>
                <a:gd name="connsiteX4" fmla="*/ 49778 w 99133"/>
                <a:gd name="connsiteY4" fmla="*/ 15789 h 99133"/>
                <a:gd name="connsiteX5" fmla="*/ 49778 w 99133"/>
                <a:gd name="connsiteY5" fmla="*/ 15789 h 99133"/>
                <a:gd name="connsiteX6" fmla="*/ 49778 w 99133"/>
                <a:gd name="connsiteY6" fmla="*/ 31367 h 99133"/>
                <a:gd name="connsiteX7" fmla="*/ 31367 w 99133"/>
                <a:gd name="connsiteY7" fmla="*/ 49777 h 99133"/>
                <a:gd name="connsiteX8" fmla="*/ 49778 w 99133"/>
                <a:gd name="connsiteY8" fmla="*/ 68188 h 99133"/>
                <a:gd name="connsiteX9" fmla="*/ 68188 w 99133"/>
                <a:gd name="connsiteY9" fmla="*/ 49777 h 99133"/>
                <a:gd name="connsiteX10" fmla="*/ 49778 w 99133"/>
                <a:gd name="connsiteY10" fmla="*/ 31367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49778" y="15789"/>
                  </a:moveTo>
                  <a:cubicBezTo>
                    <a:pt x="68188" y="15789"/>
                    <a:pt x="83766" y="31367"/>
                    <a:pt x="83766" y="49777"/>
                  </a:cubicBezTo>
                  <a:cubicBezTo>
                    <a:pt x="83766" y="68188"/>
                    <a:pt x="68188" y="83766"/>
                    <a:pt x="49778" y="83766"/>
                  </a:cubicBezTo>
                  <a:cubicBezTo>
                    <a:pt x="31367" y="83766"/>
                    <a:pt x="15789" y="68188"/>
                    <a:pt x="15789" y="49777"/>
                  </a:cubicBezTo>
                  <a:cubicBezTo>
                    <a:pt x="15789" y="31367"/>
                    <a:pt x="31367" y="15789"/>
                    <a:pt x="49778" y="15789"/>
                  </a:cubicBezTo>
                  <a:lnTo>
                    <a:pt x="49778" y="15789"/>
                  </a:lnTo>
                  <a:close/>
                  <a:moveTo>
                    <a:pt x="49778" y="31367"/>
                  </a:moveTo>
                  <a:cubicBezTo>
                    <a:pt x="39864" y="31367"/>
                    <a:pt x="31367" y="39864"/>
                    <a:pt x="31367" y="49777"/>
                  </a:cubicBezTo>
                  <a:cubicBezTo>
                    <a:pt x="31367" y="59691"/>
                    <a:pt x="39864" y="68188"/>
                    <a:pt x="49778" y="68188"/>
                  </a:cubicBezTo>
                  <a:cubicBezTo>
                    <a:pt x="59691" y="68188"/>
                    <a:pt x="68188" y="59691"/>
                    <a:pt x="68188" y="49777"/>
                  </a:cubicBezTo>
                  <a:cubicBezTo>
                    <a:pt x="68188" y="39864"/>
                    <a:pt x="59691" y="31367"/>
                    <a:pt x="49778" y="3136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7" name="Freeform: Shape 2406">
              <a:extLst>
                <a:ext uri="{FF2B5EF4-FFF2-40B4-BE49-F238E27FC236}">
                  <a16:creationId xmlns:a16="http://schemas.microsoft.com/office/drawing/2014/main" id="{31744ECD-5A27-4210-8CD9-736EAAD148B4}"/>
                </a:ext>
              </a:extLst>
            </p:cNvPr>
            <p:cNvSpPr/>
            <p:nvPr/>
          </p:nvSpPr>
          <p:spPr>
            <a:xfrm>
              <a:off x="3410690" y="3389136"/>
              <a:ext cx="56648" cy="56648"/>
            </a:xfrm>
            <a:custGeom>
              <a:avLst/>
              <a:gdLst>
                <a:gd name="connsiteX0" fmla="*/ 46945 w 56647"/>
                <a:gd name="connsiteY0" fmla="*/ 31367 h 56647"/>
                <a:gd name="connsiteX1" fmla="*/ 31367 w 56647"/>
                <a:gd name="connsiteY1" fmla="*/ 46945 h 56647"/>
                <a:gd name="connsiteX2" fmla="*/ 15789 w 56647"/>
                <a:gd name="connsiteY2" fmla="*/ 31367 h 56647"/>
                <a:gd name="connsiteX3" fmla="*/ 31367 w 56647"/>
                <a:gd name="connsiteY3" fmla="*/ 15789 h 56647"/>
                <a:gd name="connsiteX4" fmla="*/ 46945 w 56647"/>
                <a:gd name="connsiteY4" fmla="*/ 3136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46945" y="31367"/>
                  </a:moveTo>
                  <a:cubicBezTo>
                    <a:pt x="46945" y="39971"/>
                    <a:pt x="39971" y="46945"/>
                    <a:pt x="31367" y="46945"/>
                  </a:cubicBezTo>
                  <a:cubicBezTo>
                    <a:pt x="22763" y="46945"/>
                    <a:pt x="15789" y="39971"/>
                    <a:pt x="15789" y="31367"/>
                  </a:cubicBezTo>
                  <a:cubicBezTo>
                    <a:pt x="15789" y="22763"/>
                    <a:pt x="22763" y="15789"/>
                    <a:pt x="31367" y="15789"/>
                  </a:cubicBezTo>
                  <a:cubicBezTo>
                    <a:pt x="39971" y="15789"/>
                    <a:pt x="46945" y="22763"/>
                    <a:pt x="46945" y="3136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8" name="Freeform: Shape 2407">
              <a:extLst>
                <a:ext uri="{FF2B5EF4-FFF2-40B4-BE49-F238E27FC236}">
                  <a16:creationId xmlns:a16="http://schemas.microsoft.com/office/drawing/2014/main" id="{9190A044-A259-4092-A01F-13787CF18216}"/>
                </a:ext>
              </a:extLst>
            </p:cNvPr>
            <p:cNvSpPr/>
            <p:nvPr/>
          </p:nvSpPr>
          <p:spPr>
            <a:xfrm>
              <a:off x="3616038" y="3461361"/>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9" name="Freeform: Shape 2408">
              <a:extLst>
                <a:ext uri="{FF2B5EF4-FFF2-40B4-BE49-F238E27FC236}">
                  <a16:creationId xmlns:a16="http://schemas.microsoft.com/office/drawing/2014/main" id="{DE3DD345-C963-42C5-98B4-8EBD847B5531}"/>
                </a:ext>
              </a:extLst>
            </p:cNvPr>
            <p:cNvSpPr/>
            <p:nvPr/>
          </p:nvSpPr>
          <p:spPr>
            <a:xfrm>
              <a:off x="3511240" y="3501015"/>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8448"/>
                    <a:pt x="44113" y="29951"/>
                  </a:cubicBezTo>
                  <a:cubicBezTo>
                    <a:pt x="44113" y="21454"/>
                    <a:pt x="38448" y="15789"/>
                    <a:pt x="29951" y="15789"/>
                  </a:cubicBezTo>
                  <a:cubicBezTo>
                    <a:pt x="21454" y="15789"/>
                    <a:pt x="15789" y="21454"/>
                    <a:pt x="15789" y="29951"/>
                  </a:cubicBezTo>
                  <a:cubicBezTo>
                    <a:pt x="15789" y="38448"/>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0" name="Freeform: Shape 2409">
              <a:extLst>
                <a:ext uri="{FF2B5EF4-FFF2-40B4-BE49-F238E27FC236}">
                  <a16:creationId xmlns:a16="http://schemas.microsoft.com/office/drawing/2014/main" id="{823DBB98-22F7-4A85-BB5A-1F7BEAE0DC1B}"/>
                </a:ext>
              </a:extLst>
            </p:cNvPr>
            <p:cNvSpPr/>
            <p:nvPr/>
          </p:nvSpPr>
          <p:spPr>
            <a:xfrm>
              <a:off x="3310141" y="3348066"/>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1" name="Freeform: Shape 2410">
              <a:extLst>
                <a:ext uri="{FF2B5EF4-FFF2-40B4-BE49-F238E27FC236}">
                  <a16:creationId xmlns:a16="http://schemas.microsoft.com/office/drawing/2014/main" id="{DC070CD7-65FB-45F7-BE4A-C10328BD1964}"/>
                </a:ext>
              </a:extLst>
            </p:cNvPr>
            <p:cNvSpPr/>
            <p:nvPr/>
          </p:nvSpPr>
          <p:spPr>
            <a:xfrm>
              <a:off x="3430517" y="3457113"/>
              <a:ext cx="42486" cy="42486"/>
            </a:xfrm>
            <a:custGeom>
              <a:avLst/>
              <a:gdLst>
                <a:gd name="connsiteX0" fmla="*/ 21454 w 42485"/>
                <a:gd name="connsiteY0" fmla="*/ 27118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8"/>
                  </a:moveTo>
                  <a:cubicBezTo>
                    <a:pt x="24286" y="27118"/>
                    <a:pt x="27119" y="24286"/>
                    <a:pt x="27119" y="21454"/>
                  </a:cubicBezTo>
                  <a:cubicBezTo>
                    <a:pt x="27119" y="18621"/>
                    <a:pt x="24286" y="15789"/>
                    <a:pt x="21454" y="15789"/>
                  </a:cubicBezTo>
                  <a:cubicBezTo>
                    <a:pt x="18622" y="15789"/>
                    <a:pt x="15789" y="18621"/>
                    <a:pt x="15789" y="21454"/>
                  </a:cubicBezTo>
                  <a:cubicBezTo>
                    <a:pt x="15789" y="24286"/>
                    <a:pt x="18622" y="27118"/>
                    <a:pt x="21454" y="2711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2" name="Freeform: Shape 2411">
              <a:extLst>
                <a:ext uri="{FF2B5EF4-FFF2-40B4-BE49-F238E27FC236}">
                  <a16:creationId xmlns:a16="http://schemas.microsoft.com/office/drawing/2014/main" id="{2DA6B479-42C9-42EF-A1B7-CE71FD3DF25A}"/>
                </a:ext>
              </a:extLst>
            </p:cNvPr>
            <p:cNvSpPr/>
            <p:nvPr/>
          </p:nvSpPr>
          <p:spPr>
            <a:xfrm>
              <a:off x="3226585" y="3367893"/>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1" y="15789"/>
                    <a:pt x="15789" y="18621"/>
                    <a:pt x="15789" y="21454"/>
                  </a:cubicBezTo>
                  <a:cubicBezTo>
                    <a:pt x="15789" y="24286"/>
                    <a:pt x="18621"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3" name="Freeform: Shape 2412">
              <a:extLst>
                <a:ext uri="{FF2B5EF4-FFF2-40B4-BE49-F238E27FC236}">
                  <a16:creationId xmlns:a16="http://schemas.microsoft.com/office/drawing/2014/main" id="{94294D12-F9AC-4671-8CC0-E2E34535D760}"/>
                </a:ext>
              </a:extLst>
            </p:cNvPr>
            <p:cNvSpPr/>
            <p:nvPr/>
          </p:nvSpPr>
          <p:spPr>
            <a:xfrm>
              <a:off x="3743495" y="3519425"/>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9" y="29951"/>
                    <a:pt x="29951" y="27119"/>
                    <a:pt x="29951" y="22870"/>
                  </a:cubicBezTo>
                  <a:cubicBezTo>
                    <a:pt x="29951" y="18621"/>
                    <a:pt x="27119" y="15789"/>
                    <a:pt x="22870" y="15789"/>
                  </a:cubicBezTo>
                  <a:cubicBezTo>
                    <a:pt x="18621" y="15789"/>
                    <a:pt x="15789" y="18621"/>
                    <a:pt x="15789" y="22870"/>
                  </a:cubicBezTo>
                  <a:cubicBezTo>
                    <a:pt x="15789" y="25702"/>
                    <a:pt x="20038" y="29951"/>
                    <a:pt x="22870"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4" name="Freeform: Shape 2413">
              <a:extLst>
                <a:ext uri="{FF2B5EF4-FFF2-40B4-BE49-F238E27FC236}">
                  <a16:creationId xmlns:a16="http://schemas.microsoft.com/office/drawing/2014/main" id="{3B6DD125-B34A-4132-ACB9-DA89788F805E}"/>
                </a:ext>
              </a:extLst>
            </p:cNvPr>
            <p:cNvSpPr/>
            <p:nvPr/>
          </p:nvSpPr>
          <p:spPr>
            <a:xfrm>
              <a:off x="3665605" y="3503847"/>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9" y="29951"/>
                    <a:pt x="29951" y="27119"/>
                    <a:pt x="29951" y="22870"/>
                  </a:cubicBezTo>
                  <a:cubicBezTo>
                    <a:pt x="29951" y="18622"/>
                    <a:pt x="27119" y="15789"/>
                    <a:pt x="22870" y="15789"/>
                  </a:cubicBezTo>
                  <a:cubicBezTo>
                    <a:pt x="18621" y="15789"/>
                    <a:pt x="15789" y="18622"/>
                    <a:pt x="15789" y="22870"/>
                  </a:cubicBezTo>
                  <a:cubicBezTo>
                    <a:pt x="15789" y="25703"/>
                    <a:pt x="18621" y="29951"/>
                    <a:pt x="22870"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5" name="Freeform: Shape 2414">
              <a:extLst>
                <a:ext uri="{FF2B5EF4-FFF2-40B4-BE49-F238E27FC236}">
                  <a16:creationId xmlns:a16="http://schemas.microsoft.com/office/drawing/2014/main" id="{5F050ECD-9FA1-4404-8C51-0A2AE7DEFEBC}"/>
                </a:ext>
              </a:extLst>
            </p:cNvPr>
            <p:cNvSpPr/>
            <p:nvPr/>
          </p:nvSpPr>
          <p:spPr>
            <a:xfrm>
              <a:off x="3359707" y="3345234"/>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7205" y="38448"/>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6" name="Freeform: Shape 2415">
              <a:extLst>
                <a:ext uri="{FF2B5EF4-FFF2-40B4-BE49-F238E27FC236}">
                  <a16:creationId xmlns:a16="http://schemas.microsoft.com/office/drawing/2014/main" id="{C96516D8-6384-4759-8D0D-4C18B5E88B64}"/>
                </a:ext>
              </a:extLst>
            </p:cNvPr>
            <p:cNvSpPr/>
            <p:nvPr/>
          </p:nvSpPr>
          <p:spPr>
            <a:xfrm>
              <a:off x="3409274" y="3544917"/>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2" y="15789"/>
                    <a:pt x="15789" y="18621"/>
                    <a:pt x="15789" y="21454"/>
                  </a:cubicBezTo>
                  <a:cubicBezTo>
                    <a:pt x="15789" y="24286"/>
                    <a:pt x="18622"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7" name="Freeform: Shape 2416">
              <a:extLst>
                <a:ext uri="{FF2B5EF4-FFF2-40B4-BE49-F238E27FC236}">
                  <a16:creationId xmlns:a16="http://schemas.microsoft.com/office/drawing/2014/main" id="{366DF21C-A476-4321-AE05-A0340439F8E9}"/>
                </a:ext>
              </a:extLst>
            </p:cNvPr>
            <p:cNvSpPr/>
            <p:nvPr/>
          </p:nvSpPr>
          <p:spPr>
            <a:xfrm>
              <a:off x="3407858" y="3512344"/>
              <a:ext cx="28324" cy="28324"/>
            </a:xfrm>
            <a:custGeom>
              <a:avLst/>
              <a:gdLst>
                <a:gd name="connsiteX0" fmla="*/ 20038 w 28323"/>
                <a:gd name="connsiteY0" fmla="*/ 24286 h 28323"/>
                <a:gd name="connsiteX1" fmla="*/ 24286 w 28323"/>
                <a:gd name="connsiteY1" fmla="*/ 20038 h 28323"/>
                <a:gd name="connsiteX2" fmla="*/ 20038 w 28323"/>
                <a:gd name="connsiteY2" fmla="*/ 15789 h 28323"/>
                <a:gd name="connsiteX3" fmla="*/ 15789 w 28323"/>
                <a:gd name="connsiteY3" fmla="*/ 20038 h 28323"/>
                <a:gd name="connsiteX4" fmla="*/ 20038 w 28323"/>
                <a:gd name="connsiteY4" fmla="*/ 24286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0038" y="24286"/>
                  </a:moveTo>
                  <a:cubicBezTo>
                    <a:pt x="22870" y="24286"/>
                    <a:pt x="24286" y="22870"/>
                    <a:pt x="24286" y="20038"/>
                  </a:cubicBezTo>
                  <a:cubicBezTo>
                    <a:pt x="24286" y="17205"/>
                    <a:pt x="22870" y="15789"/>
                    <a:pt x="20038" y="15789"/>
                  </a:cubicBezTo>
                  <a:cubicBezTo>
                    <a:pt x="17205" y="15789"/>
                    <a:pt x="15789" y="17205"/>
                    <a:pt x="15789" y="20038"/>
                  </a:cubicBezTo>
                  <a:cubicBezTo>
                    <a:pt x="15789" y="21454"/>
                    <a:pt x="17205" y="24286"/>
                    <a:pt x="20038"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8" name="Freeform: Shape 2417">
              <a:extLst>
                <a:ext uri="{FF2B5EF4-FFF2-40B4-BE49-F238E27FC236}">
                  <a16:creationId xmlns:a16="http://schemas.microsoft.com/office/drawing/2014/main" id="{F8DB9E88-B1CF-4F31-AD12-DD92EAB13E93}"/>
                </a:ext>
              </a:extLst>
            </p:cNvPr>
            <p:cNvSpPr/>
            <p:nvPr/>
          </p:nvSpPr>
          <p:spPr>
            <a:xfrm>
              <a:off x="1497416" y="1713782"/>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9"/>
                  </a:cubicBezTo>
                  <a:cubicBezTo>
                    <a:pt x="38448" y="21454"/>
                    <a:pt x="32783" y="15789"/>
                    <a:pt x="27119" y="15789"/>
                  </a:cubicBezTo>
                  <a:cubicBezTo>
                    <a:pt x="21454" y="15789"/>
                    <a:pt x="15789" y="21454"/>
                    <a:pt x="15789" y="27119"/>
                  </a:cubicBezTo>
                  <a:cubicBezTo>
                    <a:pt x="15789" y="32783"/>
                    <a:pt x="21454"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9" name="Freeform: Shape 2418">
              <a:extLst>
                <a:ext uri="{FF2B5EF4-FFF2-40B4-BE49-F238E27FC236}">
                  <a16:creationId xmlns:a16="http://schemas.microsoft.com/office/drawing/2014/main" id="{D847C0BF-A521-4404-890B-A35024D4ED38}"/>
                </a:ext>
              </a:extLst>
            </p:cNvPr>
            <p:cNvSpPr/>
            <p:nvPr/>
          </p:nvSpPr>
          <p:spPr>
            <a:xfrm>
              <a:off x="1252415" y="1160051"/>
              <a:ext cx="42486" cy="42486"/>
            </a:xfrm>
            <a:custGeom>
              <a:avLst/>
              <a:gdLst>
                <a:gd name="connsiteX0" fmla="*/ 38448 w 42485"/>
                <a:gd name="connsiteY0" fmla="*/ 27119 h 42485"/>
                <a:gd name="connsiteX1" fmla="*/ 27119 w 42485"/>
                <a:gd name="connsiteY1" fmla="*/ 38448 h 42485"/>
                <a:gd name="connsiteX2" fmla="*/ 15789 w 42485"/>
                <a:gd name="connsiteY2" fmla="*/ 27119 h 42485"/>
                <a:gd name="connsiteX3" fmla="*/ 27119 w 42485"/>
                <a:gd name="connsiteY3" fmla="*/ 15789 h 42485"/>
                <a:gd name="connsiteX4" fmla="*/ 38448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8448" y="27119"/>
                  </a:moveTo>
                  <a:cubicBezTo>
                    <a:pt x="38448" y="33376"/>
                    <a:pt x="33376" y="38448"/>
                    <a:pt x="27119" y="38448"/>
                  </a:cubicBezTo>
                  <a:cubicBezTo>
                    <a:pt x="20861" y="38448"/>
                    <a:pt x="15789" y="33376"/>
                    <a:pt x="15789" y="27119"/>
                  </a:cubicBezTo>
                  <a:cubicBezTo>
                    <a:pt x="15789" y="20861"/>
                    <a:pt x="20861" y="15789"/>
                    <a:pt x="27119" y="15789"/>
                  </a:cubicBezTo>
                  <a:cubicBezTo>
                    <a:pt x="33376" y="15789"/>
                    <a:pt x="38448" y="20861"/>
                    <a:pt x="38448"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0" name="Freeform: Shape 2419">
              <a:extLst>
                <a:ext uri="{FF2B5EF4-FFF2-40B4-BE49-F238E27FC236}">
                  <a16:creationId xmlns:a16="http://schemas.microsoft.com/office/drawing/2014/main" id="{BA7A37DC-7065-4594-BDBB-1E88F0188D52}"/>
                </a:ext>
              </a:extLst>
            </p:cNvPr>
            <p:cNvSpPr/>
            <p:nvPr/>
          </p:nvSpPr>
          <p:spPr>
            <a:xfrm>
              <a:off x="826141" y="1175630"/>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9"/>
                  </a:cubicBezTo>
                  <a:cubicBezTo>
                    <a:pt x="38448" y="21454"/>
                    <a:pt x="32783" y="15789"/>
                    <a:pt x="27119" y="15789"/>
                  </a:cubicBezTo>
                  <a:cubicBezTo>
                    <a:pt x="21454" y="15789"/>
                    <a:pt x="15789" y="21454"/>
                    <a:pt x="15789" y="27119"/>
                  </a:cubicBezTo>
                  <a:cubicBezTo>
                    <a:pt x="15789" y="32783"/>
                    <a:pt x="21454"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1" name="Freeform: Shape 2420">
              <a:extLst>
                <a:ext uri="{FF2B5EF4-FFF2-40B4-BE49-F238E27FC236}">
                  <a16:creationId xmlns:a16="http://schemas.microsoft.com/office/drawing/2014/main" id="{E97E2669-7982-44B8-A0AF-782EFCE7DAB0}"/>
                </a:ext>
              </a:extLst>
            </p:cNvPr>
            <p:cNvSpPr/>
            <p:nvPr/>
          </p:nvSpPr>
          <p:spPr>
            <a:xfrm>
              <a:off x="906864" y="1406469"/>
              <a:ext cx="42486" cy="42486"/>
            </a:xfrm>
            <a:custGeom>
              <a:avLst/>
              <a:gdLst>
                <a:gd name="connsiteX0" fmla="*/ 38448 w 42485"/>
                <a:gd name="connsiteY0" fmla="*/ 27119 h 42485"/>
                <a:gd name="connsiteX1" fmla="*/ 27119 w 42485"/>
                <a:gd name="connsiteY1" fmla="*/ 38448 h 42485"/>
                <a:gd name="connsiteX2" fmla="*/ 15789 w 42485"/>
                <a:gd name="connsiteY2" fmla="*/ 27119 h 42485"/>
                <a:gd name="connsiteX3" fmla="*/ 27119 w 42485"/>
                <a:gd name="connsiteY3" fmla="*/ 15789 h 42485"/>
                <a:gd name="connsiteX4" fmla="*/ 38448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8448" y="27119"/>
                  </a:moveTo>
                  <a:cubicBezTo>
                    <a:pt x="38448" y="33376"/>
                    <a:pt x="33376" y="38448"/>
                    <a:pt x="27119" y="38448"/>
                  </a:cubicBezTo>
                  <a:cubicBezTo>
                    <a:pt x="20861" y="38448"/>
                    <a:pt x="15789" y="33376"/>
                    <a:pt x="15789" y="27119"/>
                  </a:cubicBezTo>
                  <a:cubicBezTo>
                    <a:pt x="15789" y="20861"/>
                    <a:pt x="20861" y="15789"/>
                    <a:pt x="27119" y="15789"/>
                  </a:cubicBezTo>
                  <a:cubicBezTo>
                    <a:pt x="33376" y="15789"/>
                    <a:pt x="38448" y="20861"/>
                    <a:pt x="38448"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2" name="Freeform: Shape 2421">
              <a:extLst>
                <a:ext uri="{FF2B5EF4-FFF2-40B4-BE49-F238E27FC236}">
                  <a16:creationId xmlns:a16="http://schemas.microsoft.com/office/drawing/2014/main" id="{5182C0FF-26E3-4C08-81DC-CADDEE58AF90}"/>
                </a:ext>
              </a:extLst>
            </p:cNvPr>
            <p:cNvSpPr/>
            <p:nvPr/>
          </p:nvSpPr>
          <p:spPr>
            <a:xfrm>
              <a:off x="2032736" y="963201"/>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9"/>
                  </a:cubicBezTo>
                  <a:cubicBezTo>
                    <a:pt x="38448" y="21454"/>
                    <a:pt x="32783" y="15789"/>
                    <a:pt x="27119" y="15789"/>
                  </a:cubicBezTo>
                  <a:cubicBezTo>
                    <a:pt x="21454" y="15789"/>
                    <a:pt x="15789" y="21454"/>
                    <a:pt x="15789" y="27119"/>
                  </a:cubicBezTo>
                  <a:cubicBezTo>
                    <a:pt x="15789" y="32783"/>
                    <a:pt x="20038"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3" name="Freeform: Shape 2422">
              <a:extLst>
                <a:ext uri="{FF2B5EF4-FFF2-40B4-BE49-F238E27FC236}">
                  <a16:creationId xmlns:a16="http://schemas.microsoft.com/office/drawing/2014/main" id="{A04B4456-9AF1-48BD-9581-770240D998BC}"/>
                </a:ext>
              </a:extLst>
            </p:cNvPr>
            <p:cNvSpPr/>
            <p:nvPr/>
          </p:nvSpPr>
          <p:spPr>
            <a:xfrm>
              <a:off x="1415277" y="1356902"/>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4" name="Freeform: Shape 2423">
              <a:extLst>
                <a:ext uri="{FF2B5EF4-FFF2-40B4-BE49-F238E27FC236}">
                  <a16:creationId xmlns:a16="http://schemas.microsoft.com/office/drawing/2014/main" id="{C5B77753-3684-40DF-AB3E-B9A5E43A20F3}"/>
                </a:ext>
              </a:extLst>
            </p:cNvPr>
            <p:cNvSpPr/>
            <p:nvPr/>
          </p:nvSpPr>
          <p:spPr>
            <a:xfrm>
              <a:off x="1953429" y="136964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5" name="Freeform: Shape 2424">
              <a:extLst>
                <a:ext uri="{FF2B5EF4-FFF2-40B4-BE49-F238E27FC236}">
                  <a16:creationId xmlns:a16="http://schemas.microsoft.com/office/drawing/2014/main" id="{D1DD2A8F-0D49-478B-BF9D-69DC5D1D1D93}"/>
                </a:ext>
              </a:extLst>
            </p:cNvPr>
            <p:cNvSpPr/>
            <p:nvPr/>
          </p:nvSpPr>
          <p:spPr>
            <a:xfrm>
              <a:off x="2521322" y="1172797"/>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6" name="Freeform: Shape 2425">
              <a:extLst>
                <a:ext uri="{FF2B5EF4-FFF2-40B4-BE49-F238E27FC236}">
                  <a16:creationId xmlns:a16="http://schemas.microsoft.com/office/drawing/2014/main" id="{6749D681-7FA1-41D9-8C13-59D3B49DC1F0}"/>
                </a:ext>
              </a:extLst>
            </p:cNvPr>
            <p:cNvSpPr/>
            <p:nvPr/>
          </p:nvSpPr>
          <p:spPr>
            <a:xfrm>
              <a:off x="3781732" y="1709533"/>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7" name="Freeform: Shape 2426">
              <a:extLst>
                <a:ext uri="{FF2B5EF4-FFF2-40B4-BE49-F238E27FC236}">
                  <a16:creationId xmlns:a16="http://schemas.microsoft.com/office/drawing/2014/main" id="{4E3F64DB-83C2-4327-912F-9C271092AE93}"/>
                </a:ext>
              </a:extLst>
            </p:cNvPr>
            <p:cNvSpPr/>
            <p:nvPr/>
          </p:nvSpPr>
          <p:spPr>
            <a:xfrm>
              <a:off x="2657276" y="3149799"/>
              <a:ext cx="56648" cy="56648"/>
            </a:xfrm>
            <a:custGeom>
              <a:avLst/>
              <a:gdLst>
                <a:gd name="connsiteX0" fmla="*/ 34200 w 56647"/>
                <a:gd name="connsiteY0" fmla="*/ 52610 h 56647"/>
                <a:gd name="connsiteX1" fmla="*/ 52610 w 56647"/>
                <a:gd name="connsiteY1" fmla="*/ 34200 h 56647"/>
                <a:gd name="connsiteX2" fmla="*/ 34200 w 56647"/>
                <a:gd name="connsiteY2" fmla="*/ 15789 h 56647"/>
                <a:gd name="connsiteX3" fmla="*/ 15789 w 56647"/>
                <a:gd name="connsiteY3" fmla="*/ 34200 h 56647"/>
                <a:gd name="connsiteX4" fmla="*/ 34200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200" y="52610"/>
                  </a:moveTo>
                  <a:cubicBezTo>
                    <a:pt x="44113" y="52610"/>
                    <a:pt x="52610" y="44113"/>
                    <a:pt x="52610" y="34200"/>
                  </a:cubicBezTo>
                  <a:cubicBezTo>
                    <a:pt x="52610" y="24286"/>
                    <a:pt x="44113" y="15789"/>
                    <a:pt x="34200" y="15789"/>
                  </a:cubicBezTo>
                  <a:cubicBezTo>
                    <a:pt x="24286" y="15789"/>
                    <a:pt x="15789" y="24286"/>
                    <a:pt x="15789" y="34200"/>
                  </a:cubicBezTo>
                  <a:cubicBezTo>
                    <a:pt x="17205" y="45529"/>
                    <a:pt x="24286" y="52610"/>
                    <a:pt x="34200"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8" name="Freeform: Shape 2427">
              <a:extLst>
                <a:ext uri="{FF2B5EF4-FFF2-40B4-BE49-F238E27FC236}">
                  <a16:creationId xmlns:a16="http://schemas.microsoft.com/office/drawing/2014/main" id="{B09EB7F5-6C7B-49B8-AEEE-D4FD654BBD51}"/>
                </a:ext>
              </a:extLst>
            </p:cNvPr>
            <p:cNvSpPr/>
            <p:nvPr/>
          </p:nvSpPr>
          <p:spPr>
            <a:xfrm>
              <a:off x="2662941" y="3523674"/>
              <a:ext cx="99133" cy="99133"/>
            </a:xfrm>
            <a:custGeom>
              <a:avLst/>
              <a:gdLst>
                <a:gd name="connsiteX0" fmla="*/ 86599 w 99133"/>
                <a:gd name="connsiteY0" fmla="*/ 51194 h 99133"/>
                <a:gd name="connsiteX1" fmla="*/ 51194 w 99133"/>
                <a:gd name="connsiteY1" fmla="*/ 86599 h 99133"/>
                <a:gd name="connsiteX2" fmla="*/ 15789 w 99133"/>
                <a:gd name="connsiteY2" fmla="*/ 51194 h 99133"/>
                <a:gd name="connsiteX3" fmla="*/ 51194 w 99133"/>
                <a:gd name="connsiteY3" fmla="*/ 15789 h 99133"/>
                <a:gd name="connsiteX4" fmla="*/ 86599 w 99133"/>
                <a:gd name="connsiteY4" fmla="*/ 51194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86599" y="51194"/>
                  </a:moveTo>
                  <a:cubicBezTo>
                    <a:pt x="86599" y="70747"/>
                    <a:pt x="70747" y="86599"/>
                    <a:pt x="51194" y="86599"/>
                  </a:cubicBezTo>
                  <a:cubicBezTo>
                    <a:pt x="31640" y="86599"/>
                    <a:pt x="15789" y="70747"/>
                    <a:pt x="15789" y="51194"/>
                  </a:cubicBezTo>
                  <a:cubicBezTo>
                    <a:pt x="15789" y="31640"/>
                    <a:pt x="31640" y="15789"/>
                    <a:pt x="51194" y="15789"/>
                  </a:cubicBezTo>
                  <a:cubicBezTo>
                    <a:pt x="70747" y="15789"/>
                    <a:pt x="86599" y="31640"/>
                    <a:pt x="86599" y="5119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9" name="Freeform: Shape 2428">
              <a:extLst>
                <a:ext uri="{FF2B5EF4-FFF2-40B4-BE49-F238E27FC236}">
                  <a16:creationId xmlns:a16="http://schemas.microsoft.com/office/drawing/2014/main" id="{42CCC45E-FE05-4665-B20A-D4A06A015853}"/>
                </a:ext>
              </a:extLst>
            </p:cNvPr>
            <p:cNvSpPr/>
            <p:nvPr/>
          </p:nvSpPr>
          <p:spPr>
            <a:xfrm>
              <a:off x="3312973" y="3900381"/>
              <a:ext cx="56648" cy="56648"/>
            </a:xfrm>
            <a:custGeom>
              <a:avLst/>
              <a:gdLst>
                <a:gd name="connsiteX0" fmla="*/ 34199 w 56647"/>
                <a:gd name="connsiteY0" fmla="*/ 52610 h 56647"/>
                <a:gd name="connsiteX1" fmla="*/ 52610 w 56647"/>
                <a:gd name="connsiteY1" fmla="*/ 34200 h 56647"/>
                <a:gd name="connsiteX2" fmla="*/ 34199 w 56647"/>
                <a:gd name="connsiteY2" fmla="*/ 15789 h 56647"/>
                <a:gd name="connsiteX3" fmla="*/ 15789 w 56647"/>
                <a:gd name="connsiteY3" fmla="*/ 34200 h 56647"/>
                <a:gd name="connsiteX4" fmla="*/ 34199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199" y="52610"/>
                  </a:moveTo>
                  <a:cubicBezTo>
                    <a:pt x="44113" y="52610"/>
                    <a:pt x="52610" y="44113"/>
                    <a:pt x="52610" y="34200"/>
                  </a:cubicBezTo>
                  <a:cubicBezTo>
                    <a:pt x="52610" y="24286"/>
                    <a:pt x="44113" y="15789"/>
                    <a:pt x="34199" y="15789"/>
                  </a:cubicBezTo>
                  <a:cubicBezTo>
                    <a:pt x="24286" y="15789"/>
                    <a:pt x="15789" y="24286"/>
                    <a:pt x="15789" y="34200"/>
                  </a:cubicBezTo>
                  <a:cubicBezTo>
                    <a:pt x="15789" y="44113"/>
                    <a:pt x="24286" y="52610"/>
                    <a:pt x="34199"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0" name="Freeform: Shape 2429">
              <a:extLst>
                <a:ext uri="{FF2B5EF4-FFF2-40B4-BE49-F238E27FC236}">
                  <a16:creationId xmlns:a16="http://schemas.microsoft.com/office/drawing/2014/main" id="{C58CAFA4-B989-40CB-B3EF-3B851CA92267}"/>
                </a:ext>
              </a:extLst>
            </p:cNvPr>
            <p:cNvSpPr/>
            <p:nvPr/>
          </p:nvSpPr>
          <p:spPr>
            <a:xfrm>
              <a:off x="3535315" y="3809744"/>
              <a:ext cx="56648" cy="56648"/>
            </a:xfrm>
            <a:custGeom>
              <a:avLst/>
              <a:gdLst>
                <a:gd name="connsiteX0" fmla="*/ 34200 w 56647"/>
                <a:gd name="connsiteY0" fmla="*/ 52610 h 56647"/>
                <a:gd name="connsiteX1" fmla="*/ 52610 w 56647"/>
                <a:gd name="connsiteY1" fmla="*/ 34200 h 56647"/>
                <a:gd name="connsiteX2" fmla="*/ 34200 w 56647"/>
                <a:gd name="connsiteY2" fmla="*/ 15789 h 56647"/>
                <a:gd name="connsiteX3" fmla="*/ 15789 w 56647"/>
                <a:gd name="connsiteY3" fmla="*/ 34200 h 56647"/>
                <a:gd name="connsiteX4" fmla="*/ 34200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200" y="52610"/>
                  </a:moveTo>
                  <a:cubicBezTo>
                    <a:pt x="44113" y="52610"/>
                    <a:pt x="52610" y="44113"/>
                    <a:pt x="52610" y="34200"/>
                  </a:cubicBezTo>
                  <a:cubicBezTo>
                    <a:pt x="52610" y="24286"/>
                    <a:pt x="44113" y="15789"/>
                    <a:pt x="34200" y="15789"/>
                  </a:cubicBezTo>
                  <a:cubicBezTo>
                    <a:pt x="24286" y="15789"/>
                    <a:pt x="15789" y="24286"/>
                    <a:pt x="15789" y="34200"/>
                  </a:cubicBezTo>
                  <a:cubicBezTo>
                    <a:pt x="17205" y="44113"/>
                    <a:pt x="24286" y="52610"/>
                    <a:pt x="34200"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1" name="Freeform: Shape 2430">
              <a:extLst>
                <a:ext uri="{FF2B5EF4-FFF2-40B4-BE49-F238E27FC236}">
                  <a16:creationId xmlns:a16="http://schemas.microsoft.com/office/drawing/2014/main" id="{E2C3291F-C463-44CF-8DCE-4C0F956E7453}"/>
                </a:ext>
              </a:extLst>
            </p:cNvPr>
            <p:cNvSpPr/>
            <p:nvPr/>
          </p:nvSpPr>
          <p:spPr>
            <a:xfrm>
              <a:off x="4448759" y="1213867"/>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2" name="Freeform: Shape 2431">
              <a:extLst>
                <a:ext uri="{FF2B5EF4-FFF2-40B4-BE49-F238E27FC236}">
                  <a16:creationId xmlns:a16="http://schemas.microsoft.com/office/drawing/2014/main" id="{DE83A2FB-A4B1-4E9A-A5CB-21A3F2CB3E16}"/>
                </a:ext>
              </a:extLst>
            </p:cNvPr>
            <p:cNvSpPr/>
            <p:nvPr/>
          </p:nvSpPr>
          <p:spPr>
            <a:xfrm>
              <a:off x="4326966" y="738027"/>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3" name="Freeform: Shape 2432">
              <a:extLst>
                <a:ext uri="{FF2B5EF4-FFF2-40B4-BE49-F238E27FC236}">
                  <a16:creationId xmlns:a16="http://schemas.microsoft.com/office/drawing/2014/main" id="{48A78798-E5EA-4A91-9D0A-CC53DE2926EE}"/>
                </a:ext>
              </a:extLst>
            </p:cNvPr>
            <p:cNvSpPr/>
            <p:nvPr/>
          </p:nvSpPr>
          <p:spPr>
            <a:xfrm>
              <a:off x="6951169" y="2996851"/>
              <a:ext cx="42486" cy="42486"/>
            </a:xfrm>
            <a:custGeom>
              <a:avLst/>
              <a:gdLst>
                <a:gd name="connsiteX0" fmla="*/ 22870 w 42485"/>
                <a:gd name="connsiteY0" fmla="*/ 15789 h 42485"/>
                <a:gd name="connsiteX1" fmla="*/ 28535 w 42485"/>
                <a:gd name="connsiteY1" fmla="*/ 22870 h 42485"/>
                <a:gd name="connsiteX2" fmla="*/ 21454 w 42485"/>
                <a:gd name="connsiteY2" fmla="*/ 28535 h 42485"/>
                <a:gd name="connsiteX3" fmla="*/ 15789 w 42485"/>
                <a:gd name="connsiteY3" fmla="*/ 21454 h 42485"/>
                <a:gd name="connsiteX4" fmla="*/ 22870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15789"/>
                  </a:moveTo>
                  <a:cubicBezTo>
                    <a:pt x="27118" y="15789"/>
                    <a:pt x="29951" y="20037"/>
                    <a:pt x="28535" y="22870"/>
                  </a:cubicBezTo>
                  <a:cubicBezTo>
                    <a:pt x="28535" y="27118"/>
                    <a:pt x="24286" y="29951"/>
                    <a:pt x="21454" y="28535"/>
                  </a:cubicBezTo>
                  <a:cubicBezTo>
                    <a:pt x="17205" y="28535"/>
                    <a:pt x="15789" y="24286"/>
                    <a:pt x="15789" y="21454"/>
                  </a:cubicBezTo>
                  <a:cubicBezTo>
                    <a:pt x="15789" y="18621"/>
                    <a:pt x="20037" y="15789"/>
                    <a:pt x="22870"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4" name="Freeform: Shape 2433">
              <a:extLst>
                <a:ext uri="{FF2B5EF4-FFF2-40B4-BE49-F238E27FC236}">
                  <a16:creationId xmlns:a16="http://schemas.microsoft.com/office/drawing/2014/main" id="{70560A6B-6330-4800-8E76-43665F1D98E9}"/>
                </a:ext>
              </a:extLst>
            </p:cNvPr>
            <p:cNvSpPr/>
            <p:nvPr/>
          </p:nvSpPr>
          <p:spPr>
            <a:xfrm>
              <a:off x="7004984" y="2904583"/>
              <a:ext cx="56648" cy="56648"/>
            </a:xfrm>
            <a:custGeom>
              <a:avLst/>
              <a:gdLst>
                <a:gd name="connsiteX0" fmla="*/ 32783 w 56647"/>
                <a:gd name="connsiteY0" fmla="*/ 16004 h 56647"/>
                <a:gd name="connsiteX1" fmla="*/ 46945 w 56647"/>
                <a:gd name="connsiteY1" fmla="*/ 32999 h 56647"/>
                <a:gd name="connsiteX2" fmla="*/ 29951 w 56647"/>
                <a:gd name="connsiteY2" fmla="*/ 47161 h 56647"/>
                <a:gd name="connsiteX3" fmla="*/ 15789 w 56647"/>
                <a:gd name="connsiteY3" fmla="*/ 30166 h 56647"/>
                <a:gd name="connsiteX4" fmla="*/ 32783 w 56647"/>
                <a:gd name="connsiteY4" fmla="*/ 1600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16004"/>
                  </a:moveTo>
                  <a:cubicBezTo>
                    <a:pt x="41281" y="17420"/>
                    <a:pt x="46945" y="24501"/>
                    <a:pt x="46945" y="32999"/>
                  </a:cubicBezTo>
                  <a:cubicBezTo>
                    <a:pt x="45529" y="41496"/>
                    <a:pt x="38448" y="47161"/>
                    <a:pt x="29951" y="47161"/>
                  </a:cubicBezTo>
                  <a:cubicBezTo>
                    <a:pt x="21454" y="45744"/>
                    <a:pt x="15789" y="38663"/>
                    <a:pt x="15789" y="30166"/>
                  </a:cubicBezTo>
                  <a:cubicBezTo>
                    <a:pt x="17205" y="20253"/>
                    <a:pt x="24286" y="14588"/>
                    <a:pt x="32783" y="1600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5" name="Freeform: Shape 2434">
              <a:extLst>
                <a:ext uri="{FF2B5EF4-FFF2-40B4-BE49-F238E27FC236}">
                  <a16:creationId xmlns:a16="http://schemas.microsoft.com/office/drawing/2014/main" id="{C4A46F7B-6C81-49D3-A0D8-2310CA43C176}"/>
                </a:ext>
              </a:extLst>
            </p:cNvPr>
            <p:cNvSpPr/>
            <p:nvPr/>
          </p:nvSpPr>
          <p:spPr>
            <a:xfrm>
              <a:off x="7105533" y="2974192"/>
              <a:ext cx="42486" cy="42486"/>
            </a:xfrm>
            <a:custGeom>
              <a:avLst/>
              <a:gdLst>
                <a:gd name="connsiteX0" fmla="*/ 29951 w 42485"/>
                <a:gd name="connsiteY0" fmla="*/ 15789 h 42485"/>
                <a:gd name="connsiteX1" fmla="*/ 39864 w 42485"/>
                <a:gd name="connsiteY1" fmla="*/ 28535 h 42485"/>
                <a:gd name="connsiteX2" fmla="*/ 27119 w 42485"/>
                <a:gd name="connsiteY2" fmla="*/ 38448 h 42485"/>
                <a:gd name="connsiteX3" fmla="*/ 15789 w 42485"/>
                <a:gd name="connsiteY3" fmla="*/ 25702 h 42485"/>
                <a:gd name="connsiteX4" fmla="*/ 29951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951" y="15789"/>
                  </a:moveTo>
                  <a:cubicBezTo>
                    <a:pt x="37032" y="15789"/>
                    <a:pt x="41281" y="21454"/>
                    <a:pt x="39864" y="28535"/>
                  </a:cubicBezTo>
                  <a:cubicBezTo>
                    <a:pt x="39864" y="35616"/>
                    <a:pt x="34200" y="39864"/>
                    <a:pt x="27119" y="38448"/>
                  </a:cubicBezTo>
                  <a:cubicBezTo>
                    <a:pt x="20038" y="38448"/>
                    <a:pt x="15789" y="32783"/>
                    <a:pt x="15789" y="25702"/>
                  </a:cubicBezTo>
                  <a:cubicBezTo>
                    <a:pt x="17205" y="20038"/>
                    <a:pt x="22870" y="15789"/>
                    <a:pt x="29951"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6" name="Freeform: Shape 2435">
              <a:extLst>
                <a:ext uri="{FF2B5EF4-FFF2-40B4-BE49-F238E27FC236}">
                  <a16:creationId xmlns:a16="http://schemas.microsoft.com/office/drawing/2014/main" id="{E7922197-C992-4520-A8D0-A7E5ECB90395}"/>
                </a:ext>
              </a:extLst>
            </p:cNvPr>
            <p:cNvSpPr/>
            <p:nvPr/>
          </p:nvSpPr>
          <p:spPr>
            <a:xfrm>
              <a:off x="7082506" y="3371773"/>
              <a:ext cx="42486" cy="42486"/>
            </a:xfrm>
            <a:custGeom>
              <a:avLst/>
              <a:gdLst>
                <a:gd name="connsiteX0" fmla="*/ 23238 w 42485"/>
                <a:gd name="connsiteY0" fmla="*/ 16157 h 42485"/>
                <a:gd name="connsiteX1" fmla="*/ 28903 w 42485"/>
                <a:gd name="connsiteY1" fmla="*/ 23238 h 42485"/>
                <a:gd name="connsiteX2" fmla="*/ 21822 w 42485"/>
                <a:gd name="connsiteY2" fmla="*/ 28903 h 42485"/>
                <a:gd name="connsiteX3" fmla="*/ 16157 w 42485"/>
                <a:gd name="connsiteY3" fmla="*/ 21822 h 42485"/>
                <a:gd name="connsiteX4" fmla="*/ 23238 w 42485"/>
                <a:gd name="connsiteY4" fmla="*/ 16157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6157"/>
                  </a:moveTo>
                  <a:cubicBezTo>
                    <a:pt x="27487" y="16157"/>
                    <a:pt x="28903" y="20406"/>
                    <a:pt x="28903" y="23238"/>
                  </a:cubicBezTo>
                  <a:cubicBezTo>
                    <a:pt x="28903" y="27487"/>
                    <a:pt x="24655" y="30319"/>
                    <a:pt x="21822" y="28903"/>
                  </a:cubicBezTo>
                  <a:cubicBezTo>
                    <a:pt x="17574" y="28903"/>
                    <a:pt x="14741" y="24654"/>
                    <a:pt x="16157" y="21822"/>
                  </a:cubicBezTo>
                  <a:cubicBezTo>
                    <a:pt x="16157" y="17573"/>
                    <a:pt x="20406" y="14741"/>
                    <a:pt x="23238" y="1615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7" name="Freeform: Shape 2436">
              <a:extLst>
                <a:ext uri="{FF2B5EF4-FFF2-40B4-BE49-F238E27FC236}">
                  <a16:creationId xmlns:a16="http://schemas.microsoft.com/office/drawing/2014/main" id="{AEA8F885-3DF8-4792-8488-614C07F3C898}"/>
                </a:ext>
              </a:extLst>
            </p:cNvPr>
            <p:cNvSpPr/>
            <p:nvPr/>
          </p:nvSpPr>
          <p:spPr>
            <a:xfrm>
              <a:off x="6548970" y="2972407"/>
              <a:ext cx="42486" cy="42486"/>
            </a:xfrm>
            <a:custGeom>
              <a:avLst/>
              <a:gdLst>
                <a:gd name="connsiteX0" fmla="*/ 22870 w 42485"/>
                <a:gd name="connsiteY0" fmla="*/ 16157 h 42485"/>
                <a:gd name="connsiteX1" fmla="*/ 28535 w 42485"/>
                <a:gd name="connsiteY1" fmla="*/ 23238 h 42485"/>
                <a:gd name="connsiteX2" fmla="*/ 21454 w 42485"/>
                <a:gd name="connsiteY2" fmla="*/ 28903 h 42485"/>
                <a:gd name="connsiteX3" fmla="*/ 15789 w 42485"/>
                <a:gd name="connsiteY3" fmla="*/ 21822 h 42485"/>
                <a:gd name="connsiteX4" fmla="*/ 22870 w 42485"/>
                <a:gd name="connsiteY4" fmla="*/ 16157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16157"/>
                  </a:moveTo>
                  <a:cubicBezTo>
                    <a:pt x="27118" y="16157"/>
                    <a:pt x="29951" y="20406"/>
                    <a:pt x="28535" y="23238"/>
                  </a:cubicBezTo>
                  <a:cubicBezTo>
                    <a:pt x="28535" y="27487"/>
                    <a:pt x="24286" y="30319"/>
                    <a:pt x="21454" y="28903"/>
                  </a:cubicBezTo>
                  <a:cubicBezTo>
                    <a:pt x="17205" y="28903"/>
                    <a:pt x="15789" y="24655"/>
                    <a:pt x="15789" y="21822"/>
                  </a:cubicBezTo>
                  <a:cubicBezTo>
                    <a:pt x="17205" y="17574"/>
                    <a:pt x="20037" y="14741"/>
                    <a:pt x="22870" y="1615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8" name="Freeform: Shape 2437">
              <a:extLst>
                <a:ext uri="{FF2B5EF4-FFF2-40B4-BE49-F238E27FC236}">
                  <a16:creationId xmlns:a16="http://schemas.microsoft.com/office/drawing/2014/main" id="{DB93927E-663D-461C-B8B6-AE13717DA090}"/>
                </a:ext>
              </a:extLst>
            </p:cNvPr>
            <p:cNvSpPr/>
            <p:nvPr/>
          </p:nvSpPr>
          <p:spPr>
            <a:xfrm>
              <a:off x="6709000" y="2978440"/>
              <a:ext cx="42486" cy="42486"/>
            </a:xfrm>
            <a:custGeom>
              <a:avLst/>
              <a:gdLst>
                <a:gd name="connsiteX0" fmla="*/ 25703 w 42485"/>
                <a:gd name="connsiteY0" fmla="*/ 15789 h 42485"/>
                <a:gd name="connsiteX1" fmla="*/ 34200 w 42485"/>
                <a:gd name="connsiteY1" fmla="*/ 25702 h 42485"/>
                <a:gd name="connsiteX2" fmla="*/ 24286 w 42485"/>
                <a:gd name="connsiteY2" fmla="*/ 34200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31367" y="15789"/>
                    <a:pt x="34200" y="21454"/>
                    <a:pt x="34200" y="25702"/>
                  </a:cubicBezTo>
                  <a:cubicBezTo>
                    <a:pt x="34200" y="31367"/>
                    <a:pt x="28535" y="34200"/>
                    <a:pt x="24286" y="34200"/>
                  </a:cubicBezTo>
                  <a:cubicBezTo>
                    <a:pt x="18622" y="34200"/>
                    <a:pt x="15789" y="28535"/>
                    <a:pt x="15789" y="24286"/>
                  </a:cubicBezTo>
                  <a:cubicBezTo>
                    <a:pt x="17205" y="18621"/>
                    <a:pt x="21454" y="15789"/>
                    <a:pt x="25703"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9" name="Freeform: Shape 2438">
              <a:extLst>
                <a:ext uri="{FF2B5EF4-FFF2-40B4-BE49-F238E27FC236}">
                  <a16:creationId xmlns:a16="http://schemas.microsoft.com/office/drawing/2014/main" id="{F3C98328-BD86-4746-9661-3CF726746AB4}"/>
                </a:ext>
              </a:extLst>
            </p:cNvPr>
            <p:cNvSpPr/>
            <p:nvPr/>
          </p:nvSpPr>
          <p:spPr>
            <a:xfrm>
              <a:off x="6279894" y="3036504"/>
              <a:ext cx="42486" cy="42486"/>
            </a:xfrm>
            <a:custGeom>
              <a:avLst/>
              <a:gdLst>
                <a:gd name="connsiteX0" fmla="*/ 22870 w 42485"/>
                <a:gd name="connsiteY0" fmla="*/ 15789 h 42485"/>
                <a:gd name="connsiteX1" fmla="*/ 28535 w 42485"/>
                <a:gd name="connsiteY1" fmla="*/ 22870 h 42485"/>
                <a:gd name="connsiteX2" fmla="*/ 21454 w 42485"/>
                <a:gd name="connsiteY2" fmla="*/ 28535 h 42485"/>
                <a:gd name="connsiteX3" fmla="*/ 15789 w 42485"/>
                <a:gd name="connsiteY3" fmla="*/ 21454 h 42485"/>
                <a:gd name="connsiteX4" fmla="*/ 22870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15789"/>
                  </a:moveTo>
                  <a:cubicBezTo>
                    <a:pt x="27118" y="15789"/>
                    <a:pt x="29951" y="20038"/>
                    <a:pt x="28535" y="22870"/>
                  </a:cubicBezTo>
                  <a:cubicBezTo>
                    <a:pt x="28535" y="27119"/>
                    <a:pt x="24286" y="29951"/>
                    <a:pt x="21454" y="28535"/>
                  </a:cubicBezTo>
                  <a:cubicBezTo>
                    <a:pt x="17205" y="28535"/>
                    <a:pt x="15789" y="24286"/>
                    <a:pt x="15789" y="21454"/>
                  </a:cubicBezTo>
                  <a:cubicBezTo>
                    <a:pt x="15789" y="18622"/>
                    <a:pt x="18621" y="15789"/>
                    <a:pt x="22870"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0" name="Freeform: Shape 2439">
              <a:extLst>
                <a:ext uri="{FF2B5EF4-FFF2-40B4-BE49-F238E27FC236}">
                  <a16:creationId xmlns:a16="http://schemas.microsoft.com/office/drawing/2014/main" id="{767A7323-A493-421D-A104-C063AE3B4694}"/>
                </a:ext>
              </a:extLst>
            </p:cNvPr>
            <p:cNvSpPr/>
            <p:nvPr/>
          </p:nvSpPr>
          <p:spPr>
            <a:xfrm>
              <a:off x="6742988" y="3078990"/>
              <a:ext cx="113295" cy="113295"/>
            </a:xfrm>
            <a:custGeom>
              <a:avLst/>
              <a:gdLst>
                <a:gd name="connsiteX0" fmla="*/ 56859 w 113295"/>
                <a:gd name="connsiteY0" fmla="*/ 97928 h 113295"/>
                <a:gd name="connsiteX1" fmla="*/ 97928 w 113295"/>
                <a:gd name="connsiteY1" fmla="*/ 56859 h 113295"/>
                <a:gd name="connsiteX2" fmla="*/ 56859 w 113295"/>
                <a:gd name="connsiteY2" fmla="*/ 15789 h 113295"/>
                <a:gd name="connsiteX3" fmla="*/ 15789 w 113295"/>
                <a:gd name="connsiteY3" fmla="*/ 56859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8" y="79518"/>
                    <a:pt x="97928" y="56859"/>
                  </a:cubicBezTo>
                  <a:cubicBezTo>
                    <a:pt x="97928" y="34200"/>
                    <a:pt x="79518" y="15789"/>
                    <a:pt x="56859" y="15789"/>
                  </a:cubicBezTo>
                  <a:cubicBezTo>
                    <a:pt x="34200" y="15789"/>
                    <a:pt x="15789" y="34200"/>
                    <a:pt x="15789" y="56859"/>
                  </a:cubicBezTo>
                  <a:cubicBezTo>
                    <a:pt x="15789" y="79518"/>
                    <a:pt x="34200" y="97928"/>
                    <a:pt x="56859"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1" name="Freeform: Shape 2440">
              <a:extLst>
                <a:ext uri="{FF2B5EF4-FFF2-40B4-BE49-F238E27FC236}">
                  <a16:creationId xmlns:a16="http://schemas.microsoft.com/office/drawing/2014/main" id="{3F9A85A2-AE97-4D27-8387-B8CBF957C52E}"/>
                </a:ext>
              </a:extLst>
            </p:cNvPr>
            <p:cNvSpPr/>
            <p:nvPr/>
          </p:nvSpPr>
          <p:spPr>
            <a:xfrm>
              <a:off x="6929818" y="3304164"/>
              <a:ext cx="70810" cy="70810"/>
            </a:xfrm>
            <a:custGeom>
              <a:avLst/>
              <a:gdLst>
                <a:gd name="connsiteX0" fmla="*/ 41388 w 70809"/>
                <a:gd name="connsiteY0" fmla="*/ 66772 h 70809"/>
                <a:gd name="connsiteX1" fmla="*/ 66880 w 70809"/>
                <a:gd name="connsiteY1" fmla="*/ 41280 h 70809"/>
                <a:gd name="connsiteX2" fmla="*/ 41388 w 70809"/>
                <a:gd name="connsiteY2" fmla="*/ 15789 h 70809"/>
                <a:gd name="connsiteX3" fmla="*/ 15897 w 70809"/>
                <a:gd name="connsiteY3" fmla="*/ 41280 h 70809"/>
                <a:gd name="connsiteX4" fmla="*/ 41388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388" y="66772"/>
                  </a:moveTo>
                  <a:cubicBezTo>
                    <a:pt x="55550" y="66772"/>
                    <a:pt x="66880" y="55442"/>
                    <a:pt x="66880" y="41280"/>
                  </a:cubicBezTo>
                  <a:cubicBezTo>
                    <a:pt x="66880" y="27119"/>
                    <a:pt x="55550" y="15789"/>
                    <a:pt x="41388" y="15789"/>
                  </a:cubicBezTo>
                  <a:cubicBezTo>
                    <a:pt x="27226" y="15789"/>
                    <a:pt x="15897" y="27119"/>
                    <a:pt x="15897" y="41280"/>
                  </a:cubicBezTo>
                  <a:cubicBezTo>
                    <a:pt x="14481" y="55442"/>
                    <a:pt x="27226" y="66772"/>
                    <a:pt x="41388"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2" name="Freeform: Shape 2441">
              <a:extLst>
                <a:ext uri="{FF2B5EF4-FFF2-40B4-BE49-F238E27FC236}">
                  <a16:creationId xmlns:a16="http://schemas.microsoft.com/office/drawing/2014/main" id="{C7BFBCC7-E244-42B9-B600-976587934E53}"/>
                </a:ext>
              </a:extLst>
            </p:cNvPr>
            <p:cNvSpPr/>
            <p:nvPr/>
          </p:nvSpPr>
          <p:spPr>
            <a:xfrm>
              <a:off x="6825128" y="3101432"/>
              <a:ext cx="56648" cy="56648"/>
            </a:xfrm>
            <a:custGeom>
              <a:avLst/>
              <a:gdLst>
                <a:gd name="connsiteX0" fmla="*/ 29951 w 56647"/>
                <a:gd name="connsiteY0" fmla="*/ 16006 h 56647"/>
                <a:gd name="connsiteX1" fmla="*/ 42697 w 56647"/>
                <a:gd name="connsiteY1" fmla="*/ 30168 h 56647"/>
                <a:gd name="connsiteX2" fmla="*/ 28535 w 56647"/>
                <a:gd name="connsiteY2" fmla="*/ 42913 h 56647"/>
                <a:gd name="connsiteX3" fmla="*/ 15789 w 56647"/>
                <a:gd name="connsiteY3" fmla="*/ 28752 h 56647"/>
                <a:gd name="connsiteX4" fmla="*/ 29951 w 56647"/>
                <a:gd name="connsiteY4" fmla="*/ 16006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6006"/>
                  </a:moveTo>
                  <a:cubicBezTo>
                    <a:pt x="37032" y="16006"/>
                    <a:pt x="42697" y="23087"/>
                    <a:pt x="42697" y="30168"/>
                  </a:cubicBezTo>
                  <a:cubicBezTo>
                    <a:pt x="42697" y="37249"/>
                    <a:pt x="35616" y="42913"/>
                    <a:pt x="28535" y="42913"/>
                  </a:cubicBezTo>
                  <a:cubicBezTo>
                    <a:pt x="21454" y="42913"/>
                    <a:pt x="15789" y="35832"/>
                    <a:pt x="15789" y="28752"/>
                  </a:cubicBezTo>
                  <a:cubicBezTo>
                    <a:pt x="15789" y="20255"/>
                    <a:pt x="22870" y="14590"/>
                    <a:pt x="29951" y="1600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3" name="Freeform: Shape 2442">
              <a:extLst>
                <a:ext uri="{FF2B5EF4-FFF2-40B4-BE49-F238E27FC236}">
                  <a16:creationId xmlns:a16="http://schemas.microsoft.com/office/drawing/2014/main" id="{CE723A2B-0A83-42FD-A429-5B6795B490A2}"/>
                </a:ext>
              </a:extLst>
            </p:cNvPr>
            <p:cNvSpPr/>
            <p:nvPr/>
          </p:nvSpPr>
          <p:spPr>
            <a:xfrm>
              <a:off x="6779441" y="3529339"/>
              <a:ext cx="42486" cy="42486"/>
            </a:xfrm>
            <a:custGeom>
              <a:avLst/>
              <a:gdLst>
                <a:gd name="connsiteX0" fmla="*/ 23238 w 42485"/>
                <a:gd name="connsiteY0" fmla="*/ 15789 h 42485"/>
                <a:gd name="connsiteX1" fmla="*/ 28903 w 42485"/>
                <a:gd name="connsiteY1" fmla="*/ 22870 h 42485"/>
                <a:gd name="connsiteX2" fmla="*/ 21822 w 42485"/>
                <a:gd name="connsiteY2" fmla="*/ 28535 h 42485"/>
                <a:gd name="connsiteX3" fmla="*/ 16157 w 42485"/>
                <a:gd name="connsiteY3" fmla="*/ 21454 h 42485"/>
                <a:gd name="connsiteX4" fmla="*/ 2323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5789"/>
                  </a:moveTo>
                  <a:cubicBezTo>
                    <a:pt x="27487" y="15789"/>
                    <a:pt x="30319" y="20038"/>
                    <a:pt x="28903" y="22870"/>
                  </a:cubicBezTo>
                  <a:cubicBezTo>
                    <a:pt x="28903" y="27119"/>
                    <a:pt x="24655" y="29951"/>
                    <a:pt x="21822" y="28535"/>
                  </a:cubicBezTo>
                  <a:cubicBezTo>
                    <a:pt x="17574" y="28535"/>
                    <a:pt x="14741" y="24286"/>
                    <a:pt x="16157" y="21454"/>
                  </a:cubicBezTo>
                  <a:cubicBezTo>
                    <a:pt x="16157" y="18621"/>
                    <a:pt x="18990" y="15789"/>
                    <a:pt x="2323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4" name="Freeform: Shape 2443">
              <a:extLst>
                <a:ext uri="{FF2B5EF4-FFF2-40B4-BE49-F238E27FC236}">
                  <a16:creationId xmlns:a16="http://schemas.microsoft.com/office/drawing/2014/main" id="{C7C3D9EB-C567-4D43-BD98-5CBAA407FA36}"/>
                </a:ext>
              </a:extLst>
            </p:cNvPr>
            <p:cNvSpPr/>
            <p:nvPr/>
          </p:nvSpPr>
          <p:spPr>
            <a:xfrm>
              <a:off x="6885655" y="3410010"/>
              <a:ext cx="42486" cy="42486"/>
            </a:xfrm>
            <a:custGeom>
              <a:avLst/>
              <a:gdLst>
                <a:gd name="connsiteX0" fmla="*/ 23238 w 42485"/>
                <a:gd name="connsiteY0" fmla="*/ 16157 h 42485"/>
                <a:gd name="connsiteX1" fmla="*/ 28903 w 42485"/>
                <a:gd name="connsiteY1" fmla="*/ 23238 h 42485"/>
                <a:gd name="connsiteX2" fmla="*/ 21822 w 42485"/>
                <a:gd name="connsiteY2" fmla="*/ 28903 h 42485"/>
                <a:gd name="connsiteX3" fmla="*/ 16157 w 42485"/>
                <a:gd name="connsiteY3" fmla="*/ 21822 h 42485"/>
                <a:gd name="connsiteX4" fmla="*/ 23238 w 42485"/>
                <a:gd name="connsiteY4" fmla="*/ 16157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6157"/>
                  </a:moveTo>
                  <a:cubicBezTo>
                    <a:pt x="27487" y="16157"/>
                    <a:pt x="30319" y="20406"/>
                    <a:pt x="28903" y="23238"/>
                  </a:cubicBezTo>
                  <a:cubicBezTo>
                    <a:pt x="28903" y="27487"/>
                    <a:pt x="24655" y="30319"/>
                    <a:pt x="21822" y="28903"/>
                  </a:cubicBezTo>
                  <a:cubicBezTo>
                    <a:pt x="17574" y="28903"/>
                    <a:pt x="14741" y="24654"/>
                    <a:pt x="16157" y="21822"/>
                  </a:cubicBezTo>
                  <a:cubicBezTo>
                    <a:pt x="16157" y="17573"/>
                    <a:pt x="18990" y="14741"/>
                    <a:pt x="23238" y="1615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5" name="Freeform: Shape 2444">
              <a:extLst>
                <a:ext uri="{FF2B5EF4-FFF2-40B4-BE49-F238E27FC236}">
                  <a16:creationId xmlns:a16="http://schemas.microsoft.com/office/drawing/2014/main" id="{AF4AB749-13D4-4B52-A680-4D0584AC7296}"/>
                </a:ext>
              </a:extLst>
            </p:cNvPr>
            <p:cNvSpPr/>
            <p:nvPr/>
          </p:nvSpPr>
          <p:spPr>
            <a:xfrm>
              <a:off x="6435675" y="3098817"/>
              <a:ext cx="56648" cy="56648"/>
            </a:xfrm>
            <a:custGeom>
              <a:avLst/>
              <a:gdLst>
                <a:gd name="connsiteX0" fmla="*/ 29951 w 56647"/>
                <a:gd name="connsiteY0" fmla="*/ 15789 h 56647"/>
                <a:gd name="connsiteX1" fmla="*/ 42697 w 56647"/>
                <a:gd name="connsiteY1" fmla="*/ 29951 h 56647"/>
                <a:gd name="connsiteX2" fmla="*/ 28535 w 56647"/>
                <a:gd name="connsiteY2" fmla="*/ 42697 h 56647"/>
                <a:gd name="connsiteX3" fmla="*/ 15789 w 56647"/>
                <a:gd name="connsiteY3" fmla="*/ 28535 h 56647"/>
                <a:gd name="connsiteX4" fmla="*/ 29951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5789"/>
                  </a:moveTo>
                  <a:cubicBezTo>
                    <a:pt x="37032" y="15789"/>
                    <a:pt x="42697" y="22870"/>
                    <a:pt x="42697" y="29951"/>
                  </a:cubicBezTo>
                  <a:cubicBezTo>
                    <a:pt x="42697" y="37032"/>
                    <a:pt x="35616" y="42697"/>
                    <a:pt x="28535" y="42697"/>
                  </a:cubicBezTo>
                  <a:cubicBezTo>
                    <a:pt x="21454" y="42697"/>
                    <a:pt x="15789" y="35616"/>
                    <a:pt x="15789" y="28535"/>
                  </a:cubicBezTo>
                  <a:cubicBezTo>
                    <a:pt x="15789" y="21454"/>
                    <a:pt x="22870" y="15789"/>
                    <a:pt x="29951"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6" name="Freeform: Shape 2445">
              <a:extLst>
                <a:ext uri="{FF2B5EF4-FFF2-40B4-BE49-F238E27FC236}">
                  <a16:creationId xmlns:a16="http://schemas.microsoft.com/office/drawing/2014/main" id="{E963E974-5F0C-4BDF-98AE-0247A2ADE2F8}"/>
                </a:ext>
              </a:extLst>
            </p:cNvPr>
            <p:cNvSpPr/>
            <p:nvPr/>
          </p:nvSpPr>
          <p:spPr>
            <a:xfrm>
              <a:off x="6990822" y="3330801"/>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4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5"/>
                    <a:pt x="31367" y="37303"/>
                    <a:pt x="25703" y="37303"/>
                  </a:cubicBezTo>
                  <a:cubicBezTo>
                    <a:pt x="20038" y="37303"/>
                    <a:pt x="15789" y="31638"/>
                    <a:pt x="15789" y="25974"/>
                  </a:cubicBezTo>
                  <a:cubicBezTo>
                    <a:pt x="15789" y="18893"/>
                    <a:pt x="21454" y="14644"/>
                    <a:pt x="27119"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7" name="Freeform: Shape 2446">
              <a:extLst>
                <a:ext uri="{FF2B5EF4-FFF2-40B4-BE49-F238E27FC236}">
                  <a16:creationId xmlns:a16="http://schemas.microsoft.com/office/drawing/2014/main" id="{18C21AE3-52D3-4807-8595-C664098FCC0B}"/>
                </a:ext>
              </a:extLst>
            </p:cNvPr>
            <p:cNvSpPr/>
            <p:nvPr/>
          </p:nvSpPr>
          <p:spPr>
            <a:xfrm>
              <a:off x="6316626" y="3638288"/>
              <a:ext cx="99133" cy="99133"/>
            </a:xfrm>
            <a:custGeom>
              <a:avLst/>
              <a:gdLst>
                <a:gd name="connsiteX0" fmla="*/ 55532 w 99133"/>
                <a:gd name="connsiteY0" fmla="*/ 15886 h 99133"/>
                <a:gd name="connsiteX1" fmla="*/ 89520 w 99133"/>
                <a:gd name="connsiteY1" fmla="*/ 55540 h 99133"/>
                <a:gd name="connsiteX2" fmla="*/ 49867 w 99133"/>
                <a:gd name="connsiteY2" fmla="*/ 89528 h 99133"/>
                <a:gd name="connsiteX3" fmla="*/ 15878 w 99133"/>
                <a:gd name="connsiteY3" fmla="*/ 49875 h 99133"/>
                <a:gd name="connsiteX4" fmla="*/ 55532 w 99133"/>
                <a:gd name="connsiteY4" fmla="*/ 15886 h 99133"/>
                <a:gd name="connsiteX5" fmla="*/ 55532 w 99133"/>
                <a:gd name="connsiteY5" fmla="*/ 15886 h 99133"/>
                <a:gd name="connsiteX6" fmla="*/ 54115 w 99133"/>
                <a:gd name="connsiteY6" fmla="*/ 31465 h 99133"/>
                <a:gd name="connsiteX7" fmla="*/ 31456 w 99133"/>
                <a:gd name="connsiteY7" fmla="*/ 49875 h 99133"/>
                <a:gd name="connsiteX8" fmla="*/ 49867 w 99133"/>
                <a:gd name="connsiteY8" fmla="*/ 72534 h 99133"/>
                <a:gd name="connsiteX9" fmla="*/ 72526 w 99133"/>
                <a:gd name="connsiteY9" fmla="*/ 54124 h 99133"/>
                <a:gd name="connsiteX10" fmla="*/ 54115 w 99133"/>
                <a:gd name="connsiteY10" fmla="*/ 31465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55532" y="15886"/>
                  </a:moveTo>
                  <a:cubicBezTo>
                    <a:pt x="75358" y="17303"/>
                    <a:pt x="90936" y="35713"/>
                    <a:pt x="89520" y="55540"/>
                  </a:cubicBezTo>
                  <a:cubicBezTo>
                    <a:pt x="88104" y="75367"/>
                    <a:pt x="69694" y="90945"/>
                    <a:pt x="49867" y="89528"/>
                  </a:cubicBezTo>
                  <a:cubicBezTo>
                    <a:pt x="30040" y="88112"/>
                    <a:pt x="14462" y="69702"/>
                    <a:pt x="15878" y="49875"/>
                  </a:cubicBezTo>
                  <a:cubicBezTo>
                    <a:pt x="17294" y="28632"/>
                    <a:pt x="34289" y="14470"/>
                    <a:pt x="55532" y="15886"/>
                  </a:cubicBezTo>
                  <a:lnTo>
                    <a:pt x="55532" y="15886"/>
                  </a:lnTo>
                  <a:close/>
                  <a:moveTo>
                    <a:pt x="54115" y="31465"/>
                  </a:moveTo>
                  <a:cubicBezTo>
                    <a:pt x="42786" y="30048"/>
                    <a:pt x="32873" y="38545"/>
                    <a:pt x="31456" y="49875"/>
                  </a:cubicBezTo>
                  <a:cubicBezTo>
                    <a:pt x="30040" y="61205"/>
                    <a:pt x="38537" y="71118"/>
                    <a:pt x="49867" y="72534"/>
                  </a:cubicBezTo>
                  <a:cubicBezTo>
                    <a:pt x="61196" y="73950"/>
                    <a:pt x="71110" y="65453"/>
                    <a:pt x="72526" y="54124"/>
                  </a:cubicBezTo>
                  <a:cubicBezTo>
                    <a:pt x="73942" y="42794"/>
                    <a:pt x="65445" y="32881"/>
                    <a:pt x="54115" y="3146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8" name="Freeform: Shape 2447">
              <a:extLst>
                <a:ext uri="{FF2B5EF4-FFF2-40B4-BE49-F238E27FC236}">
                  <a16:creationId xmlns:a16="http://schemas.microsoft.com/office/drawing/2014/main" id="{50EF258E-01F8-4FF9-BB69-709220C05BB8}"/>
                </a:ext>
              </a:extLst>
            </p:cNvPr>
            <p:cNvSpPr/>
            <p:nvPr/>
          </p:nvSpPr>
          <p:spPr>
            <a:xfrm>
              <a:off x="6291042" y="3462778"/>
              <a:ext cx="56648" cy="56648"/>
            </a:xfrm>
            <a:custGeom>
              <a:avLst/>
              <a:gdLst>
                <a:gd name="connsiteX0" fmla="*/ 32965 w 56647"/>
                <a:gd name="connsiteY0" fmla="*/ 15789 h 56647"/>
                <a:gd name="connsiteX1" fmla="*/ 47127 w 56647"/>
                <a:gd name="connsiteY1" fmla="*/ 32783 h 56647"/>
                <a:gd name="connsiteX2" fmla="*/ 30132 w 56647"/>
                <a:gd name="connsiteY2" fmla="*/ 46945 h 56647"/>
                <a:gd name="connsiteX3" fmla="*/ 15970 w 56647"/>
                <a:gd name="connsiteY3" fmla="*/ 29951 h 56647"/>
                <a:gd name="connsiteX4" fmla="*/ 32965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789"/>
                  </a:moveTo>
                  <a:cubicBezTo>
                    <a:pt x="41462" y="17205"/>
                    <a:pt x="48543" y="24286"/>
                    <a:pt x="47127" y="32783"/>
                  </a:cubicBezTo>
                  <a:cubicBezTo>
                    <a:pt x="45710" y="41280"/>
                    <a:pt x="38630" y="48361"/>
                    <a:pt x="30132" y="46945"/>
                  </a:cubicBezTo>
                  <a:cubicBezTo>
                    <a:pt x="21635" y="45529"/>
                    <a:pt x="14554" y="38448"/>
                    <a:pt x="15970" y="29951"/>
                  </a:cubicBezTo>
                  <a:cubicBezTo>
                    <a:pt x="15970" y="22870"/>
                    <a:pt x="24468" y="15789"/>
                    <a:pt x="32965"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9" name="Freeform: Shape 2448">
              <a:extLst>
                <a:ext uri="{FF2B5EF4-FFF2-40B4-BE49-F238E27FC236}">
                  <a16:creationId xmlns:a16="http://schemas.microsoft.com/office/drawing/2014/main" id="{DC707F50-49BC-4981-BB56-50D51D609875}"/>
                </a:ext>
              </a:extLst>
            </p:cNvPr>
            <p:cNvSpPr/>
            <p:nvPr/>
          </p:nvSpPr>
          <p:spPr>
            <a:xfrm>
              <a:off x="6337958" y="3543501"/>
              <a:ext cx="42486" cy="42486"/>
            </a:xfrm>
            <a:custGeom>
              <a:avLst/>
              <a:gdLst>
                <a:gd name="connsiteX0" fmla="*/ 25702 w 42485"/>
                <a:gd name="connsiteY0" fmla="*/ 15789 h 42485"/>
                <a:gd name="connsiteX1" fmla="*/ 34199 w 42485"/>
                <a:gd name="connsiteY1" fmla="*/ 25702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1454"/>
                    <a:pt x="34199" y="25702"/>
                  </a:cubicBezTo>
                  <a:cubicBezTo>
                    <a:pt x="34199" y="31367"/>
                    <a:pt x="28535" y="34200"/>
                    <a:pt x="24286" y="34200"/>
                  </a:cubicBezTo>
                  <a:cubicBezTo>
                    <a:pt x="18621" y="34200"/>
                    <a:pt x="15789" y="29951"/>
                    <a:pt x="15789" y="24286"/>
                  </a:cubicBezTo>
                  <a:cubicBezTo>
                    <a:pt x="17205" y="18621"/>
                    <a:pt x="21454"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0" name="Freeform: Shape 2449">
              <a:extLst>
                <a:ext uri="{FF2B5EF4-FFF2-40B4-BE49-F238E27FC236}">
                  <a16:creationId xmlns:a16="http://schemas.microsoft.com/office/drawing/2014/main" id="{D5ED5AB6-9B82-42E3-BDDC-2FFC5ABAA882}"/>
                </a:ext>
              </a:extLst>
            </p:cNvPr>
            <p:cNvSpPr/>
            <p:nvPr/>
          </p:nvSpPr>
          <p:spPr>
            <a:xfrm>
              <a:off x="6435675" y="3527923"/>
              <a:ext cx="42486" cy="42486"/>
            </a:xfrm>
            <a:custGeom>
              <a:avLst/>
              <a:gdLst>
                <a:gd name="connsiteX0" fmla="*/ 25702 w 42485"/>
                <a:gd name="connsiteY0" fmla="*/ 15789 h 42485"/>
                <a:gd name="connsiteX1" fmla="*/ 34199 w 42485"/>
                <a:gd name="connsiteY1" fmla="*/ 25702 h 42485"/>
                <a:gd name="connsiteX2" fmla="*/ 24286 w 42485"/>
                <a:gd name="connsiteY2" fmla="*/ 34199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1454"/>
                    <a:pt x="34199" y="25702"/>
                  </a:cubicBezTo>
                  <a:cubicBezTo>
                    <a:pt x="34199" y="31367"/>
                    <a:pt x="29951" y="34199"/>
                    <a:pt x="24286" y="34199"/>
                  </a:cubicBezTo>
                  <a:cubicBezTo>
                    <a:pt x="18621" y="34199"/>
                    <a:pt x="15789" y="28535"/>
                    <a:pt x="15789" y="24286"/>
                  </a:cubicBezTo>
                  <a:cubicBezTo>
                    <a:pt x="17205" y="20037"/>
                    <a:pt x="21454"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1" name="Freeform: Shape 2450">
              <a:extLst>
                <a:ext uri="{FF2B5EF4-FFF2-40B4-BE49-F238E27FC236}">
                  <a16:creationId xmlns:a16="http://schemas.microsoft.com/office/drawing/2014/main" id="{8514EFC5-3D4A-44AB-908D-0AFBA8084052}"/>
                </a:ext>
              </a:extLst>
            </p:cNvPr>
            <p:cNvSpPr/>
            <p:nvPr/>
          </p:nvSpPr>
          <p:spPr>
            <a:xfrm>
              <a:off x="6306694" y="3223334"/>
              <a:ext cx="84971" cy="84971"/>
            </a:xfrm>
            <a:custGeom>
              <a:avLst/>
              <a:gdLst>
                <a:gd name="connsiteX0" fmla="*/ 51301 w 84971"/>
                <a:gd name="connsiteY0" fmla="*/ 15896 h 84971"/>
                <a:gd name="connsiteX1" fmla="*/ 81041 w 84971"/>
                <a:gd name="connsiteY1" fmla="*/ 51301 h 84971"/>
                <a:gd name="connsiteX2" fmla="*/ 45636 w 84971"/>
                <a:gd name="connsiteY2" fmla="*/ 81041 h 84971"/>
                <a:gd name="connsiteX3" fmla="*/ 15896 w 84971"/>
                <a:gd name="connsiteY3" fmla="*/ 45636 h 84971"/>
                <a:gd name="connsiteX4" fmla="*/ 51301 w 84971"/>
                <a:gd name="connsiteY4" fmla="*/ 15896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51301" y="15896"/>
                  </a:moveTo>
                  <a:cubicBezTo>
                    <a:pt x="69711" y="17312"/>
                    <a:pt x="82457" y="32891"/>
                    <a:pt x="81041" y="51301"/>
                  </a:cubicBezTo>
                  <a:cubicBezTo>
                    <a:pt x="79625" y="69711"/>
                    <a:pt x="64047" y="82457"/>
                    <a:pt x="45636" y="81041"/>
                  </a:cubicBezTo>
                  <a:cubicBezTo>
                    <a:pt x="27226" y="79625"/>
                    <a:pt x="14480" y="62630"/>
                    <a:pt x="15896" y="45636"/>
                  </a:cubicBezTo>
                  <a:cubicBezTo>
                    <a:pt x="17313" y="27226"/>
                    <a:pt x="32891" y="14480"/>
                    <a:pt x="51301" y="158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2" name="Freeform: Shape 2451">
              <a:extLst>
                <a:ext uri="{FF2B5EF4-FFF2-40B4-BE49-F238E27FC236}">
                  <a16:creationId xmlns:a16="http://schemas.microsoft.com/office/drawing/2014/main" id="{AA04E645-2544-4553-9D65-8FBB8446D171}"/>
                </a:ext>
              </a:extLst>
            </p:cNvPr>
            <p:cNvSpPr/>
            <p:nvPr/>
          </p:nvSpPr>
          <p:spPr>
            <a:xfrm>
              <a:off x="6286975" y="3394800"/>
              <a:ext cx="42486" cy="42486"/>
            </a:xfrm>
            <a:custGeom>
              <a:avLst/>
              <a:gdLst>
                <a:gd name="connsiteX0" fmla="*/ 25702 w 42485"/>
                <a:gd name="connsiteY0" fmla="*/ 15789 h 42485"/>
                <a:gd name="connsiteX1" fmla="*/ 34199 w 42485"/>
                <a:gd name="connsiteY1" fmla="*/ 25702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0038"/>
                    <a:pt x="34199" y="25702"/>
                  </a:cubicBezTo>
                  <a:cubicBezTo>
                    <a:pt x="34199" y="31367"/>
                    <a:pt x="29951" y="34200"/>
                    <a:pt x="24286" y="34200"/>
                  </a:cubicBezTo>
                  <a:cubicBezTo>
                    <a:pt x="18621" y="34200"/>
                    <a:pt x="15789" y="28535"/>
                    <a:pt x="15789" y="24286"/>
                  </a:cubicBezTo>
                  <a:cubicBezTo>
                    <a:pt x="15789" y="18621"/>
                    <a:pt x="20037"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3" name="Freeform: Shape 2452">
              <a:extLst>
                <a:ext uri="{FF2B5EF4-FFF2-40B4-BE49-F238E27FC236}">
                  <a16:creationId xmlns:a16="http://schemas.microsoft.com/office/drawing/2014/main" id="{696D96A2-AF3B-4FEA-B2E3-E54D59EB5A3C}"/>
                </a:ext>
              </a:extLst>
            </p:cNvPr>
            <p:cNvSpPr/>
            <p:nvPr/>
          </p:nvSpPr>
          <p:spPr>
            <a:xfrm>
              <a:off x="6670763" y="3387445"/>
              <a:ext cx="42486" cy="42486"/>
            </a:xfrm>
            <a:custGeom>
              <a:avLst/>
              <a:gdLst>
                <a:gd name="connsiteX0" fmla="*/ 25702 w 42485"/>
                <a:gd name="connsiteY0" fmla="*/ 16063 h 42485"/>
                <a:gd name="connsiteX1" fmla="*/ 34199 w 42485"/>
                <a:gd name="connsiteY1" fmla="*/ 25977 h 42485"/>
                <a:gd name="connsiteX2" fmla="*/ 24286 w 42485"/>
                <a:gd name="connsiteY2" fmla="*/ 34474 h 42485"/>
                <a:gd name="connsiteX3" fmla="*/ 15789 w 42485"/>
                <a:gd name="connsiteY3" fmla="*/ 24561 h 42485"/>
                <a:gd name="connsiteX4" fmla="*/ 25702 w 42485"/>
                <a:gd name="connsiteY4" fmla="*/ 1606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6063"/>
                  </a:moveTo>
                  <a:cubicBezTo>
                    <a:pt x="31367" y="16063"/>
                    <a:pt x="34199" y="20312"/>
                    <a:pt x="34199" y="25977"/>
                  </a:cubicBezTo>
                  <a:cubicBezTo>
                    <a:pt x="34199" y="31642"/>
                    <a:pt x="28535" y="34474"/>
                    <a:pt x="24286" y="34474"/>
                  </a:cubicBezTo>
                  <a:cubicBezTo>
                    <a:pt x="18621" y="34474"/>
                    <a:pt x="15789" y="28809"/>
                    <a:pt x="15789" y="24561"/>
                  </a:cubicBezTo>
                  <a:cubicBezTo>
                    <a:pt x="15789" y="18896"/>
                    <a:pt x="20037" y="14647"/>
                    <a:pt x="25702" y="1606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4" name="Freeform: Shape 2453">
              <a:extLst>
                <a:ext uri="{FF2B5EF4-FFF2-40B4-BE49-F238E27FC236}">
                  <a16:creationId xmlns:a16="http://schemas.microsoft.com/office/drawing/2014/main" id="{3AD8DF53-3EA7-46B8-9812-71715C4DA024}"/>
                </a:ext>
              </a:extLst>
            </p:cNvPr>
            <p:cNvSpPr/>
            <p:nvPr/>
          </p:nvSpPr>
          <p:spPr>
            <a:xfrm>
              <a:off x="6970995" y="3624223"/>
              <a:ext cx="42486" cy="42486"/>
            </a:xfrm>
            <a:custGeom>
              <a:avLst/>
              <a:gdLst>
                <a:gd name="connsiteX0" fmla="*/ 22870 w 42485"/>
                <a:gd name="connsiteY0" fmla="*/ 15789 h 42485"/>
                <a:gd name="connsiteX1" fmla="*/ 28535 w 42485"/>
                <a:gd name="connsiteY1" fmla="*/ 22870 h 42485"/>
                <a:gd name="connsiteX2" fmla="*/ 21454 w 42485"/>
                <a:gd name="connsiteY2" fmla="*/ 28535 h 42485"/>
                <a:gd name="connsiteX3" fmla="*/ 15789 w 42485"/>
                <a:gd name="connsiteY3" fmla="*/ 21454 h 42485"/>
                <a:gd name="connsiteX4" fmla="*/ 22870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15789"/>
                  </a:moveTo>
                  <a:cubicBezTo>
                    <a:pt x="27119" y="15789"/>
                    <a:pt x="28535" y="20038"/>
                    <a:pt x="28535" y="22870"/>
                  </a:cubicBezTo>
                  <a:cubicBezTo>
                    <a:pt x="28535" y="27119"/>
                    <a:pt x="24286" y="29951"/>
                    <a:pt x="21454" y="28535"/>
                  </a:cubicBezTo>
                  <a:cubicBezTo>
                    <a:pt x="17205" y="28535"/>
                    <a:pt x="15789" y="24286"/>
                    <a:pt x="15789" y="21454"/>
                  </a:cubicBezTo>
                  <a:cubicBezTo>
                    <a:pt x="15789" y="18622"/>
                    <a:pt x="20038" y="15789"/>
                    <a:pt x="22870"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5" name="Freeform: Shape 2454">
              <a:extLst>
                <a:ext uri="{FF2B5EF4-FFF2-40B4-BE49-F238E27FC236}">
                  <a16:creationId xmlns:a16="http://schemas.microsoft.com/office/drawing/2014/main" id="{6EF64B33-9A94-41A2-969A-4B6891EF322D}"/>
                </a:ext>
              </a:extLst>
            </p:cNvPr>
            <p:cNvSpPr/>
            <p:nvPr/>
          </p:nvSpPr>
          <p:spPr>
            <a:xfrm>
              <a:off x="6909945" y="3458394"/>
              <a:ext cx="70810" cy="70810"/>
            </a:xfrm>
            <a:custGeom>
              <a:avLst/>
              <a:gdLst>
                <a:gd name="connsiteX0" fmla="*/ 40018 w 70809"/>
                <a:gd name="connsiteY0" fmla="*/ 15924 h 70809"/>
                <a:gd name="connsiteX1" fmla="*/ 59845 w 70809"/>
                <a:gd name="connsiteY1" fmla="*/ 39999 h 70809"/>
                <a:gd name="connsiteX2" fmla="*/ 35769 w 70809"/>
                <a:gd name="connsiteY2" fmla="*/ 59826 h 70809"/>
                <a:gd name="connsiteX3" fmla="*/ 15943 w 70809"/>
                <a:gd name="connsiteY3" fmla="*/ 35751 h 70809"/>
                <a:gd name="connsiteX4" fmla="*/ 40018 w 70809"/>
                <a:gd name="connsiteY4" fmla="*/ 1592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24"/>
                  </a:moveTo>
                  <a:cubicBezTo>
                    <a:pt x="52764" y="17341"/>
                    <a:pt x="61261" y="27254"/>
                    <a:pt x="59845" y="39999"/>
                  </a:cubicBezTo>
                  <a:cubicBezTo>
                    <a:pt x="58429" y="52745"/>
                    <a:pt x="48515" y="61242"/>
                    <a:pt x="35769" y="59826"/>
                  </a:cubicBezTo>
                  <a:cubicBezTo>
                    <a:pt x="23024" y="58410"/>
                    <a:pt x="14527" y="48497"/>
                    <a:pt x="15943" y="35751"/>
                  </a:cubicBezTo>
                  <a:cubicBezTo>
                    <a:pt x="15943" y="24422"/>
                    <a:pt x="27272" y="14508"/>
                    <a:pt x="40018" y="1592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6" name="Freeform: Shape 2455">
              <a:extLst>
                <a:ext uri="{FF2B5EF4-FFF2-40B4-BE49-F238E27FC236}">
                  <a16:creationId xmlns:a16="http://schemas.microsoft.com/office/drawing/2014/main" id="{0CA0D8B3-1E6E-4ECD-8A3D-9047A09B924C}"/>
                </a:ext>
              </a:extLst>
            </p:cNvPr>
            <p:cNvSpPr/>
            <p:nvPr/>
          </p:nvSpPr>
          <p:spPr>
            <a:xfrm>
              <a:off x="6591456" y="3465610"/>
              <a:ext cx="42486" cy="42486"/>
            </a:xfrm>
            <a:custGeom>
              <a:avLst/>
              <a:gdLst>
                <a:gd name="connsiteX0" fmla="*/ 27118 w 42485"/>
                <a:gd name="connsiteY0" fmla="*/ 15789 h 42485"/>
                <a:gd name="connsiteX1" fmla="*/ 37032 w 42485"/>
                <a:gd name="connsiteY1" fmla="*/ 27119 h 42485"/>
                <a:gd name="connsiteX2" fmla="*/ 25702 w 42485"/>
                <a:gd name="connsiteY2" fmla="*/ 37032 h 42485"/>
                <a:gd name="connsiteX3" fmla="*/ 15789 w 42485"/>
                <a:gd name="connsiteY3" fmla="*/ 25702 h 42485"/>
                <a:gd name="connsiteX4" fmla="*/ 2711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5789"/>
                  </a:moveTo>
                  <a:cubicBezTo>
                    <a:pt x="32783" y="15789"/>
                    <a:pt x="37032" y="21454"/>
                    <a:pt x="37032" y="27119"/>
                  </a:cubicBezTo>
                  <a:cubicBezTo>
                    <a:pt x="37032" y="32783"/>
                    <a:pt x="31367" y="37032"/>
                    <a:pt x="25702" y="37032"/>
                  </a:cubicBezTo>
                  <a:cubicBezTo>
                    <a:pt x="20037" y="37032"/>
                    <a:pt x="15789" y="31367"/>
                    <a:pt x="15789" y="25702"/>
                  </a:cubicBezTo>
                  <a:cubicBezTo>
                    <a:pt x="15789" y="20038"/>
                    <a:pt x="21454" y="15789"/>
                    <a:pt x="2711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7" name="Freeform: Shape 2456">
              <a:extLst>
                <a:ext uri="{FF2B5EF4-FFF2-40B4-BE49-F238E27FC236}">
                  <a16:creationId xmlns:a16="http://schemas.microsoft.com/office/drawing/2014/main" id="{179AFDA7-34B1-430B-A159-B402AE9F6C71}"/>
                </a:ext>
              </a:extLst>
            </p:cNvPr>
            <p:cNvSpPr/>
            <p:nvPr/>
          </p:nvSpPr>
          <p:spPr>
            <a:xfrm>
              <a:off x="6580126" y="3273008"/>
              <a:ext cx="42486" cy="42486"/>
            </a:xfrm>
            <a:custGeom>
              <a:avLst/>
              <a:gdLst>
                <a:gd name="connsiteX0" fmla="*/ 27119 w 42485"/>
                <a:gd name="connsiteY0" fmla="*/ 15789 h 42485"/>
                <a:gd name="connsiteX1" fmla="*/ 37032 w 42485"/>
                <a:gd name="connsiteY1" fmla="*/ 27118 h 42485"/>
                <a:gd name="connsiteX2" fmla="*/ 25703 w 42485"/>
                <a:gd name="connsiteY2" fmla="*/ 37032 h 42485"/>
                <a:gd name="connsiteX3" fmla="*/ 15789 w 42485"/>
                <a:gd name="connsiteY3" fmla="*/ 25702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8"/>
                  </a:cubicBezTo>
                  <a:cubicBezTo>
                    <a:pt x="37032" y="32783"/>
                    <a:pt x="31367" y="37032"/>
                    <a:pt x="25703" y="37032"/>
                  </a:cubicBezTo>
                  <a:cubicBezTo>
                    <a:pt x="20038" y="37032"/>
                    <a:pt x="15789" y="31367"/>
                    <a:pt x="15789" y="25702"/>
                  </a:cubicBezTo>
                  <a:cubicBezTo>
                    <a:pt x="15789" y="20037"/>
                    <a:pt x="21454" y="15789"/>
                    <a:pt x="27119"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8" name="Freeform: Shape 2457">
              <a:extLst>
                <a:ext uri="{FF2B5EF4-FFF2-40B4-BE49-F238E27FC236}">
                  <a16:creationId xmlns:a16="http://schemas.microsoft.com/office/drawing/2014/main" id="{FF5AA576-6A14-457E-A34C-5B494F1B6297}"/>
                </a:ext>
              </a:extLst>
            </p:cNvPr>
            <p:cNvSpPr/>
            <p:nvPr/>
          </p:nvSpPr>
          <p:spPr>
            <a:xfrm>
              <a:off x="6228911" y="3173875"/>
              <a:ext cx="42486" cy="42486"/>
            </a:xfrm>
            <a:custGeom>
              <a:avLst/>
              <a:gdLst>
                <a:gd name="connsiteX0" fmla="*/ 25703 w 42485"/>
                <a:gd name="connsiteY0" fmla="*/ 15789 h 42485"/>
                <a:gd name="connsiteX1" fmla="*/ 34199 w 42485"/>
                <a:gd name="connsiteY1" fmla="*/ 25702 h 42485"/>
                <a:gd name="connsiteX2" fmla="*/ 24286 w 42485"/>
                <a:gd name="connsiteY2" fmla="*/ 34199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29951" y="15789"/>
                    <a:pt x="34199" y="20037"/>
                    <a:pt x="34199" y="25702"/>
                  </a:cubicBezTo>
                  <a:cubicBezTo>
                    <a:pt x="34199" y="29951"/>
                    <a:pt x="29951" y="34199"/>
                    <a:pt x="24286" y="34199"/>
                  </a:cubicBezTo>
                  <a:cubicBezTo>
                    <a:pt x="20037" y="34199"/>
                    <a:pt x="15789" y="29951"/>
                    <a:pt x="15789" y="24286"/>
                  </a:cubicBezTo>
                  <a:cubicBezTo>
                    <a:pt x="15789" y="18621"/>
                    <a:pt x="20037" y="15789"/>
                    <a:pt x="25703"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9" name="Freeform: Shape 2458">
              <a:extLst>
                <a:ext uri="{FF2B5EF4-FFF2-40B4-BE49-F238E27FC236}">
                  <a16:creationId xmlns:a16="http://schemas.microsoft.com/office/drawing/2014/main" id="{ADFBC57B-0A51-41D4-A836-780B4019C802}"/>
                </a:ext>
              </a:extLst>
            </p:cNvPr>
            <p:cNvSpPr/>
            <p:nvPr/>
          </p:nvSpPr>
          <p:spPr>
            <a:xfrm>
              <a:off x="5730412" y="3431253"/>
              <a:ext cx="42486" cy="42486"/>
            </a:xfrm>
            <a:custGeom>
              <a:avLst/>
              <a:gdLst>
                <a:gd name="connsiteX0" fmla="*/ 22870 w 42485"/>
                <a:gd name="connsiteY0" fmla="*/ 16157 h 42485"/>
                <a:gd name="connsiteX1" fmla="*/ 28535 w 42485"/>
                <a:gd name="connsiteY1" fmla="*/ 23238 h 42485"/>
                <a:gd name="connsiteX2" fmla="*/ 21454 w 42485"/>
                <a:gd name="connsiteY2" fmla="*/ 28903 h 42485"/>
                <a:gd name="connsiteX3" fmla="*/ 15789 w 42485"/>
                <a:gd name="connsiteY3" fmla="*/ 21822 h 42485"/>
                <a:gd name="connsiteX4" fmla="*/ 22870 w 42485"/>
                <a:gd name="connsiteY4" fmla="*/ 16157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16157"/>
                  </a:moveTo>
                  <a:cubicBezTo>
                    <a:pt x="27119" y="16157"/>
                    <a:pt x="28535" y="20406"/>
                    <a:pt x="28535" y="23238"/>
                  </a:cubicBezTo>
                  <a:cubicBezTo>
                    <a:pt x="28535" y="27487"/>
                    <a:pt x="24286" y="30319"/>
                    <a:pt x="21454" y="28903"/>
                  </a:cubicBezTo>
                  <a:cubicBezTo>
                    <a:pt x="17205" y="28903"/>
                    <a:pt x="15789" y="24654"/>
                    <a:pt x="15789" y="21822"/>
                  </a:cubicBezTo>
                  <a:cubicBezTo>
                    <a:pt x="15789" y="17573"/>
                    <a:pt x="18622" y="14741"/>
                    <a:pt x="22870" y="1615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0" name="Freeform: Shape 2459">
              <a:extLst>
                <a:ext uri="{FF2B5EF4-FFF2-40B4-BE49-F238E27FC236}">
                  <a16:creationId xmlns:a16="http://schemas.microsoft.com/office/drawing/2014/main" id="{8FAB6C16-E157-4BED-8D71-477DAB0E6059}"/>
                </a:ext>
              </a:extLst>
            </p:cNvPr>
            <p:cNvSpPr/>
            <p:nvPr/>
          </p:nvSpPr>
          <p:spPr>
            <a:xfrm>
              <a:off x="6140739" y="3479404"/>
              <a:ext cx="42486" cy="42486"/>
            </a:xfrm>
            <a:custGeom>
              <a:avLst/>
              <a:gdLst>
                <a:gd name="connsiteX0" fmla="*/ 23238 w 42485"/>
                <a:gd name="connsiteY0" fmla="*/ 16157 h 42485"/>
                <a:gd name="connsiteX1" fmla="*/ 28903 w 42485"/>
                <a:gd name="connsiteY1" fmla="*/ 23238 h 42485"/>
                <a:gd name="connsiteX2" fmla="*/ 21822 w 42485"/>
                <a:gd name="connsiteY2" fmla="*/ 28903 h 42485"/>
                <a:gd name="connsiteX3" fmla="*/ 16157 w 42485"/>
                <a:gd name="connsiteY3" fmla="*/ 21822 h 42485"/>
                <a:gd name="connsiteX4" fmla="*/ 23238 w 42485"/>
                <a:gd name="connsiteY4" fmla="*/ 16157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6157"/>
                  </a:moveTo>
                  <a:cubicBezTo>
                    <a:pt x="27487" y="16157"/>
                    <a:pt x="28903" y="20406"/>
                    <a:pt x="28903" y="23238"/>
                  </a:cubicBezTo>
                  <a:cubicBezTo>
                    <a:pt x="28903" y="27487"/>
                    <a:pt x="24655" y="30319"/>
                    <a:pt x="21822" y="28903"/>
                  </a:cubicBezTo>
                  <a:cubicBezTo>
                    <a:pt x="17574" y="28903"/>
                    <a:pt x="14741" y="24655"/>
                    <a:pt x="16157" y="21822"/>
                  </a:cubicBezTo>
                  <a:cubicBezTo>
                    <a:pt x="16157" y="17574"/>
                    <a:pt x="18990" y="14741"/>
                    <a:pt x="23238" y="1615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1" name="Freeform: Shape 2460">
              <a:extLst>
                <a:ext uri="{FF2B5EF4-FFF2-40B4-BE49-F238E27FC236}">
                  <a16:creationId xmlns:a16="http://schemas.microsoft.com/office/drawing/2014/main" id="{6B9ECF32-D77D-4AB6-B345-5C22E2227AC2}"/>
                </a:ext>
              </a:extLst>
            </p:cNvPr>
            <p:cNvSpPr/>
            <p:nvPr/>
          </p:nvSpPr>
          <p:spPr>
            <a:xfrm>
              <a:off x="6586839" y="3367893"/>
              <a:ext cx="42486" cy="42486"/>
            </a:xfrm>
            <a:custGeom>
              <a:avLst/>
              <a:gdLst>
                <a:gd name="connsiteX0" fmla="*/ 23238 w 42485"/>
                <a:gd name="connsiteY0" fmla="*/ 15789 h 42485"/>
                <a:gd name="connsiteX1" fmla="*/ 28903 w 42485"/>
                <a:gd name="connsiteY1" fmla="*/ 22870 h 42485"/>
                <a:gd name="connsiteX2" fmla="*/ 21822 w 42485"/>
                <a:gd name="connsiteY2" fmla="*/ 28535 h 42485"/>
                <a:gd name="connsiteX3" fmla="*/ 16157 w 42485"/>
                <a:gd name="connsiteY3" fmla="*/ 21454 h 42485"/>
                <a:gd name="connsiteX4" fmla="*/ 2323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5789"/>
                  </a:moveTo>
                  <a:cubicBezTo>
                    <a:pt x="27487" y="15789"/>
                    <a:pt x="28903" y="20038"/>
                    <a:pt x="28903" y="22870"/>
                  </a:cubicBezTo>
                  <a:cubicBezTo>
                    <a:pt x="28903" y="27119"/>
                    <a:pt x="24655" y="29951"/>
                    <a:pt x="21822" y="28535"/>
                  </a:cubicBezTo>
                  <a:cubicBezTo>
                    <a:pt x="17574" y="28535"/>
                    <a:pt x="14741" y="24286"/>
                    <a:pt x="16157" y="21454"/>
                  </a:cubicBezTo>
                  <a:cubicBezTo>
                    <a:pt x="17574" y="18621"/>
                    <a:pt x="20406" y="15789"/>
                    <a:pt x="2323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2" name="Freeform: Shape 2461">
              <a:extLst>
                <a:ext uri="{FF2B5EF4-FFF2-40B4-BE49-F238E27FC236}">
                  <a16:creationId xmlns:a16="http://schemas.microsoft.com/office/drawing/2014/main" id="{41012BAF-FD5A-473E-98AD-622F2065A8F4}"/>
                </a:ext>
              </a:extLst>
            </p:cNvPr>
            <p:cNvSpPr/>
            <p:nvPr/>
          </p:nvSpPr>
          <p:spPr>
            <a:xfrm>
              <a:off x="4005491" y="3995266"/>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29" y="55442"/>
                    <a:pt x="55442" y="46945"/>
                    <a:pt x="55442" y="35616"/>
                  </a:cubicBezTo>
                  <a:cubicBezTo>
                    <a:pt x="55442" y="25702"/>
                    <a:pt x="46945" y="15789"/>
                    <a:pt x="35616" y="15789"/>
                  </a:cubicBezTo>
                  <a:cubicBezTo>
                    <a:pt x="25702" y="15789"/>
                    <a:pt x="15789" y="24286"/>
                    <a:pt x="15789" y="35616"/>
                  </a:cubicBezTo>
                  <a:cubicBezTo>
                    <a:pt x="15789" y="46945"/>
                    <a:pt x="25702"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3" name="Freeform: Shape 2462">
              <a:extLst>
                <a:ext uri="{FF2B5EF4-FFF2-40B4-BE49-F238E27FC236}">
                  <a16:creationId xmlns:a16="http://schemas.microsoft.com/office/drawing/2014/main" id="{E23534B4-7759-496E-AE57-DCB5A1AC2759}"/>
                </a:ext>
              </a:extLst>
            </p:cNvPr>
            <p:cNvSpPr/>
            <p:nvPr/>
          </p:nvSpPr>
          <p:spPr>
            <a:xfrm>
              <a:off x="3346962" y="4216191"/>
              <a:ext cx="113295" cy="113295"/>
            </a:xfrm>
            <a:custGeom>
              <a:avLst/>
              <a:gdLst>
                <a:gd name="connsiteX0" fmla="*/ 56858 w 113295"/>
                <a:gd name="connsiteY0" fmla="*/ 97928 h 113295"/>
                <a:gd name="connsiteX1" fmla="*/ 97928 w 113295"/>
                <a:gd name="connsiteY1" fmla="*/ 56858 h 113295"/>
                <a:gd name="connsiteX2" fmla="*/ 56858 w 113295"/>
                <a:gd name="connsiteY2" fmla="*/ 15789 h 113295"/>
                <a:gd name="connsiteX3" fmla="*/ 15789 w 113295"/>
                <a:gd name="connsiteY3" fmla="*/ 56858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8"/>
                  </a:cubicBezTo>
                  <a:cubicBezTo>
                    <a:pt x="97928" y="34199"/>
                    <a:pt x="79518" y="15789"/>
                    <a:pt x="56858" y="15789"/>
                  </a:cubicBezTo>
                  <a:cubicBezTo>
                    <a:pt x="34200" y="15789"/>
                    <a:pt x="15789" y="34199"/>
                    <a:pt x="15789" y="56858"/>
                  </a:cubicBezTo>
                  <a:cubicBezTo>
                    <a:pt x="15789" y="79518"/>
                    <a:pt x="34200" y="97928"/>
                    <a:pt x="56858"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4" name="Freeform: Shape 2463">
              <a:extLst>
                <a:ext uri="{FF2B5EF4-FFF2-40B4-BE49-F238E27FC236}">
                  <a16:creationId xmlns:a16="http://schemas.microsoft.com/office/drawing/2014/main" id="{A36DB1C8-C68D-4C2E-8BF2-B7EF88C37309}"/>
                </a:ext>
              </a:extLst>
            </p:cNvPr>
            <p:cNvSpPr/>
            <p:nvPr/>
          </p:nvSpPr>
          <p:spPr>
            <a:xfrm>
              <a:off x="3759460" y="5558517"/>
              <a:ext cx="113295" cy="113295"/>
            </a:xfrm>
            <a:custGeom>
              <a:avLst/>
              <a:gdLst>
                <a:gd name="connsiteX0" fmla="*/ 73467 w 113295"/>
                <a:gd name="connsiteY0" fmla="*/ 18844 h 113295"/>
                <a:gd name="connsiteX1" fmla="*/ 94709 w 113295"/>
                <a:gd name="connsiteY1" fmla="*/ 72659 h 113295"/>
                <a:gd name="connsiteX2" fmla="*/ 40894 w 113295"/>
                <a:gd name="connsiteY2" fmla="*/ 93902 h 113295"/>
                <a:gd name="connsiteX3" fmla="*/ 19651 w 113295"/>
                <a:gd name="connsiteY3" fmla="*/ 40087 h 113295"/>
                <a:gd name="connsiteX4" fmla="*/ 73467 w 113295"/>
                <a:gd name="connsiteY4" fmla="*/ 18844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73467" y="18844"/>
                  </a:moveTo>
                  <a:cubicBezTo>
                    <a:pt x="94709" y="27341"/>
                    <a:pt x="104623" y="51416"/>
                    <a:pt x="94709" y="72659"/>
                  </a:cubicBezTo>
                  <a:cubicBezTo>
                    <a:pt x="86212" y="93902"/>
                    <a:pt x="62137" y="103816"/>
                    <a:pt x="40894" y="93902"/>
                  </a:cubicBezTo>
                  <a:cubicBezTo>
                    <a:pt x="19651" y="85405"/>
                    <a:pt x="9738" y="61330"/>
                    <a:pt x="19651" y="40087"/>
                  </a:cubicBezTo>
                  <a:cubicBezTo>
                    <a:pt x="28148" y="20260"/>
                    <a:pt x="52224" y="10347"/>
                    <a:pt x="73467" y="1884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5" name="Freeform: Shape 2464">
              <a:extLst>
                <a:ext uri="{FF2B5EF4-FFF2-40B4-BE49-F238E27FC236}">
                  <a16:creationId xmlns:a16="http://schemas.microsoft.com/office/drawing/2014/main" id="{92ED4CCF-DF3F-418E-A749-8FEE3523DE7E}"/>
                </a:ext>
              </a:extLst>
            </p:cNvPr>
            <p:cNvSpPr/>
            <p:nvPr/>
          </p:nvSpPr>
          <p:spPr>
            <a:xfrm>
              <a:off x="3933265" y="4240266"/>
              <a:ext cx="70810" cy="70810"/>
            </a:xfrm>
            <a:custGeom>
              <a:avLst/>
              <a:gdLst>
                <a:gd name="connsiteX0" fmla="*/ 35616 w 70809"/>
                <a:gd name="connsiteY0" fmla="*/ 55443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3"/>
                  </a:moveTo>
                  <a:cubicBezTo>
                    <a:pt x="46945" y="55443"/>
                    <a:pt x="55442" y="46945"/>
                    <a:pt x="55442" y="35616"/>
                  </a:cubicBezTo>
                  <a:cubicBezTo>
                    <a:pt x="55442" y="24286"/>
                    <a:pt x="46945" y="15789"/>
                    <a:pt x="35616" y="15789"/>
                  </a:cubicBezTo>
                  <a:cubicBezTo>
                    <a:pt x="24286" y="15789"/>
                    <a:pt x="15789" y="24286"/>
                    <a:pt x="15789" y="35616"/>
                  </a:cubicBezTo>
                  <a:cubicBezTo>
                    <a:pt x="17205" y="45529"/>
                    <a:pt x="25703" y="55443"/>
                    <a:pt x="35616" y="554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6" name="Freeform: Shape 2465">
              <a:extLst>
                <a:ext uri="{FF2B5EF4-FFF2-40B4-BE49-F238E27FC236}">
                  <a16:creationId xmlns:a16="http://schemas.microsoft.com/office/drawing/2014/main" id="{C1791FDA-E4CA-4DDB-AEF8-77B9E2A23B21}"/>
                </a:ext>
              </a:extLst>
            </p:cNvPr>
            <p:cNvSpPr/>
            <p:nvPr/>
          </p:nvSpPr>
          <p:spPr>
            <a:xfrm>
              <a:off x="3892195" y="4827986"/>
              <a:ext cx="70810" cy="70810"/>
            </a:xfrm>
            <a:custGeom>
              <a:avLst/>
              <a:gdLst>
                <a:gd name="connsiteX0" fmla="*/ 35616 w 70809"/>
                <a:gd name="connsiteY0" fmla="*/ 55443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3"/>
                  </a:moveTo>
                  <a:cubicBezTo>
                    <a:pt x="46945" y="55443"/>
                    <a:pt x="55442" y="46945"/>
                    <a:pt x="55442" y="35616"/>
                  </a:cubicBezTo>
                  <a:cubicBezTo>
                    <a:pt x="55442" y="24286"/>
                    <a:pt x="46945" y="15789"/>
                    <a:pt x="35616" y="15789"/>
                  </a:cubicBezTo>
                  <a:cubicBezTo>
                    <a:pt x="24286" y="15789"/>
                    <a:pt x="15789" y="24286"/>
                    <a:pt x="15789" y="35616"/>
                  </a:cubicBezTo>
                  <a:cubicBezTo>
                    <a:pt x="15789" y="45529"/>
                    <a:pt x="24286" y="55443"/>
                    <a:pt x="35616" y="554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7" name="Freeform: Shape 2466">
              <a:extLst>
                <a:ext uri="{FF2B5EF4-FFF2-40B4-BE49-F238E27FC236}">
                  <a16:creationId xmlns:a16="http://schemas.microsoft.com/office/drawing/2014/main" id="{55E6F51E-F422-4BF6-92C5-03B328C145DC}"/>
                </a:ext>
              </a:extLst>
            </p:cNvPr>
            <p:cNvSpPr/>
            <p:nvPr/>
          </p:nvSpPr>
          <p:spPr>
            <a:xfrm>
              <a:off x="3539564" y="4003763"/>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5789" y="46945"/>
                    <a:pt x="25702"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8" name="Freeform: Shape 2467">
              <a:extLst>
                <a:ext uri="{FF2B5EF4-FFF2-40B4-BE49-F238E27FC236}">
                  <a16:creationId xmlns:a16="http://schemas.microsoft.com/office/drawing/2014/main" id="{754D7880-25D7-49C0-BF70-142C8F3298B2}"/>
                </a:ext>
              </a:extLst>
            </p:cNvPr>
            <p:cNvSpPr/>
            <p:nvPr/>
          </p:nvSpPr>
          <p:spPr>
            <a:xfrm>
              <a:off x="4045144" y="4619806"/>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5789" y="45529"/>
                    <a:pt x="24286"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9" name="Freeform: Shape 2468">
              <a:extLst>
                <a:ext uri="{FF2B5EF4-FFF2-40B4-BE49-F238E27FC236}">
                  <a16:creationId xmlns:a16="http://schemas.microsoft.com/office/drawing/2014/main" id="{6B27782E-96C8-4C84-8F2D-3879066F78B7}"/>
                </a:ext>
              </a:extLst>
            </p:cNvPr>
            <p:cNvSpPr/>
            <p:nvPr/>
          </p:nvSpPr>
          <p:spPr>
            <a:xfrm>
              <a:off x="4021069" y="4757176"/>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8"/>
                    <a:pt x="31367" y="15789"/>
                    <a:pt x="25702" y="15789"/>
                  </a:cubicBezTo>
                  <a:cubicBezTo>
                    <a:pt x="20037" y="15789"/>
                    <a:pt x="15789" y="20038"/>
                    <a:pt x="15789" y="25703"/>
                  </a:cubicBezTo>
                  <a:cubicBezTo>
                    <a:pt x="17205" y="31367"/>
                    <a:pt x="21454"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0" name="Freeform: Shape 2469">
              <a:extLst>
                <a:ext uri="{FF2B5EF4-FFF2-40B4-BE49-F238E27FC236}">
                  <a16:creationId xmlns:a16="http://schemas.microsoft.com/office/drawing/2014/main" id="{83A76179-75DA-4173-AD6C-ECE2F081002F}"/>
                </a:ext>
              </a:extLst>
            </p:cNvPr>
            <p:cNvSpPr/>
            <p:nvPr/>
          </p:nvSpPr>
          <p:spPr>
            <a:xfrm>
              <a:off x="3710923" y="4380469"/>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8"/>
                    <a:pt x="31367" y="15789"/>
                    <a:pt x="25702" y="15789"/>
                  </a:cubicBezTo>
                  <a:cubicBezTo>
                    <a:pt x="20038" y="15789"/>
                    <a:pt x="15789" y="20038"/>
                    <a:pt x="15789" y="25703"/>
                  </a:cubicBezTo>
                  <a:cubicBezTo>
                    <a:pt x="17205" y="31367"/>
                    <a:pt x="21454"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1" name="Freeform: Shape 2470">
              <a:extLst>
                <a:ext uri="{FF2B5EF4-FFF2-40B4-BE49-F238E27FC236}">
                  <a16:creationId xmlns:a16="http://schemas.microsoft.com/office/drawing/2014/main" id="{D2502C24-18A3-4D8B-9D09-7D4A6273FD15}"/>
                </a:ext>
              </a:extLst>
            </p:cNvPr>
            <p:cNvSpPr/>
            <p:nvPr/>
          </p:nvSpPr>
          <p:spPr>
            <a:xfrm>
              <a:off x="4539395" y="4912957"/>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8"/>
                    <a:pt x="31367" y="15789"/>
                    <a:pt x="25702" y="15789"/>
                  </a:cubicBezTo>
                  <a:cubicBezTo>
                    <a:pt x="20037" y="15789"/>
                    <a:pt x="15789" y="20038"/>
                    <a:pt x="15789" y="25703"/>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2" name="Freeform: Shape 2471">
              <a:extLst>
                <a:ext uri="{FF2B5EF4-FFF2-40B4-BE49-F238E27FC236}">
                  <a16:creationId xmlns:a16="http://schemas.microsoft.com/office/drawing/2014/main" id="{202A1917-08C6-4545-B825-53CA5C2B85B1}"/>
                </a:ext>
              </a:extLst>
            </p:cNvPr>
            <p:cNvSpPr/>
            <p:nvPr/>
          </p:nvSpPr>
          <p:spPr>
            <a:xfrm>
              <a:off x="4174017" y="4890298"/>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8" y="15789"/>
                    <a:pt x="15789" y="20038"/>
                    <a:pt x="15789" y="25703"/>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3" name="Freeform: Shape 2472">
              <a:extLst>
                <a:ext uri="{FF2B5EF4-FFF2-40B4-BE49-F238E27FC236}">
                  <a16:creationId xmlns:a16="http://schemas.microsoft.com/office/drawing/2014/main" id="{21D2C0A3-6237-4015-83B0-61171C809FF4}"/>
                </a:ext>
              </a:extLst>
            </p:cNvPr>
            <p:cNvSpPr/>
            <p:nvPr/>
          </p:nvSpPr>
          <p:spPr>
            <a:xfrm>
              <a:off x="4317053" y="5019171"/>
              <a:ext cx="70810" cy="70810"/>
            </a:xfrm>
            <a:custGeom>
              <a:avLst/>
              <a:gdLst>
                <a:gd name="connsiteX0" fmla="*/ 66772 w 70809"/>
                <a:gd name="connsiteY0" fmla="*/ 41281 h 70809"/>
                <a:gd name="connsiteX1" fmla="*/ 41280 w 70809"/>
                <a:gd name="connsiteY1" fmla="*/ 66772 h 70809"/>
                <a:gd name="connsiteX2" fmla="*/ 15789 w 70809"/>
                <a:gd name="connsiteY2" fmla="*/ 41281 h 70809"/>
                <a:gd name="connsiteX3" fmla="*/ 41280 w 70809"/>
                <a:gd name="connsiteY3" fmla="*/ 15789 h 70809"/>
                <a:gd name="connsiteX4" fmla="*/ 66772 w 70809"/>
                <a:gd name="connsiteY4" fmla="*/ 41281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6772" y="41281"/>
                  </a:moveTo>
                  <a:cubicBezTo>
                    <a:pt x="66772" y="55359"/>
                    <a:pt x="55359" y="66772"/>
                    <a:pt x="41280" y="66772"/>
                  </a:cubicBezTo>
                  <a:cubicBezTo>
                    <a:pt x="27202" y="66772"/>
                    <a:pt x="15789" y="55359"/>
                    <a:pt x="15789" y="41281"/>
                  </a:cubicBezTo>
                  <a:cubicBezTo>
                    <a:pt x="15789" y="27202"/>
                    <a:pt x="27202" y="15789"/>
                    <a:pt x="41280" y="15789"/>
                  </a:cubicBezTo>
                  <a:cubicBezTo>
                    <a:pt x="55359" y="15789"/>
                    <a:pt x="66772" y="27202"/>
                    <a:pt x="66772"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4" name="Freeform: Shape 2473">
              <a:extLst>
                <a:ext uri="{FF2B5EF4-FFF2-40B4-BE49-F238E27FC236}">
                  <a16:creationId xmlns:a16="http://schemas.microsoft.com/office/drawing/2014/main" id="{D5714680-6551-4DBB-BD2E-5F34C7970BAF}"/>
                </a:ext>
              </a:extLst>
            </p:cNvPr>
            <p:cNvSpPr/>
            <p:nvPr/>
          </p:nvSpPr>
          <p:spPr>
            <a:xfrm>
              <a:off x="3806666" y="5773246"/>
              <a:ext cx="70810" cy="70810"/>
            </a:xfrm>
            <a:custGeom>
              <a:avLst/>
              <a:gdLst>
                <a:gd name="connsiteX0" fmla="*/ 51752 w 70809"/>
                <a:gd name="connsiteY0" fmla="*/ 17960 h 70809"/>
                <a:gd name="connsiteX1" fmla="*/ 65914 w 70809"/>
                <a:gd name="connsiteY1" fmla="*/ 51949 h 70809"/>
                <a:gd name="connsiteX2" fmla="*/ 31925 w 70809"/>
                <a:gd name="connsiteY2" fmla="*/ 66111 h 70809"/>
                <a:gd name="connsiteX3" fmla="*/ 17763 w 70809"/>
                <a:gd name="connsiteY3" fmla="*/ 32122 h 70809"/>
                <a:gd name="connsiteX4" fmla="*/ 51752 w 70809"/>
                <a:gd name="connsiteY4" fmla="*/ 1796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51752" y="17960"/>
                  </a:moveTo>
                  <a:cubicBezTo>
                    <a:pt x="64497" y="23625"/>
                    <a:pt x="71578" y="39203"/>
                    <a:pt x="65914" y="51949"/>
                  </a:cubicBezTo>
                  <a:cubicBezTo>
                    <a:pt x="60249" y="64694"/>
                    <a:pt x="44671" y="71775"/>
                    <a:pt x="31925" y="66111"/>
                  </a:cubicBezTo>
                  <a:cubicBezTo>
                    <a:pt x="19179" y="60445"/>
                    <a:pt x="12098" y="44868"/>
                    <a:pt x="17763" y="32122"/>
                  </a:cubicBezTo>
                  <a:cubicBezTo>
                    <a:pt x="23428" y="17960"/>
                    <a:pt x="37590" y="12295"/>
                    <a:pt x="51752" y="179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5" name="Freeform: Shape 2474">
              <a:extLst>
                <a:ext uri="{FF2B5EF4-FFF2-40B4-BE49-F238E27FC236}">
                  <a16:creationId xmlns:a16="http://schemas.microsoft.com/office/drawing/2014/main" id="{AC575745-FB4B-4B15-AD88-BE702A49D622}"/>
                </a:ext>
              </a:extLst>
            </p:cNvPr>
            <p:cNvSpPr/>
            <p:nvPr/>
          </p:nvSpPr>
          <p:spPr>
            <a:xfrm>
              <a:off x="4346793" y="4370556"/>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8"/>
                    <a:pt x="55442" y="15789"/>
                    <a:pt x="41280" y="15789"/>
                  </a:cubicBezTo>
                  <a:cubicBezTo>
                    <a:pt x="27118" y="15789"/>
                    <a:pt x="15789" y="27118"/>
                    <a:pt x="15789" y="41280"/>
                  </a:cubicBezTo>
                  <a:cubicBezTo>
                    <a:pt x="15789" y="54026"/>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6" name="Freeform: Shape 2475">
              <a:extLst>
                <a:ext uri="{FF2B5EF4-FFF2-40B4-BE49-F238E27FC236}">
                  <a16:creationId xmlns:a16="http://schemas.microsoft.com/office/drawing/2014/main" id="{EC68C2F7-50E4-4FF3-A60F-12AA51A90855}"/>
                </a:ext>
              </a:extLst>
            </p:cNvPr>
            <p:cNvSpPr/>
            <p:nvPr/>
          </p:nvSpPr>
          <p:spPr>
            <a:xfrm>
              <a:off x="3992545" y="5356025"/>
              <a:ext cx="70810" cy="70810"/>
            </a:xfrm>
            <a:custGeom>
              <a:avLst/>
              <a:gdLst>
                <a:gd name="connsiteX0" fmla="*/ 44313 w 70809"/>
                <a:gd name="connsiteY0" fmla="*/ 17405 h 70809"/>
                <a:gd name="connsiteX1" fmla="*/ 55642 w 70809"/>
                <a:gd name="connsiteY1" fmla="*/ 44313 h 70809"/>
                <a:gd name="connsiteX2" fmla="*/ 28735 w 70809"/>
                <a:gd name="connsiteY2" fmla="*/ 55642 h 70809"/>
                <a:gd name="connsiteX3" fmla="*/ 17405 w 70809"/>
                <a:gd name="connsiteY3" fmla="*/ 28735 h 70809"/>
                <a:gd name="connsiteX4" fmla="*/ 44313 w 70809"/>
                <a:gd name="connsiteY4" fmla="*/ 17405 h 70809"/>
                <a:gd name="connsiteX5" fmla="*/ 44313 w 70809"/>
                <a:gd name="connsiteY5" fmla="*/ 17405 h 70809"/>
                <a:gd name="connsiteX6" fmla="*/ 40064 w 70809"/>
                <a:gd name="connsiteY6" fmla="*/ 25902 h 70809"/>
                <a:gd name="connsiteX7" fmla="*/ 24486 w 70809"/>
                <a:gd name="connsiteY7" fmla="*/ 31567 h 70809"/>
                <a:gd name="connsiteX8" fmla="*/ 30151 w 70809"/>
                <a:gd name="connsiteY8" fmla="*/ 47145 h 70809"/>
                <a:gd name="connsiteX9" fmla="*/ 45729 w 70809"/>
                <a:gd name="connsiteY9" fmla="*/ 41480 h 70809"/>
                <a:gd name="connsiteX10" fmla="*/ 40064 w 70809"/>
                <a:gd name="connsiteY10" fmla="*/ 25902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313" y="17405"/>
                  </a:moveTo>
                  <a:cubicBezTo>
                    <a:pt x="55642" y="21654"/>
                    <a:pt x="59891" y="34399"/>
                    <a:pt x="55642" y="44313"/>
                  </a:cubicBezTo>
                  <a:cubicBezTo>
                    <a:pt x="51394" y="55642"/>
                    <a:pt x="38648" y="59891"/>
                    <a:pt x="28735" y="55642"/>
                  </a:cubicBezTo>
                  <a:cubicBezTo>
                    <a:pt x="17405" y="51394"/>
                    <a:pt x="13156" y="38648"/>
                    <a:pt x="17405" y="28735"/>
                  </a:cubicBezTo>
                  <a:cubicBezTo>
                    <a:pt x="21654" y="17405"/>
                    <a:pt x="32983" y="13157"/>
                    <a:pt x="44313" y="17405"/>
                  </a:cubicBezTo>
                  <a:lnTo>
                    <a:pt x="44313" y="17405"/>
                  </a:lnTo>
                  <a:close/>
                  <a:moveTo>
                    <a:pt x="40064" y="25902"/>
                  </a:moveTo>
                  <a:cubicBezTo>
                    <a:pt x="34399" y="23070"/>
                    <a:pt x="27318" y="25902"/>
                    <a:pt x="24486" y="31567"/>
                  </a:cubicBezTo>
                  <a:cubicBezTo>
                    <a:pt x="21654" y="37232"/>
                    <a:pt x="24486" y="44313"/>
                    <a:pt x="30151" y="47145"/>
                  </a:cubicBezTo>
                  <a:cubicBezTo>
                    <a:pt x="35816" y="49978"/>
                    <a:pt x="42897" y="47145"/>
                    <a:pt x="45729" y="41480"/>
                  </a:cubicBezTo>
                  <a:cubicBezTo>
                    <a:pt x="49978" y="34399"/>
                    <a:pt x="47145" y="28735"/>
                    <a:pt x="40064" y="2590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7" name="Freeform: Shape 2476">
              <a:extLst>
                <a:ext uri="{FF2B5EF4-FFF2-40B4-BE49-F238E27FC236}">
                  <a16:creationId xmlns:a16="http://schemas.microsoft.com/office/drawing/2014/main" id="{F5137850-29CB-403B-A1E4-74C9DA841F22}"/>
                </a:ext>
              </a:extLst>
            </p:cNvPr>
            <p:cNvSpPr/>
            <p:nvPr/>
          </p:nvSpPr>
          <p:spPr>
            <a:xfrm>
              <a:off x="3548061" y="4261509"/>
              <a:ext cx="70810" cy="70810"/>
            </a:xfrm>
            <a:custGeom>
              <a:avLst/>
              <a:gdLst>
                <a:gd name="connsiteX0" fmla="*/ 35616 w 70809"/>
                <a:gd name="connsiteY0" fmla="*/ 55443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3"/>
                  </a:moveTo>
                  <a:cubicBezTo>
                    <a:pt x="46945" y="55443"/>
                    <a:pt x="55442" y="46945"/>
                    <a:pt x="55442" y="35616"/>
                  </a:cubicBezTo>
                  <a:cubicBezTo>
                    <a:pt x="55442" y="24286"/>
                    <a:pt x="46945" y="15789"/>
                    <a:pt x="35616" y="15789"/>
                  </a:cubicBezTo>
                  <a:cubicBezTo>
                    <a:pt x="24286" y="15789"/>
                    <a:pt x="15789" y="24286"/>
                    <a:pt x="15789" y="35616"/>
                  </a:cubicBezTo>
                  <a:cubicBezTo>
                    <a:pt x="15789" y="46945"/>
                    <a:pt x="25702" y="55443"/>
                    <a:pt x="35616" y="554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8" name="Freeform: Shape 2477">
              <a:extLst>
                <a:ext uri="{FF2B5EF4-FFF2-40B4-BE49-F238E27FC236}">
                  <a16:creationId xmlns:a16="http://schemas.microsoft.com/office/drawing/2014/main" id="{316EB968-C7A3-4A40-87B8-892DDA517A7B}"/>
                </a:ext>
              </a:extLst>
            </p:cNvPr>
            <p:cNvSpPr/>
            <p:nvPr/>
          </p:nvSpPr>
          <p:spPr>
            <a:xfrm>
              <a:off x="3858072" y="4629719"/>
              <a:ext cx="70810" cy="70810"/>
            </a:xfrm>
            <a:custGeom>
              <a:avLst/>
              <a:gdLst>
                <a:gd name="connsiteX0" fmla="*/ 35751 w 70809"/>
                <a:gd name="connsiteY0" fmla="*/ 55443 h 70809"/>
                <a:gd name="connsiteX1" fmla="*/ 55578 w 70809"/>
                <a:gd name="connsiteY1" fmla="*/ 35616 h 70809"/>
                <a:gd name="connsiteX2" fmla="*/ 35751 w 70809"/>
                <a:gd name="connsiteY2" fmla="*/ 15789 h 70809"/>
                <a:gd name="connsiteX3" fmla="*/ 15924 w 70809"/>
                <a:gd name="connsiteY3" fmla="*/ 35616 h 70809"/>
                <a:gd name="connsiteX4" fmla="*/ 35751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751" y="55443"/>
                  </a:moveTo>
                  <a:cubicBezTo>
                    <a:pt x="47080" y="55443"/>
                    <a:pt x="55578" y="46945"/>
                    <a:pt x="55578" y="35616"/>
                  </a:cubicBezTo>
                  <a:cubicBezTo>
                    <a:pt x="55578" y="24286"/>
                    <a:pt x="47080" y="15789"/>
                    <a:pt x="35751" y="15789"/>
                  </a:cubicBezTo>
                  <a:cubicBezTo>
                    <a:pt x="24421" y="15789"/>
                    <a:pt x="15924" y="24286"/>
                    <a:pt x="15924" y="35616"/>
                  </a:cubicBezTo>
                  <a:cubicBezTo>
                    <a:pt x="14508" y="45529"/>
                    <a:pt x="24421" y="55443"/>
                    <a:pt x="35751" y="554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9" name="Freeform: Shape 2478">
              <a:extLst>
                <a:ext uri="{FF2B5EF4-FFF2-40B4-BE49-F238E27FC236}">
                  <a16:creationId xmlns:a16="http://schemas.microsoft.com/office/drawing/2014/main" id="{0F0CE4F7-7D9F-4096-8E25-771BE229193C}"/>
                </a:ext>
              </a:extLst>
            </p:cNvPr>
            <p:cNvSpPr/>
            <p:nvPr/>
          </p:nvSpPr>
          <p:spPr>
            <a:xfrm>
              <a:off x="4420435" y="4373388"/>
              <a:ext cx="84971" cy="84971"/>
            </a:xfrm>
            <a:custGeom>
              <a:avLst/>
              <a:gdLst>
                <a:gd name="connsiteX0" fmla="*/ 45529 w 84971"/>
                <a:gd name="connsiteY0" fmla="*/ 75269 h 84971"/>
                <a:gd name="connsiteX1" fmla="*/ 75269 w 84971"/>
                <a:gd name="connsiteY1" fmla="*/ 45529 h 84971"/>
                <a:gd name="connsiteX2" fmla="*/ 45529 w 84971"/>
                <a:gd name="connsiteY2" fmla="*/ 15789 h 84971"/>
                <a:gd name="connsiteX3" fmla="*/ 15789 w 84971"/>
                <a:gd name="connsiteY3" fmla="*/ 45529 h 84971"/>
                <a:gd name="connsiteX4" fmla="*/ 45529 w 84971"/>
                <a:gd name="connsiteY4" fmla="*/ 7526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529" y="75269"/>
                  </a:moveTo>
                  <a:cubicBezTo>
                    <a:pt x="61107" y="75269"/>
                    <a:pt x="75269" y="62524"/>
                    <a:pt x="75269" y="45529"/>
                  </a:cubicBezTo>
                  <a:cubicBezTo>
                    <a:pt x="75269" y="29951"/>
                    <a:pt x="62523" y="15789"/>
                    <a:pt x="45529" y="15789"/>
                  </a:cubicBezTo>
                  <a:cubicBezTo>
                    <a:pt x="29951" y="15789"/>
                    <a:pt x="15789" y="28535"/>
                    <a:pt x="15789" y="45529"/>
                  </a:cubicBezTo>
                  <a:cubicBezTo>
                    <a:pt x="15789" y="62524"/>
                    <a:pt x="29951" y="75269"/>
                    <a:pt x="45529" y="752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0" name="Freeform: Shape 2479">
              <a:extLst>
                <a:ext uri="{FF2B5EF4-FFF2-40B4-BE49-F238E27FC236}">
                  <a16:creationId xmlns:a16="http://schemas.microsoft.com/office/drawing/2014/main" id="{E3D76AA2-471A-4645-BF58-65095295C516}"/>
                </a:ext>
              </a:extLst>
            </p:cNvPr>
            <p:cNvSpPr/>
            <p:nvPr/>
          </p:nvSpPr>
          <p:spPr>
            <a:xfrm>
              <a:off x="4567719" y="4731685"/>
              <a:ext cx="84971" cy="84971"/>
            </a:xfrm>
            <a:custGeom>
              <a:avLst/>
              <a:gdLst>
                <a:gd name="connsiteX0" fmla="*/ 75269 w 84971"/>
                <a:gd name="connsiteY0" fmla="*/ 45529 h 84971"/>
                <a:gd name="connsiteX1" fmla="*/ 45529 w 84971"/>
                <a:gd name="connsiteY1" fmla="*/ 75269 h 84971"/>
                <a:gd name="connsiteX2" fmla="*/ 15789 w 84971"/>
                <a:gd name="connsiteY2" fmla="*/ 45529 h 84971"/>
                <a:gd name="connsiteX3" fmla="*/ 45529 w 84971"/>
                <a:gd name="connsiteY3" fmla="*/ 15789 h 84971"/>
                <a:gd name="connsiteX4" fmla="*/ 75269 w 84971"/>
                <a:gd name="connsiteY4" fmla="*/ 4552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75269" y="45529"/>
                  </a:moveTo>
                  <a:cubicBezTo>
                    <a:pt x="75269" y="61954"/>
                    <a:pt x="61954" y="75269"/>
                    <a:pt x="45529" y="75269"/>
                  </a:cubicBezTo>
                  <a:cubicBezTo>
                    <a:pt x="29104" y="75269"/>
                    <a:pt x="15789" y="61954"/>
                    <a:pt x="15789" y="45529"/>
                  </a:cubicBezTo>
                  <a:cubicBezTo>
                    <a:pt x="15789" y="29104"/>
                    <a:pt x="29104" y="15789"/>
                    <a:pt x="45529" y="15789"/>
                  </a:cubicBezTo>
                  <a:cubicBezTo>
                    <a:pt x="61954" y="15789"/>
                    <a:pt x="75269" y="29104"/>
                    <a:pt x="75269" y="4552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1" name="Freeform: Shape 2480">
              <a:extLst>
                <a:ext uri="{FF2B5EF4-FFF2-40B4-BE49-F238E27FC236}">
                  <a16:creationId xmlns:a16="http://schemas.microsoft.com/office/drawing/2014/main" id="{475318D0-E907-4196-81F7-2EC4E32E2101}"/>
                </a:ext>
              </a:extLst>
            </p:cNvPr>
            <p:cNvSpPr/>
            <p:nvPr/>
          </p:nvSpPr>
          <p:spPr>
            <a:xfrm>
              <a:off x="4292823" y="4755760"/>
              <a:ext cx="56648" cy="56648"/>
            </a:xfrm>
            <a:custGeom>
              <a:avLst/>
              <a:gdLst>
                <a:gd name="connsiteX0" fmla="*/ 32938 w 56647"/>
                <a:gd name="connsiteY0" fmla="*/ 49778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8"/>
                  </a:moveTo>
                  <a:cubicBezTo>
                    <a:pt x="42852" y="49778"/>
                    <a:pt x="49933" y="41281"/>
                    <a:pt x="49933" y="32783"/>
                  </a:cubicBezTo>
                  <a:cubicBezTo>
                    <a:pt x="49933" y="22870"/>
                    <a:pt x="41435" y="15789"/>
                    <a:pt x="32938" y="15789"/>
                  </a:cubicBezTo>
                  <a:cubicBezTo>
                    <a:pt x="23025" y="15789"/>
                    <a:pt x="15944" y="24286"/>
                    <a:pt x="15944" y="32783"/>
                  </a:cubicBezTo>
                  <a:cubicBezTo>
                    <a:pt x="14528" y="41281"/>
                    <a:pt x="23025" y="49778"/>
                    <a:pt x="32938"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2" name="Freeform: Shape 2481">
              <a:extLst>
                <a:ext uri="{FF2B5EF4-FFF2-40B4-BE49-F238E27FC236}">
                  <a16:creationId xmlns:a16="http://schemas.microsoft.com/office/drawing/2014/main" id="{A1C77EED-75A5-47AD-9F59-5821FC43CA5E}"/>
                </a:ext>
              </a:extLst>
            </p:cNvPr>
            <p:cNvSpPr/>
            <p:nvPr/>
          </p:nvSpPr>
          <p:spPr>
            <a:xfrm>
              <a:off x="4237746" y="4442782"/>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1280"/>
                    <a:pt x="49778" y="32783"/>
                  </a:cubicBezTo>
                  <a:cubicBezTo>
                    <a:pt x="49778" y="22870"/>
                    <a:pt x="41280" y="15789"/>
                    <a:pt x="32783" y="15789"/>
                  </a:cubicBezTo>
                  <a:cubicBezTo>
                    <a:pt x="22870" y="15789"/>
                    <a:pt x="15789" y="24286"/>
                    <a:pt x="15789" y="32783"/>
                  </a:cubicBezTo>
                  <a:cubicBezTo>
                    <a:pt x="15789" y="41280"/>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3" name="Freeform: Shape 2482">
              <a:extLst>
                <a:ext uri="{FF2B5EF4-FFF2-40B4-BE49-F238E27FC236}">
                  <a16:creationId xmlns:a16="http://schemas.microsoft.com/office/drawing/2014/main" id="{DBA26219-7C51-4A60-A514-4999BDE6EAF7}"/>
                </a:ext>
              </a:extLst>
            </p:cNvPr>
            <p:cNvSpPr/>
            <p:nvPr/>
          </p:nvSpPr>
          <p:spPr>
            <a:xfrm>
              <a:off x="3362540" y="4524921"/>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1280"/>
                    <a:pt x="49778" y="32783"/>
                  </a:cubicBezTo>
                  <a:cubicBezTo>
                    <a:pt x="49778" y="22870"/>
                    <a:pt x="41280" y="15789"/>
                    <a:pt x="32783" y="15789"/>
                  </a:cubicBezTo>
                  <a:cubicBezTo>
                    <a:pt x="22870" y="15789"/>
                    <a:pt x="15789" y="24286"/>
                    <a:pt x="15789" y="32783"/>
                  </a:cubicBezTo>
                  <a:cubicBezTo>
                    <a:pt x="15789" y="41280"/>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4" name="Freeform: Shape 2483">
              <a:extLst>
                <a:ext uri="{FF2B5EF4-FFF2-40B4-BE49-F238E27FC236}">
                  <a16:creationId xmlns:a16="http://schemas.microsoft.com/office/drawing/2014/main" id="{F9A91A0C-7D06-4786-B305-6D0D3B9F2D75}"/>
                </a:ext>
              </a:extLst>
            </p:cNvPr>
            <p:cNvSpPr/>
            <p:nvPr/>
          </p:nvSpPr>
          <p:spPr>
            <a:xfrm>
              <a:off x="3904067" y="5460149"/>
              <a:ext cx="56648" cy="56648"/>
            </a:xfrm>
            <a:custGeom>
              <a:avLst/>
              <a:gdLst>
                <a:gd name="connsiteX0" fmla="*/ 39322 w 56647"/>
                <a:gd name="connsiteY0" fmla="*/ 16663 h 56647"/>
                <a:gd name="connsiteX1" fmla="*/ 49235 w 56647"/>
                <a:gd name="connsiteY1" fmla="*/ 39322 h 56647"/>
                <a:gd name="connsiteX2" fmla="*/ 26576 w 56647"/>
                <a:gd name="connsiteY2" fmla="*/ 49235 h 56647"/>
                <a:gd name="connsiteX3" fmla="*/ 16663 w 56647"/>
                <a:gd name="connsiteY3" fmla="*/ 26576 h 56647"/>
                <a:gd name="connsiteX4" fmla="*/ 39322 w 56647"/>
                <a:gd name="connsiteY4" fmla="*/ 1666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9322" y="16663"/>
                  </a:moveTo>
                  <a:cubicBezTo>
                    <a:pt x="47819" y="20911"/>
                    <a:pt x="52068" y="30825"/>
                    <a:pt x="49235" y="39322"/>
                  </a:cubicBezTo>
                  <a:cubicBezTo>
                    <a:pt x="44987" y="47819"/>
                    <a:pt x="35073" y="52068"/>
                    <a:pt x="26576" y="49235"/>
                  </a:cubicBezTo>
                  <a:cubicBezTo>
                    <a:pt x="18079" y="44987"/>
                    <a:pt x="13830" y="35073"/>
                    <a:pt x="16663" y="26576"/>
                  </a:cubicBezTo>
                  <a:cubicBezTo>
                    <a:pt x="19495" y="18079"/>
                    <a:pt x="29409" y="13830"/>
                    <a:pt x="39322" y="1666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5" name="Freeform: Shape 2484">
              <a:extLst>
                <a:ext uri="{FF2B5EF4-FFF2-40B4-BE49-F238E27FC236}">
                  <a16:creationId xmlns:a16="http://schemas.microsoft.com/office/drawing/2014/main" id="{0687A263-B7A8-4CF0-9DDB-8D46D5D9FD49}"/>
                </a:ext>
              </a:extLst>
            </p:cNvPr>
            <p:cNvSpPr/>
            <p:nvPr/>
          </p:nvSpPr>
          <p:spPr>
            <a:xfrm>
              <a:off x="4375117" y="4548996"/>
              <a:ext cx="84971" cy="84971"/>
            </a:xfrm>
            <a:custGeom>
              <a:avLst/>
              <a:gdLst>
                <a:gd name="connsiteX0" fmla="*/ 45529 w 84971"/>
                <a:gd name="connsiteY0" fmla="*/ 15789 h 84971"/>
                <a:gd name="connsiteX1" fmla="*/ 75269 w 84971"/>
                <a:gd name="connsiteY1" fmla="*/ 45529 h 84971"/>
                <a:gd name="connsiteX2" fmla="*/ 45529 w 84971"/>
                <a:gd name="connsiteY2" fmla="*/ 75269 h 84971"/>
                <a:gd name="connsiteX3" fmla="*/ 15789 w 84971"/>
                <a:gd name="connsiteY3" fmla="*/ 45529 h 84971"/>
                <a:gd name="connsiteX4" fmla="*/ 45529 w 84971"/>
                <a:gd name="connsiteY4" fmla="*/ 15789 h 84971"/>
                <a:gd name="connsiteX5" fmla="*/ 45529 w 84971"/>
                <a:gd name="connsiteY5" fmla="*/ 15789 h 84971"/>
                <a:gd name="connsiteX6" fmla="*/ 45529 w 84971"/>
                <a:gd name="connsiteY6" fmla="*/ 28535 h 84971"/>
                <a:gd name="connsiteX7" fmla="*/ 28535 w 84971"/>
                <a:gd name="connsiteY7" fmla="*/ 45529 h 84971"/>
                <a:gd name="connsiteX8" fmla="*/ 45529 w 84971"/>
                <a:gd name="connsiteY8" fmla="*/ 62523 h 84971"/>
                <a:gd name="connsiteX9" fmla="*/ 62523 w 84971"/>
                <a:gd name="connsiteY9" fmla="*/ 45529 h 84971"/>
                <a:gd name="connsiteX10" fmla="*/ 45529 w 84971"/>
                <a:gd name="connsiteY10" fmla="*/ 28535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5529" y="15789"/>
                  </a:moveTo>
                  <a:cubicBezTo>
                    <a:pt x="62523" y="15789"/>
                    <a:pt x="75269" y="29951"/>
                    <a:pt x="75269" y="45529"/>
                  </a:cubicBezTo>
                  <a:cubicBezTo>
                    <a:pt x="75269" y="61107"/>
                    <a:pt x="62523" y="75269"/>
                    <a:pt x="45529" y="75269"/>
                  </a:cubicBezTo>
                  <a:cubicBezTo>
                    <a:pt x="28535" y="75269"/>
                    <a:pt x="15789" y="62523"/>
                    <a:pt x="15789" y="45529"/>
                  </a:cubicBezTo>
                  <a:cubicBezTo>
                    <a:pt x="15789" y="28535"/>
                    <a:pt x="28535" y="15789"/>
                    <a:pt x="45529" y="15789"/>
                  </a:cubicBezTo>
                  <a:lnTo>
                    <a:pt x="45529" y="15789"/>
                  </a:lnTo>
                  <a:close/>
                  <a:moveTo>
                    <a:pt x="45529" y="28535"/>
                  </a:moveTo>
                  <a:cubicBezTo>
                    <a:pt x="35616" y="28535"/>
                    <a:pt x="28535" y="35616"/>
                    <a:pt x="28535" y="45529"/>
                  </a:cubicBezTo>
                  <a:cubicBezTo>
                    <a:pt x="28535" y="55442"/>
                    <a:pt x="35616" y="62523"/>
                    <a:pt x="45529" y="62523"/>
                  </a:cubicBezTo>
                  <a:cubicBezTo>
                    <a:pt x="55442" y="62523"/>
                    <a:pt x="62523" y="55442"/>
                    <a:pt x="62523" y="45529"/>
                  </a:cubicBezTo>
                  <a:cubicBezTo>
                    <a:pt x="62523" y="37032"/>
                    <a:pt x="54026" y="28535"/>
                    <a:pt x="45529" y="2853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6" name="Freeform: Shape 2485">
              <a:extLst>
                <a:ext uri="{FF2B5EF4-FFF2-40B4-BE49-F238E27FC236}">
                  <a16:creationId xmlns:a16="http://schemas.microsoft.com/office/drawing/2014/main" id="{9204CA9F-3564-4967-8B5F-15BF54CD086F}"/>
                </a:ext>
              </a:extLst>
            </p:cNvPr>
            <p:cNvSpPr/>
            <p:nvPr/>
          </p:nvSpPr>
          <p:spPr>
            <a:xfrm>
              <a:off x="4598655" y="4602811"/>
              <a:ext cx="42486" cy="42486"/>
            </a:xfrm>
            <a:custGeom>
              <a:avLst/>
              <a:gdLst>
                <a:gd name="connsiteX0" fmla="*/ 25923 w 42485"/>
                <a:gd name="connsiteY0" fmla="*/ 35616 h 42485"/>
                <a:gd name="connsiteX1" fmla="*/ 35836 w 42485"/>
                <a:gd name="connsiteY1" fmla="*/ 25703 h 42485"/>
                <a:gd name="connsiteX2" fmla="*/ 25923 w 42485"/>
                <a:gd name="connsiteY2" fmla="*/ 15789 h 42485"/>
                <a:gd name="connsiteX3" fmla="*/ 16009 w 42485"/>
                <a:gd name="connsiteY3" fmla="*/ 25703 h 42485"/>
                <a:gd name="connsiteX4" fmla="*/ 2592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923" y="35616"/>
                  </a:moveTo>
                  <a:cubicBezTo>
                    <a:pt x="31587" y="35616"/>
                    <a:pt x="35836" y="31367"/>
                    <a:pt x="35836" y="25703"/>
                  </a:cubicBezTo>
                  <a:cubicBezTo>
                    <a:pt x="35836" y="20037"/>
                    <a:pt x="31587" y="15789"/>
                    <a:pt x="25923" y="15789"/>
                  </a:cubicBezTo>
                  <a:cubicBezTo>
                    <a:pt x="20258" y="15789"/>
                    <a:pt x="16009" y="20037"/>
                    <a:pt x="16009" y="25703"/>
                  </a:cubicBezTo>
                  <a:cubicBezTo>
                    <a:pt x="14593" y="31367"/>
                    <a:pt x="20258" y="35616"/>
                    <a:pt x="2592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7" name="Freeform: Shape 2486">
              <a:extLst>
                <a:ext uri="{FF2B5EF4-FFF2-40B4-BE49-F238E27FC236}">
                  <a16:creationId xmlns:a16="http://schemas.microsoft.com/office/drawing/2014/main" id="{6B806E00-7910-4F58-8090-2574CAF9946F}"/>
                </a:ext>
              </a:extLst>
            </p:cNvPr>
            <p:cNvSpPr/>
            <p:nvPr/>
          </p:nvSpPr>
          <p:spPr>
            <a:xfrm>
              <a:off x="3422020" y="4410209"/>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8"/>
                    <a:pt x="31367" y="15789"/>
                    <a:pt x="25702" y="15789"/>
                  </a:cubicBezTo>
                  <a:cubicBezTo>
                    <a:pt x="20038" y="15789"/>
                    <a:pt x="15789" y="20038"/>
                    <a:pt x="15789" y="25703"/>
                  </a:cubicBezTo>
                  <a:cubicBezTo>
                    <a:pt x="17205" y="31367"/>
                    <a:pt x="21454"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8" name="Freeform: Shape 2487">
              <a:extLst>
                <a:ext uri="{FF2B5EF4-FFF2-40B4-BE49-F238E27FC236}">
                  <a16:creationId xmlns:a16="http://schemas.microsoft.com/office/drawing/2014/main" id="{639210B0-4EAD-49C3-BF94-D46C3335632B}"/>
                </a:ext>
              </a:extLst>
            </p:cNvPr>
            <p:cNvSpPr/>
            <p:nvPr/>
          </p:nvSpPr>
          <p:spPr>
            <a:xfrm>
              <a:off x="4011155" y="4973853"/>
              <a:ext cx="70810" cy="70810"/>
            </a:xfrm>
            <a:custGeom>
              <a:avLst/>
              <a:gdLst>
                <a:gd name="connsiteX0" fmla="*/ 38448 w 70809"/>
                <a:gd name="connsiteY0" fmla="*/ 61107 h 70809"/>
                <a:gd name="connsiteX1" fmla="*/ 61107 w 70809"/>
                <a:gd name="connsiteY1" fmla="*/ 38448 h 70809"/>
                <a:gd name="connsiteX2" fmla="*/ 38448 w 70809"/>
                <a:gd name="connsiteY2" fmla="*/ 15789 h 70809"/>
                <a:gd name="connsiteX3" fmla="*/ 15789 w 70809"/>
                <a:gd name="connsiteY3" fmla="*/ 38448 h 70809"/>
                <a:gd name="connsiteX4" fmla="*/ 3844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8" y="61107"/>
                  </a:moveTo>
                  <a:cubicBezTo>
                    <a:pt x="51194" y="61107"/>
                    <a:pt x="61107" y="51194"/>
                    <a:pt x="61107" y="38448"/>
                  </a:cubicBezTo>
                  <a:cubicBezTo>
                    <a:pt x="61107" y="25702"/>
                    <a:pt x="51194" y="15789"/>
                    <a:pt x="38448" y="15789"/>
                  </a:cubicBezTo>
                  <a:cubicBezTo>
                    <a:pt x="25703" y="15789"/>
                    <a:pt x="15789" y="25702"/>
                    <a:pt x="15789" y="38448"/>
                  </a:cubicBezTo>
                  <a:cubicBezTo>
                    <a:pt x="15789" y="51194"/>
                    <a:pt x="25703" y="61107"/>
                    <a:pt x="38448"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9" name="Freeform: Shape 2488">
              <a:extLst>
                <a:ext uri="{FF2B5EF4-FFF2-40B4-BE49-F238E27FC236}">
                  <a16:creationId xmlns:a16="http://schemas.microsoft.com/office/drawing/2014/main" id="{2FA05DF7-A917-4159-A674-32C757F2CC55}"/>
                </a:ext>
              </a:extLst>
            </p:cNvPr>
            <p:cNvSpPr/>
            <p:nvPr/>
          </p:nvSpPr>
          <p:spPr>
            <a:xfrm>
              <a:off x="3640113" y="4017925"/>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0" y="49777"/>
                    <a:pt x="49778" y="42697"/>
                    <a:pt x="49778" y="32783"/>
                  </a:cubicBezTo>
                  <a:cubicBezTo>
                    <a:pt x="49778" y="24286"/>
                    <a:pt x="42697" y="15789"/>
                    <a:pt x="32783" y="15789"/>
                  </a:cubicBezTo>
                  <a:cubicBezTo>
                    <a:pt x="22870" y="15789"/>
                    <a:pt x="15789" y="22870"/>
                    <a:pt x="15789" y="32783"/>
                  </a:cubicBezTo>
                  <a:cubicBezTo>
                    <a:pt x="15789" y="41280"/>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0" name="Freeform: Shape 2489">
              <a:extLst>
                <a:ext uri="{FF2B5EF4-FFF2-40B4-BE49-F238E27FC236}">
                  <a16:creationId xmlns:a16="http://schemas.microsoft.com/office/drawing/2014/main" id="{7EABA76D-6C88-4D0D-A821-F4547388E572}"/>
                </a:ext>
              </a:extLst>
            </p:cNvPr>
            <p:cNvSpPr/>
            <p:nvPr/>
          </p:nvSpPr>
          <p:spPr>
            <a:xfrm>
              <a:off x="3593379" y="3842317"/>
              <a:ext cx="113295" cy="113295"/>
            </a:xfrm>
            <a:custGeom>
              <a:avLst/>
              <a:gdLst>
                <a:gd name="connsiteX0" fmla="*/ 56859 w 113295"/>
                <a:gd name="connsiteY0" fmla="*/ 97928 h 113295"/>
                <a:gd name="connsiteX1" fmla="*/ 97928 w 113295"/>
                <a:gd name="connsiteY1" fmla="*/ 56858 h 113295"/>
                <a:gd name="connsiteX2" fmla="*/ 56859 w 113295"/>
                <a:gd name="connsiteY2" fmla="*/ 15789 h 113295"/>
                <a:gd name="connsiteX3" fmla="*/ 15789 w 113295"/>
                <a:gd name="connsiteY3" fmla="*/ 56858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8" y="79518"/>
                    <a:pt x="97928" y="56858"/>
                  </a:cubicBezTo>
                  <a:cubicBezTo>
                    <a:pt x="97928" y="34200"/>
                    <a:pt x="79518" y="15789"/>
                    <a:pt x="56859" y="15789"/>
                  </a:cubicBezTo>
                  <a:cubicBezTo>
                    <a:pt x="34200" y="15789"/>
                    <a:pt x="15789" y="34200"/>
                    <a:pt x="15789" y="56858"/>
                  </a:cubicBezTo>
                  <a:cubicBezTo>
                    <a:pt x="15789" y="79518"/>
                    <a:pt x="34200" y="97928"/>
                    <a:pt x="56859"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1" name="Freeform: Shape 2490">
              <a:extLst>
                <a:ext uri="{FF2B5EF4-FFF2-40B4-BE49-F238E27FC236}">
                  <a16:creationId xmlns:a16="http://schemas.microsoft.com/office/drawing/2014/main" id="{A1120AEF-9182-4D25-91F0-85B196C355ED}"/>
                </a:ext>
              </a:extLst>
            </p:cNvPr>
            <p:cNvSpPr/>
            <p:nvPr/>
          </p:nvSpPr>
          <p:spPr>
            <a:xfrm>
              <a:off x="4016820" y="4363475"/>
              <a:ext cx="99133" cy="99133"/>
            </a:xfrm>
            <a:custGeom>
              <a:avLst/>
              <a:gdLst>
                <a:gd name="connsiteX0" fmla="*/ 49778 w 99133"/>
                <a:gd name="connsiteY0" fmla="*/ 83766 h 99133"/>
                <a:gd name="connsiteX1" fmla="*/ 83766 w 99133"/>
                <a:gd name="connsiteY1" fmla="*/ 49777 h 99133"/>
                <a:gd name="connsiteX2" fmla="*/ 49778 w 99133"/>
                <a:gd name="connsiteY2" fmla="*/ 15789 h 99133"/>
                <a:gd name="connsiteX3" fmla="*/ 15789 w 99133"/>
                <a:gd name="connsiteY3" fmla="*/ 49777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7"/>
                  </a:cubicBezTo>
                  <a:cubicBezTo>
                    <a:pt x="83766" y="31367"/>
                    <a:pt x="68188" y="15789"/>
                    <a:pt x="49778" y="15789"/>
                  </a:cubicBezTo>
                  <a:cubicBezTo>
                    <a:pt x="31367" y="15789"/>
                    <a:pt x="15789" y="31367"/>
                    <a:pt x="15789" y="49777"/>
                  </a:cubicBezTo>
                  <a:cubicBezTo>
                    <a:pt x="15789" y="69604"/>
                    <a:pt x="31367" y="83766"/>
                    <a:pt x="49778" y="8376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2" name="Freeform: Shape 2491">
              <a:extLst>
                <a:ext uri="{FF2B5EF4-FFF2-40B4-BE49-F238E27FC236}">
                  <a16:creationId xmlns:a16="http://schemas.microsoft.com/office/drawing/2014/main" id="{E4B8E5D2-6A66-4BF1-858B-57A52879A1F2}"/>
                </a:ext>
              </a:extLst>
            </p:cNvPr>
            <p:cNvSpPr/>
            <p:nvPr/>
          </p:nvSpPr>
          <p:spPr>
            <a:xfrm>
              <a:off x="4002103" y="5552520"/>
              <a:ext cx="42486" cy="42486"/>
            </a:xfrm>
            <a:custGeom>
              <a:avLst/>
              <a:gdLst>
                <a:gd name="connsiteX0" fmla="*/ 24842 w 42485"/>
                <a:gd name="connsiteY0" fmla="*/ 16345 h 42485"/>
                <a:gd name="connsiteX1" fmla="*/ 27674 w 42485"/>
                <a:gd name="connsiteY1" fmla="*/ 24842 h 42485"/>
                <a:gd name="connsiteX2" fmla="*/ 19177 w 42485"/>
                <a:gd name="connsiteY2" fmla="*/ 27674 h 42485"/>
                <a:gd name="connsiteX3" fmla="*/ 16345 w 42485"/>
                <a:gd name="connsiteY3" fmla="*/ 19177 h 42485"/>
                <a:gd name="connsiteX4" fmla="*/ 24842 w 42485"/>
                <a:gd name="connsiteY4" fmla="*/ 1634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6345"/>
                  </a:moveTo>
                  <a:cubicBezTo>
                    <a:pt x="27674" y="17761"/>
                    <a:pt x="29090" y="22009"/>
                    <a:pt x="27674" y="24842"/>
                  </a:cubicBezTo>
                  <a:cubicBezTo>
                    <a:pt x="26258" y="27674"/>
                    <a:pt x="22009" y="29090"/>
                    <a:pt x="19177" y="27674"/>
                  </a:cubicBezTo>
                  <a:cubicBezTo>
                    <a:pt x="16345" y="26258"/>
                    <a:pt x="14928" y="22009"/>
                    <a:pt x="16345" y="19177"/>
                  </a:cubicBezTo>
                  <a:cubicBezTo>
                    <a:pt x="17761" y="16345"/>
                    <a:pt x="20593" y="14928"/>
                    <a:pt x="24842" y="163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3" name="Freeform: Shape 2492">
              <a:extLst>
                <a:ext uri="{FF2B5EF4-FFF2-40B4-BE49-F238E27FC236}">
                  <a16:creationId xmlns:a16="http://schemas.microsoft.com/office/drawing/2014/main" id="{25396C25-05D8-4996-BADA-B53B594757EB}"/>
                </a:ext>
              </a:extLst>
            </p:cNvPr>
            <p:cNvSpPr/>
            <p:nvPr/>
          </p:nvSpPr>
          <p:spPr>
            <a:xfrm>
              <a:off x="3839845" y="5601274"/>
              <a:ext cx="56648" cy="56648"/>
            </a:xfrm>
            <a:custGeom>
              <a:avLst/>
              <a:gdLst>
                <a:gd name="connsiteX0" fmla="*/ 35567 w 56647"/>
                <a:gd name="connsiteY0" fmla="*/ 17157 h 56647"/>
                <a:gd name="connsiteX1" fmla="*/ 41232 w 56647"/>
                <a:gd name="connsiteY1" fmla="*/ 35567 h 56647"/>
                <a:gd name="connsiteX2" fmla="*/ 22822 w 56647"/>
                <a:gd name="connsiteY2" fmla="*/ 41232 h 56647"/>
                <a:gd name="connsiteX3" fmla="*/ 17157 w 56647"/>
                <a:gd name="connsiteY3" fmla="*/ 22821 h 56647"/>
                <a:gd name="connsiteX4" fmla="*/ 35567 w 56647"/>
                <a:gd name="connsiteY4" fmla="*/ 1715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567" y="17157"/>
                  </a:moveTo>
                  <a:cubicBezTo>
                    <a:pt x="42648" y="19989"/>
                    <a:pt x="44064" y="28486"/>
                    <a:pt x="41232" y="35567"/>
                  </a:cubicBezTo>
                  <a:cubicBezTo>
                    <a:pt x="38400" y="42648"/>
                    <a:pt x="29902" y="44064"/>
                    <a:pt x="22822" y="41232"/>
                  </a:cubicBezTo>
                  <a:cubicBezTo>
                    <a:pt x="15741" y="38400"/>
                    <a:pt x="14324" y="29902"/>
                    <a:pt x="17157" y="22821"/>
                  </a:cubicBezTo>
                  <a:cubicBezTo>
                    <a:pt x="21405" y="15741"/>
                    <a:pt x="29902" y="14324"/>
                    <a:pt x="35567" y="1715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4" name="Freeform: Shape 2493">
              <a:extLst>
                <a:ext uri="{FF2B5EF4-FFF2-40B4-BE49-F238E27FC236}">
                  <a16:creationId xmlns:a16="http://schemas.microsoft.com/office/drawing/2014/main" id="{B41F9F4B-E589-4973-AA1E-875784BAA85D}"/>
                </a:ext>
              </a:extLst>
            </p:cNvPr>
            <p:cNvSpPr/>
            <p:nvPr/>
          </p:nvSpPr>
          <p:spPr>
            <a:xfrm>
              <a:off x="4230297" y="4715738"/>
              <a:ext cx="42486" cy="42486"/>
            </a:xfrm>
            <a:custGeom>
              <a:avLst/>
              <a:gdLst>
                <a:gd name="connsiteX0" fmla="*/ 23238 w 42485"/>
                <a:gd name="connsiteY0" fmla="*/ 16157 h 42485"/>
                <a:gd name="connsiteX1" fmla="*/ 28903 w 42485"/>
                <a:gd name="connsiteY1" fmla="*/ 23238 h 42485"/>
                <a:gd name="connsiteX2" fmla="*/ 21822 w 42485"/>
                <a:gd name="connsiteY2" fmla="*/ 28903 h 42485"/>
                <a:gd name="connsiteX3" fmla="*/ 16157 w 42485"/>
                <a:gd name="connsiteY3" fmla="*/ 21822 h 42485"/>
                <a:gd name="connsiteX4" fmla="*/ 23238 w 42485"/>
                <a:gd name="connsiteY4" fmla="*/ 16157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6157"/>
                  </a:moveTo>
                  <a:cubicBezTo>
                    <a:pt x="27487" y="16157"/>
                    <a:pt x="30319" y="20406"/>
                    <a:pt x="28903" y="23238"/>
                  </a:cubicBezTo>
                  <a:cubicBezTo>
                    <a:pt x="28903" y="27487"/>
                    <a:pt x="24655" y="30319"/>
                    <a:pt x="21822" y="28903"/>
                  </a:cubicBezTo>
                  <a:cubicBezTo>
                    <a:pt x="17574" y="28903"/>
                    <a:pt x="14741" y="24655"/>
                    <a:pt x="16157" y="21822"/>
                  </a:cubicBezTo>
                  <a:cubicBezTo>
                    <a:pt x="16157" y="17574"/>
                    <a:pt x="20406" y="14741"/>
                    <a:pt x="23238" y="1615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5" name="Freeform: Shape 2494">
              <a:extLst>
                <a:ext uri="{FF2B5EF4-FFF2-40B4-BE49-F238E27FC236}">
                  <a16:creationId xmlns:a16="http://schemas.microsoft.com/office/drawing/2014/main" id="{697A99D1-8DA3-4D19-B473-D1B7BCD5E4F6}"/>
                </a:ext>
              </a:extLst>
            </p:cNvPr>
            <p:cNvSpPr/>
            <p:nvPr/>
          </p:nvSpPr>
          <p:spPr>
            <a:xfrm>
              <a:off x="3635309" y="5975961"/>
              <a:ext cx="42486" cy="42486"/>
            </a:xfrm>
            <a:custGeom>
              <a:avLst/>
              <a:gdLst>
                <a:gd name="connsiteX0" fmla="*/ 24842 w 42485"/>
                <a:gd name="connsiteY0" fmla="*/ 16345 h 42485"/>
                <a:gd name="connsiteX1" fmla="*/ 27674 w 42485"/>
                <a:gd name="connsiteY1" fmla="*/ 24842 h 42485"/>
                <a:gd name="connsiteX2" fmla="*/ 19177 w 42485"/>
                <a:gd name="connsiteY2" fmla="*/ 27674 h 42485"/>
                <a:gd name="connsiteX3" fmla="*/ 16345 w 42485"/>
                <a:gd name="connsiteY3" fmla="*/ 19177 h 42485"/>
                <a:gd name="connsiteX4" fmla="*/ 24842 w 42485"/>
                <a:gd name="connsiteY4" fmla="*/ 1634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6345"/>
                  </a:moveTo>
                  <a:cubicBezTo>
                    <a:pt x="27674" y="17761"/>
                    <a:pt x="29090" y="22009"/>
                    <a:pt x="27674" y="24842"/>
                  </a:cubicBezTo>
                  <a:cubicBezTo>
                    <a:pt x="26258" y="27674"/>
                    <a:pt x="22009" y="29090"/>
                    <a:pt x="19177" y="27674"/>
                  </a:cubicBezTo>
                  <a:cubicBezTo>
                    <a:pt x="16345" y="26258"/>
                    <a:pt x="14928" y="22009"/>
                    <a:pt x="16345" y="19177"/>
                  </a:cubicBezTo>
                  <a:cubicBezTo>
                    <a:pt x="17761" y="16345"/>
                    <a:pt x="22009" y="14928"/>
                    <a:pt x="24842" y="163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6" name="Freeform: Shape 2495">
              <a:extLst>
                <a:ext uri="{FF2B5EF4-FFF2-40B4-BE49-F238E27FC236}">
                  <a16:creationId xmlns:a16="http://schemas.microsoft.com/office/drawing/2014/main" id="{6D8C0496-5F71-49A0-8A37-8DE18ED64521}"/>
                </a:ext>
              </a:extLst>
            </p:cNvPr>
            <p:cNvSpPr/>
            <p:nvPr/>
          </p:nvSpPr>
          <p:spPr>
            <a:xfrm>
              <a:off x="3781177" y="5907066"/>
              <a:ext cx="42486" cy="42486"/>
            </a:xfrm>
            <a:custGeom>
              <a:avLst/>
              <a:gdLst>
                <a:gd name="connsiteX0" fmla="*/ 24842 w 42485"/>
                <a:gd name="connsiteY0" fmla="*/ 17263 h 42485"/>
                <a:gd name="connsiteX1" fmla="*/ 27674 w 42485"/>
                <a:gd name="connsiteY1" fmla="*/ 25759 h 42485"/>
                <a:gd name="connsiteX2" fmla="*/ 19177 w 42485"/>
                <a:gd name="connsiteY2" fmla="*/ 28592 h 42485"/>
                <a:gd name="connsiteX3" fmla="*/ 16345 w 42485"/>
                <a:gd name="connsiteY3" fmla="*/ 20095 h 42485"/>
                <a:gd name="connsiteX4" fmla="*/ 24842 w 42485"/>
                <a:gd name="connsiteY4" fmla="*/ 1726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7263"/>
                  </a:moveTo>
                  <a:cubicBezTo>
                    <a:pt x="27674" y="18679"/>
                    <a:pt x="29090" y="22927"/>
                    <a:pt x="27674" y="25759"/>
                  </a:cubicBezTo>
                  <a:cubicBezTo>
                    <a:pt x="26258" y="28592"/>
                    <a:pt x="22009" y="30008"/>
                    <a:pt x="19177" y="28592"/>
                  </a:cubicBezTo>
                  <a:cubicBezTo>
                    <a:pt x="16345" y="27176"/>
                    <a:pt x="14928" y="22927"/>
                    <a:pt x="16345" y="20095"/>
                  </a:cubicBezTo>
                  <a:cubicBezTo>
                    <a:pt x="16345" y="15846"/>
                    <a:pt x="20593" y="14430"/>
                    <a:pt x="24842" y="1726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7" name="Freeform: Shape 2496">
              <a:extLst>
                <a:ext uri="{FF2B5EF4-FFF2-40B4-BE49-F238E27FC236}">
                  <a16:creationId xmlns:a16="http://schemas.microsoft.com/office/drawing/2014/main" id="{37FDCFFE-B20C-4FC7-83F9-011B22002EB5}"/>
                </a:ext>
              </a:extLst>
            </p:cNvPr>
            <p:cNvSpPr/>
            <p:nvPr/>
          </p:nvSpPr>
          <p:spPr>
            <a:xfrm>
              <a:off x="4138613" y="4674766"/>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3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4"/>
                    <a:pt x="31367" y="37303"/>
                    <a:pt x="25703" y="37303"/>
                  </a:cubicBezTo>
                  <a:cubicBezTo>
                    <a:pt x="20038" y="37303"/>
                    <a:pt x="15789" y="31639"/>
                    <a:pt x="15789" y="25973"/>
                  </a:cubicBezTo>
                  <a:cubicBezTo>
                    <a:pt x="15789" y="18893"/>
                    <a:pt x="21454" y="14644"/>
                    <a:pt x="27119"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8" name="Freeform: Shape 2497">
              <a:extLst>
                <a:ext uri="{FF2B5EF4-FFF2-40B4-BE49-F238E27FC236}">
                  <a16:creationId xmlns:a16="http://schemas.microsoft.com/office/drawing/2014/main" id="{5F7F3C7D-C5E8-4A48-865B-21F01A0BF538}"/>
                </a:ext>
              </a:extLst>
            </p:cNvPr>
            <p:cNvSpPr/>
            <p:nvPr/>
          </p:nvSpPr>
          <p:spPr>
            <a:xfrm>
              <a:off x="3618716" y="4455374"/>
              <a:ext cx="70810" cy="70810"/>
            </a:xfrm>
            <a:custGeom>
              <a:avLst/>
              <a:gdLst>
                <a:gd name="connsiteX0" fmla="*/ 40018 w 70809"/>
                <a:gd name="connsiteY0" fmla="*/ 15943 h 70809"/>
                <a:gd name="connsiteX1" fmla="*/ 59845 w 70809"/>
                <a:gd name="connsiteY1" fmla="*/ 40018 h 70809"/>
                <a:gd name="connsiteX2" fmla="*/ 35770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2"/>
                    <a:pt x="59845" y="40018"/>
                  </a:cubicBezTo>
                  <a:cubicBezTo>
                    <a:pt x="58429" y="52764"/>
                    <a:pt x="48515" y="61261"/>
                    <a:pt x="35770" y="59845"/>
                  </a:cubicBezTo>
                  <a:cubicBezTo>
                    <a:pt x="23024" y="58429"/>
                    <a:pt x="14527" y="48515"/>
                    <a:pt x="15943" y="35769"/>
                  </a:cubicBezTo>
                  <a:cubicBezTo>
                    <a:pt x="15943" y="23024"/>
                    <a:pt x="27272" y="14527"/>
                    <a:pt x="40018" y="159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9" name="Freeform: Shape 2498">
              <a:extLst>
                <a:ext uri="{FF2B5EF4-FFF2-40B4-BE49-F238E27FC236}">
                  <a16:creationId xmlns:a16="http://schemas.microsoft.com/office/drawing/2014/main" id="{43A99B27-D64A-47B2-B944-0EFC864D52B2}"/>
                </a:ext>
              </a:extLst>
            </p:cNvPr>
            <p:cNvSpPr/>
            <p:nvPr/>
          </p:nvSpPr>
          <p:spPr>
            <a:xfrm>
              <a:off x="4342437" y="4761306"/>
              <a:ext cx="84971" cy="84971"/>
            </a:xfrm>
            <a:custGeom>
              <a:avLst/>
              <a:gdLst>
                <a:gd name="connsiteX0" fmla="*/ 49885 w 84971"/>
                <a:gd name="connsiteY0" fmla="*/ 15908 h 84971"/>
                <a:gd name="connsiteX1" fmla="*/ 78209 w 84971"/>
                <a:gd name="connsiteY1" fmla="*/ 49897 h 84971"/>
                <a:gd name="connsiteX2" fmla="*/ 44220 w 84971"/>
                <a:gd name="connsiteY2" fmla="*/ 78220 h 84971"/>
                <a:gd name="connsiteX3" fmla="*/ 15897 w 84971"/>
                <a:gd name="connsiteY3" fmla="*/ 44232 h 84971"/>
                <a:gd name="connsiteX4" fmla="*/ 49885 w 84971"/>
                <a:gd name="connsiteY4" fmla="*/ 15908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9885" y="15908"/>
                  </a:moveTo>
                  <a:cubicBezTo>
                    <a:pt x="66879" y="17324"/>
                    <a:pt x="79625" y="32902"/>
                    <a:pt x="78209" y="49897"/>
                  </a:cubicBezTo>
                  <a:cubicBezTo>
                    <a:pt x="76793" y="66891"/>
                    <a:pt x="61215" y="79637"/>
                    <a:pt x="44220" y="78220"/>
                  </a:cubicBezTo>
                  <a:cubicBezTo>
                    <a:pt x="27226" y="76804"/>
                    <a:pt x="14480" y="61226"/>
                    <a:pt x="15897" y="44232"/>
                  </a:cubicBezTo>
                  <a:cubicBezTo>
                    <a:pt x="17313" y="25821"/>
                    <a:pt x="32891" y="14492"/>
                    <a:pt x="49885" y="1590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0" name="Freeform: Shape 2499">
              <a:extLst>
                <a:ext uri="{FF2B5EF4-FFF2-40B4-BE49-F238E27FC236}">
                  <a16:creationId xmlns:a16="http://schemas.microsoft.com/office/drawing/2014/main" id="{65629D3D-2879-45A0-81E2-2164BF75FEDA}"/>
                </a:ext>
              </a:extLst>
            </p:cNvPr>
            <p:cNvSpPr/>
            <p:nvPr/>
          </p:nvSpPr>
          <p:spPr>
            <a:xfrm>
              <a:off x="3491708" y="6386091"/>
              <a:ext cx="70810" cy="70810"/>
            </a:xfrm>
            <a:custGeom>
              <a:avLst/>
              <a:gdLst>
                <a:gd name="connsiteX0" fmla="*/ 48066 w 70809"/>
                <a:gd name="connsiteY0" fmla="*/ 18326 h 70809"/>
                <a:gd name="connsiteX1" fmla="*/ 56564 w 70809"/>
                <a:gd name="connsiteY1" fmla="*/ 48066 h 70809"/>
                <a:gd name="connsiteX2" fmla="*/ 26823 w 70809"/>
                <a:gd name="connsiteY2" fmla="*/ 56563 h 70809"/>
                <a:gd name="connsiteX3" fmla="*/ 18326 w 70809"/>
                <a:gd name="connsiteY3" fmla="*/ 26823 h 70809"/>
                <a:gd name="connsiteX4" fmla="*/ 48066 w 70809"/>
                <a:gd name="connsiteY4" fmla="*/ 18326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8066" y="18326"/>
                  </a:moveTo>
                  <a:cubicBezTo>
                    <a:pt x="59396" y="23991"/>
                    <a:pt x="62228" y="38153"/>
                    <a:pt x="56564" y="48066"/>
                  </a:cubicBezTo>
                  <a:cubicBezTo>
                    <a:pt x="50899" y="59396"/>
                    <a:pt x="36737" y="62228"/>
                    <a:pt x="26823" y="56563"/>
                  </a:cubicBezTo>
                  <a:cubicBezTo>
                    <a:pt x="16910" y="50898"/>
                    <a:pt x="12662" y="36737"/>
                    <a:pt x="18326" y="26823"/>
                  </a:cubicBezTo>
                  <a:cubicBezTo>
                    <a:pt x="23991" y="16910"/>
                    <a:pt x="36737" y="12662"/>
                    <a:pt x="48066" y="1832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1" name="Freeform: Shape 2500">
              <a:extLst>
                <a:ext uri="{FF2B5EF4-FFF2-40B4-BE49-F238E27FC236}">
                  <a16:creationId xmlns:a16="http://schemas.microsoft.com/office/drawing/2014/main" id="{7CD791DB-87C6-41FD-8DD7-8E4B63AA3597}"/>
                </a:ext>
              </a:extLst>
            </p:cNvPr>
            <p:cNvSpPr/>
            <p:nvPr/>
          </p:nvSpPr>
          <p:spPr>
            <a:xfrm>
              <a:off x="4234824" y="4227431"/>
              <a:ext cx="99133" cy="99133"/>
            </a:xfrm>
            <a:custGeom>
              <a:avLst/>
              <a:gdLst>
                <a:gd name="connsiteX0" fmla="*/ 55532 w 99133"/>
                <a:gd name="connsiteY0" fmla="*/ 15878 h 99133"/>
                <a:gd name="connsiteX1" fmla="*/ 89520 w 99133"/>
                <a:gd name="connsiteY1" fmla="*/ 55532 h 99133"/>
                <a:gd name="connsiteX2" fmla="*/ 49867 w 99133"/>
                <a:gd name="connsiteY2" fmla="*/ 89521 h 99133"/>
                <a:gd name="connsiteX3" fmla="*/ 15878 w 99133"/>
                <a:gd name="connsiteY3" fmla="*/ 49867 h 99133"/>
                <a:gd name="connsiteX4" fmla="*/ 55532 w 99133"/>
                <a:gd name="connsiteY4" fmla="*/ 15878 h 99133"/>
                <a:gd name="connsiteX5" fmla="*/ 55532 w 99133"/>
                <a:gd name="connsiteY5" fmla="*/ 15878 h 99133"/>
                <a:gd name="connsiteX6" fmla="*/ 54116 w 99133"/>
                <a:gd name="connsiteY6" fmla="*/ 32873 h 99133"/>
                <a:gd name="connsiteX7" fmla="*/ 31457 w 99133"/>
                <a:gd name="connsiteY7" fmla="*/ 51283 h 99133"/>
                <a:gd name="connsiteX8" fmla="*/ 49867 w 99133"/>
                <a:gd name="connsiteY8" fmla="*/ 73942 h 99133"/>
                <a:gd name="connsiteX9" fmla="*/ 72526 w 99133"/>
                <a:gd name="connsiteY9" fmla="*/ 55532 h 99133"/>
                <a:gd name="connsiteX10" fmla="*/ 54116 w 99133"/>
                <a:gd name="connsiteY10" fmla="*/ 32873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55532" y="15878"/>
                  </a:moveTo>
                  <a:cubicBezTo>
                    <a:pt x="75358" y="17295"/>
                    <a:pt x="90937" y="35705"/>
                    <a:pt x="89520" y="55532"/>
                  </a:cubicBezTo>
                  <a:cubicBezTo>
                    <a:pt x="88104" y="75359"/>
                    <a:pt x="69694" y="90936"/>
                    <a:pt x="49867" y="89521"/>
                  </a:cubicBezTo>
                  <a:cubicBezTo>
                    <a:pt x="30040" y="88104"/>
                    <a:pt x="14462" y="69694"/>
                    <a:pt x="15878" y="49867"/>
                  </a:cubicBezTo>
                  <a:cubicBezTo>
                    <a:pt x="17295" y="30040"/>
                    <a:pt x="34289" y="14462"/>
                    <a:pt x="55532" y="15878"/>
                  </a:cubicBezTo>
                  <a:lnTo>
                    <a:pt x="55532" y="15878"/>
                  </a:lnTo>
                  <a:close/>
                  <a:moveTo>
                    <a:pt x="54116" y="32873"/>
                  </a:moveTo>
                  <a:cubicBezTo>
                    <a:pt x="42786" y="31457"/>
                    <a:pt x="32873" y="39954"/>
                    <a:pt x="31457" y="51283"/>
                  </a:cubicBezTo>
                  <a:cubicBezTo>
                    <a:pt x="30040" y="62613"/>
                    <a:pt x="38538" y="72526"/>
                    <a:pt x="49867" y="73942"/>
                  </a:cubicBezTo>
                  <a:cubicBezTo>
                    <a:pt x="61197" y="75359"/>
                    <a:pt x="71110" y="66861"/>
                    <a:pt x="72526" y="55532"/>
                  </a:cubicBezTo>
                  <a:cubicBezTo>
                    <a:pt x="73942" y="44202"/>
                    <a:pt x="65445" y="34289"/>
                    <a:pt x="54116" y="3287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2" name="Freeform: Shape 2501">
              <a:extLst>
                <a:ext uri="{FF2B5EF4-FFF2-40B4-BE49-F238E27FC236}">
                  <a16:creationId xmlns:a16="http://schemas.microsoft.com/office/drawing/2014/main" id="{314F15E1-241A-434D-9248-A4466E269EB2}"/>
                </a:ext>
              </a:extLst>
            </p:cNvPr>
            <p:cNvSpPr/>
            <p:nvPr/>
          </p:nvSpPr>
          <p:spPr>
            <a:xfrm>
              <a:off x="3892040" y="4962369"/>
              <a:ext cx="56648" cy="56648"/>
            </a:xfrm>
            <a:custGeom>
              <a:avLst/>
              <a:gdLst>
                <a:gd name="connsiteX0" fmla="*/ 35771 w 56647"/>
                <a:gd name="connsiteY0" fmla="*/ 15944 h 56647"/>
                <a:gd name="connsiteX1" fmla="*/ 52765 w 56647"/>
                <a:gd name="connsiteY1" fmla="*/ 35771 h 56647"/>
                <a:gd name="connsiteX2" fmla="*/ 32938 w 56647"/>
                <a:gd name="connsiteY2" fmla="*/ 52765 h 56647"/>
                <a:gd name="connsiteX3" fmla="*/ 15944 w 56647"/>
                <a:gd name="connsiteY3" fmla="*/ 32938 h 56647"/>
                <a:gd name="connsiteX4" fmla="*/ 35771 w 56647"/>
                <a:gd name="connsiteY4" fmla="*/ 1594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44"/>
                  </a:moveTo>
                  <a:cubicBezTo>
                    <a:pt x="45684" y="17360"/>
                    <a:pt x="54181" y="25858"/>
                    <a:pt x="52765" y="35771"/>
                  </a:cubicBezTo>
                  <a:cubicBezTo>
                    <a:pt x="51349" y="45684"/>
                    <a:pt x="42852" y="54181"/>
                    <a:pt x="32938" y="52765"/>
                  </a:cubicBezTo>
                  <a:cubicBezTo>
                    <a:pt x="23025" y="51349"/>
                    <a:pt x="14528" y="42852"/>
                    <a:pt x="15944" y="32938"/>
                  </a:cubicBezTo>
                  <a:cubicBezTo>
                    <a:pt x="15944" y="23025"/>
                    <a:pt x="25857" y="14528"/>
                    <a:pt x="35771" y="1594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3" name="Freeform: Shape 2502">
              <a:extLst>
                <a:ext uri="{FF2B5EF4-FFF2-40B4-BE49-F238E27FC236}">
                  <a16:creationId xmlns:a16="http://schemas.microsoft.com/office/drawing/2014/main" id="{5EC96930-519A-4069-B211-4E2865DBD98E}"/>
                </a:ext>
              </a:extLst>
            </p:cNvPr>
            <p:cNvSpPr/>
            <p:nvPr/>
          </p:nvSpPr>
          <p:spPr>
            <a:xfrm>
              <a:off x="3610219" y="4735779"/>
              <a:ext cx="70810" cy="70810"/>
            </a:xfrm>
            <a:custGeom>
              <a:avLst/>
              <a:gdLst>
                <a:gd name="connsiteX0" fmla="*/ 40018 w 70809"/>
                <a:gd name="connsiteY0" fmla="*/ 15943 h 70809"/>
                <a:gd name="connsiteX1" fmla="*/ 59845 w 70809"/>
                <a:gd name="connsiteY1" fmla="*/ 40018 h 70809"/>
                <a:gd name="connsiteX2" fmla="*/ 35769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3"/>
                    <a:pt x="59845" y="40018"/>
                  </a:cubicBezTo>
                  <a:cubicBezTo>
                    <a:pt x="58429" y="52764"/>
                    <a:pt x="48515" y="61261"/>
                    <a:pt x="35769" y="59845"/>
                  </a:cubicBezTo>
                  <a:cubicBezTo>
                    <a:pt x="23024" y="58429"/>
                    <a:pt x="14527" y="48516"/>
                    <a:pt x="15943" y="35769"/>
                  </a:cubicBezTo>
                  <a:cubicBezTo>
                    <a:pt x="17359" y="23024"/>
                    <a:pt x="28689" y="14527"/>
                    <a:pt x="40018" y="159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4" name="Freeform: Shape 2503">
              <a:extLst>
                <a:ext uri="{FF2B5EF4-FFF2-40B4-BE49-F238E27FC236}">
                  <a16:creationId xmlns:a16="http://schemas.microsoft.com/office/drawing/2014/main" id="{80A7577B-F200-41FE-AB12-CAD998E535DF}"/>
                </a:ext>
              </a:extLst>
            </p:cNvPr>
            <p:cNvSpPr/>
            <p:nvPr/>
          </p:nvSpPr>
          <p:spPr>
            <a:xfrm>
              <a:off x="3713755" y="4622638"/>
              <a:ext cx="28324" cy="28324"/>
            </a:xfrm>
            <a:custGeom>
              <a:avLst/>
              <a:gdLst>
                <a:gd name="connsiteX0" fmla="*/ 21454 w 28323"/>
                <a:gd name="connsiteY0" fmla="*/ 15789 h 28323"/>
                <a:gd name="connsiteX1" fmla="*/ 25703 w 28323"/>
                <a:gd name="connsiteY1" fmla="*/ 21454 h 28323"/>
                <a:gd name="connsiteX2" fmla="*/ 20038 w 28323"/>
                <a:gd name="connsiteY2" fmla="*/ 25703 h 28323"/>
                <a:gd name="connsiteX3" fmla="*/ 15789 w 28323"/>
                <a:gd name="connsiteY3" fmla="*/ 20038 h 28323"/>
                <a:gd name="connsiteX4" fmla="*/ 21454 w 28323"/>
                <a:gd name="connsiteY4" fmla="*/ 15789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1454" y="15789"/>
                  </a:moveTo>
                  <a:cubicBezTo>
                    <a:pt x="24286" y="15789"/>
                    <a:pt x="25703" y="18622"/>
                    <a:pt x="25703" y="21454"/>
                  </a:cubicBezTo>
                  <a:cubicBezTo>
                    <a:pt x="25703" y="24286"/>
                    <a:pt x="22870" y="25703"/>
                    <a:pt x="20038" y="25703"/>
                  </a:cubicBezTo>
                  <a:cubicBezTo>
                    <a:pt x="17205" y="25703"/>
                    <a:pt x="15789" y="22870"/>
                    <a:pt x="15789" y="20038"/>
                  </a:cubicBezTo>
                  <a:cubicBezTo>
                    <a:pt x="15789" y="17205"/>
                    <a:pt x="18622" y="15789"/>
                    <a:pt x="21454"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5" name="Freeform: Shape 2504">
              <a:extLst>
                <a:ext uri="{FF2B5EF4-FFF2-40B4-BE49-F238E27FC236}">
                  <a16:creationId xmlns:a16="http://schemas.microsoft.com/office/drawing/2014/main" id="{D804F353-F51F-4512-865B-B956416400F7}"/>
                </a:ext>
              </a:extLst>
            </p:cNvPr>
            <p:cNvSpPr/>
            <p:nvPr/>
          </p:nvSpPr>
          <p:spPr>
            <a:xfrm>
              <a:off x="3628784" y="4888611"/>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3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4"/>
                    <a:pt x="31367" y="37303"/>
                    <a:pt x="25703" y="37303"/>
                  </a:cubicBezTo>
                  <a:cubicBezTo>
                    <a:pt x="20038" y="37303"/>
                    <a:pt x="15789" y="31638"/>
                    <a:pt x="15789" y="25973"/>
                  </a:cubicBezTo>
                  <a:cubicBezTo>
                    <a:pt x="15789" y="18893"/>
                    <a:pt x="21454" y="14644"/>
                    <a:pt x="27119"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6" name="Freeform: Shape 2505">
              <a:extLst>
                <a:ext uri="{FF2B5EF4-FFF2-40B4-BE49-F238E27FC236}">
                  <a16:creationId xmlns:a16="http://schemas.microsoft.com/office/drawing/2014/main" id="{DD90D7F5-0EF9-4AF3-8225-C3F28D1AC5D2}"/>
                </a:ext>
              </a:extLst>
            </p:cNvPr>
            <p:cNvSpPr/>
            <p:nvPr/>
          </p:nvSpPr>
          <p:spPr>
            <a:xfrm>
              <a:off x="3441315" y="6199743"/>
              <a:ext cx="42486" cy="42486"/>
            </a:xfrm>
            <a:custGeom>
              <a:avLst/>
              <a:gdLst>
                <a:gd name="connsiteX0" fmla="*/ 29066 w 42485"/>
                <a:gd name="connsiteY0" fmla="*/ 16320 h 42485"/>
                <a:gd name="connsiteX1" fmla="*/ 33314 w 42485"/>
                <a:gd name="connsiteY1" fmla="*/ 29066 h 42485"/>
                <a:gd name="connsiteX2" fmla="*/ 20569 w 42485"/>
                <a:gd name="connsiteY2" fmla="*/ 33314 h 42485"/>
                <a:gd name="connsiteX3" fmla="*/ 16320 w 42485"/>
                <a:gd name="connsiteY3" fmla="*/ 20569 h 42485"/>
                <a:gd name="connsiteX4" fmla="*/ 29066 w 42485"/>
                <a:gd name="connsiteY4" fmla="*/ 1632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066" y="16320"/>
                  </a:moveTo>
                  <a:cubicBezTo>
                    <a:pt x="33314" y="19152"/>
                    <a:pt x="34731" y="24817"/>
                    <a:pt x="33314" y="29066"/>
                  </a:cubicBezTo>
                  <a:cubicBezTo>
                    <a:pt x="30482" y="33314"/>
                    <a:pt x="24817" y="34731"/>
                    <a:pt x="20569" y="33314"/>
                  </a:cubicBezTo>
                  <a:cubicBezTo>
                    <a:pt x="16320" y="30482"/>
                    <a:pt x="14904" y="24817"/>
                    <a:pt x="16320" y="20569"/>
                  </a:cubicBezTo>
                  <a:cubicBezTo>
                    <a:pt x="19152" y="16320"/>
                    <a:pt x="24817" y="14904"/>
                    <a:pt x="29066" y="1632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7" name="Freeform: Shape 2506">
              <a:extLst>
                <a:ext uri="{FF2B5EF4-FFF2-40B4-BE49-F238E27FC236}">
                  <a16:creationId xmlns:a16="http://schemas.microsoft.com/office/drawing/2014/main" id="{9259E0FE-E38A-40CE-B297-01857FA9A5F9}"/>
                </a:ext>
              </a:extLst>
            </p:cNvPr>
            <p:cNvSpPr/>
            <p:nvPr/>
          </p:nvSpPr>
          <p:spPr>
            <a:xfrm>
              <a:off x="3673571" y="6366854"/>
              <a:ext cx="42486" cy="42486"/>
            </a:xfrm>
            <a:custGeom>
              <a:avLst/>
              <a:gdLst>
                <a:gd name="connsiteX0" fmla="*/ 29066 w 42485"/>
                <a:gd name="connsiteY0" fmla="*/ 16320 h 42485"/>
                <a:gd name="connsiteX1" fmla="*/ 33314 w 42485"/>
                <a:gd name="connsiteY1" fmla="*/ 29066 h 42485"/>
                <a:gd name="connsiteX2" fmla="*/ 20569 w 42485"/>
                <a:gd name="connsiteY2" fmla="*/ 33314 h 42485"/>
                <a:gd name="connsiteX3" fmla="*/ 16320 w 42485"/>
                <a:gd name="connsiteY3" fmla="*/ 20569 h 42485"/>
                <a:gd name="connsiteX4" fmla="*/ 29066 w 42485"/>
                <a:gd name="connsiteY4" fmla="*/ 1632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066" y="16320"/>
                  </a:moveTo>
                  <a:cubicBezTo>
                    <a:pt x="33314" y="19152"/>
                    <a:pt x="34730" y="24817"/>
                    <a:pt x="33314" y="29066"/>
                  </a:cubicBezTo>
                  <a:cubicBezTo>
                    <a:pt x="30482" y="33314"/>
                    <a:pt x="24817" y="34730"/>
                    <a:pt x="20569" y="33314"/>
                  </a:cubicBezTo>
                  <a:cubicBezTo>
                    <a:pt x="16320" y="30482"/>
                    <a:pt x="14904" y="24817"/>
                    <a:pt x="16320" y="20569"/>
                  </a:cubicBezTo>
                  <a:cubicBezTo>
                    <a:pt x="19152" y="16320"/>
                    <a:pt x="24817" y="14904"/>
                    <a:pt x="29066" y="1632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8" name="Freeform: Shape 2507">
              <a:extLst>
                <a:ext uri="{FF2B5EF4-FFF2-40B4-BE49-F238E27FC236}">
                  <a16:creationId xmlns:a16="http://schemas.microsoft.com/office/drawing/2014/main" id="{DDD5700B-99D0-4985-9647-0B27E0E5A6AD}"/>
                </a:ext>
              </a:extLst>
            </p:cNvPr>
            <p:cNvSpPr/>
            <p:nvPr/>
          </p:nvSpPr>
          <p:spPr>
            <a:xfrm>
              <a:off x="3875201" y="4748679"/>
              <a:ext cx="42486" cy="42486"/>
            </a:xfrm>
            <a:custGeom>
              <a:avLst/>
              <a:gdLst>
                <a:gd name="connsiteX0" fmla="*/ 27119 w 42485"/>
                <a:gd name="connsiteY0" fmla="*/ 15789 h 42485"/>
                <a:gd name="connsiteX1" fmla="*/ 37032 w 42485"/>
                <a:gd name="connsiteY1" fmla="*/ 27119 h 42485"/>
                <a:gd name="connsiteX2" fmla="*/ 25702 w 42485"/>
                <a:gd name="connsiteY2" fmla="*/ 37032 h 42485"/>
                <a:gd name="connsiteX3" fmla="*/ 15789 w 42485"/>
                <a:gd name="connsiteY3" fmla="*/ 25703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9"/>
                  </a:cubicBezTo>
                  <a:cubicBezTo>
                    <a:pt x="37032" y="32783"/>
                    <a:pt x="31367" y="37032"/>
                    <a:pt x="25702" y="37032"/>
                  </a:cubicBezTo>
                  <a:cubicBezTo>
                    <a:pt x="20038" y="37032"/>
                    <a:pt x="15789" y="31367"/>
                    <a:pt x="15789" y="25703"/>
                  </a:cubicBezTo>
                  <a:cubicBezTo>
                    <a:pt x="15789" y="20038"/>
                    <a:pt x="20038" y="15789"/>
                    <a:pt x="27119"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9" name="Freeform: Shape 2508">
              <a:extLst>
                <a:ext uri="{FF2B5EF4-FFF2-40B4-BE49-F238E27FC236}">
                  <a16:creationId xmlns:a16="http://schemas.microsoft.com/office/drawing/2014/main" id="{62D4B2CD-1E0C-47F5-B16F-147EBC2FB90F}"/>
                </a:ext>
              </a:extLst>
            </p:cNvPr>
            <p:cNvSpPr/>
            <p:nvPr/>
          </p:nvSpPr>
          <p:spPr>
            <a:xfrm>
              <a:off x="3611789" y="6330564"/>
              <a:ext cx="42486" cy="42486"/>
            </a:xfrm>
            <a:custGeom>
              <a:avLst/>
              <a:gdLst>
                <a:gd name="connsiteX0" fmla="*/ 31367 w 42485"/>
                <a:gd name="connsiteY0" fmla="*/ 17205 h 42485"/>
                <a:gd name="connsiteX1" fmla="*/ 35616 w 42485"/>
                <a:gd name="connsiteY1" fmla="*/ 31367 h 42485"/>
                <a:gd name="connsiteX2" fmla="*/ 21454 w 42485"/>
                <a:gd name="connsiteY2" fmla="*/ 35616 h 42485"/>
                <a:gd name="connsiteX3" fmla="*/ 17205 w 42485"/>
                <a:gd name="connsiteY3" fmla="*/ 21454 h 42485"/>
                <a:gd name="connsiteX4" fmla="*/ 31367 w 42485"/>
                <a:gd name="connsiteY4" fmla="*/ 1720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1367" y="17205"/>
                  </a:moveTo>
                  <a:cubicBezTo>
                    <a:pt x="37032" y="20037"/>
                    <a:pt x="38448" y="27118"/>
                    <a:pt x="35616" y="31367"/>
                  </a:cubicBezTo>
                  <a:cubicBezTo>
                    <a:pt x="32783" y="37032"/>
                    <a:pt x="25702" y="38448"/>
                    <a:pt x="21454" y="35616"/>
                  </a:cubicBezTo>
                  <a:cubicBezTo>
                    <a:pt x="15789" y="32783"/>
                    <a:pt x="14373" y="25703"/>
                    <a:pt x="17205" y="21454"/>
                  </a:cubicBezTo>
                  <a:cubicBezTo>
                    <a:pt x="20038" y="15789"/>
                    <a:pt x="25702" y="14373"/>
                    <a:pt x="31367" y="1720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0" name="Freeform: Shape 2509">
              <a:extLst>
                <a:ext uri="{FF2B5EF4-FFF2-40B4-BE49-F238E27FC236}">
                  <a16:creationId xmlns:a16="http://schemas.microsoft.com/office/drawing/2014/main" id="{75F79A8D-C1B5-41CA-9996-AA86B2951308}"/>
                </a:ext>
              </a:extLst>
            </p:cNvPr>
            <p:cNvSpPr/>
            <p:nvPr/>
          </p:nvSpPr>
          <p:spPr>
            <a:xfrm>
              <a:off x="3520071" y="6073152"/>
              <a:ext cx="70810" cy="70810"/>
            </a:xfrm>
            <a:custGeom>
              <a:avLst/>
              <a:gdLst>
                <a:gd name="connsiteX0" fmla="*/ 50860 w 70809"/>
                <a:gd name="connsiteY0" fmla="*/ 18287 h 70809"/>
                <a:gd name="connsiteX1" fmla="*/ 60773 w 70809"/>
                <a:gd name="connsiteY1" fmla="*/ 50859 h 70809"/>
                <a:gd name="connsiteX2" fmla="*/ 28201 w 70809"/>
                <a:gd name="connsiteY2" fmla="*/ 60773 h 70809"/>
                <a:gd name="connsiteX3" fmla="*/ 18287 w 70809"/>
                <a:gd name="connsiteY3" fmla="*/ 28201 h 70809"/>
                <a:gd name="connsiteX4" fmla="*/ 50860 w 70809"/>
                <a:gd name="connsiteY4" fmla="*/ 1828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50860" y="18287"/>
                  </a:moveTo>
                  <a:cubicBezTo>
                    <a:pt x="62189" y="23952"/>
                    <a:pt x="66438" y="39530"/>
                    <a:pt x="60773" y="50859"/>
                  </a:cubicBezTo>
                  <a:cubicBezTo>
                    <a:pt x="55108" y="62189"/>
                    <a:pt x="39530" y="66438"/>
                    <a:pt x="28201" y="60773"/>
                  </a:cubicBezTo>
                  <a:cubicBezTo>
                    <a:pt x="16871" y="55108"/>
                    <a:pt x="12622" y="39530"/>
                    <a:pt x="18287" y="28201"/>
                  </a:cubicBezTo>
                  <a:cubicBezTo>
                    <a:pt x="25368" y="16871"/>
                    <a:pt x="39530" y="12623"/>
                    <a:pt x="50860" y="1828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1" name="Freeform: Shape 2510">
              <a:extLst>
                <a:ext uri="{FF2B5EF4-FFF2-40B4-BE49-F238E27FC236}">
                  <a16:creationId xmlns:a16="http://schemas.microsoft.com/office/drawing/2014/main" id="{841B6E97-7C9F-4FD9-9E4A-25EFE8B522FB}"/>
                </a:ext>
              </a:extLst>
            </p:cNvPr>
            <p:cNvSpPr/>
            <p:nvPr/>
          </p:nvSpPr>
          <p:spPr>
            <a:xfrm>
              <a:off x="3590015" y="5803210"/>
              <a:ext cx="42486" cy="42486"/>
            </a:xfrm>
            <a:custGeom>
              <a:avLst/>
              <a:gdLst>
                <a:gd name="connsiteX0" fmla="*/ 29066 w 42485"/>
                <a:gd name="connsiteY0" fmla="*/ 16320 h 42485"/>
                <a:gd name="connsiteX1" fmla="*/ 33314 w 42485"/>
                <a:gd name="connsiteY1" fmla="*/ 29066 h 42485"/>
                <a:gd name="connsiteX2" fmla="*/ 20569 w 42485"/>
                <a:gd name="connsiteY2" fmla="*/ 33314 h 42485"/>
                <a:gd name="connsiteX3" fmla="*/ 16320 w 42485"/>
                <a:gd name="connsiteY3" fmla="*/ 20569 h 42485"/>
                <a:gd name="connsiteX4" fmla="*/ 29066 w 42485"/>
                <a:gd name="connsiteY4" fmla="*/ 1632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066" y="16320"/>
                  </a:moveTo>
                  <a:cubicBezTo>
                    <a:pt x="33314" y="19152"/>
                    <a:pt x="34731" y="24817"/>
                    <a:pt x="33314" y="29066"/>
                  </a:cubicBezTo>
                  <a:cubicBezTo>
                    <a:pt x="30482" y="33314"/>
                    <a:pt x="24817" y="34731"/>
                    <a:pt x="20569" y="33314"/>
                  </a:cubicBezTo>
                  <a:cubicBezTo>
                    <a:pt x="16320" y="30482"/>
                    <a:pt x="14904" y="24817"/>
                    <a:pt x="16320" y="20569"/>
                  </a:cubicBezTo>
                  <a:cubicBezTo>
                    <a:pt x="17736" y="16320"/>
                    <a:pt x="23401" y="14904"/>
                    <a:pt x="29066" y="1632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2" name="Freeform: Shape 2511">
              <a:extLst>
                <a:ext uri="{FF2B5EF4-FFF2-40B4-BE49-F238E27FC236}">
                  <a16:creationId xmlns:a16="http://schemas.microsoft.com/office/drawing/2014/main" id="{CD466941-3E5B-4DAC-94E4-F4687EF1D7DE}"/>
                </a:ext>
              </a:extLst>
            </p:cNvPr>
            <p:cNvSpPr/>
            <p:nvPr/>
          </p:nvSpPr>
          <p:spPr>
            <a:xfrm>
              <a:off x="3784034" y="5442081"/>
              <a:ext cx="42486" cy="42486"/>
            </a:xfrm>
            <a:custGeom>
              <a:avLst/>
              <a:gdLst>
                <a:gd name="connsiteX0" fmla="*/ 29066 w 42485"/>
                <a:gd name="connsiteY0" fmla="*/ 16320 h 42485"/>
                <a:gd name="connsiteX1" fmla="*/ 33314 w 42485"/>
                <a:gd name="connsiteY1" fmla="*/ 29066 h 42485"/>
                <a:gd name="connsiteX2" fmla="*/ 20569 w 42485"/>
                <a:gd name="connsiteY2" fmla="*/ 33314 h 42485"/>
                <a:gd name="connsiteX3" fmla="*/ 16320 w 42485"/>
                <a:gd name="connsiteY3" fmla="*/ 20569 h 42485"/>
                <a:gd name="connsiteX4" fmla="*/ 29066 w 42485"/>
                <a:gd name="connsiteY4" fmla="*/ 1632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066" y="16320"/>
                  </a:moveTo>
                  <a:cubicBezTo>
                    <a:pt x="33314" y="19152"/>
                    <a:pt x="34731" y="24817"/>
                    <a:pt x="33314" y="29066"/>
                  </a:cubicBezTo>
                  <a:cubicBezTo>
                    <a:pt x="30482" y="33314"/>
                    <a:pt x="24817" y="34731"/>
                    <a:pt x="20569" y="33314"/>
                  </a:cubicBezTo>
                  <a:cubicBezTo>
                    <a:pt x="16320" y="30482"/>
                    <a:pt x="14904" y="24817"/>
                    <a:pt x="16320" y="20569"/>
                  </a:cubicBezTo>
                  <a:cubicBezTo>
                    <a:pt x="19153" y="16320"/>
                    <a:pt x="24817" y="14904"/>
                    <a:pt x="29066" y="1632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3" name="Freeform: Shape 2512">
              <a:extLst>
                <a:ext uri="{FF2B5EF4-FFF2-40B4-BE49-F238E27FC236}">
                  <a16:creationId xmlns:a16="http://schemas.microsoft.com/office/drawing/2014/main" id="{EEC25609-A619-42B1-BDD2-E66F24289E93}"/>
                </a:ext>
              </a:extLst>
            </p:cNvPr>
            <p:cNvSpPr/>
            <p:nvPr/>
          </p:nvSpPr>
          <p:spPr>
            <a:xfrm>
              <a:off x="3775512" y="6138823"/>
              <a:ext cx="42486" cy="42486"/>
            </a:xfrm>
            <a:custGeom>
              <a:avLst/>
              <a:gdLst>
                <a:gd name="connsiteX0" fmla="*/ 24842 w 42485"/>
                <a:gd name="connsiteY0" fmla="*/ 16345 h 42485"/>
                <a:gd name="connsiteX1" fmla="*/ 27674 w 42485"/>
                <a:gd name="connsiteY1" fmla="*/ 24842 h 42485"/>
                <a:gd name="connsiteX2" fmla="*/ 19177 w 42485"/>
                <a:gd name="connsiteY2" fmla="*/ 27674 h 42485"/>
                <a:gd name="connsiteX3" fmla="*/ 16345 w 42485"/>
                <a:gd name="connsiteY3" fmla="*/ 19177 h 42485"/>
                <a:gd name="connsiteX4" fmla="*/ 24842 w 42485"/>
                <a:gd name="connsiteY4" fmla="*/ 1634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6345"/>
                  </a:moveTo>
                  <a:cubicBezTo>
                    <a:pt x="27674" y="17761"/>
                    <a:pt x="29090" y="22009"/>
                    <a:pt x="27674" y="24842"/>
                  </a:cubicBezTo>
                  <a:cubicBezTo>
                    <a:pt x="26258" y="27674"/>
                    <a:pt x="22009" y="29090"/>
                    <a:pt x="19177" y="27674"/>
                  </a:cubicBezTo>
                  <a:cubicBezTo>
                    <a:pt x="16345" y="26258"/>
                    <a:pt x="14928" y="22009"/>
                    <a:pt x="16345" y="19177"/>
                  </a:cubicBezTo>
                  <a:cubicBezTo>
                    <a:pt x="17761" y="16345"/>
                    <a:pt x="22009" y="14928"/>
                    <a:pt x="24842" y="163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4" name="Freeform: Shape 2513">
              <a:extLst>
                <a:ext uri="{FF2B5EF4-FFF2-40B4-BE49-F238E27FC236}">
                  <a16:creationId xmlns:a16="http://schemas.microsoft.com/office/drawing/2014/main" id="{2E11F8D3-6FDC-4FD3-BD75-AC0CCECCD004}"/>
                </a:ext>
              </a:extLst>
            </p:cNvPr>
            <p:cNvSpPr/>
            <p:nvPr/>
          </p:nvSpPr>
          <p:spPr>
            <a:xfrm>
              <a:off x="3599044" y="6220101"/>
              <a:ext cx="42486" cy="42486"/>
            </a:xfrm>
            <a:custGeom>
              <a:avLst/>
              <a:gdLst>
                <a:gd name="connsiteX0" fmla="*/ 31367 w 42485"/>
                <a:gd name="connsiteY0" fmla="*/ 17205 h 42485"/>
                <a:gd name="connsiteX1" fmla="*/ 35616 w 42485"/>
                <a:gd name="connsiteY1" fmla="*/ 31367 h 42485"/>
                <a:gd name="connsiteX2" fmla="*/ 21454 w 42485"/>
                <a:gd name="connsiteY2" fmla="*/ 35616 h 42485"/>
                <a:gd name="connsiteX3" fmla="*/ 17205 w 42485"/>
                <a:gd name="connsiteY3" fmla="*/ 21454 h 42485"/>
                <a:gd name="connsiteX4" fmla="*/ 31367 w 42485"/>
                <a:gd name="connsiteY4" fmla="*/ 1720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1367" y="17205"/>
                  </a:moveTo>
                  <a:cubicBezTo>
                    <a:pt x="37032" y="20038"/>
                    <a:pt x="38448" y="25702"/>
                    <a:pt x="35616" y="31367"/>
                  </a:cubicBezTo>
                  <a:cubicBezTo>
                    <a:pt x="32783" y="37032"/>
                    <a:pt x="27119" y="38448"/>
                    <a:pt x="21454" y="35616"/>
                  </a:cubicBezTo>
                  <a:cubicBezTo>
                    <a:pt x="15789" y="32783"/>
                    <a:pt x="14373" y="27119"/>
                    <a:pt x="17205" y="21454"/>
                  </a:cubicBezTo>
                  <a:cubicBezTo>
                    <a:pt x="21454" y="15789"/>
                    <a:pt x="27119" y="14373"/>
                    <a:pt x="31367" y="1720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5" name="Freeform: Shape 2514">
              <a:extLst>
                <a:ext uri="{FF2B5EF4-FFF2-40B4-BE49-F238E27FC236}">
                  <a16:creationId xmlns:a16="http://schemas.microsoft.com/office/drawing/2014/main" id="{9D65928B-8A8E-4FD2-B90E-03F5A5271596}"/>
                </a:ext>
              </a:extLst>
            </p:cNvPr>
            <p:cNvSpPr/>
            <p:nvPr/>
          </p:nvSpPr>
          <p:spPr>
            <a:xfrm>
              <a:off x="3684015" y="6049037"/>
              <a:ext cx="70810" cy="70810"/>
            </a:xfrm>
            <a:custGeom>
              <a:avLst/>
              <a:gdLst>
                <a:gd name="connsiteX0" fmla="*/ 48361 w 70809"/>
                <a:gd name="connsiteY0" fmla="*/ 18326 h 70809"/>
                <a:gd name="connsiteX1" fmla="*/ 56858 w 70809"/>
                <a:gd name="connsiteY1" fmla="*/ 48066 h 70809"/>
                <a:gd name="connsiteX2" fmla="*/ 27119 w 70809"/>
                <a:gd name="connsiteY2" fmla="*/ 56563 h 70809"/>
                <a:gd name="connsiteX3" fmla="*/ 18621 w 70809"/>
                <a:gd name="connsiteY3" fmla="*/ 26823 h 70809"/>
                <a:gd name="connsiteX4" fmla="*/ 48361 w 70809"/>
                <a:gd name="connsiteY4" fmla="*/ 18326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8361" y="18326"/>
                  </a:moveTo>
                  <a:cubicBezTo>
                    <a:pt x="59691" y="23991"/>
                    <a:pt x="62523" y="38153"/>
                    <a:pt x="56858" y="48066"/>
                  </a:cubicBezTo>
                  <a:cubicBezTo>
                    <a:pt x="51194" y="59396"/>
                    <a:pt x="37032" y="62228"/>
                    <a:pt x="27119" y="56563"/>
                  </a:cubicBezTo>
                  <a:cubicBezTo>
                    <a:pt x="15789" y="50899"/>
                    <a:pt x="12957" y="36737"/>
                    <a:pt x="18621" y="26823"/>
                  </a:cubicBezTo>
                  <a:cubicBezTo>
                    <a:pt x="24286" y="16910"/>
                    <a:pt x="38448" y="12661"/>
                    <a:pt x="48361" y="1832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6" name="Freeform: Shape 2515">
              <a:extLst>
                <a:ext uri="{FF2B5EF4-FFF2-40B4-BE49-F238E27FC236}">
                  <a16:creationId xmlns:a16="http://schemas.microsoft.com/office/drawing/2014/main" id="{C6C2492E-8492-45AF-9C8D-F799E8C630EA}"/>
                </a:ext>
              </a:extLst>
            </p:cNvPr>
            <p:cNvSpPr/>
            <p:nvPr/>
          </p:nvSpPr>
          <p:spPr>
            <a:xfrm>
              <a:off x="3682599" y="6190637"/>
              <a:ext cx="42486" cy="42486"/>
            </a:xfrm>
            <a:custGeom>
              <a:avLst/>
              <a:gdLst>
                <a:gd name="connsiteX0" fmla="*/ 32783 w 42485"/>
                <a:gd name="connsiteY0" fmla="*/ 16929 h 42485"/>
                <a:gd name="connsiteX1" fmla="*/ 37032 w 42485"/>
                <a:gd name="connsiteY1" fmla="*/ 32507 h 42485"/>
                <a:gd name="connsiteX2" fmla="*/ 21454 w 42485"/>
                <a:gd name="connsiteY2" fmla="*/ 36756 h 42485"/>
                <a:gd name="connsiteX3" fmla="*/ 17205 w 42485"/>
                <a:gd name="connsiteY3" fmla="*/ 21178 h 42485"/>
                <a:gd name="connsiteX4" fmla="*/ 32783 w 42485"/>
                <a:gd name="connsiteY4" fmla="*/ 1692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3" y="16929"/>
                  </a:moveTo>
                  <a:cubicBezTo>
                    <a:pt x="38448" y="19761"/>
                    <a:pt x="39864" y="26842"/>
                    <a:pt x="37032" y="32507"/>
                  </a:cubicBezTo>
                  <a:cubicBezTo>
                    <a:pt x="34199" y="38172"/>
                    <a:pt x="27118" y="39588"/>
                    <a:pt x="21454" y="36756"/>
                  </a:cubicBezTo>
                  <a:cubicBezTo>
                    <a:pt x="15789" y="33923"/>
                    <a:pt x="14373" y="26842"/>
                    <a:pt x="17205" y="21178"/>
                  </a:cubicBezTo>
                  <a:cubicBezTo>
                    <a:pt x="20038" y="16929"/>
                    <a:pt x="27118" y="14097"/>
                    <a:pt x="32783" y="1692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7" name="Freeform: Shape 2516">
              <a:extLst>
                <a:ext uri="{FF2B5EF4-FFF2-40B4-BE49-F238E27FC236}">
                  <a16:creationId xmlns:a16="http://schemas.microsoft.com/office/drawing/2014/main" id="{C1A321E3-8765-4482-B2D6-560871D85225}"/>
                </a:ext>
              </a:extLst>
            </p:cNvPr>
            <p:cNvSpPr/>
            <p:nvPr/>
          </p:nvSpPr>
          <p:spPr>
            <a:xfrm>
              <a:off x="4013988" y="4421268"/>
              <a:ext cx="42486" cy="42486"/>
            </a:xfrm>
            <a:custGeom>
              <a:avLst/>
              <a:gdLst>
                <a:gd name="connsiteX0" fmla="*/ 27118 w 42485"/>
                <a:gd name="connsiteY0" fmla="*/ 16060 h 42485"/>
                <a:gd name="connsiteX1" fmla="*/ 37032 w 42485"/>
                <a:gd name="connsiteY1" fmla="*/ 27390 h 42485"/>
                <a:gd name="connsiteX2" fmla="*/ 25702 w 42485"/>
                <a:gd name="connsiteY2" fmla="*/ 37303 h 42485"/>
                <a:gd name="connsiteX3" fmla="*/ 15789 w 42485"/>
                <a:gd name="connsiteY3" fmla="*/ 25973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4"/>
                    <a:pt x="31367" y="37303"/>
                    <a:pt x="25702" y="37303"/>
                  </a:cubicBezTo>
                  <a:cubicBezTo>
                    <a:pt x="20037" y="37303"/>
                    <a:pt x="15789" y="31638"/>
                    <a:pt x="15789" y="25973"/>
                  </a:cubicBezTo>
                  <a:cubicBezTo>
                    <a:pt x="17205" y="18893"/>
                    <a:pt x="21454" y="14644"/>
                    <a:pt x="27118"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8" name="Freeform: Shape 2517">
              <a:extLst>
                <a:ext uri="{FF2B5EF4-FFF2-40B4-BE49-F238E27FC236}">
                  <a16:creationId xmlns:a16="http://schemas.microsoft.com/office/drawing/2014/main" id="{7896EAE2-74BB-4E74-84B7-095DE76FF7D4}"/>
                </a:ext>
              </a:extLst>
            </p:cNvPr>
            <p:cNvSpPr/>
            <p:nvPr/>
          </p:nvSpPr>
          <p:spPr>
            <a:xfrm>
              <a:off x="3598513" y="6407038"/>
              <a:ext cx="42486" cy="42486"/>
            </a:xfrm>
            <a:custGeom>
              <a:avLst/>
              <a:gdLst>
                <a:gd name="connsiteX0" fmla="*/ 29066 w 42485"/>
                <a:gd name="connsiteY0" fmla="*/ 17205 h 42485"/>
                <a:gd name="connsiteX1" fmla="*/ 33314 w 42485"/>
                <a:gd name="connsiteY1" fmla="*/ 29951 h 42485"/>
                <a:gd name="connsiteX2" fmla="*/ 20569 w 42485"/>
                <a:gd name="connsiteY2" fmla="*/ 34200 h 42485"/>
                <a:gd name="connsiteX3" fmla="*/ 16320 w 42485"/>
                <a:gd name="connsiteY3" fmla="*/ 21454 h 42485"/>
                <a:gd name="connsiteX4" fmla="*/ 29066 w 42485"/>
                <a:gd name="connsiteY4" fmla="*/ 1720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066" y="17205"/>
                  </a:moveTo>
                  <a:cubicBezTo>
                    <a:pt x="33314" y="20038"/>
                    <a:pt x="34731" y="25703"/>
                    <a:pt x="33314" y="29951"/>
                  </a:cubicBezTo>
                  <a:cubicBezTo>
                    <a:pt x="30482" y="34200"/>
                    <a:pt x="24817" y="35616"/>
                    <a:pt x="20569" y="34200"/>
                  </a:cubicBezTo>
                  <a:cubicBezTo>
                    <a:pt x="16320" y="31367"/>
                    <a:pt x="14904" y="25703"/>
                    <a:pt x="16320" y="21454"/>
                  </a:cubicBezTo>
                  <a:cubicBezTo>
                    <a:pt x="19152" y="15789"/>
                    <a:pt x="24817" y="14373"/>
                    <a:pt x="29066" y="1720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9" name="Freeform: Shape 2518">
              <a:extLst>
                <a:ext uri="{FF2B5EF4-FFF2-40B4-BE49-F238E27FC236}">
                  <a16:creationId xmlns:a16="http://schemas.microsoft.com/office/drawing/2014/main" id="{F7D7B8EF-3E11-4364-B8B3-F5AC3D1731E7}"/>
                </a:ext>
              </a:extLst>
            </p:cNvPr>
            <p:cNvSpPr/>
            <p:nvPr/>
          </p:nvSpPr>
          <p:spPr>
            <a:xfrm>
              <a:off x="3746328" y="4611037"/>
              <a:ext cx="42486" cy="42486"/>
            </a:xfrm>
            <a:custGeom>
              <a:avLst/>
              <a:gdLst>
                <a:gd name="connsiteX0" fmla="*/ 27119 w 42485"/>
                <a:gd name="connsiteY0" fmla="*/ 16060 h 42485"/>
                <a:gd name="connsiteX1" fmla="*/ 37032 w 42485"/>
                <a:gd name="connsiteY1" fmla="*/ 27390 h 42485"/>
                <a:gd name="connsiteX2" fmla="*/ 25702 w 42485"/>
                <a:gd name="connsiteY2" fmla="*/ 37303 h 42485"/>
                <a:gd name="connsiteX3" fmla="*/ 15789 w 42485"/>
                <a:gd name="connsiteY3" fmla="*/ 25973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4"/>
                    <a:pt x="31367" y="37303"/>
                    <a:pt x="25702" y="37303"/>
                  </a:cubicBezTo>
                  <a:cubicBezTo>
                    <a:pt x="20038" y="37303"/>
                    <a:pt x="15789" y="31639"/>
                    <a:pt x="15789" y="25973"/>
                  </a:cubicBezTo>
                  <a:cubicBezTo>
                    <a:pt x="15789" y="18893"/>
                    <a:pt x="21454" y="14644"/>
                    <a:pt x="27119"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0" name="Freeform: Shape 2519">
              <a:extLst>
                <a:ext uri="{FF2B5EF4-FFF2-40B4-BE49-F238E27FC236}">
                  <a16:creationId xmlns:a16="http://schemas.microsoft.com/office/drawing/2014/main" id="{2ABCBE09-7CC7-4FE0-BD0E-F7A5E8EB3058}"/>
                </a:ext>
              </a:extLst>
            </p:cNvPr>
            <p:cNvSpPr/>
            <p:nvPr/>
          </p:nvSpPr>
          <p:spPr>
            <a:xfrm>
              <a:off x="3662638" y="5174818"/>
              <a:ext cx="70810" cy="70810"/>
            </a:xfrm>
            <a:custGeom>
              <a:avLst/>
              <a:gdLst>
                <a:gd name="connsiteX0" fmla="*/ 44247 w 70809"/>
                <a:gd name="connsiteY0" fmla="*/ 15924 h 70809"/>
                <a:gd name="connsiteX1" fmla="*/ 66906 w 70809"/>
                <a:gd name="connsiteY1" fmla="*/ 44247 h 70809"/>
                <a:gd name="connsiteX2" fmla="*/ 38583 w 70809"/>
                <a:gd name="connsiteY2" fmla="*/ 66907 h 70809"/>
                <a:gd name="connsiteX3" fmla="*/ 15924 w 70809"/>
                <a:gd name="connsiteY3" fmla="*/ 38583 h 70809"/>
                <a:gd name="connsiteX4" fmla="*/ 44247 w 70809"/>
                <a:gd name="connsiteY4" fmla="*/ 15924 h 70809"/>
                <a:gd name="connsiteX5" fmla="*/ 44247 w 70809"/>
                <a:gd name="connsiteY5" fmla="*/ 15924 h 70809"/>
                <a:gd name="connsiteX6" fmla="*/ 42831 w 70809"/>
                <a:gd name="connsiteY6" fmla="*/ 27253 h 70809"/>
                <a:gd name="connsiteX7" fmla="*/ 27253 w 70809"/>
                <a:gd name="connsiteY7" fmla="*/ 39999 h 70809"/>
                <a:gd name="connsiteX8" fmla="*/ 39999 w 70809"/>
                <a:gd name="connsiteY8" fmla="*/ 55577 h 70809"/>
                <a:gd name="connsiteX9" fmla="*/ 55577 w 70809"/>
                <a:gd name="connsiteY9" fmla="*/ 42831 h 70809"/>
                <a:gd name="connsiteX10" fmla="*/ 42831 w 70809"/>
                <a:gd name="connsiteY10" fmla="*/ 27253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247" y="15924"/>
                  </a:moveTo>
                  <a:cubicBezTo>
                    <a:pt x="58409" y="17340"/>
                    <a:pt x="68323" y="30085"/>
                    <a:pt x="66906" y="44247"/>
                  </a:cubicBezTo>
                  <a:cubicBezTo>
                    <a:pt x="65490" y="58409"/>
                    <a:pt x="52744" y="68323"/>
                    <a:pt x="38583" y="66907"/>
                  </a:cubicBezTo>
                  <a:cubicBezTo>
                    <a:pt x="24421" y="65490"/>
                    <a:pt x="14507" y="52745"/>
                    <a:pt x="15924" y="38583"/>
                  </a:cubicBezTo>
                  <a:cubicBezTo>
                    <a:pt x="17340" y="24421"/>
                    <a:pt x="30085" y="14507"/>
                    <a:pt x="44247" y="15924"/>
                  </a:cubicBezTo>
                  <a:lnTo>
                    <a:pt x="44247" y="15924"/>
                  </a:lnTo>
                  <a:close/>
                  <a:moveTo>
                    <a:pt x="42831" y="27253"/>
                  </a:moveTo>
                  <a:cubicBezTo>
                    <a:pt x="34334" y="25837"/>
                    <a:pt x="27253" y="32918"/>
                    <a:pt x="27253" y="39999"/>
                  </a:cubicBezTo>
                  <a:cubicBezTo>
                    <a:pt x="25837" y="48496"/>
                    <a:pt x="32918" y="55577"/>
                    <a:pt x="39999" y="55577"/>
                  </a:cubicBezTo>
                  <a:cubicBezTo>
                    <a:pt x="48496" y="56993"/>
                    <a:pt x="55577" y="49912"/>
                    <a:pt x="55577" y="42831"/>
                  </a:cubicBezTo>
                  <a:cubicBezTo>
                    <a:pt x="56993" y="34334"/>
                    <a:pt x="51328" y="27253"/>
                    <a:pt x="42831" y="2725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1" name="Freeform: Shape 2520">
              <a:extLst>
                <a:ext uri="{FF2B5EF4-FFF2-40B4-BE49-F238E27FC236}">
                  <a16:creationId xmlns:a16="http://schemas.microsoft.com/office/drawing/2014/main" id="{8BB1C21A-935E-4304-9223-648726F48127}"/>
                </a:ext>
              </a:extLst>
            </p:cNvPr>
            <p:cNvSpPr/>
            <p:nvPr/>
          </p:nvSpPr>
          <p:spPr>
            <a:xfrm>
              <a:off x="3828467" y="5231600"/>
              <a:ext cx="56648" cy="56648"/>
            </a:xfrm>
            <a:custGeom>
              <a:avLst/>
              <a:gdLst>
                <a:gd name="connsiteX0" fmla="*/ 31367 w 56647"/>
                <a:gd name="connsiteY0" fmla="*/ 15789 h 56647"/>
                <a:gd name="connsiteX1" fmla="*/ 44113 w 56647"/>
                <a:gd name="connsiteY1" fmla="*/ 31367 h 56647"/>
                <a:gd name="connsiteX2" fmla="*/ 28535 w 56647"/>
                <a:gd name="connsiteY2" fmla="*/ 44113 h 56647"/>
                <a:gd name="connsiteX3" fmla="*/ 15789 w 56647"/>
                <a:gd name="connsiteY3" fmla="*/ 28535 h 56647"/>
                <a:gd name="connsiteX4" fmla="*/ 31367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5789"/>
                  </a:moveTo>
                  <a:cubicBezTo>
                    <a:pt x="38448" y="15789"/>
                    <a:pt x="44113" y="22870"/>
                    <a:pt x="44113" y="31367"/>
                  </a:cubicBezTo>
                  <a:cubicBezTo>
                    <a:pt x="44113" y="38448"/>
                    <a:pt x="37032" y="44113"/>
                    <a:pt x="28535" y="44113"/>
                  </a:cubicBezTo>
                  <a:cubicBezTo>
                    <a:pt x="21454" y="44113"/>
                    <a:pt x="15789" y="37032"/>
                    <a:pt x="15789" y="28535"/>
                  </a:cubicBezTo>
                  <a:cubicBezTo>
                    <a:pt x="17205" y="21454"/>
                    <a:pt x="24286" y="15789"/>
                    <a:pt x="31367"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2" name="Freeform: Shape 2521">
              <a:extLst>
                <a:ext uri="{FF2B5EF4-FFF2-40B4-BE49-F238E27FC236}">
                  <a16:creationId xmlns:a16="http://schemas.microsoft.com/office/drawing/2014/main" id="{5BCB7BC6-856E-49CE-BCB5-A35A2F87C657}"/>
                </a:ext>
              </a:extLst>
            </p:cNvPr>
            <p:cNvSpPr/>
            <p:nvPr/>
          </p:nvSpPr>
          <p:spPr>
            <a:xfrm>
              <a:off x="3722097" y="5050173"/>
              <a:ext cx="56648" cy="56648"/>
            </a:xfrm>
            <a:custGeom>
              <a:avLst/>
              <a:gdLst>
                <a:gd name="connsiteX0" fmla="*/ 35771 w 56647"/>
                <a:gd name="connsiteY0" fmla="*/ 15944 h 56647"/>
                <a:gd name="connsiteX1" fmla="*/ 52765 w 56647"/>
                <a:gd name="connsiteY1" fmla="*/ 35771 h 56647"/>
                <a:gd name="connsiteX2" fmla="*/ 32938 w 56647"/>
                <a:gd name="connsiteY2" fmla="*/ 52765 h 56647"/>
                <a:gd name="connsiteX3" fmla="*/ 15944 w 56647"/>
                <a:gd name="connsiteY3" fmla="*/ 32938 h 56647"/>
                <a:gd name="connsiteX4" fmla="*/ 35771 w 56647"/>
                <a:gd name="connsiteY4" fmla="*/ 1594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44"/>
                  </a:moveTo>
                  <a:cubicBezTo>
                    <a:pt x="45684" y="17360"/>
                    <a:pt x="54181" y="25857"/>
                    <a:pt x="52765" y="35771"/>
                  </a:cubicBezTo>
                  <a:cubicBezTo>
                    <a:pt x="51349" y="45684"/>
                    <a:pt x="42852" y="54181"/>
                    <a:pt x="32938" y="52765"/>
                  </a:cubicBezTo>
                  <a:cubicBezTo>
                    <a:pt x="23025" y="51349"/>
                    <a:pt x="14528" y="42852"/>
                    <a:pt x="15944" y="32938"/>
                  </a:cubicBezTo>
                  <a:cubicBezTo>
                    <a:pt x="15944" y="23025"/>
                    <a:pt x="25857" y="14528"/>
                    <a:pt x="35771" y="1594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3" name="Freeform: Shape 2522">
              <a:extLst>
                <a:ext uri="{FF2B5EF4-FFF2-40B4-BE49-F238E27FC236}">
                  <a16:creationId xmlns:a16="http://schemas.microsoft.com/office/drawing/2014/main" id="{EC0ABB6B-6E33-429E-94A5-B0FCEED66CA9}"/>
                </a:ext>
              </a:extLst>
            </p:cNvPr>
            <p:cNvSpPr/>
            <p:nvPr/>
          </p:nvSpPr>
          <p:spPr>
            <a:xfrm>
              <a:off x="3617454" y="5506341"/>
              <a:ext cx="56648" cy="56648"/>
            </a:xfrm>
            <a:custGeom>
              <a:avLst/>
              <a:gdLst>
                <a:gd name="connsiteX0" fmla="*/ 35616 w 56647"/>
                <a:gd name="connsiteY0" fmla="*/ 15789 h 56647"/>
                <a:gd name="connsiteX1" fmla="*/ 52610 w 56647"/>
                <a:gd name="connsiteY1" fmla="*/ 35616 h 56647"/>
                <a:gd name="connsiteX2" fmla="*/ 32783 w 56647"/>
                <a:gd name="connsiteY2" fmla="*/ 52610 h 56647"/>
                <a:gd name="connsiteX3" fmla="*/ 15789 w 56647"/>
                <a:gd name="connsiteY3" fmla="*/ 32783 h 56647"/>
                <a:gd name="connsiteX4" fmla="*/ 35616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616" y="15789"/>
                  </a:moveTo>
                  <a:cubicBezTo>
                    <a:pt x="45529" y="17205"/>
                    <a:pt x="52610" y="25703"/>
                    <a:pt x="52610" y="35616"/>
                  </a:cubicBezTo>
                  <a:cubicBezTo>
                    <a:pt x="51194" y="45529"/>
                    <a:pt x="42697" y="52610"/>
                    <a:pt x="32783" y="52610"/>
                  </a:cubicBezTo>
                  <a:cubicBezTo>
                    <a:pt x="22870" y="51194"/>
                    <a:pt x="15789" y="42697"/>
                    <a:pt x="15789" y="32783"/>
                  </a:cubicBezTo>
                  <a:cubicBezTo>
                    <a:pt x="17205" y="22870"/>
                    <a:pt x="25702" y="15789"/>
                    <a:pt x="35616"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4" name="Freeform: Shape 2523">
              <a:extLst>
                <a:ext uri="{FF2B5EF4-FFF2-40B4-BE49-F238E27FC236}">
                  <a16:creationId xmlns:a16="http://schemas.microsoft.com/office/drawing/2014/main" id="{63EA29E8-F653-4F19-9CBD-EDE83D93D191}"/>
                </a:ext>
              </a:extLst>
            </p:cNvPr>
            <p:cNvSpPr/>
            <p:nvPr/>
          </p:nvSpPr>
          <p:spPr>
            <a:xfrm>
              <a:off x="3522014" y="5753327"/>
              <a:ext cx="42486" cy="42486"/>
            </a:xfrm>
            <a:custGeom>
              <a:avLst/>
              <a:gdLst>
                <a:gd name="connsiteX0" fmla="*/ 24842 w 42485"/>
                <a:gd name="connsiteY0" fmla="*/ 16636 h 42485"/>
                <a:gd name="connsiteX1" fmla="*/ 27674 w 42485"/>
                <a:gd name="connsiteY1" fmla="*/ 25133 h 42485"/>
                <a:gd name="connsiteX2" fmla="*/ 19177 w 42485"/>
                <a:gd name="connsiteY2" fmla="*/ 27966 h 42485"/>
                <a:gd name="connsiteX3" fmla="*/ 16345 w 42485"/>
                <a:gd name="connsiteY3" fmla="*/ 19468 h 42485"/>
                <a:gd name="connsiteX4" fmla="*/ 24842 w 42485"/>
                <a:gd name="connsiteY4" fmla="*/ 1663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6636"/>
                  </a:moveTo>
                  <a:cubicBezTo>
                    <a:pt x="27674" y="18052"/>
                    <a:pt x="29090" y="22301"/>
                    <a:pt x="27674" y="25133"/>
                  </a:cubicBezTo>
                  <a:cubicBezTo>
                    <a:pt x="26258" y="27966"/>
                    <a:pt x="22009" y="29382"/>
                    <a:pt x="19177" y="27966"/>
                  </a:cubicBezTo>
                  <a:cubicBezTo>
                    <a:pt x="16345" y="26549"/>
                    <a:pt x="14928" y="22301"/>
                    <a:pt x="16345" y="19468"/>
                  </a:cubicBezTo>
                  <a:cubicBezTo>
                    <a:pt x="17761" y="15220"/>
                    <a:pt x="22009" y="15220"/>
                    <a:pt x="24842" y="1663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5" name="Freeform: Shape 2524">
              <a:extLst>
                <a:ext uri="{FF2B5EF4-FFF2-40B4-BE49-F238E27FC236}">
                  <a16:creationId xmlns:a16="http://schemas.microsoft.com/office/drawing/2014/main" id="{C6FE085D-F149-4F92-9312-CD0DFB9ECA4F}"/>
                </a:ext>
              </a:extLst>
            </p:cNvPr>
            <p:cNvSpPr/>
            <p:nvPr/>
          </p:nvSpPr>
          <p:spPr>
            <a:xfrm>
              <a:off x="3764738" y="5410040"/>
              <a:ext cx="42486" cy="42486"/>
            </a:xfrm>
            <a:custGeom>
              <a:avLst/>
              <a:gdLst>
                <a:gd name="connsiteX0" fmla="*/ 27119 w 42485"/>
                <a:gd name="connsiteY0" fmla="*/ 15789 h 42485"/>
                <a:gd name="connsiteX1" fmla="*/ 37032 w 42485"/>
                <a:gd name="connsiteY1" fmla="*/ 27118 h 42485"/>
                <a:gd name="connsiteX2" fmla="*/ 25702 w 42485"/>
                <a:gd name="connsiteY2" fmla="*/ 37032 h 42485"/>
                <a:gd name="connsiteX3" fmla="*/ 15789 w 42485"/>
                <a:gd name="connsiteY3" fmla="*/ 25703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8"/>
                  </a:cubicBezTo>
                  <a:cubicBezTo>
                    <a:pt x="37032" y="32783"/>
                    <a:pt x="31367" y="37032"/>
                    <a:pt x="25702" y="37032"/>
                  </a:cubicBezTo>
                  <a:cubicBezTo>
                    <a:pt x="20038" y="37032"/>
                    <a:pt x="15789" y="31367"/>
                    <a:pt x="15789" y="25703"/>
                  </a:cubicBezTo>
                  <a:cubicBezTo>
                    <a:pt x="15789" y="20037"/>
                    <a:pt x="21454" y="15789"/>
                    <a:pt x="27119"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6" name="Freeform: Shape 2525">
              <a:extLst>
                <a:ext uri="{FF2B5EF4-FFF2-40B4-BE49-F238E27FC236}">
                  <a16:creationId xmlns:a16="http://schemas.microsoft.com/office/drawing/2014/main" id="{ADABC6D3-B737-4187-9AA7-62A267F355D0}"/>
                </a:ext>
              </a:extLst>
            </p:cNvPr>
            <p:cNvSpPr/>
            <p:nvPr/>
          </p:nvSpPr>
          <p:spPr>
            <a:xfrm>
              <a:off x="4246089" y="5020434"/>
              <a:ext cx="70810" cy="70810"/>
            </a:xfrm>
            <a:custGeom>
              <a:avLst/>
              <a:gdLst>
                <a:gd name="connsiteX0" fmla="*/ 40018 w 70809"/>
                <a:gd name="connsiteY0" fmla="*/ 15943 h 70809"/>
                <a:gd name="connsiteX1" fmla="*/ 59845 w 70809"/>
                <a:gd name="connsiteY1" fmla="*/ 40018 h 70809"/>
                <a:gd name="connsiteX2" fmla="*/ 35769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2"/>
                    <a:pt x="59845" y="40018"/>
                  </a:cubicBezTo>
                  <a:cubicBezTo>
                    <a:pt x="58429" y="52764"/>
                    <a:pt x="48515" y="61261"/>
                    <a:pt x="35769" y="59845"/>
                  </a:cubicBezTo>
                  <a:cubicBezTo>
                    <a:pt x="23024" y="58429"/>
                    <a:pt x="14527" y="48515"/>
                    <a:pt x="15943" y="35769"/>
                  </a:cubicBezTo>
                  <a:cubicBezTo>
                    <a:pt x="15943" y="23024"/>
                    <a:pt x="27272" y="14527"/>
                    <a:pt x="40018" y="159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7" name="Freeform: Shape 2526">
              <a:extLst>
                <a:ext uri="{FF2B5EF4-FFF2-40B4-BE49-F238E27FC236}">
                  <a16:creationId xmlns:a16="http://schemas.microsoft.com/office/drawing/2014/main" id="{F6897357-4252-4C4E-9EB9-4E23FBF1ED47}"/>
                </a:ext>
              </a:extLst>
            </p:cNvPr>
            <p:cNvSpPr/>
            <p:nvPr/>
          </p:nvSpPr>
          <p:spPr>
            <a:xfrm>
              <a:off x="4093076" y="5347456"/>
              <a:ext cx="42486" cy="42486"/>
            </a:xfrm>
            <a:custGeom>
              <a:avLst/>
              <a:gdLst>
                <a:gd name="connsiteX0" fmla="*/ 27337 w 42485"/>
                <a:gd name="connsiteY0" fmla="*/ 16060 h 42485"/>
                <a:gd name="connsiteX1" fmla="*/ 37250 w 42485"/>
                <a:gd name="connsiteY1" fmla="*/ 27390 h 42485"/>
                <a:gd name="connsiteX2" fmla="*/ 25921 w 42485"/>
                <a:gd name="connsiteY2" fmla="*/ 37303 h 42485"/>
                <a:gd name="connsiteX3" fmla="*/ 16007 w 42485"/>
                <a:gd name="connsiteY3" fmla="*/ 25973 h 42485"/>
                <a:gd name="connsiteX4" fmla="*/ 27337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16060"/>
                  </a:moveTo>
                  <a:cubicBezTo>
                    <a:pt x="33002" y="16060"/>
                    <a:pt x="37250" y="21725"/>
                    <a:pt x="37250" y="27390"/>
                  </a:cubicBezTo>
                  <a:cubicBezTo>
                    <a:pt x="37250" y="33054"/>
                    <a:pt x="31586" y="37303"/>
                    <a:pt x="25921" y="37303"/>
                  </a:cubicBezTo>
                  <a:cubicBezTo>
                    <a:pt x="20256" y="37303"/>
                    <a:pt x="16007" y="31639"/>
                    <a:pt x="16007" y="25973"/>
                  </a:cubicBezTo>
                  <a:cubicBezTo>
                    <a:pt x="14591" y="18893"/>
                    <a:pt x="20256" y="14644"/>
                    <a:pt x="27337"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8" name="Freeform: Shape 2527">
              <a:extLst>
                <a:ext uri="{FF2B5EF4-FFF2-40B4-BE49-F238E27FC236}">
                  <a16:creationId xmlns:a16="http://schemas.microsoft.com/office/drawing/2014/main" id="{2439DA0A-B317-4B91-96A9-0B122C3095EA}"/>
                </a:ext>
              </a:extLst>
            </p:cNvPr>
            <p:cNvSpPr/>
            <p:nvPr/>
          </p:nvSpPr>
          <p:spPr>
            <a:xfrm>
              <a:off x="4222168" y="5239826"/>
              <a:ext cx="42486" cy="42486"/>
            </a:xfrm>
            <a:custGeom>
              <a:avLst/>
              <a:gdLst>
                <a:gd name="connsiteX0" fmla="*/ 27119 w 42485"/>
                <a:gd name="connsiteY0" fmla="*/ 16060 h 42485"/>
                <a:gd name="connsiteX1" fmla="*/ 37032 w 42485"/>
                <a:gd name="connsiteY1" fmla="*/ 27390 h 42485"/>
                <a:gd name="connsiteX2" fmla="*/ 25702 w 42485"/>
                <a:gd name="connsiteY2" fmla="*/ 37303 h 42485"/>
                <a:gd name="connsiteX3" fmla="*/ 15789 w 42485"/>
                <a:gd name="connsiteY3" fmla="*/ 25974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5"/>
                    <a:pt x="31367" y="37303"/>
                    <a:pt x="25702" y="37303"/>
                  </a:cubicBezTo>
                  <a:cubicBezTo>
                    <a:pt x="20038" y="37303"/>
                    <a:pt x="15789" y="31639"/>
                    <a:pt x="15789" y="25974"/>
                  </a:cubicBezTo>
                  <a:cubicBezTo>
                    <a:pt x="15789" y="18893"/>
                    <a:pt x="21454" y="14644"/>
                    <a:pt x="27119"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9" name="Freeform: Shape 2528">
              <a:extLst>
                <a:ext uri="{FF2B5EF4-FFF2-40B4-BE49-F238E27FC236}">
                  <a16:creationId xmlns:a16="http://schemas.microsoft.com/office/drawing/2014/main" id="{0E49144F-A6D3-4B37-8970-303E1A6632EE}"/>
                </a:ext>
              </a:extLst>
            </p:cNvPr>
            <p:cNvSpPr/>
            <p:nvPr/>
          </p:nvSpPr>
          <p:spPr>
            <a:xfrm>
              <a:off x="4138458" y="5140784"/>
              <a:ext cx="56648" cy="56648"/>
            </a:xfrm>
            <a:custGeom>
              <a:avLst/>
              <a:gdLst>
                <a:gd name="connsiteX0" fmla="*/ 35771 w 56647"/>
                <a:gd name="connsiteY0" fmla="*/ 15969 h 56647"/>
                <a:gd name="connsiteX1" fmla="*/ 52765 w 56647"/>
                <a:gd name="connsiteY1" fmla="*/ 35795 h 56647"/>
                <a:gd name="connsiteX2" fmla="*/ 32938 w 56647"/>
                <a:gd name="connsiteY2" fmla="*/ 52790 h 56647"/>
                <a:gd name="connsiteX3" fmla="*/ 15944 w 56647"/>
                <a:gd name="connsiteY3" fmla="*/ 32963 h 56647"/>
                <a:gd name="connsiteX4" fmla="*/ 35771 w 56647"/>
                <a:gd name="connsiteY4" fmla="*/ 1596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69"/>
                  </a:moveTo>
                  <a:cubicBezTo>
                    <a:pt x="45684" y="17385"/>
                    <a:pt x="54181" y="25882"/>
                    <a:pt x="52765" y="35795"/>
                  </a:cubicBezTo>
                  <a:cubicBezTo>
                    <a:pt x="51349" y="45709"/>
                    <a:pt x="42852" y="54206"/>
                    <a:pt x="32938" y="52790"/>
                  </a:cubicBezTo>
                  <a:cubicBezTo>
                    <a:pt x="23025" y="51373"/>
                    <a:pt x="14528" y="42876"/>
                    <a:pt x="15944" y="32963"/>
                  </a:cubicBezTo>
                  <a:cubicBezTo>
                    <a:pt x="17360" y="21633"/>
                    <a:pt x="25857" y="14552"/>
                    <a:pt x="35771" y="159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0" name="Freeform: Shape 2529">
              <a:extLst>
                <a:ext uri="{FF2B5EF4-FFF2-40B4-BE49-F238E27FC236}">
                  <a16:creationId xmlns:a16="http://schemas.microsoft.com/office/drawing/2014/main" id="{F6DD4CB5-87CD-4696-9A4C-8B7F7FFDEA4B}"/>
                </a:ext>
              </a:extLst>
            </p:cNvPr>
            <p:cNvSpPr/>
            <p:nvPr/>
          </p:nvSpPr>
          <p:spPr>
            <a:xfrm>
              <a:off x="4154036" y="5404196"/>
              <a:ext cx="56648" cy="56648"/>
            </a:xfrm>
            <a:custGeom>
              <a:avLst/>
              <a:gdLst>
                <a:gd name="connsiteX0" fmla="*/ 35771 w 56647"/>
                <a:gd name="connsiteY0" fmla="*/ 15969 h 56647"/>
                <a:gd name="connsiteX1" fmla="*/ 52765 w 56647"/>
                <a:gd name="connsiteY1" fmla="*/ 35795 h 56647"/>
                <a:gd name="connsiteX2" fmla="*/ 32938 w 56647"/>
                <a:gd name="connsiteY2" fmla="*/ 52790 h 56647"/>
                <a:gd name="connsiteX3" fmla="*/ 15944 w 56647"/>
                <a:gd name="connsiteY3" fmla="*/ 32963 h 56647"/>
                <a:gd name="connsiteX4" fmla="*/ 35771 w 56647"/>
                <a:gd name="connsiteY4" fmla="*/ 1596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69"/>
                  </a:moveTo>
                  <a:cubicBezTo>
                    <a:pt x="45684" y="17385"/>
                    <a:pt x="54181" y="25882"/>
                    <a:pt x="52765" y="35795"/>
                  </a:cubicBezTo>
                  <a:cubicBezTo>
                    <a:pt x="51349" y="45709"/>
                    <a:pt x="42852" y="54205"/>
                    <a:pt x="32938" y="52790"/>
                  </a:cubicBezTo>
                  <a:cubicBezTo>
                    <a:pt x="23025" y="51373"/>
                    <a:pt x="14528" y="42876"/>
                    <a:pt x="15944" y="32963"/>
                  </a:cubicBezTo>
                  <a:cubicBezTo>
                    <a:pt x="15944" y="21633"/>
                    <a:pt x="25857" y="14552"/>
                    <a:pt x="35771" y="159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1" name="Freeform: Shape 2530">
              <a:extLst>
                <a:ext uri="{FF2B5EF4-FFF2-40B4-BE49-F238E27FC236}">
                  <a16:creationId xmlns:a16="http://schemas.microsoft.com/office/drawing/2014/main" id="{6ACE3D7D-978B-4443-8079-497887C95447}"/>
                </a:ext>
              </a:extLst>
            </p:cNvPr>
            <p:cNvSpPr/>
            <p:nvPr/>
          </p:nvSpPr>
          <p:spPr>
            <a:xfrm>
              <a:off x="4131532" y="5342063"/>
              <a:ext cx="56648" cy="56648"/>
            </a:xfrm>
            <a:custGeom>
              <a:avLst/>
              <a:gdLst>
                <a:gd name="connsiteX0" fmla="*/ 31367 w 56647"/>
                <a:gd name="connsiteY0" fmla="*/ 15789 h 56647"/>
                <a:gd name="connsiteX1" fmla="*/ 44113 w 56647"/>
                <a:gd name="connsiteY1" fmla="*/ 31367 h 56647"/>
                <a:gd name="connsiteX2" fmla="*/ 28535 w 56647"/>
                <a:gd name="connsiteY2" fmla="*/ 44113 h 56647"/>
                <a:gd name="connsiteX3" fmla="*/ 15789 w 56647"/>
                <a:gd name="connsiteY3" fmla="*/ 28535 h 56647"/>
                <a:gd name="connsiteX4" fmla="*/ 31367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5789"/>
                  </a:moveTo>
                  <a:cubicBezTo>
                    <a:pt x="38448" y="17205"/>
                    <a:pt x="44113" y="22870"/>
                    <a:pt x="44113" y="31367"/>
                  </a:cubicBezTo>
                  <a:cubicBezTo>
                    <a:pt x="42697" y="38448"/>
                    <a:pt x="37032" y="44113"/>
                    <a:pt x="28535" y="44113"/>
                  </a:cubicBezTo>
                  <a:cubicBezTo>
                    <a:pt x="21454" y="42697"/>
                    <a:pt x="15789" y="37032"/>
                    <a:pt x="15789" y="28535"/>
                  </a:cubicBezTo>
                  <a:cubicBezTo>
                    <a:pt x="15789" y="21454"/>
                    <a:pt x="22870" y="15789"/>
                    <a:pt x="31367"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2" name="Freeform: Shape 2531">
              <a:extLst>
                <a:ext uri="{FF2B5EF4-FFF2-40B4-BE49-F238E27FC236}">
                  <a16:creationId xmlns:a16="http://schemas.microsoft.com/office/drawing/2014/main" id="{DDBFB66A-D81E-44DC-849A-A962BA06AE8C}"/>
                </a:ext>
              </a:extLst>
            </p:cNvPr>
            <p:cNvSpPr/>
            <p:nvPr/>
          </p:nvSpPr>
          <p:spPr>
            <a:xfrm>
              <a:off x="3788679" y="4274135"/>
              <a:ext cx="70810" cy="70810"/>
            </a:xfrm>
            <a:custGeom>
              <a:avLst/>
              <a:gdLst>
                <a:gd name="connsiteX0" fmla="*/ 44247 w 70809"/>
                <a:gd name="connsiteY0" fmla="*/ 15909 h 70809"/>
                <a:gd name="connsiteX1" fmla="*/ 66907 w 70809"/>
                <a:gd name="connsiteY1" fmla="*/ 44233 h 70809"/>
                <a:gd name="connsiteX2" fmla="*/ 38583 w 70809"/>
                <a:gd name="connsiteY2" fmla="*/ 66892 h 70809"/>
                <a:gd name="connsiteX3" fmla="*/ 15924 w 70809"/>
                <a:gd name="connsiteY3" fmla="*/ 38568 h 70809"/>
                <a:gd name="connsiteX4" fmla="*/ 44247 w 70809"/>
                <a:gd name="connsiteY4" fmla="*/ 15909 h 70809"/>
                <a:gd name="connsiteX5" fmla="*/ 44247 w 70809"/>
                <a:gd name="connsiteY5" fmla="*/ 15909 h 70809"/>
                <a:gd name="connsiteX6" fmla="*/ 42831 w 70809"/>
                <a:gd name="connsiteY6" fmla="*/ 27239 h 70809"/>
                <a:gd name="connsiteX7" fmla="*/ 27253 w 70809"/>
                <a:gd name="connsiteY7" fmla="*/ 39984 h 70809"/>
                <a:gd name="connsiteX8" fmla="*/ 39999 w 70809"/>
                <a:gd name="connsiteY8" fmla="*/ 55563 h 70809"/>
                <a:gd name="connsiteX9" fmla="*/ 55577 w 70809"/>
                <a:gd name="connsiteY9" fmla="*/ 42817 h 70809"/>
                <a:gd name="connsiteX10" fmla="*/ 42831 w 70809"/>
                <a:gd name="connsiteY10" fmla="*/ 27239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247" y="15909"/>
                  </a:moveTo>
                  <a:cubicBezTo>
                    <a:pt x="58409" y="17325"/>
                    <a:pt x="68323" y="30071"/>
                    <a:pt x="66907" y="44233"/>
                  </a:cubicBezTo>
                  <a:cubicBezTo>
                    <a:pt x="65490" y="58395"/>
                    <a:pt x="52745" y="68308"/>
                    <a:pt x="38583" y="66892"/>
                  </a:cubicBezTo>
                  <a:cubicBezTo>
                    <a:pt x="24421" y="65476"/>
                    <a:pt x="14507" y="52730"/>
                    <a:pt x="15924" y="38568"/>
                  </a:cubicBezTo>
                  <a:cubicBezTo>
                    <a:pt x="17340" y="25822"/>
                    <a:pt x="30085" y="14493"/>
                    <a:pt x="44247" y="15909"/>
                  </a:cubicBezTo>
                  <a:lnTo>
                    <a:pt x="44247" y="15909"/>
                  </a:lnTo>
                  <a:close/>
                  <a:moveTo>
                    <a:pt x="42831" y="27239"/>
                  </a:moveTo>
                  <a:cubicBezTo>
                    <a:pt x="34334" y="25822"/>
                    <a:pt x="27253" y="32903"/>
                    <a:pt x="27253" y="39984"/>
                  </a:cubicBezTo>
                  <a:cubicBezTo>
                    <a:pt x="25837" y="48482"/>
                    <a:pt x="32918" y="55563"/>
                    <a:pt x="39999" y="55563"/>
                  </a:cubicBezTo>
                  <a:cubicBezTo>
                    <a:pt x="48496" y="56979"/>
                    <a:pt x="55577" y="49898"/>
                    <a:pt x="55577" y="42817"/>
                  </a:cubicBezTo>
                  <a:cubicBezTo>
                    <a:pt x="56993" y="35736"/>
                    <a:pt x="49912" y="28655"/>
                    <a:pt x="42831" y="272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3" name="Freeform: Shape 2532">
              <a:extLst>
                <a:ext uri="{FF2B5EF4-FFF2-40B4-BE49-F238E27FC236}">
                  <a16:creationId xmlns:a16="http://schemas.microsoft.com/office/drawing/2014/main" id="{DB1E1331-FAA7-4983-9D54-84C9BF849129}"/>
                </a:ext>
              </a:extLst>
            </p:cNvPr>
            <p:cNvSpPr/>
            <p:nvPr/>
          </p:nvSpPr>
          <p:spPr>
            <a:xfrm>
              <a:off x="3756087" y="3968358"/>
              <a:ext cx="70810" cy="70810"/>
            </a:xfrm>
            <a:custGeom>
              <a:avLst/>
              <a:gdLst>
                <a:gd name="connsiteX0" fmla="*/ 40018 w 70809"/>
                <a:gd name="connsiteY0" fmla="*/ 15789 h 70809"/>
                <a:gd name="connsiteX1" fmla="*/ 59845 w 70809"/>
                <a:gd name="connsiteY1" fmla="*/ 39864 h 70809"/>
                <a:gd name="connsiteX2" fmla="*/ 35770 w 70809"/>
                <a:gd name="connsiteY2" fmla="*/ 59691 h 70809"/>
                <a:gd name="connsiteX3" fmla="*/ 15943 w 70809"/>
                <a:gd name="connsiteY3" fmla="*/ 35616 h 70809"/>
                <a:gd name="connsiteX4" fmla="*/ 40018 w 70809"/>
                <a:gd name="connsiteY4" fmla="*/ 1578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789"/>
                  </a:moveTo>
                  <a:cubicBezTo>
                    <a:pt x="52764" y="17205"/>
                    <a:pt x="61261" y="27118"/>
                    <a:pt x="59845" y="39864"/>
                  </a:cubicBezTo>
                  <a:cubicBezTo>
                    <a:pt x="58429" y="52610"/>
                    <a:pt x="48515" y="61107"/>
                    <a:pt x="35770" y="59691"/>
                  </a:cubicBezTo>
                  <a:cubicBezTo>
                    <a:pt x="23024" y="58275"/>
                    <a:pt x="14527" y="48361"/>
                    <a:pt x="15943" y="35616"/>
                  </a:cubicBezTo>
                  <a:cubicBezTo>
                    <a:pt x="17359" y="24286"/>
                    <a:pt x="28689" y="15789"/>
                    <a:pt x="4001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4" name="Freeform: Shape 2533">
              <a:extLst>
                <a:ext uri="{FF2B5EF4-FFF2-40B4-BE49-F238E27FC236}">
                  <a16:creationId xmlns:a16="http://schemas.microsoft.com/office/drawing/2014/main" id="{F98DB794-2257-43C9-B47D-6CE71134E77C}"/>
                </a:ext>
              </a:extLst>
            </p:cNvPr>
            <p:cNvSpPr/>
            <p:nvPr/>
          </p:nvSpPr>
          <p:spPr>
            <a:xfrm>
              <a:off x="4066206" y="4060410"/>
              <a:ext cx="56648" cy="56648"/>
            </a:xfrm>
            <a:custGeom>
              <a:avLst/>
              <a:gdLst>
                <a:gd name="connsiteX0" fmla="*/ 32965 w 56647"/>
                <a:gd name="connsiteY0" fmla="*/ 15789 h 56647"/>
                <a:gd name="connsiteX1" fmla="*/ 47127 w 56647"/>
                <a:gd name="connsiteY1" fmla="*/ 32783 h 56647"/>
                <a:gd name="connsiteX2" fmla="*/ 30132 w 56647"/>
                <a:gd name="connsiteY2" fmla="*/ 46945 h 56647"/>
                <a:gd name="connsiteX3" fmla="*/ 15970 w 56647"/>
                <a:gd name="connsiteY3" fmla="*/ 29951 h 56647"/>
                <a:gd name="connsiteX4" fmla="*/ 32965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789"/>
                  </a:moveTo>
                  <a:cubicBezTo>
                    <a:pt x="41462" y="17205"/>
                    <a:pt x="48543" y="24286"/>
                    <a:pt x="47127" y="32783"/>
                  </a:cubicBezTo>
                  <a:cubicBezTo>
                    <a:pt x="45710" y="41280"/>
                    <a:pt x="38629" y="48361"/>
                    <a:pt x="30132" y="46945"/>
                  </a:cubicBezTo>
                  <a:cubicBezTo>
                    <a:pt x="21635" y="45529"/>
                    <a:pt x="14554" y="38448"/>
                    <a:pt x="15970" y="29951"/>
                  </a:cubicBezTo>
                  <a:cubicBezTo>
                    <a:pt x="15970" y="21454"/>
                    <a:pt x="24467" y="15789"/>
                    <a:pt x="32965"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5" name="Freeform: Shape 2534">
              <a:extLst>
                <a:ext uri="{FF2B5EF4-FFF2-40B4-BE49-F238E27FC236}">
                  <a16:creationId xmlns:a16="http://schemas.microsoft.com/office/drawing/2014/main" id="{D907BCF6-64AE-42C0-BD8D-FDE480066882}"/>
                </a:ext>
              </a:extLst>
            </p:cNvPr>
            <p:cNvSpPr/>
            <p:nvPr/>
          </p:nvSpPr>
          <p:spPr>
            <a:xfrm>
              <a:off x="3671269" y="4312492"/>
              <a:ext cx="42486" cy="42486"/>
            </a:xfrm>
            <a:custGeom>
              <a:avLst/>
              <a:gdLst>
                <a:gd name="connsiteX0" fmla="*/ 25703 w 42485"/>
                <a:gd name="connsiteY0" fmla="*/ 15789 h 42485"/>
                <a:gd name="connsiteX1" fmla="*/ 34200 w 42485"/>
                <a:gd name="connsiteY1" fmla="*/ 25703 h 42485"/>
                <a:gd name="connsiteX2" fmla="*/ 24286 w 42485"/>
                <a:gd name="connsiteY2" fmla="*/ 34199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31367" y="15789"/>
                    <a:pt x="34200" y="21454"/>
                    <a:pt x="34200" y="25703"/>
                  </a:cubicBezTo>
                  <a:cubicBezTo>
                    <a:pt x="34200" y="31367"/>
                    <a:pt x="28535" y="34199"/>
                    <a:pt x="24286" y="34199"/>
                  </a:cubicBezTo>
                  <a:cubicBezTo>
                    <a:pt x="18622" y="34199"/>
                    <a:pt x="15789" y="28535"/>
                    <a:pt x="15789" y="24286"/>
                  </a:cubicBezTo>
                  <a:cubicBezTo>
                    <a:pt x="15789" y="20037"/>
                    <a:pt x="20038" y="15789"/>
                    <a:pt x="25703"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6" name="Freeform: Shape 2535">
              <a:extLst>
                <a:ext uri="{FF2B5EF4-FFF2-40B4-BE49-F238E27FC236}">
                  <a16:creationId xmlns:a16="http://schemas.microsoft.com/office/drawing/2014/main" id="{725704E8-A583-4906-91D3-6AF67EE9AD42}"/>
                </a:ext>
              </a:extLst>
            </p:cNvPr>
            <p:cNvSpPr/>
            <p:nvPr/>
          </p:nvSpPr>
          <p:spPr>
            <a:xfrm>
              <a:off x="3879450" y="4068907"/>
              <a:ext cx="42486" cy="42486"/>
            </a:xfrm>
            <a:custGeom>
              <a:avLst/>
              <a:gdLst>
                <a:gd name="connsiteX0" fmla="*/ 25702 w 42485"/>
                <a:gd name="connsiteY0" fmla="*/ 15789 h 42485"/>
                <a:gd name="connsiteX1" fmla="*/ 34199 w 42485"/>
                <a:gd name="connsiteY1" fmla="*/ 25703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0038"/>
                    <a:pt x="34199" y="25703"/>
                  </a:cubicBezTo>
                  <a:cubicBezTo>
                    <a:pt x="34199" y="31367"/>
                    <a:pt x="28535" y="34200"/>
                    <a:pt x="24286" y="34200"/>
                  </a:cubicBezTo>
                  <a:cubicBezTo>
                    <a:pt x="18621" y="34200"/>
                    <a:pt x="15789" y="29951"/>
                    <a:pt x="15789" y="24286"/>
                  </a:cubicBezTo>
                  <a:cubicBezTo>
                    <a:pt x="15789" y="18622"/>
                    <a:pt x="20037"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7" name="Freeform: Shape 2536">
              <a:extLst>
                <a:ext uri="{FF2B5EF4-FFF2-40B4-BE49-F238E27FC236}">
                  <a16:creationId xmlns:a16="http://schemas.microsoft.com/office/drawing/2014/main" id="{71096569-4CF9-44EB-98C7-2848F05F84DB}"/>
                </a:ext>
              </a:extLst>
            </p:cNvPr>
            <p:cNvSpPr/>
            <p:nvPr/>
          </p:nvSpPr>
          <p:spPr>
            <a:xfrm>
              <a:off x="3668330" y="4096869"/>
              <a:ext cx="84971" cy="84971"/>
            </a:xfrm>
            <a:custGeom>
              <a:avLst/>
              <a:gdLst>
                <a:gd name="connsiteX0" fmla="*/ 51301 w 84971"/>
                <a:gd name="connsiteY0" fmla="*/ 16151 h 84971"/>
                <a:gd name="connsiteX1" fmla="*/ 81041 w 84971"/>
                <a:gd name="connsiteY1" fmla="*/ 51556 h 84971"/>
                <a:gd name="connsiteX2" fmla="*/ 45636 w 84971"/>
                <a:gd name="connsiteY2" fmla="*/ 81296 h 84971"/>
                <a:gd name="connsiteX3" fmla="*/ 15896 w 84971"/>
                <a:gd name="connsiteY3" fmla="*/ 45891 h 84971"/>
                <a:gd name="connsiteX4" fmla="*/ 51301 w 84971"/>
                <a:gd name="connsiteY4" fmla="*/ 16151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51301" y="16151"/>
                  </a:moveTo>
                  <a:cubicBezTo>
                    <a:pt x="69712" y="17567"/>
                    <a:pt x="82457" y="33145"/>
                    <a:pt x="81041" y="51556"/>
                  </a:cubicBezTo>
                  <a:cubicBezTo>
                    <a:pt x="79625" y="69966"/>
                    <a:pt x="62631" y="82712"/>
                    <a:pt x="45636" y="81296"/>
                  </a:cubicBezTo>
                  <a:cubicBezTo>
                    <a:pt x="27226" y="79879"/>
                    <a:pt x="14480" y="62885"/>
                    <a:pt x="15896" y="45891"/>
                  </a:cubicBezTo>
                  <a:cubicBezTo>
                    <a:pt x="17313" y="27481"/>
                    <a:pt x="34307" y="13319"/>
                    <a:pt x="51301" y="161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8" name="Freeform: Shape 2537">
              <a:extLst>
                <a:ext uri="{FF2B5EF4-FFF2-40B4-BE49-F238E27FC236}">
                  <a16:creationId xmlns:a16="http://schemas.microsoft.com/office/drawing/2014/main" id="{6FFE5B35-2591-4DDF-8D19-9B5387B3B4E9}"/>
                </a:ext>
              </a:extLst>
            </p:cNvPr>
            <p:cNvSpPr/>
            <p:nvPr/>
          </p:nvSpPr>
          <p:spPr>
            <a:xfrm>
              <a:off x="4225000" y="4136610"/>
              <a:ext cx="42486" cy="42486"/>
            </a:xfrm>
            <a:custGeom>
              <a:avLst/>
              <a:gdLst>
                <a:gd name="connsiteX0" fmla="*/ 25702 w 42485"/>
                <a:gd name="connsiteY0" fmla="*/ 16064 h 42485"/>
                <a:gd name="connsiteX1" fmla="*/ 34200 w 42485"/>
                <a:gd name="connsiteY1" fmla="*/ 25977 h 42485"/>
                <a:gd name="connsiteX2" fmla="*/ 24286 w 42485"/>
                <a:gd name="connsiteY2" fmla="*/ 34474 h 42485"/>
                <a:gd name="connsiteX3" fmla="*/ 15789 w 42485"/>
                <a:gd name="connsiteY3" fmla="*/ 24561 h 42485"/>
                <a:gd name="connsiteX4" fmla="*/ 25702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6064"/>
                  </a:moveTo>
                  <a:cubicBezTo>
                    <a:pt x="29951" y="16064"/>
                    <a:pt x="34200" y="20312"/>
                    <a:pt x="34200" y="25977"/>
                  </a:cubicBezTo>
                  <a:cubicBezTo>
                    <a:pt x="34200" y="30225"/>
                    <a:pt x="29951" y="34474"/>
                    <a:pt x="24286" y="34474"/>
                  </a:cubicBezTo>
                  <a:cubicBezTo>
                    <a:pt x="20038" y="34474"/>
                    <a:pt x="15789" y="30225"/>
                    <a:pt x="15789" y="24561"/>
                  </a:cubicBezTo>
                  <a:cubicBezTo>
                    <a:pt x="15789" y="18896"/>
                    <a:pt x="20038" y="14647"/>
                    <a:pt x="25702" y="160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9" name="Freeform: Shape 2538">
              <a:extLst>
                <a:ext uri="{FF2B5EF4-FFF2-40B4-BE49-F238E27FC236}">
                  <a16:creationId xmlns:a16="http://schemas.microsoft.com/office/drawing/2014/main" id="{30E1128A-C8E5-42E4-B92F-BF5F12BE4646}"/>
                </a:ext>
              </a:extLst>
            </p:cNvPr>
            <p:cNvSpPr/>
            <p:nvPr/>
          </p:nvSpPr>
          <p:spPr>
            <a:xfrm>
              <a:off x="3968670" y="4020482"/>
              <a:ext cx="42486" cy="42486"/>
            </a:xfrm>
            <a:custGeom>
              <a:avLst/>
              <a:gdLst>
                <a:gd name="connsiteX0" fmla="*/ 25703 w 42485"/>
                <a:gd name="connsiteY0" fmla="*/ 16063 h 42485"/>
                <a:gd name="connsiteX1" fmla="*/ 34200 w 42485"/>
                <a:gd name="connsiteY1" fmla="*/ 25977 h 42485"/>
                <a:gd name="connsiteX2" fmla="*/ 24286 w 42485"/>
                <a:gd name="connsiteY2" fmla="*/ 34474 h 42485"/>
                <a:gd name="connsiteX3" fmla="*/ 15789 w 42485"/>
                <a:gd name="connsiteY3" fmla="*/ 24561 h 42485"/>
                <a:gd name="connsiteX4" fmla="*/ 25703 w 42485"/>
                <a:gd name="connsiteY4" fmla="*/ 1606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3"/>
                  </a:moveTo>
                  <a:cubicBezTo>
                    <a:pt x="29951" y="16063"/>
                    <a:pt x="34200" y="20312"/>
                    <a:pt x="34200" y="25977"/>
                  </a:cubicBezTo>
                  <a:cubicBezTo>
                    <a:pt x="34200" y="30225"/>
                    <a:pt x="29951" y="34474"/>
                    <a:pt x="24286" y="34474"/>
                  </a:cubicBezTo>
                  <a:cubicBezTo>
                    <a:pt x="20038" y="34474"/>
                    <a:pt x="15789" y="30225"/>
                    <a:pt x="15789" y="24561"/>
                  </a:cubicBezTo>
                  <a:cubicBezTo>
                    <a:pt x="17205" y="18896"/>
                    <a:pt x="21454" y="14647"/>
                    <a:pt x="25703" y="1606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0" name="Freeform: Shape 2539">
              <a:extLst>
                <a:ext uri="{FF2B5EF4-FFF2-40B4-BE49-F238E27FC236}">
                  <a16:creationId xmlns:a16="http://schemas.microsoft.com/office/drawing/2014/main" id="{09B3CCE1-ADF0-42BC-A83E-F47F6DEFE287}"/>
                </a:ext>
              </a:extLst>
            </p:cNvPr>
            <p:cNvSpPr/>
            <p:nvPr/>
          </p:nvSpPr>
          <p:spPr>
            <a:xfrm>
              <a:off x="3642946" y="4002072"/>
              <a:ext cx="42486" cy="42486"/>
            </a:xfrm>
            <a:custGeom>
              <a:avLst/>
              <a:gdLst>
                <a:gd name="connsiteX0" fmla="*/ 25703 w 42485"/>
                <a:gd name="connsiteY0" fmla="*/ 16064 h 42485"/>
                <a:gd name="connsiteX1" fmla="*/ 34200 w 42485"/>
                <a:gd name="connsiteY1" fmla="*/ 25977 h 42485"/>
                <a:gd name="connsiteX2" fmla="*/ 24286 w 42485"/>
                <a:gd name="connsiteY2" fmla="*/ 34474 h 42485"/>
                <a:gd name="connsiteX3" fmla="*/ 15789 w 42485"/>
                <a:gd name="connsiteY3" fmla="*/ 24561 h 42485"/>
                <a:gd name="connsiteX4" fmla="*/ 25703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4"/>
                  </a:moveTo>
                  <a:cubicBezTo>
                    <a:pt x="29951" y="16064"/>
                    <a:pt x="34200" y="20312"/>
                    <a:pt x="34200" y="25977"/>
                  </a:cubicBezTo>
                  <a:cubicBezTo>
                    <a:pt x="34200" y="30225"/>
                    <a:pt x="29951" y="34474"/>
                    <a:pt x="24286" y="34474"/>
                  </a:cubicBezTo>
                  <a:cubicBezTo>
                    <a:pt x="20038" y="34474"/>
                    <a:pt x="15789" y="30225"/>
                    <a:pt x="15789" y="24561"/>
                  </a:cubicBezTo>
                  <a:cubicBezTo>
                    <a:pt x="15789" y="18896"/>
                    <a:pt x="20038" y="14647"/>
                    <a:pt x="25703" y="160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1" name="Freeform: Shape 2540">
              <a:extLst>
                <a:ext uri="{FF2B5EF4-FFF2-40B4-BE49-F238E27FC236}">
                  <a16:creationId xmlns:a16="http://schemas.microsoft.com/office/drawing/2014/main" id="{5D0C9687-DD11-497B-8057-62988B1D92E5}"/>
                </a:ext>
              </a:extLst>
            </p:cNvPr>
            <p:cNvSpPr/>
            <p:nvPr/>
          </p:nvSpPr>
          <p:spPr>
            <a:xfrm>
              <a:off x="3686848" y="4183619"/>
              <a:ext cx="42486" cy="42486"/>
            </a:xfrm>
            <a:custGeom>
              <a:avLst/>
              <a:gdLst>
                <a:gd name="connsiteX0" fmla="*/ 25702 w 42485"/>
                <a:gd name="connsiteY0" fmla="*/ 15789 h 42485"/>
                <a:gd name="connsiteX1" fmla="*/ 34200 w 42485"/>
                <a:gd name="connsiteY1" fmla="*/ 25703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29951" y="15789"/>
                    <a:pt x="34200" y="20038"/>
                    <a:pt x="34200" y="25703"/>
                  </a:cubicBezTo>
                  <a:cubicBezTo>
                    <a:pt x="34200" y="29951"/>
                    <a:pt x="29951" y="34200"/>
                    <a:pt x="24286" y="34200"/>
                  </a:cubicBezTo>
                  <a:cubicBezTo>
                    <a:pt x="20038" y="34200"/>
                    <a:pt x="15789" y="29951"/>
                    <a:pt x="15789" y="24286"/>
                  </a:cubicBezTo>
                  <a:cubicBezTo>
                    <a:pt x="17205" y="18622"/>
                    <a:pt x="21454"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2" name="Freeform: Shape 2541">
              <a:extLst>
                <a:ext uri="{FF2B5EF4-FFF2-40B4-BE49-F238E27FC236}">
                  <a16:creationId xmlns:a16="http://schemas.microsoft.com/office/drawing/2014/main" id="{313B34B9-E5F2-4DCE-89C8-E373526B4F57}"/>
                </a:ext>
              </a:extLst>
            </p:cNvPr>
            <p:cNvSpPr/>
            <p:nvPr/>
          </p:nvSpPr>
          <p:spPr>
            <a:xfrm>
              <a:off x="4080180" y="4180787"/>
              <a:ext cx="42486" cy="42486"/>
            </a:xfrm>
            <a:custGeom>
              <a:avLst/>
              <a:gdLst>
                <a:gd name="connsiteX0" fmla="*/ 23238 w 42485"/>
                <a:gd name="connsiteY0" fmla="*/ 15789 h 42485"/>
                <a:gd name="connsiteX1" fmla="*/ 28903 w 42485"/>
                <a:gd name="connsiteY1" fmla="*/ 22870 h 42485"/>
                <a:gd name="connsiteX2" fmla="*/ 21822 w 42485"/>
                <a:gd name="connsiteY2" fmla="*/ 28535 h 42485"/>
                <a:gd name="connsiteX3" fmla="*/ 16157 w 42485"/>
                <a:gd name="connsiteY3" fmla="*/ 21454 h 42485"/>
                <a:gd name="connsiteX4" fmla="*/ 2323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5789"/>
                  </a:moveTo>
                  <a:cubicBezTo>
                    <a:pt x="27487" y="15789"/>
                    <a:pt x="30319" y="20037"/>
                    <a:pt x="28903" y="22870"/>
                  </a:cubicBezTo>
                  <a:cubicBezTo>
                    <a:pt x="28903" y="27118"/>
                    <a:pt x="24654" y="29951"/>
                    <a:pt x="21822" y="28535"/>
                  </a:cubicBezTo>
                  <a:cubicBezTo>
                    <a:pt x="17574" y="28535"/>
                    <a:pt x="14741" y="24286"/>
                    <a:pt x="16157" y="21454"/>
                  </a:cubicBezTo>
                  <a:cubicBezTo>
                    <a:pt x="16157" y="18621"/>
                    <a:pt x="18990" y="15789"/>
                    <a:pt x="2323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3" name="Freeform: Shape 2542">
              <a:extLst>
                <a:ext uri="{FF2B5EF4-FFF2-40B4-BE49-F238E27FC236}">
                  <a16:creationId xmlns:a16="http://schemas.microsoft.com/office/drawing/2014/main" id="{587408DA-A476-4B32-88D0-197CCB15A7CF}"/>
                </a:ext>
              </a:extLst>
            </p:cNvPr>
            <p:cNvSpPr/>
            <p:nvPr/>
          </p:nvSpPr>
          <p:spPr>
            <a:xfrm>
              <a:off x="3465922" y="4659459"/>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7205" y="46945"/>
                    <a:pt x="25703"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4" name="Freeform: Shape 2543">
              <a:extLst>
                <a:ext uri="{FF2B5EF4-FFF2-40B4-BE49-F238E27FC236}">
                  <a16:creationId xmlns:a16="http://schemas.microsoft.com/office/drawing/2014/main" id="{104756DD-12C6-4BA8-88C4-BF6C354F5501}"/>
                </a:ext>
              </a:extLst>
            </p:cNvPr>
            <p:cNvSpPr/>
            <p:nvPr/>
          </p:nvSpPr>
          <p:spPr>
            <a:xfrm>
              <a:off x="4595935" y="4407377"/>
              <a:ext cx="70810" cy="70810"/>
            </a:xfrm>
            <a:custGeom>
              <a:avLst/>
              <a:gdLst>
                <a:gd name="connsiteX0" fmla="*/ 41388 w 70809"/>
                <a:gd name="connsiteY0" fmla="*/ 66772 h 70809"/>
                <a:gd name="connsiteX1" fmla="*/ 66879 w 70809"/>
                <a:gd name="connsiteY1" fmla="*/ 41280 h 70809"/>
                <a:gd name="connsiteX2" fmla="*/ 41388 w 70809"/>
                <a:gd name="connsiteY2" fmla="*/ 15789 h 70809"/>
                <a:gd name="connsiteX3" fmla="*/ 15897 w 70809"/>
                <a:gd name="connsiteY3" fmla="*/ 41280 h 70809"/>
                <a:gd name="connsiteX4" fmla="*/ 41388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388" y="66772"/>
                  </a:moveTo>
                  <a:cubicBezTo>
                    <a:pt x="55550" y="66772"/>
                    <a:pt x="66879" y="55442"/>
                    <a:pt x="66879" y="41280"/>
                  </a:cubicBezTo>
                  <a:cubicBezTo>
                    <a:pt x="66879" y="27118"/>
                    <a:pt x="55550" y="15789"/>
                    <a:pt x="41388" y="15789"/>
                  </a:cubicBezTo>
                  <a:cubicBezTo>
                    <a:pt x="27226" y="15789"/>
                    <a:pt x="15897" y="27118"/>
                    <a:pt x="15897" y="41280"/>
                  </a:cubicBezTo>
                  <a:cubicBezTo>
                    <a:pt x="14481" y="54026"/>
                    <a:pt x="27226" y="66772"/>
                    <a:pt x="41388"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5" name="Freeform: Shape 2544">
              <a:extLst>
                <a:ext uri="{FF2B5EF4-FFF2-40B4-BE49-F238E27FC236}">
                  <a16:creationId xmlns:a16="http://schemas.microsoft.com/office/drawing/2014/main" id="{AAFC6ECF-B542-4997-9A58-29D631809D56}"/>
                </a:ext>
              </a:extLst>
            </p:cNvPr>
            <p:cNvSpPr/>
            <p:nvPr/>
          </p:nvSpPr>
          <p:spPr>
            <a:xfrm>
              <a:off x="3849710" y="3829571"/>
              <a:ext cx="42486" cy="42486"/>
            </a:xfrm>
            <a:custGeom>
              <a:avLst/>
              <a:gdLst>
                <a:gd name="connsiteX0" fmla="*/ 25702 w 42485"/>
                <a:gd name="connsiteY0" fmla="*/ 15789 h 42485"/>
                <a:gd name="connsiteX1" fmla="*/ 34200 w 42485"/>
                <a:gd name="connsiteY1" fmla="*/ 25703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29951" y="15789"/>
                    <a:pt x="34200" y="20038"/>
                    <a:pt x="34200" y="25703"/>
                  </a:cubicBezTo>
                  <a:cubicBezTo>
                    <a:pt x="34200" y="29951"/>
                    <a:pt x="29951" y="34200"/>
                    <a:pt x="24286" y="34200"/>
                  </a:cubicBezTo>
                  <a:cubicBezTo>
                    <a:pt x="20038" y="34200"/>
                    <a:pt x="15789" y="29951"/>
                    <a:pt x="15789" y="24286"/>
                  </a:cubicBezTo>
                  <a:cubicBezTo>
                    <a:pt x="15789" y="20038"/>
                    <a:pt x="20038"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6" name="Freeform: Shape 2545">
              <a:extLst>
                <a:ext uri="{FF2B5EF4-FFF2-40B4-BE49-F238E27FC236}">
                  <a16:creationId xmlns:a16="http://schemas.microsoft.com/office/drawing/2014/main" id="{858E4BEB-0C0D-47C4-A172-67FFFB736CF1}"/>
                </a:ext>
              </a:extLst>
            </p:cNvPr>
            <p:cNvSpPr/>
            <p:nvPr/>
          </p:nvSpPr>
          <p:spPr>
            <a:xfrm>
              <a:off x="3406442" y="4030670"/>
              <a:ext cx="42486" cy="42486"/>
            </a:xfrm>
            <a:custGeom>
              <a:avLst/>
              <a:gdLst>
                <a:gd name="connsiteX0" fmla="*/ 25702 w 42485"/>
                <a:gd name="connsiteY0" fmla="*/ 15789 h 42485"/>
                <a:gd name="connsiteX1" fmla="*/ 34200 w 42485"/>
                <a:gd name="connsiteY1" fmla="*/ 25702 h 42485"/>
                <a:gd name="connsiteX2" fmla="*/ 24286 w 42485"/>
                <a:gd name="connsiteY2" fmla="*/ 34199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29951" y="15789"/>
                    <a:pt x="34200" y="20037"/>
                    <a:pt x="34200" y="25702"/>
                  </a:cubicBezTo>
                  <a:cubicBezTo>
                    <a:pt x="34200" y="29951"/>
                    <a:pt x="29951" y="34199"/>
                    <a:pt x="24286" y="34199"/>
                  </a:cubicBezTo>
                  <a:cubicBezTo>
                    <a:pt x="20038" y="34199"/>
                    <a:pt x="15789" y="29951"/>
                    <a:pt x="15789" y="24286"/>
                  </a:cubicBezTo>
                  <a:cubicBezTo>
                    <a:pt x="15789" y="18621"/>
                    <a:pt x="20038"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7" name="Freeform: Shape 2546">
              <a:extLst>
                <a:ext uri="{FF2B5EF4-FFF2-40B4-BE49-F238E27FC236}">
                  <a16:creationId xmlns:a16="http://schemas.microsoft.com/office/drawing/2014/main" id="{DF76F185-55DB-485F-B751-8E2AD440D31B}"/>
                </a:ext>
              </a:extLst>
            </p:cNvPr>
            <p:cNvSpPr/>
            <p:nvPr/>
          </p:nvSpPr>
          <p:spPr>
            <a:xfrm>
              <a:off x="3291730" y="4390383"/>
              <a:ext cx="42486" cy="42486"/>
            </a:xfrm>
            <a:custGeom>
              <a:avLst/>
              <a:gdLst>
                <a:gd name="connsiteX0" fmla="*/ 25702 w 42485"/>
                <a:gd name="connsiteY0" fmla="*/ 15789 h 42485"/>
                <a:gd name="connsiteX1" fmla="*/ 34199 w 42485"/>
                <a:gd name="connsiteY1" fmla="*/ 25703 h 42485"/>
                <a:gd name="connsiteX2" fmla="*/ 24286 w 42485"/>
                <a:gd name="connsiteY2" fmla="*/ 34199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29951" y="15789"/>
                    <a:pt x="34199" y="20037"/>
                    <a:pt x="34199" y="25703"/>
                  </a:cubicBezTo>
                  <a:cubicBezTo>
                    <a:pt x="34199" y="29951"/>
                    <a:pt x="29951" y="34199"/>
                    <a:pt x="24286" y="34199"/>
                  </a:cubicBezTo>
                  <a:cubicBezTo>
                    <a:pt x="20037" y="34199"/>
                    <a:pt x="15789" y="29951"/>
                    <a:pt x="15789" y="24286"/>
                  </a:cubicBezTo>
                  <a:cubicBezTo>
                    <a:pt x="17205" y="18622"/>
                    <a:pt x="21454"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8" name="Freeform: Shape 2547">
              <a:extLst>
                <a:ext uri="{FF2B5EF4-FFF2-40B4-BE49-F238E27FC236}">
                  <a16:creationId xmlns:a16="http://schemas.microsoft.com/office/drawing/2014/main" id="{316ECB3D-6B4F-4D0D-83D1-3F9B2B248915}"/>
                </a:ext>
              </a:extLst>
            </p:cNvPr>
            <p:cNvSpPr/>
            <p:nvPr/>
          </p:nvSpPr>
          <p:spPr>
            <a:xfrm>
              <a:off x="4189227" y="4054745"/>
              <a:ext cx="42486" cy="42486"/>
            </a:xfrm>
            <a:custGeom>
              <a:avLst/>
              <a:gdLst>
                <a:gd name="connsiteX0" fmla="*/ 23238 w 42485"/>
                <a:gd name="connsiteY0" fmla="*/ 15789 h 42485"/>
                <a:gd name="connsiteX1" fmla="*/ 28903 w 42485"/>
                <a:gd name="connsiteY1" fmla="*/ 22870 h 42485"/>
                <a:gd name="connsiteX2" fmla="*/ 21822 w 42485"/>
                <a:gd name="connsiteY2" fmla="*/ 28535 h 42485"/>
                <a:gd name="connsiteX3" fmla="*/ 16157 w 42485"/>
                <a:gd name="connsiteY3" fmla="*/ 21454 h 42485"/>
                <a:gd name="connsiteX4" fmla="*/ 2323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5789"/>
                  </a:moveTo>
                  <a:cubicBezTo>
                    <a:pt x="27487" y="15789"/>
                    <a:pt x="30319" y="20038"/>
                    <a:pt x="28903" y="22870"/>
                  </a:cubicBezTo>
                  <a:cubicBezTo>
                    <a:pt x="28903" y="27119"/>
                    <a:pt x="24655" y="29951"/>
                    <a:pt x="21822" y="28535"/>
                  </a:cubicBezTo>
                  <a:cubicBezTo>
                    <a:pt x="17574" y="28535"/>
                    <a:pt x="14741" y="24286"/>
                    <a:pt x="16157" y="21454"/>
                  </a:cubicBezTo>
                  <a:cubicBezTo>
                    <a:pt x="16157" y="18622"/>
                    <a:pt x="20406" y="15789"/>
                    <a:pt x="2323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9" name="Freeform: Shape 2548">
              <a:extLst>
                <a:ext uri="{FF2B5EF4-FFF2-40B4-BE49-F238E27FC236}">
                  <a16:creationId xmlns:a16="http://schemas.microsoft.com/office/drawing/2014/main" id="{FE7E787C-F8C3-45A3-A491-A2D465CE74CB}"/>
                </a:ext>
              </a:extLst>
            </p:cNvPr>
            <p:cNvSpPr/>
            <p:nvPr/>
          </p:nvSpPr>
          <p:spPr>
            <a:xfrm>
              <a:off x="3371037" y="4135468"/>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29" y="55442"/>
                    <a:pt x="55442" y="46945"/>
                    <a:pt x="55442" y="35616"/>
                  </a:cubicBezTo>
                  <a:cubicBezTo>
                    <a:pt x="55442" y="25703"/>
                    <a:pt x="46945" y="15789"/>
                    <a:pt x="35616" y="15789"/>
                  </a:cubicBezTo>
                  <a:cubicBezTo>
                    <a:pt x="25702" y="15789"/>
                    <a:pt x="15789" y="24286"/>
                    <a:pt x="15789" y="35616"/>
                  </a:cubicBezTo>
                  <a:cubicBezTo>
                    <a:pt x="15789" y="46945"/>
                    <a:pt x="24286"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0" name="Freeform: Shape 2549">
              <a:extLst>
                <a:ext uri="{FF2B5EF4-FFF2-40B4-BE49-F238E27FC236}">
                  <a16:creationId xmlns:a16="http://schemas.microsoft.com/office/drawing/2014/main" id="{C5C73519-3AF0-46A9-AFA2-5590D9FDD6A4}"/>
                </a:ext>
              </a:extLst>
            </p:cNvPr>
            <p:cNvSpPr/>
            <p:nvPr/>
          </p:nvSpPr>
          <p:spPr>
            <a:xfrm>
              <a:off x="3429101" y="3900381"/>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29" y="55442"/>
                    <a:pt x="55442" y="46945"/>
                    <a:pt x="55442" y="35616"/>
                  </a:cubicBezTo>
                  <a:cubicBezTo>
                    <a:pt x="55442" y="25703"/>
                    <a:pt x="46945" y="15789"/>
                    <a:pt x="35616" y="15789"/>
                  </a:cubicBezTo>
                  <a:cubicBezTo>
                    <a:pt x="25702" y="15789"/>
                    <a:pt x="15789" y="24286"/>
                    <a:pt x="15789" y="35616"/>
                  </a:cubicBezTo>
                  <a:cubicBezTo>
                    <a:pt x="15789" y="46945"/>
                    <a:pt x="25702"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1" name="Freeform: Shape 2550">
              <a:extLst>
                <a:ext uri="{FF2B5EF4-FFF2-40B4-BE49-F238E27FC236}">
                  <a16:creationId xmlns:a16="http://schemas.microsoft.com/office/drawing/2014/main" id="{11D267A9-7863-4AFE-89E2-60828B381BE2}"/>
                </a:ext>
              </a:extLst>
            </p:cNvPr>
            <p:cNvSpPr/>
            <p:nvPr/>
          </p:nvSpPr>
          <p:spPr>
            <a:xfrm>
              <a:off x="4475511" y="5029085"/>
              <a:ext cx="56648" cy="56648"/>
            </a:xfrm>
            <a:custGeom>
              <a:avLst/>
              <a:gdLst>
                <a:gd name="connsiteX0" fmla="*/ 32938 w 56647"/>
                <a:gd name="connsiteY0" fmla="*/ 49777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7"/>
                  </a:moveTo>
                  <a:cubicBezTo>
                    <a:pt x="42852" y="49777"/>
                    <a:pt x="49933" y="41280"/>
                    <a:pt x="49933" y="32783"/>
                  </a:cubicBezTo>
                  <a:cubicBezTo>
                    <a:pt x="49933" y="22870"/>
                    <a:pt x="41435" y="15789"/>
                    <a:pt x="32938" y="15789"/>
                  </a:cubicBezTo>
                  <a:cubicBezTo>
                    <a:pt x="23025" y="15789"/>
                    <a:pt x="15944" y="24286"/>
                    <a:pt x="15944" y="32783"/>
                  </a:cubicBezTo>
                  <a:cubicBezTo>
                    <a:pt x="14528" y="41280"/>
                    <a:pt x="23025" y="49777"/>
                    <a:pt x="32938"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2" name="Freeform: Shape 2551">
              <a:extLst>
                <a:ext uri="{FF2B5EF4-FFF2-40B4-BE49-F238E27FC236}">
                  <a16:creationId xmlns:a16="http://schemas.microsoft.com/office/drawing/2014/main" id="{36AFD172-85C5-45B1-9C78-480BBF37B74C}"/>
                </a:ext>
              </a:extLst>
            </p:cNvPr>
            <p:cNvSpPr/>
            <p:nvPr/>
          </p:nvSpPr>
          <p:spPr>
            <a:xfrm>
              <a:off x="4698008" y="4522088"/>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8" y="15789"/>
                    <a:pt x="15789" y="20038"/>
                    <a:pt x="15789" y="25703"/>
                  </a:cubicBezTo>
                  <a:cubicBezTo>
                    <a:pt x="17205" y="31367"/>
                    <a:pt x="21454"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3" name="Freeform: Shape 2552">
              <a:extLst>
                <a:ext uri="{FF2B5EF4-FFF2-40B4-BE49-F238E27FC236}">
                  <a16:creationId xmlns:a16="http://schemas.microsoft.com/office/drawing/2014/main" id="{A3E1C295-F27F-4F1D-A991-C230B976913A}"/>
                </a:ext>
              </a:extLst>
            </p:cNvPr>
            <p:cNvSpPr/>
            <p:nvPr/>
          </p:nvSpPr>
          <p:spPr>
            <a:xfrm>
              <a:off x="4399192" y="4308244"/>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7"/>
                    <a:pt x="31367" y="15789"/>
                    <a:pt x="25702" y="15789"/>
                  </a:cubicBezTo>
                  <a:cubicBezTo>
                    <a:pt x="20038" y="15789"/>
                    <a:pt x="15789" y="20037"/>
                    <a:pt x="15789" y="25702"/>
                  </a:cubicBezTo>
                  <a:cubicBezTo>
                    <a:pt x="15789" y="31367"/>
                    <a:pt x="20038"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4" name="Freeform: Shape 2553">
              <a:extLst>
                <a:ext uri="{FF2B5EF4-FFF2-40B4-BE49-F238E27FC236}">
                  <a16:creationId xmlns:a16="http://schemas.microsoft.com/office/drawing/2014/main" id="{433B18EB-349D-4549-B27B-90BE8CF98816}"/>
                </a:ext>
              </a:extLst>
            </p:cNvPr>
            <p:cNvSpPr/>
            <p:nvPr/>
          </p:nvSpPr>
          <p:spPr>
            <a:xfrm>
              <a:off x="3518321" y="4796830"/>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7"/>
                    <a:pt x="31367" y="15789"/>
                    <a:pt x="25702" y="15789"/>
                  </a:cubicBezTo>
                  <a:cubicBezTo>
                    <a:pt x="20037" y="15789"/>
                    <a:pt x="15789" y="20037"/>
                    <a:pt x="15789" y="25702"/>
                  </a:cubicBezTo>
                  <a:cubicBezTo>
                    <a:pt x="17205" y="31367"/>
                    <a:pt x="21454"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5" name="Freeform: Shape 2554">
              <a:extLst>
                <a:ext uri="{FF2B5EF4-FFF2-40B4-BE49-F238E27FC236}">
                  <a16:creationId xmlns:a16="http://schemas.microsoft.com/office/drawing/2014/main" id="{1B66F26D-BE13-4E8F-9897-83B806CE9F22}"/>
                </a:ext>
              </a:extLst>
            </p:cNvPr>
            <p:cNvSpPr/>
            <p:nvPr/>
          </p:nvSpPr>
          <p:spPr>
            <a:xfrm>
              <a:off x="3637281" y="4966772"/>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7"/>
                    <a:pt x="31367" y="15789"/>
                    <a:pt x="25702" y="15789"/>
                  </a:cubicBezTo>
                  <a:cubicBezTo>
                    <a:pt x="20038" y="15789"/>
                    <a:pt x="15789" y="20037"/>
                    <a:pt x="15789" y="25702"/>
                  </a:cubicBezTo>
                  <a:cubicBezTo>
                    <a:pt x="17205" y="31367"/>
                    <a:pt x="21454"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6" name="Freeform: Shape 2555">
              <a:extLst>
                <a:ext uri="{FF2B5EF4-FFF2-40B4-BE49-F238E27FC236}">
                  <a16:creationId xmlns:a16="http://schemas.microsoft.com/office/drawing/2014/main" id="{745590C6-29DD-4A06-A417-67F3411DDD68}"/>
                </a:ext>
              </a:extLst>
            </p:cNvPr>
            <p:cNvSpPr/>
            <p:nvPr/>
          </p:nvSpPr>
          <p:spPr>
            <a:xfrm>
              <a:off x="3967254" y="5704608"/>
              <a:ext cx="56648" cy="56648"/>
            </a:xfrm>
            <a:custGeom>
              <a:avLst/>
              <a:gdLst>
                <a:gd name="connsiteX0" fmla="*/ 32783 w 56647"/>
                <a:gd name="connsiteY0" fmla="*/ 15789 h 56647"/>
                <a:gd name="connsiteX1" fmla="*/ 46945 w 56647"/>
                <a:gd name="connsiteY1" fmla="*/ 32783 h 56647"/>
                <a:gd name="connsiteX2" fmla="*/ 29951 w 56647"/>
                <a:gd name="connsiteY2" fmla="*/ 46945 h 56647"/>
                <a:gd name="connsiteX3" fmla="*/ 15789 w 56647"/>
                <a:gd name="connsiteY3" fmla="*/ 29951 h 56647"/>
                <a:gd name="connsiteX4" fmla="*/ 32783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15789"/>
                  </a:moveTo>
                  <a:cubicBezTo>
                    <a:pt x="41280" y="17205"/>
                    <a:pt x="48361" y="24286"/>
                    <a:pt x="46945" y="32783"/>
                  </a:cubicBezTo>
                  <a:cubicBezTo>
                    <a:pt x="45529" y="41281"/>
                    <a:pt x="38448" y="48362"/>
                    <a:pt x="29951" y="46945"/>
                  </a:cubicBezTo>
                  <a:cubicBezTo>
                    <a:pt x="21454" y="45529"/>
                    <a:pt x="15789" y="38448"/>
                    <a:pt x="15789" y="29951"/>
                  </a:cubicBezTo>
                  <a:cubicBezTo>
                    <a:pt x="17205" y="21454"/>
                    <a:pt x="24286" y="15789"/>
                    <a:pt x="32783"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7" name="Freeform: Shape 2556">
              <a:extLst>
                <a:ext uri="{FF2B5EF4-FFF2-40B4-BE49-F238E27FC236}">
                  <a16:creationId xmlns:a16="http://schemas.microsoft.com/office/drawing/2014/main" id="{83CEFBDD-6FA2-4E8B-87E8-D7829A4E9E32}"/>
                </a:ext>
              </a:extLst>
            </p:cNvPr>
            <p:cNvSpPr/>
            <p:nvPr/>
          </p:nvSpPr>
          <p:spPr>
            <a:xfrm>
              <a:off x="3601695" y="5342063"/>
              <a:ext cx="56648" cy="56648"/>
            </a:xfrm>
            <a:custGeom>
              <a:avLst/>
              <a:gdLst>
                <a:gd name="connsiteX0" fmla="*/ 32965 w 56647"/>
                <a:gd name="connsiteY0" fmla="*/ 15789 h 56647"/>
                <a:gd name="connsiteX1" fmla="*/ 47127 w 56647"/>
                <a:gd name="connsiteY1" fmla="*/ 32783 h 56647"/>
                <a:gd name="connsiteX2" fmla="*/ 30132 w 56647"/>
                <a:gd name="connsiteY2" fmla="*/ 46945 h 56647"/>
                <a:gd name="connsiteX3" fmla="*/ 15970 w 56647"/>
                <a:gd name="connsiteY3" fmla="*/ 29951 h 56647"/>
                <a:gd name="connsiteX4" fmla="*/ 32965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789"/>
                  </a:moveTo>
                  <a:cubicBezTo>
                    <a:pt x="41462" y="17205"/>
                    <a:pt x="48543" y="24286"/>
                    <a:pt x="47127" y="32783"/>
                  </a:cubicBezTo>
                  <a:cubicBezTo>
                    <a:pt x="45710" y="41280"/>
                    <a:pt x="38630" y="46945"/>
                    <a:pt x="30132" y="46945"/>
                  </a:cubicBezTo>
                  <a:cubicBezTo>
                    <a:pt x="21635" y="45529"/>
                    <a:pt x="14554" y="38448"/>
                    <a:pt x="15970" y="29951"/>
                  </a:cubicBezTo>
                  <a:cubicBezTo>
                    <a:pt x="15970" y="21454"/>
                    <a:pt x="24468" y="15789"/>
                    <a:pt x="32965"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8" name="Freeform: Shape 2557">
              <a:extLst>
                <a:ext uri="{FF2B5EF4-FFF2-40B4-BE49-F238E27FC236}">
                  <a16:creationId xmlns:a16="http://schemas.microsoft.com/office/drawing/2014/main" id="{E2A378C6-A8D8-41C8-8BC3-36657F7F576D}"/>
                </a:ext>
              </a:extLst>
            </p:cNvPr>
            <p:cNvSpPr/>
            <p:nvPr/>
          </p:nvSpPr>
          <p:spPr>
            <a:xfrm>
              <a:off x="3637099" y="5087149"/>
              <a:ext cx="56648" cy="56648"/>
            </a:xfrm>
            <a:custGeom>
              <a:avLst/>
              <a:gdLst>
                <a:gd name="connsiteX0" fmla="*/ 32965 w 56647"/>
                <a:gd name="connsiteY0" fmla="*/ 15789 h 56647"/>
                <a:gd name="connsiteX1" fmla="*/ 47127 w 56647"/>
                <a:gd name="connsiteY1" fmla="*/ 32783 h 56647"/>
                <a:gd name="connsiteX2" fmla="*/ 30132 w 56647"/>
                <a:gd name="connsiteY2" fmla="*/ 46945 h 56647"/>
                <a:gd name="connsiteX3" fmla="*/ 15970 w 56647"/>
                <a:gd name="connsiteY3" fmla="*/ 29951 h 56647"/>
                <a:gd name="connsiteX4" fmla="*/ 32965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789"/>
                  </a:moveTo>
                  <a:cubicBezTo>
                    <a:pt x="41462" y="17205"/>
                    <a:pt x="47127" y="24286"/>
                    <a:pt x="47127" y="32783"/>
                  </a:cubicBezTo>
                  <a:cubicBezTo>
                    <a:pt x="45710" y="41280"/>
                    <a:pt x="38630" y="46945"/>
                    <a:pt x="30132" y="46945"/>
                  </a:cubicBezTo>
                  <a:cubicBezTo>
                    <a:pt x="21635" y="45529"/>
                    <a:pt x="14554" y="38448"/>
                    <a:pt x="15970" y="29951"/>
                  </a:cubicBezTo>
                  <a:cubicBezTo>
                    <a:pt x="17387" y="21454"/>
                    <a:pt x="24468" y="15789"/>
                    <a:pt x="32965"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9" name="Freeform: Shape 2558">
              <a:extLst>
                <a:ext uri="{FF2B5EF4-FFF2-40B4-BE49-F238E27FC236}">
                  <a16:creationId xmlns:a16="http://schemas.microsoft.com/office/drawing/2014/main" id="{E211A09A-1663-4E52-B4D8-91FBF56D0EA1}"/>
                </a:ext>
              </a:extLst>
            </p:cNvPr>
            <p:cNvSpPr/>
            <p:nvPr/>
          </p:nvSpPr>
          <p:spPr>
            <a:xfrm>
              <a:off x="3610373" y="5224519"/>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8"/>
                    <a:pt x="31367" y="15789"/>
                    <a:pt x="25702" y="15789"/>
                  </a:cubicBezTo>
                  <a:cubicBezTo>
                    <a:pt x="20037" y="15789"/>
                    <a:pt x="15789" y="20038"/>
                    <a:pt x="15789" y="25703"/>
                  </a:cubicBezTo>
                  <a:cubicBezTo>
                    <a:pt x="15789" y="31367"/>
                    <a:pt x="21454"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0" name="Freeform: Shape 2559">
              <a:extLst>
                <a:ext uri="{FF2B5EF4-FFF2-40B4-BE49-F238E27FC236}">
                  <a16:creationId xmlns:a16="http://schemas.microsoft.com/office/drawing/2014/main" id="{2E287B20-8B73-4D4E-B928-3B5A12CDA7A3}"/>
                </a:ext>
              </a:extLst>
            </p:cNvPr>
            <p:cNvSpPr/>
            <p:nvPr/>
          </p:nvSpPr>
          <p:spPr>
            <a:xfrm>
              <a:off x="4053641" y="5560156"/>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8" y="15789"/>
                    <a:pt x="15789" y="20037"/>
                    <a:pt x="15789" y="25702"/>
                  </a:cubicBezTo>
                  <a:cubicBezTo>
                    <a:pt x="17205" y="31367"/>
                    <a:pt x="21454"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1" name="Freeform: Shape 2560">
              <a:extLst>
                <a:ext uri="{FF2B5EF4-FFF2-40B4-BE49-F238E27FC236}">
                  <a16:creationId xmlns:a16="http://schemas.microsoft.com/office/drawing/2014/main" id="{9110DDF8-E53F-4C57-973D-4DFAD545B6CC}"/>
                </a:ext>
              </a:extLst>
            </p:cNvPr>
            <p:cNvSpPr/>
            <p:nvPr/>
          </p:nvSpPr>
          <p:spPr>
            <a:xfrm>
              <a:off x="3988496" y="5605474"/>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8"/>
                    <a:pt x="31367" y="15789"/>
                    <a:pt x="25702" y="15789"/>
                  </a:cubicBezTo>
                  <a:cubicBezTo>
                    <a:pt x="20038" y="15789"/>
                    <a:pt x="15789" y="20038"/>
                    <a:pt x="15789" y="25703"/>
                  </a:cubicBezTo>
                  <a:cubicBezTo>
                    <a:pt x="15789" y="31367"/>
                    <a:pt x="20038"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2" name="Freeform: Shape 2561">
              <a:extLst>
                <a:ext uri="{FF2B5EF4-FFF2-40B4-BE49-F238E27FC236}">
                  <a16:creationId xmlns:a16="http://schemas.microsoft.com/office/drawing/2014/main" id="{D154688B-66C0-4DF3-918F-08841E919870}"/>
                </a:ext>
              </a:extLst>
            </p:cNvPr>
            <p:cNvSpPr/>
            <p:nvPr/>
          </p:nvSpPr>
          <p:spPr>
            <a:xfrm>
              <a:off x="4311388" y="5176369"/>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7"/>
                    <a:pt x="31367" y="15789"/>
                    <a:pt x="25702" y="15789"/>
                  </a:cubicBezTo>
                  <a:cubicBezTo>
                    <a:pt x="20037" y="15789"/>
                    <a:pt x="15789" y="20037"/>
                    <a:pt x="15789" y="25703"/>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3" name="Freeform: Shape 2562">
              <a:extLst>
                <a:ext uri="{FF2B5EF4-FFF2-40B4-BE49-F238E27FC236}">
                  <a16:creationId xmlns:a16="http://schemas.microsoft.com/office/drawing/2014/main" id="{3F2C5A06-9428-4F8D-A36B-DC767B5549B9}"/>
                </a:ext>
              </a:extLst>
            </p:cNvPr>
            <p:cNvSpPr/>
            <p:nvPr/>
          </p:nvSpPr>
          <p:spPr>
            <a:xfrm>
              <a:off x="3897860" y="5686197"/>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5789" y="46945"/>
                    <a:pt x="25703"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4" name="Freeform: Shape 2563">
              <a:extLst>
                <a:ext uri="{FF2B5EF4-FFF2-40B4-BE49-F238E27FC236}">
                  <a16:creationId xmlns:a16="http://schemas.microsoft.com/office/drawing/2014/main" id="{76DA7FAA-E17B-40FE-896F-0A2A7E82ECBC}"/>
                </a:ext>
              </a:extLst>
            </p:cNvPr>
            <p:cNvSpPr/>
            <p:nvPr/>
          </p:nvSpPr>
          <p:spPr>
            <a:xfrm>
              <a:off x="3947427" y="3917375"/>
              <a:ext cx="42486" cy="42486"/>
            </a:xfrm>
            <a:custGeom>
              <a:avLst/>
              <a:gdLst>
                <a:gd name="connsiteX0" fmla="*/ 24286 w 42485"/>
                <a:gd name="connsiteY0" fmla="*/ 15789 h 42485"/>
                <a:gd name="connsiteX1" fmla="*/ 31367 w 42485"/>
                <a:gd name="connsiteY1" fmla="*/ 24286 h 42485"/>
                <a:gd name="connsiteX2" fmla="*/ 22870 w 42485"/>
                <a:gd name="connsiteY2" fmla="*/ 31367 h 42485"/>
                <a:gd name="connsiteX3" fmla="*/ 15789 w 42485"/>
                <a:gd name="connsiteY3" fmla="*/ 22870 h 42485"/>
                <a:gd name="connsiteX4" fmla="*/ 24286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15789"/>
                  </a:moveTo>
                  <a:cubicBezTo>
                    <a:pt x="28535" y="15789"/>
                    <a:pt x="31367" y="20037"/>
                    <a:pt x="31367" y="24286"/>
                  </a:cubicBezTo>
                  <a:cubicBezTo>
                    <a:pt x="31367" y="28535"/>
                    <a:pt x="27119" y="31367"/>
                    <a:pt x="22870" y="31367"/>
                  </a:cubicBezTo>
                  <a:cubicBezTo>
                    <a:pt x="18622" y="31367"/>
                    <a:pt x="15789" y="27118"/>
                    <a:pt x="15789" y="22870"/>
                  </a:cubicBezTo>
                  <a:cubicBezTo>
                    <a:pt x="17205" y="18621"/>
                    <a:pt x="20038" y="15789"/>
                    <a:pt x="24286"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5" name="Freeform: Shape 2564">
              <a:extLst>
                <a:ext uri="{FF2B5EF4-FFF2-40B4-BE49-F238E27FC236}">
                  <a16:creationId xmlns:a16="http://schemas.microsoft.com/office/drawing/2014/main" id="{971A2292-907A-4FEE-B237-33544A4F9AD4}"/>
                </a:ext>
              </a:extLst>
            </p:cNvPr>
            <p:cNvSpPr/>
            <p:nvPr/>
          </p:nvSpPr>
          <p:spPr>
            <a:xfrm>
              <a:off x="3485748" y="3830987"/>
              <a:ext cx="42486" cy="42486"/>
            </a:xfrm>
            <a:custGeom>
              <a:avLst/>
              <a:gdLst>
                <a:gd name="connsiteX0" fmla="*/ 24286 w 42485"/>
                <a:gd name="connsiteY0" fmla="*/ 15789 h 42485"/>
                <a:gd name="connsiteX1" fmla="*/ 31367 w 42485"/>
                <a:gd name="connsiteY1" fmla="*/ 24286 h 42485"/>
                <a:gd name="connsiteX2" fmla="*/ 22870 w 42485"/>
                <a:gd name="connsiteY2" fmla="*/ 31367 h 42485"/>
                <a:gd name="connsiteX3" fmla="*/ 15789 w 42485"/>
                <a:gd name="connsiteY3" fmla="*/ 22870 h 42485"/>
                <a:gd name="connsiteX4" fmla="*/ 24286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15789"/>
                  </a:moveTo>
                  <a:cubicBezTo>
                    <a:pt x="28535" y="15789"/>
                    <a:pt x="31367" y="20038"/>
                    <a:pt x="31367" y="24286"/>
                  </a:cubicBezTo>
                  <a:cubicBezTo>
                    <a:pt x="31367" y="28535"/>
                    <a:pt x="27119" y="31367"/>
                    <a:pt x="22870" y="31367"/>
                  </a:cubicBezTo>
                  <a:cubicBezTo>
                    <a:pt x="18621" y="31367"/>
                    <a:pt x="15789" y="27119"/>
                    <a:pt x="15789" y="22870"/>
                  </a:cubicBezTo>
                  <a:cubicBezTo>
                    <a:pt x="17205" y="18621"/>
                    <a:pt x="20038" y="15789"/>
                    <a:pt x="24286"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6" name="Freeform: Shape 2565">
              <a:extLst>
                <a:ext uri="{FF2B5EF4-FFF2-40B4-BE49-F238E27FC236}">
                  <a16:creationId xmlns:a16="http://schemas.microsoft.com/office/drawing/2014/main" id="{4A18F385-2368-47B8-AD52-7D5283BFD7B1}"/>
                </a:ext>
              </a:extLst>
            </p:cNvPr>
            <p:cNvSpPr/>
            <p:nvPr/>
          </p:nvSpPr>
          <p:spPr>
            <a:xfrm>
              <a:off x="3631616" y="3775756"/>
              <a:ext cx="42486" cy="42486"/>
            </a:xfrm>
            <a:custGeom>
              <a:avLst/>
              <a:gdLst>
                <a:gd name="connsiteX0" fmla="*/ 24286 w 42485"/>
                <a:gd name="connsiteY0" fmla="*/ 15789 h 42485"/>
                <a:gd name="connsiteX1" fmla="*/ 31367 w 42485"/>
                <a:gd name="connsiteY1" fmla="*/ 24286 h 42485"/>
                <a:gd name="connsiteX2" fmla="*/ 22870 w 42485"/>
                <a:gd name="connsiteY2" fmla="*/ 31367 h 42485"/>
                <a:gd name="connsiteX3" fmla="*/ 15789 w 42485"/>
                <a:gd name="connsiteY3" fmla="*/ 22870 h 42485"/>
                <a:gd name="connsiteX4" fmla="*/ 24286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15789"/>
                  </a:moveTo>
                  <a:cubicBezTo>
                    <a:pt x="28535" y="15789"/>
                    <a:pt x="31367" y="20037"/>
                    <a:pt x="31367" y="24286"/>
                  </a:cubicBezTo>
                  <a:cubicBezTo>
                    <a:pt x="31367" y="28535"/>
                    <a:pt x="27118" y="31367"/>
                    <a:pt x="22870" y="31367"/>
                  </a:cubicBezTo>
                  <a:cubicBezTo>
                    <a:pt x="18621" y="31367"/>
                    <a:pt x="15789" y="27118"/>
                    <a:pt x="15789" y="22870"/>
                  </a:cubicBezTo>
                  <a:cubicBezTo>
                    <a:pt x="15789" y="18621"/>
                    <a:pt x="20037" y="15789"/>
                    <a:pt x="24286"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7" name="Freeform: Shape 2566">
              <a:extLst>
                <a:ext uri="{FF2B5EF4-FFF2-40B4-BE49-F238E27FC236}">
                  <a16:creationId xmlns:a16="http://schemas.microsoft.com/office/drawing/2014/main" id="{18464B21-43F1-477D-B2AE-AB84AFF24B53}"/>
                </a:ext>
              </a:extLst>
            </p:cNvPr>
            <p:cNvSpPr/>
            <p:nvPr/>
          </p:nvSpPr>
          <p:spPr>
            <a:xfrm>
              <a:off x="3539382" y="5671854"/>
              <a:ext cx="56648" cy="56648"/>
            </a:xfrm>
            <a:custGeom>
              <a:avLst/>
              <a:gdLst>
                <a:gd name="connsiteX0" fmla="*/ 32965 w 56647"/>
                <a:gd name="connsiteY0" fmla="*/ 15970 h 56647"/>
                <a:gd name="connsiteX1" fmla="*/ 47127 w 56647"/>
                <a:gd name="connsiteY1" fmla="*/ 32965 h 56647"/>
                <a:gd name="connsiteX2" fmla="*/ 30132 w 56647"/>
                <a:gd name="connsiteY2" fmla="*/ 47127 h 56647"/>
                <a:gd name="connsiteX3" fmla="*/ 15970 w 56647"/>
                <a:gd name="connsiteY3" fmla="*/ 30132 h 56647"/>
                <a:gd name="connsiteX4" fmla="*/ 32965 w 56647"/>
                <a:gd name="connsiteY4" fmla="*/ 1597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970"/>
                  </a:moveTo>
                  <a:cubicBezTo>
                    <a:pt x="41462" y="17387"/>
                    <a:pt x="47127" y="24468"/>
                    <a:pt x="47127" y="32965"/>
                  </a:cubicBezTo>
                  <a:cubicBezTo>
                    <a:pt x="45710" y="41462"/>
                    <a:pt x="38629" y="47127"/>
                    <a:pt x="30132" y="47127"/>
                  </a:cubicBezTo>
                  <a:cubicBezTo>
                    <a:pt x="21635" y="45710"/>
                    <a:pt x="14554" y="38630"/>
                    <a:pt x="15970" y="30132"/>
                  </a:cubicBezTo>
                  <a:cubicBezTo>
                    <a:pt x="17386" y="21635"/>
                    <a:pt x="24467" y="14554"/>
                    <a:pt x="32965" y="1597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8" name="Freeform: Shape 2567">
              <a:extLst>
                <a:ext uri="{FF2B5EF4-FFF2-40B4-BE49-F238E27FC236}">
                  <a16:creationId xmlns:a16="http://schemas.microsoft.com/office/drawing/2014/main" id="{8180AA17-2785-4257-A977-2E289CCA1F22}"/>
                </a:ext>
              </a:extLst>
            </p:cNvPr>
            <p:cNvSpPr/>
            <p:nvPr/>
          </p:nvSpPr>
          <p:spPr>
            <a:xfrm>
              <a:off x="3613206" y="5453942"/>
              <a:ext cx="56648" cy="56648"/>
            </a:xfrm>
            <a:custGeom>
              <a:avLst/>
              <a:gdLst>
                <a:gd name="connsiteX0" fmla="*/ 32783 w 56647"/>
                <a:gd name="connsiteY0" fmla="*/ 15789 h 56647"/>
                <a:gd name="connsiteX1" fmla="*/ 46945 w 56647"/>
                <a:gd name="connsiteY1" fmla="*/ 32783 h 56647"/>
                <a:gd name="connsiteX2" fmla="*/ 29951 w 56647"/>
                <a:gd name="connsiteY2" fmla="*/ 46945 h 56647"/>
                <a:gd name="connsiteX3" fmla="*/ 15789 w 56647"/>
                <a:gd name="connsiteY3" fmla="*/ 29951 h 56647"/>
                <a:gd name="connsiteX4" fmla="*/ 32783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15789"/>
                  </a:moveTo>
                  <a:cubicBezTo>
                    <a:pt x="41280" y="17205"/>
                    <a:pt x="48361" y="24286"/>
                    <a:pt x="46945" y="32783"/>
                  </a:cubicBezTo>
                  <a:cubicBezTo>
                    <a:pt x="45529" y="41280"/>
                    <a:pt x="38448" y="46945"/>
                    <a:pt x="29951" y="46945"/>
                  </a:cubicBezTo>
                  <a:cubicBezTo>
                    <a:pt x="21454" y="45529"/>
                    <a:pt x="15789" y="38448"/>
                    <a:pt x="15789" y="29951"/>
                  </a:cubicBezTo>
                  <a:cubicBezTo>
                    <a:pt x="15789" y="21454"/>
                    <a:pt x="24286" y="15789"/>
                    <a:pt x="32783"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9" name="Freeform: Shape 2568">
              <a:extLst>
                <a:ext uri="{FF2B5EF4-FFF2-40B4-BE49-F238E27FC236}">
                  <a16:creationId xmlns:a16="http://schemas.microsoft.com/office/drawing/2014/main" id="{B2AC2893-C5C9-4925-96AF-D3F8A5A78344}"/>
                </a:ext>
              </a:extLst>
            </p:cNvPr>
            <p:cNvSpPr/>
            <p:nvPr/>
          </p:nvSpPr>
          <p:spPr>
            <a:xfrm>
              <a:off x="3539564" y="5990678"/>
              <a:ext cx="42486" cy="42486"/>
            </a:xfrm>
            <a:custGeom>
              <a:avLst/>
              <a:gdLst>
                <a:gd name="connsiteX0" fmla="*/ 27118 w 42485"/>
                <a:gd name="connsiteY0" fmla="*/ 15789 h 42485"/>
                <a:gd name="connsiteX1" fmla="*/ 37032 w 42485"/>
                <a:gd name="connsiteY1" fmla="*/ 27118 h 42485"/>
                <a:gd name="connsiteX2" fmla="*/ 25702 w 42485"/>
                <a:gd name="connsiteY2" fmla="*/ 37032 h 42485"/>
                <a:gd name="connsiteX3" fmla="*/ 15789 w 42485"/>
                <a:gd name="connsiteY3" fmla="*/ 25703 h 42485"/>
                <a:gd name="connsiteX4" fmla="*/ 2711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5789"/>
                  </a:moveTo>
                  <a:cubicBezTo>
                    <a:pt x="32783" y="15789"/>
                    <a:pt x="37032" y="21454"/>
                    <a:pt x="37032" y="27118"/>
                  </a:cubicBezTo>
                  <a:cubicBezTo>
                    <a:pt x="37032" y="32783"/>
                    <a:pt x="31367" y="37032"/>
                    <a:pt x="25702" y="37032"/>
                  </a:cubicBezTo>
                  <a:cubicBezTo>
                    <a:pt x="20037" y="37032"/>
                    <a:pt x="15789" y="31367"/>
                    <a:pt x="15789" y="25703"/>
                  </a:cubicBezTo>
                  <a:cubicBezTo>
                    <a:pt x="15789" y="20037"/>
                    <a:pt x="21454" y="15789"/>
                    <a:pt x="2711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0" name="Freeform: Shape 2569">
              <a:extLst>
                <a:ext uri="{FF2B5EF4-FFF2-40B4-BE49-F238E27FC236}">
                  <a16:creationId xmlns:a16="http://schemas.microsoft.com/office/drawing/2014/main" id="{CE2E622B-28CF-4A42-99A3-B6972988E1CC}"/>
                </a:ext>
              </a:extLst>
            </p:cNvPr>
            <p:cNvSpPr/>
            <p:nvPr/>
          </p:nvSpPr>
          <p:spPr>
            <a:xfrm>
              <a:off x="3492829" y="6262587"/>
              <a:ext cx="42486" cy="42486"/>
            </a:xfrm>
            <a:custGeom>
              <a:avLst/>
              <a:gdLst>
                <a:gd name="connsiteX0" fmla="*/ 27119 w 42485"/>
                <a:gd name="connsiteY0" fmla="*/ 15789 h 42485"/>
                <a:gd name="connsiteX1" fmla="*/ 37032 w 42485"/>
                <a:gd name="connsiteY1" fmla="*/ 27118 h 42485"/>
                <a:gd name="connsiteX2" fmla="*/ 25702 w 42485"/>
                <a:gd name="connsiteY2" fmla="*/ 37032 h 42485"/>
                <a:gd name="connsiteX3" fmla="*/ 15789 w 42485"/>
                <a:gd name="connsiteY3" fmla="*/ 25702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8"/>
                  </a:cubicBezTo>
                  <a:cubicBezTo>
                    <a:pt x="37032" y="32783"/>
                    <a:pt x="31367" y="37032"/>
                    <a:pt x="25702" y="37032"/>
                  </a:cubicBezTo>
                  <a:cubicBezTo>
                    <a:pt x="20038" y="37032"/>
                    <a:pt x="15789" y="31367"/>
                    <a:pt x="15789" y="25702"/>
                  </a:cubicBezTo>
                  <a:cubicBezTo>
                    <a:pt x="15789" y="20037"/>
                    <a:pt x="20038" y="15789"/>
                    <a:pt x="27119"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1" name="Freeform: Shape 2570">
              <a:extLst>
                <a:ext uri="{FF2B5EF4-FFF2-40B4-BE49-F238E27FC236}">
                  <a16:creationId xmlns:a16="http://schemas.microsoft.com/office/drawing/2014/main" id="{FA8E4052-641A-4D79-B3BA-BD6642B2A03B}"/>
                </a:ext>
              </a:extLst>
            </p:cNvPr>
            <p:cNvSpPr/>
            <p:nvPr/>
          </p:nvSpPr>
          <p:spPr>
            <a:xfrm>
              <a:off x="3732166" y="6448108"/>
              <a:ext cx="42486" cy="42486"/>
            </a:xfrm>
            <a:custGeom>
              <a:avLst/>
              <a:gdLst>
                <a:gd name="connsiteX0" fmla="*/ 31367 w 42485"/>
                <a:gd name="connsiteY0" fmla="*/ 17205 h 42485"/>
                <a:gd name="connsiteX1" fmla="*/ 35616 w 42485"/>
                <a:gd name="connsiteY1" fmla="*/ 31367 h 42485"/>
                <a:gd name="connsiteX2" fmla="*/ 21454 w 42485"/>
                <a:gd name="connsiteY2" fmla="*/ 35616 h 42485"/>
                <a:gd name="connsiteX3" fmla="*/ 17205 w 42485"/>
                <a:gd name="connsiteY3" fmla="*/ 21454 h 42485"/>
                <a:gd name="connsiteX4" fmla="*/ 31367 w 42485"/>
                <a:gd name="connsiteY4" fmla="*/ 1720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1367" y="17205"/>
                  </a:moveTo>
                  <a:cubicBezTo>
                    <a:pt x="37032" y="20038"/>
                    <a:pt x="38448" y="27119"/>
                    <a:pt x="35616" y="31367"/>
                  </a:cubicBezTo>
                  <a:cubicBezTo>
                    <a:pt x="32783" y="37032"/>
                    <a:pt x="25702" y="38448"/>
                    <a:pt x="21454" y="35616"/>
                  </a:cubicBezTo>
                  <a:cubicBezTo>
                    <a:pt x="15789" y="32783"/>
                    <a:pt x="14373" y="25702"/>
                    <a:pt x="17205" y="21454"/>
                  </a:cubicBezTo>
                  <a:cubicBezTo>
                    <a:pt x="18621" y="15789"/>
                    <a:pt x="25702" y="14373"/>
                    <a:pt x="31367" y="1720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2" name="Freeform: Shape 2571">
              <a:extLst>
                <a:ext uri="{FF2B5EF4-FFF2-40B4-BE49-F238E27FC236}">
                  <a16:creationId xmlns:a16="http://schemas.microsoft.com/office/drawing/2014/main" id="{C60869E5-6BAD-468F-949E-BCAB49EF5972}"/>
                </a:ext>
              </a:extLst>
            </p:cNvPr>
            <p:cNvSpPr/>
            <p:nvPr/>
          </p:nvSpPr>
          <p:spPr>
            <a:xfrm>
              <a:off x="3647194" y="6466518"/>
              <a:ext cx="42486" cy="42486"/>
            </a:xfrm>
            <a:custGeom>
              <a:avLst/>
              <a:gdLst>
                <a:gd name="connsiteX0" fmla="*/ 31367 w 42485"/>
                <a:gd name="connsiteY0" fmla="*/ 17205 h 42485"/>
                <a:gd name="connsiteX1" fmla="*/ 35616 w 42485"/>
                <a:gd name="connsiteY1" fmla="*/ 31367 h 42485"/>
                <a:gd name="connsiteX2" fmla="*/ 21454 w 42485"/>
                <a:gd name="connsiteY2" fmla="*/ 35616 h 42485"/>
                <a:gd name="connsiteX3" fmla="*/ 17205 w 42485"/>
                <a:gd name="connsiteY3" fmla="*/ 21454 h 42485"/>
                <a:gd name="connsiteX4" fmla="*/ 31367 w 42485"/>
                <a:gd name="connsiteY4" fmla="*/ 1720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1367" y="17205"/>
                  </a:moveTo>
                  <a:cubicBezTo>
                    <a:pt x="37032" y="20037"/>
                    <a:pt x="38448" y="27118"/>
                    <a:pt x="35616" y="31367"/>
                  </a:cubicBezTo>
                  <a:cubicBezTo>
                    <a:pt x="32783" y="37032"/>
                    <a:pt x="25702" y="38448"/>
                    <a:pt x="21454" y="35616"/>
                  </a:cubicBezTo>
                  <a:cubicBezTo>
                    <a:pt x="15789" y="32783"/>
                    <a:pt x="14373" y="25702"/>
                    <a:pt x="17205" y="21454"/>
                  </a:cubicBezTo>
                  <a:cubicBezTo>
                    <a:pt x="18621" y="15789"/>
                    <a:pt x="25702" y="14373"/>
                    <a:pt x="31367" y="1720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3" name="Freeform: Shape 2572">
              <a:extLst>
                <a:ext uri="{FF2B5EF4-FFF2-40B4-BE49-F238E27FC236}">
                  <a16:creationId xmlns:a16="http://schemas.microsoft.com/office/drawing/2014/main" id="{B7FE1F14-75D1-4EE7-9001-33E332832850}"/>
                </a:ext>
              </a:extLst>
            </p:cNvPr>
            <p:cNvSpPr/>
            <p:nvPr/>
          </p:nvSpPr>
          <p:spPr>
            <a:xfrm>
              <a:off x="3944594" y="6314986"/>
              <a:ext cx="42486" cy="42486"/>
            </a:xfrm>
            <a:custGeom>
              <a:avLst/>
              <a:gdLst>
                <a:gd name="connsiteX0" fmla="*/ 31367 w 42485"/>
                <a:gd name="connsiteY0" fmla="*/ 17205 h 42485"/>
                <a:gd name="connsiteX1" fmla="*/ 35616 w 42485"/>
                <a:gd name="connsiteY1" fmla="*/ 31367 h 42485"/>
                <a:gd name="connsiteX2" fmla="*/ 21454 w 42485"/>
                <a:gd name="connsiteY2" fmla="*/ 35616 h 42485"/>
                <a:gd name="connsiteX3" fmla="*/ 17205 w 42485"/>
                <a:gd name="connsiteY3" fmla="*/ 21454 h 42485"/>
                <a:gd name="connsiteX4" fmla="*/ 31367 w 42485"/>
                <a:gd name="connsiteY4" fmla="*/ 1720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1367" y="17205"/>
                  </a:moveTo>
                  <a:cubicBezTo>
                    <a:pt x="37032" y="20038"/>
                    <a:pt x="38448" y="27119"/>
                    <a:pt x="35616" y="31367"/>
                  </a:cubicBezTo>
                  <a:cubicBezTo>
                    <a:pt x="32783" y="37032"/>
                    <a:pt x="25702" y="38448"/>
                    <a:pt x="21454" y="35616"/>
                  </a:cubicBezTo>
                  <a:cubicBezTo>
                    <a:pt x="15789" y="32783"/>
                    <a:pt x="14373" y="25703"/>
                    <a:pt x="17205" y="21454"/>
                  </a:cubicBezTo>
                  <a:cubicBezTo>
                    <a:pt x="18621" y="15789"/>
                    <a:pt x="25702" y="14373"/>
                    <a:pt x="31367" y="1720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4" name="Freeform: Shape 2573">
              <a:extLst>
                <a:ext uri="{FF2B5EF4-FFF2-40B4-BE49-F238E27FC236}">
                  <a16:creationId xmlns:a16="http://schemas.microsoft.com/office/drawing/2014/main" id="{CF761472-8B0E-4483-A47F-70D70E810F7A}"/>
                </a:ext>
              </a:extLst>
            </p:cNvPr>
            <p:cNvSpPr/>
            <p:nvPr/>
          </p:nvSpPr>
          <p:spPr>
            <a:xfrm>
              <a:off x="3750021" y="5983042"/>
              <a:ext cx="42486" cy="42486"/>
            </a:xfrm>
            <a:custGeom>
              <a:avLst/>
              <a:gdLst>
                <a:gd name="connsiteX0" fmla="*/ 24842 w 42485"/>
                <a:gd name="connsiteY0" fmla="*/ 16345 h 42485"/>
                <a:gd name="connsiteX1" fmla="*/ 27674 w 42485"/>
                <a:gd name="connsiteY1" fmla="*/ 24842 h 42485"/>
                <a:gd name="connsiteX2" fmla="*/ 19177 w 42485"/>
                <a:gd name="connsiteY2" fmla="*/ 27674 h 42485"/>
                <a:gd name="connsiteX3" fmla="*/ 16345 w 42485"/>
                <a:gd name="connsiteY3" fmla="*/ 19177 h 42485"/>
                <a:gd name="connsiteX4" fmla="*/ 24842 w 42485"/>
                <a:gd name="connsiteY4" fmla="*/ 1634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6345"/>
                  </a:moveTo>
                  <a:cubicBezTo>
                    <a:pt x="27674" y="17761"/>
                    <a:pt x="29090" y="22009"/>
                    <a:pt x="27674" y="24842"/>
                  </a:cubicBezTo>
                  <a:cubicBezTo>
                    <a:pt x="26258" y="27674"/>
                    <a:pt x="22009" y="29090"/>
                    <a:pt x="19177" y="27674"/>
                  </a:cubicBezTo>
                  <a:cubicBezTo>
                    <a:pt x="16345" y="26258"/>
                    <a:pt x="14928" y="22009"/>
                    <a:pt x="16345" y="19177"/>
                  </a:cubicBezTo>
                  <a:cubicBezTo>
                    <a:pt x="17761" y="16345"/>
                    <a:pt x="22009" y="14928"/>
                    <a:pt x="24842" y="163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5" name="Freeform: Shape 2574">
              <a:extLst>
                <a:ext uri="{FF2B5EF4-FFF2-40B4-BE49-F238E27FC236}">
                  <a16:creationId xmlns:a16="http://schemas.microsoft.com/office/drawing/2014/main" id="{5FEE86C6-8F77-4579-A2E3-411DB1666278}"/>
                </a:ext>
              </a:extLst>
            </p:cNvPr>
            <p:cNvSpPr/>
            <p:nvPr/>
          </p:nvSpPr>
          <p:spPr>
            <a:xfrm>
              <a:off x="3686292" y="5709717"/>
              <a:ext cx="42486" cy="42486"/>
            </a:xfrm>
            <a:custGeom>
              <a:avLst/>
              <a:gdLst>
                <a:gd name="connsiteX0" fmla="*/ 24842 w 42485"/>
                <a:gd name="connsiteY0" fmla="*/ 16345 h 42485"/>
                <a:gd name="connsiteX1" fmla="*/ 27674 w 42485"/>
                <a:gd name="connsiteY1" fmla="*/ 24841 h 42485"/>
                <a:gd name="connsiteX2" fmla="*/ 19177 w 42485"/>
                <a:gd name="connsiteY2" fmla="*/ 27674 h 42485"/>
                <a:gd name="connsiteX3" fmla="*/ 16345 w 42485"/>
                <a:gd name="connsiteY3" fmla="*/ 19177 h 42485"/>
                <a:gd name="connsiteX4" fmla="*/ 24842 w 42485"/>
                <a:gd name="connsiteY4" fmla="*/ 1634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6345"/>
                  </a:moveTo>
                  <a:cubicBezTo>
                    <a:pt x="27674" y="17760"/>
                    <a:pt x="29090" y="22009"/>
                    <a:pt x="27674" y="24841"/>
                  </a:cubicBezTo>
                  <a:cubicBezTo>
                    <a:pt x="26258" y="27674"/>
                    <a:pt x="22009" y="29090"/>
                    <a:pt x="19177" y="27674"/>
                  </a:cubicBezTo>
                  <a:cubicBezTo>
                    <a:pt x="16345" y="26258"/>
                    <a:pt x="14928" y="22009"/>
                    <a:pt x="16345" y="19177"/>
                  </a:cubicBezTo>
                  <a:cubicBezTo>
                    <a:pt x="17761" y="16345"/>
                    <a:pt x="22009" y="14928"/>
                    <a:pt x="24842" y="163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6" name="Freeform: Shape 2575">
              <a:extLst>
                <a:ext uri="{FF2B5EF4-FFF2-40B4-BE49-F238E27FC236}">
                  <a16:creationId xmlns:a16="http://schemas.microsoft.com/office/drawing/2014/main" id="{0BA9312A-E479-4891-AB91-6F2987ACB96B}"/>
                </a:ext>
              </a:extLst>
            </p:cNvPr>
            <p:cNvSpPr/>
            <p:nvPr/>
          </p:nvSpPr>
          <p:spPr>
            <a:xfrm>
              <a:off x="4400608" y="5108120"/>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3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4"/>
                    <a:pt x="31367" y="37303"/>
                    <a:pt x="25703" y="37303"/>
                  </a:cubicBezTo>
                  <a:cubicBezTo>
                    <a:pt x="20038" y="37303"/>
                    <a:pt x="15789" y="31638"/>
                    <a:pt x="15789" y="25973"/>
                  </a:cubicBezTo>
                  <a:cubicBezTo>
                    <a:pt x="15789" y="18893"/>
                    <a:pt x="21454" y="14644"/>
                    <a:pt x="27119"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7" name="Freeform: Shape 2576">
              <a:extLst>
                <a:ext uri="{FF2B5EF4-FFF2-40B4-BE49-F238E27FC236}">
                  <a16:creationId xmlns:a16="http://schemas.microsoft.com/office/drawing/2014/main" id="{98BE628C-FBE8-4B98-A9B3-D1B01CE8BB78}"/>
                </a:ext>
              </a:extLst>
            </p:cNvPr>
            <p:cNvSpPr/>
            <p:nvPr/>
          </p:nvSpPr>
          <p:spPr>
            <a:xfrm>
              <a:off x="5438542" y="3523554"/>
              <a:ext cx="70810" cy="70810"/>
            </a:xfrm>
            <a:custGeom>
              <a:avLst/>
              <a:gdLst>
                <a:gd name="connsiteX0" fmla="*/ 44247 w 70809"/>
                <a:gd name="connsiteY0" fmla="*/ 15909 h 70809"/>
                <a:gd name="connsiteX1" fmla="*/ 66906 w 70809"/>
                <a:gd name="connsiteY1" fmla="*/ 44233 h 70809"/>
                <a:gd name="connsiteX2" fmla="*/ 38582 w 70809"/>
                <a:gd name="connsiteY2" fmla="*/ 66892 h 70809"/>
                <a:gd name="connsiteX3" fmla="*/ 15924 w 70809"/>
                <a:gd name="connsiteY3" fmla="*/ 38568 h 70809"/>
                <a:gd name="connsiteX4" fmla="*/ 44247 w 70809"/>
                <a:gd name="connsiteY4" fmla="*/ 15909 h 70809"/>
                <a:gd name="connsiteX5" fmla="*/ 44247 w 70809"/>
                <a:gd name="connsiteY5" fmla="*/ 15909 h 70809"/>
                <a:gd name="connsiteX6" fmla="*/ 42831 w 70809"/>
                <a:gd name="connsiteY6" fmla="*/ 27239 h 70809"/>
                <a:gd name="connsiteX7" fmla="*/ 27253 w 70809"/>
                <a:gd name="connsiteY7" fmla="*/ 39984 h 70809"/>
                <a:gd name="connsiteX8" fmla="*/ 39999 w 70809"/>
                <a:gd name="connsiteY8" fmla="*/ 55562 h 70809"/>
                <a:gd name="connsiteX9" fmla="*/ 55577 w 70809"/>
                <a:gd name="connsiteY9" fmla="*/ 42817 h 70809"/>
                <a:gd name="connsiteX10" fmla="*/ 42831 w 70809"/>
                <a:gd name="connsiteY10" fmla="*/ 27239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247" y="15909"/>
                  </a:moveTo>
                  <a:cubicBezTo>
                    <a:pt x="58409" y="17325"/>
                    <a:pt x="68322" y="30071"/>
                    <a:pt x="66906" y="44233"/>
                  </a:cubicBezTo>
                  <a:cubicBezTo>
                    <a:pt x="65490" y="58395"/>
                    <a:pt x="52744" y="68308"/>
                    <a:pt x="38582" y="66892"/>
                  </a:cubicBezTo>
                  <a:cubicBezTo>
                    <a:pt x="24420" y="65476"/>
                    <a:pt x="14507" y="52730"/>
                    <a:pt x="15924" y="38568"/>
                  </a:cubicBezTo>
                  <a:cubicBezTo>
                    <a:pt x="17339" y="25822"/>
                    <a:pt x="30085" y="14493"/>
                    <a:pt x="44247" y="15909"/>
                  </a:cubicBezTo>
                  <a:lnTo>
                    <a:pt x="44247" y="15909"/>
                  </a:lnTo>
                  <a:close/>
                  <a:moveTo>
                    <a:pt x="42831" y="27239"/>
                  </a:moveTo>
                  <a:cubicBezTo>
                    <a:pt x="34334" y="25822"/>
                    <a:pt x="27253" y="32903"/>
                    <a:pt x="27253" y="39984"/>
                  </a:cubicBezTo>
                  <a:cubicBezTo>
                    <a:pt x="25837" y="48481"/>
                    <a:pt x="32918" y="55562"/>
                    <a:pt x="39999" y="55562"/>
                  </a:cubicBezTo>
                  <a:cubicBezTo>
                    <a:pt x="48496" y="56978"/>
                    <a:pt x="55577" y="49898"/>
                    <a:pt x="55577" y="42817"/>
                  </a:cubicBezTo>
                  <a:cubicBezTo>
                    <a:pt x="56993" y="35736"/>
                    <a:pt x="51328" y="28655"/>
                    <a:pt x="42831" y="272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8" name="Freeform: Shape 2577">
              <a:extLst>
                <a:ext uri="{FF2B5EF4-FFF2-40B4-BE49-F238E27FC236}">
                  <a16:creationId xmlns:a16="http://schemas.microsoft.com/office/drawing/2014/main" id="{C8692B2F-1FA6-4942-9042-723B32B9B686}"/>
                </a:ext>
              </a:extLst>
            </p:cNvPr>
            <p:cNvSpPr/>
            <p:nvPr/>
          </p:nvSpPr>
          <p:spPr>
            <a:xfrm>
              <a:off x="5665147" y="3632601"/>
              <a:ext cx="84971" cy="84971"/>
            </a:xfrm>
            <a:custGeom>
              <a:avLst/>
              <a:gdLst>
                <a:gd name="connsiteX0" fmla="*/ 45648 w 84971"/>
                <a:gd name="connsiteY0" fmla="*/ 15909 h 84971"/>
                <a:gd name="connsiteX1" fmla="*/ 69724 w 84971"/>
                <a:gd name="connsiteY1" fmla="*/ 45649 h 84971"/>
                <a:gd name="connsiteX2" fmla="*/ 39984 w 84971"/>
                <a:gd name="connsiteY2" fmla="*/ 69724 h 84971"/>
                <a:gd name="connsiteX3" fmla="*/ 15909 w 84971"/>
                <a:gd name="connsiteY3" fmla="*/ 39984 h 84971"/>
                <a:gd name="connsiteX4" fmla="*/ 45648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8" y="15909"/>
                  </a:moveTo>
                  <a:cubicBezTo>
                    <a:pt x="59810" y="17325"/>
                    <a:pt x="71140" y="30071"/>
                    <a:pt x="69724" y="45649"/>
                  </a:cubicBezTo>
                  <a:cubicBezTo>
                    <a:pt x="68308" y="59811"/>
                    <a:pt x="55562" y="71140"/>
                    <a:pt x="39984" y="69724"/>
                  </a:cubicBezTo>
                  <a:cubicBezTo>
                    <a:pt x="25822" y="68308"/>
                    <a:pt x="14493" y="55562"/>
                    <a:pt x="15909" y="39984"/>
                  </a:cubicBezTo>
                  <a:cubicBezTo>
                    <a:pt x="18741" y="25822"/>
                    <a:pt x="31487" y="14493"/>
                    <a:pt x="45648" y="1590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9" name="Freeform: Shape 2578">
              <a:extLst>
                <a:ext uri="{FF2B5EF4-FFF2-40B4-BE49-F238E27FC236}">
                  <a16:creationId xmlns:a16="http://schemas.microsoft.com/office/drawing/2014/main" id="{C0CF7110-0A6E-419B-848D-D8E4E8EDA573}"/>
                </a:ext>
              </a:extLst>
            </p:cNvPr>
            <p:cNvSpPr/>
            <p:nvPr/>
          </p:nvSpPr>
          <p:spPr>
            <a:xfrm>
              <a:off x="5717485" y="3309829"/>
              <a:ext cx="56648" cy="56648"/>
            </a:xfrm>
            <a:custGeom>
              <a:avLst/>
              <a:gdLst>
                <a:gd name="connsiteX0" fmla="*/ 32965 w 56647"/>
                <a:gd name="connsiteY0" fmla="*/ 15789 h 56647"/>
                <a:gd name="connsiteX1" fmla="*/ 47127 w 56647"/>
                <a:gd name="connsiteY1" fmla="*/ 32783 h 56647"/>
                <a:gd name="connsiteX2" fmla="*/ 30132 w 56647"/>
                <a:gd name="connsiteY2" fmla="*/ 46945 h 56647"/>
                <a:gd name="connsiteX3" fmla="*/ 15970 w 56647"/>
                <a:gd name="connsiteY3" fmla="*/ 29951 h 56647"/>
                <a:gd name="connsiteX4" fmla="*/ 32965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789"/>
                  </a:moveTo>
                  <a:cubicBezTo>
                    <a:pt x="41462" y="17205"/>
                    <a:pt x="48543" y="24286"/>
                    <a:pt x="47127" y="32783"/>
                  </a:cubicBezTo>
                  <a:cubicBezTo>
                    <a:pt x="45710" y="41280"/>
                    <a:pt x="38630" y="48361"/>
                    <a:pt x="30132" y="46945"/>
                  </a:cubicBezTo>
                  <a:cubicBezTo>
                    <a:pt x="21635" y="45529"/>
                    <a:pt x="14554" y="38448"/>
                    <a:pt x="15970" y="29951"/>
                  </a:cubicBezTo>
                  <a:cubicBezTo>
                    <a:pt x="15970" y="21454"/>
                    <a:pt x="23051" y="15789"/>
                    <a:pt x="32965"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0" name="Freeform: Shape 2579">
              <a:extLst>
                <a:ext uri="{FF2B5EF4-FFF2-40B4-BE49-F238E27FC236}">
                  <a16:creationId xmlns:a16="http://schemas.microsoft.com/office/drawing/2014/main" id="{D4793AE3-2A1C-4703-B361-37D603219BFC}"/>
                </a:ext>
              </a:extLst>
            </p:cNvPr>
            <p:cNvSpPr/>
            <p:nvPr/>
          </p:nvSpPr>
          <p:spPr>
            <a:xfrm>
              <a:off x="5394593" y="3714678"/>
              <a:ext cx="56648" cy="56648"/>
            </a:xfrm>
            <a:custGeom>
              <a:avLst/>
              <a:gdLst>
                <a:gd name="connsiteX0" fmla="*/ 32964 w 56647"/>
                <a:gd name="connsiteY0" fmla="*/ 15970 h 56647"/>
                <a:gd name="connsiteX1" fmla="*/ 47126 w 56647"/>
                <a:gd name="connsiteY1" fmla="*/ 32965 h 56647"/>
                <a:gd name="connsiteX2" fmla="*/ 30132 w 56647"/>
                <a:gd name="connsiteY2" fmla="*/ 47127 h 56647"/>
                <a:gd name="connsiteX3" fmla="*/ 15970 w 56647"/>
                <a:gd name="connsiteY3" fmla="*/ 30132 h 56647"/>
                <a:gd name="connsiteX4" fmla="*/ 32964 w 56647"/>
                <a:gd name="connsiteY4" fmla="*/ 1597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4" y="15970"/>
                  </a:moveTo>
                  <a:cubicBezTo>
                    <a:pt x="41462" y="17386"/>
                    <a:pt x="48543" y="24467"/>
                    <a:pt x="47126" y="32965"/>
                  </a:cubicBezTo>
                  <a:cubicBezTo>
                    <a:pt x="45710" y="41462"/>
                    <a:pt x="38630" y="48543"/>
                    <a:pt x="30132" y="47127"/>
                  </a:cubicBezTo>
                  <a:cubicBezTo>
                    <a:pt x="21635" y="45710"/>
                    <a:pt x="14554" y="38629"/>
                    <a:pt x="15970" y="30132"/>
                  </a:cubicBezTo>
                  <a:cubicBezTo>
                    <a:pt x="15970" y="21635"/>
                    <a:pt x="24468" y="14554"/>
                    <a:pt x="32964" y="1597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1" name="Freeform: Shape 2580">
              <a:extLst>
                <a:ext uri="{FF2B5EF4-FFF2-40B4-BE49-F238E27FC236}">
                  <a16:creationId xmlns:a16="http://schemas.microsoft.com/office/drawing/2014/main" id="{516D49FA-9E1A-4D55-BDD0-AEDB5803D8A5}"/>
                </a:ext>
              </a:extLst>
            </p:cNvPr>
            <p:cNvSpPr/>
            <p:nvPr/>
          </p:nvSpPr>
          <p:spPr>
            <a:xfrm>
              <a:off x="5321132" y="3561911"/>
              <a:ext cx="42486" cy="42486"/>
            </a:xfrm>
            <a:custGeom>
              <a:avLst/>
              <a:gdLst>
                <a:gd name="connsiteX0" fmla="*/ 25703 w 42485"/>
                <a:gd name="connsiteY0" fmla="*/ 15789 h 42485"/>
                <a:gd name="connsiteX1" fmla="*/ 34200 w 42485"/>
                <a:gd name="connsiteY1" fmla="*/ 25702 h 42485"/>
                <a:gd name="connsiteX2" fmla="*/ 24286 w 42485"/>
                <a:gd name="connsiteY2" fmla="*/ 34200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31367" y="15789"/>
                    <a:pt x="34200" y="21454"/>
                    <a:pt x="34200" y="25702"/>
                  </a:cubicBezTo>
                  <a:cubicBezTo>
                    <a:pt x="34200" y="31367"/>
                    <a:pt x="29951" y="34200"/>
                    <a:pt x="24286" y="34200"/>
                  </a:cubicBezTo>
                  <a:cubicBezTo>
                    <a:pt x="18622" y="34200"/>
                    <a:pt x="15789" y="28535"/>
                    <a:pt x="15789" y="24286"/>
                  </a:cubicBezTo>
                  <a:cubicBezTo>
                    <a:pt x="15789" y="20038"/>
                    <a:pt x="21454" y="15789"/>
                    <a:pt x="25703"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2" name="Freeform: Shape 2581">
              <a:extLst>
                <a:ext uri="{FF2B5EF4-FFF2-40B4-BE49-F238E27FC236}">
                  <a16:creationId xmlns:a16="http://schemas.microsoft.com/office/drawing/2014/main" id="{F91F31B4-C822-45EB-8436-F2FFA1BC46F8}"/>
                </a:ext>
              </a:extLst>
            </p:cNvPr>
            <p:cNvSpPr/>
            <p:nvPr/>
          </p:nvSpPr>
          <p:spPr>
            <a:xfrm>
              <a:off x="5874863" y="3386029"/>
              <a:ext cx="42486" cy="42486"/>
            </a:xfrm>
            <a:custGeom>
              <a:avLst/>
              <a:gdLst>
                <a:gd name="connsiteX0" fmla="*/ 25703 w 42485"/>
                <a:gd name="connsiteY0" fmla="*/ 16064 h 42485"/>
                <a:gd name="connsiteX1" fmla="*/ 34199 w 42485"/>
                <a:gd name="connsiteY1" fmla="*/ 25977 h 42485"/>
                <a:gd name="connsiteX2" fmla="*/ 24286 w 42485"/>
                <a:gd name="connsiteY2" fmla="*/ 34474 h 42485"/>
                <a:gd name="connsiteX3" fmla="*/ 15789 w 42485"/>
                <a:gd name="connsiteY3" fmla="*/ 24561 h 42485"/>
                <a:gd name="connsiteX4" fmla="*/ 25703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4"/>
                  </a:moveTo>
                  <a:cubicBezTo>
                    <a:pt x="29951" y="16064"/>
                    <a:pt x="34199" y="20312"/>
                    <a:pt x="34199" y="25977"/>
                  </a:cubicBezTo>
                  <a:cubicBezTo>
                    <a:pt x="34199" y="30225"/>
                    <a:pt x="29951" y="34474"/>
                    <a:pt x="24286" y="34474"/>
                  </a:cubicBezTo>
                  <a:cubicBezTo>
                    <a:pt x="20037" y="34474"/>
                    <a:pt x="15789" y="30225"/>
                    <a:pt x="15789" y="24561"/>
                  </a:cubicBezTo>
                  <a:cubicBezTo>
                    <a:pt x="17205" y="18896"/>
                    <a:pt x="21454" y="14647"/>
                    <a:pt x="25703" y="160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3" name="Freeform: Shape 2582">
              <a:extLst>
                <a:ext uri="{FF2B5EF4-FFF2-40B4-BE49-F238E27FC236}">
                  <a16:creationId xmlns:a16="http://schemas.microsoft.com/office/drawing/2014/main" id="{A8E3D48E-D637-4730-90DF-3B3C0400600B}"/>
                </a:ext>
              </a:extLst>
            </p:cNvPr>
            <p:cNvSpPr/>
            <p:nvPr/>
          </p:nvSpPr>
          <p:spPr>
            <a:xfrm>
              <a:off x="6062998" y="3354929"/>
              <a:ext cx="56648" cy="56648"/>
            </a:xfrm>
            <a:custGeom>
              <a:avLst/>
              <a:gdLst>
                <a:gd name="connsiteX0" fmla="*/ 30169 w 56647"/>
                <a:gd name="connsiteY0" fmla="*/ 16007 h 56647"/>
                <a:gd name="connsiteX1" fmla="*/ 41499 w 56647"/>
                <a:gd name="connsiteY1" fmla="*/ 30169 h 56647"/>
                <a:gd name="connsiteX2" fmla="*/ 27337 w 56647"/>
                <a:gd name="connsiteY2" fmla="*/ 41499 h 56647"/>
                <a:gd name="connsiteX3" fmla="*/ 16007 w 56647"/>
                <a:gd name="connsiteY3" fmla="*/ 27337 h 56647"/>
                <a:gd name="connsiteX4" fmla="*/ 30169 w 56647"/>
                <a:gd name="connsiteY4" fmla="*/ 1600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0169" y="16007"/>
                  </a:moveTo>
                  <a:cubicBezTo>
                    <a:pt x="37250" y="16007"/>
                    <a:pt x="42915" y="23088"/>
                    <a:pt x="41499" y="30169"/>
                  </a:cubicBezTo>
                  <a:cubicBezTo>
                    <a:pt x="41499" y="37250"/>
                    <a:pt x="34418" y="42915"/>
                    <a:pt x="27337" y="41499"/>
                  </a:cubicBezTo>
                  <a:cubicBezTo>
                    <a:pt x="20256" y="41499"/>
                    <a:pt x="14592" y="34418"/>
                    <a:pt x="16007" y="27337"/>
                  </a:cubicBezTo>
                  <a:cubicBezTo>
                    <a:pt x="16007" y="20256"/>
                    <a:pt x="23088" y="14591"/>
                    <a:pt x="30169" y="160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4" name="Freeform: Shape 2583">
              <a:extLst>
                <a:ext uri="{FF2B5EF4-FFF2-40B4-BE49-F238E27FC236}">
                  <a16:creationId xmlns:a16="http://schemas.microsoft.com/office/drawing/2014/main" id="{0F5B9344-B73C-4194-884F-0DB41A34849A}"/>
                </a:ext>
              </a:extLst>
            </p:cNvPr>
            <p:cNvSpPr/>
            <p:nvPr/>
          </p:nvSpPr>
          <p:spPr>
            <a:xfrm>
              <a:off x="5900235" y="3481069"/>
              <a:ext cx="84971" cy="84971"/>
            </a:xfrm>
            <a:custGeom>
              <a:avLst/>
              <a:gdLst>
                <a:gd name="connsiteX0" fmla="*/ 45649 w 84971"/>
                <a:gd name="connsiteY0" fmla="*/ 15909 h 84971"/>
                <a:gd name="connsiteX1" fmla="*/ 71140 w 84971"/>
                <a:gd name="connsiteY1" fmla="*/ 45648 h 84971"/>
                <a:gd name="connsiteX2" fmla="*/ 41400 w 84971"/>
                <a:gd name="connsiteY2" fmla="*/ 71140 h 84971"/>
                <a:gd name="connsiteX3" fmla="*/ 15908 w 84971"/>
                <a:gd name="connsiteY3" fmla="*/ 41400 h 84971"/>
                <a:gd name="connsiteX4" fmla="*/ 45649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9" y="15909"/>
                  </a:moveTo>
                  <a:cubicBezTo>
                    <a:pt x="61227" y="17325"/>
                    <a:pt x="72556" y="30070"/>
                    <a:pt x="71140" y="45648"/>
                  </a:cubicBezTo>
                  <a:cubicBezTo>
                    <a:pt x="69724" y="61227"/>
                    <a:pt x="56978" y="72556"/>
                    <a:pt x="41400" y="71140"/>
                  </a:cubicBezTo>
                  <a:cubicBezTo>
                    <a:pt x="25822" y="69724"/>
                    <a:pt x="14493" y="56978"/>
                    <a:pt x="15908" y="41400"/>
                  </a:cubicBezTo>
                  <a:cubicBezTo>
                    <a:pt x="15908" y="25822"/>
                    <a:pt x="30070" y="14492"/>
                    <a:pt x="45649" y="1590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5" name="Freeform: Shape 2584">
              <a:extLst>
                <a:ext uri="{FF2B5EF4-FFF2-40B4-BE49-F238E27FC236}">
                  <a16:creationId xmlns:a16="http://schemas.microsoft.com/office/drawing/2014/main" id="{6BD214FB-9D68-4A75-83F2-31D9991A093C}"/>
                </a:ext>
              </a:extLst>
            </p:cNvPr>
            <p:cNvSpPr/>
            <p:nvPr/>
          </p:nvSpPr>
          <p:spPr>
            <a:xfrm>
              <a:off x="5767233" y="3709195"/>
              <a:ext cx="42486" cy="42486"/>
            </a:xfrm>
            <a:custGeom>
              <a:avLst/>
              <a:gdLst>
                <a:gd name="connsiteX0" fmla="*/ 25703 w 42485"/>
                <a:gd name="connsiteY0" fmla="*/ 15789 h 42485"/>
                <a:gd name="connsiteX1" fmla="*/ 34200 w 42485"/>
                <a:gd name="connsiteY1" fmla="*/ 25703 h 42485"/>
                <a:gd name="connsiteX2" fmla="*/ 24286 w 42485"/>
                <a:gd name="connsiteY2" fmla="*/ 34200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29951" y="15789"/>
                    <a:pt x="34200" y="20038"/>
                    <a:pt x="34200" y="25703"/>
                  </a:cubicBezTo>
                  <a:cubicBezTo>
                    <a:pt x="34200" y="29951"/>
                    <a:pt x="29951" y="34200"/>
                    <a:pt x="24286" y="34200"/>
                  </a:cubicBezTo>
                  <a:cubicBezTo>
                    <a:pt x="20038" y="34200"/>
                    <a:pt x="15789" y="29951"/>
                    <a:pt x="15789" y="24286"/>
                  </a:cubicBezTo>
                  <a:cubicBezTo>
                    <a:pt x="17205" y="20038"/>
                    <a:pt x="21454" y="15789"/>
                    <a:pt x="25703"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6" name="Freeform: Shape 2585">
              <a:extLst>
                <a:ext uri="{FF2B5EF4-FFF2-40B4-BE49-F238E27FC236}">
                  <a16:creationId xmlns:a16="http://schemas.microsoft.com/office/drawing/2014/main" id="{8AF083D4-5F56-4509-A8FC-2966386EF324}"/>
                </a:ext>
              </a:extLst>
            </p:cNvPr>
            <p:cNvSpPr/>
            <p:nvPr/>
          </p:nvSpPr>
          <p:spPr>
            <a:xfrm>
              <a:off x="5619949" y="3269901"/>
              <a:ext cx="42486" cy="42486"/>
            </a:xfrm>
            <a:custGeom>
              <a:avLst/>
              <a:gdLst>
                <a:gd name="connsiteX0" fmla="*/ 25703 w 42485"/>
                <a:gd name="connsiteY0" fmla="*/ 16063 h 42485"/>
                <a:gd name="connsiteX1" fmla="*/ 34199 w 42485"/>
                <a:gd name="connsiteY1" fmla="*/ 25977 h 42485"/>
                <a:gd name="connsiteX2" fmla="*/ 24286 w 42485"/>
                <a:gd name="connsiteY2" fmla="*/ 34474 h 42485"/>
                <a:gd name="connsiteX3" fmla="*/ 15789 w 42485"/>
                <a:gd name="connsiteY3" fmla="*/ 24561 h 42485"/>
                <a:gd name="connsiteX4" fmla="*/ 25703 w 42485"/>
                <a:gd name="connsiteY4" fmla="*/ 1606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3"/>
                  </a:moveTo>
                  <a:cubicBezTo>
                    <a:pt x="29951" y="16063"/>
                    <a:pt x="34199" y="20312"/>
                    <a:pt x="34199" y="25977"/>
                  </a:cubicBezTo>
                  <a:cubicBezTo>
                    <a:pt x="34199" y="30225"/>
                    <a:pt x="29951" y="34474"/>
                    <a:pt x="24286" y="34474"/>
                  </a:cubicBezTo>
                  <a:cubicBezTo>
                    <a:pt x="20037" y="34474"/>
                    <a:pt x="15789" y="30225"/>
                    <a:pt x="15789" y="24561"/>
                  </a:cubicBezTo>
                  <a:cubicBezTo>
                    <a:pt x="15789" y="18896"/>
                    <a:pt x="20037" y="14647"/>
                    <a:pt x="25703" y="1606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7" name="Freeform: Shape 2586">
              <a:extLst>
                <a:ext uri="{FF2B5EF4-FFF2-40B4-BE49-F238E27FC236}">
                  <a16:creationId xmlns:a16="http://schemas.microsoft.com/office/drawing/2014/main" id="{6D1FED2A-5220-481E-873F-EBBA4F6A036A}"/>
                </a:ext>
              </a:extLst>
            </p:cNvPr>
            <p:cNvSpPr/>
            <p:nvPr/>
          </p:nvSpPr>
          <p:spPr>
            <a:xfrm>
              <a:off x="5761568" y="2873642"/>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9"/>
                    <a:pt x="55442" y="15789"/>
                    <a:pt x="41280" y="15789"/>
                  </a:cubicBezTo>
                  <a:cubicBezTo>
                    <a:pt x="27118" y="15789"/>
                    <a:pt x="15789" y="27119"/>
                    <a:pt x="15789" y="41280"/>
                  </a:cubicBezTo>
                  <a:cubicBezTo>
                    <a:pt x="15789" y="55442"/>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8" name="Freeform: Shape 2587">
              <a:extLst>
                <a:ext uri="{FF2B5EF4-FFF2-40B4-BE49-F238E27FC236}">
                  <a16:creationId xmlns:a16="http://schemas.microsoft.com/office/drawing/2014/main" id="{A9E3AF15-C098-45CA-8E46-AA7A0AB5700D}"/>
                </a:ext>
              </a:extLst>
            </p:cNvPr>
            <p:cNvSpPr/>
            <p:nvPr/>
          </p:nvSpPr>
          <p:spPr>
            <a:xfrm>
              <a:off x="5543474" y="2642803"/>
              <a:ext cx="56648" cy="56648"/>
            </a:xfrm>
            <a:custGeom>
              <a:avLst/>
              <a:gdLst>
                <a:gd name="connsiteX0" fmla="*/ 46945 w 56647"/>
                <a:gd name="connsiteY0" fmla="*/ 31367 h 56647"/>
                <a:gd name="connsiteX1" fmla="*/ 31367 w 56647"/>
                <a:gd name="connsiteY1" fmla="*/ 46945 h 56647"/>
                <a:gd name="connsiteX2" fmla="*/ 15789 w 56647"/>
                <a:gd name="connsiteY2" fmla="*/ 31367 h 56647"/>
                <a:gd name="connsiteX3" fmla="*/ 31367 w 56647"/>
                <a:gd name="connsiteY3" fmla="*/ 15789 h 56647"/>
                <a:gd name="connsiteX4" fmla="*/ 46945 w 56647"/>
                <a:gd name="connsiteY4" fmla="*/ 3136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46945" y="31367"/>
                  </a:moveTo>
                  <a:cubicBezTo>
                    <a:pt x="46945" y="39971"/>
                    <a:pt x="39970" y="46945"/>
                    <a:pt x="31367" y="46945"/>
                  </a:cubicBezTo>
                  <a:cubicBezTo>
                    <a:pt x="22763" y="46945"/>
                    <a:pt x="15789" y="39971"/>
                    <a:pt x="15789" y="31367"/>
                  </a:cubicBezTo>
                  <a:cubicBezTo>
                    <a:pt x="15789" y="22764"/>
                    <a:pt x="22763" y="15789"/>
                    <a:pt x="31367" y="15789"/>
                  </a:cubicBezTo>
                  <a:cubicBezTo>
                    <a:pt x="39970" y="15789"/>
                    <a:pt x="46945" y="22764"/>
                    <a:pt x="46945" y="3136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9" name="Freeform: Shape 2588">
              <a:extLst>
                <a:ext uri="{FF2B5EF4-FFF2-40B4-BE49-F238E27FC236}">
                  <a16:creationId xmlns:a16="http://schemas.microsoft.com/office/drawing/2014/main" id="{DDE95BAE-8FE3-42CE-A731-112FFEAE7B29}"/>
                </a:ext>
              </a:extLst>
            </p:cNvPr>
            <p:cNvSpPr/>
            <p:nvPr/>
          </p:nvSpPr>
          <p:spPr>
            <a:xfrm>
              <a:off x="5525064" y="2719278"/>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1" y="86599"/>
                    <a:pt x="86599" y="71020"/>
                    <a:pt x="86599" y="51194"/>
                  </a:cubicBezTo>
                  <a:cubicBezTo>
                    <a:pt x="86599" y="31367"/>
                    <a:pt x="71021" y="15789"/>
                    <a:pt x="51194" y="15789"/>
                  </a:cubicBezTo>
                  <a:cubicBezTo>
                    <a:pt x="31367" y="15789"/>
                    <a:pt x="15789" y="31367"/>
                    <a:pt x="15789" y="51194"/>
                  </a:cubicBezTo>
                  <a:cubicBezTo>
                    <a:pt x="15789" y="71020"/>
                    <a:pt x="31367"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0" name="Freeform: Shape 2589">
              <a:extLst>
                <a:ext uri="{FF2B5EF4-FFF2-40B4-BE49-F238E27FC236}">
                  <a16:creationId xmlns:a16="http://schemas.microsoft.com/office/drawing/2014/main" id="{2AC3196F-20E2-4804-B7EE-0A5FAB995E1D}"/>
                </a:ext>
              </a:extLst>
            </p:cNvPr>
            <p:cNvSpPr/>
            <p:nvPr/>
          </p:nvSpPr>
          <p:spPr>
            <a:xfrm>
              <a:off x="5505237" y="2521011"/>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1" y="49777"/>
                    <a:pt x="49778" y="42697"/>
                    <a:pt x="49778" y="32783"/>
                  </a:cubicBezTo>
                  <a:cubicBezTo>
                    <a:pt x="49778" y="24286"/>
                    <a:pt x="42697" y="15789"/>
                    <a:pt x="32783" y="15789"/>
                  </a:cubicBezTo>
                  <a:cubicBezTo>
                    <a:pt x="22870" y="15789"/>
                    <a:pt x="15789" y="22870"/>
                    <a:pt x="15789" y="32783"/>
                  </a:cubicBezTo>
                  <a:cubicBezTo>
                    <a:pt x="17205" y="42697"/>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1" name="Freeform: Shape 2590">
              <a:extLst>
                <a:ext uri="{FF2B5EF4-FFF2-40B4-BE49-F238E27FC236}">
                  <a16:creationId xmlns:a16="http://schemas.microsoft.com/office/drawing/2014/main" id="{C667F9E1-F5B0-4F63-909D-AF82A6654798}"/>
                </a:ext>
              </a:extLst>
            </p:cNvPr>
            <p:cNvSpPr/>
            <p:nvPr/>
          </p:nvSpPr>
          <p:spPr>
            <a:xfrm>
              <a:off x="5628446" y="2750434"/>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2" name="Freeform: Shape 2591">
              <a:extLst>
                <a:ext uri="{FF2B5EF4-FFF2-40B4-BE49-F238E27FC236}">
                  <a16:creationId xmlns:a16="http://schemas.microsoft.com/office/drawing/2014/main" id="{3B5B411B-9D4C-498F-A3D0-7F0A573BE2A0}"/>
                </a:ext>
              </a:extLst>
            </p:cNvPr>
            <p:cNvSpPr/>
            <p:nvPr/>
          </p:nvSpPr>
          <p:spPr>
            <a:xfrm>
              <a:off x="5728996" y="2504017"/>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1280"/>
                    <a:pt x="49778" y="32783"/>
                  </a:cubicBezTo>
                  <a:cubicBezTo>
                    <a:pt x="49778" y="22870"/>
                    <a:pt x="41280" y="15789"/>
                    <a:pt x="32783" y="15789"/>
                  </a:cubicBezTo>
                  <a:cubicBezTo>
                    <a:pt x="22870" y="15789"/>
                    <a:pt x="15789" y="24286"/>
                    <a:pt x="15789" y="32783"/>
                  </a:cubicBezTo>
                  <a:cubicBezTo>
                    <a:pt x="15789" y="41280"/>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3" name="Freeform: Shape 2592">
              <a:extLst>
                <a:ext uri="{FF2B5EF4-FFF2-40B4-BE49-F238E27FC236}">
                  <a16:creationId xmlns:a16="http://schemas.microsoft.com/office/drawing/2014/main" id="{DD6BB834-E744-4454-83D8-F46B03A48B24}"/>
                </a:ext>
              </a:extLst>
            </p:cNvPr>
            <p:cNvSpPr/>
            <p:nvPr/>
          </p:nvSpPr>
          <p:spPr>
            <a:xfrm>
              <a:off x="5736077" y="2679624"/>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4" name="Freeform: Shape 2593">
              <a:extLst>
                <a:ext uri="{FF2B5EF4-FFF2-40B4-BE49-F238E27FC236}">
                  <a16:creationId xmlns:a16="http://schemas.microsoft.com/office/drawing/2014/main" id="{A3A982F5-CD59-4FE6-86EE-69346CFA3775}"/>
                </a:ext>
              </a:extLst>
            </p:cNvPr>
            <p:cNvSpPr/>
            <p:nvPr/>
          </p:nvSpPr>
          <p:spPr>
            <a:xfrm>
              <a:off x="5561885" y="2556416"/>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1454"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5" name="Freeform: Shape 2594">
              <a:extLst>
                <a:ext uri="{FF2B5EF4-FFF2-40B4-BE49-F238E27FC236}">
                  <a16:creationId xmlns:a16="http://schemas.microsoft.com/office/drawing/2014/main" id="{277A144D-80FF-4FBE-AA45-A7CBBCB7456E}"/>
                </a:ext>
              </a:extLst>
            </p:cNvPr>
            <p:cNvSpPr/>
            <p:nvPr/>
          </p:nvSpPr>
          <p:spPr>
            <a:xfrm>
              <a:off x="5821048" y="2573410"/>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1454"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6" name="Freeform: Shape 2595">
              <a:extLst>
                <a:ext uri="{FF2B5EF4-FFF2-40B4-BE49-F238E27FC236}">
                  <a16:creationId xmlns:a16="http://schemas.microsoft.com/office/drawing/2014/main" id="{31D990F4-42D9-4357-B857-A3FB97885F60}"/>
                </a:ext>
              </a:extLst>
            </p:cNvPr>
            <p:cNvSpPr/>
            <p:nvPr/>
          </p:nvSpPr>
          <p:spPr>
            <a:xfrm>
              <a:off x="5651105" y="2723526"/>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7" name="Freeform: Shape 2596">
              <a:extLst>
                <a:ext uri="{FF2B5EF4-FFF2-40B4-BE49-F238E27FC236}">
                  <a16:creationId xmlns:a16="http://schemas.microsoft.com/office/drawing/2014/main" id="{EB75D140-9726-4B15-8EDA-E187F84D7D3D}"/>
                </a:ext>
              </a:extLst>
            </p:cNvPr>
            <p:cNvSpPr/>
            <p:nvPr/>
          </p:nvSpPr>
          <p:spPr>
            <a:xfrm>
              <a:off x="5407366" y="3217777"/>
              <a:ext cx="70810" cy="70810"/>
            </a:xfrm>
            <a:custGeom>
              <a:avLst/>
              <a:gdLst>
                <a:gd name="connsiteX0" fmla="*/ 40018 w 70809"/>
                <a:gd name="connsiteY0" fmla="*/ 15789 h 70809"/>
                <a:gd name="connsiteX1" fmla="*/ 59845 w 70809"/>
                <a:gd name="connsiteY1" fmla="*/ 39864 h 70809"/>
                <a:gd name="connsiteX2" fmla="*/ 35769 w 70809"/>
                <a:gd name="connsiteY2" fmla="*/ 59691 h 70809"/>
                <a:gd name="connsiteX3" fmla="*/ 15943 w 70809"/>
                <a:gd name="connsiteY3" fmla="*/ 35616 h 70809"/>
                <a:gd name="connsiteX4" fmla="*/ 40018 w 70809"/>
                <a:gd name="connsiteY4" fmla="*/ 1578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789"/>
                  </a:moveTo>
                  <a:cubicBezTo>
                    <a:pt x="52764" y="17205"/>
                    <a:pt x="61261" y="27119"/>
                    <a:pt x="59845" y="39864"/>
                  </a:cubicBezTo>
                  <a:cubicBezTo>
                    <a:pt x="58429" y="52610"/>
                    <a:pt x="48515" y="61107"/>
                    <a:pt x="35769" y="59691"/>
                  </a:cubicBezTo>
                  <a:cubicBezTo>
                    <a:pt x="23024" y="58275"/>
                    <a:pt x="14527" y="48361"/>
                    <a:pt x="15943" y="35616"/>
                  </a:cubicBezTo>
                  <a:cubicBezTo>
                    <a:pt x="15943" y="24286"/>
                    <a:pt x="27272" y="15789"/>
                    <a:pt x="4001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8" name="Freeform: Shape 2597">
              <a:extLst>
                <a:ext uri="{FF2B5EF4-FFF2-40B4-BE49-F238E27FC236}">
                  <a16:creationId xmlns:a16="http://schemas.microsoft.com/office/drawing/2014/main" id="{EA550274-6A4E-4631-AB0D-29049CFC64B0}"/>
                </a:ext>
              </a:extLst>
            </p:cNvPr>
            <p:cNvSpPr/>
            <p:nvPr/>
          </p:nvSpPr>
          <p:spPr>
            <a:xfrm>
              <a:off x="5529313" y="3318326"/>
              <a:ext cx="42486" cy="42486"/>
            </a:xfrm>
            <a:custGeom>
              <a:avLst/>
              <a:gdLst>
                <a:gd name="connsiteX0" fmla="*/ 25702 w 42485"/>
                <a:gd name="connsiteY0" fmla="*/ 15789 h 42485"/>
                <a:gd name="connsiteX1" fmla="*/ 34199 w 42485"/>
                <a:gd name="connsiteY1" fmla="*/ 25702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1454"/>
                    <a:pt x="34199" y="25702"/>
                  </a:cubicBezTo>
                  <a:cubicBezTo>
                    <a:pt x="34199" y="31367"/>
                    <a:pt x="29951" y="34200"/>
                    <a:pt x="24286" y="34200"/>
                  </a:cubicBezTo>
                  <a:cubicBezTo>
                    <a:pt x="18621" y="34200"/>
                    <a:pt x="15789" y="28535"/>
                    <a:pt x="15789" y="24286"/>
                  </a:cubicBezTo>
                  <a:cubicBezTo>
                    <a:pt x="15789" y="20038"/>
                    <a:pt x="21454"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9" name="Freeform: Shape 2598">
              <a:extLst>
                <a:ext uri="{FF2B5EF4-FFF2-40B4-BE49-F238E27FC236}">
                  <a16:creationId xmlns:a16="http://schemas.microsoft.com/office/drawing/2014/main" id="{9E080557-A832-409F-8077-730774942C01}"/>
                </a:ext>
              </a:extLst>
            </p:cNvPr>
            <p:cNvSpPr/>
            <p:nvPr/>
          </p:nvSpPr>
          <p:spPr>
            <a:xfrm>
              <a:off x="5319609" y="3346288"/>
              <a:ext cx="84971" cy="84971"/>
            </a:xfrm>
            <a:custGeom>
              <a:avLst/>
              <a:gdLst>
                <a:gd name="connsiteX0" fmla="*/ 51301 w 84971"/>
                <a:gd name="connsiteY0" fmla="*/ 16151 h 84971"/>
                <a:gd name="connsiteX1" fmla="*/ 81041 w 84971"/>
                <a:gd name="connsiteY1" fmla="*/ 51556 h 84971"/>
                <a:gd name="connsiteX2" fmla="*/ 45636 w 84971"/>
                <a:gd name="connsiteY2" fmla="*/ 81295 h 84971"/>
                <a:gd name="connsiteX3" fmla="*/ 15896 w 84971"/>
                <a:gd name="connsiteY3" fmla="*/ 45891 h 84971"/>
                <a:gd name="connsiteX4" fmla="*/ 51301 w 84971"/>
                <a:gd name="connsiteY4" fmla="*/ 16151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51301" y="16151"/>
                  </a:moveTo>
                  <a:cubicBezTo>
                    <a:pt x="69712" y="17567"/>
                    <a:pt x="82457" y="34561"/>
                    <a:pt x="81041" y="51556"/>
                  </a:cubicBezTo>
                  <a:cubicBezTo>
                    <a:pt x="79625" y="69966"/>
                    <a:pt x="62631" y="82712"/>
                    <a:pt x="45636" y="81295"/>
                  </a:cubicBezTo>
                  <a:cubicBezTo>
                    <a:pt x="27226" y="79879"/>
                    <a:pt x="14480" y="64301"/>
                    <a:pt x="15896" y="45891"/>
                  </a:cubicBezTo>
                  <a:cubicBezTo>
                    <a:pt x="17313" y="27480"/>
                    <a:pt x="32891" y="13318"/>
                    <a:pt x="51301" y="161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0" name="Freeform: Shape 2599">
              <a:extLst>
                <a:ext uri="{FF2B5EF4-FFF2-40B4-BE49-F238E27FC236}">
                  <a16:creationId xmlns:a16="http://schemas.microsoft.com/office/drawing/2014/main" id="{E8500CE6-2AA7-40C2-9182-FB8C29C25AD3}"/>
                </a:ext>
              </a:extLst>
            </p:cNvPr>
            <p:cNvSpPr/>
            <p:nvPr/>
          </p:nvSpPr>
          <p:spPr>
            <a:xfrm>
              <a:off x="5292809" y="3251491"/>
              <a:ext cx="42486" cy="42486"/>
            </a:xfrm>
            <a:custGeom>
              <a:avLst/>
              <a:gdLst>
                <a:gd name="connsiteX0" fmla="*/ 25703 w 42485"/>
                <a:gd name="connsiteY0" fmla="*/ 16064 h 42485"/>
                <a:gd name="connsiteX1" fmla="*/ 34200 w 42485"/>
                <a:gd name="connsiteY1" fmla="*/ 25977 h 42485"/>
                <a:gd name="connsiteX2" fmla="*/ 24286 w 42485"/>
                <a:gd name="connsiteY2" fmla="*/ 34474 h 42485"/>
                <a:gd name="connsiteX3" fmla="*/ 15789 w 42485"/>
                <a:gd name="connsiteY3" fmla="*/ 24561 h 42485"/>
                <a:gd name="connsiteX4" fmla="*/ 25703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4"/>
                  </a:moveTo>
                  <a:cubicBezTo>
                    <a:pt x="29951" y="16064"/>
                    <a:pt x="34200" y="20312"/>
                    <a:pt x="34200" y="25977"/>
                  </a:cubicBezTo>
                  <a:cubicBezTo>
                    <a:pt x="34200" y="30225"/>
                    <a:pt x="29951" y="34474"/>
                    <a:pt x="24286" y="34474"/>
                  </a:cubicBezTo>
                  <a:cubicBezTo>
                    <a:pt x="20038" y="34474"/>
                    <a:pt x="15789" y="30225"/>
                    <a:pt x="15789" y="24561"/>
                  </a:cubicBezTo>
                  <a:cubicBezTo>
                    <a:pt x="17205" y="18896"/>
                    <a:pt x="21454" y="14647"/>
                    <a:pt x="25703" y="160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1" name="Freeform: Shape 2600">
              <a:extLst>
                <a:ext uri="{FF2B5EF4-FFF2-40B4-BE49-F238E27FC236}">
                  <a16:creationId xmlns:a16="http://schemas.microsoft.com/office/drawing/2014/main" id="{463C66F1-A760-4B77-963F-256750A4775A}"/>
                </a:ext>
              </a:extLst>
            </p:cNvPr>
            <p:cNvSpPr/>
            <p:nvPr/>
          </p:nvSpPr>
          <p:spPr>
            <a:xfrm>
              <a:off x="5338127" y="3433038"/>
              <a:ext cx="42486" cy="42486"/>
            </a:xfrm>
            <a:custGeom>
              <a:avLst/>
              <a:gdLst>
                <a:gd name="connsiteX0" fmla="*/ 25702 w 42485"/>
                <a:gd name="connsiteY0" fmla="*/ 15789 h 42485"/>
                <a:gd name="connsiteX1" fmla="*/ 34199 w 42485"/>
                <a:gd name="connsiteY1" fmla="*/ 25703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29951" y="15789"/>
                    <a:pt x="34199" y="20038"/>
                    <a:pt x="34199" y="25703"/>
                  </a:cubicBezTo>
                  <a:cubicBezTo>
                    <a:pt x="34199" y="29951"/>
                    <a:pt x="29951" y="34200"/>
                    <a:pt x="24286" y="34200"/>
                  </a:cubicBezTo>
                  <a:cubicBezTo>
                    <a:pt x="20037" y="34200"/>
                    <a:pt x="15789" y="29951"/>
                    <a:pt x="15789" y="24286"/>
                  </a:cubicBezTo>
                  <a:cubicBezTo>
                    <a:pt x="15789" y="20038"/>
                    <a:pt x="20037"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2" name="Freeform: Shape 2601">
              <a:extLst>
                <a:ext uri="{FF2B5EF4-FFF2-40B4-BE49-F238E27FC236}">
                  <a16:creationId xmlns:a16="http://schemas.microsoft.com/office/drawing/2014/main" id="{4A8E70D9-C64C-43B1-8613-6D4FF177DF23}"/>
                </a:ext>
              </a:extLst>
            </p:cNvPr>
            <p:cNvSpPr/>
            <p:nvPr/>
          </p:nvSpPr>
          <p:spPr>
            <a:xfrm>
              <a:off x="5641192" y="2839654"/>
              <a:ext cx="70810" cy="70810"/>
            </a:xfrm>
            <a:custGeom>
              <a:avLst/>
              <a:gdLst>
                <a:gd name="connsiteX0" fmla="*/ 55442 w 70809"/>
                <a:gd name="connsiteY0" fmla="*/ 35616 h 70809"/>
                <a:gd name="connsiteX1" fmla="*/ 35616 w 70809"/>
                <a:gd name="connsiteY1" fmla="*/ 55442 h 70809"/>
                <a:gd name="connsiteX2" fmla="*/ 15789 w 70809"/>
                <a:gd name="connsiteY2" fmla="*/ 35616 h 70809"/>
                <a:gd name="connsiteX3" fmla="*/ 35616 w 70809"/>
                <a:gd name="connsiteY3" fmla="*/ 15789 h 70809"/>
                <a:gd name="connsiteX4" fmla="*/ 55442 w 70809"/>
                <a:gd name="connsiteY4" fmla="*/ 35616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55442" y="35616"/>
                  </a:moveTo>
                  <a:cubicBezTo>
                    <a:pt x="55442" y="46565"/>
                    <a:pt x="46566" y="55442"/>
                    <a:pt x="35616" y="55442"/>
                  </a:cubicBezTo>
                  <a:cubicBezTo>
                    <a:pt x="24666" y="55442"/>
                    <a:pt x="15789" y="46565"/>
                    <a:pt x="15789" y="35616"/>
                  </a:cubicBezTo>
                  <a:cubicBezTo>
                    <a:pt x="15789" y="24666"/>
                    <a:pt x="24666" y="15789"/>
                    <a:pt x="35616" y="15789"/>
                  </a:cubicBezTo>
                  <a:cubicBezTo>
                    <a:pt x="46566" y="15789"/>
                    <a:pt x="55442" y="24666"/>
                    <a:pt x="5544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3" name="Freeform: Shape 2602">
              <a:extLst>
                <a:ext uri="{FF2B5EF4-FFF2-40B4-BE49-F238E27FC236}">
                  <a16:creationId xmlns:a16="http://schemas.microsoft.com/office/drawing/2014/main" id="{EA0A0BD7-0A24-48A8-ADC8-6DC83B54611B}"/>
                </a:ext>
              </a:extLst>
            </p:cNvPr>
            <p:cNvSpPr/>
            <p:nvPr/>
          </p:nvSpPr>
          <p:spPr>
            <a:xfrm>
              <a:off x="5523648" y="2947284"/>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8" y="29951"/>
                    <a:pt x="29951" y="27118"/>
                    <a:pt x="29951" y="22870"/>
                  </a:cubicBezTo>
                  <a:cubicBezTo>
                    <a:pt x="29951" y="18621"/>
                    <a:pt x="27118" y="15789"/>
                    <a:pt x="22870" y="15789"/>
                  </a:cubicBezTo>
                  <a:cubicBezTo>
                    <a:pt x="18621" y="15789"/>
                    <a:pt x="15789" y="18621"/>
                    <a:pt x="15789" y="22870"/>
                  </a:cubicBezTo>
                  <a:cubicBezTo>
                    <a:pt x="15789" y="27118"/>
                    <a:pt x="20037" y="29951"/>
                    <a:pt x="22870"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4" name="Freeform: Shape 2603">
              <a:extLst>
                <a:ext uri="{FF2B5EF4-FFF2-40B4-BE49-F238E27FC236}">
                  <a16:creationId xmlns:a16="http://schemas.microsoft.com/office/drawing/2014/main" id="{4142F0B7-BF0F-4B93-B619-396DCF584189}"/>
                </a:ext>
              </a:extLst>
            </p:cNvPr>
            <p:cNvSpPr/>
            <p:nvPr/>
          </p:nvSpPr>
          <p:spPr>
            <a:xfrm>
              <a:off x="6153853" y="2960030"/>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5789" y="37032"/>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5" name="Freeform: Shape 2604">
              <a:extLst>
                <a:ext uri="{FF2B5EF4-FFF2-40B4-BE49-F238E27FC236}">
                  <a16:creationId xmlns:a16="http://schemas.microsoft.com/office/drawing/2014/main" id="{66248DA3-7D12-4FE2-8404-95C223717AD0}"/>
                </a:ext>
              </a:extLst>
            </p:cNvPr>
            <p:cNvSpPr/>
            <p:nvPr/>
          </p:nvSpPr>
          <p:spPr>
            <a:xfrm>
              <a:off x="6050336" y="2764596"/>
              <a:ext cx="70810" cy="70810"/>
            </a:xfrm>
            <a:custGeom>
              <a:avLst/>
              <a:gdLst>
                <a:gd name="connsiteX0" fmla="*/ 37167 w 70809"/>
                <a:gd name="connsiteY0" fmla="*/ 58275 h 70809"/>
                <a:gd name="connsiteX1" fmla="*/ 58410 w 70809"/>
                <a:gd name="connsiteY1" fmla="*/ 37032 h 70809"/>
                <a:gd name="connsiteX2" fmla="*/ 37167 w 70809"/>
                <a:gd name="connsiteY2" fmla="*/ 15789 h 70809"/>
                <a:gd name="connsiteX3" fmla="*/ 15924 w 70809"/>
                <a:gd name="connsiteY3" fmla="*/ 37032 h 70809"/>
                <a:gd name="connsiteX4" fmla="*/ 37167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167" y="58275"/>
                  </a:moveTo>
                  <a:cubicBezTo>
                    <a:pt x="48497" y="58275"/>
                    <a:pt x="58410" y="48361"/>
                    <a:pt x="58410" y="37032"/>
                  </a:cubicBezTo>
                  <a:cubicBezTo>
                    <a:pt x="58410" y="25702"/>
                    <a:pt x="48497" y="15789"/>
                    <a:pt x="37167" y="15789"/>
                  </a:cubicBezTo>
                  <a:cubicBezTo>
                    <a:pt x="25837" y="15789"/>
                    <a:pt x="15924" y="25702"/>
                    <a:pt x="15924" y="37032"/>
                  </a:cubicBezTo>
                  <a:cubicBezTo>
                    <a:pt x="14508" y="48361"/>
                    <a:pt x="24421" y="58275"/>
                    <a:pt x="37167"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6" name="Freeform: Shape 2605">
              <a:extLst>
                <a:ext uri="{FF2B5EF4-FFF2-40B4-BE49-F238E27FC236}">
                  <a16:creationId xmlns:a16="http://schemas.microsoft.com/office/drawing/2014/main" id="{D8169657-02DD-4D1F-A303-636BFA423BCD}"/>
                </a:ext>
              </a:extLst>
            </p:cNvPr>
            <p:cNvSpPr/>
            <p:nvPr/>
          </p:nvSpPr>
          <p:spPr>
            <a:xfrm>
              <a:off x="5445622" y="3046418"/>
              <a:ext cx="70810" cy="70810"/>
            </a:xfrm>
            <a:custGeom>
              <a:avLst/>
              <a:gdLst>
                <a:gd name="connsiteX0" fmla="*/ 37167 w 70809"/>
                <a:gd name="connsiteY0" fmla="*/ 58275 h 70809"/>
                <a:gd name="connsiteX1" fmla="*/ 58410 w 70809"/>
                <a:gd name="connsiteY1" fmla="*/ 37032 h 70809"/>
                <a:gd name="connsiteX2" fmla="*/ 37167 w 70809"/>
                <a:gd name="connsiteY2" fmla="*/ 15789 h 70809"/>
                <a:gd name="connsiteX3" fmla="*/ 15924 w 70809"/>
                <a:gd name="connsiteY3" fmla="*/ 37032 h 70809"/>
                <a:gd name="connsiteX4" fmla="*/ 37167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167" y="58275"/>
                  </a:moveTo>
                  <a:cubicBezTo>
                    <a:pt x="48496" y="58275"/>
                    <a:pt x="58410" y="48361"/>
                    <a:pt x="58410" y="37032"/>
                  </a:cubicBezTo>
                  <a:cubicBezTo>
                    <a:pt x="58410" y="25702"/>
                    <a:pt x="48496" y="15789"/>
                    <a:pt x="37167" y="15789"/>
                  </a:cubicBezTo>
                  <a:cubicBezTo>
                    <a:pt x="25837" y="15789"/>
                    <a:pt x="15924" y="25702"/>
                    <a:pt x="15924" y="37032"/>
                  </a:cubicBezTo>
                  <a:cubicBezTo>
                    <a:pt x="14508" y="48361"/>
                    <a:pt x="24421" y="58275"/>
                    <a:pt x="37167"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7" name="Freeform: Shape 2606">
              <a:extLst>
                <a:ext uri="{FF2B5EF4-FFF2-40B4-BE49-F238E27FC236}">
                  <a16:creationId xmlns:a16="http://schemas.microsoft.com/office/drawing/2014/main" id="{3F3383D9-3329-419A-BF0B-E2F48167604B}"/>
                </a:ext>
              </a:extLst>
            </p:cNvPr>
            <p:cNvSpPr/>
            <p:nvPr/>
          </p:nvSpPr>
          <p:spPr>
            <a:xfrm>
              <a:off x="5458322" y="2967111"/>
              <a:ext cx="56648" cy="56648"/>
            </a:xfrm>
            <a:custGeom>
              <a:avLst/>
              <a:gdLst>
                <a:gd name="connsiteX0" fmla="*/ 32964 w 56647"/>
                <a:gd name="connsiteY0" fmla="*/ 15789 h 56647"/>
                <a:gd name="connsiteX1" fmla="*/ 47126 w 56647"/>
                <a:gd name="connsiteY1" fmla="*/ 32783 h 56647"/>
                <a:gd name="connsiteX2" fmla="*/ 30132 w 56647"/>
                <a:gd name="connsiteY2" fmla="*/ 46945 h 56647"/>
                <a:gd name="connsiteX3" fmla="*/ 15970 w 56647"/>
                <a:gd name="connsiteY3" fmla="*/ 29951 h 56647"/>
                <a:gd name="connsiteX4" fmla="*/ 32964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4" y="15789"/>
                  </a:moveTo>
                  <a:cubicBezTo>
                    <a:pt x="41462" y="17205"/>
                    <a:pt x="48543" y="24286"/>
                    <a:pt x="47126" y="32783"/>
                  </a:cubicBezTo>
                  <a:cubicBezTo>
                    <a:pt x="45710" y="41280"/>
                    <a:pt x="38630" y="48361"/>
                    <a:pt x="30132" y="46945"/>
                  </a:cubicBezTo>
                  <a:cubicBezTo>
                    <a:pt x="21635" y="45529"/>
                    <a:pt x="14554" y="38448"/>
                    <a:pt x="15970" y="29951"/>
                  </a:cubicBezTo>
                  <a:cubicBezTo>
                    <a:pt x="15970" y="21454"/>
                    <a:pt x="23051" y="15789"/>
                    <a:pt x="32964"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8" name="Freeform: Shape 2607">
              <a:extLst>
                <a:ext uri="{FF2B5EF4-FFF2-40B4-BE49-F238E27FC236}">
                  <a16:creationId xmlns:a16="http://schemas.microsoft.com/office/drawing/2014/main" id="{91C963A3-E9DF-4B74-AFB0-75F6AD2AAE46}"/>
                </a:ext>
              </a:extLst>
            </p:cNvPr>
            <p:cNvSpPr/>
            <p:nvPr/>
          </p:nvSpPr>
          <p:spPr>
            <a:xfrm>
              <a:off x="5744466" y="3969379"/>
              <a:ext cx="84971" cy="84971"/>
            </a:xfrm>
            <a:custGeom>
              <a:avLst/>
              <a:gdLst>
                <a:gd name="connsiteX0" fmla="*/ 48469 w 84971"/>
                <a:gd name="connsiteY0" fmla="*/ 16184 h 84971"/>
                <a:gd name="connsiteX1" fmla="*/ 75377 w 84971"/>
                <a:gd name="connsiteY1" fmla="*/ 48757 h 84971"/>
                <a:gd name="connsiteX2" fmla="*/ 42805 w 84971"/>
                <a:gd name="connsiteY2" fmla="*/ 75664 h 84971"/>
                <a:gd name="connsiteX3" fmla="*/ 15897 w 84971"/>
                <a:gd name="connsiteY3" fmla="*/ 43092 h 84971"/>
                <a:gd name="connsiteX4" fmla="*/ 48469 w 84971"/>
                <a:gd name="connsiteY4" fmla="*/ 1618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8469" y="16184"/>
                  </a:moveTo>
                  <a:cubicBezTo>
                    <a:pt x="64047" y="17600"/>
                    <a:pt x="76793" y="31762"/>
                    <a:pt x="75377" y="48757"/>
                  </a:cubicBezTo>
                  <a:cubicBezTo>
                    <a:pt x="73961" y="64335"/>
                    <a:pt x="59799" y="77081"/>
                    <a:pt x="42805" y="75664"/>
                  </a:cubicBezTo>
                  <a:cubicBezTo>
                    <a:pt x="27226" y="74248"/>
                    <a:pt x="14481" y="60086"/>
                    <a:pt x="15897" y="43092"/>
                  </a:cubicBezTo>
                  <a:cubicBezTo>
                    <a:pt x="18729" y="26098"/>
                    <a:pt x="32891" y="13352"/>
                    <a:pt x="48469" y="1618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9" name="Freeform: Shape 2608">
              <a:extLst>
                <a:ext uri="{FF2B5EF4-FFF2-40B4-BE49-F238E27FC236}">
                  <a16:creationId xmlns:a16="http://schemas.microsoft.com/office/drawing/2014/main" id="{E38706B4-FC2A-4A18-B0FB-2B23D26A5744}"/>
                </a:ext>
              </a:extLst>
            </p:cNvPr>
            <p:cNvSpPr/>
            <p:nvPr/>
          </p:nvSpPr>
          <p:spPr>
            <a:xfrm>
              <a:off x="5686510" y="3772923"/>
              <a:ext cx="56648" cy="56648"/>
            </a:xfrm>
            <a:custGeom>
              <a:avLst/>
              <a:gdLst>
                <a:gd name="connsiteX0" fmla="*/ 29951 w 56647"/>
                <a:gd name="connsiteY0" fmla="*/ 15789 h 56647"/>
                <a:gd name="connsiteX1" fmla="*/ 42697 w 56647"/>
                <a:gd name="connsiteY1" fmla="*/ 29951 h 56647"/>
                <a:gd name="connsiteX2" fmla="*/ 28535 w 56647"/>
                <a:gd name="connsiteY2" fmla="*/ 42697 h 56647"/>
                <a:gd name="connsiteX3" fmla="*/ 15789 w 56647"/>
                <a:gd name="connsiteY3" fmla="*/ 28535 h 56647"/>
                <a:gd name="connsiteX4" fmla="*/ 29951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5789"/>
                  </a:moveTo>
                  <a:cubicBezTo>
                    <a:pt x="37032" y="15789"/>
                    <a:pt x="42697" y="22870"/>
                    <a:pt x="42697" y="29951"/>
                  </a:cubicBezTo>
                  <a:cubicBezTo>
                    <a:pt x="42697" y="37032"/>
                    <a:pt x="35616" y="42697"/>
                    <a:pt x="28535" y="42697"/>
                  </a:cubicBezTo>
                  <a:cubicBezTo>
                    <a:pt x="21454" y="42697"/>
                    <a:pt x="15789" y="35616"/>
                    <a:pt x="15789" y="28535"/>
                  </a:cubicBezTo>
                  <a:cubicBezTo>
                    <a:pt x="15789" y="20038"/>
                    <a:pt x="21454" y="15789"/>
                    <a:pt x="29951"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0" name="Freeform: Shape 2609">
              <a:extLst>
                <a:ext uri="{FF2B5EF4-FFF2-40B4-BE49-F238E27FC236}">
                  <a16:creationId xmlns:a16="http://schemas.microsoft.com/office/drawing/2014/main" id="{96F6C9BD-5BCC-412A-A4B6-2EC0E2E98227}"/>
                </a:ext>
              </a:extLst>
            </p:cNvPr>
            <p:cNvSpPr/>
            <p:nvPr/>
          </p:nvSpPr>
          <p:spPr>
            <a:xfrm>
              <a:off x="5499573" y="4051696"/>
              <a:ext cx="56648" cy="56648"/>
            </a:xfrm>
            <a:custGeom>
              <a:avLst/>
              <a:gdLst>
                <a:gd name="connsiteX0" fmla="*/ 29951 w 56647"/>
                <a:gd name="connsiteY0" fmla="*/ 16006 h 56647"/>
                <a:gd name="connsiteX1" fmla="*/ 42697 w 56647"/>
                <a:gd name="connsiteY1" fmla="*/ 30168 h 56647"/>
                <a:gd name="connsiteX2" fmla="*/ 28535 w 56647"/>
                <a:gd name="connsiteY2" fmla="*/ 42913 h 56647"/>
                <a:gd name="connsiteX3" fmla="*/ 15789 w 56647"/>
                <a:gd name="connsiteY3" fmla="*/ 28752 h 56647"/>
                <a:gd name="connsiteX4" fmla="*/ 29951 w 56647"/>
                <a:gd name="connsiteY4" fmla="*/ 16006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6006"/>
                  </a:moveTo>
                  <a:cubicBezTo>
                    <a:pt x="37032" y="16006"/>
                    <a:pt x="42697" y="23087"/>
                    <a:pt x="42697" y="30168"/>
                  </a:cubicBezTo>
                  <a:cubicBezTo>
                    <a:pt x="42697" y="37249"/>
                    <a:pt x="35616" y="42913"/>
                    <a:pt x="28535" y="42913"/>
                  </a:cubicBezTo>
                  <a:cubicBezTo>
                    <a:pt x="21454" y="42913"/>
                    <a:pt x="15789" y="35832"/>
                    <a:pt x="15789" y="28752"/>
                  </a:cubicBezTo>
                  <a:cubicBezTo>
                    <a:pt x="15789" y="20254"/>
                    <a:pt x="21454" y="14590"/>
                    <a:pt x="29951" y="1600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1" name="Freeform: Shape 2610">
              <a:extLst>
                <a:ext uri="{FF2B5EF4-FFF2-40B4-BE49-F238E27FC236}">
                  <a16:creationId xmlns:a16="http://schemas.microsoft.com/office/drawing/2014/main" id="{45C75F53-9FBA-4E1D-93D8-D7F935A7A129}"/>
                </a:ext>
              </a:extLst>
            </p:cNvPr>
            <p:cNvSpPr/>
            <p:nvPr/>
          </p:nvSpPr>
          <p:spPr>
            <a:xfrm>
              <a:off x="5313870" y="3840901"/>
              <a:ext cx="56648" cy="56648"/>
            </a:xfrm>
            <a:custGeom>
              <a:avLst/>
              <a:gdLst>
                <a:gd name="connsiteX0" fmla="*/ 32965 w 56647"/>
                <a:gd name="connsiteY0" fmla="*/ 15789 h 56647"/>
                <a:gd name="connsiteX1" fmla="*/ 47127 w 56647"/>
                <a:gd name="connsiteY1" fmla="*/ 32783 h 56647"/>
                <a:gd name="connsiteX2" fmla="*/ 30132 w 56647"/>
                <a:gd name="connsiteY2" fmla="*/ 46945 h 56647"/>
                <a:gd name="connsiteX3" fmla="*/ 15970 w 56647"/>
                <a:gd name="connsiteY3" fmla="*/ 29951 h 56647"/>
                <a:gd name="connsiteX4" fmla="*/ 32965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789"/>
                  </a:moveTo>
                  <a:cubicBezTo>
                    <a:pt x="41462" y="17205"/>
                    <a:pt x="48543" y="24286"/>
                    <a:pt x="47127" y="32783"/>
                  </a:cubicBezTo>
                  <a:cubicBezTo>
                    <a:pt x="45710" y="41280"/>
                    <a:pt x="38630" y="48361"/>
                    <a:pt x="30132" y="46945"/>
                  </a:cubicBezTo>
                  <a:cubicBezTo>
                    <a:pt x="21635" y="45529"/>
                    <a:pt x="14554" y="38448"/>
                    <a:pt x="15970" y="29951"/>
                  </a:cubicBezTo>
                  <a:cubicBezTo>
                    <a:pt x="15970" y="22870"/>
                    <a:pt x="23051" y="15789"/>
                    <a:pt x="32965"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2" name="Freeform: Shape 2611">
              <a:extLst>
                <a:ext uri="{FF2B5EF4-FFF2-40B4-BE49-F238E27FC236}">
                  <a16:creationId xmlns:a16="http://schemas.microsoft.com/office/drawing/2014/main" id="{BE6E7385-D69F-4261-AC8A-2C13AAB81F19}"/>
                </a:ext>
              </a:extLst>
            </p:cNvPr>
            <p:cNvSpPr/>
            <p:nvPr/>
          </p:nvSpPr>
          <p:spPr>
            <a:xfrm>
              <a:off x="5554804" y="3838068"/>
              <a:ext cx="56648" cy="56648"/>
            </a:xfrm>
            <a:custGeom>
              <a:avLst/>
              <a:gdLst>
                <a:gd name="connsiteX0" fmla="*/ 29951 w 56647"/>
                <a:gd name="connsiteY0" fmla="*/ 15789 h 56647"/>
                <a:gd name="connsiteX1" fmla="*/ 41281 w 56647"/>
                <a:gd name="connsiteY1" fmla="*/ 29951 h 56647"/>
                <a:gd name="connsiteX2" fmla="*/ 27119 w 56647"/>
                <a:gd name="connsiteY2" fmla="*/ 41280 h 56647"/>
                <a:gd name="connsiteX3" fmla="*/ 15789 w 56647"/>
                <a:gd name="connsiteY3" fmla="*/ 27119 h 56647"/>
                <a:gd name="connsiteX4" fmla="*/ 29951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5789"/>
                  </a:moveTo>
                  <a:cubicBezTo>
                    <a:pt x="37032" y="15789"/>
                    <a:pt x="41281" y="22870"/>
                    <a:pt x="41281" y="29951"/>
                  </a:cubicBezTo>
                  <a:cubicBezTo>
                    <a:pt x="41281" y="37032"/>
                    <a:pt x="34200" y="41280"/>
                    <a:pt x="27119" y="41280"/>
                  </a:cubicBezTo>
                  <a:cubicBezTo>
                    <a:pt x="20038" y="41280"/>
                    <a:pt x="15789" y="34200"/>
                    <a:pt x="15789" y="27119"/>
                  </a:cubicBezTo>
                  <a:cubicBezTo>
                    <a:pt x="17205" y="20038"/>
                    <a:pt x="22870" y="15789"/>
                    <a:pt x="29951"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3" name="Freeform: Shape 2612">
              <a:extLst>
                <a:ext uri="{FF2B5EF4-FFF2-40B4-BE49-F238E27FC236}">
                  <a16:creationId xmlns:a16="http://schemas.microsoft.com/office/drawing/2014/main" id="{930A8C2C-B8D6-4C04-B574-07C852C903F2}"/>
                </a:ext>
              </a:extLst>
            </p:cNvPr>
            <p:cNvSpPr/>
            <p:nvPr/>
          </p:nvSpPr>
          <p:spPr>
            <a:xfrm>
              <a:off x="5244658" y="3748630"/>
              <a:ext cx="56648" cy="56648"/>
            </a:xfrm>
            <a:custGeom>
              <a:avLst/>
              <a:gdLst>
                <a:gd name="connsiteX0" fmla="*/ 29951 w 56647"/>
                <a:gd name="connsiteY0" fmla="*/ 16007 h 56647"/>
                <a:gd name="connsiteX1" fmla="*/ 41280 w 56647"/>
                <a:gd name="connsiteY1" fmla="*/ 30169 h 56647"/>
                <a:gd name="connsiteX2" fmla="*/ 27118 w 56647"/>
                <a:gd name="connsiteY2" fmla="*/ 41499 h 56647"/>
                <a:gd name="connsiteX3" fmla="*/ 15789 w 56647"/>
                <a:gd name="connsiteY3" fmla="*/ 27337 h 56647"/>
                <a:gd name="connsiteX4" fmla="*/ 29951 w 56647"/>
                <a:gd name="connsiteY4" fmla="*/ 1600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6007"/>
                  </a:moveTo>
                  <a:cubicBezTo>
                    <a:pt x="37032" y="16007"/>
                    <a:pt x="41280" y="23088"/>
                    <a:pt x="41280" y="30169"/>
                  </a:cubicBezTo>
                  <a:cubicBezTo>
                    <a:pt x="41280" y="37250"/>
                    <a:pt x="34199" y="41499"/>
                    <a:pt x="27118" y="41499"/>
                  </a:cubicBezTo>
                  <a:cubicBezTo>
                    <a:pt x="20037" y="41499"/>
                    <a:pt x="15789" y="34418"/>
                    <a:pt x="15789" y="27337"/>
                  </a:cubicBezTo>
                  <a:cubicBezTo>
                    <a:pt x="15789" y="20256"/>
                    <a:pt x="22870" y="14591"/>
                    <a:pt x="29951" y="160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4" name="Freeform: Shape 2613">
              <a:extLst>
                <a:ext uri="{FF2B5EF4-FFF2-40B4-BE49-F238E27FC236}">
                  <a16:creationId xmlns:a16="http://schemas.microsoft.com/office/drawing/2014/main" id="{ABF0D657-39F2-4FA3-A45C-E3C4D30D3F99}"/>
                </a:ext>
              </a:extLst>
            </p:cNvPr>
            <p:cNvSpPr/>
            <p:nvPr/>
          </p:nvSpPr>
          <p:spPr>
            <a:xfrm>
              <a:off x="5587377" y="4031868"/>
              <a:ext cx="56648" cy="56648"/>
            </a:xfrm>
            <a:custGeom>
              <a:avLst/>
              <a:gdLst>
                <a:gd name="connsiteX0" fmla="*/ 29951 w 56647"/>
                <a:gd name="connsiteY0" fmla="*/ 16007 h 56647"/>
                <a:gd name="connsiteX1" fmla="*/ 41280 w 56647"/>
                <a:gd name="connsiteY1" fmla="*/ 30169 h 56647"/>
                <a:gd name="connsiteX2" fmla="*/ 27118 w 56647"/>
                <a:gd name="connsiteY2" fmla="*/ 41499 h 56647"/>
                <a:gd name="connsiteX3" fmla="*/ 15789 w 56647"/>
                <a:gd name="connsiteY3" fmla="*/ 27337 h 56647"/>
                <a:gd name="connsiteX4" fmla="*/ 29951 w 56647"/>
                <a:gd name="connsiteY4" fmla="*/ 1600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6007"/>
                  </a:moveTo>
                  <a:cubicBezTo>
                    <a:pt x="37032" y="16007"/>
                    <a:pt x="41280" y="23088"/>
                    <a:pt x="41280" y="30169"/>
                  </a:cubicBezTo>
                  <a:cubicBezTo>
                    <a:pt x="41280" y="37250"/>
                    <a:pt x="34199" y="41499"/>
                    <a:pt x="27118" y="41499"/>
                  </a:cubicBezTo>
                  <a:cubicBezTo>
                    <a:pt x="20037" y="41499"/>
                    <a:pt x="15789" y="34418"/>
                    <a:pt x="15789" y="27337"/>
                  </a:cubicBezTo>
                  <a:cubicBezTo>
                    <a:pt x="17205" y="20256"/>
                    <a:pt x="22870" y="14591"/>
                    <a:pt x="29951" y="160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5" name="Freeform: Shape 2614">
              <a:extLst>
                <a:ext uri="{FF2B5EF4-FFF2-40B4-BE49-F238E27FC236}">
                  <a16:creationId xmlns:a16="http://schemas.microsoft.com/office/drawing/2014/main" id="{9FA37D0C-7E0B-497E-9DC9-9BD170F66EE6}"/>
                </a:ext>
              </a:extLst>
            </p:cNvPr>
            <p:cNvSpPr/>
            <p:nvPr/>
          </p:nvSpPr>
          <p:spPr>
            <a:xfrm>
              <a:off x="7170559" y="3675206"/>
              <a:ext cx="70810" cy="70810"/>
            </a:xfrm>
            <a:custGeom>
              <a:avLst/>
              <a:gdLst>
                <a:gd name="connsiteX0" fmla="*/ 41400 w 70809"/>
                <a:gd name="connsiteY0" fmla="*/ 66772 h 70809"/>
                <a:gd name="connsiteX1" fmla="*/ 66892 w 70809"/>
                <a:gd name="connsiteY1" fmla="*/ 41280 h 70809"/>
                <a:gd name="connsiteX2" fmla="*/ 41400 w 70809"/>
                <a:gd name="connsiteY2" fmla="*/ 15789 h 70809"/>
                <a:gd name="connsiteX3" fmla="*/ 15909 w 70809"/>
                <a:gd name="connsiteY3" fmla="*/ 41280 h 70809"/>
                <a:gd name="connsiteX4" fmla="*/ 4140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400" y="66772"/>
                  </a:moveTo>
                  <a:cubicBezTo>
                    <a:pt x="55562" y="66772"/>
                    <a:pt x="66892" y="55442"/>
                    <a:pt x="66892" y="41280"/>
                  </a:cubicBezTo>
                  <a:cubicBezTo>
                    <a:pt x="66892" y="27119"/>
                    <a:pt x="55562" y="15789"/>
                    <a:pt x="41400" y="15789"/>
                  </a:cubicBezTo>
                  <a:cubicBezTo>
                    <a:pt x="27238" y="15789"/>
                    <a:pt x="15909" y="27119"/>
                    <a:pt x="15909" y="41280"/>
                  </a:cubicBezTo>
                  <a:cubicBezTo>
                    <a:pt x="14492" y="55442"/>
                    <a:pt x="25822" y="66772"/>
                    <a:pt x="4140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6" name="Freeform: Shape 2615">
              <a:extLst>
                <a:ext uri="{FF2B5EF4-FFF2-40B4-BE49-F238E27FC236}">
                  <a16:creationId xmlns:a16="http://schemas.microsoft.com/office/drawing/2014/main" id="{A5A3D542-76A3-46BA-8384-CCA1F3630562}"/>
                </a:ext>
              </a:extLst>
            </p:cNvPr>
            <p:cNvSpPr/>
            <p:nvPr/>
          </p:nvSpPr>
          <p:spPr>
            <a:xfrm>
              <a:off x="6068882" y="4268590"/>
              <a:ext cx="70810" cy="70810"/>
            </a:xfrm>
            <a:custGeom>
              <a:avLst/>
              <a:gdLst>
                <a:gd name="connsiteX0" fmla="*/ 41280 w 70809"/>
                <a:gd name="connsiteY0" fmla="*/ 66772 h 70809"/>
                <a:gd name="connsiteX1" fmla="*/ 66772 w 70809"/>
                <a:gd name="connsiteY1" fmla="*/ 41281 h 70809"/>
                <a:gd name="connsiteX2" fmla="*/ 41280 w 70809"/>
                <a:gd name="connsiteY2" fmla="*/ 15789 h 70809"/>
                <a:gd name="connsiteX3" fmla="*/ 15789 w 70809"/>
                <a:gd name="connsiteY3" fmla="*/ 41281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3"/>
                    <a:pt x="66772" y="41281"/>
                  </a:cubicBezTo>
                  <a:cubicBezTo>
                    <a:pt x="66772" y="27119"/>
                    <a:pt x="55442" y="15789"/>
                    <a:pt x="41280" y="15789"/>
                  </a:cubicBezTo>
                  <a:cubicBezTo>
                    <a:pt x="27118" y="15789"/>
                    <a:pt x="15789" y="27119"/>
                    <a:pt x="15789" y="41281"/>
                  </a:cubicBezTo>
                  <a:cubicBezTo>
                    <a:pt x="15789" y="55443"/>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7" name="Freeform: Shape 2616">
              <a:extLst>
                <a:ext uri="{FF2B5EF4-FFF2-40B4-BE49-F238E27FC236}">
                  <a16:creationId xmlns:a16="http://schemas.microsoft.com/office/drawing/2014/main" id="{A12C6EFB-C658-4312-A38B-148B9DE0C726}"/>
                </a:ext>
              </a:extLst>
            </p:cNvPr>
            <p:cNvSpPr/>
            <p:nvPr/>
          </p:nvSpPr>
          <p:spPr>
            <a:xfrm>
              <a:off x="6499404" y="3669542"/>
              <a:ext cx="42486" cy="42486"/>
            </a:xfrm>
            <a:custGeom>
              <a:avLst/>
              <a:gdLst>
                <a:gd name="connsiteX0" fmla="*/ 27118 w 42485"/>
                <a:gd name="connsiteY0" fmla="*/ 15789 h 42485"/>
                <a:gd name="connsiteX1" fmla="*/ 37032 w 42485"/>
                <a:gd name="connsiteY1" fmla="*/ 27118 h 42485"/>
                <a:gd name="connsiteX2" fmla="*/ 25702 w 42485"/>
                <a:gd name="connsiteY2" fmla="*/ 37032 h 42485"/>
                <a:gd name="connsiteX3" fmla="*/ 15789 w 42485"/>
                <a:gd name="connsiteY3" fmla="*/ 25702 h 42485"/>
                <a:gd name="connsiteX4" fmla="*/ 2711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5789"/>
                  </a:moveTo>
                  <a:cubicBezTo>
                    <a:pt x="32783" y="15789"/>
                    <a:pt x="37032" y="21454"/>
                    <a:pt x="37032" y="27118"/>
                  </a:cubicBezTo>
                  <a:cubicBezTo>
                    <a:pt x="37032" y="32783"/>
                    <a:pt x="31367" y="37032"/>
                    <a:pt x="25702" y="37032"/>
                  </a:cubicBezTo>
                  <a:cubicBezTo>
                    <a:pt x="20037" y="37032"/>
                    <a:pt x="15789" y="31367"/>
                    <a:pt x="15789" y="25702"/>
                  </a:cubicBezTo>
                  <a:cubicBezTo>
                    <a:pt x="15789" y="20037"/>
                    <a:pt x="21454" y="15789"/>
                    <a:pt x="2711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8" name="Freeform: Shape 2617">
              <a:extLst>
                <a:ext uri="{FF2B5EF4-FFF2-40B4-BE49-F238E27FC236}">
                  <a16:creationId xmlns:a16="http://schemas.microsoft.com/office/drawing/2014/main" id="{3F29DC38-0D35-4CF8-B57A-35D6E22A45C9}"/>
                </a:ext>
              </a:extLst>
            </p:cNvPr>
            <p:cNvSpPr/>
            <p:nvPr/>
          </p:nvSpPr>
          <p:spPr>
            <a:xfrm>
              <a:off x="6499250" y="4410055"/>
              <a:ext cx="70810" cy="70810"/>
            </a:xfrm>
            <a:custGeom>
              <a:avLst/>
              <a:gdLst>
                <a:gd name="connsiteX0" fmla="*/ 40018 w 70809"/>
                <a:gd name="connsiteY0" fmla="*/ 15943 h 70809"/>
                <a:gd name="connsiteX1" fmla="*/ 59845 w 70809"/>
                <a:gd name="connsiteY1" fmla="*/ 40018 h 70809"/>
                <a:gd name="connsiteX2" fmla="*/ 35769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3"/>
                    <a:pt x="59845" y="40018"/>
                  </a:cubicBezTo>
                  <a:cubicBezTo>
                    <a:pt x="58429" y="52764"/>
                    <a:pt x="48515" y="61261"/>
                    <a:pt x="35769" y="59845"/>
                  </a:cubicBezTo>
                  <a:cubicBezTo>
                    <a:pt x="23024" y="58429"/>
                    <a:pt x="14527" y="48516"/>
                    <a:pt x="15943" y="35769"/>
                  </a:cubicBezTo>
                  <a:cubicBezTo>
                    <a:pt x="17359" y="23024"/>
                    <a:pt x="27272" y="14527"/>
                    <a:pt x="40018" y="159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9" name="Freeform: Shape 2618">
              <a:extLst>
                <a:ext uri="{FF2B5EF4-FFF2-40B4-BE49-F238E27FC236}">
                  <a16:creationId xmlns:a16="http://schemas.microsoft.com/office/drawing/2014/main" id="{7D24F335-1A61-4415-92AF-ADC2A67EB230}"/>
                </a:ext>
              </a:extLst>
            </p:cNvPr>
            <p:cNvSpPr/>
            <p:nvPr/>
          </p:nvSpPr>
          <p:spPr>
            <a:xfrm>
              <a:off x="6615377" y="4057424"/>
              <a:ext cx="70810" cy="70810"/>
            </a:xfrm>
            <a:custGeom>
              <a:avLst/>
              <a:gdLst>
                <a:gd name="connsiteX0" fmla="*/ 40018 w 70809"/>
                <a:gd name="connsiteY0" fmla="*/ 15943 h 70809"/>
                <a:gd name="connsiteX1" fmla="*/ 59845 w 70809"/>
                <a:gd name="connsiteY1" fmla="*/ 40018 h 70809"/>
                <a:gd name="connsiteX2" fmla="*/ 35770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2"/>
                    <a:pt x="59845" y="40018"/>
                  </a:cubicBezTo>
                  <a:cubicBezTo>
                    <a:pt x="58429" y="52764"/>
                    <a:pt x="48515" y="61261"/>
                    <a:pt x="35770" y="59845"/>
                  </a:cubicBezTo>
                  <a:cubicBezTo>
                    <a:pt x="23024" y="58429"/>
                    <a:pt x="14527" y="48515"/>
                    <a:pt x="15943" y="35769"/>
                  </a:cubicBezTo>
                  <a:cubicBezTo>
                    <a:pt x="17359" y="23024"/>
                    <a:pt x="28689" y="14527"/>
                    <a:pt x="40018" y="159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0" name="Freeform: Shape 2619">
              <a:extLst>
                <a:ext uri="{FF2B5EF4-FFF2-40B4-BE49-F238E27FC236}">
                  <a16:creationId xmlns:a16="http://schemas.microsoft.com/office/drawing/2014/main" id="{FF1CA900-3D52-4945-8E53-5EF697061DAA}"/>
                </a:ext>
              </a:extLst>
            </p:cNvPr>
            <p:cNvSpPr/>
            <p:nvPr/>
          </p:nvSpPr>
          <p:spPr>
            <a:xfrm>
              <a:off x="6898662" y="4418599"/>
              <a:ext cx="84971" cy="84971"/>
            </a:xfrm>
            <a:custGeom>
              <a:avLst/>
              <a:gdLst>
                <a:gd name="connsiteX0" fmla="*/ 49885 w 84971"/>
                <a:gd name="connsiteY0" fmla="*/ 15897 h 84971"/>
                <a:gd name="connsiteX1" fmla="*/ 78209 w 84971"/>
                <a:gd name="connsiteY1" fmla="*/ 49885 h 84971"/>
                <a:gd name="connsiteX2" fmla="*/ 44220 w 84971"/>
                <a:gd name="connsiteY2" fmla="*/ 78209 h 84971"/>
                <a:gd name="connsiteX3" fmla="*/ 15896 w 84971"/>
                <a:gd name="connsiteY3" fmla="*/ 44220 h 84971"/>
                <a:gd name="connsiteX4" fmla="*/ 49885 w 84971"/>
                <a:gd name="connsiteY4" fmla="*/ 1589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9885" y="15897"/>
                  </a:moveTo>
                  <a:cubicBezTo>
                    <a:pt x="66879" y="17313"/>
                    <a:pt x="79625" y="32891"/>
                    <a:pt x="78209" y="49885"/>
                  </a:cubicBezTo>
                  <a:cubicBezTo>
                    <a:pt x="76793" y="66879"/>
                    <a:pt x="61215" y="79625"/>
                    <a:pt x="44220" y="78209"/>
                  </a:cubicBezTo>
                  <a:cubicBezTo>
                    <a:pt x="27226" y="76793"/>
                    <a:pt x="14481" y="61215"/>
                    <a:pt x="15896" y="44220"/>
                  </a:cubicBezTo>
                  <a:cubicBezTo>
                    <a:pt x="17313" y="27226"/>
                    <a:pt x="32891" y="14480"/>
                    <a:pt x="49885" y="1589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1" name="Freeform: Shape 2620">
              <a:extLst>
                <a:ext uri="{FF2B5EF4-FFF2-40B4-BE49-F238E27FC236}">
                  <a16:creationId xmlns:a16="http://schemas.microsoft.com/office/drawing/2014/main" id="{CA28E708-25E7-4C7E-8CFD-9D5E894D741F}"/>
                </a:ext>
              </a:extLst>
            </p:cNvPr>
            <p:cNvSpPr/>
            <p:nvPr/>
          </p:nvSpPr>
          <p:spPr>
            <a:xfrm>
              <a:off x="6238825" y="4687603"/>
              <a:ext cx="56648" cy="56648"/>
            </a:xfrm>
            <a:custGeom>
              <a:avLst/>
              <a:gdLst>
                <a:gd name="connsiteX0" fmla="*/ 35616 w 56647"/>
                <a:gd name="connsiteY0" fmla="*/ 15969 h 56647"/>
                <a:gd name="connsiteX1" fmla="*/ 52610 w 56647"/>
                <a:gd name="connsiteY1" fmla="*/ 35795 h 56647"/>
                <a:gd name="connsiteX2" fmla="*/ 32783 w 56647"/>
                <a:gd name="connsiteY2" fmla="*/ 52790 h 56647"/>
                <a:gd name="connsiteX3" fmla="*/ 15789 w 56647"/>
                <a:gd name="connsiteY3" fmla="*/ 32963 h 56647"/>
                <a:gd name="connsiteX4" fmla="*/ 35616 w 56647"/>
                <a:gd name="connsiteY4" fmla="*/ 1596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616" y="15969"/>
                  </a:moveTo>
                  <a:cubicBezTo>
                    <a:pt x="45529" y="17385"/>
                    <a:pt x="52610" y="25882"/>
                    <a:pt x="52610" y="35795"/>
                  </a:cubicBezTo>
                  <a:cubicBezTo>
                    <a:pt x="51194" y="45709"/>
                    <a:pt x="42697" y="52790"/>
                    <a:pt x="32783" y="52790"/>
                  </a:cubicBezTo>
                  <a:cubicBezTo>
                    <a:pt x="22870" y="51373"/>
                    <a:pt x="15789" y="42876"/>
                    <a:pt x="15789" y="32963"/>
                  </a:cubicBezTo>
                  <a:cubicBezTo>
                    <a:pt x="15789" y="21633"/>
                    <a:pt x="25702" y="14552"/>
                    <a:pt x="35616" y="159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2" name="Freeform: Shape 2621">
              <a:extLst>
                <a:ext uri="{FF2B5EF4-FFF2-40B4-BE49-F238E27FC236}">
                  <a16:creationId xmlns:a16="http://schemas.microsoft.com/office/drawing/2014/main" id="{CA0DE10A-1311-4090-9CC9-2E024D68EE24}"/>
                </a:ext>
              </a:extLst>
            </p:cNvPr>
            <p:cNvSpPr/>
            <p:nvPr/>
          </p:nvSpPr>
          <p:spPr>
            <a:xfrm>
              <a:off x="6196204" y="4428485"/>
              <a:ext cx="70810" cy="70810"/>
            </a:xfrm>
            <a:custGeom>
              <a:avLst/>
              <a:gdLst>
                <a:gd name="connsiteX0" fmla="*/ 44247 w 70809"/>
                <a:gd name="connsiteY0" fmla="*/ 15924 h 70809"/>
                <a:gd name="connsiteX1" fmla="*/ 66906 w 70809"/>
                <a:gd name="connsiteY1" fmla="*/ 44247 h 70809"/>
                <a:gd name="connsiteX2" fmla="*/ 38582 w 70809"/>
                <a:gd name="connsiteY2" fmla="*/ 66906 h 70809"/>
                <a:gd name="connsiteX3" fmla="*/ 15924 w 70809"/>
                <a:gd name="connsiteY3" fmla="*/ 38582 h 70809"/>
                <a:gd name="connsiteX4" fmla="*/ 44247 w 70809"/>
                <a:gd name="connsiteY4" fmla="*/ 15924 h 70809"/>
                <a:gd name="connsiteX5" fmla="*/ 44247 w 70809"/>
                <a:gd name="connsiteY5" fmla="*/ 15924 h 70809"/>
                <a:gd name="connsiteX6" fmla="*/ 44247 w 70809"/>
                <a:gd name="connsiteY6" fmla="*/ 27253 h 70809"/>
                <a:gd name="connsiteX7" fmla="*/ 28669 w 70809"/>
                <a:gd name="connsiteY7" fmla="*/ 39999 h 70809"/>
                <a:gd name="connsiteX8" fmla="*/ 41415 w 70809"/>
                <a:gd name="connsiteY8" fmla="*/ 55577 h 70809"/>
                <a:gd name="connsiteX9" fmla="*/ 56993 w 70809"/>
                <a:gd name="connsiteY9" fmla="*/ 42831 h 70809"/>
                <a:gd name="connsiteX10" fmla="*/ 44247 w 70809"/>
                <a:gd name="connsiteY10" fmla="*/ 27253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247" y="15924"/>
                  </a:moveTo>
                  <a:cubicBezTo>
                    <a:pt x="58409" y="17339"/>
                    <a:pt x="68322" y="30085"/>
                    <a:pt x="66906" y="44247"/>
                  </a:cubicBezTo>
                  <a:cubicBezTo>
                    <a:pt x="65490" y="58409"/>
                    <a:pt x="52744" y="68322"/>
                    <a:pt x="38582" y="66906"/>
                  </a:cubicBezTo>
                  <a:cubicBezTo>
                    <a:pt x="24420" y="65490"/>
                    <a:pt x="14507" y="52744"/>
                    <a:pt x="15924" y="38582"/>
                  </a:cubicBezTo>
                  <a:cubicBezTo>
                    <a:pt x="17339" y="24420"/>
                    <a:pt x="30085" y="14507"/>
                    <a:pt x="44247" y="15924"/>
                  </a:cubicBezTo>
                  <a:lnTo>
                    <a:pt x="44247" y="15924"/>
                  </a:lnTo>
                  <a:close/>
                  <a:moveTo>
                    <a:pt x="44247" y="27253"/>
                  </a:moveTo>
                  <a:cubicBezTo>
                    <a:pt x="35750" y="25837"/>
                    <a:pt x="28669" y="32918"/>
                    <a:pt x="28669" y="39999"/>
                  </a:cubicBezTo>
                  <a:cubicBezTo>
                    <a:pt x="27253" y="48496"/>
                    <a:pt x="34334" y="55577"/>
                    <a:pt x="41415" y="55577"/>
                  </a:cubicBezTo>
                  <a:cubicBezTo>
                    <a:pt x="49912" y="56993"/>
                    <a:pt x="56993" y="49912"/>
                    <a:pt x="56993" y="42831"/>
                  </a:cubicBezTo>
                  <a:cubicBezTo>
                    <a:pt x="56993" y="34334"/>
                    <a:pt x="51328" y="27253"/>
                    <a:pt x="44247" y="2725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3" name="Freeform: Shape 2622">
              <a:extLst>
                <a:ext uri="{FF2B5EF4-FFF2-40B4-BE49-F238E27FC236}">
                  <a16:creationId xmlns:a16="http://schemas.microsoft.com/office/drawing/2014/main" id="{CF6F5222-8B8D-4D54-B7DE-E612A87E67D8}"/>
                </a:ext>
              </a:extLst>
            </p:cNvPr>
            <p:cNvSpPr/>
            <p:nvPr/>
          </p:nvSpPr>
          <p:spPr>
            <a:xfrm>
              <a:off x="6152347" y="4095482"/>
              <a:ext cx="99133" cy="99133"/>
            </a:xfrm>
            <a:custGeom>
              <a:avLst/>
              <a:gdLst>
                <a:gd name="connsiteX0" fmla="*/ 55532 w 99133"/>
                <a:gd name="connsiteY0" fmla="*/ 16122 h 99133"/>
                <a:gd name="connsiteX1" fmla="*/ 89520 w 99133"/>
                <a:gd name="connsiteY1" fmla="*/ 55775 h 99133"/>
                <a:gd name="connsiteX2" fmla="*/ 49867 w 99133"/>
                <a:gd name="connsiteY2" fmla="*/ 89764 h 99133"/>
                <a:gd name="connsiteX3" fmla="*/ 15878 w 99133"/>
                <a:gd name="connsiteY3" fmla="*/ 50110 h 99133"/>
                <a:gd name="connsiteX4" fmla="*/ 55532 w 99133"/>
                <a:gd name="connsiteY4" fmla="*/ 16122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532" y="16122"/>
                  </a:moveTo>
                  <a:cubicBezTo>
                    <a:pt x="75358" y="17538"/>
                    <a:pt x="90936" y="35948"/>
                    <a:pt x="89520" y="55775"/>
                  </a:cubicBezTo>
                  <a:cubicBezTo>
                    <a:pt x="88104" y="75602"/>
                    <a:pt x="69694" y="91180"/>
                    <a:pt x="49867" y="89764"/>
                  </a:cubicBezTo>
                  <a:cubicBezTo>
                    <a:pt x="30040" y="88347"/>
                    <a:pt x="14462" y="69937"/>
                    <a:pt x="15878" y="50110"/>
                  </a:cubicBezTo>
                  <a:cubicBezTo>
                    <a:pt x="17295" y="28868"/>
                    <a:pt x="35705" y="13289"/>
                    <a:pt x="55532" y="1612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4" name="Freeform: Shape 2623">
              <a:extLst>
                <a:ext uri="{FF2B5EF4-FFF2-40B4-BE49-F238E27FC236}">
                  <a16:creationId xmlns:a16="http://schemas.microsoft.com/office/drawing/2014/main" id="{E4CA04E9-C826-442A-87FC-9744082DB924}"/>
                </a:ext>
              </a:extLst>
            </p:cNvPr>
            <p:cNvSpPr/>
            <p:nvPr/>
          </p:nvSpPr>
          <p:spPr>
            <a:xfrm>
              <a:off x="6810812" y="3955477"/>
              <a:ext cx="70810" cy="70810"/>
            </a:xfrm>
            <a:custGeom>
              <a:avLst/>
              <a:gdLst>
                <a:gd name="connsiteX0" fmla="*/ 40018 w 70809"/>
                <a:gd name="connsiteY0" fmla="*/ 15924 h 70809"/>
                <a:gd name="connsiteX1" fmla="*/ 59845 w 70809"/>
                <a:gd name="connsiteY1" fmla="*/ 40000 h 70809"/>
                <a:gd name="connsiteX2" fmla="*/ 35769 w 70809"/>
                <a:gd name="connsiteY2" fmla="*/ 59826 h 70809"/>
                <a:gd name="connsiteX3" fmla="*/ 15943 w 70809"/>
                <a:gd name="connsiteY3" fmla="*/ 35751 h 70809"/>
                <a:gd name="connsiteX4" fmla="*/ 40018 w 70809"/>
                <a:gd name="connsiteY4" fmla="*/ 1592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24"/>
                  </a:moveTo>
                  <a:cubicBezTo>
                    <a:pt x="52764" y="17340"/>
                    <a:pt x="61261" y="27254"/>
                    <a:pt x="59845" y="40000"/>
                  </a:cubicBezTo>
                  <a:cubicBezTo>
                    <a:pt x="58429" y="52745"/>
                    <a:pt x="48515" y="61242"/>
                    <a:pt x="35769" y="59826"/>
                  </a:cubicBezTo>
                  <a:cubicBezTo>
                    <a:pt x="23024" y="58410"/>
                    <a:pt x="14527" y="48497"/>
                    <a:pt x="15943" y="35751"/>
                  </a:cubicBezTo>
                  <a:cubicBezTo>
                    <a:pt x="17359" y="24421"/>
                    <a:pt x="28689" y="14508"/>
                    <a:pt x="40018" y="1592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5" name="Freeform: Shape 2624">
              <a:extLst>
                <a:ext uri="{FF2B5EF4-FFF2-40B4-BE49-F238E27FC236}">
                  <a16:creationId xmlns:a16="http://schemas.microsoft.com/office/drawing/2014/main" id="{8C88A447-1238-4A4A-A01C-71FFF59961CA}"/>
                </a:ext>
              </a:extLst>
            </p:cNvPr>
            <p:cNvSpPr/>
            <p:nvPr/>
          </p:nvSpPr>
          <p:spPr>
            <a:xfrm>
              <a:off x="6640933" y="4375888"/>
              <a:ext cx="99133" cy="99133"/>
            </a:xfrm>
            <a:custGeom>
              <a:avLst/>
              <a:gdLst>
                <a:gd name="connsiteX0" fmla="*/ 55532 w 99133"/>
                <a:gd name="connsiteY0" fmla="*/ 16122 h 99133"/>
                <a:gd name="connsiteX1" fmla="*/ 89520 w 99133"/>
                <a:gd name="connsiteY1" fmla="*/ 55775 h 99133"/>
                <a:gd name="connsiteX2" fmla="*/ 49867 w 99133"/>
                <a:gd name="connsiteY2" fmla="*/ 89764 h 99133"/>
                <a:gd name="connsiteX3" fmla="*/ 15878 w 99133"/>
                <a:gd name="connsiteY3" fmla="*/ 50110 h 99133"/>
                <a:gd name="connsiteX4" fmla="*/ 55532 w 99133"/>
                <a:gd name="connsiteY4" fmla="*/ 16122 h 99133"/>
                <a:gd name="connsiteX5" fmla="*/ 55532 w 99133"/>
                <a:gd name="connsiteY5" fmla="*/ 16122 h 99133"/>
                <a:gd name="connsiteX6" fmla="*/ 54115 w 99133"/>
                <a:gd name="connsiteY6" fmla="*/ 31700 h 99133"/>
                <a:gd name="connsiteX7" fmla="*/ 31457 w 99133"/>
                <a:gd name="connsiteY7" fmla="*/ 50110 h 99133"/>
                <a:gd name="connsiteX8" fmla="*/ 49867 w 99133"/>
                <a:gd name="connsiteY8" fmla="*/ 72770 h 99133"/>
                <a:gd name="connsiteX9" fmla="*/ 72526 w 99133"/>
                <a:gd name="connsiteY9" fmla="*/ 54359 h 99133"/>
                <a:gd name="connsiteX10" fmla="*/ 54115 w 99133"/>
                <a:gd name="connsiteY10" fmla="*/ 31700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55532" y="16122"/>
                  </a:moveTo>
                  <a:cubicBezTo>
                    <a:pt x="75358" y="17538"/>
                    <a:pt x="90936" y="35948"/>
                    <a:pt x="89520" y="55775"/>
                  </a:cubicBezTo>
                  <a:cubicBezTo>
                    <a:pt x="88104" y="75602"/>
                    <a:pt x="69694" y="91180"/>
                    <a:pt x="49867" y="89764"/>
                  </a:cubicBezTo>
                  <a:cubicBezTo>
                    <a:pt x="30040" y="88348"/>
                    <a:pt x="14462" y="69937"/>
                    <a:pt x="15878" y="50110"/>
                  </a:cubicBezTo>
                  <a:cubicBezTo>
                    <a:pt x="17295" y="28868"/>
                    <a:pt x="35705" y="13289"/>
                    <a:pt x="55532" y="16122"/>
                  </a:cubicBezTo>
                  <a:lnTo>
                    <a:pt x="55532" y="16122"/>
                  </a:lnTo>
                  <a:close/>
                  <a:moveTo>
                    <a:pt x="54115" y="31700"/>
                  </a:moveTo>
                  <a:cubicBezTo>
                    <a:pt x="42786" y="30284"/>
                    <a:pt x="32873" y="38781"/>
                    <a:pt x="31457" y="50110"/>
                  </a:cubicBezTo>
                  <a:cubicBezTo>
                    <a:pt x="30040" y="61440"/>
                    <a:pt x="38538" y="71353"/>
                    <a:pt x="49867" y="72770"/>
                  </a:cubicBezTo>
                  <a:cubicBezTo>
                    <a:pt x="61196" y="74186"/>
                    <a:pt x="71110" y="65689"/>
                    <a:pt x="72526" y="54359"/>
                  </a:cubicBezTo>
                  <a:cubicBezTo>
                    <a:pt x="73942" y="43029"/>
                    <a:pt x="65445" y="33116"/>
                    <a:pt x="54115" y="3170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6" name="Freeform: Shape 2625">
              <a:extLst>
                <a:ext uri="{FF2B5EF4-FFF2-40B4-BE49-F238E27FC236}">
                  <a16:creationId xmlns:a16="http://schemas.microsoft.com/office/drawing/2014/main" id="{9DB682E7-82AA-4556-B065-B54F77178250}"/>
                </a:ext>
              </a:extLst>
            </p:cNvPr>
            <p:cNvSpPr/>
            <p:nvPr/>
          </p:nvSpPr>
          <p:spPr>
            <a:xfrm>
              <a:off x="6292640" y="4534834"/>
              <a:ext cx="42486" cy="42486"/>
            </a:xfrm>
            <a:custGeom>
              <a:avLst/>
              <a:gdLst>
                <a:gd name="connsiteX0" fmla="*/ 25703 w 42485"/>
                <a:gd name="connsiteY0" fmla="*/ 15789 h 42485"/>
                <a:gd name="connsiteX1" fmla="*/ 34199 w 42485"/>
                <a:gd name="connsiteY1" fmla="*/ 25702 h 42485"/>
                <a:gd name="connsiteX2" fmla="*/ 24286 w 42485"/>
                <a:gd name="connsiteY2" fmla="*/ 34199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31367" y="15789"/>
                    <a:pt x="34199" y="20037"/>
                    <a:pt x="34199" y="25702"/>
                  </a:cubicBezTo>
                  <a:cubicBezTo>
                    <a:pt x="34199" y="31367"/>
                    <a:pt x="28535" y="34199"/>
                    <a:pt x="24286" y="34199"/>
                  </a:cubicBezTo>
                  <a:cubicBezTo>
                    <a:pt x="18622" y="34199"/>
                    <a:pt x="15789" y="28535"/>
                    <a:pt x="15789" y="24286"/>
                  </a:cubicBezTo>
                  <a:cubicBezTo>
                    <a:pt x="15789" y="18621"/>
                    <a:pt x="20037" y="15789"/>
                    <a:pt x="25703"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7" name="Freeform: Shape 2626">
              <a:extLst>
                <a:ext uri="{FF2B5EF4-FFF2-40B4-BE49-F238E27FC236}">
                  <a16:creationId xmlns:a16="http://schemas.microsoft.com/office/drawing/2014/main" id="{4D87BEFA-90BC-45C4-A174-36B16C788D4E}"/>
                </a:ext>
              </a:extLst>
            </p:cNvPr>
            <p:cNvSpPr/>
            <p:nvPr/>
          </p:nvSpPr>
          <p:spPr>
            <a:xfrm>
              <a:off x="6432843" y="3891609"/>
              <a:ext cx="42486" cy="42486"/>
            </a:xfrm>
            <a:custGeom>
              <a:avLst/>
              <a:gdLst>
                <a:gd name="connsiteX0" fmla="*/ 25703 w 42485"/>
                <a:gd name="connsiteY0" fmla="*/ 16064 h 42485"/>
                <a:gd name="connsiteX1" fmla="*/ 34200 w 42485"/>
                <a:gd name="connsiteY1" fmla="*/ 25977 h 42485"/>
                <a:gd name="connsiteX2" fmla="*/ 24286 w 42485"/>
                <a:gd name="connsiteY2" fmla="*/ 34474 h 42485"/>
                <a:gd name="connsiteX3" fmla="*/ 15789 w 42485"/>
                <a:gd name="connsiteY3" fmla="*/ 24561 h 42485"/>
                <a:gd name="connsiteX4" fmla="*/ 25703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4"/>
                  </a:moveTo>
                  <a:cubicBezTo>
                    <a:pt x="31367" y="16064"/>
                    <a:pt x="34200" y="21728"/>
                    <a:pt x="34200" y="25977"/>
                  </a:cubicBezTo>
                  <a:cubicBezTo>
                    <a:pt x="34200" y="31641"/>
                    <a:pt x="28535" y="34474"/>
                    <a:pt x="24286" y="34474"/>
                  </a:cubicBezTo>
                  <a:cubicBezTo>
                    <a:pt x="18622" y="34474"/>
                    <a:pt x="15789" y="28809"/>
                    <a:pt x="15789" y="24561"/>
                  </a:cubicBezTo>
                  <a:cubicBezTo>
                    <a:pt x="15789" y="18896"/>
                    <a:pt x="20038" y="14647"/>
                    <a:pt x="25703" y="160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8" name="Freeform: Shape 2627">
              <a:extLst>
                <a:ext uri="{FF2B5EF4-FFF2-40B4-BE49-F238E27FC236}">
                  <a16:creationId xmlns:a16="http://schemas.microsoft.com/office/drawing/2014/main" id="{44DAA6F5-A75D-48A7-B6D7-65A5C0344B2D}"/>
                </a:ext>
              </a:extLst>
            </p:cNvPr>
            <p:cNvSpPr/>
            <p:nvPr/>
          </p:nvSpPr>
          <p:spPr>
            <a:xfrm>
              <a:off x="6890118" y="4564419"/>
              <a:ext cx="56648" cy="56648"/>
            </a:xfrm>
            <a:custGeom>
              <a:avLst/>
              <a:gdLst>
                <a:gd name="connsiteX0" fmla="*/ 35771 w 56647"/>
                <a:gd name="connsiteY0" fmla="*/ 15944 h 56647"/>
                <a:gd name="connsiteX1" fmla="*/ 52765 w 56647"/>
                <a:gd name="connsiteY1" fmla="*/ 35771 h 56647"/>
                <a:gd name="connsiteX2" fmla="*/ 32938 w 56647"/>
                <a:gd name="connsiteY2" fmla="*/ 52765 h 56647"/>
                <a:gd name="connsiteX3" fmla="*/ 15944 w 56647"/>
                <a:gd name="connsiteY3" fmla="*/ 32938 h 56647"/>
                <a:gd name="connsiteX4" fmla="*/ 35771 w 56647"/>
                <a:gd name="connsiteY4" fmla="*/ 1594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44"/>
                  </a:moveTo>
                  <a:cubicBezTo>
                    <a:pt x="45684" y="17360"/>
                    <a:pt x="54181" y="25857"/>
                    <a:pt x="52765" y="35771"/>
                  </a:cubicBezTo>
                  <a:cubicBezTo>
                    <a:pt x="51349" y="45684"/>
                    <a:pt x="42852" y="54181"/>
                    <a:pt x="32938" y="52765"/>
                  </a:cubicBezTo>
                  <a:cubicBezTo>
                    <a:pt x="23025" y="51349"/>
                    <a:pt x="14528" y="42852"/>
                    <a:pt x="15944" y="32938"/>
                  </a:cubicBezTo>
                  <a:cubicBezTo>
                    <a:pt x="15944" y="23025"/>
                    <a:pt x="24441" y="14528"/>
                    <a:pt x="35771" y="1594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9" name="Freeform: Shape 2628">
              <a:extLst>
                <a:ext uri="{FF2B5EF4-FFF2-40B4-BE49-F238E27FC236}">
                  <a16:creationId xmlns:a16="http://schemas.microsoft.com/office/drawing/2014/main" id="{7D15DA89-B92A-41F7-85D9-241FDB6D8F5C}"/>
                </a:ext>
              </a:extLst>
            </p:cNvPr>
            <p:cNvSpPr/>
            <p:nvPr/>
          </p:nvSpPr>
          <p:spPr>
            <a:xfrm>
              <a:off x="6235872" y="3761474"/>
              <a:ext cx="84971" cy="84971"/>
            </a:xfrm>
            <a:custGeom>
              <a:avLst/>
              <a:gdLst>
                <a:gd name="connsiteX0" fmla="*/ 45649 w 84971"/>
                <a:gd name="connsiteY0" fmla="*/ 15909 h 84971"/>
                <a:gd name="connsiteX1" fmla="*/ 69724 w 84971"/>
                <a:gd name="connsiteY1" fmla="*/ 45649 h 84971"/>
                <a:gd name="connsiteX2" fmla="*/ 39984 w 84971"/>
                <a:gd name="connsiteY2" fmla="*/ 69724 h 84971"/>
                <a:gd name="connsiteX3" fmla="*/ 15909 w 84971"/>
                <a:gd name="connsiteY3" fmla="*/ 39984 h 84971"/>
                <a:gd name="connsiteX4" fmla="*/ 45649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9" y="15909"/>
                  </a:moveTo>
                  <a:cubicBezTo>
                    <a:pt x="59811" y="17325"/>
                    <a:pt x="71140" y="30071"/>
                    <a:pt x="69724" y="45649"/>
                  </a:cubicBezTo>
                  <a:cubicBezTo>
                    <a:pt x="68308" y="59811"/>
                    <a:pt x="55562" y="71140"/>
                    <a:pt x="39984" y="69724"/>
                  </a:cubicBezTo>
                  <a:cubicBezTo>
                    <a:pt x="25822" y="68308"/>
                    <a:pt x="14493" y="55562"/>
                    <a:pt x="15909" y="39984"/>
                  </a:cubicBezTo>
                  <a:cubicBezTo>
                    <a:pt x="17325" y="25822"/>
                    <a:pt x="30071" y="14493"/>
                    <a:pt x="45649" y="1590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0" name="Freeform: Shape 2629">
              <a:extLst>
                <a:ext uri="{FF2B5EF4-FFF2-40B4-BE49-F238E27FC236}">
                  <a16:creationId xmlns:a16="http://schemas.microsoft.com/office/drawing/2014/main" id="{7CA3AEEE-EAC3-4575-8DC6-FF8CFF2F14F3}"/>
                </a:ext>
              </a:extLst>
            </p:cNvPr>
            <p:cNvSpPr/>
            <p:nvPr/>
          </p:nvSpPr>
          <p:spPr>
            <a:xfrm>
              <a:off x="6240240" y="4160685"/>
              <a:ext cx="42486" cy="42486"/>
            </a:xfrm>
            <a:custGeom>
              <a:avLst/>
              <a:gdLst>
                <a:gd name="connsiteX0" fmla="*/ 25703 w 42485"/>
                <a:gd name="connsiteY0" fmla="*/ 16063 h 42485"/>
                <a:gd name="connsiteX1" fmla="*/ 34200 w 42485"/>
                <a:gd name="connsiteY1" fmla="*/ 25977 h 42485"/>
                <a:gd name="connsiteX2" fmla="*/ 24286 w 42485"/>
                <a:gd name="connsiteY2" fmla="*/ 34474 h 42485"/>
                <a:gd name="connsiteX3" fmla="*/ 15789 w 42485"/>
                <a:gd name="connsiteY3" fmla="*/ 24561 h 42485"/>
                <a:gd name="connsiteX4" fmla="*/ 25703 w 42485"/>
                <a:gd name="connsiteY4" fmla="*/ 1606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3"/>
                  </a:moveTo>
                  <a:cubicBezTo>
                    <a:pt x="31367" y="16063"/>
                    <a:pt x="34200" y="21728"/>
                    <a:pt x="34200" y="25977"/>
                  </a:cubicBezTo>
                  <a:cubicBezTo>
                    <a:pt x="34200" y="31642"/>
                    <a:pt x="28535" y="34474"/>
                    <a:pt x="24286" y="34474"/>
                  </a:cubicBezTo>
                  <a:cubicBezTo>
                    <a:pt x="20038" y="34474"/>
                    <a:pt x="15789" y="28809"/>
                    <a:pt x="15789" y="24561"/>
                  </a:cubicBezTo>
                  <a:cubicBezTo>
                    <a:pt x="17205" y="18896"/>
                    <a:pt x="21454" y="14648"/>
                    <a:pt x="25703" y="1606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1" name="Freeform: Shape 2630">
              <a:extLst>
                <a:ext uri="{FF2B5EF4-FFF2-40B4-BE49-F238E27FC236}">
                  <a16:creationId xmlns:a16="http://schemas.microsoft.com/office/drawing/2014/main" id="{7D04A7A6-D743-40B6-8280-B724C70720A1}"/>
                </a:ext>
              </a:extLst>
            </p:cNvPr>
            <p:cNvSpPr/>
            <p:nvPr/>
          </p:nvSpPr>
          <p:spPr>
            <a:xfrm>
              <a:off x="6608296" y="4337830"/>
              <a:ext cx="70810" cy="70810"/>
            </a:xfrm>
            <a:custGeom>
              <a:avLst/>
              <a:gdLst>
                <a:gd name="connsiteX0" fmla="*/ 40018 w 70809"/>
                <a:gd name="connsiteY0" fmla="*/ 15943 h 70809"/>
                <a:gd name="connsiteX1" fmla="*/ 59845 w 70809"/>
                <a:gd name="connsiteY1" fmla="*/ 40018 h 70809"/>
                <a:gd name="connsiteX2" fmla="*/ 35770 w 70809"/>
                <a:gd name="connsiteY2" fmla="*/ 59845 h 70809"/>
                <a:gd name="connsiteX3" fmla="*/ 15943 w 70809"/>
                <a:gd name="connsiteY3" fmla="*/ 35770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3"/>
                    <a:pt x="59845" y="40018"/>
                  </a:cubicBezTo>
                  <a:cubicBezTo>
                    <a:pt x="58429" y="52764"/>
                    <a:pt x="48515" y="61261"/>
                    <a:pt x="35770" y="59845"/>
                  </a:cubicBezTo>
                  <a:cubicBezTo>
                    <a:pt x="23024" y="58429"/>
                    <a:pt x="14527" y="48515"/>
                    <a:pt x="15943" y="35770"/>
                  </a:cubicBezTo>
                  <a:cubicBezTo>
                    <a:pt x="17359" y="23024"/>
                    <a:pt x="27273" y="14527"/>
                    <a:pt x="40018" y="159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2" name="Freeform: Shape 2631">
              <a:extLst>
                <a:ext uri="{FF2B5EF4-FFF2-40B4-BE49-F238E27FC236}">
                  <a16:creationId xmlns:a16="http://schemas.microsoft.com/office/drawing/2014/main" id="{96CB61AC-F805-461F-97CE-9FE744506E09}"/>
                </a:ext>
              </a:extLst>
            </p:cNvPr>
            <p:cNvSpPr/>
            <p:nvPr/>
          </p:nvSpPr>
          <p:spPr>
            <a:xfrm>
              <a:off x="6516217" y="3733270"/>
              <a:ext cx="56648" cy="56648"/>
            </a:xfrm>
            <a:custGeom>
              <a:avLst/>
              <a:gdLst>
                <a:gd name="connsiteX0" fmla="*/ 35796 w 56647"/>
                <a:gd name="connsiteY0" fmla="*/ 15789 h 56647"/>
                <a:gd name="connsiteX1" fmla="*/ 51374 w 56647"/>
                <a:gd name="connsiteY1" fmla="*/ 35616 h 56647"/>
                <a:gd name="connsiteX2" fmla="*/ 31548 w 56647"/>
                <a:gd name="connsiteY2" fmla="*/ 51194 h 56647"/>
                <a:gd name="connsiteX3" fmla="*/ 15969 w 56647"/>
                <a:gd name="connsiteY3" fmla="*/ 31367 h 56647"/>
                <a:gd name="connsiteX4" fmla="*/ 35796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96" y="15789"/>
                  </a:moveTo>
                  <a:cubicBezTo>
                    <a:pt x="45709" y="17205"/>
                    <a:pt x="52790" y="25702"/>
                    <a:pt x="51374" y="35616"/>
                  </a:cubicBezTo>
                  <a:cubicBezTo>
                    <a:pt x="49958" y="45529"/>
                    <a:pt x="41461" y="52610"/>
                    <a:pt x="31548" y="51194"/>
                  </a:cubicBezTo>
                  <a:cubicBezTo>
                    <a:pt x="21634" y="49777"/>
                    <a:pt x="14554" y="41280"/>
                    <a:pt x="15969" y="31367"/>
                  </a:cubicBezTo>
                  <a:cubicBezTo>
                    <a:pt x="18802" y="22870"/>
                    <a:pt x="27299" y="15789"/>
                    <a:pt x="35796"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3" name="Freeform: Shape 2632">
              <a:extLst>
                <a:ext uri="{FF2B5EF4-FFF2-40B4-BE49-F238E27FC236}">
                  <a16:creationId xmlns:a16="http://schemas.microsoft.com/office/drawing/2014/main" id="{3BAE7CBA-4C1A-4D74-B084-9BDFBA937E2E}"/>
                </a:ext>
              </a:extLst>
            </p:cNvPr>
            <p:cNvSpPr/>
            <p:nvPr/>
          </p:nvSpPr>
          <p:spPr>
            <a:xfrm>
              <a:off x="6149604" y="4286726"/>
              <a:ext cx="42486" cy="42486"/>
            </a:xfrm>
            <a:custGeom>
              <a:avLst/>
              <a:gdLst>
                <a:gd name="connsiteX0" fmla="*/ 25703 w 42485"/>
                <a:gd name="connsiteY0" fmla="*/ 16064 h 42485"/>
                <a:gd name="connsiteX1" fmla="*/ 34200 w 42485"/>
                <a:gd name="connsiteY1" fmla="*/ 25977 h 42485"/>
                <a:gd name="connsiteX2" fmla="*/ 24286 w 42485"/>
                <a:gd name="connsiteY2" fmla="*/ 34474 h 42485"/>
                <a:gd name="connsiteX3" fmla="*/ 15789 w 42485"/>
                <a:gd name="connsiteY3" fmla="*/ 24560 h 42485"/>
                <a:gd name="connsiteX4" fmla="*/ 25703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4"/>
                  </a:moveTo>
                  <a:cubicBezTo>
                    <a:pt x="31367" y="16064"/>
                    <a:pt x="34200" y="20312"/>
                    <a:pt x="34200" y="25977"/>
                  </a:cubicBezTo>
                  <a:cubicBezTo>
                    <a:pt x="34200" y="31641"/>
                    <a:pt x="28535" y="34474"/>
                    <a:pt x="24286" y="34474"/>
                  </a:cubicBezTo>
                  <a:cubicBezTo>
                    <a:pt x="18622" y="34474"/>
                    <a:pt x="15789" y="28809"/>
                    <a:pt x="15789" y="24560"/>
                  </a:cubicBezTo>
                  <a:cubicBezTo>
                    <a:pt x="15789" y="18896"/>
                    <a:pt x="20038" y="14647"/>
                    <a:pt x="25703" y="160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4" name="Freeform: Shape 2633">
              <a:extLst>
                <a:ext uri="{FF2B5EF4-FFF2-40B4-BE49-F238E27FC236}">
                  <a16:creationId xmlns:a16="http://schemas.microsoft.com/office/drawing/2014/main" id="{CC9D170D-61F5-410E-BEFE-E6D7ADA9FAAF}"/>
                </a:ext>
              </a:extLst>
            </p:cNvPr>
            <p:cNvSpPr/>
            <p:nvPr/>
          </p:nvSpPr>
          <p:spPr>
            <a:xfrm>
              <a:off x="6202004" y="3959861"/>
              <a:ext cx="28324" cy="28324"/>
            </a:xfrm>
            <a:custGeom>
              <a:avLst/>
              <a:gdLst>
                <a:gd name="connsiteX0" fmla="*/ 21454 w 28323"/>
                <a:gd name="connsiteY0" fmla="*/ 15789 h 28323"/>
                <a:gd name="connsiteX1" fmla="*/ 25702 w 28323"/>
                <a:gd name="connsiteY1" fmla="*/ 21454 h 28323"/>
                <a:gd name="connsiteX2" fmla="*/ 20037 w 28323"/>
                <a:gd name="connsiteY2" fmla="*/ 25702 h 28323"/>
                <a:gd name="connsiteX3" fmla="*/ 15789 w 28323"/>
                <a:gd name="connsiteY3" fmla="*/ 20037 h 28323"/>
                <a:gd name="connsiteX4" fmla="*/ 21454 w 28323"/>
                <a:gd name="connsiteY4" fmla="*/ 15789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1454" y="15789"/>
                  </a:moveTo>
                  <a:cubicBezTo>
                    <a:pt x="24286" y="15789"/>
                    <a:pt x="25702" y="18621"/>
                    <a:pt x="25702" y="21454"/>
                  </a:cubicBezTo>
                  <a:cubicBezTo>
                    <a:pt x="25702" y="24286"/>
                    <a:pt x="22870" y="25702"/>
                    <a:pt x="20037" y="25702"/>
                  </a:cubicBezTo>
                  <a:cubicBezTo>
                    <a:pt x="17205" y="25702"/>
                    <a:pt x="15789" y="22870"/>
                    <a:pt x="15789" y="20037"/>
                  </a:cubicBezTo>
                  <a:cubicBezTo>
                    <a:pt x="15789" y="17205"/>
                    <a:pt x="18621" y="15789"/>
                    <a:pt x="21454"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5" name="Freeform: Shape 2634">
              <a:extLst>
                <a:ext uri="{FF2B5EF4-FFF2-40B4-BE49-F238E27FC236}">
                  <a16:creationId xmlns:a16="http://schemas.microsoft.com/office/drawing/2014/main" id="{63F928D6-08D4-45FE-8B24-26B843586A12}"/>
                </a:ext>
              </a:extLst>
            </p:cNvPr>
            <p:cNvSpPr/>
            <p:nvPr/>
          </p:nvSpPr>
          <p:spPr>
            <a:xfrm>
              <a:off x="6710416" y="4224688"/>
              <a:ext cx="28324" cy="28324"/>
            </a:xfrm>
            <a:custGeom>
              <a:avLst/>
              <a:gdLst>
                <a:gd name="connsiteX0" fmla="*/ 21454 w 28323"/>
                <a:gd name="connsiteY0" fmla="*/ 15789 h 28323"/>
                <a:gd name="connsiteX1" fmla="*/ 25703 w 28323"/>
                <a:gd name="connsiteY1" fmla="*/ 21454 h 28323"/>
                <a:gd name="connsiteX2" fmla="*/ 20037 w 28323"/>
                <a:gd name="connsiteY2" fmla="*/ 25703 h 28323"/>
                <a:gd name="connsiteX3" fmla="*/ 15789 w 28323"/>
                <a:gd name="connsiteY3" fmla="*/ 20038 h 28323"/>
                <a:gd name="connsiteX4" fmla="*/ 21454 w 28323"/>
                <a:gd name="connsiteY4" fmla="*/ 15789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1454" y="15789"/>
                  </a:moveTo>
                  <a:cubicBezTo>
                    <a:pt x="24286" y="15789"/>
                    <a:pt x="25703" y="18622"/>
                    <a:pt x="25703" y="21454"/>
                  </a:cubicBezTo>
                  <a:cubicBezTo>
                    <a:pt x="25703" y="24286"/>
                    <a:pt x="22870" y="25703"/>
                    <a:pt x="20037" y="25703"/>
                  </a:cubicBezTo>
                  <a:cubicBezTo>
                    <a:pt x="17205" y="25703"/>
                    <a:pt x="15789" y="22870"/>
                    <a:pt x="15789" y="20038"/>
                  </a:cubicBezTo>
                  <a:cubicBezTo>
                    <a:pt x="17205" y="17205"/>
                    <a:pt x="18622" y="15789"/>
                    <a:pt x="21454"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6" name="Freeform: Shape 2635">
              <a:extLst>
                <a:ext uri="{FF2B5EF4-FFF2-40B4-BE49-F238E27FC236}">
                  <a16:creationId xmlns:a16="http://schemas.microsoft.com/office/drawing/2014/main" id="{A3182B61-E041-4AF7-9DBA-E1865795A369}"/>
                </a:ext>
              </a:extLst>
            </p:cNvPr>
            <p:cNvSpPr/>
            <p:nvPr/>
          </p:nvSpPr>
          <p:spPr>
            <a:xfrm>
              <a:off x="6626861" y="4490661"/>
              <a:ext cx="42486" cy="42486"/>
            </a:xfrm>
            <a:custGeom>
              <a:avLst/>
              <a:gdLst>
                <a:gd name="connsiteX0" fmla="*/ 27118 w 42485"/>
                <a:gd name="connsiteY0" fmla="*/ 16060 h 42485"/>
                <a:gd name="connsiteX1" fmla="*/ 37032 w 42485"/>
                <a:gd name="connsiteY1" fmla="*/ 27390 h 42485"/>
                <a:gd name="connsiteX2" fmla="*/ 25702 w 42485"/>
                <a:gd name="connsiteY2" fmla="*/ 37303 h 42485"/>
                <a:gd name="connsiteX3" fmla="*/ 15789 w 42485"/>
                <a:gd name="connsiteY3" fmla="*/ 25973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4"/>
                    <a:pt x="31367" y="37303"/>
                    <a:pt x="25702" y="37303"/>
                  </a:cubicBezTo>
                  <a:cubicBezTo>
                    <a:pt x="20037" y="37303"/>
                    <a:pt x="15789" y="31639"/>
                    <a:pt x="15789" y="25973"/>
                  </a:cubicBezTo>
                  <a:cubicBezTo>
                    <a:pt x="15789" y="18893"/>
                    <a:pt x="20037" y="14644"/>
                    <a:pt x="27118"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7" name="Freeform: Shape 2636">
              <a:extLst>
                <a:ext uri="{FF2B5EF4-FFF2-40B4-BE49-F238E27FC236}">
                  <a16:creationId xmlns:a16="http://schemas.microsoft.com/office/drawing/2014/main" id="{5F470E7D-0E91-4B3A-B779-3B68AC62F448}"/>
                </a:ext>
              </a:extLst>
            </p:cNvPr>
            <p:cNvSpPr/>
            <p:nvPr/>
          </p:nvSpPr>
          <p:spPr>
            <a:xfrm>
              <a:off x="6090125" y="4490932"/>
              <a:ext cx="42486" cy="42486"/>
            </a:xfrm>
            <a:custGeom>
              <a:avLst/>
              <a:gdLst>
                <a:gd name="connsiteX0" fmla="*/ 27118 w 42485"/>
                <a:gd name="connsiteY0" fmla="*/ 15789 h 42485"/>
                <a:gd name="connsiteX1" fmla="*/ 37032 w 42485"/>
                <a:gd name="connsiteY1" fmla="*/ 27118 h 42485"/>
                <a:gd name="connsiteX2" fmla="*/ 25702 w 42485"/>
                <a:gd name="connsiteY2" fmla="*/ 37032 h 42485"/>
                <a:gd name="connsiteX3" fmla="*/ 15789 w 42485"/>
                <a:gd name="connsiteY3" fmla="*/ 25702 h 42485"/>
                <a:gd name="connsiteX4" fmla="*/ 2711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5789"/>
                  </a:moveTo>
                  <a:cubicBezTo>
                    <a:pt x="32783" y="15789"/>
                    <a:pt x="37032" y="21454"/>
                    <a:pt x="37032" y="27118"/>
                  </a:cubicBezTo>
                  <a:cubicBezTo>
                    <a:pt x="37032" y="32783"/>
                    <a:pt x="31367" y="37032"/>
                    <a:pt x="25702" y="37032"/>
                  </a:cubicBezTo>
                  <a:cubicBezTo>
                    <a:pt x="20037" y="37032"/>
                    <a:pt x="15789" y="31367"/>
                    <a:pt x="15789" y="25702"/>
                  </a:cubicBezTo>
                  <a:cubicBezTo>
                    <a:pt x="15789" y="20037"/>
                    <a:pt x="20037" y="15789"/>
                    <a:pt x="2711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8" name="Freeform: Shape 2637">
              <a:extLst>
                <a:ext uri="{FF2B5EF4-FFF2-40B4-BE49-F238E27FC236}">
                  <a16:creationId xmlns:a16="http://schemas.microsoft.com/office/drawing/2014/main" id="{58B36DFC-91C6-4063-B609-3775FB7BA0E3}"/>
                </a:ext>
              </a:extLst>
            </p:cNvPr>
            <p:cNvSpPr/>
            <p:nvPr/>
          </p:nvSpPr>
          <p:spPr>
            <a:xfrm>
              <a:off x="6554635" y="4190428"/>
              <a:ext cx="42486" cy="42486"/>
            </a:xfrm>
            <a:custGeom>
              <a:avLst/>
              <a:gdLst>
                <a:gd name="connsiteX0" fmla="*/ 27118 w 42485"/>
                <a:gd name="connsiteY0" fmla="*/ 16060 h 42485"/>
                <a:gd name="connsiteX1" fmla="*/ 37032 w 42485"/>
                <a:gd name="connsiteY1" fmla="*/ 27390 h 42485"/>
                <a:gd name="connsiteX2" fmla="*/ 25703 w 42485"/>
                <a:gd name="connsiteY2" fmla="*/ 37303 h 42485"/>
                <a:gd name="connsiteX3" fmla="*/ 15789 w 42485"/>
                <a:gd name="connsiteY3" fmla="*/ 25974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5"/>
                    <a:pt x="31367" y="37303"/>
                    <a:pt x="25703" y="37303"/>
                  </a:cubicBezTo>
                  <a:cubicBezTo>
                    <a:pt x="20037" y="37303"/>
                    <a:pt x="15789" y="31639"/>
                    <a:pt x="15789" y="25974"/>
                  </a:cubicBezTo>
                  <a:cubicBezTo>
                    <a:pt x="15789" y="18893"/>
                    <a:pt x="21454" y="14644"/>
                    <a:pt x="27118"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9" name="Freeform: Shape 2638">
              <a:extLst>
                <a:ext uri="{FF2B5EF4-FFF2-40B4-BE49-F238E27FC236}">
                  <a16:creationId xmlns:a16="http://schemas.microsoft.com/office/drawing/2014/main" id="{2EA11A7E-C5D0-41D8-94E0-6615A6F72072}"/>
                </a:ext>
              </a:extLst>
            </p:cNvPr>
            <p:cNvSpPr/>
            <p:nvPr/>
          </p:nvSpPr>
          <p:spPr>
            <a:xfrm>
              <a:off x="6234576" y="3939763"/>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4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5"/>
                    <a:pt x="31367" y="37303"/>
                    <a:pt x="25703" y="37303"/>
                  </a:cubicBezTo>
                  <a:cubicBezTo>
                    <a:pt x="20038" y="37303"/>
                    <a:pt x="15789" y="31638"/>
                    <a:pt x="15789" y="25974"/>
                  </a:cubicBezTo>
                  <a:cubicBezTo>
                    <a:pt x="15789" y="18893"/>
                    <a:pt x="21454" y="14644"/>
                    <a:pt x="27119"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0" name="Freeform: Shape 2639">
              <a:extLst>
                <a:ext uri="{FF2B5EF4-FFF2-40B4-BE49-F238E27FC236}">
                  <a16:creationId xmlns:a16="http://schemas.microsoft.com/office/drawing/2014/main" id="{E3744CE5-B57F-4230-82B3-91FE5887CAB4}"/>
                </a:ext>
              </a:extLst>
            </p:cNvPr>
            <p:cNvSpPr/>
            <p:nvPr/>
          </p:nvSpPr>
          <p:spPr>
            <a:xfrm>
              <a:off x="6689173" y="3809744"/>
              <a:ext cx="42486" cy="42486"/>
            </a:xfrm>
            <a:custGeom>
              <a:avLst/>
              <a:gdLst>
                <a:gd name="connsiteX0" fmla="*/ 25703 w 42485"/>
                <a:gd name="connsiteY0" fmla="*/ 15789 h 42485"/>
                <a:gd name="connsiteX1" fmla="*/ 34199 w 42485"/>
                <a:gd name="connsiteY1" fmla="*/ 25702 h 42485"/>
                <a:gd name="connsiteX2" fmla="*/ 24286 w 42485"/>
                <a:gd name="connsiteY2" fmla="*/ 34200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31367" y="15789"/>
                    <a:pt x="34199" y="21454"/>
                    <a:pt x="34199" y="25702"/>
                  </a:cubicBezTo>
                  <a:cubicBezTo>
                    <a:pt x="34199" y="31367"/>
                    <a:pt x="28535" y="34200"/>
                    <a:pt x="24286" y="34200"/>
                  </a:cubicBezTo>
                  <a:cubicBezTo>
                    <a:pt x="18622" y="34200"/>
                    <a:pt x="15789" y="29951"/>
                    <a:pt x="15789" y="24286"/>
                  </a:cubicBezTo>
                  <a:cubicBezTo>
                    <a:pt x="15789" y="18621"/>
                    <a:pt x="20037" y="15789"/>
                    <a:pt x="25703"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1" name="Freeform: Shape 2640">
              <a:extLst>
                <a:ext uri="{FF2B5EF4-FFF2-40B4-BE49-F238E27FC236}">
                  <a16:creationId xmlns:a16="http://schemas.microsoft.com/office/drawing/2014/main" id="{81F496E8-3E69-4353-90FD-AE1F34257FE7}"/>
                </a:ext>
              </a:extLst>
            </p:cNvPr>
            <p:cNvSpPr/>
            <p:nvPr/>
          </p:nvSpPr>
          <p:spPr>
            <a:xfrm>
              <a:off x="6966747" y="3873473"/>
              <a:ext cx="42486" cy="42486"/>
            </a:xfrm>
            <a:custGeom>
              <a:avLst/>
              <a:gdLst>
                <a:gd name="connsiteX0" fmla="*/ 25702 w 42485"/>
                <a:gd name="connsiteY0" fmla="*/ 15789 h 42485"/>
                <a:gd name="connsiteX1" fmla="*/ 34199 w 42485"/>
                <a:gd name="connsiteY1" fmla="*/ 25702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1454"/>
                    <a:pt x="34199" y="25702"/>
                  </a:cubicBezTo>
                  <a:cubicBezTo>
                    <a:pt x="34199" y="31367"/>
                    <a:pt x="29951" y="34200"/>
                    <a:pt x="24286" y="34200"/>
                  </a:cubicBezTo>
                  <a:cubicBezTo>
                    <a:pt x="18621" y="34200"/>
                    <a:pt x="15789" y="28535"/>
                    <a:pt x="15789" y="24286"/>
                  </a:cubicBezTo>
                  <a:cubicBezTo>
                    <a:pt x="17205" y="18621"/>
                    <a:pt x="21454"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2" name="Freeform: Shape 2641">
              <a:extLst>
                <a:ext uri="{FF2B5EF4-FFF2-40B4-BE49-F238E27FC236}">
                  <a16:creationId xmlns:a16="http://schemas.microsoft.com/office/drawing/2014/main" id="{7FE5B556-C953-48E7-9D9A-1C8F674D6A14}"/>
                </a:ext>
              </a:extLst>
            </p:cNvPr>
            <p:cNvSpPr/>
            <p:nvPr/>
          </p:nvSpPr>
          <p:spPr>
            <a:xfrm>
              <a:off x="6871862" y="4350729"/>
              <a:ext cx="42486" cy="42486"/>
            </a:xfrm>
            <a:custGeom>
              <a:avLst/>
              <a:gdLst>
                <a:gd name="connsiteX0" fmla="*/ 27119 w 42485"/>
                <a:gd name="connsiteY0" fmla="*/ 15789 h 42485"/>
                <a:gd name="connsiteX1" fmla="*/ 37032 w 42485"/>
                <a:gd name="connsiteY1" fmla="*/ 27118 h 42485"/>
                <a:gd name="connsiteX2" fmla="*/ 25703 w 42485"/>
                <a:gd name="connsiteY2" fmla="*/ 37032 h 42485"/>
                <a:gd name="connsiteX3" fmla="*/ 15789 w 42485"/>
                <a:gd name="connsiteY3" fmla="*/ 25702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8"/>
                  </a:cubicBezTo>
                  <a:cubicBezTo>
                    <a:pt x="37032" y="32783"/>
                    <a:pt x="31367" y="37032"/>
                    <a:pt x="25703" y="37032"/>
                  </a:cubicBezTo>
                  <a:cubicBezTo>
                    <a:pt x="20038" y="37032"/>
                    <a:pt x="15789" y="31367"/>
                    <a:pt x="15789" y="25702"/>
                  </a:cubicBezTo>
                  <a:cubicBezTo>
                    <a:pt x="15789" y="20037"/>
                    <a:pt x="21454" y="15789"/>
                    <a:pt x="27119"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3" name="Freeform: Shape 2642">
              <a:extLst>
                <a:ext uri="{FF2B5EF4-FFF2-40B4-BE49-F238E27FC236}">
                  <a16:creationId xmlns:a16="http://schemas.microsoft.com/office/drawing/2014/main" id="{EFE278B9-33B8-4982-BC78-C44C16787EDF}"/>
                </a:ext>
              </a:extLst>
            </p:cNvPr>
            <p:cNvSpPr/>
            <p:nvPr/>
          </p:nvSpPr>
          <p:spPr>
            <a:xfrm>
              <a:off x="6487939" y="3992298"/>
              <a:ext cx="70810" cy="70810"/>
            </a:xfrm>
            <a:custGeom>
              <a:avLst/>
              <a:gdLst>
                <a:gd name="connsiteX0" fmla="*/ 41416 w 70809"/>
                <a:gd name="connsiteY0" fmla="*/ 15924 h 70809"/>
                <a:gd name="connsiteX1" fmla="*/ 62658 w 70809"/>
                <a:gd name="connsiteY1" fmla="*/ 41416 h 70809"/>
                <a:gd name="connsiteX2" fmla="*/ 37167 w 70809"/>
                <a:gd name="connsiteY2" fmla="*/ 62658 h 70809"/>
                <a:gd name="connsiteX3" fmla="*/ 15924 w 70809"/>
                <a:gd name="connsiteY3" fmla="*/ 37167 h 70809"/>
                <a:gd name="connsiteX4" fmla="*/ 41416 w 70809"/>
                <a:gd name="connsiteY4" fmla="*/ 1592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416" y="15924"/>
                  </a:moveTo>
                  <a:cubicBezTo>
                    <a:pt x="54161" y="17340"/>
                    <a:pt x="64075" y="28670"/>
                    <a:pt x="62658" y="41416"/>
                  </a:cubicBezTo>
                  <a:cubicBezTo>
                    <a:pt x="61242" y="54161"/>
                    <a:pt x="49913" y="64074"/>
                    <a:pt x="37167" y="62658"/>
                  </a:cubicBezTo>
                  <a:cubicBezTo>
                    <a:pt x="24421" y="61242"/>
                    <a:pt x="14508" y="49912"/>
                    <a:pt x="15924" y="37167"/>
                  </a:cubicBezTo>
                  <a:cubicBezTo>
                    <a:pt x="17340" y="24421"/>
                    <a:pt x="28670" y="14508"/>
                    <a:pt x="41416" y="1592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4" name="Freeform: Shape 2643">
              <a:extLst>
                <a:ext uri="{FF2B5EF4-FFF2-40B4-BE49-F238E27FC236}">
                  <a16:creationId xmlns:a16="http://schemas.microsoft.com/office/drawing/2014/main" id="{D28BBE4E-8126-4BE7-AB7A-4A0B4E909387}"/>
                </a:ext>
              </a:extLst>
            </p:cNvPr>
            <p:cNvSpPr/>
            <p:nvPr/>
          </p:nvSpPr>
          <p:spPr>
            <a:xfrm>
              <a:off x="6234576" y="4513375"/>
              <a:ext cx="56648" cy="56648"/>
            </a:xfrm>
            <a:custGeom>
              <a:avLst/>
              <a:gdLst>
                <a:gd name="connsiteX0" fmla="*/ 31367 w 56647"/>
                <a:gd name="connsiteY0" fmla="*/ 16006 h 56647"/>
                <a:gd name="connsiteX1" fmla="*/ 44113 w 56647"/>
                <a:gd name="connsiteY1" fmla="*/ 31584 h 56647"/>
                <a:gd name="connsiteX2" fmla="*/ 28535 w 56647"/>
                <a:gd name="connsiteY2" fmla="*/ 44330 h 56647"/>
                <a:gd name="connsiteX3" fmla="*/ 15789 w 56647"/>
                <a:gd name="connsiteY3" fmla="*/ 28752 h 56647"/>
                <a:gd name="connsiteX4" fmla="*/ 31367 w 56647"/>
                <a:gd name="connsiteY4" fmla="*/ 16006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6006"/>
                  </a:moveTo>
                  <a:cubicBezTo>
                    <a:pt x="38448" y="17422"/>
                    <a:pt x="44113" y="23087"/>
                    <a:pt x="44113" y="31584"/>
                  </a:cubicBezTo>
                  <a:cubicBezTo>
                    <a:pt x="42697" y="38665"/>
                    <a:pt x="37032" y="44330"/>
                    <a:pt x="28535" y="44330"/>
                  </a:cubicBezTo>
                  <a:cubicBezTo>
                    <a:pt x="21454" y="44330"/>
                    <a:pt x="15789" y="37249"/>
                    <a:pt x="15789" y="28752"/>
                  </a:cubicBezTo>
                  <a:cubicBezTo>
                    <a:pt x="17205" y="20254"/>
                    <a:pt x="24286" y="14590"/>
                    <a:pt x="31367" y="1600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5" name="Freeform: Shape 2644">
              <a:extLst>
                <a:ext uri="{FF2B5EF4-FFF2-40B4-BE49-F238E27FC236}">
                  <a16:creationId xmlns:a16="http://schemas.microsoft.com/office/drawing/2014/main" id="{A59B9F49-8B5A-4E9C-A8A5-94DDE43445D5}"/>
                </a:ext>
              </a:extLst>
            </p:cNvPr>
            <p:cNvSpPr/>
            <p:nvPr/>
          </p:nvSpPr>
          <p:spPr>
            <a:xfrm>
              <a:off x="6234576" y="4081379"/>
              <a:ext cx="42486" cy="42486"/>
            </a:xfrm>
            <a:custGeom>
              <a:avLst/>
              <a:gdLst>
                <a:gd name="connsiteX0" fmla="*/ 25703 w 42485"/>
                <a:gd name="connsiteY0" fmla="*/ 16064 h 42485"/>
                <a:gd name="connsiteX1" fmla="*/ 34200 w 42485"/>
                <a:gd name="connsiteY1" fmla="*/ 25977 h 42485"/>
                <a:gd name="connsiteX2" fmla="*/ 24286 w 42485"/>
                <a:gd name="connsiteY2" fmla="*/ 34474 h 42485"/>
                <a:gd name="connsiteX3" fmla="*/ 15789 w 42485"/>
                <a:gd name="connsiteY3" fmla="*/ 24560 h 42485"/>
                <a:gd name="connsiteX4" fmla="*/ 25703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4"/>
                  </a:moveTo>
                  <a:cubicBezTo>
                    <a:pt x="31367" y="16064"/>
                    <a:pt x="34200" y="20312"/>
                    <a:pt x="34200" y="25977"/>
                  </a:cubicBezTo>
                  <a:cubicBezTo>
                    <a:pt x="34200" y="31641"/>
                    <a:pt x="28535" y="34474"/>
                    <a:pt x="24286" y="34474"/>
                  </a:cubicBezTo>
                  <a:cubicBezTo>
                    <a:pt x="18622" y="34474"/>
                    <a:pt x="15789" y="30225"/>
                    <a:pt x="15789" y="24560"/>
                  </a:cubicBezTo>
                  <a:cubicBezTo>
                    <a:pt x="17205" y="18896"/>
                    <a:pt x="21454" y="14647"/>
                    <a:pt x="25703" y="160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6" name="Freeform: Shape 2645">
              <a:extLst>
                <a:ext uri="{FF2B5EF4-FFF2-40B4-BE49-F238E27FC236}">
                  <a16:creationId xmlns:a16="http://schemas.microsoft.com/office/drawing/2014/main" id="{C882C6AA-1C2E-47AE-A5FE-BFB08C2254E6}"/>
                </a:ext>
              </a:extLst>
            </p:cNvPr>
            <p:cNvSpPr/>
            <p:nvPr/>
          </p:nvSpPr>
          <p:spPr>
            <a:xfrm>
              <a:off x="6182177" y="3651131"/>
              <a:ext cx="42486" cy="42486"/>
            </a:xfrm>
            <a:custGeom>
              <a:avLst/>
              <a:gdLst>
                <a:gd name="connsiteX0" fmla="*/ 25702 w 42485"/>
                <a:gd name="connsiteY0" fmla="*/ 15789 h 42485"/>
                <a:gd name="connsiteX1" fmla="*/ 34199 w 42485"/>
                <a:gd name="connsiteY1" fmla="*/ 25702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1454"/>
                    <a:pt x="34199" y="25702"/>
                  </a:cubicBezTo>
                  <a:cubicBezTo>
                    <a:pt x="34199" y="29951"/>
                    <a:pt x="28535" y="34200"/>
                    <a:pt x="24286" y="34200"/>
                  </a:cubicBezTo>
                  <a:cubicBezTo>
                    <a:pt x="18621" y="34200"/>
                    <a:pt x="15789" y="28535"/>
                    <a:pt x="15789" y="24286"/>
                  </a:cubicBezTo>
                  <a:cubicBezTo>
                    <a:pt x="15789" y="18621"/>
                    <a:pt x="21454"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7" name="Freeform: Shape 2646">
              <a:extLst>
                <a:ext uri="{FF2B5EF4-FFF2-40B4-BE49-F238E27FC236}">
                  <a16:creationId xmlns:a16="http://schemas.microsoft.com/office/drawing/2014/main" id="{99AD87C3-6690-4124-8DCD-FCD9DF0B8F86}"/>
                </a:ext>
              </a:extLst>
            </p:cNvPr>
            <p:cNvSpPr/>
            <p:nvPr/>
          </p:nvSpPr>
          <p:spPr>
            <a:xfrm>
              <a:off x="6897354" y="3863288"/>
              <a:ext cx="42486" cy="42486"/>
            </a:xfrm>
            <a:custGeom>
              <a:avLst/>
              <a:gdLst>
                <a:gd name="connsiteX0" fmla="*/ 27118 w 42485"/>
                <a:gd name="connsiteY0" fmla="*/ 16060 h 42485"/>
                <a:gd name="connsiteX1" fmla="*/ 37032 w 42485"/>
                <a:gd name="connsiteY1" fmla="*/ 27390 h 42485"/>
                <a:gd name="connsiteX2" fmla="*/ 25702 w 42485"/>
                <a:gd name="connsiteY2" fmla="*/ 37303 h 42485"/>
                <a:gd name="connsiteX3" fmla="*/ 15789 w 42485"/>
                <a:gd name="connsiteY3" fmla="*/ 25974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5"/>
                    <a:pt x="31367" y="37303"/>
                    <a:pt x="25702" y="37303"/>
                  </a:cubicBezTo>
                  <a:cubicBezTo>
                    <a:pt x="20037" y="37303"/>
                    <a:pt x="15789" y="31638"/>
                    <a:pt x="15789" y="25974"/>
                  </a:cubicBezTo>
                  <a:cubicBezTo>
                    <a:pt x="15789" y="18893"/>
                    <a:pt x="21454" y="14644"/>
                    <a:pt x="27118"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8" name="Freeform: Shape 2647">
              <a:extLst>
                <a:ext uri="{FF2B5EF4-FFF2-40B4-BE49-F238E27FC236}">
                  <a16:creationId xmlns:a16="http://schemas.microsoft.com/office/drawing/2014/main" id="{631805E4-51F7-44E8-A79F-FF86C73BB457}"/>
                </a:ext>
              </a:extLst>
            </p:cNvPr>
            <p:cNvSpPr/>
            <p:nvPr/>
          </p:nvSpPr>
          <p:spPr>
            <a:xfrm>
              <a:off x="5918765" y="3846565"/>
              <a:ext cx="56648" cy="56648"/>
            </a:xfrm>
            <a:custGeom>
              <a:avLst/>
              <a:gdLst>
                <a:gd name="connsiteX0" fmla="*/ 35616 w 56647"/>
                <a:gd name="connsiteY0" fmla="*/ 15789 h 56647"/>
                <a:gd name="connsiteX1" fmla="*/ 52610 w 56647"/>
                <a:gd name="connsiteY1" fmla="*/ 35616 h 56647"/>
                <a:gd name="connsiteX2" fmla="*/ 32783 w 56647"/>
                <a:gd name="connsiteY2" fmla="*/ 52610 h 56647"/>
                <a:gd name="connsiteX3" fmla="*/ 15789 w 56647"/>
                <a:gd name="connsiteY3" fmla="*/ 32783 h 56647"/>
                <a:gd name="connsiteX4" fmla="*/ 35616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616" y="15789"/>
                  </a:moveTo>
                  <a:cubicBezTo>
                    <a:pt x="45529" y="17205"/>
                    <a:pt x="52610" y="25702"/>
                    <a:pt x="52610" y="35616"/>
                  </a:cubicBezTo>
                  <a:cubicBezTo>
                    <a:pt x="51194" y="45529"/>
                    <a:pt x="42697" y="52610"/>
                    <a:pt x="32783" y="52610"/>
                  </a:cubicBezTo>
                  <a:cubicBezTo>
                    <a:pt x="22870" y="51194"/>
                    <a:pt x="15789" y="42697"/>
                    <a:pt x="15789" y="32783"/>
                  </a:cubicBezTo>
                  <a:cubicBezTo>
                    <a:pt x="15789" y="22870"/>
                    <a:pt x="24286" y="15789"/>
                    <a:pt x="35616"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9" name="Freeform: Shape 2648">
              <a:extLst>
                <a:ext uri="{FF2B5EF4-FFF2-40B4-BE49-F238E27FC236}">
                  <a16:creationId xmlns:a16="http://schemas.microsoft.com/office/drawing/2014/main" id="{260F6C38-4768-4A7F-AB57-6F98D6D77D3C}"/>
                </a:ext>
              </a:extLst>
            </p:cNvPr>
            <p:cNvSpPr/>
            <p:nvPr/>
          </p:nvSpPr>
          <p:spPr>
            <a:xfrm>
              <a:off x="6166599" y="4643881"/>
              <a:ext cx="56648" cy="56648"/>
            </a:xfrm>
            <a:custGeom>
              <a:avLst/>
              <a:gdLst>
                <a:gd name="connsiteX0" fmla="*/ 31367 w 56647"/>
                <a:gd name="connsiteY0" fmla="*/ 15789 h 56647"/>
                <a:gd name="connsiteX1" fmla="*/ 44113 w 56647"/>
                <a:gd name="connsiteY1" fmla="*/ 31367 h 56647"/>
                <a:gd name="connsiteX2" fmla="*/ 28535 w 56647"/>
                <a:gd name="connsiteY2" fmla="*/ 44113 h 56647"/>
                <a:gd name="connsiteX3" fmla="*/ 15789 w 56647"/>
                <a:gd name="connsiteY3" fmla="*/ 28535 h 56647"/>
                <a:gd name="connsiteX4" fmla="*/ 31367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5789"/>
                  </a:moveTo>
                  <a:cubicBezTo>
                    <a:pt x="38448" y="17205"/>
                    <a:pt x="44113" y="22870"/>
                    <a:pt x="44113" y="31367"/>
                  </a:cubicBezTo>
                  <a:cubicBezTo>
                    <a:pt x="42697" y="38448"/>
                    <a:pt x="37032" y="44113"/>
                    <a:pt x="28535" y="44113"/>
                  </a:cubicBezTo>
                  <a:cubicBezTo>
                    <a:pt x="21454" y="44113"/>
                    <a:pt x="15789" y="37032"/>
                    <a:pt x="15789" y="28535"/>
                  </a:cubicBezTo>
                  <a:cubicBezTo>
                    <a:pt x="15789" y="21454"/>
                    <a:pt x="22870" y="15789"/>
                    <a:pt x="31367"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0" name="Freeform: Shape 2649">
              <a:extLst>
                <a:ext uri="{FF2B5EF4-FFF2-40B4-BE49-F238E27FC236}">
                  <a16:creationId xmlns:a16="http://schemas.microsoft.com/office/drawing/2014/main" id="{EFF98CA4-0DC0-44F3-A66C-38F52F99CC10}"/>
                </a:ext>
              </a:extLst>
            </p:cNvPr>
            <p:cNvSpPr/>
            <p:nvPr/>
          </p:nvSpPr>
          <p:spPr>
            <a:xfrm>
              <a:off x="6717362" y="3655245"/>
              <a:ext cx="70810" cy="70810"/>
            </a:xfrm>
            <a:custGeom>
              <a:avLst/>
              <a:gdLst>
                <a:gd name="connsiteX0" fmla="*/ 41415 w 70809"/>
                <a:gd name="connsiteY0" fmla="*/ 15924 h 70809"/>
                <a:gd name="connsiteX1" fmla="*/ 62658 w 70809"/>
                <a:gd name="connsiteY1" fmla="*/ 41415 h 70809"/>
                <a:gd name="connsiteX2" fmla="*/ 37167 w 70809"/>
                <a:gd name="connsiteY2" fmla="*/ 62658 h 70809"/>
                <a:gd name="connsiteX3" fmla="*/ 15924 w 70809"/>
                <a:gd name="connsiteY3" fmla="*/ 37167 h 70809"/>
                <a:gd name="connsiteX4" fmla="*/ 41415 w 70809"/>
                <a:gd name="connsiteY4" fmla="*/ 1592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415" y="15924"/>
                  </a:moveTo>
                  <a:cubicBezTo>
                    <a:pt x="54161" y="17340"/>
                    <a:pt x="64074" y="28670"/>
                    <a:pt x="62658" y="41415"/>
                  </a:cubicBezTo>
                  <a:cubicBezTo>
                    <a:pt x="61242" y="54161"/>
                    <a:pt x="49912" y="64074"/>
                    <a:pt x="37167" y="62658"/>
                  </a:cubicBezTo>
                  <a:cubicBezTo>
                    <a:pt x="24421" y="61242"/>
                    <a:pt x="14508" y="49912"/>
                    <a:pt x="15924" y="37167"/>
                  </a:cubicBezTo>
                  <a:cubicBezTo>
                    <a:pt x="17340" y="24421"/>
                    <a:pt x="28670" y="14508"/>
                    <a:pt x="41415" y="1592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1" name="Freeform: Shape 2650">
              <a:extLst>
                <a:ext uri="{FF2B5EF4-FFF2-40B4-BE49-F238E27FC236}">
                  <a16:creationId xmlns:a16="http://schemas.microsoft.com/office/drawing/2014/main" id="{53808FD6-40F8-4D97-BF5C-B4987B004142}"/>
                </a:ext>
              </a:extLst>
            </p:cNvPr>
            <p:cNvSpPr/>
            <p:nvPr/>
          </p:nvSpPr>
          <p:spPr>
            <a:xfrm>
              <a:off x="6843538" y="3765842"/>
              <a:ext cx="42486" cy="42486"/>
            </a:xfrm>
            <a:custGeom>
              <a:avLst/>
              <a:gdLst>
                <a:gd name="connsiteX0" fmla="*/ 27119 w 42485"/>
                <a:gd name="connsiteY0" fmla="*/ 15789 h 42485"/>
                <a:gd name="connsiteX1" fmla="*/ 37032 w 42485"/>
                <a:gd name="connsiteY1" fmla="*/ 27119 h 42485"/>
                <a:gd name="connsiteX2" fmla="*/ 25703 w 42485"/>
                <a:gd name="connsiteY2" fmla="*/ 37032 h 42485"/>
                <a:gd name="connsiteX3" fmla="*/ 15789 w 42485"/>
                <a:gd name="connsiteY3" fmla="*/ 25703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9"/>
                  </a:cubicBezTo>
                  <a:cubicBezTo>
                    <a:pt x="37032" y="32783"/>
                    <a:pt x="31367" y="37032"/>
                    <a:pt x="25703" y="37032"/>
                  </a:cubicBezTo>
                  <a:cubicBezTo>
                    <a:pt x="20038" y="37032"/>
                    <a:pt x="15789" y="31367"/>
                    <a:pt x="15789" y="25703"/>
                  </a:cubicBezTo>
                  <a:cubicBezTo>
                    <a:pt x="15789" y="18622"/>
                    <a:pt x="21454" y="15789"/>
                    <a:pt x="27119"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2" name="Freeform: Shape 2651">
              <a:extLst>
                <a:ext uri="{FF2B5EF4-FFF2-40B4-BE49-F238E27FC236}">
                  <a16:creationId xmlns:a16="http://schemas.microsoft.com/office/drawing/2014/main" id="{9FAC87C8-49D0-4441-AB97-91BB5C2F9B8B}"/>
                </a:ext>
              </a:extLst>
            </p:cNvPr>
            <p:cNvSpPr/>
            <p:nvPr/>
          </p:nvSpPr>
          <p:spPr>
            <a:xfrm>
              <a:off x="5918547" y="3648080"/>
              <a:ext cx="56648" cy="56648"/>
            </a:xfrm>
            <a:custGeom>
              <a:avLst/>
              <a:gdLst>
                <a:gd name="connsiteX0" fmla="*/ 30169 w 56647"/>
                <a:gd name="connsiteY0" fmla="*/ 16007 h 56647"/>
                <a:gd name="connsiteX1" fmla="*/ 41499 w 56647"/>
                <a:gd name="connsiteY1" fmla="*/ 30169 h 56647"/>
                <a:gd name="connsiteX2" fmla="*/ 27337 w 56647"/>
                <a:gd name="connsiteY2" fmla="*/ 41499 h 56647"/>
                <a:gd name="connsiteX3" fmla="*/ 16007 w 56647"/>
                <a:gd name="connsiteY3" fmla="*/ 27337 h 56647"/>
                <a:gd name="connsiteX4" fmla="*/ 30169 w 56647"/>
                <a:gd name="connsiteY4" fmla="*/ 1600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0169" y="16007"/>
                  </a:moveTo>
                  <a:cubicBezTo>
                    <a:pt x="37250" y="16007"/>
                    <a:pt x="42915" y="23088"/>
                    <a:pt x="41499" y="30169"/>
                  </a:cubicBezTo>
                  <a:cubicBezTo>
                    <a:pt x="41499" y="37250"/>
                    <a:pt x="34418" y="42915"/>
                    <a:pt x="27337" y="41499"/>
                  </a:cubicBezTo>
                  <a:cubicBezTo>
                    <a:pt x="20256" y="41499"/>
                    <a:pt x="14591" y="34418"/>
                    <a:pt x="16007" y="27337"/>
                  </a:cubicBezTo>
                  <a:cubicBezTo>
                    <a:pt x="16007" y="20256"/>
                    <a:pt x="23088" y="14591"/>
                    <a:pt x="30169" y="160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3" name="Freeform: Shape 2652">
              <a:extLst>
                <a:ext uri="{FF2B5EF4-FFF2-40B4-BE49-F238E27FC236}">
                  <a16:creationId xmlns:a16="http://schemas.microsoft.com/office/drawing/2014/main" id="{6CFCA81B-E273-4320-9977-95A3DAEB2F8F}"/>
                </a:ext>
              </a:extLst>
            </p:cNvPr>
            <p:cNvSpPr/>
            <p:nvPr/>
          </p:nvSpPr>
          <p:spPr>
            <a:xfrm>
              <a:off x="5920000" y="3686536"/>
              <a:ext cx="56648" cy="56648"/>
            </a:xfrm>
            <a:custGeom>
              <a:avLst/>
              <a:gdLst>
                <a:gd name="connsiteX0" fmla="*/ 32964 w 56647"/>
                <a:gd name="connsiteY0" fmla="*/ 15789 h 56647"/>
                <a:gd name="connsiteX1" fmla="*/ 47126 w 56647"/>
                <a:gd name="connsiteY1" fmla="*/ 32783 h 56647"/>
                <a:gd name="connsiteX2" fmla="*/ 30132 w 56647"/>
                <a:gd name="connsiteY2" fmla="*/ 46945 h 56647"/>
                <a:gd name="connsiteX3" fmla="*/ 15970 w 56647"/>
                <a:gd name="connsiteY3" fmla="*/ 29951 h 56647"/>
                <a:gd name="connsiteX4" fmla="*/ 32964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4" y="15789"/>
                  </a:moveTo>
                  <a:cubicBezTo>
                    <a:pt x="41462" y="17205"/>
                    <a:pt x="48543" y="24286"/>
                    <a:pt x="47126" y="32783"/>
                  </a:cubicBezTo>
                  <a:cubicBezTo>
                    <a:pt x="45710" y="41280"/>
                    <a:pt x="38629" y="48361"/>
                    <a:pt x="30132" y="46945"/>
                  </a:cubicBezTo>
                  <a:cubicBezTo>
                    <a:pt x="21635" y="45529"/>
                    <a:pt x="14554" y="38448"/>
                    <a:pt x="15970" y="29951"/>
                  </a:cubicBezTo>
                  <a:cubicBezTo>
                    <a:pt x="15970" y="21454"/>
                    <a:pt x="23051" y="15789"/>
                    <a:pt x="32964"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4" name="Freeform: Shape 2653">
              <a:extLst>
                <a:ext uri="{FF2B5EF4-FFF2-40B4-BE49-F238E27FC236}">
                  <a16:creationId xmlns:a16="http://schemas.microsoft.com/office/drawing/2014/main" id="{6BFE093C-06DF-4BC6-8FEF-159504FCF1B3}"/>
                </a:ext>
              </a:extLst>
            </p:cNvPr>
            <p:cNvSpPr/>
            <p:nvPr/>
          </p:nvSpPr>
          <p:spPr>
            <a:xfrm>
              <a:off x="6058814" y="3941296"/>
              <a:ext cx="70810" cy="70810"/>
            </a:xfrm>
            <a:custGeom>
              <a:avLst/>
              <a:gdLst>
                <a:gd name="connsiteX0" fmla="*/ 38603 w 70809"/>
                <a:gd name="connsiteY0" fmla="*/ 15943 h 70809"/>
                <a:gd name="connsiteX1" fmla="*/ 57013 w 70809"/>
                <a:gd name="connsiteY1" fmla="*/ 38602 h 70809"/>
                <a:gd name="connsiteX2" fmla="*/ 34354 w 70809"/>
                <a:gd name="connsiteY2" fmla="*/ 57013 h 70809"/>
                <a:gd name="connsiteX3" fmla="*/ 15943 w 70809"/>
                <a:gd name="connsiteY3" fmla="*/ 34354 h 70809"/>
                <a:gd name="connsiteX4" fmla="*/ 38603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603" y="15943"/>
                  </a:moveTo>
                  <a:cubicBezTo>
                    <a:pt x="49932" y="17359"/>
                    <a:pt x="58429" y="27273"/>
                    <a:pt x="57013" y="38602"/>
                  </a:cubicBezTo>
                  <a:cubicBezTo>
                    <a:pt x="55597" y="49932"/>
                    <a:pt x="45684" y="58429"/>
                    <a:pt x="34354" y="57013"/>
                  </a:cubicBezTo>
                  <a:cubicBezTo>
                    <a:pt x="23024" y="55597"/>
                    <a:pt x="14527" y="45683"/>
                    <a:pt x="15943" y="34354"/>
                  </a:cubicBezTo>
                  <a:cubicBezTo>
                    <a:pt x="17360" y="23024"/>
                    <a:pt x="27273" y="14527"/>
                    <a:pt x="38603" y="159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5" name="Freeform: Shape 2654">
              <a:extLst>
                <a:ext uri="{FF2B5EF4-FFF2-40B4-BE49-F238E27FC236}">
                  <a16:creationId xmlns:a16="http://schemas.microsoft.com/office/drawing/2014/main" id="{0E24A5A5-C58C-4DA6-883B-64B1016520A3}"/>
                </a:ext>
              </a:extLst>
            </p:cNvPr>
            <p:cNvSpPr/>
            <p:nvPr/>
          </p:nvSpPr>
          <p:spPr>
            <a:xfrm>
              <a:off x="7012065" y="4023318"/>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3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4"/>
                    <a:pt x="31367" y="37303"/>
                    <a:pt x="25703" y="37303"/>
                  </a:cubicBezTo>
                  <a:cubicBezTo>
                    <a:pt x="20038" y="37303"/>
                    <a:pt x="15789" y="31639"/>
                    <a:pt x="15789" y="25973"/>
                  </a:cubicBezTo>
                  <a:cubicBezTo>
                    <a:pt x="15789" y="18893"/>
                    <a:pt x="21454" y="14644"/>
                    <a:pt x="27119"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6" name="Freeform: Shape 2655">
              <a:extLst>
                <a:ext uri="{FF2B5EF4-FFF2-40B4-BE49-F238E27FC236}">
                  <a16:creationId xmlns:a16="http://schemas.microsoft.com/office/drawing/2014/main" id="{9044180A-BC76-4F6A-AC8F-44392822A507}"/>
                </a:ext>
              </a:extLst>
            </p:cNvPr>
            <p:cNvSpPr/>
            <p:nvPr/>
          </p:nvSpPr>
          <p:spPr>
            <a:xfrm>
              <a:off x="6914348" y="3939759"/>
              <a:ext cx="42486" cy="42486"/>
            </a:xfrm>
            <a:custGeom>
              <a:avLst/>
              <a:gdLst>
                <a:gd name="connsiteX0" fmla="*/ 25703 w 42485"/>
                <a:gd name="connsiteY0" fmla="*/ 16063 h 42485"/>
                <a:gd name="connsiteX1" fmla="*/ 34200 w 42485"/>
                <a:gd name="connsiteY1" fmla="*/ 25977 h 42485"/>
                <a:gd name="connsiteX2" fmla="*/ 24286 w 42485"/>
                <a:gd name="connsiteY2" fmla="*/ 34474 h 42485"/>
                <a:gd name="connsiteX3" fmla="*/ 15789 w 42485"/>
                <a:gd name="connsiteY3" fmla="*/ 24561 h 42485"/>
                <a:gd name="connsiteX4" fmla="*/ 25703 w 42485"/>
                <a:gd name="connsiteY4" fmla="*/ 1606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3"/>
                  </a:moveTo>
                  <a:cubicBezTo>
                    <a:pt x="31367" y="16063"/>
                    <a:pt x="34200" y="20312"/>
                    <a:pt x="34200" y="25977"/>
                  </a:cubicBezTo>
                  <a:cubicBezTo>
                    <a:pt x="34200" y="31642"/>
                    <a:pt x="29951" y="34474"/>
                    <a:pt x="24286" y="34474"/>
                  </a:cubicBezTo>
                  <a:cubicBezTo>
                    <a:pt x="18622" y="34474"/>
                    <a:pt x="15789" y="30225"/>
                    <a:pt x="15789" y="24561"/>
                  </a:cubicBezTo>
                  <a:cubicBezTo>
                    <a:pt x="17205" y="18896"/>
                    <a:pt x="21454" y="14647"/>
                    <a:pt x="25703" y="1606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7" name="Freeform: Shape 2656">
              <a:extLst>
                <a:ext uri="{FF2B5EF4-FFF2-40B4-BE49-F238E27FC236}">
                  <a16:creationId xmlns:a16="http://schemas.microsoft.com/office/drawing/2014/main" id="{BAA19C26-AD5F-489A-B06F-9825ECC430B5}"/>
                </a:ext>
              </a:extLst>
            </p:cNvPr>
            <p:cNvSpPr/>
            <p:nvPr/>
          </p:nvSpPr>
          <p:spPr>
            <a:xfrm>
              <a:off x="6744405" y="4213139"/>
              <a:ext cx="42486" cy="42486"/>
            </a:xfrm>
            <a:custGeom>
              <a:avLst/>
              <a:gdLst>
                <a:gd name="connsiteX0" fmla="*/ 27119 w 42485"/>
                <a:gd name="connsiteY0" fmla="*/ 16009 h 42485"/>
                <a:gd name="connsiteX1" fmla="*/ 37032 w 42485"/>
                <a:gd name="connsiteY1" fmla="*/ 27338 h 42485"/>
                <a:gd name="connsiteX2" fmla="*/ 25703 w 42485"/>
                <a:gd name="connsiteY2" fmla="*/ 37252 h 42485"/>
                <a:gd name="connsiteX3" fmla="*/ 15789 w 42485"/>
                <a:gd name="connsiteY3" fmla="*/ 25923 h 42485"/>
                <a:gd name="connsiteX4" fmla="*/ 27119 w 42485"/>
                <a:gd name="connsiteY4" fmla="*/ 1600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09"/>
                  </a:moveTo>
                  <a:cubicBezTo>
                    <a:pt x="32783" y="16009"/>
                    <a:pt x="37032" y="21674"/>
                    <a:pt x="37032" y="27338"/>
                  </a:cubicBezTo>
                  <a:cubicBezTo>
                    <a:pt x="37032" y="33004"/>
                    <a:pt x="31367" y="37252"/>
                    <a:pt x="25703" y="37252"/>
                  </a:cubicBezTo>
                  <a:cubicBezTo>
                    <a:pt x="20038" y="37252"/>
                    <a:pt x="15789" y="31587"/>
                    <a:pt x="15789" y="25923"/>
                  </a:cubicBezTo>
                  <a:cubicBezTo>
                    <a:pt x="15789" y="20258"/>
                    <a:pt x="21454" y="14593"/>
                    <a:pt x="27119" y="1600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8" name="Freeform: Shape 2657">
              <a:extLst>
                <a:ext uri="{FF2B5EF4-FFF2-40B4-BE49-F238E27FC236}">
                  <a16:creationId xmlns:a16="http://schemas.microsoft.com/office/drawing/2014/main" id="{23177C6A-9035-4ACA-876E-C2987C040ED4}"/>
                </a:ext>
              </a:extLst>
            </p:cNvPr>
            <p:cNvSpPr/>
            <p:nvPr/>
          </p:nvSpPr>
          <p:spPr>
            <a:xfrm>
              <a:off x="6659299" y="4776868"/>
              <a:ext cx="70810" cy="70810"/>
            </a:xfrm>
            <a:custGeom>
              <a:avLst/>
              <a:gdLst>
                <a:gd name="connsiteX0" fmla="*/ 44247 w 70809"/>
                <a:gd name="connsiteY0" fmla="*/ 15923 h 70809"/>
                <a:gd name="connsiteX1" fmla="*/ 66907 w 70809"/>
                <a:gd name="connsiteY1" fmla="*/ 44247 h 70809"/>
                <a:gd name="connsiteX2" fmla="*/ 38583 w 70809"/>
                <a:gd name="connsiteY2" fmla="*/ 66906 h 70809"/>
                <a:gd name="connsiteX3" fmla="*/ 15924 w 70809"/>
                <a:gd name="connsiteY3" fmla="*/ 38583 h 70809"/>
                <a:gd name="connsiteX4" fmla="*/ 44247 w 70809"/>
                <a:gd name="connsiteY4" fmla="*/ 15923 h 70809"/>
                <a:gd name="connsiteX5" fmla="*/ 44247 w 70809"/>
                <a:gd name="connsiteY5" fmla="*/ 15923 h 70809"/>
                <a:gd name="connsiteX6" fmla="*/ 44247 w 70809"/>
                <a:gd name="connsiteY6" fmla="*/ 27253 h 70809"/>
                <a:gd name="connsiteX7" fmla="*/ 28669 w 70809"/>
                <a:gd name="connsiteY7" fmla="*/ 39999 h 70809"/>
                <a:gd name="connsiteX8" fmla="*/ 41415 w 70809"/>
                <a:gd name="connsiteY8" fmla="*/ 55577 h 70809"/>
                <a:gd name="connsiteX9" fmla="*/ 56993 w 70809"/>
                <a:gd name="connsiteY9" fmla="*/ 42831 h 70809"/>
                <a:gd name="connsiteX10" fmla="*/ 44247 w 70809"/>
                <a:gd name="connsiteY10" fmla="*/ 27253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247" y="15923"/>
                  </a:moveTo>
                  <a:cubicBezTo>
                    <a:pt x="58409" y="17340"/>
                    <a:pt x="68323" y="30085"/>
                    <a:pt x="66907" y="44247"/>
                  </a:cubicBezTo>
                  <a:cubicBezTo>
                    <a:pt x="65490" y="58409"/>
                    <a:pt x="52745" y="68323"/>
                    <a:pt x="38583" y="66906"/>
                  </a:cubicBezTo>
                  <a:cubicBezTo>
                    <a:pt x="24421" y="65490"/>
                    <a:pt x="14507" y="52745"/>
                    <a:pt x="15924" y="38583"/>
                  </a:cubicBezTo>
                  <a:cubicBezTo>
                    <a:pt x="17340" y="24421"/>
                    <a:pt x="30085" y="14508"/>
                    <a:pt x="44247" y="15923"/>
                  </a:cubicBezTo>
                  <a:lnTo>
                    <a:pt x="44247" y="15923"/>
                  </a:lnTo>
                  <a:close/>
                  <a:moveTo>
                    <a:pt x="44247" y="27253"/>
                  </a:moveTo>
                  <a:cubicBezTo>
                    <a:pt x="35750" y="25837"/>
                    <a:pt x="28669" y="32918"/>
                    <a:pt x="28669" y="39999"/>
                  </a:cubicBezTo>
                  <a:cubicBezTo>
                    <a:pt x="27253" y="48496"/>
                    <a:pt x="34334" y="55577"/>
                    <a:pt x="41415" y="55577"/>
                  </a:cubicBezTo>
                  <a:cubicBezTo>
                    <a:pt x="49912" y="56993"/>
                    <a:pt x="56993" y="49912"/>
                    <a:pt x="56993" y="42831"/>
                  </a:cubicBezTo>
                  <a:cubicBezTo>
                    <a:pt x="56993" y="34334"/>
                    <a:pt x="51328" y="27253"/>
                    <a:pt x="44247" y="2725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9" name="Freeform: Shape 2658">
              <a:extLst>
                <a:ext uri="{FF2B5EF4-FFF2-40B4-BE49-F238E27FC236}">
                  <a16:creationId xmlns:a16="http://schemas.microsoft.com/office/drawing/2014/main" id="{F39161A8-FC94-4815-A761-EAEC46806685}"/>
                </a:ext>
              </a:extLst>
            </p:cNvPr>
            <p:cNvSpPr/>
            <p:nvPr/>
          </p:nvSpPr>
          <p:spPr>
            <a:xfrm>
              <a:off x="6400151" y="4902924"/>
              <a:ext cx="84971" cy="84971"/>
            </a:xfrm>
            <a:custGeom>
              <a:avLst/>
              <a:gdLst>
                <a:gd name="connsiteX0" fmla="*/ 45649 w 84971"/>
                <a:gd name="connsiteY0" fmla="*/ 15909 h 84971"/>
                <a:gd name="connsiteX1" fmla="*/ 71140 w 84971"/>
                <a:gd name="connsiteY1" fmla="*/ 45648 h 84971"/>
                <a:gd name="connsiteX2" fmla="*/ 41400 w 84971"/>
                <a:gd name="connsiteY2" fmla="*/ 71140 h 84971"/>
                <a:gd name="connsiteX3" fmla="*/ 15909 w 84971"/>
                <a:gd name="connsiteY3" fmla="*/ 41400 h 84971"/>
                <a:gd name="connsiteX4" fmla="*/ 45649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9" y="15909"/>
                  </a:moveTo>
                  <a:cubicBezTo>
                    <a:pt x="61226" y="17324"/>
                    <a:pt x="72556" y="30070"/>
                    <a:pt x="71140" y="45648"/>
                  </a:cubicBezTo>
                  <a:cubicBezTo>
                    <a:pt x="69724" y="61226"/>
                    <a:pt x="56978" y="72556"/>
                    <a:pt x="41400" y="71140"/>
                  </a:cubicBezTo>
                  <a:cubicBezTo>
                    <a:pt x="25822" y="69724"/>
                    <a:pt x="14492" y="56978"/>
                    <a:pt x="15909" y="41400"/>
                  </a:cubicBezTo>
                  <a:cubicBezTo>
                    <a:pt x="17325" y="25822"/>
                    <a:pt x="31487" y="14492"/>
                    <a:pt x="45649" y="1590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0" name="Freeform: Shape 2659">
              <a:extLst>
                <a:ext uri="{FF2B5EF4-FFF2-40B4-BE49-F238E27FC236}">
                  <a16:creationId xmlns:a16="http://schemas.microsoft.com/office/drawing/2014/main" id="{06091AD0-DE0C-4507-89E8-A7522B6F5583}"/>
                </a:ext>
              </a:extLst>
            </p:cNvPr>
            <p:cNvSpPr/>
            <p:nvPr/>
          </p:nvSpPr>
          <p:spPr>
            <a:xfrm>
              <a:off x="6513566" y="5057409"/>
              <a:ext cx="56648" cy="56648"/>
            </a:xfrm>
            <a:custGeom>
              <a:avLst/>
              <a:gdLst>
                <a:gd name="connsiteX0" fmla="*/ 35616 w 56647"/>
                <a:gd name="connsiteY0" fmla="*/ 15789 h 56647"/>
                <a:gd name="connsiteX1" fmla="*/ 52610 w 56647"/>
                <a:gd name="connsiteY1" fmla="*/ 35616 h 56647"/>
                <a:gd name="connsiteX2" fmla="*/ 32783 w 56647"/>
                <a:gd name="connsiteY2" fmla="*/ 52610 h 56647"/>
                <a:gd name="connsiteX3" fmla="*/ 15789 w 56647"/>
                <a:gd name="connsiteY3" fmla="*/ 32783 h 56647"/>
                <a:gd name="connsiteX4" fmla="*/ 35616 w 56647"/>
                <a:gd name="connsiteY4" fmla="*/ 15789 h 56647"/>
                <a:gd name="connsiteX5" fmla="*/ 35616 w 56647"/>
                <a:gd name="connsiteY5" fmla="*/ 15789 h 56647"/>
                <a:gd name="connsiteX6" fmla="*/ 35616 w 56647"/>
                <a:gd name="connsiteY6" fmla="*/ 24286 h 56647"/>
                <a:gd name="connsiteX7" fmla="*/ 24286 w 56647"/>
                <a:gd name="connsiteY7" fmla="*/ 34199 h 56647"/>
                <a:gd name="connsiteX8" fmla="*/ 34199 w 56647"/>
                <a:gd name="connsiteY8" fmla="*/ 45529 h 56647"/>
                <a:gd name="connsiteX9" fmla="*/ 45529 w 56647"/>
                <a:gd name="connsiteY9" fmla="*/ 35616 h 56647"/>
                <a:gd name="connsiteX10" fmla="*/ 35616 w 56647"/>
                <a:gd name="connsiteY10" fmla="*/ 24286 h 5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647" h="56647">
                  <a:moveTo>
                    <a:pt x="35616" y="15789"/>
                  </a:moveTo>
                  <a:cubicBezTo>
                    <a:pt x="45529" y="17205"/>
                    <a:pt x="52610" y="25702"/>
                    <a:pt x="52610" y="35616"/>
                  </a:cubicBezTo>
                  <a:cubicBezTo>
                    <a:pt x="51194" y="45529"/>
                    <a:pt x="42697" y="52610"/>
                    <a:pt x="32783" y="52610"/>
                  </a:cubicBezTo>
                  <a:cubicBezTo>
                    <a:pt x="22870" y="51194"/>
                    <a:pt x="15789" y="42697"/>
                    <a:pt x="15789" y="32783"/>
                  </a:cubicBezTo>
                  <a:cubicBezTo>
                    <a:pt x="17205" y="22870"/>
                    <a:pt x="25702" y="15789"/>
                    <a:pt x="35616" y="15789"/>
                  </a:cubicBezTo>
                  <a:lnTo>
                    <a:pt x="35616" y="15789"/>
                  </a:lnTo>
                  <a:close/>
                  <a:moveTo>
                    <a:pt x="35616" y="24286"/>
                  </a:moveTo>
                  <a:cubicBezTo>
                    <a:pt x="29951" y="24286"/>
                    <a:pt x="24286" y="28535"/>
                    <a:pt x="24286" y="34199"/>
                  </a:cubicBezTo>
                  <a:cubicBezTo>
                    <a:pt x="24286" y="39864"/>
                    <a:pt x="28535" y="45529"/>
                    <a:pt x="34199" y="45529"/>
                  </a:cubicBezTo>
                  <a:cubicBezTo>
                    <a:pt x="39864" y="45529"/>
                    <a:pt x="45529" y="41280"/>
                    <a:pt x="45529" y="35616"/>
                  </a:cubicBezTo>
                  <a:cubicBezTo>
                    <a:pt x="45529" y="29951"/>
                    <a:pt x="41280" y="24286"/>
                    <a:pt x="35616"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1" name="Freeform: Shape 2660">
              <a:extLst>
                <a:ext uri="{FF2B5EF4-FFF2-40B4-BE49-F238E27FC236}">
                  <a16:creationId xmlns:a16="http://schemas.microsoft.com/office/drawing/2014/main" id="{C5B5CA0D-E180-41BB-8DA3-F78391BC7C1C}"/>
                </a:ext>
              </a:extLst>
            </p:cNvPr>
            <p:cNvSpPr/>
            <p:nvPr/>
          </p:nvSpPr>
          <p:spPr>
            <a:xfrm>
              <a:off x="6563132" y="4643881"/>
              <a:ext cx="56648" cy="56648"/>
            </a:xfrm>
            <a:custGeom>
              <a:avLst/>
              <a:gdLst>
                <a:gd name="connsiteX0" fmla="*/ 31367 w 56647"/>
                <a:gd name="connsiteY0" fmla="*/ 15789 h 56647"/>
                <a:gd name="connsiteX1" fmla="*/ 44113 w 56647"/>
                <a:gd name="connsiteY1" fmla="*/ 31367 h 56647"/>
                <a:gd name="connsiteX2" fmla="*/ 28535 w 56647"/>
                <a:gd name="connsiteY2" fmla="*/ 44113 h 56647"/>
                <a:gd name="connsiteX3" fmla="*/ 15789 w 56647"/>
                <a:gd name="connsiteY3" fmla="*/ 28535 h 56647"/>
                <a:gd name="connsiteX4" fmla="*/ 31367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5789"/>
                  </a:moveTo>
                  <a:cubicBezTo>
                    <a:pt x="38448" y="15789"/>
                    <a:pt x="44113" y="22870"/>
                    <a:pt x="44113" y="31367"/>
                  </a:cubicBezTo>
                  <a:cubicBezTo>
                    <a:pt x="44113" y="39864"/>
                    <a:pt x="37032" y="44113"/>
                    <a:pt x="28535" y="44113"/>
                  </a:cubicBezTo>
                  <a:cubicBezTo>
                    <a:pt x="21454" y="44113"/>
                    <a:pt x="15789" y="37032"/>
                    <a:pt x="15789" y="28535"/>
                  </a:cubicBezTo>
                  <a:cubicBezTo>
                    <a:pt x="17205" y="21454"/>
                    <a:pt x="24286" y="15789"/>
                    <a:pt x="31367"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2" name="Freeform: Shape 2661">
              <a:extLst>
                <a:ext uri="{FF2B5EF4-FFF2-40B4-BE49-F238E27FC236}">
                  <a16:creationId xmlns:a16="http://schemas.microsoft.com/office/drawing/2014/main" id="{AF2502E6-0F18-4526-96FE-878B521DB7D7}"/>
                </a:ext>
              </a:extLst>
            </p:cNvPr>
            <p:cNvSpPr/>
            <p:nvPr/>
          </p:nvSpPr>
          <p:spPr>
            <a:xfrm>
              <a:off x="6826544" y="4834850"/>
              <a:ext cx="56648" cy="56648"/>
            </a:xfrm>
            <a:custGeom>
              <a:avLst/>
              <a:gdLst>
                <a:gd name="connsiteX0" fmla="*/ 31367 w 56647"/>
                <a:gd name="connsiteY0" fmla="*/ 16006 h 56647"/>
                <a:gd name="connsiteX1" fmla="*/ 44113 w 56647"/>
                <a:gd name="connsiteY1" fmla="*/ 31584 h 56647"/>
                <a:gd name="connsiteX2" fmla="*/ 28535 w 56647"/>
                <a:gd name="connsiteY2" fmla="*/ 44330 h 56647"/>
                <a:gd name="connsiteX3" fmla="*/ 15789 w 56647"/>
                <a:gd name="connsiteY3" fmla="*/ 28752 h 56647"/>
                <a:gd name="connsiteX4" fmla="*/ 31367 w 56647"/>
                <a:gd name="connsiteY4" fmla="*/ 16006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6006"/>
                  </a:moveTo>
                  <a:cubicBezTo>
                    <a:pt x="38448" y="16006"/>
                    <a:pt x="44113" y="23087"/>
                    <a:pt x="44113" y="31584"/>
                  </a:cubicBezTo>
                  <a:cubicBezTo>
                    <a:pt x="42697" y="38665"/>
                    <a:pt x="37032" y="44330"/>
                    <a:pt x="28535" y="44330"/>
                  </a:cubicBezTo>
                  <a:cubicBezTo>
                    <a:pt x="21454" y="44330"/>
                    <a:pt x="15789" y="37249"/>
                    <a:pt x="15789" y="28752"/>
                  </a:cubicBezTo>
                  <a:cubicBezTo>
                    <a:pt x="17205" y="20255"/>
                    <a:pt x="24286" y="14590"/>
                    <a:pt x="31367" y="1600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3" name="Freeform: Shape 2662">
              <a:extLst>
                <a:ext uri="{FF2B5EF4-FFF2-40B4-BE49-F238E27FC236}">
                  <a16:creationId xmlns:a16="http://schemas.microsoft.com/office/drawing/2014/main" id="{344A3CFA-9A5B-417E-9EDB-6EEDD5A7FB53}"/>
                </a:ext>
              </a:extLst>
            </p:cNvPr>
            <p:cNvSpPr/>
            <p:nvPr/>
          </p:nvSpPr>
          <p:spPr>
            <a:xfrm>
              <a:off x="6720175" y="4652223"/>
              <a:ext cx="56648" cy="56648"/>
            </a:xfrm>
            <a:custGeom>
              <a:avLst/>
              <a:gdLst>
                <a:gd name="connsiteX0" fmla="*/ 35771 w 56647"/>
                <a:gd name="connsiteY0" fmla="*/ 15944 h 56647"/>
                <a:gd name="connsiteX1" fmla="*/ 52765 w 56647"/>
                <a:gd name="connsiteY1" fmla="*/ 35771 h 56647"/>
                <a:gd name="connsiteX2" fmla="*/ 32938 w 56647"/>
                <a:gd name="connsiteY2" fmla="*/ 52765 h 56647"/>
                <a:gd name="connsiteX3" fmla="*/ 15944 w 56647"/>
                <a:gd name="connsiteY3" fmla="*/ 32938 h 56647"/>
                <a:gd name="connsiteX4" fmla="*/ 35771 w 56647"/>
                <a:gd name="connsiteY4" fmla="*/ 1594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44"/>
                  </a:moveTo>
                  <a:cubicBezTo>
                    <a:pt x="45684" y="17360"/>
                    <a:pt x="54181" y="25858"/>
                    <a:pt x="52765" y="35771"/>
                  </a:cubicBezTo>
                  <a:cubicBezTo>
                    <a:pt x="51349" y="45684"/>
                    <a:pt x="42852" y="54181"/>
                    <a:pt x="32938" y="52765"/>
                  </a:cubicBezTo>
                  <a:cubicBezTo>
                    <a:pt x="23025" y="51349"/>
                    <a:pt x="14528" y="42852"/>
                    <a:pt x="15944" y="32938"/>
                  </a:cubicBezTo>
                  <a:cubicBezTo>
                    <a:pt x="15944" y="23025"/>
                    <a:pt x="24441" y="14528"/>
                    <a:pt x="35771" y="1594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4" name="Freeform: Shape 2663">
              <a:extLst>
                <a:ext uri="{FF2B5EF4-FFF2-40B4-BE49-F238E27FC236}">
                  <a16:creationId xmlns:a16="http://schemas.microsoft.com/office/drawing/2014/main" id="{BA9B0313-7AC3-405A-B091-F3CF90948D1B}"/>
                </a:ext>
              </a:extLst>
            </p:cNvPr>
            <p:cNvSpPr/>
            <p:nvPr/>
          </p:nvSpPr>
          <p:spPr>
            <a:xfrm>
              <a:off x="6393034" y="5315000"/>
              <a:ext cx="56648" cy="56648"/>
            </a:xfrm>
            <a:custGeom>
              <a:avLst/>
              <a:gdLst>
                <a:gd name="connsiteX0" fmla="*/ 35771 w 56647"/>
                <a:gd name="connsiteY0" fmla="*/ 15944 h 56647"/>
                <a:gd name="connsiteX1" fmla="*/ 52765 w 56647"/>
                <a:gd name="connsiteY1" fmla="*/ 35771 h 56647"/>
                <a:gd name="connsiteX2" fmla="*/ 32938 w 56647"/>
                <a:gd name="connsiteY2" fmla="*/ 52765 h 56647"/>
                <a:gd name="connsiteX3" fmla="*/ 15944 w 56647"/>
                <a:gd name="connsiteY3" fmla="*/ 32938 h 56647"/>
                <a:gd name="connsiteX4" fmla="*/ 35771 w 56647"/>
                <a:gd name="connsiteY4" fmla="*/ 1594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44"/>
                  </a:moveTo>
                  <a:cubicBezTo>
                    <a:pt x="45684" y="17360"/>
                    <a:pt x="54181" y="25857"/>
                    <a:pt x="52765" y="35771"/>
                  </a:cubicBezTo>
                  <a:cubicBezTo>
                    <a:pt x="51349" y="45684"/>
                    <a:pt x="42852" y="54181"/>
                    <a:pt x="32938" y="52765"/>
                  </a:cubicBezTo>
                  <a:cubicBezTo>
                    <a:pt x="23025" y="51349"/>
                    <a:pt x="14528" y="42852"/>
                    <a:pt x="15944" y="32938"/>
                  </a:cubicBezTo>
                  <a:cubicBezTo>
                    <a:pt x="15944" y="23025"/>
                    <a:pt x="24441" y="14528"/>
                    <a:pt x="35771" y="1594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5" name="Freeform: Shape 2664">
              <a:extLst>
                <a:ext uri="{FF2B5EF4-FFF2-40B4-BE49-F238E27FC236}">
                  <a16:creationId xmlns:a16="http://schemas.microsoft.com/office/drawing/2014/main" id="{698F93C7-B603-40C6-906A-EC12C4CC872F}"/>
                </a:ext>
              </a:extLst>
            </p:cNvPr>
            <p:cNvSpPr/>
            <p:nvPr/>
          </p:nvSpPr>
          <p:spPr>
            <a:xfrm>
              <a:off x="6337958" y="5203005"/>
              <a:ext cx="42486" cy="42486"/>
            </a:xfrm>
            <a:custGeom>
              <a:avLst/>
              <a:gdLst>
                <a:gd name="connsiteX0" fmla="*/ 27118 w 42485"/>
                <a:gd name="connsiteY0" fmla="*/ 16060 h 42485"/>
                <a:gd name="connsiteX1" fmla="*/ 37032 w 42485"/>
                <a:gd name="connsiteY1" fmla="*/ 27390 h 42485"/>
                <a:gd name="connsiteX2" fmla="*/ 25702 w 42485"/>
                <a:gd name="connsiteY2" fmla="*/ 37303 h 42485"/>
                <a:gd name="connsiteX3" fmla="*/ 15789 w 42485"/>
                <a:gd name="connsiteY3" fmla="*/ 25974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5"/>
                    <a:pt x="31367" y="37303"/>
                    <a:pt x="25702" y="37303"/>
                  </a:cubicBezTo>
                  <a:cubicBezTo>
                    <a:pt x="20037" y="37303"/>
                    <a:pt x="15789" y="31639"/>
                    <a:pt x="15789" y="25974"/>
                  </a:cubicBezTo>
                  <a:cubicBezTo>
                    <a:pt x="17205" y="18893"/>
                    <a:pt x="21454" y="14644"/>
                    <a:pt x="27118"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6" name="Freeform: Shape 2665">
              <a:extLst>
                <a:ext uri="{FF2B5EF4-FFF2-40B4-BE49-F238E27FC236}">
                  <a16:creationId xmlns:a16="http://schemas.microsoft.com/office/drawing/2014/main" id="{EECF00D8-79D0-4452-8755-EE3F552A874E}"/>
                </a:ext>
              </a:extLst>
            </p:cNvPr>
            <p:cNvSpPr/>
            <p:nvPr/>
          </p:nvSpPr>
          <p:spPr>
            <a:xfrm>
              <a:off x="6615531" y="5108392"/>
              <a:ext cx="56648" cy="56648"/>
            </a:xfrm>
            <a:custGeom>
              <a:avLst/>
              <a:gdLst>
                <a:gd name="connsiteX0" fmla="*/ 35616 w 56647"/>
                <a:gd name="connsiteY0" fmla="*/ 15789 h 56647"/>
                <a:gd name="connsiteX1" fmla="*/ 52610 w 56647"/>
                <a:gd name="connsiteY1" fmla="*/ 35616 h 56647"/>
                <a:gd name="connsiteX2" fmla="*/ 32783 w 56647"/>
                <a:gd name="connsiteY2" fmla="*/ 52610 h 56647"/>
                <a:gd name="connsiteX3" fmla="*/ 15789 w 56647"/>
                <a:gd name="connsiteY3" fmla="*/ 32783 h 56647"/>
                <a:gd name="connsiteX4" fmla="*/ 35616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616" y="15789"/>
                  </a:moveTo>
                  <a:cubicBezTo>
                    <a:pt x="45529" y="17205"/>
                    <a:pt x="52610" y="25702"/>
                    <a:pt x="52610" y="35616"/>
                  </a:cubicBezTo>
                  <a:cubicBezTo>
                    <a:pt x="51194" y="45529"/>
                    <a:pt x="42697" y="52610"/>
                    <a:pt x="32783" y="52610"/>
                  </a:cubicBezTo>
                  <a:cubicBezTo>
                    <a:pt x="22870" y="51194"/>
                    <a:pt x="15789" y="42697"/>
                    <a:pt x="15789" y="32783"/>
                  </a:cubicBezTo>
                  <a:cubicBezTo>
                    <a:pt x="17205" y="22870"/>
                    <a:pt x="25703" y="15789"/>
                    <a:pt x="35616"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7" name="Freeform: Shape 2666">
              <a:extLst>
                <a:ext uri="{FF2B5EF4-FFF2-40B4-BE49-F238E27FC236}">
                  <a16:creationId xmlns:a16="http://schemas.microsoft.com/office/drawing/2014/main" id="{B065CE73-052A-43D9-BA15-F37792B947F9}"/>
                </a:ext>
              </a:extLst>
            </p:cNvPr>
            <p:cNvSpPr/>
            <p:nvPr/>
          </p:nvSpPr>
          <p:spPr>
            <a:xfrm>
              <a:off x="6295338" y="4939730"/>
              <a:ext cx="70810" cy="70810"/>
            </a:xfrm>
            <a:custGeom>
              <a:avLst/>
              <a:gdLst>
                <a:gd name="connsiteX0" fmla="*/ 44247 w 70809"/>
                <a:gd name="connsiteY0" fmla="*/ 15923 h 70809"/>
                <a:gd name="connsiteX1" fmla="*/ 66906 w 70809"/>
                <a:gd name="connsiteY1" fmla="*/ 44247 h 70809"/>
                <a:gd name="connsiteX2" fmla="*/ 38582 w 70809"/>
                <a:gd name="connsiteY2" fmla="*/ 66906 h 70809"/>
                <a:gd name="connsiteX3" fmla="*/ 15924 w 70809"/>
                <a:gd name="connsiteY3" fmla="*/ 38583 h 70809"/>
                <a:gd name="connsiteX4" fmla="*/ 44247 w 70809"/>
                <a:gd name="connsiteY4" fmla="*/ 15923 h 70809"/>
                <a:gd name="connsiteX5" fmla="*/ 44247 w 70809"/>
                <a:gd name="connsiteY5" fmla="*/ 15923 h 70809"/>
                <a:gd name="connsiteX6" fmla="*/ 42831 w 70809"/>
                <a:gd name="connsiteY6" fmla="*/ 27253 h 70809"/>
                <a:gd name="connsiteX7" fmla="*/ 27253 w 70809"/>
                <a:gd name="connsiteY7" fmla="*/ 39999 h 70809"/>
                <a:gd name="connsiteX8" fmla="*/ 39999 w 70809"/>
                <a:gd name="connsiteY8" fmla="*/ 55577 h 70809"/>
                <a:gd name="connsiteX9" fmla="*/ 55577 w 70809"/>
                <a:gd name="connsiteY9" fmla="*/ 42831 h 70809"/>
                <a:gd name="connsiteX10" fmla="*/ 42831 w 70809"/>
                <a:gd name="connsiteY10" fmla="*/ 27253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247" y="15923"/>
                  </a:moveTo>
                  <a:cubicBezTo>
                    <a:pt x="58409" y="17340"/>
                    <a:pt x="68322" y="30085"/>
                    <a:pt x="66906" y="44247"/>
                  </a:cubicBezTo>
                  <a:cubicBezTo>
                    <a:pt x="65490" y="58409"/>
                    <a:pt x="52744" y="68323"/>
                    <a:pt x="38582" y="66906"/>
                  </a:cubicBezTo>
                  <a:cubicBezTo>
                    <a:pt x="24420" y="65490"/>
                    <a:pt x="14507" y="52745"/>
                    <a:pt x="15924" y="38583"/>
                  </a:cubicBezTo>
                  <a:cubicBezTo>
                    <a:pt x="17339" y="24421"/>
                    <a:pt x="30085" y="14508"/>
                    <a:pt x="44247" y="15923"/>
                  </a:cubicBezTo>
                  <a:lnTo>
                    <a:pt x="44247" y="15923"/>
                  </a:lnTo>
                  <a:close/>
                  <a:moveTo>
                    <a:pt x="42831" y="27253"/>
                  </a:moveTo>
                  <a:cubicBezTo>
                    <a:pt x="34334" y="25837"/>
                    <a:pt x="27253" y="32918"/>
                    <a:pt x="27253" y="39999"/>
                  </a:cubicBezTo>
                  <a:cubicBezTo>
                    <a:pt x="25837" y="48496"/>
                    <a:pt x="32918" y="55577"/>
                    <a:pt x="39999" y="55577"/>
                  </a:cubicBezTo>
                  <a:cubicBezTo>
                    <a:pt x="48496" y="56993"/>
                    <a:pt x="55577" y="49912"/>
                    <a:pt x="55577" y="42831"/>
                  </a:cubicBezTo>
                  <a:cubicBezTo>
                    <a:pt x="56993" y="34334"/>
                    <a:pt x="51328" y="27253"/>
                    <a:pt x="42831" y="2725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8" name="Freeform: Shape 2667">
              <a:extLst>
                <a:ext uri="{FF2B5EF4-FFF2-40B4-BE49-F238E27FC236}">
                  <a16:creationId xmlns:a16="http://schemas.microsoft.com/office/drawing/2014/main" id="{3F78315D-8996-43E6-B0CB-4664630A6CB6}"/>
                </a:ext>
              </a:extLst>
            </p:cNvPr>
            <p:cNvSpPr/>
            <p:nvPr/>
          </p:nvSpPr>
          <p:spPr>
            <a:xfrm>
              <a:off x="6551803" y="4888882"/>
              <a:ext cx="56648" cy="56648"/>
            </a:xfrm>
            <a:custGeom>
              <a:avLst/>
              <a:gdLst>
                <a:gd name="connsiteX0" fmla="*/ 31367 w 56647"/>
                <a:gd name="connsiteY0" fmla="*/ 15789 h 56647"/>
                <a:gd name="connsiteX1" fmla="*/ 44113 w 56647"/>
                <a:gd name="connsiteY1" fmla="*/ 31367 h 56647"/>
                <a:gd name="connsiteX2" fmla="*/ 28535 w 56647"/>
                <a:gd name="connsiteY2" fmla="*/ 44113 h 56647"/>
                <a:gd name="connsiteX3" fmla="*/ 15789 w 56647"/>
                <a:gd name="connsiteY3" fmla="*/ 28535 h 56647"/>
                <a:gd name="connsiteX4" fmla="*/ 31367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5789"/>
                  </a:moveTo>
                  <a:cubicBezTo>
                    <a:pt x="38448" y="15789"/>
                    <a:pt x="44113" y="22870"/>
                    <a:pt x="44113" y="31367"/>
                  </a:cubicBezTo>
                  <a:cubicBezTo>
                    <a:pt x="44113" y="38448"/>
                    <a:pt x="37032" y="44113"/>
                    <a:pt x="28535" y="44113"/>
                  </a:cubicBezTo>
                  <a:cubicBezTo>
                    <a:pt x="21454" y="44113"/>
                    <a:pt x="15789" y="37032"/>
                    <a:pt x="15789" y="28535"/>
                  </a:cubicBezTo>
                  <a:cubicBezTo>
                    <a:pt x="17205" y="21454"/>
                    <a:pt x="24286" y="15789"/>
                    <a:pt x="31367"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9" name="Freeform: Shape 2668">
              <a:extLst>
                <a:ext uri="{FF2B5EF4-FFF2-40B4-BE49-F238E27FC236}">
                  <a16:creationId xmlns:a16="http://schemas.microsoft.com/office/drawing/2014/main" id="{0EDEB90E-3398-44F4-97D5-72D29B619EEC}"/>
                </a:ext>
              </a:extLst>
            </p:cNvPr>
            <p:cNvSpPr/>
            <p:nvPr/>
          </p:nvSpPr>
          <p:spPr>
            <a:xfrm>
              <a:off x="6527608" y="5176235"/>
              <a:ext cx="84971" cy="84971"/>
            </a:xfrm>
            <a:custGeom>
              <a:avLst/>
              <a:gdLst>
                <a:gd name="connsiteX0" fmla="*/ 45649 w 84971"/>
                <a:gd name="connsiteY0" fmla="*/ 15923 h 84971"/>
                <a:gd name="connsiteX1" fmla="*/ 71140 w 84971"/>
                <a:gd name="connsiteY1" fmla="*/ 45663 h 84971"/>
                <a:gd name="connsiteX2" fmla="*/ 41400 w 84971"/>
                <a:gd name="connsiteY2" fmla="*/ 71154 h 84971"/>
                <a:gd name="connsiteX3" fmla="*/ 15909 w 84971"/>
                <a:gd name="connsiteY3" fmla="*/ 41414 h 84971"/>
                <a:gd name="connsiteX4" fmla="*/ 45649 w 84971"/>
                <a:gd name="connsiteY4" fmla="*/ 15923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9" y="15923"/>
                  </a:moveTo>
                  <a:cubicBezTo>
                    <a:pt x="61226" y="17339"/>
                    <a:pt x="72556" y="30085"/>
                    <a:pt x="71140" y="45663"/>
                  </a:cubicBezTo>
                  <a:cubicBezTo>
                    <a:pt x="69724" y="61241"/>
                    <a:pt x="56978" y="72570"/>
                    <a:pt x="41400" y="71154"/>
                  </a:cubicBezTo>
                  <a:cubicBezTo>
                    <a:pt x="25822" y="69738"/>
                    <a:pt x="14492" y="56992"/>
                    <a:pt x="15909" y="41414"/>
                  </a:cubicBezTo>
                  <a:cubicBezTo>
                    <a:pt x="17325" y="24420"/>
                    <a:pt x="31487" y="14507"/>
                    <a:pt x="45649" y="1592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0" name="Freeform: Shape 2669">
              <a:extLst>
                <a:ext uri="{FF2B5EF4-FFF2-40B4-BE49-F238E27FC236}">
                  <a16:creationId xmlns:a16="http://schemas.microsoft.com/office/drawing/2014/main" id="{4A5463FA-C262-49DA-804A-0B4DD7DFB4FF}"/>
                </a:ext>
              </a:extLst>
            </p:cNvPr>
            <p:cNvSpPr/>
            <p:nvPr/>
          </p:nvSpPr>
          <p:spPr>
            <a:xfrm>
              <a:off x="6259948" y="5041711"/>
              <a:ext cx="84971" cy="84971"/>
            </a:xfrm>
            <a:custGeom>
              <a:avLst/>
              <a:gdLst>
                <a:gd name="connsiteX0" fmla="*/ 45648 w 84971"/>
                <a:gd name="connsiteY0" fmla="*/ 15909 h 84971"/>
                <a:gd name="connsiteX1" fmla="*/ 71140 w 84971"/>
                <a:gd name="connsiteY1" fmla="*/ 45649 h 84971"/>
                <a:gd name="connsiteX2" fmla="*/ 41400 w 84971"/>
                <a:gd name="connsiteY2" fmla="*/ 71140 h 84971"/>
                <a:gd name="connsiteX3" fmla="*/ 15909 w 84971"/>
                <a:gd name="connsiteY3" fmla="*/ 41400 h 84971"/>
                <a:gd name="connsiteX4" fmla="*/ 45648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8" y="15909"/>
                  </a:moveTo>
                  <a:cubicBezTo>
                    <a:pt x="61226" y="17325"/>
                    <a:pt x="72556" y="30070"/>
                    <a:pt x="71140" y="45649"/>
                  </a:cubicBezTo>
                  <a:cubicBezTo>
                    <a:pt x="69724" y="61227"/>
                    <a:pt x="56978" y="72556"/>
                    <a:pt x="41400" y="71140"/>
                  </a:cubicBezTo>
                  <a:cubicBezTo>
                    <a:pt x="25822" y="69724"/>
                    <a:pt x="14492" y="56978"/>
                    <a:pt x="15909" y="41400"/>
                  </a:cubicBezTo>
                  <a:cubicBezTo>
                    <a:pt x="15909" y="25822"/>
                    <a:pt x="30070" y="14492"/>
                    <a:pt x="45648" y="1590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1" name="Freeform: Shape 2670">
              <a:extLst>
                <a:ext uri="{FF2B5EF4-FFF2-40B4-BE49-F238E27FC236}">
                  <a16:creationId xmlns:a16="http://schemas.microsoft.com/office/drawing/2014/main" id="{F098095B-FCEA-441D-B435-05A6B93D9DDD}"/>
                </a:ext>
              </a:extLst>
            </p:cNvPr>
            <p:cNvSpPr/>
            <p:nvPr/>
          </p:nvSpPr>
          <p:spPr>
            <a:xfrm>
              <a:off x="6762815" y="5012090"/>
              <a:ext cx="42486" cy="42486"/>
            </a:xfrm>
            <a:custGeom>
              <a:avLst/>
              <a:gdLst>
                <a:gd name="connsiteX0" fmla="*/ 27118 w 42485"/>
                <a:gd name="connsiteY0" fmla="*/ 15789 h 42485"/>
                <a:gd name="connsiteX1" fmla="*/ 37032 w 42485"/>
                <a:gd name="connsiteY1" fmla="*/ 27119 h 42485"/>
                <a:gd name="connsiteX2" fmla="*/ 25702 w 42485"/>
                <a:gd name="connsiteY2" fmla="*/ 37032 h 42485"/>
                <a:gd name="connsiteX3" fmla="*/ 15789 w 42485"/>
                <a:gd name="connsiteY3" fmla="*/ 25703 h 42485"/>
                <a:gd name="connsiteX4" fmla="*/ 2711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5789"/>
                  </a:moveTo>
                  <a:cubicBezTo>
                    <a:pt x="32783" y="15789"/>
                    <a:pt x="37032" y="21454"/>
                    <a:pt x="37032" y="27119"/>
                  </a:cubicBezTo>
                  <a:cubicBezTo>
                    <a:pt x="37032" y="32783"/>
                    <a:pt x="31367" y="37032"/>
                    <a:pt x="25702" y="37032"/>
                  </a:cubicBezTo>
                  <a:cubicBezTo>
                    <a:pt x="20037" y="37032"/>
                    <a:pt x="15789" y="31367"/>
                    <a:pt x="15789" y="25703"/>
                  </a:cubicBezTo>
                  <a:cubicBezTo>
                    <a:pt x="15789" y="20038"/>
                    <a:pt x="20037" y="15789"/>
                    <a:pt x="2711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2" name="Freeform: Shape 2671">
              <a:extLst>
                <a:ext uri="{FF2B5EF4-FFF2-40B4-BE49-F238E27FC236}">
                  <a16:creationId xmlns:a16="http://schemas.microsoft.com/office/drawing/2014/main" id="{CF42C029-5A57-4A0D-9183-C6573E47595A}"/>
                </a:ext>
              </a:extLst>
            </p:cNvPr>
            <p:cNvSpPr/>
            <p:nvPr/>
          </p:nvSpPr>
          <p:spPr>
            <a:xfrm>
              <a:off x="7242750" y="4622484"/>
              <a:ext cx="70810" cy="70810"/>
            </a:xfrm>
            <a:custGeom>
              <a:avLst/>
              <a:gdLst>
                <a:gd name="connsiteX0" fmla="*/ 40018 w 70809"/>
                <a:gd name="connsiteY0" fmla="*/ 15943 h 70809"/>
                <a:gd name="connsiteX1" fmla="*/ 59845 w 70809"/>
                <a:gd name="connsiteY1" fmla="*/ 40018 h 70809"/>
                <a:gd name="connsiteX2" fmla="*/ 35769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3"/>
                    <a:pt x="59845" y="40018"/>
                  </a:cubicBezTo>
                  <a:cubicBezTo>
                    <a:pt x="58429" y="52764"/>
                    <a:pt x="48515" y="61261"/>
                    <a:pt x="35769" y="59845"/>
                  </a:cubicBezTo>
                  <a:cubicBezTo>
                    <a:pt x="23024" y="58429"/>
                    <a:pt x="14527" y="48516"/>
                    <a:pt x="15943" y="35769"/>
                  </a:cubicBezTo>
                  <a:cubicBezTo>
                    <a:pt x="17359" y="23024"/>
                    <a:pt x="28689" y="14527"/>
                    <a:pt x="40018" y="159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3" name="Freeform: Shape 2672">
              <a:extLst>
                <a:ext uri="{FF2B5EF4-FFF2-40B4-BE49-F238E27FC236}">
                  <a16:creationId xmlns:a16="http://schemas.microsoft.com/office/drawing/2014/main" id="{6D1D1F46-7CFC-406D-9648-C8C983D87323}"/>
                </a:ext>
              </a:extLst>
            </p:cNvPr>
            <p:cNvSpPr/>
            <p:nvPr/>
          </p:nvSpPr>
          <p:spPr>
            <a:xfrm>
              <a:off x="7089955" y="4949507"/>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4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5"/>
                    <a:pt x="31367" y="37303"/>
                    <a:pt x="25703" y="37303"/>
                  </a:cubicBezTo>
                  <a:cubicBezTo>
                    <a:pt x="20038" y="37303"/>
                    <a:pt x="15789" y="31639"/>
                    <a:pt x="15789" y="25974"/>
                  </a:cubicBezTo>
                  <a:cubicBezTo>
                    <a:pt x="15789" y="18893"/>
                    <a:pt x="21454" y="14644"/>
                    <a:pt x="27119"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4" name="Freeform: Shape 2673">
              <a:extLst>
                <a:ext uri="{FF2B5EF4-FFF2-40B4-BE49-F238E27FC236}">
                  <a16:creationId xmlns:a16="http://schemas.microsoft.com/office/drawing/2014/main" id="{C01E6685-A893-4D52-B301-27F8984E2C86}"/>
                </a:ext>
              </a:extLst>
            </p:cNvPr>
            <p:cNvSpPr/>
            <p:nvPr/>
          </p:nvSpPr>
          <p:spPr>
            <a:xfrm>
              <a:off x="7220245" y="4841876"/>
              <a:ext cx="42486" cy="42486"/>
            </a:xfrm>
            <a:custGeom>
              <a:avLst/>
              <a:gdLst>
                <a:gd name="connsiteX0" fmla="*/ 27118 w 42485"/>
                <a:gd name="connsiteY0" fmla="*/ 16060 h 42485"/>
                <a:gd name="connsiteX1" fmla="*/ 37032 w 42485"/>
                <a:gd name="connsiteY1" fmla="*/ 27390 h 42485"/>
                <a:gd name="connsiteX2" fmla="*/ 25703 w 42485"/>
                <a:gd name="connsiteY2" fmla="*/ 37303 h 42485"/>
                <a:gd name="connsiteX3" fmla="*/ 15789 w 42485"/>
                <a:gd name="connsiteY3" fmla="*/ 25974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5"/>
                    <a:pt x="31367" y="37303"/>
                    <a:pt x="25703" y="37303"/>
                  </a:cubicBezTo>
                  <a:cubicBezTo>
                    <a:pt x="20037" y="37303"/>
                    <a:pt x="15789" y="31639"/>
                    <a:pt x="15789" y="25974"/>
                  </a:cubicBezTo>
                  <a:cubicBezTo>
                    <a:pt x="15789" y="18893"/>
                    <a:pt x="21454" y="14644"/>
                    <a:pt x="27118"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5" name="Freeform: Shape 2674">
              <a:extLst>
                <a:ext uri="{FF2B5EF4-FFF2-40B4-BE49-F238E27FC236}">
                  <a16:creationId xmlns:a16="http://schemas.microsoft.com/office/drawing/2014/main" id="{1E8D6866-241D-4E6F-82D7-D07556F906D3}"/>
                </a:ext>
              </a:extLst>
            </p:cNvPr>
            <p:cNvSpPr/>
            <p:nvPr/>
          </p:nvSpPr>
          <p:spPr>
            <a:xfrm>
              <a:off x="7136535" y="4742859"/>
              <a:ext cx="56648" cy="56648"/>
            </a:xfrm>
            <a:custGeom>
              <a:avLst/>
              <a:gdLst>
                <a:gd name="connsiteX0" fmla="*/ 35771 w 56647"/>
                <a:gd name="connsiteY0" fmla="*/ 15944 h 56647"/>
                <a:gd name="connsiteX1" fmla="*/ 52765 w 56647"/>
                <a:gd name="connsiteY1" fmla="*/ 35771 h 56647"/>
                <a:gd name="connsiteX2" fmla="*/ 32938 w 56647"/>
                <a:gd name="connsiteY2" fmla="*/ 52765 h 56647"/>
                <a:gd name="connsiteX3" fmla="*/ 15944 w 56647"/>
                <a:gd name="connsiteY3" fmla="*/ 32938 h 56647"/>
                <a:gd name="connsiteX4" fmla="*/ 35771 w 56647"/>
                <a:gd name="connsiteY4" fmla="*/ 1594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44"/>
                  </a:moveTo>
                  <a:cubicBezTo>
                    <a:pt x="45684" y="17360"/>
                    <a:pt x="54181" y="25858"/>
                    <a:pt x="52765" y="35771"/>
                  </a:cubicBezTo>
                  <a:cubicBezTo>
                    <a:pt x="51349" y="45684"/>
                    <a:pt x="42852" y="54181"/>
                    <a:pt x="32938" y="52765"/>
                  </a:cubicBezTo>
                  <a:cubicBezTo>
                    <a:pt x="23025" y="51349"/>
                    <a:pt x="14528" y="42852"/>
                    <a:pt x="15944" y="32938"/>
                  </a:cubicBezTo>
                  <a:cubicBezTo>
                    <a:pt x="15944" y="23025"/>
                    <a:pt x="25857" y="14528"/>
                    <a:pt x="35771" y="1594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6" name="Freeform: Shape 2675">
              <a:extLst>
                <a:ext uri="{FF2B5EF4-FFF2-40B4-BE49-F238E27FC236}">
                  <a16:creationId xmlns:a16="http://schemas.microsoft.com/office/drawing/2014/main" id="{B0C45CC1-5709-41C6-B1C6-77120A399F24}"/>
                </a:ext>
              </a:extLst>
            </p:cNvPr>
            <p:cNvSpPr/>
            <p:nvPr/>
          </p:nvSpPr>
          <p:spPr>
            <a:xfrm>
              <a:off x="7152113" y="5006246"/>
              <a:ext cx="56648" cy="56648"/>
            </a:xfrm>
            <a:custGeom>
              <a:avLst/>
              <a:gdLst>
                <a:gd name="connsiteX0" fmla="*/ 35771 w 56647"/>
                <a:gd name="connsiteY0" fmla="*/ 15969 h 56647"/>
                <a:gd name="connsiteX1" fmla="*/ 52765 w 56647"/>
                <a:gd name="connsiteY1" fmla="*/ 35795 h 56647"/>
                <a:gd name="connsiteX2" fmla="*/ 32938 w 56647"/>
                <a:gd name="connsiteY2" fmla="*/ 52790 h 56647"/>
                <a:gd name="connsiteX3" fmla="*/ 15944 w 56647"/>
                <a:gd name="connsiteY3" fmla="*/ 32963 h 56647"/>
                <a:gd name="connsiteX4" fmla="*/ 35771 w 56647"/>
                <a:gd name="connsiteY4" fmla="*/ 1596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69"/>
                  </a:moveTo>
                  <a:cubicBezTo>
                    <a:pt x="45684" y="17385"/>
                    <a:pt x="54181" y="25882"/>
                    <a:pt x="52765" y="35795"/>
                  </a:cubicBezTo>
                  <a:cubicBezTo>
                    <a:pt x="51349" y="45709"/>
                    <a:pt x="42852" y="54206"/>
                    <a:pt x="32938" y="52790"/>
                  </a:cubicBezTo>
                  <a:cubicBezTo>
                    <a:pt x="23025" y="51373"/>
                    <a:pt x="14528" y="42876"/>
                    <a:pt x="15944" y="32963"/>
                  </a:cubicBezTo>
                  <a:cubicBezTo>
                    <a:pt x="15944" y="21633"/>
                    <a:pt x="25857" y="14552"/>
                    <a:pt x="35771" y="159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7" name="Freeform: Shape 2676">
              <a:extLst>
                <a:ext uri="{FF2B5EF4-FFF2-40B4-BE49-F238E27FC236}">
                  <a16:creationId xmlns:a16="http://schemas.microsoft.com/office/drawing/2014/main" id="{58F7354C-7BC8-41B3-A0CF-22BBB450224B}"/>
                </a:ext>
              </a:extLst>
            </p:cNvPr>
            <p:cNvSpPr/>
            <p:nvPr/>
          </p:nvSpPr>
          <p:spPr>
            <a:xfrm>
              <a:off x="7128193" y="4944113"/>
              <a:ext cx="56648" cy="56648"/>
            </a:xfrm>
            <a:custGeom>
              <a:avLst/>
              <a:gdLst>
                <a:gd name="connsiteX0" fmla="*/ 31367 w 56647"/>
                <a:gd name="connsiteY0" fmla="*/ 15789 h 56647"/>
                <a:gd name="connsiteX1" fmla="*/ 44113 w 56647"/>
                <a:gd name="connsiteY1" fmla="*/ 31367 h 56647"/>
                <a:gd name="connsiteX2" fmla="*/ 28535 w 56647"/>
                <a:gd name="connsiteY2" fmla="*/ 44113 h 56647"/>
                <a:gd name="connsiteX3" fmla="*/ 15789 w 56647"/>
                <a:gd name="connsiteY3" fmla="*/ 28535 h 56647"/>
                <a:gd name="connsiteX4" fmla="*/ 31367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5789"/>
                  </a:moveTo>
                  <a:cubicBezTo>
                    <a:pt x="38448" y="15789"/>
                    <a:pt x="44113" y="22870"/>
                    <a:pt x="44113" y="31367"/>
                  </a:cubicBezTo>
                  <a:cubicBezTo>
                    <a:pt x="42697" y="38448"/>
                    <a:pt x="37032" y="44113"/>
                    <a:pt x="28535" y="44113"/>
                  </a:cubicBezTo>
                  <a:cubicBezTo>
                    <a:pt x="21454" y="44113"/>
                    <a:pt x="15789" y="37032"/>
                    <a:pt x="15789" y="28535"/>
                  </a:cubicBezTo>
                  <a:cubicBezTo>
                    <a:pt x="17205" y="21454"/>
                    <a:pt x="24286" y="15789"/>
                    <a:pt x="31367"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8" name="Freeform: Shape 2677">
              <a:extLst>
                <a:ext uri="{FF2B5EF4-FFF2-40B4-BE49-F238E27FC236}">
                  <a16:creationId xmlns:a16="http://schemas.microsoft.com/office/drawing/2014/main" id="{B55D4CF8-36F2-4183-BFB9-96E010F72DFD}"/>
                </a:ext>
              </a:extLst>
            </p:cNvPr>
            <p:cNvSpPr/>
            <p:nvPr/>
          </p:nvSpPr>
          <p:spPr>
            <a:xfrm>
              <a:off x="5903187" y="4016237"/>
              <a:ext cx="42486" cy="42486"/>
            </a:xfrm>
            <a:custGeom>
              <a:avLst/>
              <a:gdLst>
                <a:gd name="connsiteX0" fmla="*/ 27118 w 42485"/>
                <a:gd name="connsiteY0" fmla="*/ 16060 h 42485"/>
                <a:gd name="connsiteX1" fmla="*/ 37032 w 42485"/>
                <a:gd name="connsiteY1" fmla="*/ 27390 h 42485"/>
                <a:gd name="connsiteX2" fmla="*/ 25703 w 42485"/>
                <a:gd name="connsiteY2" fmla="*/ 37303 h 42485"/>
                <a:gd name="connsiteX3" fmla="*/ 15789 w 42485"/>
                <a:gd name="connsiteY3" fmla="*/ 25973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4"/>
                    <a:pt x="31367" y="37303"/>
                    <a:pt x="25703" y="37303"/>
                  </a:cubicBezTo>
                  <a:cubicBezTo>
                    <a:pt x="20037" y="37303"/>
                    <a:pt x="15789" y="31639"/>
                    <a:pt x="15789" y="25973"/>
                  </a:cubicBezTo>
                  <a:cubicBezTo>
                    <a:pt x="17205" y="18893"/>
                    <a:pt x="21454" y="14644"/>
                    <a:pt x="27118"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9" name="Freeform: Shape 2678">
              <a:extLst>
                <a:ext uri="{FF2B5EF4-FFF2-40B4-BE49-F238E27FC236}">
                  <a16:creationId xmlns:a16="http://schemas.microsoft.com/office/drawing/2014/main" id="{48CE392B-46D7-43D0-BF1D-BDA63BFBA0AD}"/>
                </a:ext>
              </a:extLst>
            </p:cNvPr>
            <p:cNvSpPr/>
            <p:nvPr/>
          </p:nvSpPr>
          <p:spPr>
            <a:xfrm>
              <a:off x="7244320" y="3989601"/>
              <a:ext cx="42486" cy="42486"/>
            </a:xfrm>
            <a:custGeom>
              <a:avLst/>
              <a:gdLst>
                <a:gd name="connsiteX0" fmla="*/ 27118 w 42485"/>
                <a:gd name="connsiteY0" fmla="*/ 15789 h 42485"/>
                <a:gd name="connsiteX1" fmla="*/ 37032 w 42485"/>
                <a:gd name="connsiteY1" fmla="*/ 27118 h 42485"/>
                <a:gd name="connsiteX2" fmla="*/ 25702 w 42485"/>
                <a:gd name="connsiteY2" fmla="*/ 37032 h 42485"/>
                <a:gd name="connsiteX3" fmla="*/ 15789 w 42485"/>
                <a:gd name="connsiteY3" fmla="*/ 25702 h 42485"/>
                <a:gd name="connsiteX4" fmla="*/ 2711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5789"/>
                  </a:moveTo>
                  <a:cubicBezTo>
                    <a:pt x="32783" y="15789"/>
                    <a:pt x="37032" y="21454"/>
                    <a:pt x="37032" y="27118"/>
                  </a:cubicBezTo>
                  <a:cubicBezTo>
                    <a:pt x="37032" y="32783"/>
                    <a:pt x="31367" y="37032"/>
                    <a:pt x="25702" y="37032"/>
                  </a:cubicBezTo>
                  <a:cubicBezTo>
                    <a:pt x="20037" y="37032"/>
                    <a:pt x="15789" y="31367"/>
                    <a:pt x="15789" y="25702"/>
                  </a:cubicBezTo>
                  <a:cubicBezTo>
                    <a:pt x="17205" y="20037"/>
                    <a:pt x="21454" y="15789"/>
                    <a:pt x="2711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0" name="Freeform: Shape 2679">
              <a:extLst>
                <a:ext uri="{FF2B5EF4-FFF2-40B4-BE49-F238E27FC236}">
                  <a16:creationId xmlns:a16="http://schemas.microsoft.com/office/drawing/2014/main" id="{5FE2F8A8-DB8B-4140-8769-C0C1850A6376}"/>
                </a:ext>
              </a:extLst>
            </p:cNvPr>
            <p:cNvSpPr/>
            <p:nvPr/>
          </p:nvSpPr>
          <p:spPr>
            <a:xfrm>
              <a:off x="7098453" y="3829571"/>
              <a:ext cx="42486" cy="42486"/>
            </a:xfrm>
            <a:custGeom>
              <a:avLst/>
              <a:gdLst>
                <a:gd name="connsiteX0" fmla="*/ 27119 w 42485"/>
                <a:gd name="connsiteY0" fmla="*/ 15789 h 42485"/>
                <a:gd name="connsiteX1" fmla="*/ 37032 w 42485"/>
                <a:gd name="connsiteY1" fmla="*/ 27119 h 42485"/>
                <a:gd name="connsiteX2" fmla="*/ 25703 w 42485"/>
                <a:gd name="connsiteY2" fmla="*/ 37032 h 42485"/>
                <a:gd name="connsiteX3" fmla="*/ 15789 w 42485"/>
                <a:gd name="connsiteY3" fmla="*/ 25703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9"/>
                  </a:cubicBezTo>
                  <a:cubicBezTo>
                    <a:pt x="37032" y="32783"/>
                    <a:pt x="31367" y="37032"/>
                    <a:pt x="25703" y="37032"/>
                  </a:cubicBezTo>
                  <a:cubicBezTo>
                    <a:pt x="20038" y="37032"/>
                    <a:pt x="15789" y="31367"/>
                    <a:pt x="15789" y="25703"/>
                  </a:cubicBezTo>
                  <a:cubicBezTo>
                    <a:pt x="15789" y="20038"/>
                    <a:pt x="21454" y="15789"/>
                    <a:pt x="27119"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1" name="Freeform: Shape 2680">
              <a:extLst>
                <a:ext uri="{FF2B5EF4-FFF2-40B4-BE49-F238E27FC236}">
                  <a16:creationId xmlns:a16="http://schemas.microsoft.com/office/drawing/2014/main" id="{AB5BE16F-C8DD-497E-8F7D-AD53AFD8068D}"/>
                </a:ext>
              </a:extLst>
            </p:cNvPr>
            <p:cNvSpPr/>
            <p:nvPr/>
          </p:nvSpPr>
          <p:spPr>
            <a:xfrm>
              <a:off x="7288068" y="3771353"/>
              <a:ext cx="70810" cy="70810"/>
            </a:xfrm>
            <a:custGeom>
              <a:avLst/>
              <a:gdLst>
                <a:gd name="connsiteX0" fmla="*/ 40018 w 70809"/>
                <a:gd name="connsiteY0" fmla="*/ 15943 h 70809"/>
                <a:gd name="connsiteX1" fmla="*/ 59845 w 70809"/>
                <a:gd name="connsiteY1" fmla="*/ 40018 h 70809"/>
                <a:gd name="connsiteX2" fmla="*/ 35770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2"/>
                    <a:pt x="59845" y="40018"/>
                  </a:cubicBezTo>
                  <a:cubicBezTo>
                    <a:pt x="58429" y="52764"/>
                    <a:pt x="48515" y="61261"/>
                    <a:pt x="35770" y="59845"/>
                  </a:cubicBezTo>
                  <a:cubicBezTo>
                    <a:pt x="23024" y="58429"/>
                    <a:pt x="14527" y="48515"/>
                    <a:pt x="15943" y="35769"/>
                  </a:cubicBezTo>
                  <a:cubicBezTo>
                    <a:pt x="17359" y="23024"/>
                    <a:pt x="28689" y="14527"/>
                    <a:pt x="40018" y="159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2" name="Freeform: Shape 2681">
              <a:extLst>
                <a:ext uri="{FF2B5EF4-FFF2-40B4-BE49-F238E27FC236}">
                  <a16:creationId xmlns:a16="http://schemas.microsoft.com/office/drawing/2014/main" id="{CD77AACF-32C5-48BE-A9C7-660DABB630EE}"/>
                </a:ext>
              </a:extLst>
            </p:cNvPr>
            <p:cNvSpPr/>
            <p:nvPr/>
          </p:nvSpPr>
          <p:spPr>
            <a:xfrm>
              <a:off x="7180411" y="4084305"/>
              <a:ext cx="56648" cy="56648"/>
            </a:xfrm>
            <a:custGeom>
              <a:avLst/>
              <a:gdLst>
                <a:gd name="connsiteX0" fmla="*/ 34380 w 56647"/>
                <a:gd name="connsiteY0" fmla="*/ 15969 h 56647"/>
                <a:gd name="connsiteX1" fmla="*/ 49958 w 56647"/>
                <a:gd name="connsiteY1" fmla="*/ 34380 h 56647"/>
                <a:gd name="connsiteX2" fmla="*/ 31547 w 56647"/>
                <a:gd name="connsiteY2" fmla="*/ 49958 h 56647"/>
                <a:gd name="connsiteX3" fmla="*/ 15969 w 56647"/>
                <a:gd name="connsiteY3" fmla="*/ 31548 h 56647"/>
                <a:gd name="connsiteX4" fmla="*/ 34380 w 56647"/>
                <a:gd name="connsiteY4" fmla="*/ 1596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380" y="15969"/>
                  </a:moveTo>
                  <a:cubicBezTo>
                    <a:pt x="44293" y="17386"/>
                    <a:pt x="51374" y="25883"/>
                    <a:pt x="49958" y="34380"/>
                  </a:cubicBezTo>
                  <a:cubicBezTo>
                    <a:pt x="48542" y="44293"/>
                    <a:pt x="40044" y="51374"/>
                    <a:pt x="31547" y="49958"/>
                  </a:cubicBezTo>
                  <a:cubicBezTo>
                    <a:pt x="21634" y="48542"/>
                    <a:pt x="14553" y="40045"/>
                    <a:pt x="15969" y="31548"/>
                  </a:cubicBezTo>
                  <a:cubicBezTo>
                    <a:pt x="15969" y="21634"/>
                    <a:pt x="24466" y="14553"/>
                    <a:pt x="34380" y="159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3" name="Freeform: Shape 2682">
              <a:extLst>
                <a:ext uri="{FF2B5EF4-FFF2-40B4-BE49-F238E27FC236}">
                  <a16:creationId xmlns:a16="http://schemas.microsoft.com/office/drawing/2014/main" id="{67339E44-3222-4364-9328-F96059161C08}"/>
                </a:ext>
              </a:extLst>
            </p:cNvPr>
            <p:cNvSpPr/>
            <p:nvPr/>
          </p:nvSpPr>
          <p:spPr>
            <a:xfrm>
              <a:off x="6952368" y="4312492"/>
              <a:ext cx="56648" cy="56648"/>
            </a:xfrm>
            <a:custGeom>
              <a:avLst/>
              <a:gdLst>
                <a:gd name="connsiteX0" fmla="*/ 31584 w 56647"/>
                <a:gd name="connsiteY0" fmla="*/ 15789 h 56647"/>
                <a:gd name="connsiteX1" fmla="*/ 44330 w 56647"/>
                <a:gd name="connsiteY1" fmla="*/ 31367 h 56647"/>
                <a:gd name="connsiteX2" fmla="*/ 28752 w 56647"/>
                <a:gd name="connsiteY2" fmla="*/ 44113 h 56647"/>
                <a:gd name="connsiteX3" fmla="*/ 16006 w 56647"/>
                <a:gd name="connsiteY3" fmla="*/ 28535 h 56647"/>
                <a:gd name="connsiteX4" fmla="*/ 31584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584" y="15789"/>
                  </a:moveTo>
                  <a:cubicBezTo>
                    <a:pt x="40081" y="17205"/>
                    <a:pt x="45746" y="24286"/>
                    <a:pt x="44330" y="31367"/>
                  </a:cubicBezTo>
                  <a:cubicBezTo>
                    <a:pt x="42913" y="39864"/>
                    <a:pt x="35833" y="45529"/>
                    <a:pt x="28752" y="44113"/>
                  </a:cubicBezTo>
                  <a:cubicBezTo>
                    <a:pt x="20254" y="42697"/>
                    <a:pt x="14590" y="35616"/>
                    <a:pt x="16006" y="28535"/>
                  </a:cubicBezTo>
                  <a:cubicBezTo>
                    <a:pt x="16006" y="21454"/>
                    <a:pt x="24503" y="15789"/>
                    <a:pt x="31584"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4" name="Freeform: Shape 2683">
              <a:extLst>
                <a:ext uri="{FF2B5EF4-FFF2-40B4-BE49-F238E27FC236}">
                  <a16:creationId xmlns:a16="http://schemas.microsoft.com/office/drawing/2014/main" id="{405967CC-8443-4474-88A9-53CDAF3EE170}"/>
                </a:ext>
              </a:extLst>
            </p:cNvPr>
            <p:cNvSpPr/>
            <p:nvPr/>
          </p:nvSpPr>
          <p:spPr>
            <a:xfrm>
              <a:off x="7419928" y="1127479"/>
              <a:ext cx="70810" cy="70810"/>
            </a:xfrm>
            <a:custGeom>
              <a:avLst/>
              <a:gdLst>
                <a:gd name="connsiteX0" fmla="*/ 39864 w 70809"/>
                <a:gd name="connsiteY0" fmla="*/ 63940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4026" y="63940"/>
                    <a:pt x="63939" y="52610"/>
                    <a:pt x="63939" y="39864"/>
                  </a:cubicBezTo>
                  <a:cubicBezTo>
                    <a:pt x="63939" y="25702"/>
                    <a:pt x="52610" y="15789"/>
                    <a:pt x="39864" y="15789"/>
                  </a:cubicBezTo>
                  <a:cubicBezTo>
                    <a:pt x="25702" y="15789"/>
                    <a:pt x="15789" y="27119"/>
                    <a:pt x="15789" y="39864"/>
                  </a:cubicBezTo>
                  <a:cubicBezTo>
                    <a:pt x="15789" y="52610"/>
                    <a:pt x="27118"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5" name="Freeform: Shape 2684">
              <a:extLst>
                <a:ext uri="{FF2B5EF4-FFF2-40B4-BE49-F238E27FC236}">
                  <a16:creationId xmlns:a16="http://schemas.microsoft.com/office/drawing/2014/main" id="{42644D97-64DE-42C1-9B38-42B72B4645FA}"/>
                </a:ext>
              </a:extLst>
            </p:cNvPr>
            <p:cNvSpPr/>
            <p:nvPr/>
          </p:nvSpPr>
          <p:spPr>
            <a:xfrm>
              <a:off x="10105027" y="4808159"/>
              <a:ext cx="42486" cy="42486"/>
            </a:xfrm>
            <a:custGeom>
              <a:avLst/>
              <a:gdLst>
                <a:gd name="connsiteX0" fmla="*/ 25703 w 42485"/>
                <a:gd name="connsiteY0" fmla="*/ 35616 h 42485"/>
                <a:gd name="connsiteX1" fmla="*/ 35615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5" y="31367"/>
                    <a:pt x="35615" y="25703"/>
                  </a:cubicBezTo>
                  <a:cubicBezTo>
                    <a:pt x="35615" y="20037"/>
                    <a:pt x="31367" y="15789"/>
                    <a:pt x="25703" y="15789"/>
                  </a:cubicBezTo>
                  <a:cubicBezTo>
                    <a:pt x="20037" y="15789"/>
                    <a:pt x="15789" y="20037"/>
                    <a:pt x="15789" y="25703"/>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6" name="Freeform: Shape 2685">
              <a:extLst>
                <a:ext uri="{FF2B5EF4-FFF2-40B4-BE49-F238E27FC236}">
                  <a16:creationId xmlns:a16="http://schemas.microsoft.com/office/drawing/2014/main" id="{D5157C2A-8EE3-4FD5-9CFC-73397D86FF1E}"/>
                </a:ext>
              </a:extLst>
            </p:cNvPr>
            <p:cNvSpPr/>
            <p:nvPr/>
          </p:nvSpPr>
          <p:spPr>
            <a:xfrm>
              <a:off x="7919649" y="1937568"/>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7" name="Freeform: Shape 2686">
              <a:extLst>
                <a:ext uri="{FF2B5EF4-FFF2-40B4-BE49-F238E27FC236}">
                  <a16:creationId xmlns:a16="http://schemas.microsoft.com/office/drawing/2014/main" id="{528693EB-2B8A-425D-996A-3A2496519F77}"/>
                </a:ext>
              </a:extLst>
            </p:cNvPr>
            <p:cNvSpPr/>
            <p:nvPr/>
          </p:nvSpPr>
          <p:spPr>
            <a:xfrm>
              <a:off x="7857955" y="2246037"/>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8" name="Freeform: Shape 2687">
              <a:extLst>
                <a:ext uri="{FF2B5EF4-FFF2-40B4-BE49-F238E27FC236}">
                  <a16:creationId xmlns:a16="http://schemas.microsoft.com/office/drawing/2014/main" id="{613C8461-7CBF-47C5-9988-B7F7E2B0DAA2}"/>
                </a:ext>
              </a:extLst>
            </p:cNvPr>
            <p:cNvSpPr/>
            <p:nvPr/>
          </p:nvSpPr>
          <p:spPr>
            <a:xfrm>
              <a:off x="7027463" y="1996889"/>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9" name="Freeform: Shape 2688">
              <a:extLst>
                <a:ext uri="{FF2B5EF4-FFF2-40B4-BE49-F238E27FC236}">
                  <a16:creationId xmlns:a16="http://schemas.microsoft.com/office/drawing/2014/main" id="{641FBA08-70F0-4800-967A-AB812A7B352C}"/>
                </a:ext>
              </a:extLst>
            </p:cNvPr>
            <p:cNvSpPr/>
            <p:nvPr/>
          </p:nvSpPr>
          <p:spPr>
            <a:xfrm>
              <a:off x="7478301" y="1005043"/>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0" name="Freeform: Shape 2689">
              <a:extLst>
                <a:ext uri="{FF2B5EF4-FFF2-40B4-BE49-F238E27FC236}">
                  <a16:creationId xmlns:a16="http://schemas.microsoft.com/office/drawing/2014/main" id="{41D3A057-EF59-45A1-A73B-58D237A1B2B5}"/>
                </a:ext>
              </a:extLst>
            </p:cNvPr>
            <p:cNvSpPr/>
            <p:nvPr/>
          </p:nvSpPr>
          <p:spPr>
            <a:xfrm>
              <a:off x="6614588" y="1311138"/>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1" name="Freeform: Shape 2690">
              <a:extLst>
                <a:ext uri="{FF2B5EF4-FFF2-40B4-BE49-F238E27FC236}">
                  <a16:creationId xmlns:a16="http://schemas.microsoft.com/office/drawing/2014/main" id="{FF691C02-616D-4F90-9517-8CB56A8E5CAB}"/>
                </a:ext>
              </a:extLst>
            </p:cNvPr>
            <p:cNvSpPr/>
            <p:nvPr/>
          </p:nvSpPr>
          <p:spPr>
            <a:xfrm>
              <a:off x="7416608" y="2696876"/>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2" name="Freeform: Shape 2691">
              <a:extLst>
                <a:ext uri="{FF2B5EF4-FFF2-40B4-BE49-F238E27FC236}">
                  <a16:creationId xmlns:a16="http://schemas.microsoft.com/office/drawing/2014/main" id="{9F4D736F-C8AA-42D7-8D10-C9855EDA3CB7}"/>
                </a:ext>
              </a:extLst>
            </p:cNvPr>
            <p:cNvSpPr/>
            <p:nvPr/>
          </p:nvSpPr>
          <p:spPr>
            <a:xfrm>
              <a:off x="9414537" y="1194870"/>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3" name="Freeform: Shape 2692">
              <a:extLst>
                <a:ext uri="{FF2B5EF4-FFF2-40B4-BE49-F238E27FC236}">
                  <a16:creationId xmlns:a16="http://schemas.microsoft.com/office/drawing/2014/main" id="{7AFF7B06-D6FE-44C2-824D-BD58D0DFA5CA}"/>
                </a:ext>
              </a:extLst>
            </p:cNvPr>
            <p:cNvSpPr/>
            <p:nvPr/>
          </p:nvSpPr>
          <p:spPr>
            <a:xfrm>
              <a:off x="9889105" y="1681301"/>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4" name="Freeform: Shape 2693">
              <a:extLst>
                <a:ext uri="{FF2B5EF4-FFF2-40B4-BE49-F238E27FC236}">
                  <a16:creationId xmlns:a16="http://schemas.microsoft.com/office/drawing/2014/main" id="{AF0D3277-57F9-4A67-BA3C-A6B19564C948}"/>
                </a:ext>
              </a:extLst>
            </p:cNvPr>
            <p:cNvSpPr/>
            <p:nvPr/>
          </p:nvSpPr>
          <p:spPr>
            <a:xfrm>
              <a:off x="10268758" y="1643338"/>
              <a:ext cx="126815" cy="126813"/>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5" name="Freeform: Shape 2694">
              <a:extLst>
                <a:ext uri="{FF2B5EF4-FFF2-40B4-BE49-F238E27FC236}">
                  <a16:creationId xmlns:a16="http://schemas.microsoft.com/office/drawing/2014/main" id="{03EBDA81-D327-499E-9533-2D0BFEE1C891}"/>
                </a:ext>
              </a:extLst>
            </p:cNvPr>
            <p:cNvSpPr/>
            <p:nvPr/>
          </p:nvSpPr>
          <p:spPr>
            <a:xfrm>
              <a:off x="9414536" y="2091804"/>
              <a:ext cx="126815" cy="126813"/>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6" name="Freeform: Shape 2695">
              <a:extLst>
                <a:ext uri="{FF2B5EF4-FFF2-40B4-BE49-F238E27FC236}">
                  <a16:creationId xmlns:a16="http://schemas.microsoft.com/office/drawing/2014/main" id="{700E83C3-45A9-4B58-9821-D5CEC940A268}"/>
                </a:ext>
              </a:extLst>
            </p:cNvPr>
            <p:cNvSpPr/>
            <p:nvPr/>
          </p:nvSpPr>
          <p:spPr>
            <a:xfrm>
              <a:off x="9267421" y="2893823"/>
              <a:ext cx="126815" cy="126813"/>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7" name="Freeform: Shape 2696">
              <a:extLst>
                <a:ext uri="{FF2B5EF4-FFF2-40B4-BE49-F238E27FC236}">
                  <a16:creationId xmlns:a16="http://schemas.microsoft.com/office/drawing/2014/main" id="{ADAA7C57-ABC0-47E0-B111-2D34F45C0256}"/>
                </a:ext>
              </a:extLst>
            </p:cNvPr>
            <p:cNvSpPr/>
            <p:nvPr/>
          </p:nvSpPr>
          <p:spPr>
            <a:xfrm>
              <a:off x="8726414" y="846063"/>
              <a:ext cx="126815" cy="126813"/>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8" name="Freeform: Shape 2697">
              <a:extLst>
                <a:ext uri="{FF2B5EF4-FFF2-40B4-BE49-F238E27FC236}">
                  <a16:creationId xmlns:a16="http://schemas.microsoft.com/office/drawing/2014/main" id="{B4D94A2C-560C-4C28-83B4-F6183A2BA255}"/>
                </a:ext>
              </a:extLst>
            </p:cNvPr>
            <p:cNvSpPr/>
            <p:nvPr/>
          </p:nvSpPr>
          <p:spPr>
            <a:xfrm>
              <a:off x="6154257" y="1480872"/>
              <a:ext cx="85217" cy="8521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9" name="Freeform: Shape 2698">
              <a:extLst>
                <a:ext uri="{FF2B5EF4-FFF2-40B4-BE49-F238E27FC236}">
                  <a16:creationId xmlns:a16="http://schemas.microsoft.com/office/drawing/2014/main" id="{7E4B5B9A-EA31-484D-B718-7579B59C1EA4}"/>
                </a:ext>
              </a:extLst>
            </p:cNvPr>
            <p:cNvSpPr/>
            <p:nvPr/>
          </p:nvSpPr>
          <p:spPr>
            <a:xfrm>
              <a:off x="7108139" y="2470346"/>
              <a:ext cx="75933" cy="7593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0" name="Freeform: Shape 2699">
              <a:extLst>
                <a:ext uri="{FF2B5EF4-FFF2-40B4-BE49-F238E27FC236}">
                  <a16:creationId xmlns:a16="http://schemas.microsoft.com/office/drawing/2014/main" id="{BB5267C2-AB05-4B44-A03B-432920084C55}"/>
                </a:ext>
              </a:extLst>
            </p:cNvPr>
            <p:cNvSpPr/>
            <p:nvPr/>
          </p:nvSpPr>
          <p:spPr>
            <a:xfrm>
              <a:off x="6866109" y="2809662"/>
              <a:ext cx="75933" cy="7593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1" name="Freeform: Shape 2700">
              <a:extLst>
                <a:ext uri="{FF2B5EF4-FFF2-40B4-BE49-F238E27FC236}">
                  <a16:creationId xmlns:a16="http://schemas.microsoft.com/office/drawing/2014/main" id="{5F2C01EB-2C90-4AF2-BCB8-D2EF189EE544}"/>
                </a:ext>
              </a:extLst>
            </p:cNvPr>
            <p:cNvSpPr/>
            <p:nvPr/>
          </p:nvSpPr>
          <p:spPr>
            <a:xfrm>
              <a:off x="6374932" y="2401534"/>
              <a:ext cx="75933" cy="7593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2" name="Freeform: Shape 2701">
              <a:extLst>
                <a:ext uri="{FF2B5EF4-FFF2-40B4-BE49-F238E27FC236}">
                  <a16:creationId xmlns:a16="http://schemas.microsoft.com/office/drawing/2014/main" id="{4D677518-631D-4774-91FA-04D46BE3B4D4}"/>
                </a:ext>
              </a:extLst>
            </p:cNvPr>
            <p:cNvSpPr/>
            <p:nvPr/>
          </p:nvSpPr>
          <p:spPr>
            <a:xfrm>
              <a:off x="5888499" y="2392043"/>
              <a:ext cx="75933" cy="7593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3" name="Freeform: Shape 2702">
              <a:extLst>
                <a:ext uri="{FF2B5EF4-FFF2-40B4-BE49-F238E27FC236}">
                  <a16:creationId xmlns:a16="http://schemas.microsoft.com/office/drawing/2014/main" id="{3934F235-B22D-44FE-AE7A-5365D7393364}"/>
                </a:ext>
              </a:extLst>
            </p:cNvPr>
            <p:cNvSpPr/>
            <p:nvPr/>
          </p:nvSpPr>
          <p:spPr>
            <a:xfrm>
              <a:off x="7233899" y="3208299"/>
              <a:ext cx="75933" cy="7593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4" name="Freeform: Shape 2703">
              <a:extLst>
                <a:ext uri="{FF2B5EF4-FFF2-40B4-BE49-F238E27FC236}">
                  <a16:creationId xmlns:a16="http://schemas.microsoft.com/office/drawing/2014/main" id="{2A896B39-1395-43EB-8E65-B582D588AF84}"/>
                </a:ext>
              </a:extLst>
            </p:cNvPr>
            <p:cNvSpPr/>
            <p:nvPr/>
          </p:nvSpPr>
          <p:spPr>
            <a:xfrm>
              <a:off x="9846383" y="2785362"/>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6685"/>
                    <a:pt x="95095" y="55442"/>
                  </a:cubicBezTo>
                  <a:cubicBezTo>
                    <a:pt x="95095" y="34199"/>
                    <a:pt x="76685" y="15789"/>
                    <a:pt x="55442" y="15789"/>
                  </a:cubicBezTo>
                  <a:cubicBezTo>
                    <a:pt x="34199" y="15789"/>
                    <a:pt x="15789" y="34199"/>
                    <a:pt x="15789" y="55442"/>
                  </a:cubicBezTo>
                  <a:cubicBezTo>
                    <a:pt x="15789" y="78101"/>
                    <a:pt x="34199" y="95096"/>
                    <a:pt x="55442" y="950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5" name="Freeform: Shape 2704">
              <a:extLst>
                <a:ext uri="{FF2B5EF4-FFF2-40B4-BE49-F238E27FC236}">
                  <a16:creationId xmlns:a16="http://schemas.microsoft.com/office/drawing/2014/main" id="{3F4FD6C5-D375-415D-AC5E-C245975C84BB}"/>
                </a:ext>
              </a:extLst>
            </p:cNvPr>
            <p:cNvSpPr/>
            <p:nvPr/>
          </p:nvSpPr>
          <p:spPr>
            <a:xfrm>
              <a:off x="9208100" y="3303213"/>
              <a:ext cx="75933" cy="7593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6" name="Freeform: Shape 2705">
              <a:extLst>
                <a:ext uri="{FF2B5EF4-FFF2-40B4-BE49-F238E27FC236}">
                  <a16:creationId xmlns:a16="http://schemas.microsoft.com/office/drawing/2014/main" id="{2DD41953-5AA0-4CA8-94DC-EFE105407171}"/>
                </a:ext>
              </a:extLst>
            </p:cNvPr>
            <p:cNvSpPr/>
            <p:nvPr/>
          </p:nvSpPr>
          <p:spPr>
            <a:xfrm>
              <a:off x="10533462" y="1168977"/>
              <a:ext cx="111260" cy="111258"/>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7" name="Freeform: Shape 2706">
              <a:extLst>
                <a:ext uri="{FF2B5EF4-FFF2-40B4-BE49-F238E27FC236}">
                  <a16:creationId xmlns:a16="http://schemas.microsoft.com/office/drawing/2014/main" id="{C3CEB2B7-3617-43F1-A6E1-DF2047D1937E}"/>
                </a:ext>
              </a:extLst>
            </p:cNvPr>
            <p:cNvSpPr/>
            <p:nvPr/>
          </p:nvSpPr>
          <p:spPr>
            <a:xfrm>
              <a:off x="10608445" y="1961209"/>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3" y="15789"/>
                    <a:pt x="15789" y="25702"/>
                    <a:pt x="15789" y="37032"/>
                  </a:cubicBezTo>
                  <a:cubicBezTo>
                    <a:pt x="15789" y="49777"/>
                    <a:pt x="25703"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8" name="Freeform: Shape 2707">
              <a:extLst>
                <a:ext uri="{FF2B5EF4-FFF2-40B4-BE49-F238E27FC236}">
                  <a16:creationId xmlns:a16="http://schemas.microsoft.com/office/drawing/2014/main" id="{C6006926-2A35-40BE-A1FE-F97581747AC5}"/>
                </a:ext>
              </a:extLst>
            </p:cNvPr>
            <p:cNvSpPr/>
            <p:nvPr/>
          </p:nvSpPr>
          <p:spPr>
            <a:xfrm>
              <a:off x="10911006" y="1567407"/>
              <a:ext cx="126815" cy="126813"/>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9" name="Freeform: Shape 2708">
              <a:extLst>
                <a:ext uri="{FF2B5EF4-FFF2-40B4-BE49-F238E27FC236}">
                  <a16:creationId xmlns:a16="http://schemas.microsoft.com/office/drawing/2014/main" id="{81214705-8019-4A49-B79E-D2E031E4807A}"/>
                </a:ext>
              </a:extLst>
            </p:cNvPr>
            <p:cNvSpPr/>
            <p:nvPr/>
          </p:nvSpPr>
          <p:spPr>
            <a:xfrm>
              <a:off x="8650853" y="3531843"/>
              <a:ext cx="99133" cy="99133"/>
            </a:xfrm>
            <a:custGeom>
              <a:avLst/>
              <a:gdLst>
                <a:gd name="connsiteX0" fmla="*/ 49778 w 99133"/>
                <a:gd name="connsiteY0" fmla="*/ 83766 h 99133"/>
                <a:gd name="connsiteX1" fmla="*/ 83766 w 99133"/>
                <a:gd name="connsiteY1" fmla="*/ 49777 h 99133"/>
                <a:gd name="connsiteX2" fmla="*/ 49778 w 99133"/>
                <a:gd name="connsiteY2" fmla="*/ 15789 h 99133"/>
                <a:gd name="connsiteX3" fmla="*/ 15789 w 99133"/>
                <a:gd name="connsiteY3" fmla="*/ 49777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7"/>
                  </a:cubicBezTo>
                  <a:cubicBezTo>
                    <a:pt x="83766" y="31367"/>
                    <a:pt x="68188" y="15789"/>
                    <a:pt x="49778" y="15789"/>
                  </a:cubicBezTo>
                  <a:cubicBezTo>
                    <a:pt x="31367" y="15789"/>
                    <a:pt x="15789" y="31367"/>
                    <a:pt x="15789" y="49777"/>
                  </a:cubicBezTo>
                  <a:cubicBezTo>
                    <a:pt x="17205" y="68188"/>
                    <a:pt x="31367" y="83766"/>
                    <a:pt x="49778" y="8376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0" name="Freeform: Shape 2709">
              <a:extLst>
                <a:ext uri="{FF2B5EF4-FFF2-40B4-BE49-F238E27FC236}">
                  <a16:creationId xmlns:a16="http://schemas.microsoft.com/office/drawing/2014/main" id="{9312BE59-6889-4600-BA80-038FE597153B}"/>
                </a:ext>
              </a:extLst>
            </p:cNvPr>
            <p:cNvSpPr/>
            <p:nvPr/>
          </p:nvSpPr>
          <p:spPr>
            <a:xfrm>
              <a:off x="9111184" y="4272169"/>
              <a:ext cx="99133" cy="99133"/>
            </a:xfrm>
            <a:custGeom>
              <a:avLst/>
              <a:gdLst>
                <a:gd name="connsiteX0" fmla="*/ 49778 w 99133"/>
                <a:gd name="connsiteY0" fmla="*/ 83766 h 99133"/>
                <a:gd name="connsiteX1" fmla="*/ 83766 w 99133"/>
                <a:gd name="connsiteY1" fmla="*/ 49777 h 99133"/>
                <a:gd name="connsiteX2" fmla="*/ 49778 w 99133"/>
                <a:gd name="connsiteY2" fmla="*/ 15789 h 99133"/>
                <a:gd name="connsiteX3" fmla="*/ 15789 w 99133"/>
                <a:gd name="connsiteY3" fmla="*/ 49777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7"/>
                  </a:cubicBezTo>
                  <a:cubicBezTo>
                    <a:pt x="83766" y="31367"/>
                    <a:pt x="68188" y="15789"/>
                    <a:pt x="49778" y="15789"/>
                  </a:cubicBezTo>
                  <a:cubicBezTo>
                    <a:pt x="31367" y="15789"/>
                    <a:pt x="15789" y="31367"/>
                    <a:pt x="15789" y="49777"/>
                  </a:cubicBezTo>
                  <a:cubicBezTo>
                    <a:pt x="17205" y="68188"/>
                    <a:pt x="31367" y="83766"/>
                    <a:pt x="49778" y="8376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1" name="Freeform: Shape 2710">
              <a:extLst>
                <a:ext uri="{FF2B5EF4-FFF2-40B4-BE49-F238E27FC236}">
                  <a16:creationId xmlns:a16="http://schemas.microsoft.com/office/drawing/2014/main" id="{C69C7BD3-56F4-45A4-BDAB-36B641C3BAF2}"/>
                </a:ext>
              </a:extLst>
            </p:cNvPr>
            <p:cNvSpPr/>
            <p:nvPr/>
          </p:nvSpPr>
          <p:spPr>
            <a:xfrm>
              <a:off x="9826167" y="4349660"/>
              <a:ext cx="70810" cy="70810"/>
            </a:xfrm>
            <a:custGeom>
              <a:avLst/>
              <a:gdLst>
                <a:gd name="connsiteX0" fmla="*/ 41280 w 70809"/>
                <a:gd name="connsiteY0" fmla="*/ 66772 h 70809"/>
                <a:gd name="connsiteX1" fmla="*/ 66772 w 70809"/>
                <a:gd name="connsiteY1" fmla="*/ 41281 h 70809"/>
                <a:gd name="connsiteX2" fmla="*/ 41280 w 70809"/>
                <a:gd name="connsiteY2" fmla="*/ 15789 h 70809"/>
                <a:gd name="connsiteX3" fmla="*/ 15789 w 70809"/>
                <a:gd name="connsiteY3" fmla="*/ 41281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3"/>
                    <a:pt x="66772" y="41281"/>
                  </a:cubicBezTo>
                  <a:cubicBezTo>
                    <a:pt x="66772" y="27119"/>
                    <a:pt x="55442" y="15789"/>
                    <a:pt x="41280" y="15789"/>
                  </a:cubicBezTo>
                  <a:cubicBezTo>
                    <a:pt x="27118" y="15789"/>
                    <a:pt x="15789" y="27119"/>
                    <a:pt x="15789" y="41281"/>
                  </a:cubicBezTo>
                  <a:cubicBezTo>
                    <a:pt x="15789" y="54026"/>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2" name="Freeform: Shape 2711">
              <a:extLst>
                <a:ext uri="{FF2B5EF4-FFF2-40B4-BE49-F238E27FC236}">
                  <a16:creationId xmlns:a16="http://schemas.microsoft.com/office/drawing/2014/main" id="{8765FE53-CE34-48B3-ABDF-41DD27397332}"/>
                </a:ext>
              </a:extLst>
            </p:cNvPr>
            <p:cNvSpPr/>
            <p:nvPr/>
          </p:nvSpPr>
          <p:spPr>
            <a:xfrm>
              <a:off x="10042095" y="4532368"/>
              <a:ext cx="70810" cy="70810"/>
            </a:xfrm>
            <a:custGeom>
              <a:avLst/>
              <a:gdLst>
                <a:gd name="connsiteX0" fmla="*/ 41280 w 70809"/>
                <a:gd name="connsiteY0" fmla="*/ 66772 h 70809"/>
                <a:gd name="connsiteX1" fmla="*/ 66772 w 70809"/>
                <a:gd name="connsiteY1" fmla="*/ 41281 h 70809"/>
                <a:gd name="connsiteX2" fmla="*/ 41280 w 70809"/>
                <a:gd name="connsiteY2" fmla="*/ 15789 h 70809"/>
                <a:gd name="connsiteX3" fmla="*/ 15789 w 70809"/>
                <a:gd name="connsiteY3" fmla="*/ 41281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3"/>
                    <a:pt x="66772" y="41281"/>
                  </a:cubicBezTo>
                  <a:cubicBezTo>
                    <a:pt x="66772" y="27119"/>
                    <a:pt x="55442" y="15789"/>
                    <a:pt x="41280" y="15789"/>
                  </a:cubicBezTo>
                  <a:cubicBezTo>
                    <a:pt x="27118" y="15789"/>
                    <a:pt x="15789" y="27119"/>
                    <a:pt x="15789" y="41281"/>
                  </a:cubicBezTo>
                  <a:cubicBezTo>
                    <a:pt x="15789" y="54026"/>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3" name="Freeform: Shape 2712">
              <a:extLst>
                <a:ext uri="{FF2B5EF4-FFF2-40B4-BE49-F238E27FC236}">
                  <a16:creationId xmlns:a16="http://schemas.microsoft.com/office/drawing/2014/main" id="{AE132DA9-C864-4C24-923C-5A8424B757B5}"/>
                </a:ext>
              </a:extLst>
            </p:cNvPr>
            <p:cNvSpPr/>
            <p:nvPr/>
          </p:nvSpPr>
          <p:spPr>
            <a:xfrm>
              <a:off x="6647142" y="4383006"/>
              <a:ext cx="84971" cy="84971"/>
            </a:xfrm>
            <a:custGeom>
              <a:avLst/>
              <a:gdLst>
                <a:gd name="connsiteX0" fmla="*/ 49885 w 84971"/>
                <a:gd name="connsiteY0" fmla="*/ 15897 h 84971"/>
                <a:gd name="connsiteX1" fmla="*/ 78209 w 84971"/>
                <a:gd name="connsiteY1" fmla="*/ 49885 h 84971"/>
                <a:gd name="connsiteX2" fmla="*/ 44220 w 84971"/>
                <a:gd name="connsiteY2" fmla="*/ 78209 h 84971"/>
                <a:gd name="connsiteX3" fmla="*/ 15896 w 84971"/>
                <a:gd name="connsiteY3" fmla="*/ 44220 h 84971"/>
                <a:gd name="connsiteX4" fmla="*/ 49885 w 84971"/>
                <a:gd name="connsiteY4" fmla="*/ 1589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9885" y="15897"/>
                  </a:moveTo>
                  <a:cubicBezTo>
                    <a:pt x="66879" y="17313"/>
                    <a:pt x="79625" y="32891"/>
                    <a:pt x="78209" y="49885"/>
                  </a:cubicBezTo>
                  <a:cubicBezTo>
                    <a:pt x="76793" y="66879"/>
                    <a:pt x="61215" y="79625"/>
                    <a:pt x="44220" y="78209"/>
                  </a:cubicBezTo>
                  <a:cubicBezTo>
                    <a:pt x="27226" y="76793"/>
                    <a:pt x="14481" y="61215"/>
                    <a:pt x="15896" y="44220"/>
                  </a:cubicBezTo>
                  <a:cubicBezTo>
                    <a:pt x="17313" y="27226"/>
                    <a:pt x="32891" y="14480"/>
                    <a:pt x="49885" y="1589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4" name="Freeform: Shape 2713">
              <a:extLst>
                <a:ext uri="{FF2B5EF4-FFF2-40B4-BE49-F238E27FC236}">
                  <a16:creationId xmlns:a16="http://schemas.microsoft.com/office/drawing/2014/main" id="{14B8AD1B-A5EC-4E8B-873D-E401E1D4B8F8}"/>
                </a:ext>
              </a:extLst>
            </p:cNvPr>
            <p:cNvSpPr/>
            <p:nvPr/>
          </p:nvSpPr>
          <p:spPr>
            <a:xfrm>
              <a:off x="6322063" y="3645053"/>
              <a:ext cx="84971" cy="84971"/>
            </a:xfrm>
            <a:custGeom>
              <a:avLst/>
              <a:gdLst>
                <a:gd name="connsiteX0" fmla="*/ 49885 w 84971"/>
                <a:gd name="connsiteY0" fmla="*/ 15897 h 84971"/>
                <a:gd name="connsiteX1" fmla="*/ 78209 w 84971"/>
                <a:gd name="connsiteY1" fmla="*/ 49885 h 84971"/>
                <a:gd name="connsiteX2" fmla="*/ 44220 w 84971"/>
                <a:gd name="connsiteY2" fmla="*/ 78209 h 84971"/>
                <a:gd name="connsiteX3" fmla="*/ 15896 w 84971"/>
                <a:gd name="connsiteY3" fmla="*/ 44220 h 84971"/>
                <a:gd name="connsiteX4" fmla="*/ 49885 w 84971"/>
                <a:gd name="connsiteY4" fmla="*/ 1589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9885" y="15897"/>
                  </a:moveTo>
                  <a:cubicBezTo>
                    <a:pt x="66879" y="17313"/>
                    <a:pt x="79625" y="32891"/>
                    <a:pt x="78209" y="49885"/>
                  </a:cubicBezTo>
                  <a:cubicBezTo>
                    <a:pt x="76793" y="66879"/>
                    <a:pt x="61215" y="79625"/>
                    <a:pt x="44220" y="78209"/>
                  </a:cubicBezTo>
                  <a:cubicBezTo>
                    <a:pt x="27226" y="76793"/>
                    <a:pt x="14481" y="61215"/>
                    <a:pt x="15896" y="44220"/>
                  </a:cubicBezTo>
                  <a:cubicBezTo>
                    <a:pt x="17313" y="27226"/>
                    <a:pt x="32891" y="14480"/>
                    <a:pt x="49885" y="1589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5" name="Freeform: Shape 2714">
              <a:extLst>
                <a:ext uri="{FF2B5EF4-FFF2-40B4-BE49-F238E27FC236}">
                  <a16:creationId xmlns:a16="http://schemas.microsoft.com/office/drawing/2014/main" id="{B1DCD11B-5A9B-4BD8-AF59-ABB2D233F96E}"/>
                </a:ext>
              </a:extLst>
            </p:cNvPr>
            <p:cNvSpPr/>
            <p:nvPr/>
          </p:nvSpPr>
          <p:spPr>
            <a:xfrm>
              <a:off x="5437531" y="3521407"/>
              <a:ext cx="84971" cy="84971"/>
            </a:xfrm>
            <a:custGeom>
              <a:avLst/>
              <a:gdLst>
                <a:gd name="connsiteX0" fmla="*/ 45649 w 84971"/>
                <a:gd name="connsiteY0" fmla="*/ 15909 h 84971"/>
                <a:gd name="connsiteX1" fmla="*/ 71140 w 84971"/>
                <a:gd name="connsiteY1" fmla="*/ 45648 h 84971"/>
                <a:gd name="connsiteX2" fmla="*/ 41400 w 84971"/>
                <a:gd name="connsiteY2" fmla="*/ 71140 h 84971"/>
                <a:gd name="connsiteX3" fmla="*/ 15908 w 84971"/>
                <a:gd name="connsiteY3" fmla="*/ 41400 h 84971"/>
                <a:gd name="connsiteX4" fmla="*/ 45649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9" y="15909"/>
                  </a:moveTo>
                  <a:cubicBezTo>
                    <a:pt x="61227" y="17325"/>
                    <a:pt x="72556" y="30070"/>
                    <a:pt x="71140" y="45648"/>
                  </a:cubicBezTo>
                  <a:cubicBezTo>
                    <a:pt x="69724" y="61227"/>
                    <a:pt x="56978" y="72556"/>
                    <a:pt x="41400" y="71140"/>
                  </a:cubicBezTo>
                  <a:cubicBezTo>
                    <a:pt x="25822" y="69724"/>
                    <a:pt x="14493" y="56978"/>
                    <a:pt x="15908" y="41400"/>
                  </a:cubicBezTo>
                  <a:cubicBezTo>
                    <a:pt x="15908" y="25822"/>
                    <a:pt x="30070" y="14492"/>
                    <a:pt x="45649" y="1590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6" name="Freeform: Shape 2715">
              <a:extLst>
                <a:ext uri="{FF2B5EF4-FFF2-40B4-BE49-F238E27FC236}">
                  <a16:creationId xmlns:a16="http://schemas.microsoft.com/office/drawing/2014/main" id="{96A51211-1657-49E2-A937-63F5689CD9BC}"/>
                </a:ext>
              </a:extLst>
            </p:cNvPr>
            <p:cNvSpPr/>
            <p:nvPr/>
          </p:nvSpPr>
          <p:spPr>
            <a:xfrm>
              <a:off x="6196839" y="4425458"/>
              <a:ext cx="84971" cy="84971"/>
            </a:xfrm>
            <a:custGeom>
              <a:avLst/>
              <a:gdLst>
                <a:gd name="connsiteX0" fmla="*/ 45649 w 84971"/>
                <a:gd name="connsiteY0" fmla="*/ 15909 h 84971"/>
                <a:gd name="connsiteX1" fmla="*/ 71140 w 84971"/>
                <a:gd name="connsiteY1" fmla="*/ 45648 h 84971"/>
                <a:gd name="connsiteX2" fmla="*/ 41400 w 84971"/>
                <a:gd name="connsiteY2" fmla="*/ 71140 h 84971"/>
                <a:gd name="connsiteX3" fmla="*/ 15908 w 84971"/>
                <a:gd name="connsiteY3" fmla="*/ 41400 h 84971"/>
                <a:gd name="connsiteX4" fmla="*/ 45649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9" y="15909"/>
                  </a:moveTo>
                  <a:cubicBezTo>
                    <a:pt x="61227" y="17325"/>
                    <a:pt x="72556" y="30070"/>
                    <a:pt x="71140" y="45648"/>
                  </a:cubicBezTo>
                  <a:cubicBezTo>
                    <a:pt x="69724" y="61227"/>
                    <a:pt x="56978" y="72556"/>
                    <a:pt x="41400" y="71140"/>
                  </a:cubicBezTo>
                  <a:cubicBezTo>
                    <a:pt x="25822" y="69724"/>
                    <a:pt x="14493" y="56978"/>
                    <a:pt x="15908" y="41400"/>
                  </a:cubicBezTo>
                  <a:cubicBezTo>
                    <a:pt x="15908" y="25822"/>
                    <a:pt x="30070" y="14492"/>
                    <a:pt x="45649" y="1590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7" name="Freeform: Shape 2716">
              <a:extLst>
                <a:ext uri="{FF2B5EF4-FFF2-40B4-BE49-F238E27FC236}">
                  <a16:creationId xmlns:a16="http://schemas.microsoft.com/office/drawing/2014/main" id="{52508AC9-D683-43F7-8367-E6DE29F5943B}"/>
                </a:ext>
              </a:extLst>
            </p:cNvPr>
            <p:cNvSpPr/>
            <p:nvPr/>
          </p:nvSpPr>
          <p:spPr>
            <a:xfrm>
              <a:off x="6038474" y="1765057"/>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2" y="58275"/>
                    <a:pt x="58275" y="48361"/>
                    <a:pt x="58275" y="37032"/>
                  </a:cubicBezTo>
                  <a:cubicBezTo>
                    <a:pt x="58275" y="25702"/>
                    <a:pt x="48362" y="15789"/>
                    <a:pt x="37032" y="15789"/>
                  </a:cubicBezTo>
                  <a:cubicBezTo>
                    <a:pt x="25703" y="15789"/>
                    <a:pt x="15789" y="25702"/>
                    <a:pt x="15789" y="37032"/>
                  </a:cubicBezTo>
                  <a:cubicBezTo>
                    <a:pt x="15789" y="48361"/>
                    <a:pt x="25703"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8" name="Freeform: Shape 2717">
              <a:extLst>
                <a:ext uri="{FF2B5EF4-FFF2-40B4-BE49-F238E27FC236}">
                  <a16:creationId xmlns:a16="http://schemas.microsoft.com/office/drawing/2014/main" id="{09BAD74C-8E0C-441A-A3EB-EEF15C4427AD}"/>
                </a:ext>
              </a:extLst>
            </p:cNvPr>
            <p:cNvSpPr/>
            <p:nvPr/>
          </p:nvSpPr>
          <p:spPr>
            <a:xfrm>
              <a:off x="4237494" y="4225851"/>
              <a:ext cx="99133" cy="99133"/>
            </a:xfrm>
            <a:custGeom>
              <a:avLst/>
              <a:gdLst>
                <a:gd name="connsiteX0" fmla="*/ 49778 w 99133"/>
                <a:gd name="connsiteY0" fmla="*/ 83766 h 99133"/>
                <a:gd name="connsiteX1" fmla="*/ 83766 w 99133"/>
                <a:gd name="connsiteY1" fmla="*/ 49777 h 99133"/>
                <a:gd name="connsiteX2" fmla="*/ 49778 w 99133"/>
                <a:gd name="connsiteY2" fmla="*/ 15789 h 99133"/>
                <a:gd name="connsiteX3" fmla="*/ 15789 w 99133"/>
                <a:gd name="connsiteY3" fmla="*/ 49777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7"/>
                  </a:cubicBezTo>
                  <a:cubicBezTo>
                    <a:pt x="83766" y="31367"/>
                    <a:pt x="68188" y="15789"/>
                    <a:pt x="49778" y="15789"/>
                  </a:cubicBezTo>
                  <a:cubicBezTo>
                    <a:pt x="31367" y="15789"/>
                    <a:pt x="15789" y="31367"/>
                    <a:pt x="15789" y="49777"/>
                  </a:cubicBezTo>
                  <a:cubicBezTo>
                    <a:pt x="15789" y="69604"/>
                    <a:pt x="31367" y="83766"/>
                    <a:pt x="49778" y="8376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9" name="Freeform: Shape 2718">
              <a:extLst>
                <a:ext uri="{FF2B5EF4-FFF2-40B4-BE49-F238E27FC236}">
                  <a16:creationId xmlns:a16="http://schemas.microsoft.com/office/drawing/2014/main" id="{03F2D3EA-0601-4B00-BB95-0499E8B86E03}"/>
                </a:ext>
              </a:extLst>
            </p:cNvPr>
            <p:cNvSpPr/>
            <p:nvPr/>
          </p:nvSpPr>
          <p:spPr>
            <a:xfrm>
              <a:off x="4375261" y="4552120"/>
              <a:ext cx="70810" cy="70810"/>
            </a:xfrm>
            <a:custGeom>
              <a:avLst/>
              <a:gdLst>
                <a:gd name="connsiteX0" fmla="*/ 41388 w 70809"/>
                <a:gd name="connsiteY0" fmla="*/ 66772 h 70809"/>
                <a:gd name="connsiteX1" fmla="*/ 66879 w 70809"/>
                <a:gd name="connsiteY1" fmla="*/ 41280 h 70809"/>
                <a:gd name="connsiteX2" fmla="*/ 41388 w 70809"/>
                <a:gd name="connsiteY2" fmla="*/ 15789 h 70809"/>
                <a:gd name="connsiteX3" fmla="*/ 15897 w 70809"/>
                <a:gd name="connsiteY3" fmla="*/ 41280 h 70809"/>
                <a:gd name="connsiteX4" fmla="*/ 41388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388" y="66772"/>
                  </a:moveTo>
                  <a:cubicBezTo>
                    <a:pt x="55550" y="66772"/>
                    <a:pt x="66879" y="55442"/>
                    <a:pt x="66879" y="41280"/>
                  </a:cubicBezTo>
                  <a:cubicBezTo>
                    <a:pt x="66879" y="27118"/>
                    <a:pt x="55550" y="15789"/>
                    <a:pt x="41388" y="15789"/>
                  </a:cubicBezTo>
                  <a:cubicBezTo>
                    <a:pt x="27226" y="15789"/>
                    <a:pt x="15897" y="27118"/>
                    <a:pt x="15897" y="41280"/>
                  </a:cubicBezTo>
                  <a:cubicBezTo>
                    <a:pt x="14481" y="54026"/>
                    <a:pt x="27226" y="66772"/>
                    <a:pt x="41388"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0" name="Freeform: Shape 2719">
              <a:extLst>
                <a:ext uri="{FF2B5EF4-FFF2-40B4-BE49-F238E27FC236}">
                  <a16:creationId xmlns:a16="http://schemas.microsoft.com/office/drawing/2014/main" id="{BB579F6F-F895-4C67-A42E-BEA9F2696D10}"/>
                </a:ext>
              </a:extLst>
            </p:cNvPr>
            <p:cNvSpPr/>
            <p:nvPr/>
          </p:nvSpPr>
          <p:spPr>
            <a:xfrm>
              <a:off x="3663410" y="5176177"/>
              <a:ext cx="70810" cy="70810"/>
            </a:xfrm>
            <a:custGeom>
              <a:avLst/>
              <a:gdLst>
                <a:gd name="connsiteX0" fmla="*/ 41388 w 70809"/>
                <a:gd name="connsiteY0" fmla="*/ 66772 h 70809"/>
                <a:gd name="connsiteX1" fmla="*/ 66879 w 70809"/>
                <a:gd name="connsiteY1" fmla="*/ 41280 h 70809"/>
                <a:gd name="connsiteX2" fmla="*/ 41388 w 70809"/>
                <a:gd name="connsiteY2" fmla="*/ 15789 h 70809"/>
                <a:gd name="connsiteX3" fmla="*/ 15897 w 70809"/>
                <a:gd name="connsiteY3" fmla="*/ 41280 h 70809"/>
                <a:gd name="connsiteX4" fmla="*/ 41388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388" y="66772"/>
                  </a:moveTo>
                  <a:cubicBezTo>
                    <a:pt x="55550" y="66772"/>
                    <a:pt x="66879" y="55442"/>
                    <a:pt x="66879" y="41280"/>
                  </a:cubicBezTo>
                  <a:cubicBezTo>
                    <a:pt x="66879" y="27118"/>
                    <a:pt x="55550" y="15789"/>
                    <a:pt x="41388" y="15789"/>
                  </a:cubicBezTo>
                  <a:cubicBezTo>
                    <a:pt x="27226" y="15789"/>
                    <a:pt x="15897" y="27118"/>
                    <a:pt x="15897" y="41280"/>
                  </a:cubicBezTo>
                  <a:cubicBezTo>
                    <a:pt x="14481" y="54026"/>
                    <a:pt x="27226" y="66772"/>
                    <a:pt x="41388"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1" name="Freeform: Shape 2720">
              <a:extLst>
                <a:ext uri="{FF2B5EF4-FFF2-40B4-BE49-F238E27FC236}">
                  <a16:creationId xmlns:a16="http://schemas.microsoft.com/office/drawing/2014/main" id="{FAC9CBC8-F98F-4398-AC47-14533D893FBB}"/>
                </a:ext>
              </a:extLst>
            </p:cNvPr>
            <p:cNvSpPr/>
            <p:nvPr/>
          </p:nvSpPr>
          <p:spPr>
            <a:xfrm>
              <a:off x="3997428" y="5361485"/>
              <a:ext cx="56648" cy="56648"/>
            </a:xfrm>
            <a:custGeom>
              <a:avLst/>
              <a:gdLst>
                <a:gd name="connsiteX0" fmla="*/ 35771 w 56647"/>
                <a:gd name="connsiteY0" fmla="*/ 15969 h 56647"/>
                <a:gd name="connsiteX1" fmla="*/ 52765 w 56647"/>
                <a:gd name="connsiteY1" fmla="*/ 35795 h 56647"/>
                <a:gd name="connsiteX2" fmla="*/ 32938 w 56647"/>
                <a:gd name="connsiteY2" fmla="*/ 52790 h 56647"/>
                <a:gd name="connsiteX3" fmla="*/ 15944 w 56647"/>
                <a:gd name="connsiteY3" fmla="*/ 32963 h 56647"/>
                <a:gd name="connsiteX4" fmla="*/ 35771 w 56647"/>
                <a:gd name="connsiteY4" fmla="*/ 1596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69"/>
                  </a:moveTo>
                  <a:cubicBezTo>
                    <a:pt x="45684" y="17385"/>
                    <a:pt x="54181" y="25882"/>
                    <a:pt x="52765" y="35795"/>
                  </a:cubicBezTo>
                  <a:cubicBezTo>
                    <a:pt x="51349" y="45709"/>
                    <a:pt x="42852" y="54205"/>
                    <a:pt x="32938" y="52790"/>
                  </a:cubicBezTo>
                  <a:cubicBezTo>
                    <a:pt x="23025" y="51373"/>
                    <a:pt x="14528" y="42876"/>
                    <a:pt x="15944" y="32963"/>
                  </a:cubicBezTo>
                  <a:cubicBezTo>
                    <a:pt x="15944" y="21633"/>
                    <a:pt x="25857" y="14552"/>
                    <a:pt x="35771" y="159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2" name="Freeform: Shape 2721">
              <a:extLst>
                <a:ext uri="{FF2B5EF4-FFF2-40B4-BE49-F238E27FC236}">
                  <a16:creationId xmlns:a16="http://schemas.microsoft.com/office/drawing/2014/main" id="{3C1351D2-D3F0-4D2D-A2EA-AF08E08166FC}"/>
                </a:ext>
              </a:extLst>
            </p:cNvPr>
            <p:cNvSpPr/>
            <p:nvPr/>
          </p:nvSpPr>
          <p:spPr>
            <a:xfrm>
              <a:off x="3793267" y="4280604"/>
              <a:ext cx="70810" cy="70810"/>
            </a:xfrm>
            <a:custGeom>
              <a:avLst/>
              <a:gdLst>
                <a:gd name="connsiteX0" fmla="*/ 35616 w 70809"/>
                <a:gd name="connsiteY0" fmla="*/ 55443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3"/>
                  </a:moveTo>
                  <a:cubicBezTo>
                    <a:pt x="46945" y="55443"/>
                    <a:pt x="55442" y="46945"/>
                    <a:pt x="55442" y="35616"/>
                  </a:cubicBezTo>
                  <a:cubicBezTo>
                    <a:pt x="55442" y="24286"/>
                    <a:pt x="46945" y="15789"/>
                    <a:pt x="35616" y="15789"/>
                  </a:cubicBezTo>
                  <a:cubicBezTo>
                    <a:pt x="24286" y="15789"/>
                    <a:pt x="15789" y="24286"/>
                    <a:pt x="15789" y="35616"/>
                  </a:cubicBezTo>
                  <a:cubicBezTo>
                    <a:pt x="17205" y="45529"/>
                    <a:pt x="25703" y="55443"/>
                    <a:pt x="35616" y="554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3" name="Freeform: Shape 2722">
              <a:extLst>
                <a:ext uri="{FF2B5EF4-FFF2-40B4-BE49-F238E27FC236}">
                  <a16:creationId xmlns:a16="http://schemas.microsoft.com/office/drawing/2014/main" id="{BA02B67B-80CF-4DC4-B7EC-AC7F0582AE03}"/>
                </a:ext>
              </a:extLst>
            </p:cNvPr>
            <p:cNvSpPr/>
            <p:nvPr/>
          </p:nvSpPr>
          <p:spPr>
            <a:xfrm>
              <a:off x="2794843" y="2999667"/>
              <a:ext cx="70810" cy="70810"/>
            </a:xfrm>
            <a:custGeom>
              <a:avLst/>
              <a:gdLst>
                <a:gd name="connsiteX0" fmla="*/ 39864 w 70809"/>
                <a:gd name="connsiteY0" fmla="*/ 63940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4026" y="63940"/>
                    <a:pt x="63940" y="52610"/>
                    <a:pt x="63940" y="39864"/>
                  </a:cubicBezTo>
                  <a:cubicBezTo>
                    <a:pt x="63940" y="25703"/>
                    <a:pt x="52610" y="15789"/>
                    <a:pt x="39864" y="15789"/>
                  </a:cubicBezTo>
                  <a:cubicBezTo>
                    <a:pt x="25702" y="15789"/>
                    <a:pt x="15789" y="27119"/>
                    <a:pt x="15789" y="39864"/>
                  </a:cubicBezTo>
                  <a:cubicBezTo>
                    <a:pt x="15789" y="52610"/>
                    <a:pt x="27119"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4" name="Freeform: Shape 2723">
              <a:extLst>
                <a:ext uri="{FF2B5EF4-FFF2-40B4-BE49-F238E27FC236}">
                  <a16:creationId xmlns:a16="http://schemas.microsoft.com/office/drawing/2014/main" id="{4CF27316-7466-46F7-AF4C-3A550B768BC8}"/>
                </a:ext>
              </a:extLst>
            </p:cNvPr>
            <p:cNvSpPr/>
            <p:nvPr/>
          </p:nvSpPr>
          <p:spPr>
            <a:xfrm>
              <a:off x="2339258" y="3253561"/>
              <a:ext cx="70810" cy="70810"/>
            </a:xfrm>
            <a:custGeom>
              <a:avLst/>
              <a:gdLst>
                <a:gd name="connsiteX0" fmla="*/ 39864 w 70809"/>
                <a:gd name="connsiteY0" fmla="*/ 63940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4026" y="63940"/>
                    <a:pt x="63940" y="52610"/>
                    <a:pt x="63940" y="39864"/>
                  </a:cubicBezTo>
                  <a:cubicBezTo>
                    <a:pt x="63940" y="25703"/>
                    <a:pt x="52610" y="15789"/>
                    <a:pt x="39864" y="15789"/>
                  </a:cubicBezTo>
                  <a:cubicBezTo>
                    <a:pt x="25702" y="15789"/>
                    <a:pt x="15789" y="27119"/>
                    <a:pt x="15789" y="39864"/>
                  </a:cubicBezTo>
                  <a:cubicBezTo>
                    <a:pt x="15789" y="52610"/>
                    <a:pt x="27119"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5" name="Freeform: Shape 2724">
              <a:extLst>
                <a:ext uri="{FF2B5EF4-FFF2-40B4-BE49-F238E27FC236}">
                  <a16:creationId xmlns:a16="http://schemas.microsoft.com/office/drawing/2014/main" id="{AAE92C0F-6DE6-4B79-9DFA-9A71F760492D}"/>
                </a:ext>
              </a:extLst>
            </p:cNvPr>
            <p:cNvSpPr/>
            <p:nvPr/>
          </p:nvSpPr>
          <p:spPr>
            <a:xfrm>
              <a:off x="2626371" y="3372202"/>
              <a:ext cx="70810" cy="70810"/>
            </a:xfrm>
            <a:custGeom>
              <a:avLst/>
              <a:gdLst>
                <a:gd name="connsiteX0" fmla="*/ 39864 w 70809"/>
                <a:gd name="connsiteY0" fmla="*/ 63940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4026" y="63940"/>
                    <a:pt x="63940" y="52610"/>
                    <a:pt x="63940" y="39864"/>
                  </a:cubicBezTo>
                  <a:cubicBezTo>
                    <a:pt x="63940" y="25703"/>
                    <a:pt x="52610" y="15789"/>
                    <a:pt x="39864" y="15789"/>
                  </a:cubicBezTo>
                  <a:cubicBezTo>
                    <a:pt x="25702" y="15789"/>
                    <a:pt x="15789" y="27119"/>
                    <a:pt x="15789" y="39864"/>
                  </a:cubicBezTo>
                  <a:cubicBezTo>
                    <a:pt x="15789" y="52610"/>
                    <a:pt x="27119"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6" name="Freeform: Shape 2725">
              <a:extLst>
                <a:ext uri="{FF2B5EF4-FFF2-40B4-BE49-F238E27FC236}">
                  <a16:creationId xmlns:a16="http://schemas.microsoft.com/office/drawing/2014/main" id="{C28EA8E7-3409-4343-9CA7-DB99712D476A}"/>
                </a:ext>
              </a:extLst>
            </p:cNvPr>
            <p:cNvSpPr/>
            <p:nvPr/>
          </p:nvSpPr>
          <p:spPr>
            <a:xfrm>
              <a:off x="2760066" y="2503641"/>
              <a:ext cx="107387" cy="107387"/>
            </a:xfrm>
            <a:custGeom>
              <a:avLst/>
              <a:gdLst>
                <a:gd name="connsiteX0" fmla="*/ 44220 w 84971"/>
                <a:gd name="connsiteY0" fmla="*/ 72437 h 84971"/>
                <a:gd name="connsiteX1" fmla="*/ 72544 w 84971"/>
                <a:gd name="connsiteY1" fmla="*/ 44113 h 84971"/>
                <a:gd name="connsiteX2" fmla="*/ 44220 w 84971"/>
                <a:gd name="connsiteY2" fmla="*/ 15789 h 84971"/>
                <a:gd name="connsiteX3" fmla="*/ 15896 w 84971"/>
                <a:gd name="connsiteY3" fmla="*/ 44113 h 84971"/>
                <a:gd name="connsiteX4" fmla="*/ 44220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220" y="72437"/>
                  </a:moveTo>
                  <a:cubicBezTo>
                    <a:pt x="59798" y="72437"/>
                    <a:pt x="72544" y="59691"/>
                    <a:pt x="72544" y="44113"/>
                  </a:cubicBezTo>
                  <a:cubicBezTo>
                    <a:pt x="72544" y="28535"/>
                    <a:pt x="59798" y="15789"/>
                    <a:pt x="44220" y="15789"/>
                  </a:cubicBezTo>
                  <a:cubicBezTo>
                    <a:pt x="28642" y="15789"/>
                    <a:pt x="15896" y="28535"/>
                    <a:pt x="15896" y="44113"/>
                  </a:cubicBezTo>
                  <a:cubicBezTo>
                    <a:pt x="14480" y="59691"/>
                    <a:pt x="27226" y="72437"/>
                    <a:pt x="44220"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7" name="Freeform: Shape 2726">
              <a:extLst>
                <a:ext uri="{FF2B5EF4-FFF2-40B4-BE49-F238E27FC236}">
                  <a16:creationId xmlns:a16="http://schemas.microsoft.com/office/drawing/2014/main" id="{48C99ABA-7334-4016-9C30-4E4ED4AF4057}"/>
                </a:ext>
              </a:extLst>
            </p:cNvPr>
            <p:cNvSpPr/>
            <p:nvPr/>
          </p:nvSpPr>
          <p:spPr>
            <a:xfrm>
              <a:off x="2149560" y="2597823"/>
              <a:ext cx="84971" cy="84971"/>
            </a:xfrm>
            <a:custGeom>
              <a:avLst/>
              <a:gdLst>
                <a:gd name="connsiteX0" fmla="*/ 44220 w 84971"/>
                <a:gd name="connsiteY0" fmla="*/ 72437 h 84971"/>
                <a:gd name="connsiteX1" fmla="*/ 72544 w 84971"/>
                <a:gd name="connsiteY1" fmla="*/ 44113 h 84971"/>
                <a:gd name="connsiteX2" fmla="*/ 44220 w 84971"/>
                <a:gd name="connsiteY2" fmla="*/ 15789 h 84971"/>
                <a:gd name="connsiteX3" fmla="*/ 15896 w 84971"/>
                <a:gd name="connsiteY3" fmla="*/ 44113 h 84971"/>
                <a:gd name="connsiteX4" fmla="*/ 44220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220" y="72437"/>
                  </a:moveTo>
                  <a:cubicBezTo>
                    <a:pt x="59798" y="72437"/>
                    <a:pt x="72544" y="59691"/>
                    <a:pt x="72544" y="44113"/>
                  </a:cubicBezTo>
                  <a:cubicBezTo>
                    <a:pt x="72544" y="28535"/>
                    <a:pt x="59798" y="15789"/>
                    <a:pt x="44220" y="15789"/>
                  </a:cubicBezTo>
                  <a:cubicBezTo>
                    <a:pt x="28642" y="15789"/>
                    <a:pt x="15896" y="28535"/>
                    <a:pt x="15896" y="44113"/>
                  </a:cubicBezTo>
                  <a:cubicBezTo>
                    <a:pt x="14480" y="59691"/>
                    <a:pt x="27226" y="72437"/>
                    <a:pt x="44220"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8" name="Freeform: Shape 2727">
              <a:extLst>
                <a:ext uri="{FF2B5EF4-FFF2-40B4-BE49-F238E27FC236}">
                  <a16:creationId xmlns:a16="http://schemas.microsoft.com/office/drawing/2014/main" id="{2F36CC56-C971-4D0B-8370-E2BC479A5371}"/>
                </a:ext>
              </a:extLst>
            </p:cNvPr>
            <p:cNvSpPr/>
            <p:nvPr/>
          </p:nvSpPr>
          <p:spPr>
            <a:xfrm>
              <a:off x="2215492" y="1568044"/>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7205" y="71020"/>
                    <a:pt x="32783"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9" name="Freeform: Shape 2728">
              <a:extLst>
                <a:ext uri="{FF2B5EF4-FFF2-40B4-BE49-F238E27FC236}">
                  <a16:creationId xmlns:a16="http://schemas.microsoft.com/office/drawing/2014/main" id="{BA84EBF4-502C-43D1-AE61-3C4DB65DAE95}"/>
                </a:ext>
              </a:extLst>
            </p:cNvPr>
            <p:cNvSpPr/>
            <p:nvPr/>
          </p:nvSpPr>
          <p:spPr>
            <a:xfrm>
              <a:off x="1047787" y="1504504"/>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5789" y="71020"/>
                    <a:pt x="31367"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grpSp>
      <p:sp>
        <p:nvSpPr>
          <p:cNvPr id="2" name="Rectangle 1">
            <a:extLst>
              <a:ext uri="{FF2B5EF4-FFF2-40B4-BE49-F238E27FC236}">
                <a16:creationId xmlns:a16="http://schemas.microsoft.com/office/drawing/2014/main" id="{58716C42-42D8-44C0-964F-71B07ED42E21}"/>
              </a:ext>
            </a:extLst>
          </p:cNvPr>
          <p:cNvSpPr/>
          <p:nvPr/>
        </p:nvSpPr>
        <p:spPr bwMode="auto">
          <a:xfrm>
            <a:off x="882" y="-1"/>
            <a:ext cx="12434711" cy="6994525"/>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12" name="矩形 11"/>
          <p:cNvSpPr/>
          <p:nvPr/>
        </p:nvSpPr>
        <p:spPr bwMode="auto">
          <a:xfrm>
            <a:off x="882" y="0"/>
            <a:ext cx="12434711" cy="2349105"/>
          </a:xfrm>
          <a:prstGeom prst="rect">
            <a:avLst/>
          </a:prstGeom>
          <a:solidFill>
            <a:schemeClr val="bg2">
              <a:lumMod val="10000"/>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zh-CN" alt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27" name="文本框 4">
            <a:extLst>
              <a:ext uri="{FF2B5EF4-FFF2-40B4-BE49-F238E27FC236}">
                <a16:creationId xmlns:a16="http://schemas.microsoft.com/office/drawing/2014/main" id="{57F77F45-0324-4169-A0A8-BB5E462A8D45}"/>
              </a:ext>
            </a:extLst>
          </p:cNvPr>
          <p:cNvSpPr txBox="1"/>
          <p:nvPr/>
        </p:nvSpPr>
        <p:spPr>
          <a:xfrm>
            <a:off x="163860" y="173417"/>
            <a:ext cx="3244493" cy="552601"/>
          </a:xfrm>
          <a:prstGeom prst="rect">
            <a:avLst/>
          </a:prstGeom>
          <a:ln w="12700">
            <a:miter lim="400000"/>
          </a:ln>
          <a:extLst>
            <a:ext uri="{C572A759-6A51-4108-AA02-DFA0A04FC94B}">
              <ma14:wrappingTextBoxFlag xmlns:ma14="http://schemas.microsoft.com/office/mac/drawingml/2011/main" xmlns="" val="1"/>
            </a:ext>
          </a:extLst>
        </p:spPr>
        <p:txBody>
          <a:bodyPr wrap="square" lIns="19429" tIns="19429" rIns="19429" bIns="19429" anchor="ctr">
            <a:spAutoFit/>
          </a:bodyPr>
          <a:lstStyle>
            <a:lvl1pPr defTabSz="587023">
              <a:defRPr sz="3600" b="0">
                <a:solidFill>
                  <a:srgbClr val="FFFFFF"/>
                </a:solidFill>
                <a:latin typeface="Helvetica Light"/>
                <a:ea typeface="Helvetica Light"/>
                <a:cs typeface="Helvetica Light"/>
                <a:sym typeface="Helvetica Light"/>
              </a:defRPr>
            </a:lvl1pPr>
          </a:lstStyle>
          <a:p>
            <a:pPr defTabSz="598705">
              <a:lnSpc>
                <a:spcPct val="90000"/>
              </a:lnSpc>
              <a:spcAft>
                <a:spcPts val="408"/>
              </a:spcAft>
              <a:defRPr/>
            </a:pPr>
            <a:r>
              <a:rPr lang="en-US" altLang="zh-CN" sz="1632" dirty="0" err="1">
                <a:latin typeface="Segoe UI" panose="020B0502040204020203" pitchFamily="34" charset="0"/>
                <a:ea typeface="Microsoft YaHei" charset="-122"/>
                <a:cs typeface="Segoe UI" panose="020B0502040204020203" pitchFamily="34" charset="0"/>
              </a:rPr>
              <a:t>IoT</a:t>
            </a:r>
            <a:r>
              <a:rPr lang="zh-CN" altLang="en-US" sz="1632" dirty="0">
                <a:latin typeface="Segoe UI" panose="020B0502040204020203" pitchFamily="34" charset="0"/>
                <a:ea typeface="Microsoft YaHei" charset="-122"/>
                <a:cs typeface="Segoe UI" panose="020B0502040204020203" pitchFamily="34" charset="0"/>
              </a:rPr>
              <a:t> </a:t>
            </a:r>
            <a:r>
              <a:rPr lang="en-US" altLang="zh-CN" sz="1632" dirty="0">
                <a:latin typeface="Segoe UI" panose="020B0502040204020203" pitchFamily="34" charset="0"/>
                <a:ea typeface="Microsoft YaHei" charset="-122"/>
                <a:cs typeface="Segoe UI" panose="020B0502040204020203" pitchFamily="34" charset="0"/>
              </a:rPr>
              <a:t>Edge</a:t>
            </a:r>
            <a:r>
              <a:rPr lang="zh-CN" altLang="en-US" sz="1632" dirty="0">
                <a:latin typeface="Segoe UI" panose="020B0502040204020203" pitchFamily="34" charset="0"/>
                <a:ea typeface="Microsoft YaHei" charset="-122"/>
                <a:cs typeface="Segoe UI" panose="020B0502040204020203" pitchFamily="34" charset="0"/>
              </a:rPr>
              <a:t> </a:t>
            </a:r>
            <a:r>
              <a:rPr lang="zh-CN" altLang="en-US" sz="1632" dirty="0">
                <a:latin typeface="Microsoft YaHei" charset="-122"/>
                <a:ea typeface="Microsoft YaHei" charset="-122"/>
                <a:cs typeface="Microsoft YaHei" charset="-122"/>
              </a:rPr>
              <a:t>端侧模型推理</a:t>
            </a:r>
            <a:endParaRPr lang="en-US" altLang="zh-CN" sz="1632" dirty="0">
              <a:latin typeface="Microsoft YaHei" charset="-122"/>
              <a:ea typeface="Microsoft YaHei" charset="-122"/>
              <a:cs typeface="Microsoft YaHei" charset="-122"/>
            </a:endParaRPr>
          </a:p>
          <a:p>
            <a:pPr defTabSz="598705">
              <a:lnSpc>
                <a:spcPct val="90000"/>
              </a:lnSpc>
              <a:spcAft>
                <a:spcPts val="408"/>
              </a:spcAft>
              <a:defRPr/>
            </a:pPr>
            <a:r>
              <a:rPr lang="en-US" altLang="zh-CN" sz="1632" dirty="0">
                <a:latin typeface="Segoe UI Light"/>
                <a:ea typeface="Microsoft YaHei" charset="-122"/>
                <a:cs typeface="Segoe UI" panose="020B0502040204020203" pitchFamily="34" charset="0"/>
              </a:rPr>
              <a:t>IOT Edge</a:t>
            </a:r>
            <a:r>
              <a:rPr lang="zh-CN" altLang="en-US" sz="1632" dirty="0">
                <a:latin typeface="Segoe UI Light"/>
                <a:ea typeface="Microsoft YaHei" charset="-122"/>
                <a:cs typeface="Segoe UI" panose="020B0502040204020203" pitchFamily="34" charset="0"/>
              </a:rPr>
              <a:t> </a:t>
            </a:r>
            <a:r>
              <a:rPr lang="en-US" altLang="zh-CN" sz="1632" dirty="0">
                <a:latin typeface="Segoe UI Light"/>
                <a:ea typeface="Microsoft YaHei" charset="-122"/>
                <a:cs typeface="Segoe UI" panose="020B0502040204020203" pitchFamily="34" charset="0"/>
              </a:rPr>
              <a:t>Edge model reasoning</a:t>
            </a:r>
            <a:endParaRPr lang="zh-CN" altLang="en-US" sz="1632" dirty="0" err="1">
              <a:latin typeface="Segoe UI Light"/>
              <a:ea typeface="Microsoft YaHei" charset="-122"/>
              <a:cs typeface="Segoe UI" panose="020B0502040204020203" pitchFamily="34" charset="0"/>
            </a:endParaRPr>
          </a:p>
        </p:txBody>
      </p:sp>
      <p:pic>
        <p:nvPicPr>
          <p:cNvPr id="13" name="图片 1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27365" y="1064917"/>
            <a:ext cx="751303" cy="751303"/>
          </a:xfrm>
          <a:prstGeom prst="rect">
            <a:avLst/>
          </a:prstGeom>
        </p:spPr>
      </p:pic>
      <p:pic>
        <p:nvPicPr>
          <p:cNvPr id="14" name="图片 1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88614" y="923380"/>
            <a:ext cx="1202890" cy="1082601"/>
          </a:xfrm>
          <a:prstGeom prst="rect">
            <a:avLst/>
          </a:prstGeom>
        </p:spPr>
      </p:pic>
      <p:sp>
        <p:nvSpPr>
          <p:cNvPr id="931" name="Striped Right Arrow 74">
            <a:extLst>
              <a:ext uri="{FF2B5EF4-FFF2-40B4-BE49-F238E27FC236}">
                <a16:creationId xmlns:a16="http://schemas.microsoft.com/office/drawing/2014/main" id="{5FB5BE8A-711A-4698-8451-967883033993}"/>
              </a:ext>
            </a:extLst>
          </p:cNvPr>
          <p:cNvSpPr/>
          <p:nvPr/>
        </p:nvSpPr>
        <p:spPr bwMode="auto">
          <a:xfrm>
            <a:off x="2799326" y="1217042"/>
            <a:ext cx="426770" cy="401481"/>
          </a:xfrm>
          <a:prstGeom prst="stripedRightArrow">
            <a:avLst/>
          </a:prstGeom>
          <a:solidFill>
            <a:schemeClr val="accent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15" tIns="149131" rIns="186415" bIns="149131" numCol="1" spcCol="0" rtlCol="0" fromWordArt="0" anchor="t" anchorCtr="0" forceAA="0" compatLnSpc="1">
            <a:prstTxWarp prst="textNoShape">
              <a:avLst/>
            </a:prstTxWarp>
            <a:noAutofit/>
          </a:bodyPr>
          <a:lstStyle/>
          <a:p>
            <a:pPr algn="ctr" defTabSz="950298" fontAlgn="base">
              <a:lnSpc>
                <a:spcPct val="90000"/>
              </a:lnSpc>
              <a:spcBef>
                <a:spcPct val="0"/>
              </a:spcBef>
              <a:spcAft>
                <a:spcPct val="0"/>
              </a:spcAft>
              <a:defRPr/>
            </a:pPr>
            <a:endParaRPr lang="en-US" sz="2448" kern="0" dirty="0" err="1">
              <a:solidFill>
                <a:srgbClr val="FFFFFF"/>
              </a:solidFill>
              <a:latin typeface="Microsoft YaHei" charset="-122"/>
              <a:ea typeface="Microsoft YaHei" charset="-122"/>
              <a:cs typeface="Microsoft YaHei" charset="-122"/>
            </a:endParaRPr>
          </a:p>
        </p:txBody>
      </p:sp>
      <p:sp>
        <p:nvSpPr>
          <p:cNvPr id="16" name="矩形 15"/>
          <p:cNvSpPr/>
          <p:nvPr/>
        </p:nvSpPr>
        <p:spPr bwMode="auto">
          <a:xfrm>
            <a:off x="3631400" y="316904"/>
            <a:ext cx="5930632" cy="1838043"/>
          </a:xfrm>
          <a:prstGeom prst="rect">
            <a:avLst/>
          </a:prstGeom>
          <a:noFill/>
          <a:ln w="19050">
            <a:solidFill>
              <a:schemeClr val="tx2">
                <a:lumMod val="60000"/>
                <a:lumOff val="4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zh-CN" alt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7" name="图片 1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79979" y="1217412"/>
            <a:ext cx="805707" cy="837936"/>
          </a:xfrm>
          <a:prstGeom prst="rect">
            <a:avLst/>
          </a:prstGeom>
        </p:spPr>
      </p:pic>
      <p:pic>
        <p:nvPicPr>
          <p:cNvPr id="18" name="图片 1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841863" y="1217412"/>
            <a:ext cx="805707" cy="837936"/>
          </a:xfrm>
          <a:prstGeom prst="rect">
            <a:avLst/>
          </a:prstGeom>
        </p:spPr>
      </p:pic>
      <p:pic>
        <p:nvPicPr>
          <p:cNvPr id="19" name="图片 18"/>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41863" y="402518"/>
            <a:ext cx="805707" cy="837936"/>
          </a:xfrm>
          <a:prstGeom prst="rect">
            <a:avLst/>
          </a:prstGeom>
        </p:spPr>
      </p:pic>
      <p:pic>
        <p:nvPicPr>
          <p:cNvPr id="20" name="图片 19"/>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279979" y="402518"/>
            <a:ext cx="805707" cy="837936"/>
          </a:xfrm>
          <a:prstGeom prst="rect">
            <a:avLst/>
          </a:prstGeom>
        </p:spPr>
      </p:pic>
      <p:sp>
        <p:nvSpPr>
          <p:cNvPr id="6" name="矩形: 圆角 5">
            <a:extLst>
              <a:ext uri="{FF2B5EF4-FFF2-40B4-BE49-F238E27FC236}">
                <a16:creationId xmlns:a16="http://schemas.microsoft.com/office/drawing/2014/main" id="{357F38EA-BBAC-463D-A8AB-004C4A1658BC}"/>
              </a:ext>
            </a:extLst>
          </p:cNvPr>
          <p:cNvSpPr/>
          <p:nvPr/>
        </p:nvSpPr>
        <p:spPr bwMode="auto">
          <a:xfrm>
            <a:off x="4486960" y="444150"/>
            <a:ext cx="1632672" cy="1545489"/>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zh-CN" altLang="en-US" sz="1428" dirty="0">
                <a:gradFill>
                  <a:gsLst>
                    <a:gs pos="0">
                      <a:srgbClr val="FFFFFF"/>
                    </a:gs>
                    <a:gs pos="100000">
                      <a:srgbClr val="FFFFFF"/>
                    </a:gs>
                  </a:gsLst>
                  <a:lin ang="5400000" scaled="0"/>
                </a:gradFill>
                <a:latin typeface="Microsoft YaHei" charset="-122"/>
                <a:ea typeface="Microsoft YaHei" charset="-122"/>
                <a:cs typeface="Microsoft YaHei" charset="-122"/>
              </a:rPr>
              <a:t>布料缺陷检测算法</a:t>
            </a:r>
            <a:endParaRPr lang="en-US" altLang="zh-CN" sz="1428" dirty="0">
              <a:gradFill>
                <a:gsLst>
                  <a:gs pos="0">
                    <a:srgbClr val="FFFFFF"/>
                  </a:gs>
                  <a:gs pos="100000">
                    <a:srgbClr val="FFFFFF"/>
                  </a:gs>
                </a:gsLst>
                <a:lin ang="5400000" scaled="0"/>
              </a:gradFill>
              <a:latin typeface="Microsoft YaHei" charset="-122"/>
              <a:ea typeface="Microsoft YaHei" charset="-122"/>
              <a:cs typeface="Microsoft YaHei" charset="-122"/>
            </a:endParaRPr>
          </a:p>
          <a:p>
            <a:pPr algn="ctr" defTabSz="951028" fontAlgn="base">
              <a:lnSpc>
                <a:spcPct val="90000"/>
              </a:lnSpc>
              <a:spcBef>
                <a:spcPct val="0"/>
              </a:spcBef>
              <a:spcAft>
                <a:spcPct val="0"/>
              </a:spcAft>
              <a:defRPr/>
            </a:pPr>
            <a:endParaRPr lang="en-US" altLang="zh-CN" sz="1122" dirty="0">
              <a:gradFill>
                <a:gsLst>
                  <a:gs pos="0">
                    <a:srgbClr val="FFFFFF"/>
                  </a:gs>
                  <a:gs pos="100000">
                    <a:srgbClr val="FFFFFF"/>
                  </a:gs>
                </a:gsLst>
                <a:lin ang="5400000" scaled="0"/>
              </a:gradFill>
              <a:latin typeface="Microsoft YaHei" charset="-122"/>
              <a:ea typeface="Microsoft YaHei" charset="-122"/>
              <a:cs typeface="Microsoft YaHei" charset="-122"/>
            </a:endParaRPr>
          </a:p>
          <a:p>
            <a:pPr algn="ctr" defTabSz="951028" fontAlgn="base">
              <a:lnSpc>
                <a:spcPct val="90000"/>
              </a:lnSpc>
              <a:spcBef>
                <a:spcPct val="0"/>
              </a:spcBef>
              <a:spcAft>
                <a:spcPct val="0"/>
              </a:spcAft>
              <a:defRPr/>
            </a:pPr>
            <a:r>
              <a:rPr lang="en-US" altLang="zh-CN" sz="1122" dirty="0">
                <a:gradFill>
                  <a:gsLst>
                    <a:gs pos="0">
                      <a:srgbClr val="FFFFFF"/>
                    </a:gs>
                    <a:gs pos="100000">
                      <a:srgbClr val="FFFFFF"/>
                    </a:gs>
                  </a:gsLst>
                  <a:lin ang="5400000" scaled="0"/>
                </a:gradFill>
                <a:latin typeface="Segoe UI Light"/>
                <a:ea typeface="Microsoft YaHei" charset="-122"/>
                <a:cs typeface="Microsoft YaHei" charset="-122"/>
              </a:rPr>
              <a:t>Fabric defect detection algorithm</a:t>
            </a:r>
            <a:endParaRPr lang="zh-CN" altLang="en-US" sz="1122" dirty="0">
              <a:gradFill>
                <a:gsLst>
                  <a:gs pos="0">
                    <a:srgbClr val="FFFFFF"/>
                  </a:gs>
                  <a:gs pos="100000">
                    <a:srgbClr val="FFFFFF"/>
                  </a:gs>
                </a:gsLst>
                <a:lin ang="5400000" scaled="0"/>
              </a:gradFill>
              <a:latin typeface="Segoe UI Light"/>
              <a:ea typeface="Microsoft YaHei" charset="-122"/>
              <a:cs typeface="Microsoft YaHei" charset="-122"/>
            </a:endParaRPr>
          </a:p>
          <a:p>
            <a:pPr algn="ctr" defTabSz="951028" fontAlgn="base">
              <a:lnSpc>
                <a:spcPct val="90000"/>
              </a:lnSpc>
              <a:spcBef>
                <a:spcPct val="0"/>
              </a:spcBef>
              <a:spcAft>
                <a:spcPct val="0"/>
              </a:spcAft>
              <a:defRPr/>
            </a:pPr>
            <a:endParaRPr lang="zh-CN" altLang="en-US" sz="1428"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937" name="Rectangle 30"/>
          <p:cNvSpPr/>
          <p:nvPr/>
        </p:nvSpPr>
        <p:spPr>
          <a:xfrm>
            <a:off x="7126010" y="551727"/>
            <a:ext cx="668027" cy="569735"/>
          </a:xfrm>
          <a:prstGeom prst="rect">
            <a:avLst/>
          </a:prstGeom>
        </p:spPr>
        <p:txBody>
          <a:bodyPr wrap="none" lIns="0">
            <a:spAutoFit/>
          </a:bodyPr>
          <a:lstStyle/>
          <a:p>
            <a:pPr defTabSz="932563">
              <a:lnSpc>
                <a:spcPct val="90000"/>
              </a:lnSpc>
              <a:defRPr/>
            </a:pPr>
            <a:r>
              <a:rPr lang="en-US" sz="1122" dirty="0">
                <a:solidFill>
                  <a:srgbClr val="FFFFFF"/>
                </a:solidFill>
                <a:latin typeface="Segoe UI" panose="020B0502040204020203" pitchFamily="34" charset="0"/>
                <a:ea typeface="Microsoft YaHei" charset="-122"/>
                <a:cs typeface="Segoe UI" panose="020B0502040204020203" pitchFamily="34" charset="0"/>
              </a:rPr>
              <a:t>D</a:t>
            </a:r>
            <a:r>
              <a:rPr lang="en-US" altLang="zh-CN" sz="1122" dirty="0">
                <a:solidFill>
                  <a:srgbClr val="FFFFFF"/>
                </a:solidFill>
                <a:latin typeface="Segoe UI" panose="020B0502040204020203" pitchFamily="34" charset="0"/>
                <a:ea typeface="Microsoft YaHei" charset="-122"/>
                <a:cs typeface="Segoe UI" panose="020B0502040204020203" pitchFamily="34" charset="0"/>
              </a:rPr>
              <a:t>ata</a:t>
            </a:r>
          </a:p>
          <a:p>
            <a:pPr defTabSz="932563">
              <a:lnSpc>
                <a:spcPct val="90000"/>
              </a:lnSpc>
              <a:defRPr/>
            </a:pPr>
            <a:r>
              <a:rPr lang="en-US" sz="1122" dirty="0">
                <a:solidFill>
                  <a:srgbClr val="FFFFFF"/>
                </a:solidFill>
                <a:latin typeface="Segoe UI" panose="020B0502040204020203" pitchFamily="34" charset="0"/>
                <a:ea typeface="Microsoft YaHei" charset="-122"/>
                <a:cs typeface="Segoe UI" panose="020B0502040204020203" pitchFamily="34" charset="0"/>
              </a:rPr>
              <a:t>Lake</a:t>
            </a:r>
          </a:p>
          <a:p>
            <a:pPr defTabSz="932563">
              <a:lnSpc>
                <a:spcPct val="90000"/>
              </a:lnSpc>
              <a:defRPr/>
            </a:pPr>
            <a:r>
              <a:rPr lang="en-US" sz="1122" dirty="0">
                <a:solidFill>
                  <a:srgbClr val="FFFFFF"/>
                </a:solidFill>
                <a:latin typeface="Segoe UI" panose="020B0502040204020203" pitchFamily="34" charset="0"/>
                <a:ea typeface="Microsoft YaHei" charset="-122"/>
                <a:cs typeface="Segoe UI" panose="020B0502040204020203" pitchFamily="34" charset="0"/>
              </a:rPr>
              <a:t>Analytics</a:t>
            </a:r>
          </a:p>
        </p:txBody>
      </p:sp>
      <p:sp>
        <p:nvSpPr>
          <p:cNvPr id="939" name="Rectangle 30"/>
          <p:cNvSpPr/>
          <p:nvPr/>
        </p:nvSpPr>
        <p:spPr>
          <a:xfrm>
            <a:off x="7136573" y="1440569"/>
            <a:ext cx="793914" cy="411213"/>
          </a:xfrm>
          <a:prstGeom prst="rect">
            <a:avLst/>
          </a:prstGeom>
        </p:spPr>
        <p:txBody>
          <a:bodyPr wrap="none" lIns="0">
            <a:spAutoFit/>
          </a:bodyPr>
          <a:lstStyle/>
          <a:p>
            <a:pPr defTabSz="932563">
              <a:lnSpc>
                <a:spcPct val="90000"/>
              </a:lnSpc>
              <a:defRPr/>
            </a:pPr>
            <a:r>
              <a:rPr lang="en-US" sz="1122" dirty="0" err="1">
                <a:solidFill>
                  <a:srgbClr val="FFFFFF"/>
                </a:solidFill>
                <a:latin typeface="Segoe UI" panose="020B0502040204020203" pitchFamily="34" charset="0"/>
                <a:ea typeface="Microsoft YaHei" charset="-122"/>
                <a:cs typeface="Segoe UI" panose="020B0502040204020203" pitchFamily="34" charset="0"/>
              </a:rPr>
              <a:t>PowerBl</a:t>
            </a:r>
            <a:endParaRPr lang="en-US" sz="1122" dirty="0">
              <a:solidFill>
                <a:srgbClr val="FFFFFF"/>
              </a:solidFill>
              <a:latin typeface="Segoe UI" panose="020B0502040204020203" pitchFamily="34" charset="0"/>
              <a:ea typeface="Microsoft YaHei" charset="-122"/>
              <a:cs typeface="Segoe UI" panose="020B0502040204020203" pitchFamily="34" charset="0"/>
            </a:endParaRPr>
          </a:p>
          <a:p>
            <a:pPr defTabSz="932563">
              <a:lnSpc>
                <a:spcPct val="90000"/>
              </a:lnSpc>
              <a:defRPr/>
            </a:pPr>
            <a:r>
              <a:rPr lang="en-US" sz="1122" dirty="0">
                <a:solidFill>
                  <a:srgbClr val="FFFFFF"/>
                </a:solidFill>
                <a:latin typeface="Segoe UI" panose="020B0502040204020203" pitchFamily="34" charset="0"/>
                <a:ea typeface="Microsoft YaHei" charset="-122"/>
                <a:cs typeface="Segoe UI" panose="020B0502040204020203" pitchFamily="34" charset="0"/>
              </a:rPr>
              <a:t>Embedded</a:t>
            </a:r>
          </a:p>
        </p:txBody>
      </p:sp>
      <p:sp>
        <p:nvSpPr>
          <p:cNvPr id="940" name="Rectangle 30"/>
          <p:cNvSpPr/>
          <p:nvPr/>
        </p:nvSpPr>
        <p:spPr>
          <a:xfrm>
            <a:off x="8713547" y="1423969"/>
            <a:ext cx="609169" cy="411213"/>
          </a:xfrm>
          <a:prstGeom prst="rect">
            <a:avLst/>
          </a:prstGeom>
        </p:spPr>
        <p:txBody>
          <a:bodyPr wrap="none" lIns="0">
            <a:spAutoFit/>
          </a:bodyPr>
          <a:lstStyle/>
          <a:p>
            <a:pPr defTabSz="932563">
              <a:lnSpc>
                <a:spcPct val="90000"/>
              </a:lnSpc>
              <a:defRPr/>
            </a:pPr>
            <a:r>
              <a:rPr lang="en-US" sz="1122" dirty="0">
                <a:solidFill>
                  <a:srgbClr val="FFFFFF"/>
                </a:solidFill>
                <a:latin typeface="Segoe UI" panose="020B0502040204020203" pitchFamily="34" charset="0"/>
                <a:ea typeface="Microsoft YaHei" charset="-122"/>
                <a:cs typeface="Segoe UI" panose="020B0502040204020203" pitchFamily="34" charset="0"/>
              </a:rPr>
              <a:t>Azure</a:t>
            </a:r>
          </a:p>
          <a:p>
            <a:pPr defTabSz="932563">
              <a:lnSpc>
                <a:spcPct val="90000"/>
              </a:lnSpc>
              <a:defRPr/>
            </a:pPr>
            <a:r>
              <a:rPr lang="en-US" sz="1122" dirty="0" err="1">
                <a:solidFill>
                  <a:srgbClr val="FFFFFF"/>
                </a:solidFill>
                <a:latin typeface="Segoe UI" panose="020B0502040204020203" pitchFamily="34" charset="0"/>
                <a:ea typeface="Microsoft YaHei" charset="-122"/>
                <a:cs typeface="Segoe UI" panose="020B0502040204020203" pitchFamily="34" charset="0"/>
              </a:rPr>
              <a:t>loT</a:t>
            </a:r>
            <a:r>
              <a:rPr lang="en-US" sz="1122" dirty="0">
                <a:solidFill>
                  <a:srgbClr val="FFFFFF"/>
                </a:solidFill>
                <a:latin typeface="Segoe UI" panose="020B0502040204020203" pitchFamily="34" charset="0"/>
                <a:ea typeface="Microsoft YaHei" charset="-122"/>
                <a:cs typeface="Segoe UI" panose="020B0502040204020203" pitchFamily="34" charset="0"/>
              </a:rPr>
              <a:t> Hub</a:t>
            </a:r>
          </a:p>
        </p:txBody>
      </p:sp>
      <p:sp>
        <p:nvSpPr>
          <p:cNvPr id="941" name="Rectangle 30"/>
          <p:cNvSpPr/>
          <p:nvPr/>
        </p:nvSpPr>
        <p:spPr>
          <a:xfrm>
            <a:off x="8713547" y="664909"/>
            <a:ext cx="627153" cy="252692"/>
          </a:xfrm>
          <a:prstGeom prst="rect">
            <a:avLst/>
          </a:prstGeom>
        </p:spPr>
        <p:txBody>
          <a:bodyPr wrap="none" lIns="0">
            <a:spAutoFit/>
          </a:bodyPr>
          <a:lstStyle/>
          <a:p>
            <a:pPr defTabSz="932563">
              <a:lnSpc>
                <a:spcPct val="90000"/>
              </a:lnSpc>
              <a:defRPr/>
            </a:pPr>
            <a:r>
              <a:rPr lang="en-US" sz="1122" dirty="0">
                <a:solidFill>
                  <a:srgbClr val="FFFFFF"/>
                </a:solidFill>
                <a:latin typeface="Segoe UI" panose="020B0502040204020203" pitchFamily="34" charset="0"/>
                <a:ea typeface="Microsoft YaHei" charset="-122"/>
                <a:cs typeface="Segoe UI" panose="020B0502040204020203" pitchFamily="34" charset="0"/>
              </a:rPr>
              <a:t>Batch AI</a:t>
            </a:r>
          </a:p>
        </p:txBody>
      </p:sp>
      <p:sp>
        <p:nvSpPr>
          <p:cNvPr id="1014" name="Rectangle 30"/>
          <p:cNvSpPr/>
          <p:nvPr/>
        </p:nvSpPr>
        <p:spPr>
          <a:xfrm>
            <a:off x="3780407" y="1090465"/>
            <a:ext cx="630881" cy="324695"/>
          </a:xfrm>
          <a:prstGeom prst="rect">
            <a:avLst/>
          </a:prstGeom>
        </p:spPr>
        <p:txBody>
          <a:bodyPr wrap="none" lIns="0">
            <a:spAutoFit/>
          </a:bodyPr>
          <a:lstStyle/>
          <a:p>
            <a:pPr defTabSz="932563">
              <a:lnSpc>
                <a:spcPct val="90000"/>
              </a:lnSpc>
              <a:defRPr/>
            </a:pPr>
            <a:r>
              <a:rPr lang="en-US" sz="1632" dirty="0">
                <a:solidFill>
                  <a:srgbClr val="FFFFFF"/>
                </a:solidFill>
                <a:latin typeface="Segoe UI" panose="020B0502040204020203" pitchFamily="34" charset="0"/>
                <a:ea typeface="Microsoft YaHei" charset="-122"/>
                <a:cs typeface="Segoe UI" panose="020B0502040204020203" pitchFamily="34" charset="0"/>
              </a:rPr>
              <a:t>Azure</a:t>
            </a:r>
          </a:p>
        </p:txBody>
      </p:sp>
      <p:sp>
        <p:nvSpPr>
          <p:cNvPr id="1015" name="Striped Right Arrow 74">
            <a:extLst>
              <a:ext uri="{FF2B5EF4-FFF2-40B4-BE49-F238E27FC236}">
                <a16:creationId xmlns:a16="http://schemas.microsoft.com/office/drawing/2014/main" id="{5FB5BE8A-711A-4698-8451-967883033993}"/>
              </a:ext>
            </a:extLst>
          </p:cNvPr>
          <p:cNvSpPr/>
          <p:nvPr/>
        </p:nvSpPr>
        <p:spPr bwMode="auto">
          <a:xfrm>
            <a:off x="9990823" y="1253260"/>
            <a:ext cx="426770" cy="401481"/>
          </a:xfrm>
          <a:prstGeom prst="stripedRightArrow">
            <a:avLst/>
          </a:prstGeom>
          <a:solidFill>
            <a:schemeClr val="accent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15" tIns="149131" rIns="186415" bIns="149131" numCol="1" spcCol="0" rtlCol="0" fromWordArt="0" anchor="t" anchorCtr="0" forceAA="0" compatLnSpc="1">
            <a:prstTxWarp prst="textNoShape">
              <a:avLst/>
            </a:prstTxWarp>
            <a:noAutofit/>
          </a:bodyPr>
          <a:lstStyle/>
          <a:p>
            <a:pPr algn="ctr" defTabSz="950298" fontAlgn="base">
              <a:lnSpc>
                <a:spcPct val="90000"/>
              </a:lnSpc>
              <a:spcBef>
                <a:spcPct val="0"/>
              </a:spcBef>
              <a:spcAft>
                <a:spcPct val="0"/>
              </a:spcAft>
              <a:defRPr/>
            </a:pPr>
            <a:endParaRPr lang="en-US" sz="2448" kern="0" dirty="0" err="1">
              <a:solidFill>
                <a:srgbClr val="FFFFFF"/>
              </a:solidFill>
              <a:latin typeface="Microsoft YaHei" charset="-122"/>
              <a:ea typeface="Microsoft YaHei" charset="-122"/>
              <a:cs typeface="Microsoft YaHei" charset="-122"/>
            </a:endParaRPr>
          </a:p>
        </p:txBody>
      </p:sp>
      <p:sp>
        <p:nvSpPr>
          <p:cNvPr id="21" name="矩形 20"/>
          <p:cNvSpPr/>
          <p:nvPr/>
        </p:nvSpPr>
        <p:spPr bwMode="auto">
          <a:xfrm>
            <a:off x="10929546" y="932604"/>
            <a:ext cx="1168017" cy="1023148"/>
          </a:xfrm>
          <a:prstGeom prst="rect">
            <a:avLst/>
          </a:prstGeom>
          <a:noFill/>
          <a:ln w="19050">
            <a:solidFill>
              <a:schemeClr val="accent6">
                <a:lumMod val="60000"/>
                <a:lumOff val="4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zh-CN" alt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16" name="Rectangle 30"/>
          <p:cNvSpPr/>
          <p:nvPr/>
        </p:nvSpPr>
        <p:spPr>
          <a:xfrm>
            <a:off x="11071136" y="1190063"/>
            <a:ext cx="1004819" cy="509374"/>
          </a:xfrm>
          <a:prstGeom prst="rect">
            <a:avLst/>
          </a:prstGeom>
        </p:spPr>
        <p:txBody>
          <a:bodyPr wrap="none" lIns="0">
            <a:spAutoFit/>
          </a:bodyPr>
          <a:lstStyle/>
          <a:p>
            <a:pPr algn="ctr" defTabSz="932597">
              <a:lnSpc>
                <a:spcPct val="90000"/>
              </a:lnSpc>
              <a:spcAft>
                <a:spcPts val="204"/>
              </a:spcAft>
              <a:defRPr/>
            </a:pPr>
            <a:r>
              <a:rPr lang="en-US" altLang="zh-CN" sz="1632" dirty="0" err="1">
                <a:solidFill>
                  <a:srgbClr val="FFFFFF"/>
                </a:solidFill>
                <a:latin typeface="Segoe UI" panose="020B0502040204020203" pitchFamily="34" charset="0"/>
                <a:ea typeface="Microsoft YaHei" charset="-122"/>
                <a:cs typeface="Segoe UI" panose="020B0502040204020203" pitchFamily="34" charset="0"/>
              </a:rPr>
              <a:t>Qa</a:t>
            </a:r>
            <a:r>
              <a:rPr lang="zh-CN" altLang="en-US" sz="1632" dirty="0">
                <a:solidFill>
                  <a:srgbClr val="FFFFFF"/>
                </a:solidFill>
                <a:latin typeface="Microsoft YaHei" charset="-122"/>
                <a:ea typeface="Microsoft YaHei" charset="-122"/>
                <a:cs typeface="Microsoft YaHei" charset="-122"/>
              </a:rPr>
              <a:t>管理者</a:t>
            </a:r>
            <a:endParaRPr lang="en-US" altLang="zh-CN" sz="1632" dirty="0">
              <a:solidFill>
                <a:srgbClr val="FFFFFF"/>
              </a:solidFill>
              <a:latin typeface="Microsoft YaHei" charset="-122"/>
              <a:ea typeface="Microsoft YaHei" charset="-122"/>
              <a:cs typeface="Microsoft YaHei" charset="-122"/>
            </a:endParaRPr>
          </a:p>
          <a:p>
            <a:pPr algn="ctr" defTabSz="932597">
              <a:lnSpc>
                <a:spcPct val="90000"/>
              </a:lnSpc>
              <a:spcAft>
                <a:spcPts val="612"/>
              </a:spcAft>
              <a:defRPr/>
            </a:pPr>
            <a:r>
              <a:rPr lang="en-US" altLang="zh-CN" sz="1122" dirty="0">
                <a:solidFill>
                  <a:srgbClr val="FFFFFF"/>
                </a:solidFill>
                <a:latin typeface="Segoe UI Light"/>
                <a:ea typeface="Microsoft YaHei" charset="-122"/>
                <a:cs typeface="Microsoft YaHei" charset="-122"/>
              </a:rPr>
              <a:t>QA Manager</a:t>
            </a:r>
          </a:p>
        </p:txBody>
      </p:sp>
      <p:sp>
        <p:nvSpPr>
          <p:cNvPr id="1019" name="矩形 1018"/>
          <p:cNvSpPr/>
          <p:nvPr/>
        </p:nvSpPr>
        <p:spPr bwMode="auto">
          <a:xfrm>
            <a:off x="882" y="2349266"/>
            <a:ext cx="12434710" cy="162749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kumimoji="1" lang="zh-CN" alt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35" name="文本框 1034"/>
          <p:cNvSpPr txBox="1"/>
          <p:nvPr/>
        </p:nvSpPr>
        <p:spPr>
          <a:xfrm>
            <a:off x="69942" y="2366867"/>
            <a:ext cx="4893093" cy="527358"/>
          </a:xfrm>
          <a:prstGeom prst="rect">
            <a:avLst/>
          </a:prstGeom>
          <a:noFill/>
        </p:spPr>
        <p:txBody>
          <a:bodyPr wrap="square" lIns="186521" tIns="149217" rIns="186521" bIns="149217" rtlCol="0">
            <a:spAutoFit/>
          </a:bodyPr>
          <a:lstStyle/>
          <a:p>
            <a:pPr defTabSz="932597">
              <a:lnSpc>
                <a:spcPct val="90000"/>
              </a:lnSpc>
              <a:spcAft>
                <a:spcPts val="612"/>
              </a:spcAft>
              <a:defRPr/>
            </a:pPr>
            <a:r>
              <a:rPr kumimoji="1" lang="en-US" altLang="zh-CN" sz="1632" dirty="0">
                <a:solidFill>
                  <a:srgbClr val="FFFFFF"/>
                </a:solidFill>
                <a:latin typeface="Microsoft YaHei" charset="-122"/>
                <a:ea typeface="Microsoft YaHei" charset="-122"/>
                <a:cs typeface="Microsoft YaHei" charset="-122"/>
              </a:rPr>
              <a:t>Ai</a:t>
            </a:r>
            <a:r>
              <a:rPr kumimoji="1" lang="zh-CN" altLang="en-US" sz="1632" dirty="0">
                <a:solidFill>
                  <a:srgbClr val="FFFFFF"/>
                </a:solidFill>
                <a:latin typeface="Microsoft YaHei" charset="-122"/>
                <a:ea typeface="Microsoft YaHei" charset="-122"/>
                <a:cs typeface="Microsoft YaHei" charset="-122"/>
              </a:rPr>
              <a:t>品控应用 </a:t>
            </a:r>
            <a:r>
              <a:rPr lang="en-US" altLang="zh-CN" sz="1632" dirty="0">
                <a:solidFill>
                  <a:srgbClr val="FFFFFF"/>
                </a:solidFill>
                <a:latin typeface="Segoe UI" panose="020B0502040204020203" pitchFamily="34" charset="0"/>
                <a:ea typeface="Microsoft YaHei" charset="-122"/>
                <a:cs typeface="Segoe UI" panose="020B0502040204020203" pitchFamily="34" charset="0"/>
              </a:rPr>
              <a:t>AI Quality control application</a:t>
            </a:r>
            <a:endParaRPr lang="zh-CN" altLang="en-US" sz="1632" dirty="0">
              <a:solidFill>
                <a:srgbClr val="FFFFFF"/>
              </a:solidFill>
              <a:latin typeface="Segoe UI" panose="020B0502040204020203" pitchFamily="34" charset="0"/>
              <a:ea typeface="Microsoft YaHei" charset="-122"/>
              <a:cs typeface="Segoe UI" panose="020B0502040204020203" pitchFamily="34" charset="0"/>
            </a:endParaRPr>
          </a:p>
        </p:txBody>
      </p:sp>
      <p:sp>
        <p:nvSpPr>
          <p:cNvPr id="22" name="矩形 21"/>
          <p:cNvSpPr/>
          <p:nvPr/>
        </p:nvSpPr>
        <p:spPr bwMode="auto">
          <a:xfrm>
            <a:off x="238430" y="2831544"/>
            <a:ext cx="1923841" cy="947267"/>
          </a:xfrm>
          <a:prstGeom prst="rect">
            <a:avLst/>
          </a:prstGeom>
          <a:noFill/>
          <a:ln w="190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zh-CN" alt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36" name="矩形 1035"/>
          <p:cNvSpPr/>
          <p:nvPr/>
        </p:nvSpPr>
        <p:spPr bwMode="auto">
          <a:xfrm>
            <a:off x="2239719" y="2831544"/>
            <a:ext cx="1923841" cy="947267"/>
          </a:xfrm>
          <a:prstGeom prst="rect">
            <a:avLst/>
          </a:prstGeom>
          <a:noFill/>
          <a:ln w="190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zh-CN" alt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37" name="矩形 1036"/>
          <p:cNvSpPr/>
          <p:nvPr/>
        </p:nvSpPr>
        <p:spPr bwMode="auto">
          <a:xfrm>
            <a:off x="4241008" y="2831544"/>
            <a:ext cx="1923841" cy="947267"/>
          </a:xfrm>
          <a:prstGeom prst="rect">
            <a:avLst/>
          </a:prstGeom>
          <a:noFill/>
          <a:ln w="190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zh-CN" alt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38" name="矩形 1037"/>
          <p:cNvSpPr/>
          <p:nvPr/>
        </p:nvSpPr>
        <p:spPr bwMode="auto">
          <a:xfrm>
            <a:off x="6242297" y="2831544"/>
            <a:ext cx="1923841" cy="947267"/>
          </a:xfrm>
          <a:prstGeom prst="rect">
            <a:avLst/>
          </a:prstGeom>
          <a:noFill/>
          <a:ln w="190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zh-CN" alt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39" name="矩形 1038"/>
          <p:cNvSpPr/>
          <p:nvPr/>
        </p:nvSpPr>
        <p:spPr bwMode="auto">
          <a:xfrm>
            <a:off x="8243586" y="2831544"/>
            <a:ext cx="1923841" cy="947267"/>
          </a:xfrm>
          <a:prstGeom prst="rect">
            <a:avLst/>
          </a:prstGeom>
          <a:noFill/>
          <a:ln w="190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zh-CN" alt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0" name="矩形 1039"/>
          <p:cNvSpPr/>
          <p:nvPr/>
        </p:nvSpPr>
        <p:spPr bwMode="auto">
          <a:xfrm>
            <a:off x="10244874" y="2831544"/>
            <a:ext cx="1923841" cy="947267"/>
          </a:xfrm>
          <a:prstGeom prst="rect">
            <a:avLst/>
          </a:prstGeom>
          <a:noFill/>
          <a:ln w="190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zh-CN" alt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1" name="Rectangle 30"/>
          <p:cNvSpPr/>
          <p:nvPr/>
        </p:nvSpPr>
        <p:spPr>
          <a:xfrm>
            <a:off x="551982" y="2942370"/>
            <a:ext cx="1379215" cy="722829"/>
          </a:xfrm>
          <a:prstGeom prst="rect">
            <a:avLst/>
          </a:prstGeom>
        </p:spPr>
        <p:txBody>
          <a:bodyPr wrap="none" lIns="0">
            <a:spAutoFit/>
          </a:bodyPr>
          <a:lstStyle/>
          <a:p>
            <a:pPr algn="ctr" defTabSz="951028" fontAlgn="base">
              <a:lnSpc>
                <a:spcPct val="90000"/>
              </a:lnSpc>
              <a:spcBef>
                <a:spcPct val="0"/>
              </a:spcBef>
              <a:spcAft>
                <a:spcPts val="408"/>
              </a:spcAft>
              <a:defRPr/>
            </a:pPr>
            <a:r>
              <a:rPr kumimoji="1" lang="zh-CN" altLang="en-US" sz="1632" dirty="0">
                <a:gradFill>
                  <a:gsLst>
                    <a:gs pos="0">
                      <a:srgbClr val="FFFFFF"/>
                    </a:gs>
                    <a:gs pos="100000">
                      <a:srgbClr val="FFFFFF"/>
                    </a:gs>
                  </a:gsLst>
                  <a:lin ang="5400000" scaled="0"/>
                </a:gradFill>
                <a:latin typeface="Microsoft YaHei" charset="-122"/>
                <a:ea typeface="Microsoft YaHei" charset="-122"/>
                <a:cs typeface="Microsoft YaHei" charset="-122"/>
              </a:rPr>
              <a:t>图像缺陷检测</a:t>
            </a:r>
            <a:endParaRPr kumimoji="1" lang="en-US" altLang="zh-CN" sz="1632" dirty="0">
              <a:gradFill>
                <a:gsLst>
                  <a:gs pos="0">
                    <a:srgbClr val="FFFFFF"/>
                  </a:gs>
                  <a:gs pos="100000">
                    <a:srgbClr val="FFFFFF"/>
                  </a:gs>
                </a:gsLst>
                <a:lin ang="5400000" scaled="0"/>
              </a:gradFill>
              <a:latin typeface="Microsoft YaHei" charset="-122"/>
              <a:ea typeface="Microsoft YaHei" charset="-122"/>
              <a:cs typeface="Microsoft YaHei" charset="-122"/>
            </a:endParaRPr>
          </a:p>
          <a:p>
            <a:pPr algn="ctr" defTabSz="951028" fontAlgn="base">
              <a:lnSpc>
                <a:spcPct val="90000"/>
              </a:lnSpc>
              <a:spcBef>
                <a:spcPct val="0"/>
              </a:spcBef>
              <a:spcAft>
                <a:spcPct val="0"/>
              </a:spcAft>
              <a:defRPr/>
            </a:pPr>
            <a:r>
              <a:rPr lang="en-US" altLang="zh-CN" sz="1224" dirty="0">
                <a:solidFill>
                  <a:srgbClr val="FFFFFF"/>
                </a:solidFill>
                <a:latin typeface="Segoe UI Light"/>
                <a:ea typeface="Microsoft YaHei" charset="-122"/>
                <a:cs typeface="Microsoft YaHei" charset="-122"/>
              </a:rPr>
              <a:t>Image defect </a:t>
            </a:r>
          </a:p>
          <a:p>
            <a:pPr algn="ctr" defTabSz="951028" fontAlgn="base">
              <a:lnSpc>
                <a:spcPct val="90000"/>
              </a:lnSpc>
              <a:spcBef>
                <a:spcPct val="0"/>
              </a:spcBef>
              <a:spcAft>
                <a:spcPct val="0"/>
              </a:spcAft>
              <a:defRPr/>
            </a:pPr>
            <a:r>
              <a:rPr lang="en-US" altLang="zh-CN" sz="1224" dirty="0">
                <a:solidFill>
                  <a:srgbClr val="FFFFFF"/>
                </a:solidFill>
                <a:latin typeface="Segoe UI Light"/>
                <a:ea typeface="Microsoft YaHei" charset="-122"/>
                <a:cs typeface="Microsoft YaHei" charset="-122"/>
              </a:rPr>
              <a:t>detection</a:t>
            </a:r>
            <a:endParaRPr lang="zh-CN" altLang="en-US" sz="1224" dirty="0">
              <a:solidFill>
                <a:srgbClr val="FFFFFF"/>
              </a:solidFill>
              <a:latin typeface="Segoe UI Light"/>
              <a:ea typeface="Microsoft YaHei" charset="-122"/>
              <a:cs typeface="Microsoft YaHei" charset="-122"/>
            </a:endParaRPr>
          </a:p>
        </p:txBody>
      </p:sp>
      <p:sp>
        <p:nvSpPr>
          <p:cNvPr id="1042" name="Rectangle 30"/>
          <p:cNvSpPr/>
          <p:nvPr/>
        </p:nvSpPr>
        <p:spPr>
          <a:xfrm>
            <a:off x="2546228" y="2942370"/>
            <a:ext cx="1379215" cy="722829"/>
          </a:xfrm>
          <a:prstGeom prst="rect">
            <a:avLst/>
          </a:prstGeom>
        </p:spPr>
        <p:txBody>
          <a:bodyPr wrap="none" lIns="0">
            <a:spAutoFit/>
          </a:bodyPr>
          <a:lstStyle/>
          <a:p>
            <a:pPr algn="ctr" defTabSz="951028" fontAlgn="base">
              <a:lnSpc>
                <a:spcPct val="90000"/>
              </a:lnSpc>
              <a:spcBef>
                <a:spcPct val="0"/>
              </a:spcBef>
              <a:spcAft>
                <a:spcPts val="408"/>
              </a:spcAft>
              <a:defRPr/>
            </a:pPr>
            <a:r>
              <a:rPr kumimoji="1" lang="zh-CN" altLang="en-US" sz="1632" dirty="0">
                <a:gradFill>
                  <a:gsLst>
                    <a:gs pos="0">
                      <a:srgbClr val="FFFFFF"/>
                    </a:gs>
                    <a:gs pos="100000">
                      <a:srgbClr val="FFFFFF"/>
                    </a:gs>
                  </a:gsLst>
                  <a:lin ang="5400000" scaled="0"/>
                </a:gradFill>
                <a:latin typeface="Microsoft YaHei" charset="-122"/>
                <a:ea typeface="Microsoft YaHei" charset="-122"/>
                <a:cs typeface="Microsoft YaHei" charset="-122"/>
              </a:rPr>
              <a:t>产品品相识别</a:t>
            </a:r>
            <a:endParaRPr kumimoji="1" lang="en-US" altLang="zh-CN" sz="1632" dirty="0">
              <a:gradFill>
                <a:gsLst>
                  <a:gs pos="0">
                    <a:srgbClr val="FFFFFF"/>
                  </a:gs>
                  <a:gs pos="100000">
                    <a:srgbClr val="FFFFFF"/>
                  </a:gs>
                </a:gsLst>
                <a:lin ang="5400000" scaled="0"/>
              </a:gradFill>
              <a:latin typeface="Microsoft YaHei" charset="-122"/>
              <a:ea typeface="Microsoft YaHei" charset="-122"/>
              <a:cs typeface="Microsoft YaHei" charset="-122"/>
            </a:endParaRPr>
          </a:p>
          <a:p>
            <a:pPr algn="ctr" defTabSz="951028" fontAlgn="base">
              <a:lnSpc>
                <a:spcPct val="90000"/>
              </a:lnSpc>
              <a:spcBef>
                <a:spcPct val="0"/>
              </a:spcBef>
              <a:spcAft>
                <a:spcPct val="0"/>
              </a:spcAft>
              <a:defRPr/>
            </a:pPr>
            <a:r>
              <a:rPr lang="en-US" altLang="zh-CN" sz="1224" dirty="0">
                <a:solidFill>
                  <a:srgbClr val="FFFFFF"/>
                </a:solidFill>
                <a:latin typeface="Segoe UI Light"/>
                <a:ea typeface="Microsoft YaHei" charset="-122"/>
                <a:cs typeface="Microsoft YaHei" charset="-122"/>
              </a:rPr>
              <a:t>Product condition </a:t>
            </a:r>
          </a:p>
          <a:p>
            <a:pPr algn="ctr" defTabSz="951028" fontAlgn="base">
              <a:lnSpc>
                <a:spcPct val="90000"/>
              </a:lnSpc>
              <a:spcBef>
                <a:spcPct val="0"/>
              </a:spcBef>
              <a:spcAft>
                <a:spcPct val="0"/>
              </a:spcAft>
              <a:defRPr/>
            </a:pPr>
            <a:r>
              <a:rPr lang="en-US" altLang="zh-CN" sz="1224" dirty="0">
                <a:solidFill>
                  <a:srgbClr val="FFFFFF"/>
                </a:solidFill>
                <a:latin typeface="Segoe UI Light"/>
                <a:ea typeface="Microsoft YaHei" charset="-122"/>
                <a:cs typeface="Microsoft YaHei" charset="-122"/>
              </a:rPr>
              <a:t>recognition</a:t>
            </a:r>
            <a:endParaRPr lang="zh-CN" altLang="en-US" sz="1224" dirty="0">
              <a:solidFill>
                <a:srgbClr val="FFFFFF"/>
              </a:solidFill>
              <a:latin typeface="Segoe UI Light"/>
              <a:ea typeface="Microsoft YaHei" charset="-122"/>
              <a:cs typeface="Microsoft YaHei" charset="-122"/>
            </a:endParaRPr>
          </a:p>
        </p:txBody>
      </p:sp>
      <p:sp>
        <p:nvSpPr>
          <p:cNvPr id="1043" name="Rectangle 30"/>
          <p:cNvSpPr/>
          <p:nvPr/>
        </p:nvSpPr>
        <p:spPr>
          <a:xfrm>
            <a:off x="4540474" y="2942370"/>
            <a:ext cx="1379215" cy="722829"/>
          </a:xfrm>
          <a:prstGeom prst="rect">
            <a:avLst/>
          </a:prstGeom>
        </p:spPr>
        <p:txBody>
          <a:bodyPr wrap="none" lIns="0">
            <a:spAutoFit/>
          </a:bodyPr>
          <a:lstStyle/>
          <a:p>
            <a:pPr algn="ctr" defTabSz="951028" fontAlgn="base">
              <a:lnSpc>
                <a:spcPct val="90000"/>
              </a:lnSpc>
              <a:spcBef>
                <a:spcPct val="0"/>
              </a:spcBef>
              <a:spcAft>
                <a:spcPts val="408"/>
              </a:spcAft>
              <a:defRPr/>
            </a:pPr>
            <a:r>
              <a:rPr kumimoji="1" lang="zh-CN" altLang="en-US" sz="1632" dirty="0">
                <a:gradFill>
                  <a:gsLst>
                    <a:gs pos="0">
                      <a:srgbClr val="FFFFFF"/>
                    </a:gs>
                    <a:gs pos="100000">
                      <a:srgbClr val="FFFFFF"/>
                    </a:gs>
                  </a:gsLst>
                  <a:lin ang="5400000" scaled="0"/>
                </a:gradFill>
                <a:latin typeface="Microsoft YaHei" charset="-122"/>
                <a:ea typeface="Microsoft YaHei" charset="-122"/>
                <a:cs typeface="Microsoft YaHei" charset="-122"/>
              </a:rPr>
              <a:t>产品陈列检测</a:t>
            </a:r>
            <a:endParaRPr kumimoji="1" lang="en-US" altLang="zh-CN" sz="1632" dirty="0">
              <a:gradFill>
                <a:gsLst>
                  <a:gs pos="0">
                    <a:srgbClr val="FFFFFF"/>
                  </a:gs>
                  <a:gs pos="100000">
                    <a:srgbClr val="FFFFFF"/>
                  </a:gs>
                </a:gsLst>
                <a:lin ang="5400000" scaled="0"/>
              </a:gradFill>
              <a:latin typeface="Microsoft YaHei" charset="-122"/>
              <a:ea typeface="Microsoft YaHei" charset="-122"/>
              <a:cs typeface="Microsoft YaHei" charset="-122"/>
            </a:endParaRPr>
          </a:p>
          <a:p>
            <a:pPr algn="ctr" defTabSz="951028" fontAlgn="base">
              <a:lnSpc>
                <a:spcPct val="90000"/>
              </a:lnSpc>
              <a:spcBef>
                <a:spcPct val="0"/>
              </a:spcBef>
              <a:spcAft>
                <a:spcPct val="0"/>
              </a:spcAft>
              <a:defRPr/>
            </a:pPr>
            <a:r>
              <a:rPr lang="en-US" altLang="zh-CN" sz="1224" dirty="0">
                <a:solidFill>
                  <a:srgbClr val="FFFFFF"/>
                </a:solidFill>
                <a:latin typeface="Segoe UI Light"/>
                <a:ea typeface="Microsoft YaHei" charset="-122"/>
                <a:cs typeface="Microsoft YaHei" charset="-122"/>
              </a:rPr>
              <a:t>Product display </a:t>
            </a:r>
          </a:p>
          <a:p>
            <a:pPr algn="ctr" defTabSz="951028" fontAlgn="base">
              <a:lnSpc>
                <a:spcPct val="90000"/>
              </a:lnSpc>
              <a:spcBef>
                <a:spcPct val="0"/>
              </a:spcBef>
              <a:spcAft>
                <a:spcPct val="0"/>
              </a:spcAft>
              <a:defRPr/>
            </a:pPr>
            <a:r>
              <a:rPr lang="en-US" altLang="zh-CN" sz="1224" dirty="0">
                <a:solidFill>
                  <a:srgbClr val="FFFFFF"/>
                </a:solidFill>
                <a:latin typeface="Segoe UI Light"/>
                <a:ea typeface="Microsoft YaHei" charset="-122"/>
                <a:cs typeface="Microsoft YaHei" charset="-122"/>
              </a:rPr>
              <a:t>detection</a:t>
            </a:r>
            <a:endParaRPr lang="zh-CN" altLang="en-US" sz="1224" dirty="0">
              <a:solidFill>
                <a:srgbClr val="FFFFFF"/>
              </a:solidFill>
              <a:latin typeface="Segoe UI Light"/>
              <a:ea typeface="Microsoft YaHei" charset="-122"/>
              <a:cs typeface="Microsoft YaHei" charset="-122"/>
            </a:endParaRPr>
          </a:p>
        </p:txBody>
      </p:sp>
      <p:sp>
        <p:nvSpPr>
          <p:cNvPr id="1044" name="Rectangle 30"/>
          <p:cNvSpPr/>
          <p:nvPr/>
        </p:nvSpPr>
        <p:spPr>
          <a:xfrm>
            <a:off x="6346940" y="2942370"/>
            <a:ext cx="1807563" cy="722829"/>
          </a:xfrm>
          <a:prstGeom prst="rect">
            <a:avLst/>
          </a:prstGeom>
        </p:spPr>
        <p:txBody>
          <a:bodyPr wrap="none" lIns="0">
            <a:spAutoFit/>
          </a:bodyPr>
          <a:lstStyle/>
          <a:p>
            <a:pPr algn="ctr" defTabSz="951028" fontAlgn="base">
              <a:lnSpc>
                <a:spcPct val="90000"/>
              </a:lnSpc>
              <a:spcBef>
                <a:spcPct val="0"/>
              </a:spcBef>
              <a:spcAft>
                <a:spcPts val="408"/>
              </a:spcAft>
              <a:defRPr/>
            </a:pPr>
            <a:r>
              <a:rPr kumimoji="1" lang="zh-CN" altLang="en-US" sz="1632" dirty="0">
                <a:gradFill>
                  <a:gsLst>
                    <a:gs pos="0">
                      <a:srgbClr val="FFFFFF"/>
                    </a:gs>
                    <a:gs pos="100000">
                      <a:srgbClr val="FFFFFF"/>
                    </a:gs>
                  </a:gsLst>
                  <a:lin ang="5400000" scaled="0"/>
                </a:gradFill>
                <a:latin typeface="Microsoft YaHei" charset="-122"/>
                <a:ea typeface="Microsoft YaHei" charset="-122"/>
                <a:cs typeface="Microsoft YaHei" charset="-122"/>
              </a:rPr>
              <a:t>时序数据异常检测</a:t>
            </a:r>
            <a:endParaRPr kumimoji="1" lang="en-US" altLang="zh-CN" sz="1632" dirty="0">
              <a:gradFill>
                <a:gsLst>
                  <a:gs pos="0">
                    <a:srgbClr val="FFFFFF"/>
                  </a:gs>
                  <a:gs pos="100000">
                    <a:srgbClr val="FFFFFF"/>
                  </a:gs>
                </a:gsLst>
                <a:lin ang="5400000" scaled="0"/>
              </a:gradFill>
              <a:latin typeface="Microsoft YaHei" charset="-122"/>
              <a:ea typeface="Microsoft YaHei" charset="-122"/>
              <a:cs typeface="Microsoft YaHei" charset="-122"/>
            </a:endParaRPr>
          </a:p>
          <a:p>
            <a:pPr algn="ctr" defTabSz="951028" fontAlgn="base">
              <a:lnSpc>
                <a:spcPct val="90000"/>
              </a:lnSpc>
              <a:spcBef>
                <a:spcPct val="0"/>
              </a:spcBef>
              <a:spcAft>
                <a:spcPct val="0"/>
              </a:spcAft>
              <a:defRPr/>
            </a:pPr>
            <a:r>
              <a:rPr lang="en-US" altLang="zh-CN" sz="1224" dirty="0">
                <a:solidFill>
                  <a:srgbClr val="FFFFFF"/>
                </a:solidFill>
                <a:latin typeface="Segoe UI Light"/>
                <a:ea typeface="Microsoft YaHei" charset="-122"/>
                <a:cs typeface="Microsoft YaHei" charset="-122"/>
              </a:rPr>
              <a:t>Time series data </a:t>
            </a:r>
          </a:p>
          <a:p>
            <a:pPr algn="ctr" defTabSz="951028" fontAlgn="base">
              <a:lnSpc>
                <a:spcPct val="90000"/>
              </a:lnSpc>
              <a:spcBef>
                <a:spcPct val="0"/>
              </a:spcBef>
              <a:spcAft>
                <a:spcPct val="0"/>
              </a:spcAft>
              <a:defRPr/>
            </a:pPr>
            <a:r>
              <a:rPr lang="en-US" altLang="zh-CN" sz="1224" dirty="0">
                <a:solidFill>
                  <a:srgbClr val="FFFFFF"/>
                </a:solidFill>
                <a:latin typeface="Segoe UI Light"/>
                <a:ea typeface="Microsoft YaHei" charset="-122"/>
                <a:cs typeface="Microsoft YaHei" charset="-122"/>
              </a:rPr>
              <a:t>anomaly detection</a:t>
            </a:r>
            <a:endParaRPr lang="zh-CN" altLang="en-US" sz="1224" dirty="0">
              <a:solidFill>
                <a:srgbClr val="FFFFFF"/>
              </a:solidFill>
              <a:latin typeface="Segoe UI Light"/>
              <a:ea typeface="Microsoft YaHei" charset="-122"/>
              <a:cs typeface="Microsoft YaHei" charset="-122"/>
            </a:endParaRPr>
          </a:p>
        </p:txBody>
      </p:sp>
      <p:sp>
        <p:nvSpPr>
          <p:cNvPr id="1045" name="Rectangle 30"/>
          <p:cNvSpPr/>
          <p:nvPr/>
        </p:nvSpPr>
        <p:spPr>
          <a:xfrm>
            <a:off x="8675957" y="2942370"/>
            <a:ext cx="1173215" cy="722829"/>
          </a:xfrm>
          <a:prstGeom prst="rect">
            <a:avLst/>
          </a:prstGeom>
        </p:spPr>
        <p:txBody>
          <a:bodyPr wrap="none" lIns="0">
            <a:spAutoFit/>
          </a:bodyPr>
          <a:lstStyle/>
          <a:p>
            <a:pPr algn="ctr" defTabSz="951028" fontAlgn="base">
              <a:lnSpc>
                <a:spcPct val="90000"/>
              </a:lnSpc>
              <a:spcBef>
                <a:spcPct val="0"/>
              </a:spcBef>
              <a:spcAft>
                <a:spcPts val="408"/>
              </a:spcAft>
              <a:defRPr/>
            </a:pPr>
            <a:r>
              <a:rPr kumimoji="1" lang="zh-CN" altLang="en-US" sz="1632" dirty="0">
                <a:gradFill>
                  <a:gsLst>
                    <a:gs pos="0">
                      <a:srgbClr val="FFFFFF"/>
                    </a:gs>
                    <a:gs pos="100000">
                      <a:srgbClr val="FFFFFF"/>
                    </a:gs>
                  </a:gsLst>
                  <a:lin ang="5400000" scaled="0"/>
                </a:gradFill>
                <a:latin typeface="Microsoft YaHei" charset="-122"/>
                <a:ea typeface="Microsoft YaHei" charset="-122"/>
                <a:cs typeface="Microsoft YaHei" charset="-122"/>
              </a:rPr>
              <a:t>异音检测</a:t>
            </a:r>
            <a:endParaRPr kumimoji="1" lang="en-US" altLang="zh-CN" sz="1632" dirty="0">
              <a:gradFill>
                <a:gsLst>
                  <a:gs pos="0">
                    <a:srgbClr val="FFFFFF"/>
                  </a:gs>
                  <a:gs pos="100000">
                    <a:srgbClr val="FFFFFF"/>
                  </a:gs>
                </a:gsLst>
                <a:lin ang="5400000" scaled="0"/>
              </a:gradFill>
              <a:latin typeface="Microsoft YaHei" charset="-122"/>
              <a:ea typeface="Microsoft YaHei" charset="-122"/>
              <a:cs typeface="Microsoft YaHei" charset="-122"/>
            </a:endParaRPr>
          </a:p>
          <a:p>
            <a:pPr algn="ctr" defTabSz="951028" fontAlgn="base">
              <a:lnSpc>
                <a:spcPct val="90000"/>
              </a:lnSpc>
              <a:spcBef>
                <a:spcPct val="0"/>
              </a:spcBef>
              <a:spcAft>
                <a:spcPct val="0"/>
              </a:spcAft>
              <a:defRPr/>
            </a:pPr>
            <a:r>
              <a:rPr lang="en-US" altLang="zh-CN" sz="1224" dirty="0">
                <a:solidFill>
                  <a:srgbClr val="FFFFFF"/>
                </a:solidFill>
                <a:latin typeface="Segoe UI Light"/>
                <a:ea typeface="Microsoft YaHei" charset="-122"/>
                <a:cs typeface="Microsoft YaHei" charset="-122"/>
              </a:rPr>
              <a:t>Abnormal </a:t>
            </a:r>
          </a:p>
          <a:p>
            <a:pPr algn="ctr" defTabSz="951028" fontAlgn="base">
              <a:lnSpc>
                <a:spcPct val="90000"/>
              </a:lnSpc>
              <a:spcBef>
                <a:spcPct val="0"/>
              </a:spcBef>
              <a:spcAft>
                <a:spcPct val="0"/>
              </a:spcAft>
              <a:defRPr/>
            </a:pPr>
            <a:r>
              <a:rPr lang="en-US" altLang="zh-CN" sz="1224" dirty="0">
                <a:solidFill>
                  <a:srgbClr val="FFFFFF"/>
                </a:solidFill>
                <a:latin typeface="Segoe UI Light"/>
                <a:ea typeface="Microsoft YaHei" charset="-122"/>
                <a:cs typeface="Microsoft YaHei" charset="-122"/>
              </a:rPr>
              <a:t>sound detection</a:t>
            </a:r>
            <a:endParaRPr lang="zh-CN" altLang="en-US" sz="1224" dirty="0">
              <a:solidFill>
                <a:srgbClr val="FFFFFF"/>
              </a:solidFill>
              <a:latin typeface="Segoe UI Light"/>
              <a:ea typeface="Microsoft YaHei" charset="-122"/>
              <a:cs typeface="Microsoft YaHei" charset="-122"/>
            </a:endParaRPr>
          </a:p>
        </p:txBody>
      </p:sp>
      <p:sp>
        <p:nvSpPr>
          <p:cNvPr id="1046" name="Rectangle 30"/>
          <p:cNvSpPr/>
          <p:nvPr/>
        </p:nvSpPr>
        <p:spPr>
          <a:xfrm>
            <a:off x="10567202" y="2942370"/>
            <a:ext cx="1379215" cy="722829"/>
          </a:xfrm>
          <a:prstGeom prst="rect">
            <a:avLst/>
          </a:prstGeom>
        </p:spPr>
        <p:txBody>
          <a:bodyPr wrap="none" lIns="0">
            <a:spAutoFit/>
          </a:bodyPr>
          <a:lstStyle/>
          <a:p>
            <a:pPr algn="ctr" defTabSz="951028" fontAlgn="base">
              <a:lnSpc>
                <a:spcPct val="90000"/>
              </a:lnSpc>
              <a:spcBef>
                <a:spcPct val="0"/>
              </a:spcBef>
              <a:spcAft>
                <a:spcPts val="408"/>
              </a:spcAft>
              <a:defRPr/>
            </a:pPr>
            <a:r>
              <a:rPr kumimoji="1" lang="zh-CN" altLang="en-US" sz="1632" dirty="0">
                <a:gradFill>
                  <a:gsLst>
                    <a:gs pos="0">
                      <a:srgbClr val="FFFFFF"/>
                    </a:gs>
                    <a:gs pos="100000">
                      <a:srgbClr val="FFFFFF"/>
                    </a:gs>
                  </a:gsLst>
                  <a:lin ang="5400000" scaled="0"/>
                </a:gradFill>
                <a:latin typeface="Microsoft YaHei" charset="-122"/>
                <a:ea typeface="Microsoft YaHei" charset="-122"/>
                <a:cs typeface="Microsoft YaHei" charset="-122"/>
              </a:rPr>
              <a:t>缺陷数据分析</a:t>
            </a:r>
            <a:endParaRPr kumimoji="1" lang="en-US" altLang="zh-CN" sz="1632" dirty="0">
              <a:gradFill>
                <a:gsLst>
                  <a:gs pos="0">
                    <a:srgbClr val="FFFFFF"/>
                  </a:gs>
                  <a:gs pos="100000">
                    <a:srgbClr val="FFFFFF"/>
                  </a:gs>
                </a:gsLst>
                <a:lin ang="5400000" scaled="0"/>
              </a:gradFill>
              <a:latin typeface="Microsoft YaHei" charset="-122"/>
              <a:ea typeface="Microsoft YaHei" charset="-122"/>
              <a:cs typeface="Microsoft YaHei" charset="-122"/>
            </a:endParaRPr>
          </a:p>
          <a:p>
            <a:pPr algn="ctr" defTabSz="951028" fontAlgn="base">
              <a:lnSpc>
                <a:spcPct val="90000"/>
              </a:lnSpc>
              <a:spcBef>
                <a:spcPct val="0"/>
              </a:spcBef>
              <a:spcAft>
                <a:spcPct val="0"/>
              </a:spcAft>
              <a:defRPr/>
            </a:pPr>
            <a:r>
              <a:rPr lang="en-US" altLang="zh-CN" sz="1224" dirty="0">
                <a:solidFill>
                  <a:srgbClr val="FFFFFF"/>
                </a:solidFill>
                <a:latin typeface="Segoe UI Light"/>
                <a:ea typeface="Microsoft YaHei" charset="-122"/>
                <a:cs typeface="Microsoft YaHei" charset="-122"/>
              </a:rPr>
              <a:t>Defect data </a:t>
            </a:r>
          </a:p>
          <a:p>
            <a:pPr algn="ctr" defTabSz="951028" fontAlgn="base">
              <a:lnSpc>
                <a:spcPct val="90000"/>
              </a:lnSpc>
              <a:spcBef>
                <a:spcPct val="0"/>
              </a:spcBef>
              <a:spcAft>
                <a:spcPct val="0"/>
              </a:spcAft>
              <a:defRPr/>
            </a:pPr>
            <a:r>
              <a:rPr lang="en-US" altLang="zh-CN" sz="1224" dirty="0">
                <a:solidFill>
                  <a:srgbClr val="FFFFFF"/>
                </a:solidFill>
                <a:latin typeface="Segoe UI Light"/>
                <a:ea typeface="Microsoft YaHei" charset="-122"/>
                <a:cs typeface="Microsoft YaHei" charset="-122"/>
              </a:rPr>
              <a:t>analysis</a:t>
            </a:r>
            <a:endParaRPr lang="zh-CN" altLang="en-US" sz="1224" dirty="0">
              <a:solidFill>
                <a:srgbClr val="FFFFFF"/>
              </a:solidFill>
              <a:latin typeface="Segoe UI Light"/>
              <a:ea typeface="Microsoft YaHei" charset="-122"/>
              <a:cs typeface="Microsoft YaHei" charset="-122"/>
            </a:endParaRPr>
          </a:p>
        </p:txBody>
      </p:sp>
      <p:sp>
        <p:nvSpPr>
          <p:cNvPr id="1050" name="矩形 1049"/>
          <p:cNvSpPr/>
          <p:nvPr/>
        </p:nvSpPr>
        <p:spPr bwMode="auto">
          <a:xfrm>
            <a:off x="883" y="3973995"/>
            <a:ext cx="12434710" cy="1152406"/>
          </a:xfrm>
          <a:prstGeom prst="rect">
            <a:avLst/>
          </a:prstGeom>
          <a:solidFill>
            <a:schemeClr val="tx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kumimoji="1" lang="zh-CN" alt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7" name="矩形 1046"/>
          <p:cNvSpPr/>
          <p:nvPr/>
        </p:nvSpPr>
        <p:spPr bwMode="auto">
          <a:xfrm>
            <a:off x="226699" y="4117537"/>
            <a:ext cx="3926906" cy="818223"/>
          </a:xfrm>
          <a:prstGeom prst="rect">
            <a:avLst/>
          </a:prstGeom>
          <a:noFill/>
          <a:ln w="19050">
            <a:solidFill>
              <a:srgbClr val="007E39"/>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zh-CN" alt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8" name="矩形 1047"/>
          <p:cNvSpPr/>
          <p:nvPr/>
        </p:nvSpPr>
        <p:spPr bwMode="auto">
          <a:xfrm>
            <a:off x="4244520" y="4117537"/>
            <a:ext cx="3926906" cy="818223"/>
          </a:xfrm>
          <a:prstGeom prst="rect">
            <a:avLst/>
          </a:prstGeom>
          <a:noFill/>
          <a:ln w="19050">
            <a:solidFill>
              <a:srgbClr val="007E39"/>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zh-CN" alt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9" name="矩形 1048"/>
          <p:cNvSpPr/>
          <p:nvPr/>
        </p:nvSpPr>
        <p:spPr bwMode="auto">
          <a:xfrm>
            <a:off x="8262340" y="4117537"/>
            <a:ext cx="3926906" cy="818223"/>
          </a:xfrm>
          <a:prstGeom prst="rect">
            <a:avLst/>
          </a:prstGeom>
          <a:noFill/>
          <a:ln w="19050">
            <a:solidFill>
              <a:srgbClr val="007E39"/>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zh-CN" alt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51" name="Rectangle 30"/>
          <p:cNvSpPr/>
          <p:nvPr/>
        </p:nvSpPr>
        <p:spPr>
          <a:xfrm>
            <a:off x="408689" y="4253297"/>
            <a:ext cx="3560157" cy="549921"/>
          </a:xfrm>
          <a:prstGeom prst="rect">
            <a:avLst/>
          </a:prstGeom>
        </p:spPr>
        <p:txBody>
          <a:bodyPr wrap="square" lIns="0">
            <a:spAutoFit/>
          </a:bodyPr>
          <a:lstStyle/>
          <a:p>
            <a:pPr algn="ctr" defTabSz="951028" fontAlgn="base">
              <a:lnSpc>
                <a:spcPct val="90000"/>
              </a:lnSpc>
              <a:spcBef>
                <a:spcPct val="0"/>
              </a:spcBef>
              <a:spcAft>
                <a:spcPts val="408"/>
              </a:spcAft>
              <a:defRPr/>
            </a:pPr>
            <a:r>
              <a:rPr kumimoji="1" lang="zh-CN" altLang="en-US" sz="1632" dirty="0">
                <a:gradFill>
                  <a:gsLst>
                    <a:gs pos="0">
                      <a:srgbClr val="FFFFFF"/>
                    </a:gs>
                    <a:gs pos="100000">
                      <a:srgbClr val="FFFFFF"/>
                    </a:gs>
                  </a:gsLst>
                  <a:lin ang="5400000" scaled="0"/>
                </a:gradFill>
                <a:latin typeface="Microsoft YaHei" charset="-122"/>
                <a:ea typeface="Microsoft YaHei" charset="-122"/>
                <a:cs typeface="Microsoft YaHei" charset="-122"/>
              </a:rPr>
              <a:t>图像识别算法库</a:t>
            </a:r>
            <a:endParaRPr kumimoji="1" lang="en-US" altLang="zh-CN" sz="1632" dirty="0">
              <a:gradFill>
                <a:gsLst>
                  <a:gs pos="0">
                    <a:srgbClr val="FFFFFF"/>
                  </a:gs>
                  <a:gs pos="100000">
                    <a:srgbClr val="FFFFFF"/>
                  </a:gs>
                </a:gsLst>
                <a:lin ang="5400000" scaled="0"/>
              </a:gradFill>
              <a:latin typeface="Microsoft YaHei" charset="-122"/>
              <a:ea typeface="Microsoft YaHei" charset="-122"/>
              <a:cs typeface="Microsoft YaHei" charset="-122"/>
            </a:endParaRPr>
          </a:p>
          <a:p>
            <a:pPr algn="ctr" defTabSz="951028" fontAlgn="base">
              <a:lnSpc>
                <a:spcPct val="90000"/>
              </a:lnSpc>
              <a:spcBef>
                <a:spcPct val="0"/>
              </a:spcBef>
              <a:spcAft>
                <a:spcPct val="0"/>
              </a:spcAft>
              <a:defRPr/>
            </a:pPr>
            <a:r>
              <a:rPr lang="en-US" altLang="zh-CN" sz="1224" dirty="0">
                <a:solidFill>
                  <a:srgbClr val="FFFFFF"/>
                </a:solidFill>
                <a:latin typeface="Segoe UI Light"/>
                <a:ea typeface="Microsoft YaHei" charset="-122"/>
                <a:cs typeface="Microsoft YaHei" charset="-122"/>
              </a:rPr>
              <a:t>Image recognition algorithm library</a:t>
            </a:r>
          </a:p>
        </p:txBody>
      </p:sp>
      <p:sp>
        <p:nvSpPr>
          <p:cNvPr id="1052" name="Rectangle 30"/>
          <p:cNvSpPr/>
          <p:nvPr/>
        </p:nvSpPr>
        <p:spPr>
          <a:xfrm>
            <a:off x="4479296" y="4253297"/>
            <a:ext cx="3560157" cy="549921"/>
          </a:xfrm>
          <a:prstGeom prst="rect">
            <a:avLst/>
          </a:prstGeom>
        </p:spPr>
        <p:txBody>
          <a:bodyPr wrap="square" lIns="0">
            <a:spAutoFit/>
          </a:bodyPr>
          <a:lstStyle/>
          <a:p>
            <a:pPr algn="ctr" defTabSz="951028" fontAlgn="base">
              <a:lnSpc>
                <a:spcPct val="90000"/>
              </a:lnSpc>
              <a:spcBef>
                <a:spcPct val="0"/>
              </a:spcBef>
              <a:spcAft>
                <a:spcPts val="408"/>
              </a:spcAft>
              <a:defRPr/>
            </a:pPr>
            <a:r>
              <a:rPr kumimoji="1" lang="zh-CN" altLang="en-US" sz="1632" dirty="0">
                <a:gradFill>
                  <a:gsLst>
                    <a:gs pos="0">
                      <a:srgbClr val="FFFFFF"/>
                    </a:gs>
                    <a:gs pos="100000">
                      <a:srgbClr val="FFFFFF"/>
                    </a:gs>
                  </a:gsLst>
                  <a:lin ang="5400000" scaled="0"/>
                </a:gradFill>
                <a:latin typeface="Microsoft YaHei" charset="-122"/>
                <a:ea typeface="Microsoft YaHei" charset="-122"/>
                <a:cs typeface="Microsoft YaHei" charset="-122"/>
              </a:rPr>
              <a:t>结构化数据算法库</a:t>
            </a:r>
            <a:endParaRPr kumimoji="1" lang="en-US" altLang="zh-CN" sz="1632" dirty="0">
              <a:gradFill>
                <a:gsLst>
                  <a:gs pos="0">
                    <a:srgbClr val="FFFFFF"/>
                  </a:gs>
                  <a:gs pos="100000">
                    <a:srgbClr val="FFFFFF"/>
                  </a:gs>
                </a:gsLst>
                <a:lin ang="5400000" scaled="0"/>
              </a:gradFill>
              <a:latin typeface="Microsoft YaHei" charset="-122"/>
              <a:ea typeface="Microsoft YaHei" charset="-122"/>
              <a:cs typeface="Microsoft YaHei" charset="-122"/>
            </a:endParaRPr>
          </a:p>
          <a:p>
            <a:pPr algn="ctr" defTabSz="951028" fontAlgn="base">
              <a:lnSpc>
                <a:spcPct val="90000"/>
              </a:lnSpc>
              <a:spcBef>
                <a:spcPct val="0"/>
              </a:spcBef>
              <a:spcAft>
                <a:spcPct val="0"/>
              </a:spcAft>
              <a:defRPr/>
            </a:pPr>
            <a:r>
              <a:rPr lang="en-US" altLang="zh-CN" sz="1224" dirty="0">
                <a:solidFill>
                  <a:srgbClr val="FFFFFF"/>
                </a:solidFill>
                <a:latin typeface="Segoe UI Light"/>
                <a:ea typeface="Microsoft YaHei" charset="-122"/>
                <a:cs typeface="Microsoft YaHei" charset="-122"/>
              </a:rPr>
              <a:t>Structural data algorithm library</a:t>
            </a:r>
            <a:endParaRPr lang="zh-CN" altLang="en-US" sz="1224" dirty="0">
              <a:solidFill>
                <a:srgbClr val="FFFFFF"/>
              </a:solidFill>
              <a:latin typeface="Segoe UI Light"/>
              <a:ea typeface="Microsoft YaHei" charset="-122"/>
              <a:cs typeface="Microsoft YaHei" charset="-122"/>
            </a:endParaRPr>
          </a:p>
        </p:txBody>
      </p:sp>
      <p:sp>
        <p:nvSpPr>
          <p:cNvPr id="1053" name="Rectangle 30"/>
          <p:cNvSpPr/>
          <p:nvPr/>
        </p:nvSpPr>
        <p:spPr>
          <a:xfrm>
            <a:off x="8479519" y="4253297"/>
            <a:ext cx="3560157" cy="549921"/>
          </a:xfrm>
          <a:prstGeom prst="rect">
            <a:avLst/>
          </a:prstGeom>
        </p:spPr>
        <p:txBody>
          <a:bodyPr wrap="square" lIns="0">
            <a:spAutoFit/>
          </a:bodyPr>
          <a:lstStyle/>
          <a:p>
            <a:pPr algn="ctr" defTabSz="951028" fontAlgn="base">
              <a:lnSpc>
                <a:spcPct val="90000"/>
              </a:lnSpc>
              <a:spcBef>
                <a:spcPct val="0"/>
              </a:spcBef>
              <a:spcAft>
                <a:spcPts val="408"/>
              </a:spcAft>
              <a:defRPr/>
            </a:pPr>
            <a:r>
              <a:rPr kumimoji="1" lang="zh-CN" altLang="en-US" sz="1632" dirty="0">
                <a:gradFill>
                  <a:gsLst>
                    <a:gs pos="0">
                      <a:srgbClr val="FFFFFF"/>
                    </a:gs>
                    <a:gs pos="100000">
                      <a:srgbClr val="FFFFFF"/>
                    </a:gs>
                  </a:gsLst>
                  <a:lin ang="5400000" scaled="0"/>
                </a:gradFill>
                <a:latin typeface="Microsoft YaHei" charset="-122"/>
                <a:ea typeface="Microsoft YaHei" charset="-122"/>
                <a:cs typeface="Microsoft YaHei" charset="-122"/>
              </a:rPr>
              <a:t>语音识别算法库</a:t>
            </a:r>
            <a:endParaRPr kumimoji="1" lang="en-US" altLang="zh-CN" sz="1632" dirty="0">
              <a:gradFill>
                <a:gsLst>
                  <a:gs pos="0">
                    <a:srgbClr val="FFFFFF"/>
                  </a:gs>
                  <a:gs pos="100000">
                    <a:srgbClr val="FFFFFF"/>
                  </a:gs>
                </a:gsLst>
                <a:lin ang="5400000" scaled="0"/>
              </a:gradFill>
              <a:latin typeface="Microsoft YaHei" charset="-122"/>
              <a:ea typeface="Microsoft YaHei" charset="-122"/>
              <a:cs typeface="Microsoft YaHei" charset="-122"/>
            </a:endParaRPr>
          </a:p>
          <a:p>
            <a:pPr algn="ctr" defTabSz="951028" fontAlgn="base">
              <a:lnSpc>
                <a:spcPct val="90000"/>
              </a:lnSpc>
              <a:spcBef>
                <a:spcPct val="0"/>
              </a:spcBef>
              <a:spcAft>
                <a:spcPct val="0"/>
              </a:spcAft>
              <a:defRPr/>
            </a:pPr>
            <a:r>
              <a:rPr lang="en-US" altLang="zh-CN" sz="1224" dirty="0">
                <a:solidFill>
                  <a:srgbClr val="FFFFFF"/>
                </a:solidFill>
                <a:latin typeface="Segoe UI Light"/>
                <a:ea typeface="Microsoft YaHei" charset="-122"/>
                <a:cs typeface="Microsoft YaHei" charset="-122"/>
              </a:rPr>
              <a:t>Speech recognition algorithm library</a:t>
            </a:r>
            <a:endParaRPr lang="zh-CN" altLang="en-US" sz="1224" dirty="0">
              <a:solidFill>
                <a:srgbClr val="FFFFFF"/>
              </a:solidFill>
              <a:latin typeface="Segoe UI Light"/>
              <a:ea typeface="Microsoft YaHei" charset="-122"/>
              <a:cs typeface="Microsoft YaHei" charset="-122"/>
            </a:endParaRPr>
          </a:p>
        </p:txBody>
      </p:sp>
      <p:sp>
        <p:nvSpPr>
          <p:cNvPr id="1059" name="矩形 1058"/>
          <p:cNvSpPr/>
          <p:nvPr/>
        </p:nvSpPr>
        <p:spPr bwMode="auto">
          <a:xfrm>
            <a:off x="882" y="5080297"/>
            <a:ext cx="12434710" cy="121917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kumimoji="1" lang="zh-CN" alt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54" name="矩形 1053"/>
          <p:cNvSpPr/>
          <p:nvPr/>
        </p:nvSpPr>
        <p:spPr bwMode="auto">
          <a:xfrm>
            <a:off x="217899" y="5239303"/>
            <a:ext cx="2326825" cy="947267"/>
          </a:xfrm>
          <a:prstGeom prst="rect">
            <a:avLst/>
          </a:prstGeom>
          <a:noFill/>
          <a:ln w="190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zh-CN" alt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55" name="矩形 1054"/>
          <p:cNvSpPr/>
          <p:nvPr/>
        </p:nvSpPr>
        <p:spPr bwMode="auto">
          <a:xfrm>
            <a:off x="2632701" y="5239303"/>
            <a:ext cx="2326825" cy="947267"/>
          </a:xfrm>
          <a:prstGeom prst="rect">
            <a:avLst/>
          </a:prstGeom>
          <a:noFill/>
          <a:ln w="190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zh-CN" alt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56" name="矩形 1055"/>
          <p:cNvSpPr/>
          <p:nvPr/>
        </p:nvSpPr>
        <p:spPr bwMode="auto">
          <a:xfrm>
            <a:off x="5047487" y="5239303"/>
            <a:ext cx="2326825" cy="947267"/>
          </a:xfrm>
          <a:prstGeom prst="rect">
            <a:avLst/>
          </a:prstGeom>
          <a:noFill/>
          <a:ln w="190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zh-CN" alt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57" name="矩形 1056"/>
          <p:cNvSpPr/>
          <p:nvPr/>
        </p:nvSpPr>
        <p:spPr bwMode="auto">
          <a:xfrm>
            <a:off x="7453484" y="5239303"/>
            <a:ext cx="2326825" cy="947267"/>
          </a:xfrm>
          <a:prstGeom prst="rect">
            <a:avLst/>
          </a:prstGeom>
          <a:noFill/>
          <a:ln w="190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zh-CN" alt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58" name="矩形 1057"/>
          <p:cNvSpPr/>
          <p:nvPr/>
        </p:nvSpPr>
        <p:spPr bwMode="auto">
          <a:xfrm>
            <a:off x="9859474" y="5239303"/>
            <a:ext cx="2326825" cy="947267"/>
          </a:xfrm>
          <a:prstGeom prst="rect">
            <a:avLst/>
          </a:prstGeom>
          <a:noFill/>
          <a:ln w="190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zh-CN" alt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61" name="Rectangle 30"/>
          <p:cNvSpPr/>
          <p:nvPr/>
        </p:nvSpPr>
        <p:spPr>
          <a:xfrm>
            <a:off x="2908635" y="5443977"/>
            <a:ext cx="1915466" cy="549921"/>
          </a:xfrm>
          <a:prstGeom prst="rect">
            <a:avLst/>
          </a:prstGeom>
        </p:spPr>
        <p:txBody>
          <a:bodyPr wrap="none" lIns="0">
            <a:spAutoFit/>
          </a:bodyPr>
          <a:lstStyle/>
          <a:p>
            <a:pPr algn="ctr" defTabSz="951028" fontAlgn="base">
              <a:lnSpc>
                <a:spcPct val="90000"/>
              </a:lnSpc>
              <a:spcBef>
                <a:spcPct val="0"/>
              </a:spcBef>
              <a:spcAft>
                <a:spcPts val="408"/>
              </a:spcAft>
              <a:defRPr/>
            </a:pPr>
            <a:r>
              <a:rPr kumimoji="1" lang="zh-CN" altLang="en-US" sz="1632" dirty="0">
                <a:gradFill>
                  <a:gsLst>
                    <a:gs pos="0">
                      <a:srgbClr val="FFFFFF"/>
                    </a:gs>
                    <a:gs pos="100000">
                      <a:srgbClr val="FFFFFF"/>
                    </a:gs>
                  </a:gsLst>
                  <a:lin ang="5400000" scaled="0"/>
                </a:gradFill>
                <a:latin typeface="Microsoft YaHei" charset="-122"/>
                <a:ea typeface="Microsoft YaHei" charset="-122"/>
                <a:cs typeface="Microsoft YaHei" charset="-122"/>
              </a:rPr>
              <a:t>模型部署模块</a:t>
            </a:r>
            <a:endParaRPr kumimoji="1" lang="en-US" altLang="zh-CN" sz="1632" dirty="0">
              <a:gradFill>
                <a:gsLst>
                  <a:gs pos="0">
                    <a:srgbClr val="FFFFFF"/>
                  </a:gs>
                  <a:gs pos="100000">
                    <a:srgbClr val="FFFFFF"/>
                  </a:gs>
                </a:gsLst>
                <a:lin ang="5400000" scaled="0"/>
              </a:gradFill>
              <a:latin typeface="Microsoft YaHei" charset="-122"/>
              <a:ea typeface="Microsoft YaHei" charset="-122"/>
              <a:cs typeface="Microsoft YaHei" charset="-122"/>
            </a:endParaRPr>
          </a:p>
          <a:p>
            <a:pPr algn="ctr" defTabSz="951028" fontAlgn="base">
              <a:lnSpc>
                <a:spcPct val="90000"/>
              </a:lnSpc>
              <a:spcBef>
                <a:spcPct val="0"/>
              </a:spcBef>
              <a:spcAft>
                <a:spcPct val="0"/>
              </a:spcAft>
              <a:defRPr/>
            </a:pPr>
            <a:r>
              <a:rPr lang="en-US" altLang="zh-CN" sz="1224" dirty="0">
                <a:solidFill>
                  <a:srgbClr val="FFFFFF"/>
                </a:solidFill>
                <a:latin typeface="Segoe UI Light"/>
                <a:ea typeface="Microsoft YaHei" charset="-122"/>
                <a:cs typeface="Microsoft YaHei" charset="-122"/>
              </a:rPr>
              <a:t>Model deployment module</a:t>
            </a:r>
          </a:p>
        </p:txBody>
      </p:sp>
      <p:sp>
        <p:nvSpPr>
          <p:cNvPr id="1017" name="Rectangle 30"/>
          <p:cNvSpPr/>
          <p:nvPr/>
        </p:nvSpPr>
        <p:spPr>
          <a:xfrm>
            <a:off x="427212" y="5364793"/>
            <a:ext cx="2021736" cy="722829"/>
          </a:xfrm>
          <a:prstGeom prst="rect">
            <a:avLst/>
          </a:prstGeom>
        </p:spPr>
        <p:txBody>
          <a:bodyPr wrap="none" lIns="0">
            <a:spAutoFit/>
          </a:bodyPr>
          <a:lstStyle/>
          <a:p>
            <a:pPr algn="ctr" defTabSz="951028" fontAlgn="base">
              <a:lnSpc>
                <a:spcPct val="90000"/>
              </a:lnSpc>
              <a:spcBef>
                <a:spcPct val="0"/>
              </a:spcBef>
              <a:spcAft>
                <a:spcPts val="408"/>
              </a:spcAft>
              <a:defRPr/>
            </a:pPr>
            <a:r>
              <a:rPr kumimoji="1" lang="zh-CN" altLang="en-US" sz="1632" dirty="0">
                <a:gradFill>
                  <a:gsLst>
                    <a:gs pos="0">
                      <a:srgbClr val="FFFFFF"/>
                    </a:gs>
                    <a:gs pos="100000">
                      <a:srgbClr val="FFFFFF"/>
                    </a:gs>
                  </a:gsLst>
                  <a:lin ang="5400000" scaled="0"/>
                </a:gradFill>
                <a:latin typeface="Microsoft YaHei" charset="-122"/>
                <a:ea typeface="Microsoft YaHei" charset="-122"/>
                <a:cs typeface="Microsoft YaHei" charset="-122"/>
              </a:rPr>
              <a:t>数据收集与标注模块</a:t>
            </a:r>
            <a:endParaRPr kumimoji="1" lang="en-US" altLang="zh-CN" sz="1632" dirty="0">
              <a:gradFill>
                <a:gsLst>
                  <a:gs pos="0">
                    <a:srgbClr val="FFFFFF"/>
                  </a:gs>
                  <a:gs pos="100000">
                    <a:srgbClr val="FFFFFF"/>
                  </a:gs>
                </a:gsLst>
                <a:lin ang="5400000" scaled="0"/>
              </a:gradFill>
              <a:latin typeface="Microsoft YaHei" charset="-122"/>
              <a:ea typeface="Microsoft YaHei" charset="-122"/>
              <a:cs typeface="Microsoft YaHei" charset="-122"/>
            </a:endParaRPr>
          </a:p>
          <a:p>
            <a:pPr algn="ctr" defTabSz="951028" fontAlgn="base">
              <a:lnSpc>
                <a:spcPct val="90000"/>
              </a:lnSpc>
              <a:spcBef>
                <a:spcPct val="0"/>
              </a:spcBef>
              <a:spcAft>
                <a:spcPct val="0"/>
              </a:spcAft>
              <a:defRPr/>
            </a:pPr>
            <a:r>
              <a:rPr lang="en-US" altLang="zh-CN" sz="1224" dirty="0">
                <a:solidFill>
                  <a:srgbClr val="FFFFFF"/>
                </a:solidFill>
                <a:latin typeface="Segoe UI Light"/>
                <a:ea typeface="Microsoft YaHei" charset="-122"/>
                <a:cs typeface="Microsoft YaHei" charset="-122"/>
              </a:rPr>
              <a:t>Data collection and </a:t>
            </a:r>
          </a:p>
          <a:p>
            <a:pPr algn="ctr" defTabSz="951028" fontAlgn="base">
              <a:lnSpc>
                <a:spcPct val="90000"/>
              </a:lnSpc>
              <a:spcBef>
                <a:spcPct val="0"/>
              </a:spcBef>
              <a:spcAft>
                <a:spcPct val="0"/>
              </a:spcAft>
              <a:defRPr/>
            </a:pPr>
            <a:r>
              <a:rPr lang="en-US" altLang="zh-CN" sz="1224" dirty="0">
                <a:solidFill>
                  <a:srgbClr val="FFFFFF"/>
                </a:solidFill>
                <a:latin typeface="Segoe UI Light"/>
                <a:ea typeface="Microsoft YaHei" charset="-122"/>
                <a:cs typeface="Microsoft YaHei" charset="-122"/>
              </a:rPr>
              <a:t>tagging module</a:t>
            </a:r>
          </a:p>
        </p:txBody>
      </p:sp>
      <p:sp>
        <p:nvSpPr>
          <p:cNvPr id="1018" name="Rectangle 30"/>
          <p:cNvSpPr/>
          <p:nvPr/>
        </p:nvSpPr>
        <p:spPr>
          <a:xfrm>
            <a:off x="5276338" y="5443977"/>
            <a:ext cx="1995577" cy="549921"/>
          </a:xfrm>
          <a:prstGeom prst="rect">
            <a:avLst/>
          </a:prstGeom>
        </p:spPr>
        <p:txBody>
          <a:bodyPr wrap="none" lIns="0">
            <a:spAutoFit/>
          </a:bodyPr>
          <a:lstStyle/>
          <a:p>
            <a:pPr algn="ctr" defTabSz="951028" fontAlgn="base">
              <a:lnSpc>
                <a:spcPct val="90000"/>
              </a:lnSpc>
              <a:spcBef>
                <a:spcPct val="0"/>
              </a:spcBef>
              <a:spcAft>
                <a:spcPts val="408"/>
              </a:spcAft>
              <a:defRPr/>
            </a:pPr>
            <a:r>
              <a:rPr kumimoji="1" lang="zh-CN" altLang="en-US" sz="1632" dirty="0">
                <a:gradFill>
                  <a:gsLst>
                    <a:gs pos="0">
                      <a:srgbClr val="FFFFFF"/>
                    </a:gs>
                    <a:gs pos="100000">
                      <a:srgbClr val="FFFFFF"/>
                    </a:gs>
                  </a:gsLst>
                  <a:lin ang="5400000" scaled="0"/>
                </a:gradFill>
                <a:latin typeface="Microsoft YaHei" charset="-122"/>
                <a:ea typeface="Microsoft YaHei" charset="-122"/>
                <a:cs typeface="Microsoft YaHei" charset="-122"/>
              </a:rPr>
              <a:t>模型开发模块</a:t>
            </a:r>
            <a:endParaRPr kumimoji="1" lang="en-US" altLang="zh-CN" sz="1632" dirty="0">
              <a:gradFill>
                <a:gsLst>
                  <a:gs pos="0">
                    <a:srgbClr val="FFFFFF"/>
                  </a:gs>
                  <a:gs pos="100000">
                    <a:srgbClr val="FFFFFF"/>
                  </a:gs>
                </a:gsLst>
                <a:lin ang="5400000" scaled="0"/>
              </a:gradFill>
              <a:latin typeface="Microsoft YaHei" charset="-122"/>
              <a:ea typeface="Microsoft YaHei" charset="-122"/>
              <a:cs typeface="Microsoft YaHei" charset="-122"/>
            </a:endParaRPr>
          </a:p>
          <a:p>
            <a:pPr algn="ctr" defTabSz="951028" fontAlgn="base">
              <a:lnSpc>
                <a:spcPct val="90000"/>
              </a:lnSpc>
              <a:spcBef>
                <a:spcPct val="0"/>
              </a:spcBef>
              <a:spcAft>
                <a:spcPct val="0"/>
              </a:spcAft>
              <a:defRPr/>
            </a:pPr>
            <a:r>
              <a:rPr lang="en-US" altLang="zh-CN" sz="1224" dirty="0">
                <a:solidFill>
                  <a:srgbClr val="FFFFFF"/>
                </a:solidFill>
                <a:latin typeface="Segoe UI Light"/>
                <a:ea typeface="Microsoft YaHei" charset="-122"/>
                <a:cs typeface="Microsoft YaHei" charset="-122"/>
              </a:rPr>
              <a:t>Model development module</a:t>
            </a:r>
          </a:p>
        </p:txBody>
      </p:sp>
      <p:sp>
        <p:nvSpPr>
          <p:cNvPr id="1020" name="Rectangle 30"/>
          <p:cNvSpPr/>
          <p:nvPr/>
        </p:nvSpPr>
        <p:spPr>
          <a:xfrm>
            <a:off x="7900623" y="5443977"/>
            <a:ext cx="1621183" cy="549921"/>
          </a:xfrm>
          <a:prstGeom prst="rect">
            <a:avLst/>
          </a:prstGeom>
        </p:spPr>
        <p:txBody>
          <a:bodyPr wrap="none" lIns="0">
            <a:spAutoFit/>
          </a:bodyPr>
          <a:lstStyle/>
          <a:p>
            <a:pPr algn="ctr" defTabSz="951028" fontAlgn="base">
              <a:lnSpc>
                <a:spcPct val="90000"/>
              </a:lnSpc>
              <a:spcBef>
                <a:spcPct val="0"/>
              </a:spcBef>
              <a:spcAft>
                <a:spcPts val="408"/>
              </a:spcAft>
              <a:defRPr/>
            </a:pPr>
            <a:r>
              <a:rPr kumimoji="1" lang="zh-CN" altLang="en-US" sz="1632" dirty="0">
                <a:gradFill>
                  <a:gsLst>
                    <a:gs pos="0">
                      <a:srgbClr val="FFFFFF"/>
                    </a:gs>
                    <a:gs pos="100000">
                      <a:srgbClr val="FFFFFF"/>
                    </a:gs>
                  </a:gsLst>
                  <a:lin ang="5400000" scaled="0"/>
                </a:gradFill>
                <a:latin typeface="Microsoft YaHei" charset="-122"/>
                <a:ea typeface="Microsoft YaHei" charset="-122"/>
                <a:cs typeface="Microsoft YaHei" charset="-122"/>
              </a:rPr>
              <a:t>模型训练模块</a:t>
            </a:r>
            <a:endParaRPr kumimoji="1" lang="en-US" altLang="zh-CN" sz="1632" dirty="0">
              <a:gradFill>
                <a:gsLst>
                  <a:gs pos="0">
                    <a:srgbClr val="FFFFFF"/>
                  </a:gs>
                  <a:gs pos="100000">
                    <a:srgbClr val="FFFFFF"/>
                  </a:gs>
                </a:gsLst>
                <a:lin ang="5400000" scaled="0"/>
              </a:gradFill>
              <a:latin typeface="Microsoft YaHei" charset="-122"/>
              <a:ea typeface="Microsoft YaHei" charset="-122"/>
              <a:cs typeface="Microsoft YaHei" charset="-122"/>
            </a:endParaRPr>
          </a:p>
          <a:p>
            <a:pPr algn="ctr" defTabSz="951028" fontAlgn="base">
              <a:lnSpc>
                <a:spcPct val="90000"/>
              </a:lnSpc>
              <a:spcBef>
                <a:spcPct val="0"/>
              </a:spcBef>
              <a:spcAft>
                <a:spcPct val="0"/>
              </a:spcAft>
              <a:defRPr/>
            </a:pPr>
            <a:r>
              <a:rPr lang="en-US" altLang="zh-CN" sz="1224" dirty="0">
                <a:solidFill>
                  <a:srgbClr val="FFFFFF"/>
                </a:solidFill>
                <a:latin typeface="Segoe UI Light"/>
                <a:ea typeface="Microsoft YaHei" charset="-122"/>
                <a:cs typeface="Microsoft YaHei" charset="-122"/>
              </a:rPr>
              <a:t>Model training module</a:t>
            </a:r>
          </a:p>
        </p:txBody>
      </p:sp>
      <p:sp>
        <p:nvSpPr>
          <p:cNvPr id="1021" name="Rectangle 30"/>
          <p:cNvSpPr/>
          <p:nvPr/>
        </p:nvSpPr>
        <p:spPr>
          <a:xfrm>
            <a:off x="10521653" y="5443977"/>
            <a:ext cx="1053866" cy="549921"/>
          </a:xfrm>
          <a:prstGeom prst="rect">
            <a:avLst/>
          </a:prstGeom>
        </p:spPr>
        <p:txBody>
          <a:bodyPr wrap="none" lIns="0">
            <a:spAutoFit/>
          </a:bodyPr>
          <a:lstStyle/>
          <a:p>
            <a:pPr algn="ctr" defTabSz="951028" fontAlgn="base">
              <a:lnSpc>
                <a:spcPct val="90000"/>
              </a:lnSpc>
              <a:spcBef>
                <a:spcPct val="0"/>
              </a:spcBef>
              <a:spcAft>
                <a:spcPts val="408"/>
              </a:spcAft>
              <a:defRPr/>
            </a:pPr>
            <a:r>
              <a:rPr kumimoji="1" lang="en-US" altLang="zh-CN" sz="1632" dirty="0">
                <a:gradFill>
                  <a:gsLst>
                    <a:gs pos="0">
                      <a:srgbClr val="FFFFFF"/>
                    </a:gs>
                    <a:gs pos="100000">
                      <a:srgbClr val="FFFFFF"/>
                    </a:gs>
                  </a:gsLst>
                  <a:lin ang="5400000" scaled="0"/>
                </a:gradFill>
                <a:latin typeface="Segoe UI" panose="020B0502040204020203" pitchFamily="34" charset="0"/>
                <a:ea typeface="Microsoft YaHei" charset="-122"/>
                <a:cs typeface="Segoe UI" panose="020B0502040204020203" pitchFamily="34" charset="0"/>
              </a:rPr>
              <a:t>AI</a:t>
            </a:r>
            <a:r>
              <a:rPr kumimoji="1" lang="zh-CN" altLang="en-US" sz="1632" dirty="0">
                <a:gradFill>
                  <a:gsLst>
                    <a:gs pos="0">
                      <a:srgbClr val="FFFFFF"/>
                    </a:gs>
                    <a:gs pos="100000">
                      <a:srgbClr val="FFFFFF"/>
                    </a:gs>
                  </a:gsLst>
                  <a:lin ang="5400000" scaled="0"/>
                </a:gradFill>
                <a:latin typeface="Segoe UI" panose="020B0502040204020203" pitchFamily="34" charset="0"/>
                <a:ea typeface="Microsoft YaHei" charset="-122"/>
                <a:cs typeface="Segoe UI" panose="020B0502040204020203" pitchFamily="34" charset="0"/>
              </a:rPr>
              <a:t> </a:t>
            </a:r>
            <a:r>
              <a:rPr kumimoji="1" lang="zh-CN" altLang="en-US" sz="1632" dirty="0">
                <a:gradFill>
                  <a:gsLst>
                    <a:gs pos="0">
                      <a:srgbClr val="FFFFFF"/>
                    </a:gs>
                    <a:gs pos="100000">
                      <a:srgbClr val="FFFFFF"/>
                    </a:gs>
                  </a:gsLst>
                  <a:lin ang="5400000" scaled="0"/>
                </a:gradFill>
                <a:latin typeface="Microsoft YaHei" charset="-122"/>
                <a:ea typeface="Microsoft YaHei" charset="-122"/>
                <a:cs typeface="Microsoft YaHei" charset="-122"/>
              </a:rPr>
              <a:t>模型库</a:t>
            </a:r>
            <a:endParaRPr kumimoji="1" lang="en-US" altLang="zh-CN" sz="1632" dirty="0">
              <a:gradFill>
                <a:gsLst>
                  <a:gs pos="0">
                    <a:srgbClr val="FFFFFF"/>
                  </a:gs>
                  <a:gs pos="100000">
                    <a:srgbClr val="FFFFFF"/>
                  </a:gs>
                </a:gsLst>
                <a:lin ang="5400000" scaled="0"/>
              </a:gradFill>
              <a:latin typeface="Microsoft YaHei" charset="-122"/>
              <a:ea typeface="Microsoft YaHei" charset="-122"/>
              <a:cs typeface="Microsoft YaHei" charset="-122"/>
            </a:endParaRPr>
          </a:p>
          <a:p>
            <a:pPr algn="ctr" defTabSz="951028" fontAlgn="base">
              <a:lnSpc>
                <a:spcPct val="90000"/>
              </a:lnSpc>
              <a:spcBef>
                <a:spcPct val="0"/>
              </a:spcBef>
              <a:spcAft>
                <a:spcPct val="0"/>
              </a:spcAft>
              <a:defRPr/>
            </a:pPr>
            <a:r>
              <a:rPr lang="en-US" altLang="zh-CN" sz="1224" dirty="0">
                <a:solidFill>
                  <a:srgbClr val="FFFFFF"/>
                </a:solidFill>
                <a:latin typeface="Segoe UI Light"/>
                <a:ea typeface="Microsoft YaHei" charset="-122"/>
                <a:cs typeface="Microsoft YaHei" charset="-122"/>
              </a:rPr>
              <a:t>AI model base</a:t>
            </a:r>
          </a:p>
        </p:txBody>
      </p:sp>
      <p:sp>
        <p:nvSpPr>
          <p:cNvPr id="3" name="矩形 2"/>
          <p:cNvSpPr/>
          <p:nvPr/>
        </p:nvSpPr>
        <p:spPr bwMode="auto">
          <a:xfrm>
            <a:off x="882" y="6299471"/>
            <a:ext cx="12434711" cy="69505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zh-CN" alt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022" name="图片 25" descr="图片 25">
            <a:extLst>
              <a:ext uri="{FF2B5EF4-FFF2-40B4-BE49-F238E27FC236}">
                <a16:creationId xmlns:a16="http://schemas.microsoft.com/office/drawing/2014/main" id="{7D4B3081-8942-4E92-993A-1C89EE813F71}"/>
              </a:ext>
            </a:extLst>
          </p:cNvPr>
          <p:cNvPicPr>
            <a:picLocks noChangeAspect="1"/>
          </p:cNvPicPr>
          <p:nvPr/>
        </p:nvPicPr>
        <p:blipFill rotWithShape="1">
          <a:blip r:embed="rId9"/>
          <a:srcRect l="5024" t="13261" r="4723"/>
          <a:stretch/>
        </p:blipFill>
        <p:spPr>
          <a:xfrm>
            <a:off x="2455561" y="6378657"/>
            <a:ext cx="7601596" cy="554284"/>
          </a:xfrm>
          <a:prstGeom prst="rect">
            <a:avLst/>
          </a:prstGeom>
          <a:ln w="12700">
            <a:miter lim="400000"/>
          </a:ln>
        </p:spPr>
      </p:pic>
    </p:spTree>
    <p:extLst>
      <p:ext uri="{BB962C8B-B14F-4D97-AF65-F5344CB8AC3E}">
        <p14:creationId xmlns:p14="http://schemas.microsoft.com/office/powerpoint/2010/main" val="3181206376"/>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3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4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4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1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4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4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4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04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4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4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5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5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05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6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01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01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020"/>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0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7" grpId="0"/>
      <p:bldP spid="939" grpId="0"/>
      <p:bldP spid="940" grpId="0"/>
      <p:bldP spid="941" grpId="0"/>
      <p:bldP spid="1014" grpId="0"/>
      <p:bldP spid="1016" grpId="0"/>
      <p:bldP spid="1041" grpId="0"/>
      <p:bldP spid="1042" grpId="0"/>
      <p:bldP spid="1043" grpId="0"/>
      <p:bldP spid="1044" grpId="0"/>
      <p:bldP spid="1045" grpId="0"/>
      <p:bldP spid="1046" grpId="0"/>
      <p:bldP spid="1051" grpId="0"/>
      <p:bldP spid="1052" grpId="0"/>
      <p:bldP spid="1053" grpId="0"/>
      <p:bldP spid="1061" grpId="0"/>
      <p:bldP spid="1017" grpId="0"/>
      <p:bldP spid="1018" grpId="0"/>
      <p:bldP spid="1020" grpId="0"/>
      <p:bldP spid="1021"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712" y="19838"/>
            <a:ext cx="12434711" cy="6993702"/>
          </a:xfrm>
          <a:prstGeom prst="rect">
            <a:avLst/>
          </a:prstGeom>
        </p:spPr>
      </p:pic>
      <p:sp>
        <p:nvSpPr>
          <p:cNvPr id="5" name="标题 1">
            <a:extLst>
              <a:ext uri="{FF2B5EF4-FFF2-40B4-BE49-F238E27FC236}">
                <a16:creationId xmlns:a16="http://schemas.microsoft.com/office/drawing/2014/main" id="{CC1650B9-87B3-4423-9D7A-068C9509E45A}"/>
              </a:ext>
            </a:extLst>
          </p:cNvPr>
          <p:cNvSpPr txBox="1">
            <a:spLocks/>
          </p:cNvSpPr>
          <p:nvPr/>
        </p:nvSpPr>
        <p:spPr>
          <a:xfrm>
            <a:off x="454472" y="1680749"/>
            <a:ext cx="4190625" cy="3064891"/>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nSpc>
                <a:spcPct val="150000"/>
              </a:lnSpc>
            </a:pPr>
            <a:br>
              <a:rPr lang="en-US" altLang="zh-CN" sz="3600" dirty="0">
                <a:solidFill>
                  <a:schemeClr val="bg1"/>
                </a:solidFill>
                <a:latin typeface="微软雅黑" panose="020B0503020204020204" pitchFamily="34" charset="-122"/>
                <a:ea typeface="微软雅黑" panose="020B0503020204020204" pitchFamily="34" charset="-122"/>
              </a:rPr>
            </a:br>
            <a:endParaRPr lang="en-US" altLang="zh-CN" sz="3600" dirty="0">
              <a:solidFill>
                <a:schemeClr val="bg1"/>
              </a:solidFill>
              <a:latin typeface="微软雅黑" panose="020B0503020204020204" pitchFamily="34" charset="-122"/>
              <a:ea typeface="微软雅黑" panose="020B0503020204020204" pitchFamily="34" charset="-122"/>
            </a:endParaRPr>
          </a:p>
          <a:p>
            <a:br>
              <a:rPr lang="en-US" altLang="zh-CN" sz="3600" dirty="0">
                <a:solidFill>
                  <a:schemeClr val="bg1"/>
                </a:solidFill>
                <a:latin typeface="微软雅黑" panose="020B0503020204020204" pitchFamily="34" charset="-122"/>
                <a:ea typeface="微软雅黑" panose="020B0503020204020204" pitchFamily="34" charset="-122"/>
              </a:rPr>
            </a:br>
            <a:r>
              <a:rPr lang="zh-CN" altLang="en-US" sz="3600" dirty="0">
                <a:solidFill>
                  <a:schemeClr val="bg1"/>
                </a:solidFill>
                <a:latin typeface="微软雅黑" panose="020B0503020204020204" pitchFamily="34" charset="-122"/>
                <a:ea typeface="微软雅黑" panose="020B0503020204020204" pitchFamily="34" charset="-122"/>
              </a:rPr>
              <a:t>谢谢</a:t>
            </a:r>
            <a:r>
              <a:rPr lang="en-US" altLang="zh-CN" sz="3600" dirty="0">
                <a:solidFill>
                  <a:schemeClr val="bg1"/>
                </a:solidFill>
                <a:latin typeface="微软雅黑" panose="020B0503020204020204" pitchFamily="34" charset="-122"/>
                <a:ea typeface="微软雅黑" panose="020B0503020204020204" pitchFamily="34" charset="-122"/>
              </a:rPr>
              <a:t>!</a:t>
            </a:r>
            <a:endParaRPr lang="zh-CN" altLang="en-US" sz="3600" dirty="0">
              <a:solidFill>
                <a:schemeClr val="bg1"/>
              </a:solidFill>
              <a:latin typeface="微软雅黑" panose="020B0503020204020204" pitchFamily="34" charset="-122"/>
              <a:ea typeface="微软雅黑" panose="020B0503020204020204" pitchFamily="34" charset="-122"/>
            </a:endParaRPr>
          </a:p>
        </p:txBody>
      </p:sp>
      <p:pic>
        <p:nvPicPr>
          <p:cNvPr id="6" name="图片 2">
            <a:extLst>
              <a:ext uri="{FF2B5EF4-FFF2-40B4-BE49-F238E27FC236}">
                <a16:creationId xmlns:a16="http://schemas.microsoft.com/office/drawing/2014/main" id="{AD10D27C-C03F-44E3-A7F3-751FA9BF954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77679" y="319248"/>
            <a:ext cx="4325741" cy="1571193"/>
          </a:xfrm>
          <a:prstGeom prst="rect">
            <a:avLst/>
          </a:prstGeom>
        </p:spPr>
      </p:pic>
    </p:spTree>
    <p:extLst>
      <p:ext uri="{BB962C8B-B14F-4D97-AF65-F5344CB8AC3E}">
        <p14:creationId xmlns:p14="http://schemas.microsoft.com/office/powerpoint/2010/main" val="8414643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9DA8667-5F35-41B8-BD21-5EE92E2FCF10}"/>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95957" y="-92445"/>
            <a:ext cx="11956999" cy="6362172"/>
          </a:xfrm>
          <a:prstGeom prst="rect">
            <a:avLst/>
          </a:prstGeom>
        </p:spPr>
      </p:pic>
      <p:grpSp>
        <p:nvGrpSpPr>
          <p:cNvPr id="5" name="Group 4">
            <a:extLst>
              <a:ext uri="{FF2B5EF4-FFF2-40B4-BE49-F238E27FC236}">
                <a16:creationId xmlns:a16="http://schemas.microsoft.com/office/drawing/2014/main" id="{80408626-BEDD-485C-83DE-C9195BEEB6DA}"/>
              </a:ext>
            </a:extLst>
          </p:cNvPr>
          <p:cNvGrpSpPr/>
          <p:nvPr/>
        </p:nvGrpSpPr>
        <p:grpSpPr>
          <a:xfrm>
            <a:off x="147572" y="4273823"/>
            <a:ext cx="3600579" cy="2404524"/>
            <a:chOff x="-2087057" y="3027642"/>
            <a:chExt cx="4317551" cy="2523759"/>
          </a:xfrm>
        </p:grpSpPr>
        <p:sp>
          <p:nvSpPr>
            <p:cNvPr id="6" name="TextBox 5">
              <a:extLst>
                <a:ext uri="{FF2B5EF4-FFF2-40B4-BE49-F238E27FC236}">
                  <a16:creationId xmlns:a16="http://schemas.microsoft.com/office/drawing/2014/main" id="{9E8CFF87-0130-4CBE-A78C-1F86CDFB17D8}"/>
                </a:ext>
              </a:extLst>
            </p:cNvPr>
            <p:cNvSpPr txBox="1"/>
            <p:nvPr/>
          </p:nvSpPr>
          <p:spPr>
            <a:xfrm>
              <a:off x="-2087057" y="3027642"/>
              <a:ext cx="2608159" cy="2384780"/>
            </a:xfrm>
            <a:prstGeom prst="rect">
              <a:avLst/>
            </a:prstGeom>
            <a:noFill/>
          </p:spPr>
          <p:txBody>
            <a:bodyPr wrap="square" lIns="283383" tIns="283383" rIns="283383" bIns="283383"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32384">
                <a:defRPr/>
              </a:pPr>
              <a:r>
                <a:rPr lang="en-US" altLang="zh-CN" sz="12033" b="1" spc="-420" dirty="0">
                  <a:solidFill>
                    <a:srgbClr val="323232"/>
                  </a:solidFill>
                  <a:latin typeface="Segoe UI Light" panose="020B0502040204020203" pitchFamily="34" charset="0"/>
                  <a:ea typeface="MS PGothic" charset="0"/>
                  <a:cs typeface="Segoe UI Light" panose="020B0502040204020203" pitchFamily="34" charset="0"/>
                </a:rPr>
                <a:t>54</a:t>
              </a:r>
              <a:endParaRPr lang="en-US" sz="12033" b="1" spc="-420" dirty="0">
                <a:solidFill>
                  <a:srgbClr val="323232"/>
                </a:solidFill>
                <a:latin typeface="Segoe UI Light" panose="020B0502040204020203" pitchFamily="34" charset="0"/>
                <a:ea typeface="MS PGothic" charset="0"/>
                <a:cs typeface="Segoe UI Light" panose="020B0502040204020203" pitchFamily="34" charset="0"/>
              </a:endParaRPr>
            </a:p>
          </p:txBody>
        </p:sp>
        <p:sp>
          <p:nvSpPr>
            <p:cNvPr id="7" name="TextBox 6">
              <a:extLst>
                <a:ext uri="{FF2B5EF4-FFF2-40B4-BE49-F238E27FC236}">
                  <a16:creationId xmlns:a16="http://schemas.microsoft.com/office/drawing/2014/main" id="{A3DF3892-3BF1-49E4-9E8A-ABF50E145621}"/>
                </a:ext>
              </a:extLst>
            </p:cNvPr>
            <p:cNvSpPr txBox="1"/>
            <p:nvPr/>
          </p:nvSpPr>
          <p:spPr>
            <a:xfrm>
              <a:off x="-2006255" y="4543813"/>
              <a:ext cx="4236749" cy="1007588"/>
            </a:xfrm>
            <a:prstGeom prst="rect">
              <a:avLst/>
            </a:prstGeom>
            <a:noFill/>
          </p:spPr>
          <p:txBody>
            <a:bodyPr wrap="square" lIns="283383" tIns="283383" rIns="283383" bIns="283383"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32384">
                <a:defRPr/>
              </a:pPr>
              <a:r>
                <a:rPr lang="en-US" sz="2800" dirty="0">
                  <a:solidFill>
                    <a:srgbClr val="323232"/>
                  </a:solidFill>
                  <a:latin typeface="Segoe UI Semilight" panose="020B0402040204020203" pitchFamily="34" charset="0"/>
                  <a:ea typeface="MS PGothic" panose="020B0600070205080204" pitchFamily="34" charset="-128"/>
                  <a:cs typeface="Segoe UI Semilight" panose="020B0402040204020203" pitchFamily="34" charset="0"/>
                </a:rPr>
                <a:t>Azure regions</a:t>
              </a:r>
            </a:p>
          </p:txBody>
        </p:sp>
      </p:grpSp>
      <p:sp>
        <p:nvSpPr>
          <p:cNvPr id="8" name="TextBox 7">
            <a:extLst>
              <a:ext uri="{FF2B5EF4-FFF2-40B4-BE49-F238E27FC236}">
                <a16:creationId xmlns:a16="http://schemas.microsoft.com/office/drawing/2014/main" id="{4C871099-6617-4223-8184-FF9CDD1F9522}"/>
              </a:ext>
            </a:extLst>
          </p:cNvPr>
          <p:cNvSpPr txBox="1"/>
          <p:nvPr/>
        </p:nvSpPr>
        <p:spPr>
          <a:xfrm>
            <a:off x="214957" y="6172471"/>
            <a:ext cx="4868959" cy="821559"/>
          </a:xfrm>
          <a:prstGeom prst="rect">
            <a:avLst/>
          </a:prstGeom>
          <a:noFill/>
          <a:ln>
            <a:noFill/>
          </a:ln>
        </p:spPr>
        <p:txBody>
          <a:bodyPr wrap="square" lIns="283383" tIns="283383" rIns="283383" bIns="283383"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32384">
              <a:defRPr/>
            </a:pPr>
            <a:r>
              <a:rPr lang="en-US" sz="1800">
                <a:solidFill>
                  <a:srgbClr val="323232"/>
                </a:solidFill>
                <a:latin typeface="Segoe UI Light" panose="020B0502040204020203" pitchFamily="34" charset="0"/>
                <a:ea typeface="MS PGothic" panose="020B0600070205080204" pitchFamily="34" charset="-128"/>
                <a:cs typeface="Segoe UI Light" panose="020B0502040204020203" pitchFamily="34" charset="0"/>
              </a:rPr>
              <a:t>More than AWS and Google combined</a:t>
            </a:r>
          </a:p>
        </p:txBody>
      </p:sp>
      <p:sp>
        <p:nvSpPr>
          <p:cNvPr id="9" name="Rectangle 8">
            <a:extLst>
              <a:ext uri="{FF2B5EF4-FFF2-40B4-BE49-F238E27FC236}">
                <a16:creationId xmlns:a16="http://schemas.microsoft.com/office/drawing/2014/main" id="{7751E480-6B16-45EC-BA9B-1DB0831A9172}"/>
              </a:ext>
            </a:extLst>
          </p:cNvPr>
          <p:cNvSpPr/>
          <p:nvPr/>
        </p:nvSpPr>
        <p:spPr>
          <a:xfrm>
            <a:off x="7509288" y="696005"/>
            <a:ext cx="4825352" cy="382308"/>
          </a:xfrm>
          <a:prstGeom prst="rect">
            <a:avLst/>
          </a:prstGeom>
        </p:spPr>
        <p:txBody>
          <a:bodyPr wrap="none">
            <a:spAutoFit/>
          </a:bodyPr>
          <a:lstStyle/>
          <a:p>
            <a:pPr defTabSz="932418">
              <a:defRPr/>
            </a:pPr>
            <a:r>
              <a:rPr lang="en-US" sz="1836" dirty="0">
                <a:solidFill>
                  <a:srgbClr val="323232"/>
                </a:solidFill>
                <a:latin typeface="Segoe UI"/>
                <a:hlinkClick r:id="rId4"/>
              </a:rPr>
              <a:t>https://azure.microsoft.com/en-us/regions/</a:t>
            </a:r>
            <a:r>
              <a:rPr lang="en-US" sz="1836" dirty="0">
                <a:solidFill>
                  <a:srgbClr val="323232"/>
                </a:solidFill>
                <a:latin typeface="Segoe UI"/>
              </a:rPr>
              <a:t> </a:t>
            </a:r>
          </a:p>
        </p:txBody>
      </p:sp>
      <p:sp>
        <p:nvSpPr>
          <p:cNvPr id="11" name="Title 2">
            <a:extLst>
              <a:ext uri="{FF2B5EF4-FFF2-40B4-BE49-F238E27FC236}">
                <a16:creationId xmlns:a16="http://schemas.microsoft.com/office/drawing/2014/main" id="{D4814996-27B1-44CD-ACBF-F837EE1A3E38}"/>
              </a:ext>
            </a:extLst>
          </p:cNvPr>
          <p:cNvSpPr txBox="1">
            <a:spLocks/>
          </p:cNvSpPr>
          <p:nvPr/>
        </p:nvSpPr>
        <p:spPr>
          <a:xfrm>
            <a:off x="331572" y="38039"/>
            <a:ext cx="11885768" cy="917901"/>
          </a:xfrm>
          <a:prstGeom prst="rect">
            <a:avLst/>
          </a:prstGeom>
        </p:spPr>
        <p:txBody>
          <a:bodyPr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a:lstStyle>
          <a:p>
            <a:pPr defTabSz="932384">
              <a:defRPr/>
            </a:pPr>
            <a:r>
              <a:rPr lang="en-US" altLang="zh-CN" sz="3598" kern="0" dirty="0">
                <a:solidFill>
                  <a:srgbClr val="0078D7">
                    <a:lumMod val="50000"/>
                  </a:srgbClr>
                </a:solidFill>
                <a:latin typeface="Segoe UI"/>
              </a:rPr>
              <a:t>Azure</a:t>
            </a:r>
            <a:r>
              <a:rPr lang="zh-CN" altLang="en-US" sz="3598" kern="0" dirty="0">
                <a:solidFill>
                  <a:srgbClr val="0078D7">
                    <a:lumMod val="50000"/>
                  </a:srgbClr>
                </a:solidFill>
                <a:latin typeface="Segoe UI"/>
              </a:rPr>
              <a:t>：全球最大部署的公有云</a:t>
            </a:r>
            <a:endParaRPr lang="zh-CN" altLang="en-US" sz="2856" dirty="0">
              <a:solidFill>
                <a:srgbClr val="0078D7">
                  <a:lumMod val="50000"/>
                </a:srgbClr>
              </a:solidFill>
              <a:latin typeface="Segoe UI"/>
              <a:ea typeface="微軟正黑體 Light" panose="020B0304030504040204" pitchFamily="34" charset="-120"/>
            </a:endParaRPr>
          </a:p>
        </p:txBody>
      </p:sp>
      <p:sp>
        <p:nvSpPr>
          <p:cNvPr id="2" name="矩形 1">
            <a:extLst>
              <a:ext uri="{FF2B5EF4-FFF2-40B4-BE49-F238E27FC236}">
                <a16:creationId xmlns:a16="http://schemas.microsoft.com/office/drawing/2014/main" id="{4B26D063-2D0E-4B7F-A139-4BFB24928F97}"/>
              </a:ext>
            </a:extLst>
          </p:cNvPr>
          <p:cNvSpPr/>
          <p:nvPr/>
        </p:nvSpPr>
        <p:spPr>
          <a:xfrm>
            <a:off x="4488843" y="5703102"/>
            <a:ext cx="6215769" cy="1067141"/>
          </a:xfrm>
          <a:prstGeom prst="rect">
            <a:avLst/>
          </a:prstGeom>
        </p:spPr>
        <p:txBody>
          <a:bodyPr>
            <a:spAutoFit/>
          </a:bodyPr>
          <a:lstStyle/>
          <a:p>
            <a:pPr defTabSz="932563">
              <a:defRPr/>
            </a:pPr>
            <a:r>
              <a:rPr lang="en-US" altLang="zh-CN" sz="4399" b="1" dirty="0">
                <a:solidFill>
                  <a:srgbClr val="323232"/>
                </a:solidFill>
                <a:latin typeface="&amp;quot"/>
              </a:rPr>
              <a:t>140</a:t>
            </a:r>
          </a:p>
          <a:p>
            <a:pPr defTabSz="932563">
              <a:defRPr/>
            </a:pPr>
            <a:r>
              <a:rPr lang="en-US" altLang="zh-CN" dirty="0">
                <a:solidFill>
                  <a:srgbClr val="323232"/>
                </a:solidFill>
              </a:rPr>
              <a:t>Available countries </a:t>
            </a:r>
          </a:p>
        </p:txBody>
      </p:sp>
    </p:spTree>
    <p:extLst>
      <p:ext uri="{BB962C8B-B14F-4D97-AF65-F5344CB8AC3E}">
        <p14:creationId xmlns:p14="http://schemas.microsoft.com/office/powerpoint/2010/main" val="37824456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 presetClass="entr" presetSubtype="0" fill="hold" grpId="0" nodeType="withEffect">
                                  <p:stCondLst>
                                    <p:cond delay="25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descr="图片包含 天空, 水, 户外, 船&#10;&#10;自动生成的说明">
            <a:extLst>
              <a:ext uri="{FF2B5EF4-FFF2-40B4-BE49-F238E27FC236}">
                <a16:creationId xmlns:a16="http://schemas.microsoft.com/office/drawing/2014/main" id="{054D0473-1592-4619-A1FA-DCE8E43AE72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2" y="-1"/>
            <a:ext cx="12434711" cy="6994525"/>
          </a:xfrm>
          <a:prstGeom prst="rect">
            <a:avLst/>
          </a:prstGeom>
        </p:spPr>
      </p:pic>
    </p:spTree>
    <p:extLst>
      <p:ext uri="{BB962C8B-B14F-4D97-AF65-F5344CB8AC3E}">
        <p14:creationId xmlns:p14="http://schemas.microsoft.com/office/powerpoint/2010/main" val="17979204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239A6F33-6C34-487E-AF54-0E9BD96F54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2" y="-1"/>
            <a:ext cx="12434711" cy="6994525"/>
          </a:xfrm>
          <a:prstGeom prst="rect">
            <a:avLst/>
          </a:prstGeom>
        </p:spPr>
      </p:pic>
    </p:spTree>
    <p:extLst>
      <p:ext uri="{BB962C8B-B14F-4D97-AF65-F5344CB8AC3E}">
        <p14:creationId xmlns:p14="http://schemas.microsoft.com/office/powerpoint/2010/main" val="204958894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42" name="Group 941">
            <a:extLst>
              <a:ext uri="{FF2B5EF4-FFF2-40B4-BE49-F238E27FC236}">
                <a16:creationId xmlns:a16="http://schemas.microsoft.com/office/drawing/2014/main" id="{26D18E9D-5A19-4E6E-BFE3-45A93EE6FBE6}"/>
              </a:ext>
            </a:extLst>
          </p:cNvPr>
          <p:cNvGrpSpPr/>
          <p:nvPr/>
        </p:nvGrpSpPr>
        <p:grpSpPr>
          <a:xfrm>
            <a:off x="868962" y="372752"/>
            <a:ext cx="10691464" cy="6274656"/>
            <a:chOff x="839788" y="346075"/>
            <a:chExt cx="10514013" cy="6170513"/>
          </a:xfrm>
        </p:grpSpPr>
        <p:grpSp>
          <p:nvGrpSpPr>
            <p:cNvPr id="943" name="Group 4">
              <a:extLst>
                <a:ext uri="{FF2B5EF4-FFF2-40B4-BE49-F238E27FC236}">
                  <a16:creationId xmlns:a16="http://schemas.microsoft.com/office/drawing/2014/main" id="{C20F7C2C-2576-4EA5-9CDA-785ADD81244C}"/>
                </a:ext>
              </a:extLst>
            </p:cNvPr>
            <p:cNvGrpSpPr>
              <a:grpSpLocks noChangeAspect="1"/>
            </p:cNvGrpSpPr>
            <p:nvPr/>
          </p:nvGrpSpPr>
          <p:grpSpPr bwMode="auto">
            <a:xfrm>
              <a:off x="839788" y="346075"/>
              <a:ext cx="4581525" cy="3454400"/>
              <a:chOff x="529" y="218"/>
              <a:chExt cx="2886" cy="2176"/>
            </a:xfrm>
          </p:grpSpPr>
          <p:sp>
            <p:nvSpPr>
              <p:cNvPr id="957" name="Freeform 5">
                <a:extLst>
                  <a:ext uri="{FF2B5EF4-FFF2-40B4-BE49-F238E27FC236}">
                    <a16:creationId xmlns:a16="http://schemas.microsoft.com/office/drawing/2014/main" id="{8D3CCBE1-63CE-4A7D-A0C9-C7E06F5B084E}"/>
                  </a:ext>
                </a:extLst>
              </p:cNvPr>
              <p:cNvSpPr>
                <a:spLocks/>
              </p:cNvSpPr>
              <p:nvPr/>
            </p:nvSpPr>
            <p:spPr bwMode="auto">
              <a:xfrm>
                <a:off x="529" y="730"/>
                <a:ext cx="1842" cy="1664"/>
              </a:xfrm>
              <a:custGeom>
                <a:avLst/>
                <a:gdLst>
                  <a:gd name="T0" fmla="*/ 108 w 1842"/>
                  <a:gd name="T1" fmla="*/ 0 h 1664"/>
                  <a:gd name="T2" fmla="*/ 86 w 1842"/>
                  <a:gd name="T3" fmla="*/ 115 h 1664"/>
                  <a:gd name="T4" fmla="*/ 434 w 1842"/>
                  <a:gd name="T5" fmla="*/ 361 h 1664"/>
                  <a:gd name="T6" fmla="*/ 830 w 1842"/>
                  <a:gd name="T7" fmla="*/ 127 h 1664"/>
                  <a:gd name="T8" fmla="*/ 1490 w 1842"/>
                  <a:gd name="T9" fmla="*/ 169 h 1664"/>
                  <a:gd name="T10" fmla="*/ 1324 w 1842"/>
                  <a:gd name="T11" fmla="*/ 333 h 1664"/>
                  <a:gd name="T12" fmla="*/ 828 w 1842"/>
                  <a:gd name="T13" fmla="*/ 523 h 1664"/>
                  <a:gd name="T14" fmla="*/ 204 w 1842"/>
                  <a:gd name="T15" fmla="*/ 60 h 1664"/>
                  <a:gd name="T16" fmla="*/ 374 w 1842"/>
                  <a:gd name="T17" fmla="*/ 141 h 1664"/>
                  <a:gd name="T18" fmla="*/ 652 w 1842"/>
                  <a:gd name="T19" fmla="*/ 48 h 1664"/>
                  <a:gd name="T20" fmla="*/ 48 w 1842"/>
                  <a:gd name="T21" fmla="*/ 277 h 1664"/>
                  <a:gd name="T22" fmla="*/ 60 w 1842"/>
                  <a:gd name="T23" fmla="*/ 169 h 1664"/>
                  <a:gd name="T24" fmla="*/ 362 w 1842"/>
                  <a:gd name="T25" fmla="*/ 48 h 1664"/>
                  <a:gd name="T26" fmla="*/ 562 w 1842"/>
                  <a:gd name="T27" fmla="*/ 341 h 1664"/>
                  <a:gd name="T28" fmla="*/ 966 w 1842"/>
                  <a:gd name="T29" fmla="*/ 163 h 1664"/>
                  <a:gd name="T30" fmla="*/ 718 w 1842"/>
                  <a:gd name="T31" fmla="*/ 145 h 1664"/>
                  <a:gd name="T32" fmla="*/ 1238 w 1842"/>
                  <a:gd name="T33" fmla="*/ 719 h 1664"/>
                  <a:gd name="T34" fmla="*/ 854 w 1842"/>
                  <a:gd name="T35" fmla="*/ 699 h 1664"/>
                  <a:gd name="T36" fmla="*/ 1594 w 1842"/>
                  <a:gd name="T37" fmla="*/ 709 h 1664"/>
                  <a:gd name="T38" fmla="*/ 1718 w 1842"/>
                  <a:gd name="T39" fmla="*/ 907 h 1664"/>
                  <a:gd name="T40" fmla="*/ 1510 w 1842"/>
                  <a:gd name="T41" fmla="*/ 907 h 1664"/>
                  <a:gd name="T42" fmla="*/ 1286 w 1842"/>
                  <a:gd name="T43" fmla="*/ 1077 h 1664"/>
                  <a:gd name="T44" fmla="*/ 1610 w 1842"/>
                  <a:gd name="T45" fmla="*/ 997 h 1664"/>
                  <a:gd name="T46" fmla="*/ 1382 w 1842"/>
                  <a:gd name="T47" fmla="*/ 1210 h 1664"/>
                  <a:gd name="T48" fmla="*/ 1192 w 1842"/>
                  <a:gd name="T49" fmla="*/ 949 h 1664"/>
                  <a:gd name="T50" fmla="*/ 1246 w 1842"/>
                  <a:gd name="T51" fmla="*/ 1190 h 1664"/>
                  <a:gd name="T52" fmla="*/ 1152 w 1842"/>
                  <a:gd name="T53" fmla="*/ 1430 h 1664"/>
                  <a:gd name="T54" fmla="*/ 1506 w 1842"/>
                  <a:gd name="T55" fmla="*/ 1590 h 1664"/>
                  <a:gd name="T56" fmla="*/ 1434 w 1842"/>
                  <a:gd name="T57" fmla="*/ 1614 h 1664"/>
                  <a:gd name="T58" fmla="*/ 1396 w 1842"/>
                  <a:gd name="T59" fmla="*/ 1626 h 1664"/>
                  <a:gd name="T60" fmla="*/ 1312 w 1842"/>
                  <a:gd name="T61" fmla="*/ 1552 h 1664"/>
                  <a:gd name="T62" fmla="*/ 1166 w 1842"/>
                  <a:gd name="T63" fmla="*/ 1272 h 1664"/>
                  <a:gd name="T64" fmla="*/ 900 w 1842"/>
                  <a:gd name="T65" fmla="*/ 1137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42" h="1664">
                    <a:moveTo>
                      <a:pt x="0" y="30"/>
                    </a:moveTo>
                    <a:lnTo>
                      <a:pt x="108" y="0"/>
                    </a:lnTo>
                    <a:lnTo>
                      <a:pt x="54" y="121"/>
                    </a:lnTo>
                    <a:lnTo>
                      <a:pt x="86" y="115"/>
                    </a:lnTo>
                    <a:lnTo>
                      <a:pt x="270" y="16"/>
                    </a:lnTo>
                    <a:lnTo>
                      <a:pt x="434" y="361"/>
                    </a:lnTo>
                    <a:lnTo>
                      <a:pt x="490" y="88"/>
                    </a:lnTo>
                    <a:lnTo>
                      <a:pt x="830" y="127"/>
                    </a:lnTo>
                    <a:lnTo>
                      <a:pt x="976" y="175"/>
                    </a:lnTo>
                    <a:lnTo>
                      <a:pt x="1490" y="169"/>
                    </a:lnTo>
                    <a:lnTo>
                      <a:pt x="1410" y="205"/>
                    </a:lnTo>
                    <a:lnTo>
                      <a:pt x="1324" y="333"/>
                    </a:lnTo>
                    <a:lnTo>
                      <a:pt x="1222" y="261"/>
                    </a:lnTo>
                    <a:lnTo>
                      <a:pt x="828" y="523"/>
                    </a:lnTo>
                    <a:lnTo>
                      <a:pt x="766" y="287"/>
                    </a:lnTo>
                    <a:lnTo>
                      <a:pt x="204" y="60"/>
                    </a:lnTo>
                    <a:lnTo>
                      <a:pt x="126" y="407"/>
                    </a:lnTo>
                    <a:lnTo>
                      <a:pt x="374" y="141"/>
                    </a:lnTo>
                    <a:lnTo>
                      <a:pt x="498" y="100"/>
                    </a:lnTo>
                    <a:lnTo>
                      <a:pt x="652" y="48"/>
                    </a:lnTo>
                    <a:lnTo>
                      <a:pt x="532" y="183"/>
                    </a:lnTo>
                    <a:lnTo>
                      <a:pt x="48" y="277"/>
                    </a:lnTo>
                    <a:lnTo>
                      <a:pt x="366" y="327"/>
                    </a:lnTo>
                    <a:lnTo>
                      <a:pt x="60" y="169"/>
                    </a:lnTo>
                    <a:lnTo>
                      <a:pt x="166" y="241"/>
                    </a:lnTo>
                    <a:lnTo>
                      <a:pt x="362" y="48"/>
                    </a:lnTo>
                    <a:lnTo>
                      <a:pt x="60" y="129"/>
                    </a:lnTo>
                    <a:lnTo>
                      <a:pt x="562" y="341"/>
                    </a:lnTo>
                    <a:lnTo>
                      <a:pt x="886" y="295"/>
                    </a:lnTo>
                    <a:lnTo>
                      <a:pt x="966" y="163"/>
                    </a:lnTo>
                    <a:lnTo>
                      <a:pt x="832" y="70"/>
                    </a:lnTo>
                    <a:lnTo>
                      <a:pt x="718" y="145"/>
                    </a:lnTo>
                    <a:lnTo>
                      <a:pt x="806" y="531"/>
                    </a:lnTo>
                    <a:lnTo>
                      <a:pt x="1238" y="719"/>
                    </a:lnTo>
                    <a:lnTo>
                      <a:pt x="782" y="815"/>
                    </a:lnTo>
                    <a:lnTo>
                      <a:pt x="854" y="699"/>
                    </a:lnTo>
                    <a:lnTo>
                      <a:pt x="1472" y="531"/>
                    </a:lnTo>
                    <a:lnTo>
                      <a:pt x="1594" y="709"/>
                    </a:lnTo>
                    <a:lnTo>
                      <a:pt x="1842" y="815"/>
                    </a:lnTo>
                    <a:lnTo>
                      <a:pt x="1718" y="907"/>
                    </a:lnTo>
                    <a:lnTo>
                      <a:pt x="1622" y="963"/>
                    </a:lnTo>
                    <a:lnTo>
                      <a:pt x="1510" y="907"/>
                    </a:lnTo>
                    <a:lnTo>
                      <a:pt x="1510" y="855"/>
                    </a:lnTo>
                    <a:lnTo>
                      <a:pt x="1286" y="1077"/>
                    </a:lnTo>
                    <a:lnTo>
                      <a:pt x="1518" y="965"/>
                    </a:lnTo>
                    <a:lnTo>
                      <a:pt x="1610" y="997"/>
                    </a:lnTo>
                    <a:lnTo>
                      <a:pt x="1506" y="1210"/>
                    </a:lnTo>
                    <a:lnTo>
                      <a:pt x="1382" y="1210"/>
                    </a:lnTo>
                    <a:lnTo>
                      <a:pt x="1272" y="1182"/>
                    </a:lnTo>
                    <a:lnTo>
                      <a:pt x="1192" y="949"/>
                    </a:lnTo>
                    <a:lnTo>
                      <a:pt x="886" y="1147"/>
                    </a:lnTo>
                    <a:lnTo>
                      <a:pt x="1246" y="1190"/>
                    </a:lnTo>
                    <a:lnTo>
                      <a:pt x="1066" y="1318"/>
                    </a:lnTo>
                    <a:lnTo>
                      <a:pt x="1152" y="1430"/>
                    </a:lnTo>
                    <a:lnTo>
                      <a:pt x="1426" y="1626"/>
                    </a:lnTo>
                    <a:lnTo>
                      <a:pt x="1506" y="1590"/>
                    </a:lnTo>
                    <a:lnTo>
                      <a:pt x="1494" y="1664"/>
                    </a:lnTo>
                    <a:lnTo>
                      <a:pt x="1434" y="1614"/>
                    </a:lnTo>
                    <a:lnTo>
                      <a:pt x="1242" y="1454"/>
                    </a:lnTo>
                    <a:lnTo>
                      <a:pt x="1396" y="1626"/>
                    </a:lnTo>
                    <a:lnTo>
                      <a:pt x="1430" y="1422"/>
                    </a:lnTo>
                    <a:lnTo>
                      <a:pt x="1312" y="1552"/>
                    </a:lnTo>
                    <a:lnTo>
                      <a:pt x="1184" y="1524"/>
                    </a:lnTo>
                    <a:lnTo>
                      <a:pt x="1166" y="1272"/>
                    </a:lnTo>
                    <a:lnTo>
                      <a:pt x="876" y="991"/>
                    </a:lnTo>
                    <a:lnTo>
                      <a:pt x="900" y="1137"/>
                    </a:lnTo>
                    <a:lnTo>
                      <a:pt x="964" y="1330"/>
                    </a:lnTo>
                  </a:path>
                </a:pathLst>
              </a:custGeom>
              <a:grpFill/>
              <a:ln w="6350" cap="flat">
                <a:solidFill>
                  <a:schemeClr val="tx1">
                    <a:lumMod val="25000"/>
                    <a:lumOff val="75000"/>
                  </a:schemeClr>
                </a:solidFill>
                <a:prstDash val="solid"/>
                <a:miter/>
              </a:ln>
            </p:spPr>
            <p:txBody>
              <a:bodyPr rtlCol="0" anchor="ctr"/>
              <a:lstStyle/>
              <a:p>
                <a:pPr defTabSz="932384">
                  <a:defRPr/>
                </a:pPr>
                <a:endParaRPr lang="en-US" dirty="0">
                  <a:solidFill>
                    <a:srgbClr val="1A1A1A"/>
                  </a:solidFill>
                  <a:latin typeface="Segoe UI"/>
                </a:endParaRPr>
              </a:p>
            </p:txBody>
          </p:sp>
          <p:sp>
            <p:nvSpPr>
              <p:cNvPr id="958" name="Freeform 6">
                <a:extLst>
                  <a:ext uri="{FF2B5EF4-FFF2-40B4-BE49-F238E27FC236}">
                    <a16:creationId xmlns:a16="http://schemas.microsoft.com/office/drawing/2014/main" id="{5E65B01A-C42D-40B3-BE2E-33232DB59C8C}"/>
                  </a:ext>
                </a:extLst>
              </p:cNvPr>
              <p:cNvSpPr>
                <a:spLocks/>
              </p:cNvSpPr>
              <p:nvPr/>
            </p:nvSpPr>
            <p:spPr bwMode="auto">
              <a:xfrm>
                <a:off x="2115" y="218"/>
                <a:ext cx="1256" cy="855"/>
              </a:xfrm>
              <a:custGeom>
                <a:avLst/>
                <a:gdLst>
                  <a:gd name="T0" fmla="*/ 1256 w 1256"/>
                  <a:gd name="T1" fmla="*/ 745 h 855"/>
                  <a:gd name="T2" fmla="*/ 1116 w 1256"/>
                  <a:gd name="T3" fmla="*/ 745 h 855"/>
                  <a:gd name="T4" fmla="*/ 702 w 1256"/>
                  <a:gd name="T5" fmla="*/ 855 h 855"/>
                  <a:gd name="T6" fmla="*/ 540 w 1256"/>
                  <a:gd name="T7" fmla="*/ 727 h 855"/>
                  <a:gd name="T8" fmla="*/ 856 w 1256"/>
                  <a:gd name="T9" fmla="*/ 671 h 855"/>
                  <a:gd name="T10" fmla="*/ 724 w 1256"/>
                  <a:gd name="T11" fmla="*/ 763 h 855"/>
                  <a:gd name="T12" fmla="*/ 908 w 1256"/>
                  <a:gd name="T13" fmla="*/ 362 h 855"/>
                  <a:gd name="T14" fmla="*/ 938 w 1256"/>
                  <a:gd name="T15" fmla="*/ 522 h 855"/>
                  <a:gd name="T16" fmla="*/ 670 w 1256"/>
                  <a:gd name="T17" fmla="*/ 536 h 855"/>
                  <a:gd name="T18" fmla="*/ 562 w 1256"/>
                  <a:gd name="T19" fmla="*/ 362 h 855"/>
                  <a:gd name="T20" fmla="*/ 588 w 1256"/>
                  <a:gd name="T21" fmla="*/ 132 h 855"/>
                  <a:gd name="T22" fmla="*/ 630 w 1256"/>
                  <a:gd name="T23" fmla="*/ 260 h 855"/>
                  <a:gd name="T24" fmla="*/ 704 w 1256"/>
                  <a:gd name="T25" fmla="*/ 182 h 855"/>
                  <a:gd name="T26" fmla="*/ 762 w 1256"/>
                  <a:gd name="T27" fmla="*/ 338 h 855"/>
                  <a:gd name="T28" fmla="*/ 540 w 1256"/>
                  <a:gd name="T29" fmla="*/ 362 h 855"/>
                  <a:gd name="T30" fmla="*/ 424 w 1256"/>
                  <a:gd name="T31" fmla="*/ 212 h 855"/>
                  <a:gd name="T32" fmla="*/ 396 w 1256"/>
                  <a:gd name="T33" fmla="*/ 268 h 855"/>
                  <a:gd name="T34" fmla="*/ 22 w 1256"/>
                  <a:gd name="T35" fmla="*/ 86 h 855"/>
                  <a:gd name="T36" fmla="*/ 0 w 1256"/>
                  <a:gd name="T37" fmla="*/ 226 h 855"/>
                  <a:gd name="T38" fmla="*/ 188 w 1256"/>
                  <a:gd name="T39" fmla="*/ 150 h 855"/>
                  <a:gd name="T40" fmla="*/ 454 w 1256"/>
                  <a:gd name="T41" fmla="*/ 86 h 855"/>
                  <a:gd name="T42" fmla="*/ 264 w 1256"/>
                  <a:gd name="T43" fmla="*/ 302 h 855"/>
                  <a:gd name="T44" fmla="*/ 264 w 1256"/>
                  <a:gd name="T45" fmla="*/ 220 h 855"/>
                  <a:gd name="T46" fmla="*/ 380 w 1256"/>
                  <a:gd name="T47" fmla="*/ 110 h 855"/>
                  <a:gd name="T48" fmla="*/ 1092 w 1256"/>
                  <a:gd name="T49" fmla="*/ 356 h 855"/>
                  <a:gd name="T50" fmla="*/ 1004 w 1256"/>
                  <a:gd name="T51" fmla="*/ 598 h 855"/>
                  <a:gd name="T52" fmla="*/ 860 w 1256"/>
                  <a:gd name="T53" fmla="*/ 512 h 855"/>
                  <a:gd name="T54" fmla="*/ 468 w 1256"/>
                  <a:gd name="T55" fmla="*/ 454 h 855"/>
                  <a:gd name="T56" fmla="*/ 548 w 1256"/>
                  <a:gd name="T57" fmla="*/ 542 h 855"/>
                  <a:gd name="T58" fmla="*/ 936 w 1256"/>
                  <a:gd name="T59" fmla="*/ 0 h 855"/>
                  <a:gd name="T60" fmla="*/ 932 w 1256"/>
                  <a:gd name="T61" fmla="*/ 122 h 855"/>
                  <a:gd name="T62" fmla="*/ 744 w 1256"/>
                  <a:gd name="T63" fmla="*/ 154 h 855"/>
                  <a:gd name="T64" fmla="*/ 820 w 1256"/>
                  <a:gd name="T65" fmla="*/ 0 h 855"/>
                  <a:gd name="T66" fmla="*/ 904 w 1256"/>
                  <a:gd name="T67" fmla="*/ 26 h 855"/>
                  <a:gd name="T68" fmla="*/ 904 w 1256"/>
                  <a:gd name="T69" fmla="*/ 350 h 855"/>
                  <a:gd name="T70" fmla="*/ 406 w 1256"/>
                  <a:gd name="T71" fmla="*/ 264 h 855"/>
                  <a:gd name="T72" fmla="*/ 196 w 1256"/>
                  <a:gd name="T73" fmla="*/ 246 h 855"/>
                  <a:gd name="T74" fmla="*/ 398 w 1256"/>
                  <a:gd name="T75" fmla="*/ 254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56" h="855">
                    <a:moveTo>
                      <a:pt x="1256" y="745"/>
                    </a:moveTo>
                    <a:lnTo>
                      <a:pt x="1116" y="745"/>
                    </a:lnTo>
                    <a:lnTo>
                      <a:pt x="702" y="855"/>
                    </a:lnTo>
                    <a:lnTo>
                      <a:pt x="540" y="727"/>
                    </a:lnTo>
                    <a:lnTo>
                      <a:pt x="856" y="671"/>
                    </a:lnTo>
                    <a:lnTo>
                      <a:pt x="724" y="763"/>
                    </a:lnTo>
                    <a:lnTo>
                      <a:pt x="908" y="362"/>
                    </a:lnTo>
                    <a:lnTo>
                      <a:pt x="938" y="522"/>
                    </a:lnTo>
                    <a:lnTo>
                      <a:pt x="670" y="536"/>
                    </a:lnTo>
                    <a:lnTo>
                      <a:pt x="562" y="362"/>
                    </a:lnTo>
                    <a:lnTo>
                      <a:pt x="588" y="132"/>
                    </a:lnTo>
                    <a:lnTo>
                      <a:pt x="630" y="260"/>
                    </a:lnTo>
                    <a:lnTo>
                      <a:pt x="704" y="182"/>
                    </a:lnTo>
                    <a:lnTo>
                      <a:pt x="762" y="338"/>
                    </a:lnTo>
                    <a:lnTo>
                      <a:pt x="540" y="362"/>
                    </a:lnTo>
                    <a:lnTo>
                      <a:pt x="424" y="212"/>
                    </a:lnTo>
                    <a:lnTo>
                      <a:pt x="396" y="268"/>
                    </a:lnTo>
                    <a:lnTo>
                      <a:pt x="22" y="86"/>
                    </a:lnTo>
                    <a:lnTo>
                      <a:pt x="0" y="226"/>
                    </a:lnTo>
                    <a:lnTo>
                      <a:pt x="188" y="150"/>
                    </a:lnTo>
                    <a:lnTo>
                      <a:pt x="454" y="86"/>
                    </a:lnTo>
                    <a:lnTo>
                      <a:pt x="264" y="302"/>
                    </a:lnTo>
                    <a:lnTo>
                      <a:pt x="264" y="220"/>
                    </a:lnTo>
                    <a:lnTo>
                      <a:pt x="380" y="110"/>
                    </a:lnTo>
                    <a:lnTo>
                      <a:pt x="1092" y="356"/>
                    </a:lnTo>
                    <a:lnTo>
                      <a:pt x="1004" y="598"/>
                    </a:lnTo>
                    <a:lnTo>
                      <a:pt x="860" y="512"/>
                    </a:lnTo>
                    <a:lnTo>
                      <a:pt x="468" y="454"/>
                    </a:lnTo>
                    <a:lnTo>
                      <a:pt x="548" y="542"/>
                    </a:lnTo>
                    <a:lnTo>
                      <a:pt x="936" y="0"/>
                    </a:lnTo>
                    <a:lnTo>
                      <a:pt x="932" y="122"/>
                    </a:lnTo>
                    <a:lnTo>
                      <a:pt x="744" y="154"/>
                    </a:lnTo>
                    <a:lnTo>
                      <a:pt x="820" y="0"/>
                    </a:lnTo>
                    <a:lnTo>
                      <a:pt x="904" y="26"/>
                    </a:lnTo>
                    <a:lnTo>
                      <a:pt x="904" y="350"/>
                    </a:lnTo>
                    <a:lnTo>
                      <a:pt x="406" y="264"/>
                    </a:lnTo>
                    <a:lnTo>
                      <a:pt x="196" y="246"/>
                    </a:lnTo>
                    <a:lnTo>
                      <a:pt x="398" y="254"/>
                    </a:lnTo>
                  </a:path>
                </a:pathLst>
              </a:custGeom>
              <a:grpFill/>
              <a:ln w="6350" cap="flat">
                <a:solidFill>
                  <a:schemeClr val="tx1">
                    <a:lumMod val="25000"/>
                    <a:lumOff val="75000"/>
                  </a:schemeClr>
                </a:solidFill>
                <a:prstDash val="solid"/>
                <a:miter/>
              </a:ln>
            </p:spPr>
            <p:txBody>
              <a:bodyPr rtlCol="0" anchor="ctr"/>
              <a:lstStyle/>
              <a:p>
                <a:pPr defTabSz="932384">
                  <a:defRPr/>
                </a:pPr>
                <a:endParaRPr lang="en-US" dirty="0">
                  <a:solidFill>
                    <a:srgbClr val="1A1A1A"/>
                  </a:solidFill>
                  <a:latin typeface="Segoe UI"/>
                </a:endParaRPr>
              </a:p>
            </p:txBody>
          </p:sp>
          <p:sp>
            <p:nvSpPr>
              <p:cNvPr id="959" name="Freeform 7">
                <a:extLst>
                  <a:ext uri="{FF2B5EF4-FFF2-40B4-BE49-F238E27FC236}">
                    <a16:creationId xmlns:a16="http://schemas.microsoft.com/office/drawing/2014/main" id="{F8AE1E96-B5D0-4117-BA78-D27437F5FA27}"/>
                  </a:ext>
                </a:extLst>
              </p:cNvPr>
              <p:cNvSpPr>
                <a:spLocks/>
              </p:cNvSpPr>
              <p:nvPr/>
            </p:nvSpPr>
            <p:spPr bwMode="auto">
              <a:xfrm>
                <a:off x="3253" y="905"/>
                <a:ext cx="124" cy="84"/>
              </a:xfrm>
              <a:custGeom>
                <a:avLst/>
                <a:gdLst>
                  <a:gd name="T0" fmla="*/ 100 w 124"/>
                  <a:gd name="T1" fmla="*/ 64 h 84"/>
                  <a:gd name="T2" fmla="*/ 124 w 124"/>
                  <a:gd name="T3" fmla="*/ 0 h 84"/>
                  <a:gd name="T4" fmla="*/ 18 w 124"/>
                  <a:gd name="T5" fmla="*/ 84 h 84"/>
                  <a:gd name="T6" fmla="*/ 0 w 124"/>
                  <a:gd name="T7" fmla="*/ 14 h 84"/>
                  <a:gd name="T8" fmla="*/ 100 w 124"/>
                  <a:gd name="T9" fmla="*/ 64 h 84"/>
                </a:gdLst>
                <a:ahLst/>
                <a:cxnLst>
                  <a:cxn ang="0">
                    <a:pos x="T0" y="T1"/>
                  </a:cxn>
                  <a:cxn ang="0">
                    <a:pos x="T2" y="T3"/>
                  </a:cxn>
                  <a:cxn ang="0">
                    <a:pos x="T4" y="T5"/>
                  </a:cxn>
                  <a:cxn ang="0">
                    <a:pos x="T6" y="T7"/>
                  </a:cxn>
                  <a:cxn ang="0">
                    <a:pos x="T8" y="T9"/>
                  </a:cxn>
                </a:cxnLst>
                <a:rect l="0" t="0" r="r" b="b"/>
                <a:pathLst>
                  <a:path w="124" h="84">
                    <a:moveTo>
                      <a:pt x="100" y="64"/>
                    </a:moveTo>
                    <a:lnTo>
                      <a:pt x="124" y="0"/>
                    </a:lnTo>
                    <a:lnTo>
                      <a:pt x="18" y="84"/>
                    </a:lnTo>
                    <a:lnTo>
                      <a:pt x="0" y="14"/>
                    </a:lnTo>
                    <a:lnTo>
                      <a:pt x="100" y="64"/>
                    </a:lnTo>
                    <a:close/>
                  </a:path>
                </a:pathLst>
              </a:custGeom>
              <a:grpFill/>
              <a:ln w="6350" cap="flat">
                <a:solidFill>
                  <a:schemeClr val="tx1">
                    <a:lumMod val="25000"/>
                    <a:lumOff val="75000"/>
                  </a:schemeClr>
                </a:solidFill>
                <a:prstDash val="solid"/>
                <a:miter/>
              </a:ln>
            </p:spPr>
            <p:txBody>
              <a:bodyPr rtlCol="0" anchor="ctr"/>
              <a:lstStyle/>
              <a:p>
                <a:pPr defTabSz="932384">
                  <a:defRPr/>
                </a:pPr>
                <a:endParaRPr lang="en-US" dirty="0">
                  <a:solidFill>
                    <a:srgbClr val="1A1A1A"/>
                  </a:solidFill>
                  <a:latin typeface="Segoe UI"/>
                </a:endParaRPr>
              </a:p>
            </p:txBody>
          </p:sp>
          <p:sp>
            <p:nvSpPr>
              <p:cNvPr id="960" name="Freeform 8">
                <a:extLst>
                  <a:ext uri="{FF2B5EF4-FFF2-40B4-BE49-F238E27FC236}">
                    <a16:creationId xmlns:a16="http://schemas.microsoft.com/office/drawing/2014/main" id="{0561FC27-D9C2-479F-9F33-686F832C8A8B}"/>
                  </a:ext>
                </a:extLst>
              </p:cNvPr>
              <p:cNvSpPr>
                <a:spLocks/>
              </p:cNvSpPr>
              <p:nvPr/>
            </p:nvSpPr>
            <p:spPr bwMode="auto">
              <a:xfrm>
                <a:off x="2673" y="254"/>
                <a:ext cx="742" cy="781"/>
              </a:xfrm>
              <a:custGeom>
                <a:avLst/>
                <a:gdLst>
                  <a:gd name="T0" fmla="*/ 29 w 371"/>
                  <a:gd name="T1" fmla="*/ 391 h 391"/>
                  <a:gd name="T2" fmla="*/ 143 w 371"/>
                  <a:gd name="T3" fmla="*/ 75 h 391"/>
                  <a:gd name="T4" fmla="*/ 210 w 371"/>
                  <a:gd name="T5" fmla="*/ 44 h 391"/>
                  <a:gd name="T6" fmla="*/ 283 w 371"/>
                  <a:gd name="T7" fmla="*/ 150 h 391"/>
                  <a:gd name="T8" fmla="*/ 194 w 371"/>
                  <a:gd name="T9" fmla="*/ 161 h 391"/>
                  <a:gd name="T10" fmla="*/ 317 w 371"/>
                  <a:gd name="T11" fmla="*/ 40 h 391"/>
                  <a:gd name="T12" fmla="*/ 371 w 371"/>
                  <a:gd name="T13" fmla="*/ 36 h 391"/>
                  <a:gd name="T14" fmla="*/ 261 w 371"/>
                  <a:gd name="T15" fmla="*/ 0 h 391"/>
                  <a:gd name="T16" fmla="*/ 76 w 371"/>
                  <a:gd name="T17" fmla="*/ 17 h 391"/>
                  <a:gd name="T18" fmla="*/ 169 w 371"/>
                  <a:gd name="T19" fmla="*/ 152 h 391"/>
                  <a:gd name="T20" fmla="*/ 0 w 371"/>
                  <a:gd name="T21" fmla="*/ 347 h 391"/>
                  <a:gd name="T22" fmla="*/ 276 w 371"/>
                  <a:gd name="T23" fmla="*/ 221 h 391"/>
                  <a:gd name="T24" fmla="*/ 83 w 371"/>
                  <a:gd name="T25" fmla="*/ 260 h 391"/>
                  <a:gd name="T26" fmla="*/ 223 w 371"/>
                  <a:gd name="T27" fmla="*/ 269 h 391"/>
                  <a:gd name="T28" fmla="*/ 23 w 371"/>
                  <a:gd name="T29" fmla="*/ 380 h 391"/>
                  <a:gd name="T30" fmla="*/ 29 w 371"/>
                  <a:gd name="T31"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1" h="391">
                    <a:moveTo>
                      <a:pt x="29" y="391"/>
                    </a:moveTo>
                    <a:cubicBezTo>
                      <a:pt x="143" y="75"/>
                      <a:pt x="143" y="75"/>
                      <a:pt x="143" y="75"/>
                    </a:cubicBezTo>
                    <a:cubicBezTo>
                      <a:pt x="210" y="44"/>
                      <a:pt x="210" y="44"/>
                      <a:pt x="210" y="44"/>
                    </a:cubicBezTo>
                    <a:cubicBezTo>
                      <a:pt x="283" y="150"/>
                      <a:pt x="283" y="150"/>
                      <a:pt x="283" y="150"/>
                    </a:cubicBezTo>
                    <a:cubicBezTo>
                      <a:pt x="194" y="161"/>
                      <a:pt x="194" y="161"/>
                      <a:pt x="194" y="161"/>
                    </a:cubicBezTo>
                    <a:cubicBezTo>
                      <a:pt x="317" y="40"/>
                      <a:pt x="317" y="40"/>
                      <a:pt x="317" y="40"/>
                    </a:cubicBezTo>
                    <a:cubicBezTo>
                      <a:pt x="371" y="36"/>
                      <a:pt x="371" y="36"/>
                      <a:pt x="371" y="36"/>
                    </a:cubicBezTo>
                    <a:cubicBezTo>
                      <a:pt x="261" y="0"/>
                      <a:pt x="261" y="0"/>
                      <a:pt x="261" y="0"/>
                    </a:cubicBezTo>
                    <a:cubicBezTo>
                      <a:pt x="76" y="17"/>
                      <a:pt x="76" y="17"/>
                      <a:pt x="76" y="17"/>
                    </a:cubicBezTo>
                    <a:cubicBezTo>
                      <a:pt x="169" y="152"/>
                      <a:pt x="169" y="152"/>
                      <a:pt x="169" y="152"/>
                    </a:cubicBezTo>
                    <a:cubicBezTo>
                      <a:pt x="0" y="347"/>
                      <a:pt x="0" y="347"/>
                      <a:pt x="0" y="347"/>
                    </a:cubicBezTo>
                    <a:cubicBezTo>
                      <a:pt x="0" y="347"/>
                      <a:pt x="278" y="221"/>
                      <a:pt x="276" y="221"/>
                    </a:cubicBezTo>
                    <a:cubicBezTo>
                      <a:pt x="275" y="221"/>
                      <a:pt x="83" y="260"/>
                      <a:pt x="83" y="260"/>
                    </a:cubicBezTo>
                    <a:cubicBezTo>
                      <a:pt x="223" y="269"/>
                      <a:pt x="223" y="269"/>
                      <a:pt x="223" y="269"/>
                    </a:cubicBezTo>
                    <a:cubicBezTo>
                      <a:pt x="23" y="380"/>
                      <a:pt x="23" y="380"/>
                      <a:pt x="23" y="380"/>
                    </a:cubicBezTo>
                    <a:lnTo>
                      <a:pt x="29" y="391"/>
                    </a:lnTo>
                    <a:close/>
                  </a:path>
                </a:pathLst>
              </a:custGeom>
              <a:grpFill/>
              <a:ln w="6350" cap="flat">
                <a:solidFill>
                  <a:schemeClr val="tx1">
                    <a:lumMod val="25000"/>
                    <a:lumOff val="75000"/>
                  </a:schemeClr>
                </a:solidFill>
                <a:prstDash val="solid"/>
                <a:miter/>
              </a:ln>
            </p:spPr>
            <p:txBody>
              <a:bodyPr rtlCol="0" anchor="ctr"/>
              <a:lstStyle/>
              <a:p>
                <a:pPr defTabSz="932384">
                  <a:defRPr/>
                </a:pPr>
                <a:endParaRPr lang="en-US" dirty="0">
                  <a:solidFill>
                    <a:srgbClr val="1A1A1A"/>
                  </a:solidFill>
                  <a:latin typeface="Segoe UI"/>
                </a:endParaRPr>
              </a:p>
            </p:txBody>
          </p:sp>
          <p:sp>
            <p:nvSpPr>
              <p:cNvPr id="961" name="Freeform 9">
                <a:extLst>
                  <a:ext uri="{FF2B5EF4-FFF2-40B4-BE49-F238E27FC236}">
                    <a16:creationId xmlns:a16="http://schemas.microsoft.com/office/drawing/2014/main" id="{8A77EE72-AD74-45A1-8E54-221259A72402}"/>
                  </a:ext>
                </a:extLst>
              </p:cNvPr>
              <p:cNvSpPr>
                <a:spLocks/>
              </p:cNvSpPr>
              <p:nvPr/>
            </p:nvSpPr>
            <p:spPr bwMode="auto">
              <a:xfrm>
                <a:off x="1083" y="264"/>
                <a:ext cx="1272" cy="1471"/>
              </a:xfrm>
              <a:custGeom>
                <a:avLst/>
                <a:gdLst>
                  <a:gd name="T0" fmla="*/ 1266 w 1272"/>
                  <a:gd name="T1" fmla="*/ 52 h 1471"/>
                  <a:gd name="T2" fmla="*/ 1272 w 1272"/>
                  <a:gd name="T3" fmla="*/ 0 h 1471"/>
                  <a:gd name="T4" fmla="*/ 1064 w 1272"/>
                  <a:gd name="T5" fmla="*/ 110 h 1471"/>
                  <a:gd name="T6" fmla="*/ 962 w 1272"/>
                  <a:gd name="T7" fmla="*/ 190 h 1471"/>
                  <a:gd name="T8" fmla="*/ 792 w 1272"/>
                  <a:gd name="T9" fmla="*/ 156 h 1471"/>
                  <a:gd name="T10" fmla="*/ 768 w 1272"/>
                  <a:gd name="T11" fmla="*/ 496 h 1471"/>
                  <a:gd name="T12" fmla="*/ 516 w 1272"/>
                  <a:gd name="T13" fmla="*/ 414 h 1471"/>
                  <a:gd name="T14" fmla="*/ 520 w 1272"/>
                  <a:gd name="T15" fmla="*/ 490 h 1471"/>
                  <a:gd name="T16" fmla="*/ 214 w 1272"/>
                  <a:gd name="T17" fmla="*/ 354 h 1471"/>
                  <a:gd name="T18" fmla="*/ 302 w 1272"/>
                  <a:gd name="T19" fmla="*/ 410 h 1471"/>
                  <a:gd name="T20" fmla="*/ 462 w 1272"/>
                  <a:gd name="T21" fmla="*/ 162 h 1471"/>
                  <a:gd name="T22" fmla="*/ 240 w 1272"/>
                  <a:gd name="T23" fmla="*/ 238 h 1471"/>
                  <a:gd name="T24" fmla="*/ 598 w 1272"/>
                  <a:gd name="T25" fmla="*/ 160 h 1471"/>
                  <a:gd name="T26" fmla="*/ 376 w 1272"/>
                  <a:gd name="T27" fmla="*/ 280 h 1471"/>
                  <a:gd name="T28" fmla="*/ 594 w 1272"/>
                  <a:gd name="T29" fmla="*/ 500 h 1471"/>
                  <a:gd name="T30" fmla="*/ 922 w 1272"/>
                  <a:gd name="T31" fmla="*/ 130 h 1471"/>
                  <a:gd name="T32" fmla="*/ 1072 w 1272"/>
                  <a:gd name="T33" fmla="*/ 190 h 1471"/>
                  <a:gd name="T34" fmla="*/ 998 w 1272"/>
                  <a:gd name="T35" fmla="*/ 264 h 1471"/>
                  <a:gd name="T36" fmla="*/ 700 w 1272"/>
                  <a:gd name="T37" fmla="*/ 256 h 1471"/>
                  <a:gd name="T38" fmla="*/ 838 w 1272"/>
                  <a:gd name="T39" fmla="*/ 80 h 1471"/>
                  <a:gd name="T40" fmla="*/ 854 w 1272"/>
                  <a:gd name="T41" fmla="*/ 432 h 1471"/>
                  <a:gd name="T42" fmla="*/ 808 w 1272"/>
                  <a:gd name="T43" fmla="*/ 550 h 1471"/>
                  <a:gd name="T44" fmla="*/ 690 w 1272"/>
                  <a:gd name="T45" fmla="*/ 605 h 1471"/>
                  <a:gd name="T46" fmla="*/ 536 w 1272"/>
                  <a:gd name="T47" fmla="*/ 570 h 1471"/>
                  <a:gd name="T48" fmla="*/ 504 w 1272"/>
                  <a:gd name="T49" fmla="*/ 1019 h 1471"/>
                  <a:gd name="T50" fmla="*/ 330 w 1272"/>
                  <a:gd name="T51" fmla="*/ 649 h 1471"/>
                  <a:gd name="T52" fmla="*/ 476 w 1272"/>
                  <a:gd name="T53" fmla="*/ 747 h 1471"/>
                  <a:gd name="T54" fmla="*/ 436 w 1272"/>
                  <a:gd name="T55" fmla="*/ 927 h 1471"/>
                  <a:gd name="T56" fmla="*/ 838 w 1272"/>
                  <a:gd name="T57" fmla="*/ 933 h 1471"/>
                  <a:gd name="T58" fmla="*/ 764 w 1272"/>
                  <a:gd name="T59" fmla="*/ 963 h 1471"/>
                  <a:gd name="T60" fmla="*/ 640 w 1272"/>
                  <a:gd name="T61" fmla="*/ 843 h 1471"/>
                  <a:gd name="T62" fmla="*/ 246 w 1272"/>
                  <a:gd name="T63" fmla="*/ 1141 h 1471"/>
                  <a:gd name="T64" fmla="*/ 0 w 1272"/>
                  <a:gd name="T65" fmla="*/ 771 h 1471"/>
                  <a:gd name="T66" fmla="*/ 500 w 1272"/>
                  <a:gd name="T67" fmla="*/ 801 h 1471"/>
                  <a:gd name="T68" fmla="*/ 284 w 1272"/>
                  <a:gd name="T69" fmla="*/ 843 h 1471"/>
                  <a:gd name="T70" fmla="*/ 368 w 1272"/>
                  <a:gd name="T71" fmla="*/ 1471 h 1471"/>
                  <a:gd name="T72" fmla="*/ 306 w 1272"/>
                  <a:gd name="T73" fmla="*/ 1389 h 1471"/>
                  <a:gd name="T74" fmla="*/ 614 w 1272"/>
                  <a:gd name="T75" fmla="*/ 1061 h 1471"/>
                  <a:gd name="T76" fmla="*/ 878 w 1272"/>
                  <a:gd name="T77" fmla="*/ 1341 h 1471"/>
                  <a:gd name="T78" fmla="*/ 664 w 1272"/>
                  <a:gd name="T79" fmla="*/ 717 h 1471"/>
                  <a:gd name="T80" fmla="*/ 982 w 1272"/>
                  <a:gd name="T81" fmla="*/ 615 h 1471"/>
                  <a:gd name="T82" fmla="*/ 976 w 1272"/>
                  <a:gd name="T83" fmla="*/ 532 h 1471"/>
                  <a:gd name="T84" fmla="*/ 944 w 1272"/>
                  <a:gd name="T85" fmla="*/ 532 h 1471"/>
                  <a:gd name="T86" fmla="*/ 974 w 1272"/>
                  <a:gd name="T87" fmla="*/ 418 h 1471"/>
                  <a:gd name="T88" fmla="*/ 948 w 1272"/>
                  <a:gd name="T89" fmla="*/ 382 h 1471"/>
                  <a:gd name="T90" fmla="*/ 1022 w 1272"/>
                  <a:gd name="T91" fmla="*/ 42 h 1471"/>
                  <a:gd name="T92" fmla="*/ 1266 w 1272"/>
                  <a:gd name="T93" fmla="*/ 52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72" h="1471">
                    <a:moveTo>
                      <a:pt x="1266" y="52"/>
                    </a:moveTo>
                    <a:lnTo>
                      <a:pt x="1272" y="0"/>
                    </a:lnTo>
                    <a:lnTo>
                      <a:pt x="1064" y="110"/>
                    </a:lnTo>
                    <a:lnTo>
                      <a:pt x="962" y="190"/>
                    </a:lnTo>
                    <a:lnTo>
                      <a:pt x="792" y="156"/>
                    </a:lnTo>
                    <a:lnTo>
                      <a:pt x="768" y="496"/>
                    </a:lnTo>
                    <a:lnTo>
                      <a:pt x="516" y="414"/>
                    </a:lnTo>
                    <a:lnTo>
                      <a:pt x="520" y="490"/>
                    </a:lnTo>
                    <a:lnTo>
                      <a:pt x="214" y="354"/>
                    </a:lnTo>
                    <a:lnTo>
                      <a:pt x="302" y="410"/>
                    </a:lnTo>
                    <a:lnTo>
                      <a:pt x="462" y="162"/>
                    </a:lnTo>
                    <a:lnTo>
                      <a:pt x="240" y="238"/>
                    </a:lnTo>
                    <a:lnTo>
                      <a:pt x="598" y="160"/>
                    </a:lnTo>
                    <a:lnTo>
                      <a:pt x="376" y="280"/>
                    </a:lnTo>
                    <a:lnTo>
                      <a:pt x="594" y="500"/>
                    </a:lnTo>
                    <a:lnTo>
                      <a:pt x="922" y="130"/>
                    </a:lnTo>
                    <a:lnTo>
                      <a:pt x="1072" y="190"/>
                    </a:lnTo>
                    <a:lnTo>
                      <a:pt x="998" y="264"/>
                    </a:lnTo>
                    <a:lnTo>
                      <a:pt x="700" y="256"/>
                    </a:lnTo>
                    <a:lnTo>
                      <a:pt x="838" y="80"/>
                    </a:lnTo>
                    <a:lnTo>
                      <a:pt x="854" y="432"/>
                    </a:lnTo>
                    <a:lnTo>
                      <a:pt x="808" y="550"/>
                    </a:lnTo>
                    <a:lnTo>
                      <a:pt x="690" y="605"/>
                    </a:lnTo>
                    <a:lnTo>
                      <a:pt x="536" y="570"/>
                    </a:lnTo>
                    <a:lnTo>
                      <a:pt x="504" y="1019"/>
                    </a:lnTo>
                    <a:lnTo>
                      <a:pt x="330" y="649"/>
                    </a:lnTo>
                    <a:lnTo>
                      <a:pt x="476" y="747"/>
                    </a:lnTo>
                    <a:lnTo>
                      <a:pt x="436" y="927"/>
                    </a:lnTo>
                    <a:lnTo>
                      <a:pt x="838" y="933"/>
                    </a:lnTo>
                    <a:lnTo>
                      <a:pt x="764" y="963"/>
                    </a:lnTo>
                    <a:lnTo>
                      <a:pt x="640" y="843"/>
                    </a:lnTo>
                    <a:lnTo>
                      <a:pt x="246" y="1141"/>
                    </a:lnTo>
                    <a:lnTo>
                      <a:pt x="0" y="771"/>
                    </a:lnTo>
                    <a:lnTo>
                      <a:pt x="500" y="801"/>
                    </a:lnTo>
                    <a:lnTo>
                      <a:pt x="284" y="843"/>
                    </a:lnTo>
                    <a:lnTo>
                      <a:pt x="368" y="1471"/>
                    </a:lnTo>
                    <a:lnTo>
                      <a:pt x="306" y="1389"/>
                    </a:lnTo>
                    <a:lnTo>
                      <a:pt x="614" y="1061"/>
                    </a:lnTo>
                    <a:lnTo>
                      <a:pt x="878" y="1341"/>
                    </a:lnTo>
                    <a:lnTo>
                      <a:pt x="664" y="717"/>
                    </a:lnTo>
                    <a:lnTo>
                      <a:pt x="982" y="615"/>
                    </a:lnTo>
                    <a:lnTo>
                      <a:pt x="976" y="532"/>
                    </a:lnTo>
                    <a:lnTo>
                      <a:pt x="944" y="532"/>
                    </a:lnTo>
                    <a:lnTo>
                      <a:pt x="974" y="418"/>
                    </a:lnTo>
                    <a:lnTo>
                      <a:pt x="948" y="382"/>
                    </a:lnTo>
                    <a:lnTo>
                      <a:pt x="1022" y="42"/>
                    </a:lnTo>
                    <a:lnTo>
                      <a:pt x="1266" y="52"/>
                    </a:lnTo>
                    <a:close/>
                  </a:path>
                </a:pathLst>
              </a:custGeom>
              <a:grpFill/>
              <a:ln w="6350" cap="flat">
                <a:solidFill>
                  <a:schemeClr val="tx1">
                    <a:lumMod val="25000"/>
                    <a:lumOff val="75000"/>
                  </a:schemeClr>
                </a:solidFill>
                <a:prstDash val="solid"/>
                <a:miter/>
              </a:ln>
            </p:spPr>
            <p:txBody>
              <a:bodyPr rtlCol="0" anchor="ctr"/>
              <a:lstStyle/>
              <a:p>
                <a:pPr defTabSz="932384">
                  <a:defRPr/>
                </a:pPr>
                <a:endParaRPr lang="en-US" dirty="0">
                  <a:solidFill>
                    <a:srgbClr val="1A1A1A"/>
                  </a:solidFill>
                  <a:latin typeface="Segoe UI"/>
                </a:endParaRPr>
              </a:p>
            </p:txBody>
          </p:sp>
          <p:sp>
            <p:nvSpPr>
              <p:cNvPr id="962" name="Freeform 10">
                <a:extLst>
                  <a:ext uri="{FF2B5EF4-FFF2-40B4-BE49-F238E27FC236}">
                    <a16:creationId xmlns:a16="http://schemas.microsoft.com/office/drawing/2014/main" id="{AB0A6FCC-50AF-4540-8579-2118A6AB4B9C}"/>
                  </a:ext>
                </a:extLst>
              </p:cNvPr>
              <p:cNvSpPr>
                <a:spLocks/>
              </p:cNvSpPr>
              <p:nvPr/>
            </p:nvSpPr>
            <p:spPr bwMode="auto">
              <a:xfrm>
                <a:off x="2013" y="624"/>
                <a:ext cx="460" cy="747"/>
              </a:xfrm>
              <a:custGeom>
                <a:avLst/>
                <a:gdLst>
                  <a:gd name="T0" fmla="*/ 6 w 460"/>
                  <a:gd name="T1" fmla="*/ 0 h 747"/>
                  <a:gd name="T2" fmla="*/ 312 w 460"/>
                  <a:gd name="T3" fmla="*/ 134 h 747"/>
                  <a:gd name="T4" fmla="*/ 0 w 460"/>
                  <a:gd name="T5" fmla="*/ 94 h 747"/>
                  <a:gd name="T6" fmla="*/ 214 w 460"/>
                  <a:gd name="T7" fmla="*/ 72 h 747"/>
                  <a:gd name="T8" fmla="*/ 336 w 460"/>
                  <a:gd name="T9" fmla="*/ 349 h 747"/>
                  <a:gd name="T10" fmla="*/ 380 w 460"/>
                  <a:gd name="T11" fmla="*/ 223 h 747"/>
                  <a:gd name="T12" fmla="*/ 174 w 460"/>
                  <a:gd name="T13" fmla="*/ 449 h 747"/>
                  <a:gd name="T14" fmla="*/ 460 w 460"/>
                  <a:gd name="T15" fmla="*/ 747 h 747"/>
                  <a:gd name="T16" fmla="*/ 334 w 460"/>
                  <a:gd name="T17" fmla="*/ 535 h 747"/>
                  <a:gd name="T18" fmla="*/ 398 w 460"/>
                  <a:gd name="T19" fmla="*/ 469 h 747"/>
                  <a:gd name="T20" fmla="*/ 184 w 460"/>
                  <a:gd name="T21" fmla="*/ 591 h 747"/>
                  <a:gd name="T22" fmla="*/ 280 w 460"/>
                  <a:gd name="T23" fmla="*/ 383 h 747"/>
                  <a:gd name="T24" fmla="*/ 242 w 460"/>
                  <a:gd name="T25" fmla="*/ 289 h 747"/>
                  <a:gd name="T26" fmla="*/ 404 w 460"/>
                  <a:gd name="T27" fmla="*/ 297 h 747"/>
                  <a:gd name="T28" fmla="*/ 244 w 460"/>
                  <a:gd name="T29" fmla="*/ 112 h 747"/>
                  <a:gd name="T30" fmla="*/ 250 w 460"/>
                  <a:gd name="T31" fmla="*/ 172 h 747"/>
                  <a:gd name="T32" fmla="*/ 128 w 460"/>
                  <a:gd name="T33" fmla="*/ 132 h 747"/>
                  <a:gd name="T34" fmla="*/ 164 w 460"/>
                  <a:gd name="T35" fmla="*/ 126 h 747"/>
                  <a:gd name="T36" fmla="*/ 6 w 460"/>
                  <a:gd name="T37" fmla="*/ 0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0" h="747">
                    <a:moveTo>
                      <a:pt x="6" y="0"/>
                    </a:moveTo>
                    <a:lnTo>
                      <a:pt x="312" y="134"/>
                    </a:lnTo>
                    <a:lnTo>
                      <a:pt x="0" y="94"/>
                    </a:lnTo>
                    <a:lnTo>
                      <a:pt x="214" y="72"/>
                    </a:lnTo>
                    <a:lnTo>
                      <a:pt x="336" y="349"/>
                    </a:lnTo>
                    <a:lnTo>
                      <a:pt x="380" y="223"/>
                    </a:lnTo>
                    <a:lnTo>
                      <a:pt x="174" y="449"/>
                    </a:lnTo>
                    <a:lnTo>
                      <a:pt x="460" y="747"/>
                    </a:lnTo>
                    <a:lnTo>
                      <a:pt x="334" y="535"/>
                    </a:lnTo>
                    <a:lnTo>
                      <a:pt x="398" y="469"/>
                    </a:lnTo>
                    <a:lnTo>
                      <a:pt x="184" y="591"/>
                    </a:lnTo>
                    <a:lnTo>
                      <a:pt x="280" y="383"/>
                    </a:lnTo>
                    <a:lnTo>
                      <a:pt x="242" y="289"/>
                    </a:lnTo>
                    <a:lnTo>
                      <a:pt x="404" y="297"/>
                    </a:lnTo>
                    <a:lnTo>
                      <a:pt x="244" y="112"/>
                    </a:lnTo>
                    <a:lnTo>
                      <a:pt x="250" y="172"/>
                    </a:lnTo>
                    <a:lnTo>
                      <a:pt x="128" y="132"/>
                    </a:lnTo>
                    <a:lnTo>
                      <a:pt x="164" y="126"/>
                    </a:lnTo>
                    <a:lnTo>
                      <a:pt x="6" y="0"/>
                    </a:lnTo>
                    <a:close/>
                  </a:path>
                </a:pathLst>
              </a:custGeom>
              <a:grpFill/>
              <a:ln w="6350" cap="flat">
                <a:solidFill>
                  <a:schemeClr val="tx1">
                    <a:lumMod val="25000"/>
                    <a:lumOff val="75000"/>
                  </a:schemeClr>
                </a:solidFill>
                <a:prstDash val="solid"/>
                <a:miter/>
              </a:ln>
            </p:spPr>
            <p:txBody>
              <a:bodyPr rtlCol="0" anchor="ctr"/>
              <a:lstStyle/>
              <a:p>
                <a:pPr defTabSz="932384">
                  <a:defRPr/>
                </a:pPr>
                <a:endParaRPr lang="en-US" dirty="0">
                  <a:solidFill>
                    <a:srgbClr val="1A1A1A"/>
                  </a:solidFill>
                  <a:latin typeface="Segoe UI"/>
                </a:endParaRPr>
              </a:p>
            </p:txBody>
          </p:sp>
          <p:sp>
            <p:nvSpPr>
              <p:cNvPr id="963" name="Freeform 11">
                <a:extLst>
                  <a:ext uri="{FF2B5EF4-FFF2-40B4-BE49-F238E27FC236}">
                    <a16:creationId xmlns:a16="http://schemas.microsoft.com/office/drawing/2014/main" id="{2F185DA3-3003-4523-B628-0794E1C3926A}"/>
                  </a:ext>
                </a:extLst>
              </p:cNvPr>
              <p:cNvSpPr>
                <a:spLocks/>
              </p:cNvSpPr>
              <p:nvPr/>
            </p:nvSpPr>
            <p:spPr bwMode="auto">
              <a:xfrm>
                <a:off x="1363" y="1161"/>
                <a:ext cx="1102" cy="877"/>
              </a:xfrm>
              <a:custGeom>
                <a:avLst/>
                <a:gdLst>
                  <a:gd name="T0" fmla="*/ 992 w 1102"/>
                  <a:gd name="T1" fmla="*/ 0 h 877"/>
                  <a:gd name="T2" fmla="*/ 1102 w 1102"/>
                  <a:gd name="T3" fmla="*/ 80 h 877"/>
                  <a:gd name="T4" fmla="*/ 872 w 1102"/>
                  <a:gd name="T5" fmla="*/ 334 h 877"/>
                  <a:gd name="T6" fmla="*/ 756 w 1102"/>
                  <a:gd name="T7" fmla="*/ 272 h 877"/>
                  <a:gd name="T8" fmla="*/ 790 w 1102"/>
                  <a:gd name="T9" fmla="*/ 158 h 877"/>
                  <a:gd name="T10" fmla="*/ 992 w 1102"/>
                  <a:gd name="T11" fmla="*/ 256 h 877"/>
                  <a:gd name="T12" fmla="*/ 908 w 1102"/>
                  <a:gd name="T13" fmla="*/ 360 h 877"/>
                  <a:gd name="T14" fmla="*/ 554 w 1102"/>
                  <a:gd name="T15" fmla="*/ 378 h 877"/>
                  <a:gd name="T16" fmla="*/ 656 w 1102"/>
                  <a:gd name="T17" fmla="*/ 276 h 877"/>
                  <a:gd name="T18" fmla="*/ 760 w 1102"/>
                  <a:gd name="T19" fmla="*/ 686 h 877"/>
                  <a:gd name="T20" fmla="*/ 366 w 1102"/>
                  <a:gd name="T21" fmla="*/ 512 h 877"/>
                  <a:gd name="T22" fmla="*/ 344 w 1102"/>
                  <a:gd name="T23" fmla="*/ 400 h 877"/>
                  <a:gd name="T24" fmla="*/ 0 w 1102"/>
                  <a:gd name="T25" fmla="*/ 676 h 877"/>
                  <a:gd name="T26" fmla="*/ 326 w 1102"/>
                  <a:gd name="T27" fmla="*/ 648 h 877"/>
                  <a:gd name="T28" fmla="*/ 224 w 1102"/>
                  <a:gd name="T29" fmla="*/ 877 h 877"/>
                  <a:gd name="T30" fmla="*/ 278 w 1102"/>
                  <a:gd name="T31" fmla="*/ 272 h 877"/>
                  <a:gd name="T32" fmla="*/ 446 w 1102"/>
                  <a:gd name="T33" fmla="*/ 272 h 877"/>
                  <a:gd name="T34" fmla="*/ 408 w 1102"/>
                  <a:gd name="T35" fmla="*/ 450 h 877"/>
                  <a:gd name="T36" fmla="*/ 590 w 1102"/>
                  <a:gd name="T37" fmla="*/ 558 h 877"/>
                  <a:gd name="T38" fmla="*/ 962 w 1102"/>
                  <a:gd name="T39" fmla="*/ 136 h 877"/>
                  <a:gd name="T40" fmla="*/ 992 w 1102"/>
                  <a:gd name="T41" fmla="*/ 0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02" h="877">
                    <a:moveTo>
                      <a:pt x="992" y="0"/>
                    </a:moveTo>
                    <a:lnTo>
                      <a:pt x="1102" y="80"/>
                    </a:lnTo>
                    <a:lnTo>
                      <a:pt x="872" y="334"/>
                    </a:lnTo>
                    <a:lnTo>
                      <a:pt x="756" y="272"/>
                    </a:lnTo>
                    <a:lnTo>
                      <a:pt x="790" y="158"/>
                    </a:lnTo>
                    <a:lnTo>
                      <a:pt x="992" y="256"/>
                    </a:lnTo>
                    <a:lnTo>
                      <a:pt x="908" y="360"/>
                    </a:lnTo>
                    <a:lnTo>
                      <a:pt x="554" y="378"/>
                    </a:lnTo>
                    <a:lnTo>
                      <a:pt x="656" y="276"/>
                    </a:lnTo>
                    <a:lnTo>
                      <a:pt x="760" y="686"/>
                    </a:lnTo>
                    <a:lnTo>
                      <a:pt x="366" y="512"/>
                    </a:lnTo>
                    <a:lnTo>
                      <a:pt x="344" y="400"/>
                    </a:lnTo>
                    <a:lnTo>
                      <a:pt x="0" y="676"/>
                    </a:lnTo>
                    <a:lnTo>
                      <a:pt x="326" y="648"/>
                    </a:lnTo>
                    <a:lnTo>
                      <a:pt x="224" y="877"/>
                    </a:lnTo>
                    <a:lnTo>
                      <a:pt x="278" y="272"/>
                    </a:lnTo>
                    <a:lnTo>
                      <a:pt x="446" y="272"/>
                    </a:lnTo>
                    <a:lnTo>
                      <a:pt x="408" y="450"/>
                    </a:lnTo>
                    <a:lnTo>
                      <a:pt x="590" y="558"/>
                    </a:lnTo>
                    <a:lnTo>
                      <a:pt x="962" y="136"/>
                    </a:lnTo>
                    <a:lnTo>
                      <a:pt x="992" y="0"/>
                    </a:lnTo>
                    <a:close/>
                  </a:path>
                </a:pathLst>
              </a:custGeom>
              <a:grpFill/>
              <a:ln w="6350" cap="flat">
                <a:solidFill>
                  <a:schemeClr val="tx1">
                    <a:lumMod val="25000"/>
                    <a:lumOff val="75000"/>
                  </a:schemeClr>
                </a:solidFill>
                <a:prstDash val="solid"/>
                <a:miter/>
              </a:ln>
            </p:spPr>
            <p:txBody>
              <a:bodyPr rtlCol="0" anchor="ctr"/>
              <a:lstStyle/>
              <a:p>
                <a:pPr defTabSz="932384">
                  <a:defRPr/>
                </a:pPr>
                <a:endParaRPr lang="en-US" dirty="0">
                  <a:solidFill>
                    <a:srgbClr val="1A1A1A"/>
                  </a:solidFill>
                  <a:latin typeface="Segoe UI"/>
                </a:endParaRPr>
              </a:p>
            </p:txBody>
          </p:sp>
        </p:grpSp>
        <p:grpSp>
          <p:nvGrpSpPr>
            <p:cNvPr id="944" name="Map outlines">
              <a:extLst>
                <a:ext uri="{FF2B5EF4-FFF2-40B4-BE49-F238E27FC236}">
                  <a16:creationId xmlns:a16="http://schemas.microsoft.com/office/drawing/2014/main" id="{2A05BC95-EA0D-45D6-A749-DEB72D894DBC}"/>
                </a:ext>
              </a:extLst>
            </p:cNvPr>
            <p:cNvGrpSpPr/>
            <p:nvPr/>
          </p:nvGrpSpPr>
          <p:grpSpPr>
            <a:xfrm>
              <a:off x="3228730" y="472178"/>
              <a:ext cx="8125071" cy="6044410"/>
              <a:chOff x="3238834" y="482615"/>
              <a:chExt cx="8096367" cy="6023059"/>
            </a:xfrm>
            <a:noFill/>
          </p:grpSpPr>
          <p:sp>
            <p:nvSpPr>
              <p:cNvPr id="945" name="Freeform: Shape 944">
                <a:extLst>
                  <a:ext uri="{FF2B5EF4-FFF2-40B4-BE49-F238E27FC236}">
                    <a16:creationId xmlns:a16="http://schemas.microsoft.com/office/drawing/2014/main" id="{819A7590-BF4F-415B-A5FF-843A89A08DF0}"/>
                  </a:ext>
                </a:extLst>
              </p:cNvPr>
              <p:cNvSpPr/>
              <p:nvPr/>
            </p:nvSpPr>
            <p:spPr>
              <a:xfrm>
                <a:off x="9698082" y="2128229"/>
                <a:ext cx="467343" cy="849714"/>
              </a:xfrm>
              <a:custGeom>
                <a:avLst/>
                <a:gdLst>
                  <a:gd name="connsiteX0" fmla="*/ 254207 w 467343"/>
                  <a:gd name="connsiteY0" fmla="*/ 772532 h 849714"/>
                  <a:gd name="connsiteX1" fmla="*/ 189062 w 467343"/>
                  <a:gd name="connsiteY1" fmla="*/ 731463 h 849714"/>
                  <a:gd name="connsiteX2" fmla="*/ 189062 w 467343"/>
                  <a:gd name="connsiteY2" fmla="*/ 731463 h 849714"/>
                  <a:gd name="connsiteX3" fmla="*/ 12038 w 467343"/>
                  <a:gd name="connsiteY3" fmla="*/ 847590 h 849714"/>
                  <a:gd name="connsiteX4" fmla="*/ 10621 w 467343"/>
                  <a:gd name="connsiteY4" fmla="*/ 847590 h 849714"/>
                  <a:gd name="connsiteX5" fmla="*/ 114004 w 467343"/>
                  <a:gd name="connsiteY5" fmla="*/ 829180 h 849714"/>
                  <a:gd name="connsiteX6" fmla="*/ 254207 w 467343"/>
                  <a:gd name="connsiteY6" fmla="*/ 773948 h 849714"/>
                  <a:gd name="connsiteX7" fmla="*/ 259872 w 467343"/>
                  <a:gd name="connsiteY7" fmla="*/ 778197 h 849714"/>
                  <a:gd name="connsiteX8" fmla="*/ 262704 w 467343"/>
                  <a:gd name="connsiteY8" fmla="*/ 771116 h 849714"/>
                  <a:gd name="connsiteX9" fmla="*/ 337762 w 467343"/>
                  <a:gd name="connsiteY9" fmla="*/ 741376 h 849714"/>
                  <a:gd name="connsiteX10" fmla="*/ 337762 w 467343"/>
                  <a:gd name="connsiteY10" fmla="*/ 741376 h 849714"/>
                  <a:gd name="connsiteX11" fmla="*/ 364669 w 467343"/>
                  <a:gd name="connsiteY11" fmla="*/ 536028 h 849714"/>
                  <a:gd name="connsiteX12" fmla="*/ 459554 w 467343"/>
                  <a:gd name="connsiteY12" fmla="*/ 421317 h 849714"/>
                  <a:gd name="connsiteX13" fmla="*/ 449641 w 467343"/>
                  <a:gd name="connsiteY13" fmla="*/ 378831 h 849714"/>
                  <a:gd name="connsiteX14" fmla="*/ 449641 w 467343"/>
                  <a:gd name="connsiteY14" fmla="*/ 378831 h 849714"/>
                  <a:gd name="connsiteX15" fmla="*/ 377415 w 467343"/>
                  <a:gd name="connsiteY15" fmla="*/ 394409 h 849714"/>
                  <a:gd name="connsiteX16" fmla="*/ 436896 w 467343"/>
                  <a:gd name="connsiteY16" fmla="*/ 244293 h 849714"/>
                  <a:gd name="connsiteX17" fmla="*/ 436896 w 467343"/>
                  <a:gd name="connsiteY17" fmla="*/ 244293 h 849714"/>
                  <a:gd name="connsiteX18" fmla="*/ 405739 w 467343"/>
                  <a:gd name="connsiteY18" fmla="*/ 123917 h 849714"/>
                  <a:gd name="connsiteX19" fmla="*/ 412820 w 467343"/>
                  <a:gd name="connsiteY19" fmla="*/ 10621 h 849714"/>
                  <a:gd name="connsiteX20" fmla="*/ 412820 w 467343"/>
                  <a:gd name="connsiteY20" fmla="*/ 10621 h 849714"/>
                  <a:gd name="connsiteX21" fmla="*/ 411404 w 467343"/>
                  <a:gd name="connsiteY21" fmla="*/ 10621 h 849714"/>
                  <a:gd name="connsiteX22" fmla="*/ 411404 w 467343"/>
                  <a:gd name="connsiteY22" fmla="*/ 10621 h 849714"/>
                  <a:gd name="connsiteX23" fmla="*/ 404323 w 467343"/>
                  <a:gd name="connsiteY23" fmla="*/ 123917 h 849714"/>
                  <a:gd name="connsiteX24" fmla="*/ 435479 w 467343"/>
                  <a:gd name="connsiteY24" fmla="*/ 244293 h 849714"/>
                  <a:gd name="connsiteX25" fmla="*/ 374583 w 467343"/>
                  <a:gd name="connsiteY25" fmla="*/ 395825 h 849714"/>
                  <a:gd name="connsiteX26" fmla="*/ 374583 w 467343"/>
                  <a:gd name="connsiteY26" fmla="*/ 395825 h 849714"/>
                  <a:gd name="connsiteX27" fmla="*/ 448225 w 467343"/>
                  <a:gd name="connsiteY27" fmla="*/ 380247 h 849714"/>
                  <a:gd name="connsiteX28" fmla="*/ 458138 w 467343"/>
                  <a:gd name="connsiteY28" fmla="*/ 419901 h 849714"/>
                  <a:gd name="connsiteX29" fmla="*/ 366086 w 467343"/>
                  <a:gd name="connsiteY29" fmla="*/ 530364 h 849714"/>
                  <a:gd name="connsiteX30" fmla="*/ 383080 w 467343"/>
                  <a:gd name="connsiteY30" fmla="*/ 401490 h 849714"/>
                  <a:gd name="connsiteX31" fmla="*/ 383080 w 467343"/>
                  <a:gd name="connsiteY31" fmla="*/ 401490 h 849714"/>
                  <a:gd name="connsiteX32" fmla="*/ 381664 w 467343"/>
                  <a:gd name="connsiteY32" fmla="*/ 401490 h 849714"/>
                  <a:gd name="connsiteX33" fmla="*/ 323600 w 467343"/>
                  <a:gd name="connsiteY33" fmla="*/ 585595 h 849714"/>
                  <a:gd name="connsiteX34" fmla="*/ 323600 w 467343"/>
                  <a:gd name="connsiteY34" fmla="*/ 587011 h 849714"/>
                  <a:gd name="connsiteX35" fmla="*/ 364669 w 467343"/>
                  <a:gd name="connsiteY35" fmla="*/ 537445 h 849714"/>
                  <a:gd name="connsiteX36" fmla="*/ 339178 w 467343"/>
                  <a:gd name="connsiteY36" fmla="*/ 738544 h 849714"/>
                  <a:gd name="connsiteX37" fmla="*/ 266953 w 467343"/>
                  <a:gd name="connsiteY37" fmla="*/ 766867 h 849714"/>
                  <a:gd name="connsiteX38" fmla="*/ 336345 w 467343"/>
                  <a:gd name="connsiteY38" fmla="*/ 584179 h 849714"/>
                  <a:gd name="connsiteX39" fmla="*/ 336345 w 467343"/>
                  <a:gd name="connsiteY39" fmla="*/ 582763 h 849714"/>
                  <a:gd name="connsiteX40" fmla="*/ 218802 w 467343"/>
                  <a:gd name="connsiteY40" fmla="*/ 693225 h 849714"/>
                  <a:gd name="connsiteX41" fmla="*/ 218802 w 467343"/>
                  <a:gd name="connsiteY41" fmla="*/ 693225 h 849714"/>
                  <a:gd name="connsiteX42" fmla="*/ 220218 w 467343"/>
                  <a:gd name="connsiteY42" fmla="*/ 694642 h 849714"/>
                  <a:gd name="connsiteX43" fmla="*/ 332097 w 467343"/>
                  <a:gd name="connsiteY43" fmla="*/ 589844 h 849714"/>
                  <a:gd name="connsiteX44" fmla="*/ 264120 w 467343"/>
                  <a:gd name="connsiteY44" fmla="*/ 766867 h 849714"/>
                  <a:gd name="connsiteX45" fmla="*/ 254207 w 467343"/>
                  <a:gd name="connsiteY45" fmla="*/ 772532 h 849714"/>
                  <a:gd name="connsiteX46" fmla="*/ 20535 w 467343"/>
                  <a:gd name="connsiteY46" fmla="*/ 844758 h 849714"/>
                  <a:gd name="connsiteX47" fmla="*/ 189062 w 467343"/>
                  <a:gd name="connsiteY47" fmla="*/ 734295 h 849714"/>
                  <a:gd name="connsiteX48" fmla="*/ 252791 w 467343"/>
                  <a:gd name="connsiteY48" fmla="*/ 773948 h 849714"/>
                  <a:gd name="connsiteX49" fmla="*/ 114004 w 467343"/>
                  <a:gd name="connsiteY49" fmla="*/ 829180 h 849714"/>
                  <a:gd name="connsiteX50" fmla="*/ 20535 w 467343"/>
                  <a:gd name="connsiteY50" fmla="*/ 844758 h 849714"/>
                  <a:gd name="connsiteX51" fmla="*/ 326433 w 467343"/>
                  <a:gd name="connsiteY51" fmla="*/ 578514 h 849714"/>
                  <a:gd name="connsiteX52" fmla="*/ 377415 w 467343"/>
                  <a:gd name="connsiteY52" fmla="*/ 415652 h 849714"/>
                  <a:gd name="connsiteX53" fmla="*/ 361838 w 467343"/>
                  <a:gd name="connsiteY53" fmla="*/ 536028 h 849714"/>
                  <a:gd name="connsiteX54" fmla="*/ 326433 w 467343"/>
                  <a:gd name="connsiteY54" fmla="*/ 578514 h 8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67343" h="849714">
                    <a:moveTo>
                      <a:pt x="254207" y="772532"/>
                    </a:moveTo>
                    <a:lnTo>
                      <a:pt x="189062" y="731463"/>
                    </a:lnTo>
                    <a:lnTo>
                      <a:pt x="189062" y="731463"/>
                    </a:lnTo>
                    <a:lnTo>
                      <a:pt x="12038" y="847590"/>
                    </a:lnTo>
                    <a:lnTo>
                      <a:pt x="10621" y="847590"/>
                    </a:lnTo>
                    <a:lnTo>
                      <a:pt x="114004" y="829180"/>
                    </a:lnTo>
                    <a:lnTo>
                      <a:pt x="254207" y="773948"/>
                    </a:lnTo>
                    <a:lnTo>
                      <a:pt x="259872" y="778197"/>
                    </a:lnTo>
                    <a:lnTo>
                      <a:pt x="262704" y="771116"/>
                    </a:lnTo>
                    <a:lnTo>
                      <a:pt x="337762" y="741376"/>
                    </a:lnTo>
                    <a:lnTo>
                      <a:pt x="337762" y="741376"/>
                    </a:lnTo>
                    <a:lnTo>
                      <a:pt x="364669" y="536028"/>
                    </a:lnTo>
                    <a:lnTo>
                      <a:pt x="459554" y="421317"/>
                    </a:lnTo>
                    <a:lnTo>
                      <a:pt x="449641" y="378831"/>
                    </a:lnTo>
                    <a:lnTo>
                      <a:pt x="449641" y="378831"/>
                    </a:lnTo>
                    <a:lnTo>
                      <a:pt x="377415" y="394409"/>
                    </a:lnTo>
                    <a:lnTo>
                      <a:pt x="436896" y="244293"/>
                    </a:lnTo>
                    <a:lnTo>
                      <a:pt x="436896" y="244293"/>
                    </a:lnTo>
                    <a:lnTo>
                      <a:pt x="405739" y="123917"/>
                    </a:lnTo>
                    <a:lnTo>
                      <a:pt x="412820" y="10621"/>
                    </a:lnTo>
                    <a:lnTo>
                      <a:pt x="412820" y="10621"/>
                    </a:lnTo>
                    <a:lnTo>
                      <a:pt x="411404" y="10621"/>
                    </a:lnTo>
                    <a:lnTo>
                      <a:pt x="411404" y="10621"/>
                    </a:lnTo>
                    <a:lnTo>
                      <a:pt x="404323" y="123917"/>
                    </a:lnTo>
                    <a:lnTo>
                      <a:pt x="435479" y="244293"/>
                    </a:lnTo>
                    <a:lnTo>
                      <a:pt x="374583" y="395825"/>
                    </a:lnTo>
                    <a:lnTo>
                      <a:pt x="374583" y="395825"/>
                    </a:lnTo>
                    <a:lnTo>
                      <a:pt x="448225" y="380247"/>
                    </a:lnTo>
                    <a:lnTo>
                      <a:pt x="458138" y="419901"/>
                    </a:lnTo>
                    <a:lnTo>
                      <a:pt x="366086" y="530364"/>
                    </a:lnTo>
                    <a:lnTo>
                      <a:pt x="383080" y="401490"/>
                    </a:lnTo>
                    <a:lnTo>
                      <a:pt x="383080" y="401490"/>
                    </a:lnTo>
                    <a:lnTo>
                      <a:pt x="381664" y="401490"/>
                    </a:lnTo>
                    <a:lnTo>
                      <a:pt x="323600" y="585595"/>
                    </a:lnTo>
                    <a:lnTo>
                      <a:pt x="323600" y="587011"/>
                    </a:lnTo>
                    <a:lnTo>
                      <a:pt x="364669" y="537445"/>
                    </a:lnTo>
                    <a:lnTo>
                      <a:pt x="339178" y="738544"/>
                    </a:lnTo>
                    <a:lnTo>
                      <a:pt x="266953" y="766867"/>
                    </a:lnTo>
                    <a:lnTo>
                      <a:pt x="336345" y="584179"/>
                    </a:lnTo>
                    <a:lnTo>
                      <a:pt x="336345" y="582763"/>
                    </a:lnTo>
                    <a:lnTo>
                      <a:pt x="218802" y="693225"/>
                    </a:lnTo>
                    <a:lnTo>
                      <a:pt x="218802" y="693225"/>
                    </a:lnTo>
                    <a:lnTo>
                      <a:pt x="220218" y="694642"/>
                    </a:lnTo>
                    <a:lnTo>
                      <a:pt x="332097" y="589844"/>
                    </a:lnTo>
                    <a:lnTo>
                      <a:pt x="264120" y="766867"/>
                    </a:lnTo>
                    <a:lnTo>
                      <a:pt x="254207" y="772532"/>
                    </a:lnTo>
                    <a:close/>
                    <a:moveTo>
                      <a:pt x="20535" y="844758"/>
                    </a:moveTo>
                    <a:lnTo>
                      <a:pt x="189062" y="734295"/>
                    </a:lnTo>
                    <a:lnTo>
                      <a:pt x="252791" y="773948"/>
                    </a:lnTo>
                    <a:lnTo>
                      <a:pt x="114004" y="829180"/>
                    </a:lnTo>
                    <a:lnTo>
                      <a:pt x="20535" y="844758"/>
                    </a:lnTo>
                    <a:close/>
                    <a:moveTo>
                      <a:pt x="326433" y="578514"/>
                    </a:moveTo>
                    <a:lnTo>
                      <a:pt x="377415" y="415652"/>
                    </a:lnTo>
                    <a:lnTo>
                      <a:pt x="361838" y="536028"/>
                    </a:lnTo>
                    <a:lnTo>
                      <a:pt x="326433" y="578514"/>
                    </a:lnTo>
                    <a:close/>
                  </a:path>
                </a:pathLst>
              </a:custGeom>
              <a:grpFill/>
              <a:ln w="6350" cap="flat">
                <a:solidFill>
                  <a:schemeClr val="tx1">
                    <a:lumMod val="25000"/>
                    <a:lumOff val="75000"/>
                  </a:schemeClr>
                </a:solidFill>
                <a:prstDash val="solid"/>
                <a:miter/>
              </a:ln>
            </p:spPr>
            <p:txBody>
              <a:bodyPr rtlCol="0" anchor="ctr"/>
              <a:lstStyle/>
              <a:p>
                <a:pPr defTabSz="932384">
                  <a:defRPr/>
                </a:pPr>
                <a:endParaRPr lang="en-US" dirty="0">
                  <a:solidFill>
                    <a:srgbClr val="1A1A1A"/>
                  </a:solidFill>
                  <a:latin typeface="Segoe UI"/>
                </a:endParaRPr>
              </a:p>
            </p:txBody>
          </p:sp>
          <p:sp>
            <p:nvSpPr>
              <p:cNvPr id="946" name="Freeform: Shape 945">
                <a:extLst>
                  <a:ext uri="{FF2B5EF4-FFF2-40B4-BE49-F238E27FC236}">
                    <a16:creationId xmlns:a16="http://schemas.microsoft.com/office/drawing/2014/main" id="{2D56A69C-D910-4F59-B17D-6831886C64D8}"/>
                  </a:ext>
                </a:extLst>
              </p:cNvPr>
              <p:cNvSpPr/>
              <p:nvPr/>
            </p:nvSpPr>
            <p:spPr>
              <a:xfrm>
                <a:off x="10845197" y="5620555"/>
                <a:ext cx="325724" cy="509829"/>
              </a:xfrm>
              <a:custGeom>
                <a:avLst/>
                <a:gdLst>
                  <a:gd name="connsiteX0" fmla="*/ 320768 w 325724"/>
                  <a:gd name="connsiteY0" fmla="*/ 162154 h 509828"/>
                  <a:gd name="connsiteX1" fmla="*/ 227299 w 325724"/>
                  <a:gd name="connsiteY1" fmla="*/ 210304 h 509828"/>
                  <a:gd name="connsiteX2" fmla="*/ 200391 w 325724"/>
                  <a:gd name="connsiteY2" fmla="*/ 187645 h 509828"/>
                  <a:gd name="connsiteX3" fmla="*/ 319352 w 325724"/>
                  <a:gd name="connsiteY3" fmla="*/ 159321 h 509828"/>
                  <a:gd name="connsiteX4" fmla="*/ 319352 w 325724"/>
                  <a:gd name="connsiteY4" fmla="*/ 159321 h 509828"/>
                  <a:gd name="connsiteX5" fmla="*/ 184814 w 325724"/>
                  <a:gd name="connsiteY5" fmla="*/ 10621 h 509828"/>
                  <a:gd name="connsiteX6" fmla="*/ 184814 w 325724"/>
                  <a:gd name="connsiteY6" fmla="*/ 10621 h 509828"/>
                  <a:gd name="connsiteX7" fmla="*/ 183397 w 325724"/>
                  <a:gd name="connsiteY7" fmla="*/ 12038 h 509828"/>
                  <a:gd name="connsiteX8" fmla="*/ 316519 w 325724"/>
                  <a:gd name="connsiteY8" fmla="*/ 159321 h 509828"/>
                  <a:gd name="connsiteX9" fmla="*/ 197559 w 325724"/>
                  <a:gd name="connsiteY9" fmla="*/ 187645 h 509828"/>
                  <a:gd name="connsiteX10" fmla="*/ 197559 w 325724"/>
                  <a:gd name="connsiteY10" fmla="*/ 187645 h 509828"/>
                  <a:gd name="connsiteX11" fmla="*/ 225883 w 325724"/>
                  <a:gd name="connsiteY11" fmla="*/ 211721 h 509828"/>
                  <a:gd name="connsiteX12" fmla="*/ 145160 w 325724"/>
                  <a:gd name="connsiteY12" fmla="*/ 254206 h 509828"/>
                  <a:gd name="connsiteX13" fmla="*/ 143744 w 325724"/>
                  <a:gd name="connsiteY13" fmla="*/ 254206 h 509828"/>
                  <a:gd name="connsiteX14" fmla="*/ 152241 w 325724"/>
                  <a:gd name="connsiteY14" fmla="*/ 252790 h 509828"/>
                  <a:gd name="connsiteX15" fmla="*/ 81431 w 325724"/>
                  <a:gd name="connsiteY15" fmla="*/ 378831 h 509828"/>
                  <a:gd name="connsiteX16" fmla="*/ 58772 w 325724"/>
                  <a:gd name="connsiteY16" fmla="*/ 400074 h 509828"/>
                  <a:gd name="connsiteX17" fmla="*/ 58772 w 325724"/>
                  <a:gd name="connsiteY17" fmla="*/ 400074 h 509828"/>
                  <a:gd name="connsiteX18" fmla="*/ 60188 w 325724"/>
                  <a:gd name="connsiteY18" fmla="*/ 401490 h 509828"/>
                  <a:gd name="connsiteX19" fmla="*/ 75767 w 325724"/>
                  <a:gd name="connsiteY19" fmla="*/ 390160 h 509828"/>
                  <a:gd name="connsiteX20" fmla="*/ 10621 w 325724"/>
                  <a:gd name="connsiteY20" fmla="*/ 504872 h 509828"/>
                  <a:gd name="connsiteX21" fmla="*/ 10621 w 325724"/>
                  <a:gd name="connsiteY21" fmla="*/ 504872 h 509828"/>
                  <a:gd name="connsiteX22" fmla="*/ 12038 w 325724"/>
                  <a:gd name="connsiteY22" fmla="*/ 506288 h 509828"/>
                  <a:gd name="connsiteX23" fmla="*/ 80015 w 325724"/>
                  <a:gd name="connsiteY23" fmla="*/ 387328 h 509828"/>
                  <a:gd name="connsiteX24" fmla="*/ 159322 w 325724"/>
                  <a:gd name="connsiteY24" fmla="*/ 327848 h 509828"/>
                  <a:gd name="connsiteX25" fmla="*/ 162154 w 325724"/>
                  <a:gd name="connsiteY25" fmla="*/ 351924 h 509828"/>
                  <a:gd name="connsiteX26" fmla="*/ 162154 w 325724"/>
                  <a:gd name="connsiteY26" fmla="*/ 351924 h 509828"/>
                  <a:gd name="connsiteX27" fmla="*/ 264120 w 325724"/>
                  <a:gd name="connsiteY27" fmla="*/ 249958 h 509828"/>
                  <a:gd name="connsiteX28" fmla="*/ 264120 w 325724"/>
                  <a:gd name="connsiteY28" fmla="*/ 249958 h 509828"/>
                  <a:gd name="connsiteX29" fmla="*/ 262704 w 325724"/>
                  <a:gd name="connsiteY29" fmla="*/ 248541 h 509828"/>
                  <a:gd name="connsiteX30" fmla="*/ 160738 w 325724"/>
                  <a:gd name="connsiteY30" fmla="*/ 325016 h 509828"/>
                  <a:gd name="connsiteX31" fmla="*/ 159322 w 325724"/>
                  <a:gd name="connsiteY31" fmla="*/ 312270 h 509828"/>
                  <a:gd name="connsiteX32" fmla="*/ 231548 w 325724"/>
                  <a:gd name="connsiteY32" fmla="*/ 247125 h 509828"/>
                  <a:gd name="connsiteX33" fmla="*/ 262704 w 325724"/>
                  <a:gd name="connsiteY33" fmla="*/ 244293 h 509828"/>
                  <a:gd name="connsiteX34" fmla="*/ 262704 w 325724"/>
                  <a:gd name="connsiteY34" fmla="*/ 244293 h 509828"/>
                  <a:gd name="connsiteX35" fmla="*/ 248542 w 325724"/>
                  <a:gd name="connsiteY35" fmla="*/ 231547 h 509828"/>
                  <a:gd name="connsiteX36" fmla="*/ 320768 w 325724"/>
                  <a:gd name="connsiteY36" fmla="*/ 166402 h 509828"/>
                  <a:gd name="connsiteX37" fmla="*/ 320768 w 325724"/>
                  <a:gd name="connsiteY37" fmla="*/ 166402 h 509828"/>
                  <a:gd name="connsiteX38" fmla="*/ 320768 w 325724"/>
                  <a:gd name="connsiteY38" fmla="*/ 162154 h 509828"/>
                  <a:gd name="connsiteX39" fmla="*/ 320768 w 325724"/>
                  <a:gd name="connsiteY39" fmla="*/ 162154 h 509828"/>
                  <a:gd name="connsiteX40" fmla="*/ 159322 w 325724"/>
                  <a:gd name="connsiteY40" fmla="*/ 308022 h 509828"/>
                  <a:gd name="connsiteX41" fmla="*/ 152241 w 325724"/>
                  <a:gd name="connsiteY41" fmla="*/ 252790 h 509828"/>
                  <a:gd name="connsiteX42" fmla="*/ 152241 w 325724"/>
                  <a:gd name="connsiteY42" fmla="*/ 252790 h 509828"/>
                  <a:gd name="connsiteX43" fmla="*/ 227299 w 325724"/>
                  <a:gd name="connsiteY43" fmla="*/ 245709 h 509828"/>
                  <a:gd name="connsiteX44" fmla="*/ 159322 w 325724"/>
                  <a:gd name="connsiteY44" fmla="*/ 308022 h 509828"/>
                  <a:gd name="connsiteX45" fmla="*/ 228715 w 325724"/>
                  <a:gd name="connsiteY45" fmla="*/ 211721 h 509828"/>
                  <a:gd name="connsiteX46" fmla="*/ 313687 w 325724"/>
                  <a:gd name="connsiteY46" fmla="*/ 167819 h 509828"/>
                  <a:gd name="connsiteX47" fmla="*/ 247126 w 325724"/>
                  <a:gd name="connsiteY47" fmla="*/ 227298 h 509828"/>
                  <a:gd name="connsiteX48" fmla="*/ 228715 w 325724"/>
                  <a:gd name="connsiteY48" fmla="*/ 211721 h 509828"/>
                  <a:gd name="connsiteX49" fmla="*/ 258455 w 325724"/>
                  <a:gd name="connsiteY49" fmla="*/ 240045 h 509828"/>
                  <a:gd name="connsiteX50" fmla="*/ 234380 w 325724"/>
                  <a:gd name="connsiteY50" fmla="*/ 242877 h 509828"/>
                  <a:gd name="connsiteX51" fmla="*/ 247126 w 325724"/>
                  <a:gd name="connsiteY51" fmla="*/ 231547 h 509828"/>
                  <a:gd name="connsiteX52" fmla="*/ 258455 w 325724"/>
                  <a:gd name="connsiteY52" fmla="*/ 240045 h 509828"/>
                  <a:gd name="connsiteX53" fmla="*/ 153657 w 325724"/>
                  <a:gd name="connsiteY53" fmla="*/ 251374 h 509828"/>
                  <a:gd name="connsiteX54" fmla="*/ 227299 w 325724"/>
                  <a:gd name="connsiteY54" fmla="*/ 213137 h 509828"/>
                  <a:gd name="connsiteX55" fmla="*/ 245710 w 325724"/>
                  <a:gd name="connsiteY55" fmla="*/ 230131 h 509828"/>
                  <a:gd name="connsiteX56" fmla="*/ 230131 w 325724"/>
                  <a:gd name="connsiteY56" fmla="*/ 244293 h 509828"/>
                  <a:gd name="connsiteX57" fmla="*/ 153657 w 325724"/>
                  <a:gd name="connsiteY57" fmla="*/ 251374 h 509828"/>
                  <a:gd name="connsiteX58" fmla="*/ 87096 w 325724"/>
                  <a:gd name="connsiteY58" fmla="*/ 374583 h 509828"/>
                  <a:gd name="connsiteX59" fmla="*/ 152241 w 325724"/>
                  <a:gd name="connsiteY59" fmla="*/ 259871 h 509828"/>
                  <a:gd name="connsiteX60" fmla="*/ 157906 w 325724"/>
                  <a:gd name="connsiteY60" fmla="*/ 310854 h 509828"/>
                  <a:gd name="connsiteX61" fmla="*/ 87096 w 325724"/>
                  <a:gd name="connsiteY61" fmla="*/ 374583 h 509828"/>
                  <a:gd name="connsiteX62" fmla="*/ 157906 w 325724"/>
                  <a:gd name="connsiteY62" fmla="*/ 312270 h 509828"/>
                  <a:gd name="connsiteX63" fmla="*/ 159322 w 325724"/>
                  <a:gd name="connsiteY63" fmla="*/ 325016 h 509828"/>
                  <a:gd name="connsiteX64" fmla="*/ 82848 w 325724"/>
                  <a:gd name="connsiteY64" fmla="*/ 381664 h 509828"/>
                  <a:gd name="connsiteX65" fmla="*/ 84264 w 325724"/>
                  <a:gd name="connsiteY65" fmla="*/ 380247 h 509828"/>
                  <a:gd name="connsiteX66" fmla="*/ 157906 w 325724"/>
                  <a:gd name="connsiteY66" fmla="*/ 312270 h 509828"/>
                  <a:gd name="connsiteX67" fmla="*/ 72934 w 325724"/>
                  <a:gd name="connsiteY67" fmla="*/ 388745 h 509828"/>
                  <a:gd name="connsiteX68" fmla="*/ 80015 w 325724"/>
                  <a:gd name="connsiteY68" fmla="*/ 383079 h 509828"/>
                  <a:gd name="connsiteX69" fmla="*/ 78599 w 325724"/>
                  <a:gd name="connsiteY69" fmla="*/ 384496 h 509828"/>
                  <a:gd name="connsiteX70" fmla="*/ 72934 w 325724"/>
                  <a:gd name="connsiteY70" fmla="*/ 388745 h 509828"/>
                  <a:gd name="connsiteX71" fmla="*/ 163571 w 325724"/>
                  <a:gd name="connsiteY71" fmla="*/ 346259 h 509828"/>
                  <a:gd name="connsiteX72" fmla="*/ 160738 w 325724"/>
                  <a:gd name="connsiteY72" fmla="*/ 325016 h 509828"/>
                  <a:gd name="connsiteX73" fmla="*/ 252791 w 325724"/>
                  <a:gd name="connsiteY73" fmla="*/ 257039 h 509828"/>
                  <a:gd name="connsiteX74" fmla="*/ 163571 w 325724"/>
                  <a:gd name="connsiteY74" fmla="*/ 346259 h 50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25724" h="509828">
                    <a:moveTo>
                      <a:pt x="320768" y="162154"/>
                    </a:moveTo>
                    <a:lnTo>
                      <a:pt x="227299" y="210304"/>
                    </a:lnTo>
                    <a:lnTo>
                      <a:pt x="200391" y="187645"/>
                    </a:lnTo>
                    <a:lnTo>
                      <a:pt x="319352" y="159321"/>
                    </a:lnTo>
                    <a:lnTo>
                      <a:pt x="319352" y="159321"/>
                    </a:lnTo>
                    <a:lnTo>
                      <a:pt x="184814" y="10621"/>
                    </a:lnTo>
                    <a:lnTo>
                      <a:pt x="184814" y="10621"/>
                    </a:lnTo>
                    <a:lnTo>
                      <a:pt x="183397" y="12038"/>
                    </a:lnTo>
                    <a:lnTo>
                      <a:pt x="316519" y="159321"/>
                    </a:lnTo>
                    <a:lnTo>
                      <a:pt x="197559" y="187645"/>
                    </a:lnTo>
                    <a:lnTo>
                      <a:pt x="197559" y="187645"/>
                    </a:lnTo>
                    <a:lnTo>
                      <a:pt x="225883" y="211721"/>
                    </a:lnTo>
                    <a:lnTo>
                      <a:pt x="145160" y="254206"/>
                    </a:lnTo>
                    <a:lnTo>
                      <a:pt x="143744" y="254206"/>
                    </a:lnTo>
                    <a:lnTo>
                      <a:pt x="152241" y="252790"/>
                    </a:lnTo>
                    <a:lnTo>
                      <a:pt x="81431" y="378831"/>
                    </a:lnTo>
                    <a:lnTo>
                      <a:pt x="58772" y="400074"/>
                    </a:lnTo>
                    <a:lnTo>
                      <a:pt x="58772" y="400074"/>
                    </a:lnTo>
                    <a:lnTo>
                      <a:pt x="60188" y="401490"/>
                    </a:lnTo>
                    <a:lnTo>
                      <a:pt x="75767" y="390160"/>
                    </a:lnTo>
                    <a:lnTo>
                      <a:pt x="10621" y="504872"/>
                    </a:lnTo>
                    <a:lnTo>
                      <a:pt x="10621" y="504872"/>
                    </a:lnTo>
                    <a:lnTo>
                      <a:pt x="12038" y="506288"/>
                    </a:lnTo>
                    <a:lnTo>
                      <a:pt x="80015" y="387328"/>
                    </a:lnTo>
                    <a:lnTo>
                      <a:pt x="159322" y="327848"/>
                    </a:lnTo>
                    <a:lnTo>
                      <a:pt x="162154" y="351924"/>
                    </a:lnTo>
                    <a:lnTo>
                      <a:pt x="162154" y="351924"/>
                    </a:lnTo>
                    <a:lnTo>
                      <a:pt x="264120" y="249958"/>
                    </a:lnTo>
                    <a:lnTo>
                      <a:pt x="264120" y="249958"/>
                    </a:lnTo>
                    <a:lnTo>
                      <a:pt x="262704" y="248541"/>
                    </a:lnTo>
                    <a:lnTo>
                      <a:pt x="160738" y="325016"/>
                    </a:lnTo>
                    <a:lnTo>
                      <a:pt x="159322" y="312270"/>
                    </a:lnTo>
                    <a:lnTo>
                      <a:pt x="231548" y="247125"/>
                    </a:lnTo>
                    <a:lnTo>
                      <a:pt x="262704" y="244293"/>
                    </a:lnTo>
                    <a:lnTo>
                      <a:pt x="262704" y="244293"/>
                    </a:lnTo>
                    <a:lnTo>
                      <a:pt x="248542" y="231547"/>
                    </a:lnTo>
                    <a:lnTo>
                      <a:pt x="320768" y="166402"/>
                    </a:lnTo>
                    <a:lnTo>
                      <a:pt x="320768" y="166402"/>
                    </a:lnTo>
                    <a:lnTo>
                      <a:pt x="320768" y="162154"/>
                    </a:lnTo>
                    <a:lnTo>
                      <a:pt x="320768" y="162154"/>
                    </a:lnTo>
                    <a:close/>
                    <a:moveTo>
                      <a:pt x="159322" y="308022"/>
                    </a:moveTo>
                    <a:lnTo>
                      <a:pt x="152241" y="252790"/>
                    </a:lnTo>
                    <a:lnTo>
                      <a:pt x="152241" y="252790"/>
                    </a:lnTo>
                    <a:lnTo>
                      <a:pt x="227299" y="245709"/>
                    </a:lnTo>
                    <a:lnTo>
                      <a:pt x="159322" y="308022"/>
                    </a:lnTo>
                    <a:close/>
                    <a:moveTo>
                      <a:pt x="228715" y="211721"/>
                    </a:moveTo>
                    <a:lnTo>
                      <a:pt x="313687" y="167819"/>
                    </a:lnTo>
                    <a:lnTo>
                      <a:pt x="247126" y="227298"/>
                    </a:lnTo>
                    <a:lnTo>
                      <a:pt x="228715" y="211721"/>
                    </a:lnTo>
                    <a:close/>
                    <a:moveTo>
                      <a:pt x="258455" y="240045"/>
                    </a:moveTo>
                    <a:lnTo>
                      <a:pt x="234380" y="242877"/>
                    </a:lnTo>
                    <a:lnTo>
                      <a:pt x="247126" y="231547"/>
                    </a:lnTo>
                    <a:lnTo>
                      <a:pt x="258455" y="240045"/>
                    </a:lnTo>
                    <a:close/>
                    <a:moveTo>
                      <a:pt x="153657" y="251374"/>
                    </a:moveTo>
                    <a:lnTo>
                      <a:pt x="227299" y="213137"/>
                    </a:lnTo>
                    <a:lnTo>
                      <a:pt x="245710" y="230131"/>
                    </a:lnTo>
                    <a:lnTo>
                      <a:pt x="230131" y="244293"/>
                    </a:lnTo>
                    <a:lnTo>
                      <a:pt x="153657" y="251374"/>
                    </a:lnTo>
                    <a:close/>
                    <a:moveTo>
                      <a:pt x="87096" y="374583"/>
                    </a:moveTo>
                    <a:lnTo>
                      <a:pt x="152241" y="259871"/>
                    </a:lnTo>
                    <a:lnTo>
                      <a:pt x="157906" y="310854"/>
                    </a:lnTo>
                    <a:lnTo>
                      <a:pt x="87096" y="374583"/>
                    </a:lnTo>
                    <a:close/>
                    <a:moveTo>
                      <a:pt x="157906" y="312270"/>
                    </a:moveTo>
                    <a:lnTo>
                      <a:pt x="159322" y="325016"/>
                    </a:lnTo>
                    <a:lnTo>
                      <a:pt x="82848" y="381664"/>
                    </a:lnTo>
                    <a:lnTo>
                      <a:pt x="84264" y="380247"/>
                    </a:lnTo>
                    <a:lnTo>
                      <a:pt x="157906" y="312270"/>
                    </a:lnTo>
                    <a:close/>
                    <a:moveTo>
                      <a:pt x="72934" y="388745"/>
                    </a:moveTo>
                    <a:lnTo>
                      <a:pt x="80015" y="383079"/>
                    </a:lnTo>
                    <a:lnTo>
                      <a:pt x="78599" y="384496"/>
                    </a:lnTo>
                    <a:lnTo>
                      <a:pt x="72934" y="388745"/>
                    </a:lnTo>
                    <a:close/>
                    <a:moveTo>
                      <a:pt x="163571" y="346259"/>
                    </a:moveTo>
                    <a:lnTo>
                      <a:pt x="160738" y="325016"/>
                    </a:lnTo>
                    <a:lnTo>
                      <a:pt x="252791" y="257039"/>
                    </a:lnTo>
                    <a:lnTo>
                      <a:pt x="163571" y="346259"/>
                    </a:lnTo>
                    <a:close/>
                  </a:path>
                </a:pathLst>
              </a:custGeom>
              <a:grpFill/>
              <a:ln w="6350" cap="flat">
                <a:solidFill>
                  <a:schemeClr val="tx1">
                    <a:lumMod val="25000"/>
                    <a:lumOff val="75000"/>
                  </a:schemeClr>
                </a:solidFill>
                <a:prstDash val="solid"/>
                <a:miter/>
              </a:ln>
            </p:spPr>
            <p:txBody>
              <a:bodyPr rtlCol="0" anchor="ctr"/>
              <a:lstStyle/>
              <a:p>
                <a:pPr defTabSz="932384">
                  <a:defRPr/>
                </a:pPr>
                <a:endParaRPr lang="en-US" dirty="0">
                  <a:solidFill>
                    <a:srgbClr val="1A1A1A"/>
                  </a:solidFill>
                  <a:latin typeface="Segoe UI"/>
                </a:endParaRPr>
              </a:p>
            </p:txBody>
          </p:sp>
          <p:sp>
            <p:nvSpPr>
              <p:cNvPr id="947" name="Freeform: Shape 946">
                <a:extLst>
                  <a:ext uri="{FF2B5EF4-FFF2-40B4-BE49-F238E27FC236}">
                    <a16:creationId xmlns:a16="http://schemas.microsoft.com/office/drawing/2014/main" id="{3F2E9BDB-71D4-4623-9D56-B7DAF4449EF7}"/>
                  </a:ext>
                </a:extLst>
              </p:cNvPr>
              <p:cNvSpPr/>
              <p:nvPr/>
            </p:nvSpPr>
            <p:spPr>
              <a:xfrm>
                <a:off x="9366694" y="3593986"/>
                <a:ext cx="198267" cy="382372"/>
              </a:xfrm>
              <a:custGeom>
                <a:avLst/>
                <a:gdLst>
                  <a:gd name="connsiteX0" fmla="*/ 186229 w 198266"/>
                  <a:gd name="connsiteY0" fmla="*/ 373166 h 382371"/>
                  <a:gd name="connsiteX1" fmla="*/ 186229 w 198266"/>
                  <a:gd name="connsiteY1" fmla="*/ 373166 h 382371"/>
                  <a:gd name="connsiteX2" fmla="*/ 187645 w 198266"/>
                  <a:gd name="connsiteY2" fmla="*/ 373166 h 382371"/>
                  <a:gd name="connsiteX3" fmla="*/ 174899 w 198266"/>
                  <a:gd name="connsiteY3" fmla="*/ 200391 h 382371"/>
                  <a:gd name="connsiteX4" fmla="*/ 174899 w 198266"/>
                  <a:gd name="connsiteY4" fmla="*/ 200391 h 382371"/>
                  <a:gd name="connsiteX5" fmla="*/ 139495 w 198266"/>
                  <a:gd name="connsiteY5" fmla="*/ 207472 h 382371"/>
                  <a:gd name="connsiteX6" fmla="*/ 81431 w 198266"/>
                  <a:gd name="connsiteY6" fmla="*/ 10621 h 382371"/>
                  <a:gd name="connsiteX7" fmla="*/ 81431 w 198266"/>
                  <a:gd name="connsiteY7" fmla="*/ 10621 h 382371"/>
                  <a:gd name="connsiteX8" fmla="*/ 80014 w 198266"/>
                  <a:gd name="connsiteY8" fmla="*/ 10621 h 382371"/>
                  <a:gd name="connsiteX9" fmla="*/ 138079 w 198266"/>
                  <a:gd name="connsiteY9" fmla="*/ 207472 h 382371"/>
                  <a:gd name="connsiteX10" fmla="*/ 111171 w 198266"/>
                  <a:gd name="connsiteY10" fmla="*/ 213137 h 382371"/>
                  <a:gd name="connsiteX11" fmla="*/ 55940 w 198266"/>
                  <a:gd name="connsiteY11" fmla="*/ 123917 h 382371"/>
                  <a:gd name="connsiteX12" fmla="*/ 77183 w 198266"/>
                  <a:gd name="connsiteY12" fmla="*/ 12038 h 382371"/>
                  <a:gd name="connsiteX13" fmla="*/ 77183 w 198266"/>
                  <a:gd name="connsiteY13" fmla="*/ 12038 h 382371"/>
                  <a:gd name="connsiteX14" fmla="*/ 75766 w 198266"/>
                  <a:gd name="connsiteY14" fmla="*/ 12038 h 382371"/>
                  <a:gd name="connsiteX15" fmla="*/ 54523 w 198266"/>
                  <a:gd name="connsiteY15" fmla="*/ 125333 h 382371"/>
                  <a:gd name="connsiteX16" fmla="*/ 54523 w 198266"/>
                  <a:gd name="connsiteY16" fmla="*/ 125333 h 382371"/>
                  <a:gd name="connsiteX17" fmla="*/ 109755 w 198266"/>
                  <a:gd name="connsiteY17" fmla="*/ 214553 h 382371"/>
                  <a:gd name="connsiteX18" fmla="*/ 10621 w 198266"/>
                  <a:gd name="connsiteY18" fmla="*/ 234380 h 382371"/>
                  <a:gd name="connsiteX19" fmla="*/ 150824 w 198266"/>
                  <a:gd name="connsiteY19" fmla="*/ 278282 h 382371"/>
                  <a:gd name="connsiteX20" fmla="*/ 150824 w 198266"/>
                  <a:gd name="connsiteY20" fmla="*/ 278282 h 382371"/>
                  <a:gd name="connsiteX21" fmla="*/ 112587 w 198266"/>
                  <a:gd name="connsiteY21" fmla="*/ 215969 h 382371"/>
                  <a:gd name="connsiteX22" fmla="*/ 138079 w 198266"/>
                  <a:gd name="connsiteY22" fmla="*/ 210304 h 382371"/>
                  <a:gd name="connsiteX23" fmla="*/ 186229 w 198266"/>
                  <a:gd name="connsiteY23" fmla="*/ 373166 h 382371"/>
                  <a:gd name="connsiteX24" fmla="*/ 17702 w 198266"/>
                  <a:gd name="connsiteY24" fmla="*/ 234380 h 382371"/>
                  <a:gd name="connsiteX25" fmla="*/ 109755 w 198266"/>
                  <a:gd name="connsiteY25" fmla="*/ 215969 h 382371"/>
                  <a:gd name="connsiteX26" fmla="*/ 145160 w 198266"/>
                  <a:gd name="connsiteY26" fmla="*/ 274033 h 382371"/>
                  <a:gd name="connsiteX27" fmla="*/ 17702 w 198266"/>
                  <a:gd name="connsiteY27" fmla="*/ 234380 h 382371"/>
                  <a:gd name="connsiteX28" fmla="*/ 140911 w 198266"/>
                  <a:gd name="connsiteY28" fmla="*/ 210304 h 382371"/>
                  <a:gd name="connsiteX29" fmla="*/ 174899 w 198266"/>
                  <a:gd name="connsiteY29" fmla="*/ 203223 h 382371"/>
                  <a:gd name="connsiteX30" fmla="*/ 186229 w 198266"/>
                  <a:gd name="connsiteY30" fmla="*/ 363253 h 382371"/>
                  <a:gd name="connsiteX31" fmla="*/ 140911 w 198266"/>
                  <a:gd name="connsiteY31" fmla="*/ 210304 h 38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8266" h="382371">
                    <a:moveTo>
                      <a:pt x="186229" y="373166"/>
                    </a:moveTo>
                    <a:lnTo>
                      <a:pt x="186229" y="373166"/>
                    </a:lnTo>
                    <a:lnTo>
                      <a:pt x="187645" y="373166"/>
                    </a:lnTo>
                    <a:lnTo>
                      <a:pt x="174899" y="200391"/>
                    </a:lnTo>
                    <a:lnTo>
                      <a:pt x="174899" y="200391"/>
                    </a:lnTo>
                    <a:lnTo>
                      <a:pt x="139495" y="207472"/>
                    </a:lnTo>
                    <a:lnTo>
                      <a:pt x="81431" y="10621"/>
                    </a:lnTo>
                    <a:lnTo>
                      <a:pt x="81431" y="10621"/>
                    </a:lnTo>
                    <a:lnTo>
                      <a:pt x="80014" y="10621"/>
                    </a:lnTo>
                    <a:lnTo>
                      <a:pt x="138079" y="207472"/>
                    </a:lnTo>
                    <a:lnTo>
                      <a:pt x="111171" y="213137"/>
                    </a:lnTo>
                    <a:lnTo>
                      <a:pt x="55940" y="123917"/>
                    </a:lnTo>
                    <a:lnTo>
                      <a:pt x="77183" y="12038"/>
                    </a:lnTo>
                    <a:lnTo>
                      <a:pt x="77183" y="12038"/>
                    </a:lnTo>
                    <a:lnTo>
                      <a:pt x="75766" y="12038"/>
                    </a:lnTo>
                    <a:lnTo>
                      <a:pt x="54523" y="125333"/>
                    </a:lnTo>
                    <a:lnTo>
                      <a:pt x="54523" y="125333"/>
                    </a:lnTo>
                    <a:lnTo>
                      <a:pt x="109755" y="214553"/>
                    </a:lnTo>
                    <a:lnTo>
                      <a:pt x="10621" y="234380"/>
                    </a:lnTo>
                    <a:lnTo>
                      <a:pt x="150824" y="278282"/>
                    </a:lnTo>
                    <a:lnTo>
                      <a:pt x="150824" y="278282"/>
                    </a:lnTo>
                    <a:lnTo>
                      <a:pt x="112587" y="215969"/>
                    </a:lnTo>
                    <a:lnTo>
                      <a:pt x="138079" y="210304"/>
                    </a:lnTo>
                    <a:lnTo>
                      <a:pt x="186229" y="373166"/>
                    </a:lnTo>
                    <a:close/>
                    <a:moveTo>
                      <a:pt x="17702" y="234380"/>
                    </a:moveTo>
                    <a:lnTo>
                      <a:pt x="109755" y="215969"/>
                    </a:lnTo>
                    <a:lnTo>
                      <a:pt x="145160" y="274033"/>
                    </a:lnTo>
                    <a:lnTo>
                      <a:pt x="17702" y="234380"/>
                    </a:lnTo>
                    <a:close/>
                    <a:moveTo>
                      <a:pt x="140911" y="210304"/>
                    </a:moveTo>
                    <a:lnTo>
                      <a:pt x="174899" y="203223"/>
                    </a:lnTo>
                    <a:lnTo>
                      <a:pt x="186229" y="363253"/>
                    </a:lnTo>
                    <a:lnTo>
                      <a:pt x="140911" y="210304"/>
                    </a:lnTo>
                    <a:close/>
                  </a:path>
                </a:pathLst>
              </a:custGeom>
              <a:grpFill/>
              <a:ln w="6350" cap="flat">
                <a:solidFill>
                  <a:schemeClr val="tx1">
                    <a:lumMod val="25000"/>
                    <a:lumOff val="75000"/>
                  </a:schemeClr>
                </a:solidFill>
                <a:prstDash val="solid"/>
                <a:miter/>
              </a:ln>
            </p:spPr>
            <p:txBody>
              <a:bodyPr rtlCol="0" anchor="ctr"/>
              <a:lstStyle/>
              <a:p>
                <a:pPr defTabSz="932384">
                  <a:defRPr/>
                </a:pPr>
                <a:endParaRPr lang="en-US" dirty="0">
                  <a:solidFill>
                    <a:srgbClr val="1A1A1A"/>
                  </a:solidFill>
                  <a:latin typeface="Segoe UI"/>
                </a:endParaRPr>
              </a:p>
            </p:txBody>
          </p:sp>
          <p:sp>
            <p:nvSpPr>
              <p:cNvPr id="948" name="Freeform: Shape 947">
                <a:extLst>
                  <a:ext uri="{FF2B5EF4-FFF2-40B4-BE49-F238E27FC236}">
                    <a16:creationId xmlns:a16="http://schemas.microsoft.com/office/drawing/2014/main" id="{9D1B5D35-28B1-4D24-ADC5-30FADC402041}"/>
                  </a:ext>
                </a:extLst>
              </p:cNvPr>
              <p:cNvSpPr/>
              <p:nvPr/>
            </p:nvSpPr>
            <p:spPr>
              <a:xfrm>
                <a:off x="5528816" y="567586"/>
                <a:ext cx="5806385" cy="4036144"/>
              </a:xfrm>
              <a:custGeom>
                <a:avLst/>
                <a:gdLst>
                  <a:gd name="connsiteX0" fmla="*/ 5707959 w 5806384"/>
                  <a:gd name="connsiteY0" fmla="*/ 799440 h 4036143"/>
                  <a:gd name="connsiteX1" fmla="*/ 5707959 w 5806384"/>
                  <a:gd name="connsiteY1" fmla="*/ 799440 h 4036143"/>
                  <a:gd name="connsiteX2" fmla="*/ 5491282 w 5806384"/>
                  <a:gd name="connsiteY2" fmla="*/ 1038776 h 4036143"/>
                  <a:gd name="connsiteX3" fmla="*/ 5413392 w 5806384"/>
                  <a:gd name="connsiteY3" fmla="*/ 945307 h 4036143"/>
                  <a:gd name="connsiteX4" fmla="*/ 5413392 w 5806384"/>
                  <a:gd name="connsiteY4" fmla="*/ 945307 h 4036143"/>
                  <a:gd name="connsiteX5" fmla="*/ 5358160 w 5806384"/>
                  <a:gd name="connsiteY5" fmla="*/ 1028863 h 4036143"/>
                  <a:gd name="connsiteX6" fmla="*/ 5274605 w 5806384"/>
                  <a:gd name="connsiteY6" fmla="*/ 980712 h 4036143"/>
                  <a:gd name="connsiteX7" fmla="*/ 5369489 w 5806384"/>
                  <a:gd name="connsiteY7" fmla="*/ 841925 h 4036143"/>
                  <a:gd name="connsiteX8" fmla="*/ 5557843 w 5806384"/>
                  <a:gd name="connsiteY8" fmla="*/ 822099 h 4036143"/>
                  <a:gd name="connsiteX9" fmla="*/ 5557843 w 5806384"/>
                  <a:gd name="connsiteY9" fmla="*/ 822099 h 4036143"/>
                  <a:gd name="connsiteX10" fmla="*/ 5471455 w 5806384"/>
                  <a:gd name="connsiteY10" fmla="*/ 690393 h 4036143"/>
                  <a:gd name="connsiteX11" fmla="*/ 5471455 w 5806384"/>
                  <a:gd name="connsiteY11" fmla="*/ 690393 h 4036143"/>
                  <a:gd name="connsiteX12" fmla="*/ 5368073 w 5806384"/>
                  <a:gd name="connsiteY12" fmla="*/ 840509 h 4036143"/>
                  <a:gd name="connsiteX13" fmla="*/ 5124488 w 5806384"/>
                  <a:gd name="connsiteY13" fmla="*/ 866001 h 4036143"/>
                  <a:gd name="connsiteX14" fmla="*/ 5189634 w 5806384"/>
                  <a:gd name="connsiteY14" fmla="*/ 820683 h 4036143"/>
                  <a:gd name="connsiteX15" fmla="*/ 4947464 w 5806384"/>
                  <a:gd name="connsiteY15" fmla="*/ 795191 h 4036143"/>
                  <a:gd name="connsiteX16" fmla="*/ 4732203 w 5806384"/>
                  <a:gd name="connsiteY16" fmla="*/ 673399 h 4036143"/>
                  <a:gd name="connsiteX17" fmla="*/ 4732203 w 5806384"/>
                  <a:gd name="connsiteY17" fmla="*/ 673399 h 4036143"/>
                  <a:gd name="connsiteX18" fmla="*/ 4652897 w 5806384"/>
                  <a:gd name="connsiteY18" fmla="*/ 800856 h 4036143"/>
                  <a:gd name="connsiteX19" fmla="*/ 4393734 w 5806384"/>
                  <a:gd name="connsiteY19" fmla="*/ 613919 h 4036143"/>
                  <a:gd name="connsiteX20" fmla="*/ 4393734 w 5806384"/>
                  <a:gd name="connsiteY20" fmla="*/ 613919 h 4036143"/>
                  <a:gd name="connsiteX21" fmla="*/ 4410728 w 5806384"/>
                  <a:gd name="connsiteY21" fmla="*/ 748457 h 4036143"/>
                  <a:gd name="connsiteX22" fmla="*/ 4273358 w 5806384"/>
                  <a:gd name="connsiteY22" fmla="*/ 611086 h 4036143"/>
                  <a:gd name="connsiteX23" fmla="*/ 4273358 w 5806384"/>
                  <a:gd name="connsiteY23" fmla="*/ 611086 h 4036143"/>
                  <a:gd name="connsiteX24" fmla="*/ 3893818 w 5806384"/>
                  <a:gd name="connsiteY24" fmla="*/ 545942 h 4036143"/>
                  <a:gd name="connsiteX25" fmla="*/ 3893818 w 5806384"/>
                  <a:gd name="connsiteY25" fmla="*/ 545942 h 4036143"/>
                  <a:gd name="connsiteX26" fmla="*/ 3593586 w 5806384"/>
                  <a:gd name="connsiteY26" fmla="*/ 928313 h 4036143"/>
                  <a:gd name="connsiteX27" fmla="*/ 3593586 w 5806384"/>
                  <a:gd name="connsiteY27" fmla="*/ 929729 h 4036143"/>
                  <a:gd name="connsiteX28" fmla="*/ 3960379 w 5806384"/>
                  <a:gd name="connsiteY28" fmla="*/ 720133 h 4036143"/>
                  <a:gd name="connsiteX29" fmla="*/ 4039686 w 5806384"/>
                  <a:gd name="connsiteY29" fmla="*/ 882995 h 4036143"/>
                  <a:gd name="connsiteX30" fmla="*/ 3978790 w 5806384"/>
                  <a:gd name="connsiteY30" fmla="*/ 921232 h 4036143"/>
                  <a:gd name="connsiteX31" fmla="*/ 3449134 w 5806384"/>
                  <a:gd name="connsiteY31" fmla="*/ 933978 h 4036143"/>
                  <a:gd name="connsiteX32" fmla="*/ 3174393 w 5806384"/>
                  <a:gd name="connsiteY32" fmla="*/ 623832 h 4036143"/>
                  <a:gd name="connsiteX33" fmla="*/ 3177225 w 5806384"/>
                  <a:gd name="connsiteY33" fmla="*/ 608254 h 4036143"/>
                  <a:gd name="connsiteX34" fmla="*/ 3454799 w 5806384"/>
                  <a:gd name="connsiteY34" fmla="*/ 734295 h 4036143"/>
                  <a:gd name="connsiteX35" fmla="*/ 3454799 w 5806384"/>
                  <a:gd name="connsiteY35" fmla="*/ 734295 h 4036143"/>
                  <a:gd name="connsiteX36" fmla="*/ 3529857 w 5806384"/>
                  <a:gd name="connsiteY36" fmla="*/ 350507 h 4036143"/>
                  <a:gd name="connsiteX37" fmla="*/ 3529857 w 5806384"/>
                  <a:gd name="connsiteY37" fmla="*/ 350507 h 4036143"/>
                  <a:gd name="connsiteX38" fmla="*/ 3402400 w 5806384"/>
                  <a:gd name="connsiteY38" fmla="*/ 91344 h 4036143"/>
                  <a:gd name="connsiteX39" fmla="*/ 3402400 w 5806384"/>
                  <a:gd name="connsiteY39" fmla="*/ 91344 h 4036143"/>
                  <a:gd name="connsiteX40" fmla="*/ 3146069 w 5806384"/>
                  <a:gd name="connsiteY40" fmla="*/ 10621 h 4036143"/>
                  <a:gd name="connsiteX41" fmla="*/ 3146069 w 5806384"/>
                  <a:gd name="connsiteY41" fmla="*/ 10621 h 4036143"/>
                  <a:gd name="connsiteX42" fmla="*/ 3229624 w 5806384"/>
                  <a:gd name="connsiteY42" fmla="*/ 139495 h 4036143"/>
                  <a:gd name="connsiteX43" fmla="*/ 3310347 w 5806384"/>
                  <a:gd name="connsiteY43" fmla="*/ 340594 h 4036143"/>
                  <a:gd name="connsiteX44" fmla="*/ 3214047 w 5806384"/>
                  <a:gd name="connsiteY44" fmla="*/ 401490 h 4036143"/>
                  <a:gd name="connsiteX45" fmla="*/ 3219711 w 5806384"/>
                  <a:gd name="connsiteY45" fmla="*/ 367502 h 4036143"/>
                  <a:gd name="connsiteX46" fmla="*/ 3219711 w 5806384"/>
                  <a:gd name="connsiteY46" fmla="*/ 367502 h 4036143"/>
                  <a:gd name="connsiteX47" fmla="*/ 3048352 w 5806384"/>
                  <a:gd name="connsiteY47" fmla="*/ 456722 h 4036143"/>
                  <a:gd name="connsiteX48" fmla="*/ 2974710 w 5806384"/>
                  <a:gd name="connsiteY48" fmla="*/ 347675 h 4036143"/>
                  <a:gd name="connsiteX49" fmla="*/ 2974710 w 5806384"/>
                  <a:gd name="connsiteY49" fmla="*/ 347675 h 4036143"/>
                  <a:gd name="connsiteX50" fmla="*/ 2902485 w 5806384"/>
                  <a:gd name="connsiteY50" fmla="*/ 537444 h 4036143"/>
                  <a:gd name="connsiteX51" fmla="*/ 2902485 w 5806384"/>
                  <a:gd name="connsiteY51" fmla="*/ 537444 h 4036143"/>
                  <a:gd name="connsiteX52" fmla="*/ 3049768 w 5806384"/>
                  <a:gd name="connsiteY52" fmla="*/ 459554 h 4036143"/>
                  <a:gd name="connsiteX53" fmla="*/ 3071011 w 5806384"/>
                  <a:gd name="connsiteY53" fmla="*/ 492126 h 4036143"/>
                  <a:gd name="connsiteX54" fmla="*/ 2820345 w 5806384"/>
                  <a:gd name="connsiteY54" fmla="*/ 650740 h 4036143"/>
                  <a:gd name="connsiteX55" fmla="*/ 2801934 w 5806384"/>
                  <a:gd name="connsiteY55" fmla="*/ 625248 h 4036143"/>
                  <a:gd name="connsiteX56" fmla="*/ 2801934 w 5806384"/>
                  <a:gd name="connsiteY56" fmla="*/ 625248 h 4036143"/>
                  <a:gd name="connsiteX57" fmla="*/ 2521529 w 5806384"/>
                  <a:gd name="connsiteY57" fmla="*/ 840509 h 4036143"/>
                  <a:gd name="connsiteX58" fmla="*/ 2521529 w 5806384"/>
                  <a:gd name="connsiteY58" fmla="*/ 840509 h 4036143"/>
                  <a:gd name="connsiteX59" fmla="*/ 2522945 w 5806384"/>
                  <a:gd name="connsiteY59" fmla="*/ 841925 h 4036143"/>
                  <a:gd name="connsiteX60" fmla="*/ 2522945 w 5806384"/>
                  <a:gd name="connsiteY60" fmla="*/ 841925 h 4036143"/>
                  <a:gd name="connsiteX61" fmla="*/ 2820345 w 5806384"/>
                  <a:gd name="connsiteY61" fmla="*/ 653572 h 4036143"/>
                  <a:gd name="connsiteX62" fmla="*/ 2991704 w 5806384"/>
                  <a:gd name="connsiteY62" fmla="*/ 894324 h 4036143"/>
                  <a:gd name="connsiteX63" fmla="*/ 2743871 w 5806384"/>
                  <a:gd name="connsiteY63" fmla="*/ 945307 h 4036143"/>
                  <a:gd name="connsiteX64" fmla="*/ 2539939 w 5806384"/>
                  <a:gd name="connsiteY64" fmla="*/ 908486 h 4036143"/>
                  <a:gd name="connsiteX65" fmla="*/ 2129244 w 5806384"/>
                  <a:gd name="connsiteY65" fmla="*/ 690393 h 4036143"/>
                  <a:gd name="connsiteX66" fmla="*/ 2129244 w 5806384"/>
                  <a:gd name="connsiteY66" fmla="*/ 690393 h 4036143"/>
                  <a:gd name="connsiteX67" fmla="*/ 1921064 w 5806384"/>
                  <a:gd name="connsiteY67" fmla="*/ 796607 h 4036143"/>
                  <a:gd name="connsiteX68" fmla="*/ 1921064 w 5806384"/>
                  <a:gd name="connsiteY68" fmla="*/ 796607 h 4036143"/>
                  <a:gd name="connsiteX69" fmla="*/ 2539939 w 5806384"/>
                  <a:gd name="connsiteY69" fmla="*/ 909903 h 4036143"/>
                  <a:gd name="connsiteX70" fmla="*/ 3069595 w 5806384"/>
                  <a:gd name="connsiteY70" fmla="*/ 1191725 h 4036143"/>
                  <a:gd name="connsiteX71" fmla="*/ 3068178 w 5806384"/>
                  <a:gd name="connsiteY71" fmla="*/ 1195973 h 4036143"/>
                  <a:gd name="connsiteX72" fmla="*/ 3046935 w 5806384"/>
                  <a:gd name="connsiteY72" fmla="*/ 1180395 h 4036143"/>
                  <a:gd name="connsiteX73" fmla="*/ 3046935 w 5806384"/>
                  <a:gd name="connsiteY73" fmla="*/ 1180395 h 4036143"/>
                  <a:gd name="connsiteX74" fmla="*/ 2548436 w 5806384"/>
                  <a:gd name="connsiteY74" fmla="*/ 1388575 h 4036143"/>
                  <a:gd name="connsiteX75" fmla="*/ 2415314 w 5806384"/>
                  <a:gd name="connsiteY75" fmla="*/ 1398488 h 4036143"/>
                  <a:gd name="connsiteX76" fmla="*/ 2231209 w 5806384"/>
                  <a:gd name="connsiteY76" fmla="*/ 1225713 h 4036143"/>
                  <a:gd name="connsiteX77" fmla="*/ 2231209 w 5806384"/>
                  <a:gd name="connsiteY77" fmla="*/ 1225713 h 4036143"/>
                  <a:gd name="connsiteX78" fmla="*/ 2236874 w 5806384"/>
                  <a:gd name="connsiteY78" fmla="*/ 1414067 h 4036143"/>
                  <a:gd name="connsiteX79" fmla="*/ 2115082 w 5806384"/>
                  <a:gd name="connsiteY79" fmla="*/ 1423980 h 4036143"/>
                  <a:gd name="connsiteX80" fmla="*/ 2004619 w 5806384"/>
                  <a:gd name="connsiteY80" fmla="*/ 1286609 h 4036143"/>
                  <a:gd name="connsiteX81" fmla="*/ 2265198 w 5806384"/>
                  <a:gd name="connsiteY81" fmla="*/ 1167649 h 4036143"/>
                  <a:gd name="connsiteX82" fmla="*/ 2266614 w 5806384"/>
                  <a:gd name="connsiteY82" fmla="*/ 1167649 h 4036143"/>
                  <a:gd name="connsiteX83" fmla="*/ 2024445 w 5806384"/>
                  <a:gd name="connsiteY83" fmla="*/ 1154904 h 4036143"/>
                  <a:gd name="connsiteX84" fmla="*/ 2024445 w 5806384"/>
                  <a:gd name="connsiteY84" fmla="*/ 1154904 h 4036143"/>
                  <a:gd name="connsiteX85" fmla="*/ 1962133 w 5806384"/>
                  <a:gd name="connsiteY85" fmla="*/ 1232794 h 4036143"/>
                  <a:gd name="connsiteX86" fmla="*/ 1923896 w 5806384"/>
                  <a:gd name="connsiteY86" fmla="*/ 1186060 h 4036143"/>
                  <a:gd name="connsiteX87" fmla="*/ 2103752 w 5806384"/>
                  <a:gd name="connsiteY87" fmla="*/ 907070 h 4036143"/>
                  <a:gd name="connsiteX88" fmla="*/ 2103752 w 5806384"/>
                  <a:gd name="connsiteY88" fmla="*/ 907070 h 4036143"/>
                  <a:gd name="connsiteX89" fmla="*/ 1813433 w 5806384"/>
                  <a:gd name="connsiteY89" fmla="*/ 1050106 h 4036143"/>
                  <a:gd name="connsiteX90" fmla="*/ 1766699 w 5806384"/>
                  <a:gd name="connsiteY90" fmla="*/ 990626 h 4036143"/>
                  <a:gd name="connsiteX91" fmla="*/ 1766699 w 5806384"/>
                  <a:gd name="connsiteY91" fmla="*/ 990626 h 4036143"/>
                  <a:gd name="connsiteX92" fmla="*/ 1751121 w 5806384"/>
                  <a:gd name="connsiteY92" fmla="*/ 1081262 h 4036143"/>
                  <a:gd name="connsiteX93" fmla="*/ 1589675 w 5806384"/>
                  <a:gd name="connsiteY93" fmla="*/ 1161985 h 4036143"/>
                  <a:gd name="connsiteX94" fmla="*/ 1710051 w 5806384"/>
                  <a:gd name="connsiteY94" fmla="*/ 898573 h 4036143"/>
                  <a:gd name="connsiteX95" fmla="*/ 1768115 w 5806384"/>
                  <a:gd name="connsiteY95" fmla="*/ 979296 h 4036143"/>
                  <a:gd name="connsiteX96" fmla="*/ 1768115 w 5806384"/>
                  <a:gd name="connsiteY96" fmla="*/ 979296 h 4036143"/>
                  <a:gd name="connsiteX97" fmla="*/ 1756785 w 5806384"/>
                  <a:gd name="connsiteY97" fmla="*/ 792359 h 4036143"/>
                  <a:gd name="connsiteX98" fmla="*/ 1756785 w 5806384"/>
                  <a:gd name="connsiteY98" fmla="*/ 790943 h 4036143"/>
                  <a:gd name="connsiteX99" fmla="*/ 1710051 w 5806384"/>
                  <a:gd name="connsiteY99" fmla="*/ 894324 h 4036143"/>
                  <a:gd name="connsiteX100" fmla="*/ 1626496 w 5806384"/>
                  <a:gd name="connsiteY100" fmla="*/ 776781 h 4036143"/>
                  <a:gd name="connsiteX101" fmla="*/ 1626496 w 5806384"/>
                  <a:gd name="connsiteY101" fmla="*/ 776781 h 4036143"/>
                  <a:gd name="connsiteX102" fmla="*/ 1507536 w 5806384"/>
                  <a:gd name="connsiteY102" fmla="*/ 949556 h 4036143"/>
                  <a:gd name="connsiteX103" fmla="*/ 1282361 w 5806384"/>
                  <a:gd name="connsiteY103" fmla="*/ 1034527 h 4036143"/>
                  <a:gd name="connsiteX104" fmla="*/ 1273864 w 5806384"/>
                  <a:gd name="connsiteY104" fmla="*/ 1030279 h 4036143"/>
                  <a:gd name="connsiteX105" fmla="*/ 1152071 w 5806384"/>
                  <a:gd name="connsiteY105" fmla="*/ 830596 h 4036143"/>
                  <a:gd name="connsiteX106" fmla="*/ 1152071 w 5806384"/>
                  <a:gd name="connsiteY106" fmla="*/ 830596 h 4036143"/>
                  <a:gd name="connsiteX107" fmla="*/ 1112418 w 5806384"/>
                  <a:gd name="connsiteY107" fmla="*/ 943891 h 4036143"/>
                  <a:gd name="connsiteX108" fmla="*/ 1094008 w 5806384"/>
                  <a:gd name="connsiteY108" fmla="*/ 933978 h 4036143"/>
                  <a:gd name="connsiteX109" fmla="*/ 1064268 w 5806384"/>
                  <a:gd name="connsiteY109" fmla="*/ 881579 h 4036143"/>
                  <a:gd name="connsiteX110" fmla="*/ 1106754 w 5806384"/>
                  <a:gd name="connsiteY110" fmla="*/ 816434 h 4036143"/>
                  <a:gd name="connsiteX111" fmla="*/ 1432478 w 5806384"/>
                  <a:gd name="connsiteY111" fmla="*/ 841925 h 4036143"/>
                  <a:gd name="connsiteX112" fmla="*/ 1432478 w 5806384"/>
                  <a:gd name="connsiteY112" fmla="*/ 841925 h 4036143"/>
                  <a:gd name="connsiteX113" fmla="*/ 1432478 w 5806384"/>
                  <a:gd name="connsiteY113" fmla="*/ 840509 h 4036143"/>
                  <a:gd name="connsiteX114" fmla="*/ 1181812 w 5806384"/>
                  <a:gd name="connsiteY114" fmla="*/ 783862 h 4036143"/>
                  <a:gd name="connsiteX115" fmla="*/ 1357419 w 5806384"/>
                  <a:gd name="connsiteY115" fmla="*/ 717301 h 4036143"/>
                  <a:gd name="connsiteX116" fmla="*/ 1358835 w 5806384"/>
                  <a:gd name="connsiteY116" fmla="*/ 717301 h 4036143"/>
                  <a:gd name="connsiteX117" fmla="*/ 1136494 w 5806384"/>
                  <a:gd name="connsiteY117" fmla="*/ 739960 h 4036143"/>
                  <a:gd name="connsiteX118" fmla="*/ 1116667 w 5806384"/>
                  <a:gd name="connsiteY118" fmla="*/ 615335 h 4036143"/>
                  <a:gd name="connsiteX119" fmla="*/ 1116667 w 5806384"/>
                  <a:gd name="connsiteY119" fmla="*/ 615335 h 4036143"/>
                  <a:gd name="connsiteX120" fmla="*/ 1023198 w 5806384"/>
                  <a:gd name="connsiteY120" fmla="*/ 713052 h 4036143"/>
                  <a:gd name="connsiteX121" fmla="*/ 952389 w 5806384"/>
                  <a:gd name="connsiteY121" fmla="*/ 670566 h 4036143"/>
                  <a:gd name="connsiteX122" fmla="*/ 1109586 w 5806384"/>
                  <a:gd name="connsiteY122" fmla="*/ 613919 h 4036143"/>
                  <a:gd name="connsiteX123" fmla="*/ 1109586 w 5806384"/>
                  <a:gd name="connsiteY123" fmla="*/ 613919 h 4036143"/>
                  <a:gd name="connsiteX124" fmla="*/ 1109586 w 5806384"/>
                  <a:gd name="connsiteY124" fmla="*/ 612503 h 4036143"/>
                  <a:gd name="connsiteX125" fmla="*/ 949556 w 5806384"/>
                  <a:gd name="connsiteY125" fmla="*/ 670566 h 4036143"/>
                  <a:gd name="connsiteX126" fmla="*/ 949556 w 5806384"/>
                  <a:gd name="connsiteY126" fmla="*/ 670566 h 4036143"/>
                  <a:gd name="connsiteX127" fmla="*/ 1023198 w 5806384"/>
                  <a:gd name="connsiteY127" fmla="*/ 714468 h 4036143"/>
                  <a:gd name="connsiteX128" fmla="*/ 990626 w 5806384"/>
                  <a:gd name="connsiteY128" fmla="*/ 748457 h 4036143"/>
                  <a:gd name="connsiteX129" fmla="*/ 953805 w 5806384"/>
                  <a:gd name="connsiteY129" fmla="*/ 683312 h 4036143"/>
                  <a:gd name="connsiteX130" fmla="*/ 953805 w 5806384"/>
                  <a:gd name="connsiteY130" fmla="*/ 683312 h 4036143"/>
                  <a:gd name="connsiteX131" fmla="*/ 766868 w 5806384"/>
                  <a:gd name="connsiteY131" fmla="*/ 870249 h 4036143"/>
                  <a:gd name="connsiteX132" fmla="*/ 751289 w 5806384"/>
                  <a:gd name="connsiteY132" fmla="*/ 857504 h 4036143"/>
                  <a:gd name="connsiteX133" fmla="*/ 751289 w 5806384"/>
                  <a:gd name="connsiteY133" fmla="*/ 857504 h 4036143"/>
                  <a:gd name="connsiteX134" fmla="*/ 752706 w 5806384"/>
                  <a:gd name="connsiteY134" fmla="*/ 885827 h 4036143"/>
                  <a:gd name="connsiteX135" fmla="*/ 619584 w 5806384"/>
                  <a:gd name="connsiteY135" fmla="*/ 1018949 h 4036143"/>
                  <a:gd name="connsiteX136" fmla="*/ 438311 w 5806384"/>
                  <a:gd name="connsiteY136" fmla="*/ 1105337 h 4036143"/>
                  <a:gd name="connsiteX137" fmla="*/ 438311 w 5806384"/>
                  <a:gd name="connsiteY137" fmla="*/ 1105337 h 4036143"/>
                  <a:gd name="connsiteX138" fmla="*/ 555855 w 5806384"/>
                  <a:gd name="connsiteY138" fmla="*/ 1198806 h 4036143"/>
                  <a:gd name="connsiteX139" fmla="*/ 451057 w 5806384"/>
                  <a:gd name="connsiteY139" fmla="*/ 1275280 h 4036143"/>
                  <a:gd name="connsiteX140" fmla="*/ 451057 w 5806384"/>
                  <a:gd name="connsiteY140" fmla="*/ 1275280 h 4036143"/>
                  <a:gd name="connsiteX141" fmla="*/ 452473 w 5806384"/>
                  <a:gd name="connsiteY141" fmla="*/ 1276696 h 4036143"/>
                  <a:gd name="connsiteX142" fmla="*/ 574265 w 5806384"/>
                  <a:gd name="connsiteY142" fmla="*/ 1212967 h 4036143"/>
                  <a:gd name="connsiteX143" fmla="*/ 575682 w 5806384"/>
                  <a:gd name="connsiteY143" fmla="*/ 1212967 h 4036143"/>
                  <a:gd name="connsiteX144" fmla="*/ 570017 w 5806384"/>
                  <a:gd name="connsiteY144" fmla="*/ 1229962 h 4036143"/>
                  <a:gd name="connsiteX145" fmla="*/ 570017 w 5806384"/>
                  <a:gd name="connsiteY145" fmla="*/ 1229962 h 4036143"/>
                  <a:gd name="connsiteX146" fmla="*/ 571433 w 5806384"/>
                  <a:gd name="connsiteY146" fmla="*/ 1229962 h 4036143"/>
                  <a:gd name="connsiteX147" fmla="*/ 571433 w 5806384"/>
                  <a:gd name="connsiteY147" fmla="*/ 1229962 h 4036143"/>
                  <a:gd name="connsiteX148" fmla="*/ 578514 w 5806384"/>
                  <a:gd name="connsiteY148" fmla="*/ 1214384 h 4036143"/>
                  <a:gd name="connsiteX149" fmla="*/ 693225 w 5806384"/>
                  <a:gd name="connsiteY149" fmla="*/ 1305020 h 4036143"/>
                  <a:gd name="connsiteX150" fmla="*/ 681896 w 5806384"/>
                  <a:gd name="connsiteY150" fmla="*/ 1152071 h 4036143"/>
                  <a:gd name="connsiteX151" fmla="*/ 681896 w 5806384"/>
                  <a:gd name="connsiteY151" fmla="*/ 1152071 h 4036143"/>
                  <a:gd name="connsiteX152" fmla="*/ 584179 w 5806384"/>
                  <a:gd name="connsiteY152" fmla="*/ 1203054 h 4036143"/>
                  <a:gd name="connsiteX153" fmla="*/ 602589 w 5806384"/>
                  <a:gd name="connsiteY153" fmla="*/ 1166233 h 4036143"/>
                  <a:gd name="connsiteX154" fmla="*/ 684728 w 5806384"/>
                  <a:gd name="connsiteY154" fmla="*/ 1106753 h 4036143"/>
                  <a:gd name="connsiteX155" fmla="*/ 772532 w 5806384"/>
                  <a:gd name="connsiteY155" fmla="*/ 1091175 h 4036143"/>
                  <a:gd name="connsiteX156" fmla="*/ 772532 w 5806384"/>
                  <a:gd name="connsiteY156" fmla="*/ 1091175 h 4036143"/>
                  <a:gd name="connsiteX157" fmla="*/ 769700 w 5806384"/>
                  <a:gd name="connsiteY157" fmla="*/ 1045857 h 4036143"/>
                  <a:gd name="connsiteX158" fmla="*/ 884411 w 5806384"/>
                  <a:gd name="connsiteY158" fmla="*/ 963718 h 4036143"/>
                  <a:gd name="connsiteX159" fmla="*/ 884411 w 5806384"/>
                  <a:gd name="connsiteY159" fmla="*/ 963718 h 4036143"/>
                  <a:gd name="connsiteX160" fmla="*/ 832012 w 5806384"/>
                  <a:gd name="connsiteY160" fmla="*/ 921232 h 4036143"/>
                  <a:gd name="connsiteX161" fmla="*/ 993458 w 5806384"/>
                  <a:gd name="connsiteY161" fmla="*/ 751289 h 4036143"/>
                  <a:gd name="connsiteX162" fmla="*/ 1026030 w 5806384"/>
                  <a:gd name="connsiteY162" fmla="*/ 807937 h 4036143"/>
                  <a:gd name="connsiteX163" fmla="*/ 979296 w 5806384"/>
                  <a:gd name="connsiteY163" fmla="*/ 803688 h 4036143"/>
                  <a:gd name="connsiteX164" fmla="*/ 979296 w 5806384"/>
                  <a:gd name="connsiteY164" fmla="*/ 803688 h 4036143"/>
                  <a:gd name="connsiteX165" fmla="*/ 1030279 w 5806384"/>
                  <a:gd name="connsiteY165" fmla="*/ 898573 h 4036143"/>
                  <a:gd name="connsiteX166" fmla="*/ 1030279 w 5806384"/>
                  <a:gd name="connsiteY166" fmla="*/ 898573 h 4036143"/>
                  <a:gd name="connsiteX167" fmla="*/ 1050106 w 5806384"/>
                  <a:gd name="connsiteY167" fmla="*/ 909903 h 4036143"/>
                  <a:gd name="connsiteX168" fmla="*/ 949556 w 5806384"/>
                  <a:gd name="connsiteY168" fmla="*/ 1065684 h 4036143"/>
                  <a:gd name="connsiteX169" fmla="*/ 949556 w 5806384"/>
                  <a:gd name="connsiteY169" fmla="*/ 1065684 h 4036143"/>
                  <a:gd name="connsiteX170" fmla="*/ 1052938 w 5806384"/>
                  <a:gd name="connsiteY170" fmla="*/ 1140742 h 4036143"/>
                  <a:gd name="connsiteX171" fmla="*/ 1052938 w 5806384"/>
                  <a:gd name="connsiteY171" fmla="*/ 1140742 h 4036143"/>
                  <a:gd name="connsiteX172" fmla="*/ 1113834 w 5806384"/>
                  <a:gd name="connsiteY172" fmla="*/ 963718 h 4036143"/>
                  <a:gd name="connsiteX173" fmla="*/ 1136494 w 5806384"/>
                  <a:gd name="connsiteY173" fmla="*/ 1003371 h 4036143"/>
                  <a:gd name="connsiteX174" fmla="*/ 1177563 w 5806384"/>
                  <a:gd name="connsiteY174" fmla="*/ 1469298 h 4036143"/>
                  <a:gd name="connsiteX175" fmla="*/ 1164817 w 5806384"/>
                  <a:gd name="connsiteY175" fmla="*/ 1514616 h 4036143"/>
                  <a:gd name="connsiteX176" fmla="*/ 1164817 w 5806384"/>
                  <a:gd name="connsiteY176" fmla="*/ 1514616 h 4036143"/>
                  <a:gd name="connsiteX177" fmla="*/ 1181812 w 5806384"/>
                  <a:gd name="connsiteY177" fmla="*/ 1523113 h 4036143"/>
                  <a:gd name="connsiteX178" fmla="*/ 1186060 w 5806384"/>
                  <a:gd name="connsiteY178" fmla="*/ 1565599 h 4036143"/>
                  <a:gd name="connsiteX179" fmla="*/ 898573 w 5806384"/>
                  <a:gd name="connsiteY179" fmla="*/ 1559934 h 4036143"/>
                  <a:gd name="connsiteX180" fmla="*/ 916984 w 5806384"/>
                  <a:gd name="connsiteY180" fmla="*/ 1494789 h 4036143"/>
                  <a:gd name="connsiteX181" fmla="*/ 916984 w 5806384"/>
                  <a:gd name="connsiteY181" fmla="*/ 1494789 h 4036143"/>
                  <a:gd name="connsiteX182" fmla="*/ 705971 w 5806384"/>
                  <a:gd name="connsiteY182" fmla="*/ 1548605 h 4036143"/>
                  <a:gd name="connsiteX183" fmla="*/ 705971 w 5806384"/>
                  <a:gd name="connsiteY183" fmla="*/ 1548605 h 4036143"/>
                  <a:gd name="connsiteX184" fmla="*/ 881579 w 5806384"/>
                  <a:gd name="connsiteY184" fmla="*/ 1803519 h 4036143"/>
                  <a:gd name="connsiteX185" fmla="*/ 854671 w 5806384"/>
                  <a:gd name="connsiteY185" fmla="*/ 1807768 h 4036143"/>
                  <a:gd name="connsiteX186" fmla="*/ 659237 w 5806384"/>
                  <a:gd name="connsiteY186" fmla="*/ 1514616 h 4036143"/>
                  <a:gd name="connsiteX187" fmla="*/ 659237 w 5806384"/>
                  <a:gd name="connsiteY187" fmla="*/ 1514616 h 4036143"/>
                  <a:gd name="connsiteX188" fmla="*/ 494959 w 5806384"/>
                  <a:gd name="connsiteY188" fmla="*/ 1646322 h 4036143"/>
                  <a:gd name="connsiteX189" fmla="*/ 470884 w 5806384"/>
                  <a:gd name="connsiteY189" fmla="*/ 1622247 h 4036143"/>
                  <a:gd name="connsiteX190" fmla="*/ 470884 w 5806384"/>
                  <a:gd name="connsiteY190" fmla="*/ 1541524 h 4036143"/>
                  <a:gd name="connsiteX191" fmla="*/ 470884 w 5806384"/>
                  <a:gd name="connsiteY191" fmla="*/ 1541524 h 4036143"/>
                  <a:gd name="connsiteX192" fmla="*/ 242877 w 5806384"/>
                  <a:gd name="connsiteY192" fmla="*/ 1728461 h 4036143"/>
                  <a:gd name="connsiteX193" fmla="*/ 242877 w 5806384"/>
                  <a:gd name="connsiteY193" fmla="*/ 1728461 h 4036143"/>
                  <a:gd name="connsiteX194" fmla="*/ 265536 w 5806384"/>
                  <a:gd name="connsiteY194" fmla="*/ 1779444 h 4036143"/>
                  <a:gd name="connsiteX195" fmla="*/ 139495 w 5806384"/>
                  <a:gd name="connsiteY195" fmla="*/ 1782276 h 4036143"/>
                  <a:gd name="connsiteX196" fmla="*/ 138079 w 5806384"/>
                  <a:gd name="connsiteY196" fmla="*/ 1782276 h 4036143"/>
                  <a:gd name="connsiteX197" fmla="*/ 378831 w 5806384"/>
                  <a:gd name="connsiteY197" fmla="*/ 1906901 h 4036143"/>
                  <a:gd name="connsiteX198" fmla="*/ 72934 w 5806384"/>
                  <a:gd name="connsiteY198" fmla="*/ 1981959 h 4036143"/>
                  <a:gd name="connsiteX199" fmla="*/ 17702 w 5806384"/>
                  <a:gd name="connsiteY199" fmla="*/ 1986208 h 4036143"/>
                  <a:gd name="connsiteX200" fmla="*/ 17702 w 5806384"/>
                  <a:gd name="connsiteY200" fmla="*/ 1986208 h 4036143"/>
                  <a:gd name="connsiteX201" fmla="*/ 55939 w 5806384"/>
                  <a:gd name="connsiteY201" fmla="*/ 2205717 h 4036143"/>
                  <a:gd name="connsiteX202" fmla="*/ 55939 w 5806384"/>
                  <a:gd name="connsiteY202" fmla="*/ 2205717 h 4036143"/>
                  <a:gd name="connsiteX203" fmla="*/ 95593 w 5806384"/>
                  <a:gd name="connsiteY203" fmla="*/ 2174561 h 4036143"/>
                  <a:gd name="connsiteX204" fmla="*/ 64437 w 5806384"/>
                  <a:gd name="connsiteY204" fmla="*/ 2217047 h 4036143"/>
                  <a:gd name="connsiteX205" fmla="*/ 64437 w 5806384"/>
                  <a:gd name="connsiteY205" fmla="*/ 2217047 h 4036143"/>
                  <a:gd name="connsiteX206" fmla="*/ 140911 w 5806384"/>
                  <a:gd name="connsiteY206" fmla="*/ 2215631 h 4036143"/>
                  <a:gd name="connsiteX207" fmla="*/ 140911 w 5806384"/>
                  <a:gd name="connsiteY207" fmla="*/ 2215631 h 4036143"/>
                  <a:gd name="connsiteX208" fmla="*/ 207472 w 5806384"/>
                  <a:gd name="connsiteY208" fmla="*/ 2133492 h 4036143"/>
                  <a:gd name="connsiteX209" fmla="*/ 245709 w 5806384"/>
                  <a:gd name="connsiteY209" fmla="*/ 2140573 h 4036143"/>
                  <a:gd name="connsiteX210" fmla="*/ 217385 w 5806384"/>
                  <a:gd name="connsiteY210" fmla="*/ 2120746 h 4036143"/>
                  <a:gd name="connsiteX211" fmla="*/ 309437 w 5806384"/>
                  <a:gd name="connsiteY211" fmla="*/ 2006034 h 4036143"/>
                  <a:gd name="connsiteX212" fmla="*/ 339178 w 5806384"/>
                  <a:gd name="connsiteY212" fmla="*/ 1983375 h 4036143"/>
                  <a:gd name="connsiteX213" fmla="*/ 492127 w 5806384"/>
                  <a:gd name="connsiteY213" fmla="*/ 1964965 h 4036143"/>
                  <a:gd name="connsiteX214" fmla="*/ 492127 w 5806384"/>
                  <a:gd name="connsiteY214" fmla="*/ 1964965 h 4036143"/>
                  <a:gd name="connsiteX215" fmla="*/ 414236 w 5806384"/>
                  <a:gd name="connsiteY215" fmla="*/ 1925311 h 4036143"/>
                  <a:gd name="connsiteX216" fmla="*/ 459554 w 5806384"/>
                  <a:gd name="connsiteY216" fmla="*/ 1889907 h 4036143"/>
                  <a:gd name="connsiteX217" fmla="*/ 601173 w 5806384"/>
                  <a:gd name="connsiteY217" fmla="*/ 1854502 h 4036143"/>
                  <a:gd name="connsiteX218" fmla="*/ 602589 w 5806384"/>
                  <a:gd name="connsiteY218" fmla="*/ 1861583 h 4036143"/>
                  <a:gd name="connsiteX219" fmla="*/ 595508 w 5806384"/>
                  <a:gd name="connsiteY219" fmla="*/ 1862999 h 4036143"/>
                  <a:gd name="connsiteX220" fmla="*/ 595508 w 5806384"/>
                  <a:gd name="connsiteY220" fmla="*/ 1862999 h 4036143"/>
                  <a:gd name="connsiteX221" fmla="*/ 623832 w 5806384"/>
                  <a:gd name="connsiteY221" fmla="*/ 1994705 h 4036143"/>
                  <a:gd name="connsiteX222" fmla="*/ 694642 w 5806384"/>
                  <a:gd name="connsiteY222" fmla="*/ 2091006 h 4036143"/>
                  <a:gd name="connsiteX223" fmla="*/ 745625 w 5806384"/>
                  <a:gd name="connsiteY223" fmla="*/ 2122162 h 4036143"/>
                  <a:gd name="connsiteX224" fmla="*/ 730047 w 5806384"/>
                  <a:gd name="connsiteY224" fmla="*/ 2209966 h 4036143"/>
                  <a:gd name="connsiteX225" fmla="*/ 730047 w 5806384"/>
                  <a:gd name="connsiteY225" fmla="*/ 2209966 h 4036143"/>
                  <a:gd name="connsiteX226" fmla="*/ 731463 w 5806384"/>
                  <a:gd name="connsiteY226" fmla="*/ 2209966 h 4036143"/>
                  <a:gd name="connsiteX227" fmla="*/ 761203 w 5806384"/>
                  <a:gd name="connsiteY227" fmla="*/ 2129243 h 4036143"/>
                  <a:gd name="connsiteX228" fmla="*/ 761203 w 5806384"/>
                  <a:gd name="connsiteY228" fmla="*/ 2129243 h 4036143"/>
                  <a:gd name="connsiteX229" fmla="*/ 748457 w 5806384"/>
                  <a:gd name="connsiteY229" fmla="*/ 2120746 h 4036143"/>
                  <a:gd name="connsiteX230" fmla="*/ 756954 w 5806384"/>
                  <a:gd name="connsiteY230" fmla="*/ 2076844 h 4036143"/>
                  <a:gd name="connsiteX231" fmla="*/ 756954 w 5806384"/>
                  <a:gd name="connsiteY231" fmla="*/ 2076844 h 4036143"/>
                  <a:gd name="connsiteX232" fmla="*/ 635162 w 5806384"/>
                  <a:gd name="connsiteY232" fmla="*/ 1991873 h 4036143"/>
                  <a:gd name="connsiteX233" fmla="*/ 605422 w 5806384"/>
                  <a:gd name="connsiteY233" fmla="*/ 1862999 h 4036143"/>
                  <a:gd name="connsiteX234" fmla="*/ 686144 w 5806384"/>
                  <a:gd name="connsiteY234" fmla="*/ 1840340 h 4036143"/>
                  <a:gd name="connsiteX235" fmla="*/ 686144 w 5806384"/>
                  <a:gd name="connsiteY235" fmla="*/ 1840340 h 4036143"/>
                  <a:gd name="connsiteX236" fmla="*/ 613919 w 5806384"/>
                  <a:gd name="connsiteY236" fmla="*/ 1768114 h 4036143"/>
                  <a:gd name="connsiteX237" fmla="*/ 632329 w 5806384"/>
                  <a:gd name="connsiteY237" fmla="*/ 1753952 h 4036143"/>
                  <a:gd name="connsiteX238" fmla="*/ 755538 w 5806384"/>
                  <a:gd name="connsiteY238" fmla="*/ 1824762 h 4036143"/>
                  <a:gd name="connsiteX239" fmla="*/ 680480 w 5806384"/>
                  <a:gd name="connsiteY239" fmla="*/ 1834675 h 4036143"/>
                  <a:gd name="connsiteX240" fmla="*/ 679064 w 5806384"/>
                  <a:gd name="connsiteY240" fmla="*/ 1834675 h 4036143"/>
                  <a:gd name="connsiteX241" fmla="*/ 992042 w 5806384"/>
                  <a:gd name="connsiteY241" fmla="*/ 1963549 h 4036143"/>
                  <a:gd name="connsiteX242" fmla="*/ 992042 w 5806384"/>
                  <a:gd name="connsiteY242" fmla="*/ 1963549 h 4036143"/>
                  <a:gd name="connsiteX243" fmla="*/ 993458 w 5806384"/>
                  <a:gd name="connsiteY243" fmla="*/ 1962132 h 4036143"/>
                  <a:gd name="connsiteX244" fmla="*/ 754122 w 5806384"/>
                  <a:gd name="connsiteY244" fmla="*/ 1824762 h 4036143"/>
                  <a:gd name="connsiteX245" fmla="*/ 843342 w 5806384"/>
                  <a:gd name="connsiteY245" fmla="*/ 1810600 h 4036143"/>
                  <a:gd name="connsiteX246" fmla="*/ 875914 w 5806384"/>
                  <a:gd name="connsiteY246" fmla="*/ 1858750 h 4036143"/>
                  <a:gd name="connsiteX247" fmla="*/ 875914 w 5806384"/>
                  <a:gd name="connsiteY247" fmla="*/ 1858750 h 4036143"/>
                  <a:gd name="connsiteX248" fmla="*/ 1200222 w 5806384"/>
                  <a:gd name="connsiteY248" fmla="*/ 1807768 h 4036143"/>
                  <a:gd name="connsiteX249" fmla="*/ 1200222 w 5806384"/>
                  <a:gd name="connsiteY249" fmla="*/ 1807768 h 4036143"/>
                  <a:gd name="connsiteX250" fmla="*/ 1200222 w 5806384"/>
                  <a:gd name="connsiteY250" fmla="*/ 1800687 h 4036143"/>
                  <a:gd name="connsiteX251" fmla="*/ 1204471 w 5806384"/>
                  <a:gd name="connsiteY251" fmla="*/ 1806351 h 4036143"/>
                  <a:gd name="connsiteX252" fmla="*/ 1204471 w 5806384"/>
                  <a:gd name="connsiteY252" fmla="*/ 1806351 h 4036143"/>
                  <a:gd name="connsiteX253" fmla="*/ 1282361 w 5806384"/>
                  <a:gd name="connsiteY253" fmla="*/ 1642073 h 4036143"/>
                  <a:gd name="connsiteX254" fmla="*/ 1426813 w 5806384"/>
                  <a:gd name="connsiteY254" fmla="*/ 1646322 h 4036143"/>
                  <a:gd name="connsiteX255" fmla="*/ 1455137 w 5806384"/>
                  <a:gd name="connsiteY255" fmla="*/ 1660484 h 4036143"/>
                  <a:gd name="connsiteX256" fmla="*/ 1557102 w 5806384"/>
                  <a:gd name="connsiteY256" fmla="*/ 1854502 h 4036143"/>
                  <a:gd name="connsiteX257" fmla="*/ 1411235 w 5806384"/>
                  <a:gd name="connsiteY257" fmla="*/ 1896988 h 4036143"/>
                  <a:gd name="connsiteX258" fmla="*/ 1409818 w 5806384"/>
                  <a:gd name="connsiteY258" fmla="*/ 1896988 h 4036143"/>
                  <a:gd name="connsiteX259" fmla="*/ 1601004 w 5806384"/>
                  <a:gd name="connsiteY259" fmla="*/ 1936641 h 4036143"/>
                  <a:gd name="connsiteX260" fmla="*/ 1601004 w 5806384"/>
                  <a:gd name="connsiteY260" fmla="*/ 1936641 h 4036143"/>
                  <a:gd name="connsiteX261" fmla="*/ 1558518 w 5806384"/>
                  <a:gd name="connsiteY261" fmla="*/ 1855918 h 4036143"/>
                  <a:gd name="connsiteX262" fmla="*/ 1742623 w 5806384"/>
                  <a:gd name="connsiteY262" fmla="*/ 1802103 h 4036143"/>
                  <a:gd name="connsiteX263" fmla="*/ 2133492 w 5806384"/>
                  <a:gd name="connsiteY263" fmla="*/ 1993289 h 4036143"/>
                  <a:gd name="connsiteX264" fmla="*/ 2049937 w 5806384"/>
                  <a:gd name="connsiteY264" fmla="*/ 2452135 h 4036143"/>
                  <a:gd name="connsiteX265" fmla="*/ 1928145 w 5806384"/>
                  <a:gd name="connsiteY265" fmla="*/ 2469129 h 4036143"/>
                  <a:gd name="connsiteX266" fmla="*/ 1480628 w 5806384"/>
                  <a:gd name="connsiteY266" fmla="*/ 2091006 h 4036143"/>
                  <a:gd name="connsiteX267" fmla="*/ 1480628 w 5806384"/>
                  <a:gd name="connsiteY267" fmla="*/ 2091006 h 4036143"/>
                  <a:gd name="connsiteX268" fmla="*/ 1489125 w 5806384"/>
                  <a:gd name="connsiteY268" fmla="*/ 2110833 h 4036143"/>
                  <a:gd name="connsiteX269" fmla="*/ 1350338 w 5806384"/>
                  <a:gd name="connsiteY269" fmla="*/ 2127827 h 4036143"/>
                  <a:gd name="connsiteX270" fmla="*/ 1331928 w 5806384"/>
                  <a:gd name="connsiteY270" fmla="*/ 2051352 h 4036143"/>
                  <a:gd name="connsiteX271" fmla="*/ 1331928 w 5806384"/>
                  <a:gd name="connsiteY271" fmla="*/ 2051352 h 4036143"/>
                  <a:gd name="connsiteX272" fmla="*/ 1224297 w 5806384"/>
                  <a:gd name="connsiteY272" fmla="*/ 2141989 h 4036143"/>
                  <a:gd name="connsiteX273" fmla="*/ 1215800 w 5806384"/>
                  <a:gd name="connsiteY273" fmla="*/ 2143405 h 4036143"/>
                  <a:gd name="connsiteX274" fmla="*/ 1079846 w 5806384"/>
                  <a:gd name="connsiteY274" fmla="*/ 1964965 h 4036143"/>
                  <a:gd name="connsiteX275" fmla="*/ 1079846 w 5806384"/>
                  <a:gd name="connsiteY275" fmla="*/ 1964965 h 4036143"/>
                  <a:gd name="connsiteX276" fmla="*/ 1123748 w 5806384"/>
                  <a:gd name="connsiteY276" fmla="*/ 2231209 h 4036143"/>
                  <a:gd name="connsiteX277" fmla="*/ 1123748 w 5806384"/>
                  <a:gd name="connsiteY277" fmla="*/ 2231209 h 4036143"/>
                  <a:gd name="connsiteX278" fmla="*/ 1208719 w 5806384"/>
                  <a:gd name="connsiteY278" fmla="*/ 2157567 h 4036143"/>
                  <a:gd name="connsiteX279" fmla="*/ 1295107 w 5806384"/>
                  <a:gd name="connsiteY279" fmla="*/ 2249619 h 4036143"/>
                  <a:gd name="connsiteX280" fmla="*/ 1380078 w 5806384"/>
                  <a:gd name="connsiteY280" fmla="*/ 2361498 h 4036143"/>
                  <a:gd name="connsiteX281" fmla="*/ 1363084 w 5806384"/>
                  <a:gd name="connsiteY281" fmla="*/ 2401152 h 4036143"/>
                  <a:gd name="connsiteX282" fmla="*/ 1329095 w 5806384"/>
                  <a:gd name="connsiteY282" fmla="*/ 2411065 h 4036143"/>
                  <a:gd name="connsiteX283" fmla="*/ 1329095 w 5806384"/>
                  <a:gd name="connsiteY283" fmla="*/ 2411065 h 4036143"/>
                  <a:gd name="connsiteX284" fmla="*/ 1266783 w 5806384"/>
                  <a:gd name="connsiteY284" fmla="*/ 2571095 h 4036143"/>
                  <a:gd name="connsiteX285" fmla="*/ 1266783 w 5806384"/>
                  <a:gd name="connsiteY285" fmla="*/ 2571095 h 4036143"/>
                  <a:gd name="connsiteX286" fmla="*/ 1469299 w 5806384"/>
                  <a:gd name="connsiteY286" fmla="*/ 2735373 h 4036143"/>
                  <a:gd name="connsiteX287" fmla="*/ 1438142 w 5806384"/>
                  <a:gd name="connsiteY287" fmla="*/ 2779275 h 4036143"/>
                  <a:gd name="connsiteX288" fmla="*/ 1438142 w 5806384"/>
                  <a:gd name="connsiteY288" fmla="*/ 2779275 h 4036143"/>
                  <a:gd name="connsiteX289" fmla="*/ 1547189 w 5806384"/>
                  <a:gd name="connsiteY289" fmla="*/ 2799101 h 4036143"/>
                  <a:gd name="connsiteX290" fmla="*/ 1644906 w 5806384"/>
                  <a:gd name="connsiteY290" fmla="*/ 2878408 h 4036143"/>
                  <a:gd name="connsiteX291" fmla="*/ 1644906 w 5806384"/>
                  <a:gd name="connsiteY291" fmla="*/ 2878408 h 4036143"/>
                  <a:gd name="connsiteX292" fmla="*/ 1701554 w 5806384"/>
                  <a:gd name="connsiteY292" fmla="*/ 2876992 h 4036143"/>
                  <a:gd name="connsiteX293" fmla="*/ 1693057 w 5806384"/>
                  <a:gd name="connsiteY293" fmla="*/ 2986038 h 4036143"/>
                  <a:gd name="connsiteX294" fmla="*/ 1520281 w 5806384"/>
                  <a:gd name="connsiteY294" fmla="*/ 3005865 h 4036143"/>
                  <a:gd name="connsiteX295" fmla="*/ 1520281 w 5806384"/>
                  <a:gd name="connsiteY295" fmla="*/ 3005865 h 4036143"/>
                  <a:gd name="connsiteX296" fmla="*/ 1520281 w 5806384"/>
                  <a:gd name="connsiteY296" fmla="*/ 3007281 h 4036143"/>
                  <a:gd name="connsiteX297" fmla="*/ 1520281 w 5806384"/>
                  <a:gd name="connsiteY297" fmla="*/ 3007281 h 4036143"/>
                  <a:gd name="connsiteX298" fmla="*/ 1690224 w 5806384"/>
                  <a:gd name="connsiteY298" fmla="*/ 3018611 h 4036143"/>
                  <a:gd name="connsiteX299" fmla="*/ 1678895 w 5806384"/>
                  <a:gd name="connsiteY299" fmla="*/ 3151733 h 4036143"/>
                  <a:gd name="connsiteX300" fmla="*/ 1678895 w 5806384"/>
                  <a:gd name="connsiteY300" fmla="*/ 3151733 h 4036143"/>
                  <a:gd name="connsiteX301" fmla="*/ 1888491 w 5806384"/>
                  <a:gd name="connsiteY301" fmla="*/ 3028524 h 4036143"/>
                  <a:gd name="connsiteX302" fmla="*/ 1888491 w 5806384"/>
                  <a:gd name="connsiteY302" fmla="*/ 3028524 h 4036143"/>
                  <a:gd name="connsiteX303" fmla="*/ 1691640 w 5806384"/>
                  <a:gd name="connsiteY303" fmla="*/ 3015778 h 4036143"/>
                  <a:gd name="connsiteX304" fmla="*/ 1694473 w 5806384"/>
                  <a:gd name="connsiteY304" fmla="*/ 2987455 h 4036143"/>
                  <a:gd name="connsiteX305" fmla="*/ 1844589 w 5806384"/>
                  <a:gd name="connsiteY305" fmla="*/ 2970460 h 4036143"/>
                  <a:gd name="connsiteX306" fmla="*/ 1887075 w 5806384"/>
                  <a:gd name="connsiteY306" fmla="*/ 3027108 h 4036143"/>
                  <a:gd name="connsiteX307" fmla="*/ 1887075 w 5806384"/>
                  <a:gd name="connsiteY307" fmla="*/ 3027108 h 4036143"/>
                  <a:gd name="connsiteX308" fmla="*/ 1888491 w 5806384"/>
                  <a:gd name="connsiteY308" fmla="*/ 3025692 h 4036143"/>
                  <a:gd name="connsiteX309" fmla="*/ 1863000 w 5806384"/>
                  <a:gd name="connsiteY309" fmla="*/ 2967628 h 4036143"/>
                  <a:gd name="connsiteX310" fmla="*/ 2001786 w 5806384"/>
                  <a:gd name="connsiteY310" fmla="*/ 2952050 h 4036143"/>
                  <a:gd name="connsiteX311" fmla="*/ 2001786 w 5806384"/>
                  <a:gd name="connsiteY311" fmla="*/ 2952050 h 4036143"/>
                  <a:gd name="connsiteX312" fmla="*/ 1964966 w 5806384"/>
                  <a:gd name="connsiteY312" fmla="*/ 2801934 h 4036143"/>
                  <a:gd name="connsiteX313" fmla="*/ 2055602 w 5806384"/>
                  <a:gd name="connsiteY313" fmla="*/ 2831674 h 4036143"/>
                  <a:gd name="connsiteX314" fmla="*/ 2057018 w 5806384"/>
                  <a:gd name="connsiteY314" fmla="*/ 2831674 h 4036143"/>
                  <a:gd name="connsiteX315" fmla="*/ 1940890 w 5806384"/>
                  <a:gd name="connsiteY315" fmla="*/ 2712714 h 4036143"/>
                  <a:gd name="connsiteX316" fmla="*/ 1940890 w 5806384"/>
                  <a:gd name="connsiteY316" fmla="*/ 2712714 h 4036143"/>
                  <a:gd name="connsiteX317" fmla="*/ 1962133 w 5806384"/>
                  <a:gd name="connsiteY317" fmla="*/ 2799101 h 4036143"/>
                  <a:gd name="connsiteX318" fmla="*/ 1759618 w 5806384"/>
                  <a:gd name="connsiteY318" fmla="*/ 2732540 h 4036143"/>
                  <a:gd name="connsiteX319" fmla="*/ 1489125 w 5806384"/>
                  <a:gd name="connsiteY319" fmla="*/ 2112249 h 4036143"/>
                  <a:gd name="connsiteX320" fmla="*/ 1490541 w 5806384"/>
                  <a:gd name="connsiteY320" fmla="*/ 2112249 h 4036143"/>
                  <a:gd name="connsiteX321" fmla="*/ 1707219 w 5806384"/>
                  <a:gd name="connsiteY321" fmla="*/ 2500285 h 4036143"/>
                  <a:gd name="connsiteX322" fmla="*/ 1707219 w 5806384"/>
                  <a:gd name="connsiteY322" fmla="*/ 2500285 h 4036143"/>
                  <a:gd name="connsiteX323" fmla="*/ 1925312 w 5806384"/>
                  <a:gd name="connsiteY323" fmla="*/ 2470545 h 4036143"/>
                  <a:gd name="connsiteX324" fmla="*/ 1938058 w 5806384"/>
                  <a:gd name="connsiteY324" fmla="*/ 2481874 h 4036143"/>
                  <a:gd name="connsiteX325" fmla="*/ 1782277 w 5806384"/>
                  <a:gd name="connsiteY325" fmla="*/ 2508782 h 4036143"/>
                  <a:gd name="connsiteX326" fmla="*/ 1782277 w 5806384"/>
                  <a:gd name="connsiteY326" fmla="*/ 2508782 h 4036143"/>
                  <a:gd name="connsiteX327" fmla="*/ 2018781 w 5806384"/>
                  <a:gd name="connsiteY327" fmla="*/ 2614997 h 4036143"/>
                  <a:gd name="connsiteX328" fmla="*/ 2008867 w 5806384"/>
                  <a:gd name="connsiteY328" fmla="*/ 2671644 h 4036143"/>
                  <a:gd name="connsiteX329" fmla="*/ 2042856 w 5806384"/>
                  <a:gd name="connsiteY329" fmla="*/ 2624910 h 4036143"/>
                  <a:gd name="connsiteX330" fmla="*/ 2195805 w 5806384"/>
                  <a:gd name="connsiteY330" fmla="*/ 2694303 h 4036143"/>
                  <a:gd name="connsiteX331" fmla="*/ 2197221 w 5806384"/>
                  <a:gd name="connsiteY331" fmla="*/ 2694303 h 4036143"/>
                  <a:gd name="connsiteX332" fmla="*/ 2069764 w 5806384"/>
                  <a:gd name="connsiteY332" fmla="*/ 2586673 h 4036143"/>
                  <a:gd name="connsiteX333" fmla="*/ 2177394 w 5806384"/>
                  <a:gd name="connsiteY333" fmla="*/ 2440805 h 4036143"/>
                  <a:gd name="connsiteX334" fmla="*/ 2188724 w 5806384"/>
                  <a:gd name="connsiteY334" fmla="*/ 2439389 h 4036143"/>
                  <a:gd name="connsiteX335" fmla="*/ 2344505 w 5806384"/>
                  <a:gd name="connsiteY335" fmla="*/ 2803350 h 4036143"/>
                  <a:gd name="connsiteX336" fmla="*/ 2344505 w 5806384"/>
                  <a:gd name="connsiteY336" fmla="*/ 2803350 h 4036143"/>
                  <a:gd name="connsiteX337" fmla="*/ 2394071 w 5806384"/>
                  <a:gd name="connsiteY337" fmla="*/ 2579592 h 4036143"/>
                  <a:gd name="connsiteX338" fmla="*/ 2447887 w 5806384"/>
                  <a:gd name="connsiteY338" fmla="*/ 2617829 h 4036143"/>
                  <a:gd name="connsiteX339" fmla="*/ 2630576 w 5806384"/>
                  <a:gd name="connsiteY339" fmla="*/ 2942136 h 4036143"/>
                  <a:gd name="connsiteX340" fmla="*/ 2613581 w 5806384"/>
                  <a:gd name="connsiteY340" fmla="*/ 2998784 h 4036143"/>
                  <a:gd name="connsiteX341" fmla="*/ 2498870 w 5806384"/>
                  <a:gd name="connsiteY341" fmla="*/ 3055432 h 4036143"/>
                  <a:gd name="connsiteX342" fmla="*/ 2498870 w 5806384"/>
                  <a:gd name="connsiteY342" fmla="*/ 3055432 h 4036143"/>
                  <a:gd name="connsiteX343" fmla="*/ 2576761 w 5806384"/>
                  <a:gd name="connsiteY343" fmla="*/ 3116328 h 4036143"/>
                  <a:gd name="connsiteX344" fmla="*/ 2532858 w 5806384"/>
                  <a:gd name="connsiteY344" fmla="*/ 3257947 h 4036143"/>
                  <a:gd name="connsiteX345" fmla="*/ 2532858 w 5806384"/>
                  <a:gd name="connsiteY345" fmla="*/ 3257947 h 4036143"/>
                  <a:gd name="connsiteX346" fmla="*/ 2656067 w 5806384"/>
                  <a:gd name="connsiteY346" fmla="*/ 3174392 h 4036143"/>
                  <a:gd name="connsiteX347" fmla="*/ 2656067 w 5806384"/>
                  <a:gd name="connsiteY347" fmla="*/ 3174392 h 4036143"/>
                  <a:gd name="connsiteX348" fmla="*/ 2579592 w 5806384"/>
                  <a:gd name="connsiteY348" fmla="*/ 3114912 h 4036143"/>
                  <a:gd name="connsiteX349" fmla="*/ 2614997 w 5806384"/>
                  <a:gd name="connsiteY349" fmla="*/ 3000200 h 4036143"/>
                  <a:gd name="connsiteX350" fmla="*/ 2653234 w 5806384"/>
                  <a:gd name="connsiteY350" fmla="*/ 2981790 h 4036143"/>
                  <a:gd name="connsiteX351" fmla="*/ 2665980 w 5806384"/>
                  <a:gd name="connsiteY351" fmla="*/ 3003033 h 4036143"/>
                  <a:gd name="connsiteX352" fmla="*/ 2657483 w 5806384"/>
                  <a:gd name="connsiteY352" fmla="*/ 3405231 h 4036143"/>
                  <a:gd name="connsiteX353" fmla="*/ 2657483 w 5806384"/>
                  <a:gd name="connsiteY353" fmla="*/ 3405231 h 4036143"/>
                  <a:gd name="connsiteX354" fmla="*/ 2658899 w 5806384"/>
                  <a:gd name="connsiteY354" fmla="*/ 3405231 h 4036143"/>
                  <a:gd name="connsiteX355" fmla="*/ 2658899 w 5806384"/>
                  <a:gd name="connsiteY355" fmla="*/ 3405231 h 4036143"/>
                  <a:gd name="connsiteX356" fmla="*/ 2695720 w 5806384"/>
                  <a:gd name="connsiteY356" fmla="*/ 3051183 h 4036143"/>
                  <a:gd name="connsiteX357" fmla="*/ 2695720 w 5806384"/>
                  <a:gd name="connsiteY357" fmla="*/ 3051183 h 4036143"/>
                  <a:gd name="connsiteX358" fmla="*/ 2668813 w 5806384"/>
                  <a:gd name="connsiteY358" fmla="*/ 3001616 h 4036143"/>
                  <a:gd name="connsiteX359" fmla="*/ 2668813 w 5806384"/>
                  <a:gd name="connsiteY359" fmla="*/ 2973293 h 4036143"/>
                  <a:gd name="connsiteX360" fmla="*/ 2837339 w 5806384"/>
                  <a:gd name="connsiteY360" fmla="*/ 2888321 h 4036143"/>
                  <a:gd name="connsiteX361" fmla="*/ 2837339 w 5806384"/>
                  <a:gd name="connsiteY361" fmla="*/ 2888321 h 4036143"/>
                  <a:gd name="connsiteX362" fmla="*/ 2631991 w 5806384"/>
                  <a:gd name="connsiteY362" fmla="*/ 2742454 h 4036143"/>
                  <a:gd name="connsiteX363" fmla="*/ 2579592 w 5806384"/>
                  <a:gd name="connsiteY363" fmla="*/ 2668812 h 4036143"/>
                  <a:gd name="connsiteX364" fmla="*/ 2792021 w 5806384"/>
                  <a:gd name="connsiteY364" fmla="*/ 2728292 h 4036143"/>
                  <a:gd name="connsiteX365" fmla="*/ 2843004 w 5806384"/>
                  <a:gd name="connsiteY365" fmla="*/ 2874159 h 4036143"/>
                  <a:gd name="connsiteX366" fmla="*/ 2843004 w 5806384"/>
                  <a:gd name="connsiteY366" fmla="*/ 2874159 h 4036143"/>
                  <a:gd name="connsiteX367" fmla="*/ 2919478 w 5806384"/>
                  <a:gd name="connsiteY367" fmla="*/ 2790604 h 4036143"/>
                  <a:gd name="connsiteX368" fmla="*/ 3184306 w 5806384"/>
                  <a:gd name="connsiteY368" fmla="*/ 2991703 h 4036143"/>
                  <a:gd name="connsiteX369" fmla="*/ 3184306 w 5806384"/>
                  <a:gd name="connsiteY369" fmla="*/ 2991703 h 4036143"/>
                  <a:gd name="connsiteX370" fmla="*/ 3197052 w 5806384"/>
                  <a:gd name="connsiteY370" fmla="*/ 2980374 h 4036143"/>
                  <a:gd name="connsiteX371" fmla="*/ 3204133 w 5806384"/>
                  <a:gd name="connsiteY371" fmla="*/ 2997368 h 4036143"/>
                  <a:gd name="connsiteX372" fmla="*/ 3191387 w 5806384"/>
                  <a:gd name="connsiteY372" fmla="*/ 3004449 h 4036143"/>
                  <a:gd name="connsiteX373" fmla="*/ 3191387 w 5806384"/>
                  <a:gd name="connsiteY373" fmla="*/ 3004449 h 4036143"/>
                  <a:gd name="connsiteX374" fmla="*/ 3212630 w 5806384"/>
                  <a:gd name="connsiteY374" fmla="*/ 3017195 h 4036143"/>
                  <a:gd name="connsiteX375" fmla="*/ 3270694 w 5806384"/>
                  <a:gd name="connsiteY375" fmla="*/ 3144652 h 4036143"/>
                  <a:gd name="connsiteX376" fmla="*/ 3270694 w 5806384"/>
                  <a:gd name="connsiteY376" fmla="*/ 3144652 h 4036143"/>
                  <a:gd name="connsiteX377" fmla="*/ 3376909 w 5806384"/>
                  <a:gd name="connsiteY377" fmla="*/ 3140403 h 4036143"/>
                  <a:gd name="connsiteX378" fmla="*/ 3396735 w 5806384"/>
                  <a:gd name="connsiteY378" fmla="*/ 3242369 h 4036143"/>
                  <a:gd name="connsiteX379" fmla="*/ 3396735 w 5806384"/>
                  <a:gd name="connsiteY379" fmla="*/ 3242369 h 4036143"/>
                  <a:gd name="connsiteX380" fmla="*/ 3480290 w 5806384"/>
                  <a:gd name="connsiteY380" fmla="*/ 3165895 h 4036143"/>
                  <a:gd name="connsiteX381" fmla="*/ 3553933 w 5806384"/>
                  <a:gd name="connsiteY381" fmla="*/ 3206964 h 4036143"/>
                  <a:gd name="connsiteX382" fmla="*/ 3430724 w 5806384"/>
                  <a:gd name="connsiteY382" fmla="*/ 3306097 h 4036143"/>
                  <a:gd name="connsiteX383" fmla="*/ 3277775 w 5806384"/>
                  <a:gd name="connsiteY383" fmla="*/ 3231040 h 4036143"/>
                  <a:gd name="connsiteX384" fmla="*/ 3277775 w 5806384"/>
                  <a:gd name="connsiteY384" fmla="*/ 3231040 h 4036143"/>
                  <a:gd name="connsiteX385" fmla="*/ 3248035 w 5806384"/>
                  <a:gd name="connsiteY385" fmla="*/ 3364161 h 4036143"/>
                  <a:gd name="connsiteX386" fmla="*/ 3248035 w 5806384"/>
                  <a:gd name="connsiteY386" fmla="*/ 3364161 h 4036143"/>
                  <a:gd name="connsiteX387" fmla="*/ 3311763 w 5806384"/>
                  <a:gd name="connsiteY387" fmla="*/ 3500116 h 4036143"/>
                  <a:gd name="connsiteX388" fmla="*/ 3154566 w 5806384"/>
                  <a:gd name="connsiteY388" fmla="*/ 3464711 h 4036143"/>
                  <a:gd name="connsiteX389" fmla="*/ 3153150 w 5806384"/>
                  <a:gd name="connsiteY389" fmla="*/ 3464711 h 4036143"/>
                  <a:gd name="connsiteX390" fmla="*/ 3257948 w 5806384"/>
                  <a:gd name="connsiteY390" fmla="*/ 3525607 h 4036143"/>
                  <a:gd name="connsiteX391" fmla="*/ 3226792 w 5806384"/>
                  <a:gd name="connsiteY391" fmla="*/ 3538353 h 4036143"/>
                  <a:gd name="connsiteX392" fmla="*/ 3226792 w 5806384"/>
                  <a:gd name="connsiteY392" fmla="*/ 3538353 h 4036143"/>
                  <a:gd name="connsiteX393" fmla="*/ 3357082 w 5806384"/>
                  <a:gd name="connsiteY393" fmla="*/ 3718209 h 4036143"/>
                  <a:gd name="connsiteX394" fmla="*/ 3357082 w 5806384"/>
                  <a:gd name="connsiteY394" fmla="*/ 3718209 h 4036143"/>
                  <a:gd name="connsiteX395" fmla="*/ 3358497 w 5806384"/>
                  <a:gd name="connsiteY395" fmla="*/ 3510029 h 4036143"/>
                  <a:gd name="connsiteX396" fmla="*/ 3358497 w 5806384"/>
                  <a:gd name="connsiteY396" fmla="*/ 3510029 h 4036143"/>
                  <a:gd name="connsiteX397" fmla="*/ 3320261 w 5806384"/>
                  <a:gd name="connsiteY397" fmla="*/ 3501532 h 4036143"/>
                  <a:gd name="connsiteX398" fmla="*/ 3372659 w 5806384"/>
                  <a:gd name="connsiteY398" fmla="*/ 3480289 h 4036143"/>
                  <a:gd name="connsiteX399" fmla="*/ 3386821 w 5806384"/>
                  <a:gd name="connsiteY399" fmla="*/ 3749365 h 4036143"/>
                  <a:gd name="connsiteX400" fmla="*/ 3265029 w 5806384"/>
                  <a:gd name="connsiteY400" fmla="*/ 3660145 h 4036143"/>
                  <a:gd name="connsiteX401" fmla="*/ 3263613 w 5806384"/>
                  <a:gd name="connsiteY401" fmla="*/ 3660145 h 4036143"/>
                  <a:gd name="connsiteX402" fmla="*/ 3337255 w 5806384"/>
                  <a:gd name="connsiteY402" fmla="*/ 3781938 h 4036143"/>
                  <a:gd name="connsiteX403" fmla="*/ 3300434 w 5806384"/>
                  <a:gd name="connsiteY403" fmla="*/ 3763527 h 4036143"/>
                  <a:gd name="connsiteX404" fmla="*/ 3300434 w 5806384"/>
                  <a:gd name="connsiteY404" fmla="*/ 3763527 h 4036143"/>
                  <a:gd name="connsiteX405" fmla="*/ 3299018 w 5806384"/>
                  <a:gd name="connsiteY405" fmla="*/ 3764943 h 4036143"/>
                  <a:gd name="connsiteX406" fmla="*/ 3351416 w 5806384"/>
                  <a:gd name="connsiteY406" fmla="*/ 3806013 h 4036143"/>
                  <a:gd name="connsiteX407" fmla="*/ 3393902 w 5806384"/>
                  <a:gd name="connsiteY407" fmla="*/ 3875406 h 4036143"/>
                  <a:gd name="connsiteX408" fmla="*/ 3393902 w 5806384"/>
                  <a:gd name="connsiteY408" fmla="*/ 3876823 h 4036143"/>
                  <a:gd name="connsiteX409" fmla="*/ 3392486 w 5806384"/>
                  <a:gd name="connsiteY409" fmla="*/ 3838585 h 4036143"/>
                  <a:gd name="connsiteX410" fmla="*/ 3555348 w 5806384"/>
                  <a:gd name="connsiteY410" fmla="*/ 3964626 h 4036143"/>
                  <a:gd name="connsiteX411" fmla="*/ 3555348 w 5806384"/>
                  <a:gd name="connsiteY411" fmla="*/ 3964626 h 4036143"/>
                  <a:gd name="connsiteX412" fmla="*/ 3570926 w 5806384"/>
                  <a:gd name="connsiteY412" fmla="*/ 3905146 h 4036143"/>
                  <a:gd name="connsiteX413" fmla="*/ 3637487 w 5806384"/>
                  <a:gd name="connsiteY413" fmla="*/ 3939135 h 4036143"/>
                  <a:gd name="connsiteX414" fmla="*/ 3637487 w 5806384"/>
                  <a:gd name="connsiteY414" fmla="*/ 3939135 h 4036143"/>
                  <a:gd name="connsiteX415" fmla="*/ 3638904 w 5806384"/>
                  <a:gd name="connsiteY415" fmla="*/ 3937719 h 4036143"/>
                  <a:gd name="connsiteX416" fmla="*/ 3638904 w 5806384"/>
                  <a:gd name="connsiteY416" fmla="*/ 3937719 h 4036143"/>
                  <a:gd name="connsiteX417" fmla="*/ 3575175 w 5806384"/>
                  <a:gd name="connsiteY417" fmla="*/ 3890985 h 4036143"/>
                  <a:gd name="connsiteX418" fmla="*/ 3647401 w 5806384"/>
                  <a:gd name="connsiteY418" fmla="*/ 3619076 h 4036143"/>
                  <a:gd name="connsiteX419" fmla="*/ 3772026 w 5806384"/>
                  <a:gd name="connsiteY419" fmla="*/ 3688469 h 4036143"/>
                  <a:gd name="connsiteX420" fmla="*/ 3772026 w 5806384"/>
                  <a:gd name="connsiteY420" fmla="*/ 3688469 h 4036143"/>
                  <a:gd name="connsiteX421" fmla="*/ 3783355 w 5806384"/>
                  <a:gd name="connsiteY421" fmla="*/ 3453381 h 4036143"/>
                  <a:gd name="connsiteX422" fmla="*/ 3896650 w 5806384"/>
                  <a:gd name="connsiteY422" fmla="*/ 3772024 h 4036143"/>
                  <a:gd name="connsiteX423" fmla="*/ 3756448 w 5806384"/>
                  <a:gd name="connsiteY423" fmla="*/ 3759279 h 4036143"/>
                  <a:gd name="connsiteX424" fmla="*/ 3781939 w 5806384"/>
                  <a:gd name="connsiteY424" fmla="*/ 3691302 h 4036143"/>
                  <a:gd name="connsiteX425" fmla="*/ 3781939 w 5806384"/>
                  <a:gd name="connsiteY425" fmla="*/ 3691302 h 4036143"/>
                  <a:gd name="connsiteX426" fmla="*/ 3660147 w 5806384"/>
                  <a:gd name="connsiteY426" fmla="*/ 3753614 h 4036143"/>
                  <a:gd name="connsiteX427" fmla="*/ 3660147 w 5806384"/>
                  <a:gd name="connsiteY427" fmla="*/ 3753614 h 4036143"/>
                  <a:gd name="connsiteX428" fmla="*/ 3755031 w 5806384"/>
                  <a:gd name="connsiteY428" fmla="*/ 3762111 h 4036143"/>
                  <a:gd name="connsiteX429" fmla="*/ 3739453 w 5806384"/>
                  <a:gd name="connsiteY429" fmla="*/ 3803181 h 4036143"/>
                  <a:gd name="connsiteX430" fmla="*/ 3739453 w 5806384"/>
                  <a:gd name="connsiteY430" fmla="*/ 3803181 h 4036143"/>
                  <a:gd name="connsiteX431" fmla="*/ 3929223 w 5806384"/>
                  <a:gd name="connsiteY431" fmla="*/ 3837169 h 4036143"/>
                  <a:gd name="connsiteX432" fmla="*/ 3929223 w 5806384"/>
                  <a:gd name="connsiteY432" fmla="*/ 3837169 h 4036143"/>
                  <a:gd name="connsiteX433" fmla="*/ 4247866 w 5806384"/>
                  <a:gd name="connsiteY433" fmla="*/ 3749365 h 4036143"/>
                  <a:gd name="connsiteX434" fmla="*/ 4379572 w 5806384"/>
                  <a:gd name="connsiteY434" fmla="*/ 3804597 h 4036143"/>
                  <a:gd name="connsiteX435" fmla="*/ 4352664 w 5806384"/>
                  <a:gd name="connsiteY435" fmla="*/ 3815926 h 4036143"/>
                  <a:gd name="connsiteX436" fmla="*/ 4424890 w 5806384"/>
                  <a:gd name="connsiteY436" fmla="*/ 3823007 h 4036143"/>
                  <a:gd name="connsiteX437" fmla="*/ 4464544 w 5806384"/>
                  <a:gd name="connsiteY437" fmla="*/ 3840002 h 4036143"/>
                  <a:gd name="connsiteX438" fmla="*/ 4471625 w 5806384"/>
                  <a:gd name="connsiteY438" fmla="*/ 3848499 h 4036143"/>
                  <a:gd name="connsiteX439" fmla="*/ 4348416 w 5806384"/>
                  <a:gd name="connsiteY439" fmla="*/ 3838585 h 4036143"/>
                  <a:gd name="connsiteX440" fmla="*/ 4347000 w 5806384"/>
                  <a:gd name="connsiteY440" fmla="*/ 3838585 h 4036143"/>
                  <a:gd name="connsiteX441" fmla="*/ 4516943 w 5806384"/>
                  <a:gd name="connsiteY441" fmla="*/ 3902314 h 4036143"/>
                  <a:gd name="connsiteX442" fmla="*/ 4536769 w 5806384"/>
                  <a:gd name="connsiteY442" fmla="*/ 3924973 h 4036143"/>
                  <a:gd name="connsiteX443" fmla="*/ 4440468 w 5806384"/>
                  <a:gd name="connsiteY443" fmla="*/ 3967459 h 4036143"/>
                  <a:gd name="connsiteX444" fmla="*/ 4440468 w 5806384"/>
                  <a:gd name="connsiteY444" fmla="*/ 3967459 h 4036143"/>
                  <a:gd name="connsiteX445" fmla="*/ 4586336 w 5806384"/>
                  <a:gd name="connsiteY445" fmla="*/ 3995783 h 4036143"/>
                  <a:gd name="connsiteX446" fmla="*/ 4586336 w 5806384"/>
                  <a:gd name="connsiteY446" fmla="*/ 3995783 h 4036143"/>
                  <a:gd name="connsiteX447" fmla="*/ 4709544 w 5806384"/>
                  <a:gd name="connsiteY447" fmla="*/ 3971707 h 4036143"/>
                  <a:gd name="connsiteX448" fmla="*/ 4710960 w 5806384"/>
                  <a:gd name="connsiteY448" fmla="*/ 3971707 h 4036143"/>
                  <a:gd name="connsiteX449" fmla="*/ 4519775 w 5806384"/>
                  <a:gd name="connsiteY449" fmla="*/ 3899481 h 4036143"/>
                  <a:gd name="connsiteX450" fmla="*/ 4477289 w 5806384"/>
                  <a:gd name="connsiteY450" fmla="*/ 3849915 h 4036143"/>
                  <a:gd name="connsiteX451" fmla="*/ 4501364 w 5806384"/>
                  <a:gd name="connsiteY451" fmla="*/ 3851331 h 4036143"/>
                  <a:gd name="connsiteX452" fmla="*/ 4467376 w 5806384"/>
                  <a:gd name="connsiteY452" fmla="*/ 3837169 h 4036143"/>
                  <a:gd name="connsiteX453" fmla="*/ 4457463 w 5806384"/>
                  <a:gd name="connsiteY453" fmla="*/ 3825840 h 4036143"/>
                  <a:gd name="connsiteX454" fmla="*/ 4841250 w 5806384"/>
                  <a:gd name="connsiteY454" fmla="*/ 3862661 h 4036143"/>
                  <a:gd name="connsiteX455" fmla="*/ 4987118 w 5806384"/>
                  <a:gd name="connsiteY455" fmla="*/ 3964626 h 4036143"/>
                  <a:gd name="connsiteX456" fmla="*/ 5087668 w 5806384"/>
                  <a:gd name="connsiteY456" fmla="*/ 4029771 h 4036143"/>
                  <a:gd name="connsiteX457" fmla="*/ 5087668 w 5806384"/>
                  <a:gd name="connsiteY457" fmla="*/ 4029771 h 4036143"/>
                  <a:gd name="connsiteX458" fmla="*/ 5089084 w 5806384"/>
                  <a:gd name="connsiteY458" fmla="*/ 4028355 h 4036143"/>
                  <a:gd name="connsiteX459" fmla="*/ 4985702 w 5806384"/>
                  <a:gd name="connsiteY459" fmla="*/ 3958962 h 4036143"/>
                  <a:gd name="connsiteX460" fmla="*/ 4839834 w 5806384"/>
                  <a:gd name="connsiteY460" fmla="*/ 3856996 h 4036143"/>
                  <a:gd name="connsiteX461" fmla="*/ 4453214 w 5806384"/>
                  <a:gd name="connsiteY461" fmla="*/ 3820175 h 4036143"/>
                  <a:gd name="connsiteX462" fmla="*/ 4422058 w 5806384"/>
                  <a:gd name="connsiteY462" fmla="*/ 3783354 h 4036143"/>
                  <a:gd name="connsiteX463" fmla="*/ 4422058 w 5806384"/>
                  <a:gd name="connsiteY463" fmla="*/ 3783354 h 4036143"/>
                  <a:gd name="connsiteX464" fmla="*/ 4382405 w 5806384"/>
                  <a:gd name="connsiteY464" fmla="*/ 3800348 h 4036143"/>
                  <a:gd name="connsiteX465" fmla="*/ 4247866 w 5806384"/>
                  <a:gd name="connsiteY465" fmla="*/ 3745117 h 4036143"/>
                  <a:gd name="connsiteX466" fmla="*/ 4247866 w 5806384"/>
                  <a:gd name="connsiteY466" fmla="*/ 3745117 h 4036143"/>
                  <a:gd name="connsiteX467" fmla="*/ 3929223 w 5806384"/>
                  <a:gd name="connsiteY467" fmla="*/ 3832921 h 4036143"/>
                  <a:gd name="connsiteX468" fmla="*/ 3742286 w 5806384"/>
                  <a:gd name="connsiteY468" fmla="*/ 3800348 h 4036143"/>
                  <a:gd name="connsiteX469" fmla="*/ 3756448 w 5806384"/>
                  <a:gd name="connsiteY469" fmla="*/ 3760695 h 4036143"/>
                  <a:gd name="connsiteX470" fmla="*/ 3899483 w 5806384"/>
                  <a:gd name="connsiteY470" fmla="*/ 3773440 h 4036143"/>
                  <a:gd name="connsiteX471" fmla="*/ 3899483 w 5806384"/>
                  <a:gd name="connsiteY471" fmla="*/ 3773440 h 4036143"/>
                  <a:gd name="connsiteX472" fmla="*/ 3781939 w 5806384"/>
                  <a:gd name="connsiteY472" fmla="*/ 3442052 h 4036143"/>
                  <a:gd name="connsiteX473" fmla="*/ 3781939 w 5806384"/>
                  <a:gd name="connsiteY473" fmla="*/ 3440636 h 4036143"/>
                  <a:gd name="connsiteX474" fmla="*/ 3770610 w 5806384"/>
                  <a:gd name="connsiteY474" fmla="*/ 3682804 h 4036143"/>
                  <a:gd name="connsiteX475" fmla="*/ 3647401 w 5806384"/>
                  <a:gd name="connsiteY475" fmla="*/ 3614827 h 4036143"/>
                  <a:gd name="connsiteX476" fmla="*/ 3647401 w 5806384"/>
                  <a:gd name="connsiteY476" fmla="*/ 3614827 h 4036143"/>
                  <a:gd name="connsiteX477" fmla="*/ 3575175 w 5806384"/>
                  <a:gd name="connsiteY477" fmla="*/ 3888152 h 4036143"/>
                  <a:gd name="connsiteX478" fmla="*/ 3389654 w 5806384"/>
                  <a:gd name="connsiteY478" fmla="*/ 3752198 h 4036143"/>
                  <a:gd name="connsiteX479" fmla="*/ 3375492 w 5806384"/>
                  <a:gd name="connsiteY479" fmla="*/ 3478873 h 4036143"/>
                  <a:gd name="connsiteX480" fmla="*/ 3375492 w 5806384"/>
                  <a:gd name="connsiteY480" fmla="*/ 3478873 h 4036143"/>
                  <a:gd name="connsiteX481" fmla="*/ 3318844 w 5806384"/>
                  <a:gd name="connsiteY481" fmla="*/ 3502948 h 4036143"/>
                  <a:gd name="connsiteX482" fmla="*/ 3317428 w 5806384"/>
                  <a:gd name="connsiteY482" fmla="*/ 3502948 h 4036143"/>
                  <a:gd name="connsiteX483" fmla="*/ 3252283 w 5806384"/>
                  <a:gd name="connsiteY483" fmla="*/ 3366994 h 4036143"/>
                  <a:gd name="connsiteX484" fmla="*/ 3280607 w 5806384"/>
                  <a:gd name="connsiteY484" fmla="*/ 3236704 h 4036143"/>
                  <a:gd name="connsiteX485" fmla="*/ 3432140 w 5806384"/>
                  <a:gd name="connsiteY485" fmla="*/ 3310346 h 4036143"/>
                  <a:gd name="connsiteX486" fmla="*/ 3432140 w 5806384"/>
                  <a:gd name="connsiteY486" fmla="*/ 3310346 h 4036143"/>
                  <a:gd name="connsiteX487" fmla="*/ 3558181 w 5806384"/>
                  <a:gd name="connsiteY487" fmla="*/ 3209797 h 4036143"/>
                  <a:gd name="connsiteX488" fmla="*/ 3558181 w 5806384"/>
                  <a:gd name="connsiteY488" fmla="*/ 3209797 h 4036143"/>
                  <a:gd name="connsiteX489" fmla="*/ 3483123 w 5806384"/>
                  <a:gd name="connsiteY489" fmla="*/ 3167311 h 4036143"/>
                  <a:gd name="connsiteX490" fmla="*/ 3517111 w 5806384"/>
                  <a:gd name="connsiteY490" fmla="*/ 3136155 h 4036143"/>
                  <a:gd name="connsiteX491" fmla="*/ 3432140 w 5806384"/>
                  <a:gd name="connsiteY491" fmla="*/ 3138987 h 4036143"/>
                  <a:gd name="connsiteX492" fmla="*/ 3372659 w 5806384"/>
                  <a:gd name="connsiteY492" fmla="*/ 3106415 h 4036143"/>
                  <a:gd name="connsiteX493" fmla="*/ 3342920 w 5806384"/>
                  <a:gd name="connsiteY493" fmla="*/ 2954882 h 4036143"/>
                  <a:gd name="connsiteX494" fmla="*/ 3450550 w 5806384"/>
                  <a:gd name="connsiteY494" fmla="*/ 3005865 h 4036143"/>
                  <a:gd name="connsiteX495" fmla="*/ 3450550 w 5806384"/>
                  <a:gd name="connsiteY495" fmla="*/ 3005865 h 4036143"/>
                  <a:gd name="connsiteX496" fmla="*/ 3434972 w 5806384"/>
                  <a:gd name="connsiteY496" fmla="*/ 2888321 h 4036143"/>
                  <a:gd name="connsiteX497" fmla="*/ 3696968 w 5806384"/>
                  <a:gd name="connsiteY497" fmla="*/ 2756616 h 4036143"/>
                  <a:gd name="connsiteX498" fmla="*/ 3696968 w 5806384"/>
                  <a:gd name="connsiteY498" fmla="*/ 2756616 h 4036143"/>
                  <a:gd name="connsiteX499" fmla="*/ 3621910 w 5806384"/>
                  <a:gd name="connsiteY499" fmla="*/ 2718378 h 4036143"/>
                  <a:gd name="connsiteX500" fmla="*/ 3779106 w 5806384"/>
                  <a:gd name="connsiteY500" fmla="*/ 2347336 h 4036143"/>
                  <a:gd name="connsiteX501" fmla="*/ 3779106 w 5806384"/>
                  <a:gd name="connsiteY501" fmla="*/ 2347336 h 4036143"/>
                  <a:gd name="connsiteX502" fmla="*/ 3745118 w 5806384"/>
                  <a:gd name="connsiteY502" fmla="*/ 2072595 h 4036143"/>
                  <a:gd name="connsiteX503" fmla="*/ 3823009 w 5806384"/>
                  <a:gd name="connsiteY503" fmla="*/ 2102335 h 4036143"/>
                  <a:gd name="connsiteX504" fmla="*/ 3823009 w 5806384"/>
                  <a:gd name="connsiteY504" fmla="*/ 2102335 h 4036143"/>
                  <a:gd name="connsiteX505" fmla="*/ 3865495 w 5806384"/>
                  <a:gd name="connsiteY505" fmla="*/ 1969213 h 4036143"/>
                  <a:gd name="connsiteX506" fmla="*/ 4045350 w 5806384"/>
                  <a:gd name="connsiteY506" fmla="*/ 2074011 h 4036143"/>
                  <a:gd name="connsiteX507" fmla="*/ 4046767 w 5806384"/>
                  <a:gd name="connsiteY507" fmla="*/ 2074011 h 4036143"/>
                  <a:gd name="connsiteX508" fmla="*/ 3889569 w 5806384"/>
                  <a:gd name="connsiteY508" fmla="*/ 1891323 h 4036143"/>
                  <a:gd name="connsiteX509" fmla="*/ 3933472 w 5806384"/>
                  <a:gd name="connsiteY509" fmla="*/ 1752536 h 4036143"/>
                  <a:gd name="connsiteX510" fmla="*/ 4086420 w 5806384"/>
                  <a:gd name="connsiteY510" fmla="*/ 1710050 h 4036143"/>
                  <a:gd name="connsiteX511" fmla="*/ 4235120 w 5806384"/>
                  <a:gd name="connsiteY511" fmla="*/ 1786525 h 4036143"/>
                  <a:gd name="connsiteX512" fmla="*/ 4195467 w 5806384"/>
                  <a:gd name="connsiteY512" fmla="*/ 1974878 h 4036143"/>
                  <a:gd name="connsiteX513" fmla="*/ 4195467 w 5806384"/>
                  <a:gd name="connsiteY513" fmla="*/ 1974878 h 4036143"/>
                  <a:gd name="connsiteX514" fmla="*/ 4390901 w 5806384"/>
                  <a:gd name="connsiteY514" fmla="*/ 1862999 h 4036143"/>
                  <a:gd name="connsiteX515" fmla="*/ 4390901 w 5806384"/>
                  <a:gd name="connsiteY515" fmla="*/ 1862999 h 4036143"/>
                  <a:gd name="connsiteX516" fmla="*/ 4243617 w 5806384"/>
                  <a:gd name="connsiteY516" fmla="*/ 1786525 h 4036143"/>
                  <a:gd name="connsiteX517" fmla="*/ 4270525 w 5806384"/>
                  <a:gd name="connsiteY517" fmla="*/ 1661900 h 4036143"/>
                  <a:gd name="connsiteX518" fmla="*/ 4407896 w 5806384"/>
                  <a:gd name="connsiteY518" fmla="*/ 1625079 h 4036143"/>
                  <a:gd name="connsiteX519" fmla="*/ 4407896 w 5806384"/>
                  <a:gd name="connsiteY519" fmla="*/ 1625079 h 4036143"/>
                  <a:gd name="connsiteX520" fmla="*/ 4274774 w 5806384"/>
                  <a:gd name="connsiteY520" fmla="*/ 1354587 h 4036143"/>
                  <a:gd name="connsiteX521" fmla="*/ 4480121 w 5806384"/>
                  <a:gd name="connsiteY521" fmla="*/ 1273864 h 4036143"/>
                  <a:gd name="connsiteX522" fmla="*/ 4480121 w 5806384"/>
                  <a:gd name="connsiteY522" fmla="*/ 1273864 h 4036143"/>
                  <a:gd name="connsiteX523" fmla="*/ 4478705 w 5806384"/>
                  <a:gd name="connsiteY523" fmla="*/ 1261118 h 4036143"/>
                  <a:gd name="connsiteX524" fmla="*/ 4777522 w 5806384"/>
                  <a:gd name="connsiteY524" fmla="*/ 1191725 h 4036143"/>
                  <a:gd name="connsiteX525" fmla="*/ 4984286 w 5806384"/>
                  <a:gd name="connsiteY525" fmla="*/ 970799 h 4036143"/>
                  <a:gd name="connsiteX526" fmla="*/ 5267524 w 5806384"/>
                  <a:gd name="connsiteY526" fmla="*/ 1129412 h 4036143"/>
                  <a:gd name="connsiteX527" fmla="*/ 5149980 w 5806384"/>
                  <a:gd name="connsiteY527" fmla="*/ 1232794 h 4036143"/>
                  <a:gd name="connsiteX528" fmla="*/ 5040934 w 5806384"/>
                  <a:gd name="connsiteY528" fmla="*/ 1307852 h 4036143"/>
                  <a:gd name="connsiteX529" fmla="*/ 5040934 w 5806384"/>
                  <a:gd name="connsiteY529" fmla="*/ 1307852 h 4036143"/>
                  <a:gd name="connsiteX530" fmla="*/ 5113159 w 5806384"/>
                  <a:gd name="connsiteY530" fmla="*/ 1416899 h 4036143"/>
                  <a:gd name="connsiteX531" fmla="*/ 5021107 w 5806384"/>
                  <a:gd name="connsiteY531" fmla="*/ 1585426 h 4036143"/>
                  <a:gd name="connsiteX532" fmla="*/ 4934719 w 5806384"/>
                  <a:gd name="connsiteY532" fmla="*/ 1693056 h 4036143"/>
                  <a:gd name="connsiteX533" fmla="*/ 4844083 w 5806384"/>
                  <a:gd name="connsiteY533" fmla="*/ 1821930 h 4036143"/>
                  <a:gd name="connsiteX534" fmla="*/ 4784602 w 5806384"/>
                  <a:gd name="connsiteY534" fmla="*/ 1879993 h 4036143"/>
                  <a:gd name="connsiteX535" fmla="*/ 4784602 w 5806384"/>
                  <a:gd name="connsiteY535" fmla="*/ 1879993 h 4036143"/>
                  <a:gd name="connsiteX536" fmla="*/ 4786019 w 5806384"/>
                  <a:gd name="connsiteY536" fmla="*/ 1881410 h 4036143"/>
                  <a:gd name="connsiteX537" fmla="*/ 4786019 w 5806384"/>
                  <a:gd name="connsiteY537" fmla="*/ 1881410 h 4036143"/>
                  <a:gd name="connsiteX538" fmla="*/ 4845499 w 5806384"/>
                  <a:gd name="connsiteY538" fmla="*/ 1823346 h 4036143"/>
                  <a:gd name="connsiteX539" fmla="*/ 4937551 w 5806384"/>
                  <a:gd name="connsiteY539" fmla="*/ 1693056 h 4036143"/>
                  <a:gd name="connsiteX540" fmla="*/ 5023939 w 5806384"/>
                  <a:gd name="connsiteY540" fmla="*/ 1585426 h 4036143"/>
                  <a:gd name="connsiteX541" fmla="*/ 5115992 w 5806384"/>
                  <a:gd name="connsiteY541" fmla="*/ 1416899 h 4036143"/>
                  <a:gd name="connsiteX542" fmla="*/ 5115992 w 5806384"/>
                  <a:gd name="connsiteY542" fmla="*/ 1416899 h 4036143"/>
                  <a:gd name="connsiteX543" fmla="*/ 5045182 w 5806384"/>
                  <a:gd name="connsiteY543" fmla="*/ 1309268 h 4036143"/>
                  <a:gd name="connsiteX544" fmla="*/ 5152812 w 5806384"/>
                  <a:gd name="connsiteY544" fmla="*/ 1235626 h 4036143"/>
                  <a:gd name="connsiteX545" fmla="*/ 5271773 w 5806384"/>
                  <a:gd name="connsiteY545" fmla="*/ 1130828 h 4036143"/>
                  <a:gd name="connsiteX546" fmla="*/ 5271773 w 5806384"/>
                  <a:gd name="connsiteY546" fmla="*/ 1130828 h 4036143"/>
                  <a:gd name="connsiteX547" fmla="*/ 4984286 w 5806384"/>
                  <a:gd name="connsiteY547" fmla="*/ 969383 h 4036143"/>
                  <a:gd name="connsiteX548" fmla="*/ 4984286 w 5806384"/>
                  <a:gd name="connsiteY548" fmla="*/ 969383 h 4036143"/>
                  <a:gd name="connsiteX549" fmla="*/ 4776106 w 5806384"/>
                  <a:gd name="connsiteY549" fmla="*/ 1188892 h 4036143"/>
                  <a:gd name="connsiteX550" fmla="*/ 4477289 w 5806384"/>
                  <a:gd name="connsiteY550" fmla="*/ 1258286 h 4036143"/>
                  <a:gd name="connsiteX551" fmla="*/ 4458878 w 5806384"/>
                  <a:gd name="connsiteY551" fmla="*/ 1115250 h 4036143"/>
                  <a:gd name="connsiteX552" fmla="*/ 4542434 w 5806384"/>
                  <a:gd name="connsiteY552" fmla="*/ 980712 h 4036143"/>
                  <a:gd name="connsiteX553" fmla="*/ 4618908 w 5806384"/>
                  <a:gd name="connsiteY553" fmla="*/ 956637 h 4036143"/>
                  <a:gd name="connsiteX554" fmla="*/ 4771857 w 5806384"/>
                  <a:gd name="connsiteY554" fmla="*/ 1108169 h 4036143"/>
                  <a:gd name="connsiteX555" fmla="*/ 4771857 w 5806384"/>
                  <a:gd name="connsiteY555" fmla="*/ 1108169 h 4036143"/>
                  <a:gd name="connsiteX556" fmla="*/ 5084835 w 5806384"/>
                  <a:gd name="connsiteY556" fmla="*/ 892908 h 4036143"/>
                  <a:gd name="connsiteX557" fmla="*/ 5264692 w 5806384"/>
                  <a:gd name="connsiteY557" fmla="*/ 993458 h 4036143"/>
                  <a:gd name="connsiteX558" fmla="*/ 5264692 w 5806384"/>
                  <a:gd name="connsiteY558" fmla="*/ 993458 h 4036143"/>
                  <a:gd name="connsiteX559" fmla="*/ 5271773 w 5806384"/>
                  <a:gd name="connsiteY559" fmla="*/ 982128 h 4036143"/>
                  <a:gd name="connsiteX560" fmla="*/ 5355327 w 5806384"/>
                  <a:gd name="connsiteY560" fmla="*/ 1030279 h 4036143"/>
                  <a:gd name="connsiteX561" fmla="*/ 5277437 w 5806384"/>
                  <a:gd name="connsiteY561" fmla="*/ 1147823 h 4036143"/>
                  <a:gd name="connsiteX562" fmla="*/ 5277437 w 5806384"/>
                  <a:gd name="connsiteY562" fmla="*/ 1149239 h 4036143"/>
                  <a:gd name="connsiteX563" fmla="*/ 5404894 w 5806384"/>
                  <a:gd name="connsiteY563" fmla="*/ 1057186 h 4036143"/>
                  <a:gd name="connsiteX564" fmla="*/ 5404894 w 5806384"/>
                  <a:gd name="connsiteY564" fmla="*/ 1057186 h 4036143"/>
                  <a:gd name="connsiteX565" fmla="*/ 5358160 w 5806384"/>
                  <a:gd name="connsiteY565" fmla="*/ 1030279 h 4036143"/>
                  <a:gd name="connsiteX566" fmla="*/ 5411975 w 5806384"/>
                  <a:gd name="connsiteY566" fmla="*/ 949556 h 4036143"/>
                  <a:gd name="connsiteX567" fmla="*/ 5489866 w 5806384"/>
                  <a:gd name="connsiteY567" fmla="*/ 1043025 h 4036143"/>
                  <a:gd name="connsiteX568" fmla="*/ 5489866 w 5806384"/>
                  <a:gd name="connsiteY568" fmla="*/ 1043025 h 4036143"/>
                  <a:gd name="connsiteX569" fmla="*/ 5706544 w 5806384"/>
                  <a:gd name="connsiteY569" fmla="*/ 803688 h 4036143"/>
                  <a:gd name="connsiteX570" fmla="*/ 5804260 w 5806384"/>
                  <a:gd name="connsiteY570" fmla="*/ 929729 h 4036143"/>
                  <a:gd name="connsiteX571" fmla="*/ 5804260 w 5806384"/>
                  <a:gd name="connsiteY571" fmla="*/ 929729 h 4036143"/>
                  <a:gd name="connsiteX572" fmla="*/ 5805677 w 5806384"/>
                  <a:gd name="connsiteY572" fmla="*/ 928313 h 4036143"/>
                  <a:gd name="connsiteX573" fmla="*/ 5805677 w 5806384"/>
                  <a:gd name="connsiteY573" fmla="*/ 928313 h 4036143"/>
                  <a:gd name="connsiteX574" fmla="*/ 5707959 w 5806384"/>
                  <a:gd name="connsiteY574" fmla="*/ 799440 h 4036143"/>
                  <a:gd name="connsiteX575" fmla="*/ 3376909 w 5806384"/>
                  <a:gd name="connsiteY575" fmla="*/ 3106415 h 4036143"/>
                  <a:gd name="connsiteX576" fmla="*/ 3432140 w 5806384"/>
                  <a:gd name="connsiteY576" fmla="*/ 3137571 h 4036143"/>
                  <a:gd name="connsiteX577" fmla="*/ 3383990 w 5806384"/>
                  <a:gd name="connsiteY577" fmla="*/ 3138987 h 4036143"/>
                  <a:gd name="connsiteX578" fmla="*/ 3376909 w 5806384"/>
                  <a:gd name="connsiteY578" fmla="*/ 3106415 h 4036143"/>
                  <a:gd name="connsiteX579" fmla="*/ 3402400 w 5806384"/>
                  <a:gd name="connsiteY579" fmla="*/ 3239537 h 4036143"/>
                  <a:gd name="connsiteX580" fmla="*/ 3382573 w 5806384"/>
                  <a:gd name="connsiteY580" fmla="*/ 3141819 h 4036143"/>
                  <a:gd name="connsiteX581" fmla="*/ 3434972 w 5806384"/>
                  <a:gd name="connsiteY581" fmla="*/ 3140403 h 4036143"/>
                  <a:gd name="connsiteX582" fmla="*/ 3483123 w 5806384"/>
                  <a:gd name="connsiteY582" fmla="*/ 3167311 h 4036143"/>
                  <a:gd name="connsiteX583" fmla="*/ 3402400 w 5806384"/>
                  <a:gd name="connsiteY583" fmla="*/ 3239537 h 4036143"/>
                  <a:gd name="connsiteX584" fmla="*/ 3439221 w 5806384"/>
                  <a:gd name="connsiteY584" fmla="*/ 3138987 h 4036143"/>
                  <a:gd name="connsiteX585" fmla="*/ 3514279 w 5806384"/>
                  <a:gd name="connsiteY585" fmla="*/ 3136155 h 4036143"/>
                  <a:gd name="connsiteX586" fmla="*/ 3483123 w 5806384"/>
                  <a:gd name="connsiteY586" fmla="*/ 3164478 h 4036143"/>
                  <a:gd name="connsiteX587" fmla="*/ 3439221 w 5806384"/>
                  <a:gd name="connsiteY587" fmla="*/ 3138987 h 4036143"/>
                  <a:gd name="connsiteX588" fmla="*/ 2505951 w 5806384"/>
                  <a:gd name="connsiteY588" fmla="*/ 3059680 h 4036143"/>
                  <a:gd name="connsiteX589" fmla="*/ 2614997 w 5806384"/>
                  <a:gd name="connsiteY589" fmla="*/ 3004449 h 4036143"/>
                  <a:gd name="connsiteX590" fmla="*/ 2579592 w 5806384"/>
                  <a:gd name="connsiteY590" fmla="*/ 3117744 h 4036143"/>
                  <a:gd name="connsiteX591" fmla="*/ 2505951 w 5806384"/>
                  <a:gd name="connsiteY591" fmla="*/ 3059680 h 4036143"/>
                  <a:gd name="connsiteX592" fmla="*/ 2539939 w 5806384"/>
                  <a:gd name="connsiteY592" fmla="*/ 3255115 h 4036143"/>
                  <a:gd name="connsiteX593" fmla="*/ 2581009 w 5806384"/>
                  <a:gd name="connsiteY593" fmla="*/ 3119160 h 4036143"/>
                  <a:gd name="connsiteX594" fmla="*/ 2654651 w 5806384"/>
                  <a:gd name="connsiteY594" fmla="*/ 3175808 h 4036143"/>
                  <a:gd name="connsiteX595" fmla="*/ 2539939 w 5806384"/>
                  <a:gd name="connsiteY595" fmla="*/ 3255115 h 4036143"/>
                  <a:gd name="connsiteX596" fmla="*/ 1928145 w 5806384"/>
                  <a:gd name="connsiteY596" fmla="*/ 2469129 h 4036143"/>
                  <a:gd name="connsiteX597" fmla="*/ 1712883 w 5806384"/>
                  <a:gd name="connsiteY597" fmla="*/ 2498869 h 4036143"/>
                  <a:gd name="connsiteX598" fmla="*/ 1496206 w 5806384"/>
                  <a:gd name="connsiteY598" fmla="*/ 2110833 h 4036143"/>
                  <a:gd name="connsiteX599" fmla="*/ 1496206 w 5806384"/>
                  <a:gd name="connsiteY599" fmla="*/ 2110833 h 4036143"/>
                  <a:gd name="connsiteX600" fmla="*/ 1493374 w 5806384"/>
                  <a:gd name="connsiteY600" fmla="*/ 2110833 h 4036143"/>
                  <a:gd name="connsiteX601" fmla="*/ 1487709 w 5806384"/>
                  <a:gd name="connsiteY601" fmla="*/ 2098087 h 4036143"/>
                  <a:gd name="connsiteX602" fmla="*/ 1928145 w 5806384"/>
                  <a:gd name="connsiteY602" fmla="*/ 2469129 h 4036143"/>
                  <a:gd name="connsiteX603" fmla="*/ 1928145 w 5806384"/>
                  <a:gd name="connsiteY603" fmla="*/ 2865662 h 4036143"/>
                  <a:gd name="connsiteX604" fmla="*/ 1824762 w 5806384"/>
                  <a:gd name="connsiteY604" fmla="*/ 2869911 h 4036143"/>
                  <a:gd name="connsiteX605" fmla="*/ 1814849 w 5806384"/>
                  <a:gd name="connsiteY605" fmla="*/ 2845835 h 4036143"/>
                  <a:gd name="connsiteX606" fmla="*/ 1928145 w 5806384"/>
                  <a:gd name="connsiteY606" fmla="*/ 2865662 h 4036143"/>
                  <a:gd name="connsiteX607" fmla="*/ 1867248 w 5806384"/>
                  <a:gd name="connsiteY607" fmla="*/ 2966212 h 4036143"/>
                  <a:gd name="connsiteX608" fmla="*/ 1826179 w 5806384"/>
                  <a:gd name="connsiteY608" fmla="*/ 2871327 h 4036143"/>
                  <a:gd name="connsiteX609" fmla="*/ 1939474 w 5806384"/>
                  <a:gd name="connsiteY609" fmla="*/ 2867078 h 4036143"/>
                  <a:gd name="connsiteX610" fmla="*/ 1939474 w 5806384"/>
                  <a:gd name="connsiteY610" fmla="*/ 2867078 h 4036143"/>
                  <a:gd name="connsiteX611" fmla="*/ 1939474 w 5806384"/>
                  <a:gd name="connsiteY611" fmla="*/ 2865662 h 4036143"/>
                  <a:gd name="connsiteX612" fmla="*/ 1813433 w 5806384"/>
                  <a:gd name="connsiteY612" fmla="*/ 2843003 h 4036143"/>
                  <a:gd name="connsiteX613" fmla="*/ 1766699 w 5806384"/>
                  <a:gd name="connsiteY613" fmla="*/ 2735373 h 4036143"/>
                  <a:gd name="connsiteX614" fmla="*/ 1969214 w 5806384"/>
                  <a:gd name="connsiteY614" fmla="*/ 2801934 h 4036143"/>
                  <a:gd name="connsiteX615" fmla="*/ 2006035 w 5806384"/>
                  <a:gd name="connsiteY615" fmla="*/ 2950634 h 4036143"/>
                  <a:gd name="connsiteX616" fmla="*/ 1867248 w 5806384"/>
                  <a:gd name="connsiteY616" fmla="*/ 2966212 h 4036143"/>
                  <a:gd name="connsiteX617" fmla="*/ 1745456 w 5806384"/>
                  <a:gd name="connsiteY617" fmla="*/ 2833090 h 4036143"/>
                  <a:gd name="connsiteX618" fmla="*/ 1812017 w 5806384"/>
                  <a:gd name="connsiteY618" fmla="*/ 2844419 h 4036143"/>
                  <a:gd name="connsiteX619" fmla="*/ 1823346 w 5806384"/>
                  <a:gd name="connsiteY619" fmla="*/ 2868495 h 4036143"/>
                  <a:gd name="connsiteX620" fmla="*/ 1775196 w 5806384"/>
                  <a:gd name="connsiteY620" fmla="*/ 2869911 h 4036143"/>
                  <a:gd name="connsiteX621" fmla="*/ 1745456 w 5806384"/>
                  <a:gd name="connsiteY621" fmla="*/ 2833090 h 4036143"/>
                  <a:gd name="connsiteX622" fmla="*/ 1708635 w 5806384"/>
                  <a:gd name="connsiteY622" fmla="*/ 2827425 h 4036143"/>
                  <a:gd name="connsiteX623" fmla="*/ 1704386 w 5806384"/>
                  <a:gd name="connsiteY623" fmla="*/ 2874159 h 4036143"/>
                  <a:gd name="connsiteX624" fmla="*/ 1649155 w 5806384"/>
                  <a:gd name="connsiteY624" fmla="*/ 2875576 h 4036143"/>
                  <a:gd name="connsiteX625" fmla="*/ 1554270 w 5806384"/>
                  <a:gd name="connsiteY625" fmla="*/ 2799101 h 4036143"/>
                  <a:gd name="connsiteX626" fmla="*/ 1708635 w 5806384"/>
                  <a:gd name="connsiteY626" fmla="*/ 2827425 h 4036143"/>
                  <a:gd name="connsiteX627" fmla="*/ 1405570 w 5806384"/>
                  <a:gd name="connsiteY627" fmla="*/ 2392654 h 4036143"/>
                  <a:gd name="connsiteX628" fmla="*/ 1439559 w 5806384"/>
                  <a:gd name="connsiteY628" fmla="*/ 2437973 h 4036143"/>
                  <a:gd name="connsiteX629" fmla="*/ 1303604 w 5806384"/>
                  <a:gd name="connsiteY629" fmla="*/ 2547019 h 4036143"/>
                  <a:gd name="connsiteX630" fmla="*/ 1365916 w 5806384"/>
                  <a:gd name="connsiteY630" fmla="*/ 2402568 h 4036143"/>
                  <a:gd name="connsiteX631" fmla="*/ 1405570 w 5806384"/>
                  <a:gd name="connsiteY631" fmla="*/ 2392654 h 4036143"/>
                  <a:gd name="connsiteX632" fmla="*/ 1299356 w 5806384"/>
                  <a:gd name="connsiteY632" fmla="*/ 2249619 h 4036143"/>
                  <a:gd name="connsiteX633" fmla="*/ 1222881 w 5806384"/>
                  <a:gd name="connsiteY633" fmla="*/ 2149070 h 4036143"/>
                  <a:gd name="connsiteX634" fmla="*/ 1228546 w 5806384"/>
                  <a:gd name="connsiteY634" fmla="*/ 2144821 h 4036143"/>
                  <a:gd name="connsiteX635" fmla="*/ 1351754 w 5806384"/>
                  <a:gd name="connsiteY635" fmla="*/ 2130659 h 4036143"/>
                  <a:gd name="connsiteX636" fmla="*/ 1387159 w 5806384"/>
                  <a:gd name="connsiteY636" fmla="*/ 2272278 h 4036143"/>
                  <a:gd name="connsiteX637" fmla="*/ 1387159 w 5806384"/>
                  <a:gd name="connsiteY637" fmla="*/ 2272278 h 4036143"/>
                  <a:gd name="connsiteX638" fmla="*/ 1480628 w 5806384"/>
                  <a:gd name="connsiteY638" fmla="*/ 2137740 h 4036143"/>
                  <a:gd name="connsiteX639" fmla="*/ 1389992 w 5806384"/>
                  <a:gd name="connsiteY639" fmla="*/ 2345920 h 4036143"/>
                  <a:gd name="connsiteX640" fmla="*/ 1299356 w 5806384"/>
                  <a:gd name="connsiteY640" fmla="*/ 2249619 h 4036143"/>
                  <a:gd name="connsiteX641" fmla="*/ 1296523 w 5806384"/>
                  <a:gd name="connsiteY641" fmla="*/ 2565430 h 4036143"/>
                  <a:gd name="connsiteX642" fmla="*/ 1303604 w 5806384"/>
                  <a:gd name="connsiteY642" fmla="*/ 2551268 h 4036143"/>
                  <a:gd name="connsiteX643" fmla="*/ 1442391 w 5806384"/>
                  <a:gd name="connsiteY643" fmla="*/ 2439389 h 4036143"/>
                  <a:gd name="connsiteX644" fmla="*/ 1567016 w 5806384"/>
                  <a:gd name="connsiteY644" fmla="*/ 2602251 h 4036143"/>
                  <a:gd name="connsiteX645" fmla="*/ 1542940 w 5806384"/>
                  <a:gd name="connsiteY645" fmla="*/ 2636239 h 4036143"/>
                  <a:gd name="connsiteX646" fmla="*/ 1296523 w 5806384"/>
                  <a:gd name="connsiteY646" fmla="*/ 2565430 h 4036143"/>
                  <a:gd name="connsiteX647" fmla="*/ 1609501 w 5806384"/>
                  <a:gd name="connsiteY647" fmla="*/ 2658898 h 4036143"/>
                  <a:gd name="connsiteX648" fmla="*/ 1632161 w 5806384"/>
                  <a:gd name="connsiteY648" fmla="*/ 2688638 h 4036143"/>
                  <a:gd name="connsiteX649" fmla="*/ 1530195 w 5806384"/>
                  <a:gd name="connsiteY649" fmla="*/ 2654650 h 4036143"/>
                  <a:gd name="connsiteX650" fmla="*/ 1541524 w 5806384"/>
                  <a:gd name="connsiteY650" fmla="*/ 2639072 h 4036143"/>
                  <a:gd name="connsiteX651" fmla="*/ 1609501 w 5806384"/>
                  <a:gd name="connsiteY651" fmla="*/ 2658898 h 4036143"/>
                  <a:gd name="connsiteX652" fmla="*/ 1425397 w 5806384"/>
                  <a:gd name="connsiteY652" fmla="*/ 2386990 h 4036143"/>
                  <a:gd name="connsiteX653" fmla="*/ 1459385 w 5806384"/>
                  <a:gd name="connsiteY653" fmla="*/ 2422394 h 4036143"/>
                  <a:gd name="connsiteX654" fmla="*/ 1442391 w 5806384"/>
                  <a:gd name="connsiteY654" fmla="*/ 2436556 h 4036143"/>
                  <a:gd name="connsiteX655" fmla="*/ 1408402 w 5806384"/>
                  <a:gd name="connsiteY655" fmla="*/ 2392654 h 4036143"/>
                  <a:gd name="connsiteX656" fmla="*/ 1425397 w 5806384"/>
                  <a:gd name="connsiteY656" fmla="*/ 2386990 h 4036143"/>
                  <a:gd name="connsiteX657" fmla="*/ 1428229 w 5806384"/>
                  <a:gd name="connsiteY657" fmla="*/ 2386990 h 4036143"/>
                  <a:gd name="connsiteX658" fmla="*/ 1542940 w 5806384"/>
                  <a:gd name="connsiteY658" fmla="*/ 2354417 h 4036143"/>
                  <a:gd name="connsiteX659" fmla="*/ 1460801 w 5806384"/>
                  <a:gd name="connsiteY659" fmla="*/ 2420978 h 4036143"/>
                  <a:gd name="connsiteX660" fmla="*/ 1428229 w 5806384"/>
                  <a:gd name="connsiteY660" fmla="*/ 2386990 h 4036143"/>
                  <a:gd name="connsiteX661" fmla="*/ 1460801 w 5806384"/>
                  <a:gd name="connsiteY661" fmla="*/ 2423811 h 4036143"/>
                  <a:gd name="connsiteX662" fmla="*/ 1593923 w 5806384"/>
                  <a:gd name="connsiteY662" fmla="*/ 2564014 h 4036143"/>
                  <a:gd name="connsiteX663" fmla="*/ 1568432 w 5806384"/>
                  <a:gd name="connsiteY663" fmla="*/ 2600835 h 4036143"/>
                  <a:gd name="connsiteX664" fmla="*/ 1443807 w 5806384"/>
                  <a:gd name="connsiteY664" fmla="*/ 2437973 h 4036143"/>
                  <a:gd name="connsiteX665" fmla="*/ 1460801 w 5806384"/>
                  <a:gd name="connsiteY665" fmla="*/ 2423811 h 4036143"/>
                  <a:gd name="connsiteX666" fmla="*/ 1544357 w 5806384"/>
                  <a:gd name="connsiteY666" fmla="*/ 2637655 h 4036143"/>
                  <a:gd name="connsiteX667" fmla="*/ 1568432 w 5806384"/>
                  <a:gd name="connsiteY667" fmla="*/ 2603667 h 4036143"/>
                  <a:gd name="connsiteX668" fmla="*/ 1608085 w 5806384"/>
                  <a:gd name="connsiteY668" fmla="*/ 2656066 h 4036143"/>
                  <a:gd name="connsiteX669" fmla="*/ 1544357 w 5806384"/>
                  <a:gd name="connsiteY669" fmla="*/ 2637655 h 4036143"/>
                  <a:gd name="connsiteX670" fmla="*/ 1636409 w 5806384"/>
                  <a:gd name="connsiteY670" fmla="*/ 2690054 h 4036143"/>
                  <a:gd name="connsiteX671" fmla="*/ 1613750 w 5806384"/>
                  <a:gd name="connsiteY671" fmla="*/ 2660315 h 4036143"/>
                  <a:gd name="connsiteX672" fmla="*/ 1721381 w 5806384"/>
                  <a:gd name="connsiteY672" fmla="*/ 2691471 h 4036143"/>
                  <a:gd name="connsiteX673" fmla="*/ 1718548 w 5806384"/>
                  <a:gd name="connsiteY673" fmla="*/ 2718378 h 4036143"/>
                  <a:gd name="connsiteX674" fmla="*/ 1636409 w 5806384"/>
                  <a:gd name="connsiteY674" fmla="*/ 2690054 h 4036143"/>
                  <a:gd name="connsiteX675" fmla="*/ 1718548 w 5806384"/>
                  <a:gd name="connsiteY675" fmla="*/ 2719795 h 4036143"/>
                  <a:gd name="connsiteX676" fmla="*/ 1712883 w 5806384"/>
                  <a:gd name="connsiteY676" fmla="*/ 2789188 h 4036143"/>
                  <a:gd name="connsiteX677" fmla="*/ 1639242 w 5806384"/>
                  <a:gd name="connsiteY677" fmla="*/ 2692887 h 4036143"/>
                  <a:gd name="connsiteX678" fmla="*/ 1718548 w 5806384"/>
                  <a:gd name="connsiteY678" fmla="*/ 2719795 h 4036143"/>
                  <a:gd name="connsiteX679" fmla="*/ 1423980 w 5806384"/>
                  <a:gd name="connsiteY679" fmla="*/ 2385573 h 4036143"/>
                  <a:gd name="connsiteX680" fmla="*/ 1406986 w 5806384"/>
                  <a:gd name="connsiteY680" fmla="*/ 2389822 h 4036143"/>
                  <a:gd name="connsiteX681" fmla="*/ 1385743 w 5806384"/>
                  <a:gd name="connsiteY681" fmla="*/ 2361498 h 4036143"/>
                  <a:gd name="connsiteX682" fmla="*/ 1391408 w 5806384"/>
                  <a:gd name="connsiteY682" fmla="*/ 2348753 h 4036143"/>
                  <a:gd name="connsiteX683" fmla="*/ 1423980 w 5806384"/>
                  <a:gd name="connsiteY683" fmla="*/ 2385573 h 4036143"/>
                  <a:gd name="connsiteX684" fmla="*/ 1288026 w 5806384"/>
                  <a:gd name="connsiteY684" fmla="*/ 2564014 h 4036143"/>
                  <a:gd name="connsiteX685" fmla="*/ 1299356 w 5806384"/>
                  <a:gd name="connsiteY685" fmla="*/ 2554100 h 4036143"/>
                  <a:gd name="connsiteX686" fmla="*/ 1293691 w 5806384"/>
                  <a:gd name="connsiteY686" fmla="*/ 2565430 h 4036143"/>
                  <a:gd name="connsiteX687" fmla="*/ 1288026 w 5806384"/>
                  <a:gd name="connsiteY687" fmla="*/ 2564014 h 4036143"/>
                  <a:gd name="connsiteX688" fmla="*/ 1540108 w 5806384"/>
                  <a:gd name="connsiteY688" fmla="*/ 2639072 h 4036143"/>
                  <a:gd name="connsiteX689" fmla="*/ 1528778 w 5806384"/>
                  <a:gd name="connsiteY689" fmla="*/ 2654650 h 4036143"/>
                  <a:gd name="connsiteX690" fmla="*/ 1292275 w 5806384"/>
                  <a:gd name="connsiteY690" fmla="*/ 2576759 h 4036143"/>
                  <a:gd name="connsiteX691" fmla="*/ 1296523 w 5806384"/>
                  <a:gd name="connsiteY691" fmla="*/ 2568262 h 4036143"/>
                  <a:gd name="connsiteX692" fmla="*/ 1540108 w 5806384"/>
                  <a:gd name="connsiteY692" fmla="*/ 2639072 h 4036143"/>
                  <a:gd name="connsiteX693" fmla="*/ 1711467 w 5806384"/>
                  <a:gd name="connsiteY693" fmla="*/ 2824593 h 4036143"/>
                  <a:gd name="connsiteX694" fmla="*/ 1714300 w 5806384"/>
                  <a:gd name="connsiteY694" fmla="*/ 2794853 h 4036143"/>
                  <a:gd name="connsiteX695" fmla="*/ 1741207 w 5806384"/>
                  <a:gd name="connsiteY695" fmla="*/ 2830257 h 4036143"/>
                  <a:gd name="connsiteX696" fmla="*/ 1711467 w 5806384"/>
                  <a:gd name="connsiteY696" fmla="*/ 2824593 h 4036143"/>
                  <a:gd name="connsiteX697" fmla="*/ 1707219 w 5806384"/>
                  <a:gd name="connsiteY697" fmla="*/ 2874159 h 4036143"/>
                  <a:gd name="connsiteX698" fmla="*/ 1711467 w 5806384"/>
                  <a:gd name="connsiteY698" fmla="*/ 2827425 h 4036143"/>
                  <a:gd name="connsiteX699" fmla="*/ 1742623 w 5806384"/>
                  <a:gd name="connsiteY699" fmla="*/ 2833090 h 4036143"/>
                  <a:gd name="connsiteX700" fmla="*/ 1772363 w 5806384"/>
                  <a:gd name="connsiteY700" fmla="*/ 2871327 h 4036143"/>
                  <a:gd name="connsiteX701" fmla="*/ 1707219 w 5806384"/>
                  <a:gd name="connsiteY701" fmla="*/ 2874159 h 4036143"/>
                  <a:gd name="connsiteX702" fmla="*/ 1388576 w 5806384"/>
                  <a:gd name="connsiteY702" fmla="*/ 2347336 h 4036143"/>
                  <a:gd name="connsiteX703" fmla="*/ 1382911 w 5806384"/>
                  <a:gd name="connsiteY703" fmla="*/ 2360082 h 4036143"/>
                  <a:gd name="connsiteX704" fmla="*/ 1310685 w 5806384"/>
                  <a:gd name="connsiteY704" fmla="*/ 2265197 h 4036143"/>
                  <a:gd name="connsiteX705" fmla="*/ 1388576 w 5806384"/>
                  <a:gd name="connsiteY705" fmla="*/ 2347336 h 4036143"/>
                  <a:gd name="connsiteX706" fmla="*/ 1404154 w 5806384"/>
                  <a:gd name="connsiteY706" fmla="*/ 2391238 h 4036143"/>
                  <a:gd name="connsiteX707" fmla="*/ 1368749 w 5806384"/>
                  <a:gd name="connsiteY707" fmla="*/ 2401152 h 4036143"/>
                  <a:gd name="connsiteX708" fmla="*/ 1384327 w 5806384"/>
                  <a:gd name="connsiteY708" fmla="*/ 2364331 h 4036143"/>
                  <a:gd name="connsiteX709" fmla="*/ 1404154 w 5806384"/>
                  <a:gd name="connsiteY709" fmla="*/ 2391238 h 4036143"/>
                  <a:gd name="connsiteX710" fmla="*/ 1302188 w 5806384"/>
                  <a:gd name="connsiteY710" fmla="*/ 2549852 h 4036143"/>
                  <a:gd name="connsiteX711" fmla="*/ 1285194 w 5806384"/>
                  <a:gd name="connsiteY711" fmla="*/ 2564014 h 4036143"/>
                  <a:gd name="connsiteX712" fmla="*/ 1285194 w 5806384"/>
                  <a:gd name="connsiteY712" fmla="*/ 2564014 h 4036143"/>
                  <a:gd name="connsiteX713" fmla="*/ 1295107 w 5806384"/>
                  <a:gd name="connsiteY713" fmla="*/ 2566846 h 4036143"/>
                  <a:gd name="connsiteX714" fmla="*/ 1290858 w 5806384"/>
                  <a:gd name="connsiteY714" fmla="*/ 2576759 h 4036143"/>
                  <a:gd name="connsiteX715" fmla="*/ 1290858 w 5806384"/>
                  <a:gd name="connsiteY715" fmla="*/ 2576759 h 4036143"/>
                  <a:gd name="connsiteX716" fmla="*/ 1528778 w 5806384"/>
                  <a:gd name="connsiteY716" fmla="*/ 2656066 h 4036143"/>
                  <a:gd name="connsiteX717" fmla="*/ 1473547 w 5806384"/>
                  <a:gd name="connsiteY717" fmla="*/ 2732540 h 4036143"/>
                  <a:gd name="connsiteX718" fmla="*/ 1272448 w 5806384"/>
                  <a:gd name="connsiteY718" fmla="*/ 2569678 h 4036143"/>
                  <a:gd name="connsiteX719" fmla="*/ 1334760 w 5806384"/>
                  <a:gd name="connsiteY719" fmla="*/ 2412481 h 4036143"/>
                  <a:gd name="connsiteX720" fmla="*/ 1365916 w 5806384"/>
                  <a:gd name="connsiteY720" fmla="*/ 2403984 h 4036143"/>
                  <a:gd name="connsiteX721" fmla="*/ 1302188 w 5806384"/>
                  <a:gd name="connsiteY721" fmla="*/ 2549852 h 4036143"/>
                  <a:gd name="connsiteX722" fmla="*/ 1530195 w 5806384"/>
                  <a:gd name="connsiteY722" fmla="*/ 2657482 h 4036143"/>
                  <a:gd name="connsiteX723" fmla="*/ 1634993 w 5806384"/>
                  <a:gd name="connsiteY723" fmla="*/ 2692887 h 4036143"/>
                  <a:gd name="connsiteX724" fmla="*/ 1711467 w 5806384"/>
                  <a:gd name="connsiteY724" fmla="*/ 2793436 h 4036143"/>
                  <a:gd name="connsiteX725" fmla="*/ 1708635 w 5806384"/>
                  <a:gd name="connsiteY725" fmla="*/ 2826009 h 4036143"/>
                  <a:gd name="connsiteX726" fmla="*/ 1551438 w 5806384"/>
                  <a:gd name="connsiteY726" fmla="*/ 2797685 h 4036143"/>
                  <a:gd name="connsiteX727" fmla="*/ 1474963 w 5806384"/>
                  <a:gd name="connsiteY727" fmla="*/ 2735373 h 4036143"/>
                  <a:gd name="connsiteX728" fmla="*/ 1530195 w 5806384"/>
                  <a:gd name="connsiteY728" fmla="*/ 2657482 h 4036143"/>
                  <a:gd name="connsiteX729" fmla="*/ 1707219 w 5806384"/>
                  <a:gd name="connsiteY729" fmla="*/ 2875576 h 4036143"/>
                  <a:gd name="connsiteX730" fmla="*/ 1773780 w 5806384"/>
                  <a:gd name="connsiteY730" fmla="*/ 2872743 h 4036143"/>
                  <a:gd name="connsiteX731" fmla="*/ 1846005 w 5806384"/>
                  <a:gd name="connsiteY731" fmla="*/ 2967628 h 4036143"/>
                  <a:gd name="connsiteX732" fmla="*/ 1697305 w 5806384"/>
                  <a:gd name="connsiteY732" fmla="*/ 2984622 h 4036143"/>
                  <a:gd name="connsiteX733" fmla="*/ 1707219 w 5806384"/>
                  <a:gd name="connsiteY733" fmla="*/ 2875576 h 4036143"/>
                  <a:gd name="connsiteX734" fmla="*/ 1744040 w 5806384"/>
                  <a:gd name="connsiteY734" fmla="*/ 2831674 h 4036143"/>
                  <a:gd name="connsiteX735" fmla="*/ 1714300 w 5806384"/>
                  <a:gd name="connsiteY735" fmla="*/ 2792020 h 4036143"/>
                  <a:gd name="connsiteX736" fmla="*/ 1719964 w 5806384"/>
                  <a:gd name="connsiteY736" fmla="*/ 2719795 h 4036143"/>
                  <a:gd name="connsiteX737" fmla="*/ 1763866 w 5806384"/>
                  <a:gd name="connsiteY737" fmla="*/ 2733956 h 4036143"/>
                  <a:gd name="connsiteX738" fmla="*/ 1810600 w 5806384"/>
                  <a:gd name="connsiteY738" fmla="*/ 2843003 h 4036143"/>
                  <a:gd name="connsiteX739" fmla="*/ 1744040 w 5806384"/>
                  <a:gd name="connsiteY739" fmla="*/ 2831674 h 4036143"/>
                  <a:gd name="connsiteX740" fmla="*/ 1719964 w 5806384"/>
                  <a:gd name="connsiteY740" fmla="*/ 2718378 h 4036143"/>
                  <a:gd name="connsiteX741" fmla="*/ 1722797 w 5806384"/>
                  <a:gd name="connsiteY741" fmla="*/ 2690054 h 4036143"/>
                  <a:gd name="connsiteX742" fmla="*/ 1722797 w 5806384"/>
                  <a:gd name="connsiteY742" fmla="*/ 2690054 h 4036143"/>
                  <a:gd name="connsiteX743" fmla="*/ 1610918 w 5806384"/>
                  <a:gd name="connsiteY743" fmla="*/ 2657482 h 4036143"/>
                  <a:gd name="connsiteX744" fmla="*/ 1568432 w 5806384"/>
                  <a:gd name="connsiteY744" fmla="*/ 2602251 h 4036143"/>
                  <a:gd name="connsiteX745" fmla="*/ 1595340 w 5806384"/>
                  <a:gd name="connsiteY745" fmla="*/ 2564014 h 4036143"/>
                  <a:gd name="connsiteX746" fmla="*/ 1595340 w 5806384"/>
                  <a:gd name="connsiteY746" fmla="*/ 2564014 h 4036143"/>
                  <a:gd name="connsiteX747" fmla="*/ 1462218 w 5806384"/>
                  <a:gd name="connsiteY747" fmla="*/ 2422394 h 4036143"/>
                  <a:gd name="connsiteX748" fmla="*/ 1551438 w 5806384"/>
                  <a:gd name="connsiteY748" fmla="*/ 2350169 h 4036143"/>
                  <a:gd name="connsiteX749" fmla="*/ 1552854 w 5806384"/>
                  <a:gd name="connsiteY749" fmla="*/ 2350169 h 4036143"/>
                  <a:gd name="connsiteX750" fmla="*/ 1426813 w 5806384"/>
                  <a:gd name="connsiteY750" fmla="*/ 2385573 h 4036143"/>
                  <a:gd name="connsiteX751" fmla="*/ 1391408 w 5806384"/>
                  <a:gd name="connsiteY751" fmla="*/ 2348753 h 4036143"/>
                  <a:gd name="connsiteX752" fmla="*/ 1486293 w 5806384"/>
                  <a:gd name="connsiteY752" fmla="*/ 2129243 h 4036143"/>
                  <a:gd name="connsiteX753" fmla="*/ 1486293 w 5806384"/>
                  <a:gd name="connsiteY753" fmla="*/ 2129243 h 4036143"/>
                  <a:gd name="connsiteX754" fmla="*/ 1484876 w 5806384"/>
                  <a:gd name="connsiteY754" fmla="*/ 2127827 h 4036143"/>
                  <a:gd name="connsiteX755" fmla="*/ 1387159 w 5806384"/>
                  <a:gd name="connsiteY755" fmla="*/ 2266613 h 4036143"/>
                  <a:gd name="connsiteX756" fmla="*/ 1353171 w 5806384"/>
                  <a:gd name="connsiteY756" fmla="*/ 2129243 h 4036143"/>
                  <a:gd name="connsiteX757" fmla="*/ 1491957 w 5806384"/>
                  <a:gd name="connsiteY757" fmla="*/ 2112249 h 4036143"/>
                  <a:gd name="connsiteX758" fmla="*/ 1762450 w 5806384"/>
                  <a:gd name="connsiteY758" fmla="*/ 2731124 h 4036143"/>
                  <a:gd name="connsiteX759" fmla="*/ 1719964 w 5806384"/>
                  <a:gd name="connsiteY759" fmla="*/ 2718378 h 4036143"/>
                  <a:gd name="connsiteX760" fmla="*/ 1547189 w 5806384"/>
                  <a:gd name="connsiteY760" fmla="*/ 2796269 h 4036143"/>
                  <a:gd name="connsiteX761" fmla="*/ 1443807 w 5806384"/>
                  <a:gd name="connsiteY761" fmla="*/ 2777858 h 4036143"/>
                  <a:gd name="connsiteX762" fmla="*/ 1473547 w 5806384"/>
                  <a:gd name="connsiteY762" fmla="*/ 2736789 h 4036143"/>
                  <a:gd name="connsiteX763" fmla="*/ 1547189 w 5806384"/>
                  <a:gd name="connsiteY763" fmla="*/ 2796269 h 4036143"/>
                  <a:gd name="connsiteX764" fmla="*/ 1823346 w 5806384"/>
                  <a:gd name="connsiteY764" fmla="*/ 2871327 h 4036143"/>
                  <a:gd name="connsiteX765" fmla="*/ 1864416 w 5806384"/>
                  <a:gd name="connsiteY765" fmla="*/ 2966212 h 4036143"/>
                  <a:gd name="connsiteX766" fmla="*/ 1848838 w 5806384"/>
                  <a:gd name="connsiteY766" fmla="*/ 2967628 h 4036143"/>
                  <a:gd name="connsiteX767" fmla="*/ 1776612 w 5806384"/>
                  <a:gd name="connsiteY767" fmla="*/ 2872743 h 4036143"/>
                  <a:gd name="connsiteX768" fmla="*/ 1823346 w 5806384"/>
                  <a:gd name="connsiteY768" fmla="*/ 2871327 h 4036143"/>
                  <a:gd name="connsiteX769" fmla="*/ 1865832 w 5806384"/>
                  <a:gd name="connsiteY769" fmla="*/ 2969044 h 4036143"/>
                  <a:gd name="connsiteX770" fmla="*/ 1887075 w 5806384"/>
                  <a:gd name="connsiteY770" fmla="*/ 3018611 h 4036143"/>
                  <a:gd name="connsiteX771" fmla="*/ 1850254 w 5806384"/>
                  <a:gd name="connsiteY771" fmla="*/ 2970460 h 4036143"/>
                  <a:gd name="connsiteX772" fmla="*/ 1865832 w 5806384"/>
                  <a:gd name="connsiteY772" fmla="*/ 2969044 h 4036143"/>
                  <a:gd name="connsiteX773" fmla="*/ 2055602 w 5806384"/>
                  <a:gd name="connsiteY773" fmla="*/ 2828841 h 4036143"/>
                  <a:gd name="connsiteX774" fmla="*/ 1970630 w 5806384"/>
                  <a:gd name="connsiteY774" fmla="*/ 2800517 h 4036143"/>
                  <a:gd name="connsiteX775" fmla="*/ 1950804 w 5806384"/>
                  <a:gd name="connsiteY775" fmla="*/ 2721211 h 4036143"/>
                  <a:gd name="connsiteX776" fmla="*/ 2055602 w 5806384"/>
                  <a:gd name="connsiteY776" fmla="*/ 2828841 h 4036143"/>
                  <a:gd name="connsiteX777" fmla="*/ 1229962 w 5806384"/>
                  <a:gd name="connsiteY777" fmla="*/ 2141989 h 4036143"/>
                  <a:gd name="connsiteX778" fmla="*/ 1331928 w 5806384"/>
                  <a:gd name="connsiteY778" fmla="*/ 2055601 h 4036143"/>
                  <a:gd name="connsiteX779" fmla="*/ 1350338 w 5806384"/>
                  <a:gd name="connsiteY779" fmla="*/ 2127827 h 4036143"/>
                  <a:gd name="connsiteX780" fmla="*/ 1229962 w 5806384"/>
                  <a:gd name="connsiteY780" fmla="*/ 2141989 h 4036143"/>
                  <a:gd name="connsiteX781" fmla="*/ 1220049 w 5806384"/>
                  <a:gd name="connsiteY781" fmla="*/ 2150486 h 4036143"/>
                  <a:gd name="connsiteX782" fmla="*/ 1285194 w 5806384"/>
                  <a:gd name="connsiteY782" fmla="*/ 2235457 h 4036143"/>
                  <a:gd name="connsiteX783" fmla="*/ 1211552 w 5806384"/>
                  <a:gd name="connsiteY783" fmla="*/ 2157567 h 4036143"/>
                  <a:gd name="connsiteX784" fmla="*/ 1220049 w 5806384"/>
                  <a:gd name="connsiteY784" fmla="*/ 2150486 h 4036143"/>
                  <a:gd name="connsiteX785" fmla="*/ 1215800 w 5806384"/>
                  <a:gd name="connsiteY785" fmla="*/ 2143405 h 4036143"/>
                  <a:gd name="connsiteX786" fmla="*/ 1198806 w 5806384"/>
                  <a:gd name="connsiteY786" fmla="*/ 2144821 h 4036143"/>
                  <a:gd name="connsiteX787" fmla="*/ 1198806 w 5806384"/>
                  <a:gd name="connsiteY787" fmla="*/ 2144821 h 4036143"/>
                  <a:gd name="connsiteX788" fmla="*/ 1210135 w 5806384"/>
                  <a:gd name="connsiteY788" fmla="*/ 2156151 h 4036143"/>
                  <a:gd name="connsiteX789" fmla="*/ 1127996 w 5806384"/>
                  <a:gd name="connsiteY789" fmla="*/ 2226960 h 4036143"/>
                  <a:gd name="connsiteX790" fmla="*/ 1085511 w 5806384"/>
                  <a:gd name="connsiteY790" fmla="*/ 1972046 h 4036143"/>
                  <a:gd name="connsiteX791" fmla="*/ 1215800 w 5806384"/>
                  <a:gd name="connsiteY791" fmla="*/ 2143405 h 4036143"/>
                  <a:gd name="connsiteX792" fmla="*/ 1217216 w 5806384"/>
                  <a:gd name="connsiteY792" fmla="*/ 2146237 h 4036143"/>
                  <a:gd name="connsiteX793" fmla="*/ 1220049 w 5806384"/>
                  <a:gd name="connsiteY793" fmla="*/ 2149070 h 4036143"/>
                  <a:gd name="connsiteX794" fmla="*/ 1211552 w 5806384"/>
                  <a:gd name="connsiteY794" fmla="*/ 2156151 h 4036143"/>
                  <a:gd name="connsiteX795" fmla="*/ 1203054 w 5806384"/>
                  <a:gd name="connsiteY795" fmla="*/ 2147654 h 4036143"/>
                  <a:gd name="connsiteX796" fmla="*/ 1217216 w 5806384"/>
                  <a:gd name="connsiteY796" fmla="*/ 2146237 h 4036143"/>
                  <a:gd name="connsiteX797" fmla="*/ 1684559 w 5806384"/>
                  <a:gd name="connsiteY797" fmla="*/ 3147484 h 4036143"/>
                  <a:gd name="connsiteX798" fmla="*/ 1695889 w 5806384"/>
                  <a:gd name="connsiteY798" fmla="*/ 3017195 h 4036143"/>
                  <a:gd name="connsiteX799" fmla="*/ 1885659 w 5806384"/>
                  <a:gd name="connsiteY799" fmla="*/ 3029940 h 4036143"/>
                  <a:gd name="connsiteX800" fmla="*/ 1684559 w 5806384"/>
                  <a:gd name="connsiteY800" fmla="*/ 3147484 h 4036143"/>
                  <a:gd name="connsiteX801" fmla="*/ 1535859 w 5806384"/>
                  <a:gd name="connsiteY801" fmla="*/ 3005865 h 4036143"/>
                  <a:gd name="connsiteX802" fmla="*/ 1695889 w 5806384"/>
                  <a:gd name="connsiteY802" fmla="*/ 2987455 h 4036143"/>
                  <a:gd name="connsiteX803" fmla="*/ 1693057 w 5806384"/>
                  <a:gd name="connsiteY803" fmla="*/ 3015778 h 4036143"/>
                  <a:gd name="connsiteX804" fmla="*/ 1535859 w 5806384"/>
                  <a:gd name="connsiteY804" fmla="*/ 3005865 h 4036143"/>
                  <a:gd name="connsiteX805" fmla="*/ 1072765 w 5806384"/>
                  <a:gd name="connsiteY805" fmla="*/ 744208 h 4036143"/>
                  <a:gd name="connsiteX806" fmla="*/ 1020366 w 5806384"/>
                  <a:gd name="connsiteY806" fmla="*/ 713052 h 4036143"/>
                  <a:gd name="connsiteX807" fmla="*/ 1111002 w 5806384"/>
                  <a:gd name="connsiteY807" fmla="*/ 618167 h 4036143"/>
                  <a:gd name="connsiteX808" fmla="*/ 1130829 w 5806384"/>
                  <a:gd name="connsiteY808" fmla="*/ 738544 h 4036143"/>
                  <a:gd name="connsiteX809" fmla="*/ 1072765 w 5806384"/>
                  <a:gd name="connsiteY809" fmla="*/ 744208 h 4036143"/>
                  <a:gd name="connsiteX810" fmla="*/ 942475 w 5806384"/>
                  <a:gd name="connsiteY810" fmla="*/ 1064267 h 4036143"/>
                  <a:gd name="connsiteX811" fmla="*/ 1041609 w 5806384"/>
                  <a:gd name="connsiteY811" fmla="*/ 909903 h 4036143"/>
                  <a:gd name="connsiteX812" fmla="*/ 1088343 w 5806384"/>
                  <a:gd name="connsiteY812" fmla="*/ 935394 h 4036143"/>
                  <a:gd name="connsiteX813" fmla="*/ 1102505 w 5806384"/>
                  <a:gd name="connsiteY813" fmla="*/ 960886 h 4036143"/>
                  <a:gd name="connsiteX814" fmla="*/ 1041609 w 5806384"/>
                  <a:gd name="connsiteY814" fmla="*/ 1136493 h 4036143"/>
                  <a:gd name="connsiteX815" fmla="*/ 942475 w 5806384"/>
                  <a:gd name="connsiteY815" fmla="*/ 1064267 h 4036143"/>
                  <a:gd name="connsiteX816" fmla="*/ 1043025 w 5806384"/>
                  <a:gd name="connsiteY816" fmla="*/ 909903 h 4036143"/>
                  <a:gd name="connsiteX817" fmla="*/ 1060019 w 5806384"/>
                  <a:gd name="connsiteY817" fmla="*/ 884411 h 4036143"/>
                  <a:gd name="connsiteX818" fmla="*/ 1088343 w 5806384"/>
                  <a:gd name="connsiteY818" fmla="*/ 932562 h 4036143"/>
                  <a:gd name="connsiteX819" fmla="*/ 1043025 w 5806384"/>
                  <a:gd name="connsiteY819" fmla="*/ 909903 h 4036143"/>
                  <a:gd name="connsiteX820" fmla="*/ 1101089 w 5806384"/>
                  <a:gd name="connsiteY820" fmla="*/ 816434 h 4036143"/>
                  <a:gd name="connsiteX821" fmla="*/ 1060019 w 5806384"/>
                  <a:gd name="connsiteY821" fmla="*/ 880163 h 4036143"/>
                  <a:gd name="connsiteX822" fmla="*/ 1020366 w 5806384"/>
                  <a:gd name="connsiteY822" fmla="*/ 809353 h 4036143"/>
                  <a:gd name="connsiteX823" fmla="*/ 1101089 w 5806384"/>
                  <a:gd name="connsiteY823" fmla="*/ 816434 h 4036143"/>
                  <a:gd name="connsiteX824" fmla="*/ 1017533 w 5806384"/>
                  <a:gd name="connsiteY824" fmla="*/ 809353 h 4036143"/>
                  <a:gd name="connsiteX825" fmla="*/ 1058603 w 5806384"/>
                  <a:gd name="connsiteY825" fmla="*/ 881579 h 4036143"/>
                  <a:gd name="connsiteX826" fmla="*/ 1041609 w 5806384"/>
                  <a:gd name="connsiteY826" fmla="*/ 908486 h 4036143"/>
                  <a:gd name="connsiteX827" fmla="*/ 1021782 w 5806384"/>
                  <a:gd name="connsiteY827" fmla="*/ 897157 h 4036143"/>
                  <a:gd name="connsiteX828" fmla="*/ 973632 w 5806384"/>
                  <a:gd name="connsiteY828" fmla="*/ 805105 h 4036143"/>
                  <a:gd name="connsiteX829" fmla="*/ 1017533 w 5806384"/>
                  <a:gd name="connsiteY829" fmla="*/ 809353 h 4036143"/>
                  <a:gd name="connsiteX830" fmla="*/ 1072765 w 5806384"/>
                  <a:gd name="connsiteY830" fmla="*/ 747041 h 4036143"/>
                  <a:gd name="connsiteX831" fmla="*/ 1072765 w 5806384"/>
                  <a:gd name="connsiteY831" fmla="*/ 747041 h 4036143"/>
                  <a:gd name="connsiteX832" fmla="*/ 1130829 w 5806384"/>
                  <a:gd name="connsiteY832" fmla="*/ 741376 h 4036143"/>
                  <a:gd name="connsiteX833" fmla="*/ 1135077 w 5806384"/>
                  <a:gd name="connsiteY833" fmla="*/ 765451 h 4036143"/>
                  <a:gd name="connsiteX834" fmla="*/ 1102505 w 5806384"/>
                  <a:gd name="connsiteY834" fmla="*/ 815018 h 4036143"/>
                  <a:gd name="connsiteX835" fmla="*/ 1018949 w 5806384"/>
                  <a:gd name="connsiteY835" fmla="*/ 807937 h 4036143"/>
                  <a:gd name="connsiteX836" fmla="*/ 986377 w 5806384"/>
                  <a:gd name="connsiteY836" fmla="*/ 749873 h 4036143"/>
                  <a:gd name="connsiteX837" fmla="*/ 1020366 w 5806384"/>
                  <a:gd name="connsiteY837" fmla="*/ 714468 h 4036143"/>
                  <a:gd name="connsiteX838" fmla="*/ 1072765 w 5806384"/>
                  <a:gd name="connsiteY838" fmla="*/ 747041 h 4036143"/>
                  <a:gd name="connsiteX839" fmla="*/ 1171898 w 5806384"/>
                  <a:gd name="connsiteY839" fmla="*/ 783862 h 4036143"/>
                  <a:gd name="connsiteX840" fmla="*/ 1171898 w 5806384"/>
                  <a:gd name="connsiteY840" fmla="*/ 783862 h 4036143"/>
                  <a:gd name="connsiteX841" fmla="*/ 1414067 w 5806384"/>
                  <a:gd name="connsiteY841" fmla="*/ 839093 h 4036143"/>
                  <a:gd name="connsiteX842" fmla="*/ 1105337 w 5806384"/>
                  <a:gd name="connsiteY842" fmla="*/ 815018 h 4036143"/>
                  <a:gd name="connsiteX843" fmla="*/ 1136494 w 5806384"/>
                  <a:gd name="connsiteY843" fmla="*/ 765451 h 4036143"/>
                  <a:gd name="connsiteX844" fmla="*/ 1136494 w 5806384"/>
                  <a:gd name="connsiteY844" fmla="*/ 765451 h 4036143"/>
                  <a:gd name="connsiteX845" fmla="*/ 1132245 w 5806384"/>
                  <a:gd name="connsiteY845" fmla="*/ 739960 h 4036143"/>
                  <a:gd name="connsiteX846" fmla="*/ 1340425 w 5806384"/>
                  <a:gd name="connsiteY846" fmla="*/ 718717 h 4036143"/>
                  <a:gd name="connsiteX847" fmla="*/ 1171898 w 5806384"/>
                  <a:gd name="connsiteY847" fmla="*/ 783862 h 4036143"/>
                  <a:gd name="connsiteX848" fmla="*/ 1266783 w 5806384"/>
                  <a:gd name="connsiteY848" fmla="*/ 1028863 h 4036143"/>
                  <a:gd name="connsiteX849" fmla="*/ 1111002 w 5806384"/>
                  <a:gd name="connsiteY849" fmla="*/ 945307 h 4036143"/>
                  <a:gd name="connsiteX850" fmla="*/ 1149239 w 5806384"/>
                  <a:gd name="connsiteY850" fmla="*/ 834845 h 4036143"/>
                  <a:gd name="connsiteX851" fmla="*/ 1266783 w 5806384"/>
                  <a:gd name="connsiteY851" fmla="*/ 1028863 h 4036143"/>
                  <a:gd name="connsiteX852" fmla="*/ 3048352 w 5806384"/>
                  <a:gd name="connsiteY852" fmla="*/ 459554 h 4036143"/>
                  <a:gd name="connsiteX853" fmla="*/ 2905316 w 5806384"/>
                  <a:gd name="connsiteY853" fmla="*/ 534612 h 4036143"/>
                  <a:gd name="connsiteX854" fmla="*/ 2974710 w 5806384"/>
                  <a:gd name="connsiteY854" fmla="*/ 351923 h 4036143"/>
                  <a:gd name="connsiteX855" fmla="*/ 3048352 w 5806384"/>
                  <a:gd name="connsiteY855" fmla="*/ 459554 h 4036143"/>
                  <a:gd name="connsiteX856" fmla="*/ 5369489 w 5806384"/>
                  <a:gd name="connsiteY856" fmla="*/ 840509 h 4036143"/>
                  <a:gd name="connsiteX857" fmla="*/ 5470039 w 5806384"/>
                  <a:gd name="connsiteY857" fmla="*/ 694642 h 4036143"/>
                  <a:gd name="connsiteX858" fmla="*/ 5553594 w 5806384"/>
                  <a:gd name="connsiteY858" fmla="*/ 822099 h 4036143"/>
                  <a:gd name="connsiteX859" fmla="*/ 5369489 w 5806384"/>
                  <a:gd name="connsiteY859" fmla="*/ 840509 h 4036143"/>
                  <a:gd name="connsiteX860" fmla="*/ 4267693 w 5806384"/>
                  <a:gd name="connsiteY860" fmla="*/ 1661900 h 4036143"/>
                  <a:gd name="connsiteX861" fmla="*/ 4240785 w 5806384"/>
                  <a:gd name="connsiteY861" fmla="*/ 1785109 h 4036143"/>
                  <a:gd name="connsiteX862" fmla="*/ 4094917 w 5806384"/>
                  <a:gd name="connsiteY862" fmla="*/ 1708634 h 4036143"/>
                  <a:gd name="connsiteX863" fmla="*/ 4267693 w 5806384"/>
                  <a:gd name="connsiteY863" fmla="*/ 1661900 h 4036143"/>
                  <a:gd name="connsiteX864" fmla="*/ 4203964 w 5806384"/>
                  <a:gd name="connsiteY864" fmla="*/ 1970630 h 4036143"/>
                  <a:gd name="connsiteX865" fmla="*/ 4243617 w 5806384"/>
                  <a:gd name="connsiteY865" fmla="*/ 1787941 h 4036143"/>
                  <a:gd name="connsiteX866" fmla="*/ 4388069 w 5806384"/>
                  <a:gd name="connsiteY866" fmla="*/ 1862999 h 4036143"/>
                  <a:gd name="connsiteX867" fmla="*/ 4203964 w 5806384"/>
                  <a:gd name="connsiteY867" fmla="*/ 1970630 h 4036143"/>
                  <a:gd name="connsiteX868" fmla="*/ 3374076 w 5806384"/>
                  <a:gd name="connsiteY868" fmla="*/ 3104998 h 4036143"/>
                  <a:gd name="connsiteX869" fmla="*/ 3381157 w 5806384"/>
                  <a:gd name="connsiteY869" fmla="*/ 3138987 h 4036143"/>
                  <a:gd name="connsiteX870" fmla="*/ 3276359 w 5806384"/>
                  <a:gd name="connsiteY870" fmla="*/ 3143236 h 4036143"/>
                  <a:gd name="connsiteX871" fmla="*/ 3219711 w 5806384"/>
                  <a:gd name="connsiteY871" fmla="*/ 3020027 h 4036143"/>
                  <a:gd name="connsiteX872" fmla="*/ 3374076 w 5806384"/>
                  <a:gd name="connsiteY872" fmla="*/ 3104998 h 4036143"/>
                  <a:gd name="connsiteX873" fmla="*/ 2035775 w 5806384"/>
                  <a:gd name="connsiteY873" fmla="*/ 2556933 h 4036143"/>
                  <a:gd name="connsiteX874" fmla="*/ 2052769 w 5806384"/>
                  <a:gd name="connsiteY874" fmla="*/ 2464880 h 4036143"/>
                  <a:gd name="connsiteX875" fmla="*/ 2178810 w 5806384"/>
                  <a:gd name="connsiteY875" fmla="*/ 2443637 h 4036143"/>
                  <a:gd name="connsiteX876" fmla="*/ 2072596 w 5806384"/>
                  <a:gd name="connsiteY876" fmla="*/ 2588089 h 4036143"/>
                  <a:gd name="connsiteX877" fmla="*/ 2035775 w 5806384"/>
                  <a:gd name="connsiteY877" fmla="*/ 2556933 h 4036143"/>
                  <a:gd name="connsiteX878" fmla="*/ 2049937 w 5806384"/>
                  <a:gd name="connsiteY878" fmla="*/ 2464880 h 4036143"/>
                  <a:gd name="connsiteX879" fmla="*/ 2032943 w 5806384"/>
                  <a:gd name="connsiteY879" fmla="*/ 2555516 h 4036143"/>
                  <a:gd name="connsiteX880" fmla="*/ 1946555 w 5806384"/>
                  <a:gd name="connsiteY880" fmla="*/ 2483291 h 4036143"/>
                  <a:gd name="connsiteX881" fmla="*/ 2049937 w 5806384"/>
                  <a:gd name="connsiteY881" fmla="*/ 2464880 h 4036143"/>
                  <a:gd name="connsiteX882" fmla="*/ 2049937 w 5806384"/>
                  <a:gd name="connsiteY882" fmla="*/ 2463464 h 4036143"/>
                  <a:gd name="connsiteX883" fmla="*/ 1945139 w 5806384"/>
                  <a:gd name="connsiteY883" fmla="*/ 2481874 h 4036143"/>
                  <a:gd name="connsiteX884" fmla="*/ 1932393 w 5806384"/>
                  <a:gd name="connsiteY884" fmla="*/ 2471961 h 4036143"/>
                  <a:gd name="connsiteX885" fmla="*/ 2051353 w 5806384"/>
                  <a:gd name="connsiteY885" fmla="*/ 2454967 h 4036143"/>
                  <a:gd name="connsiteX886" fmla="*/ 2049937 w 5806384"/>
                  <a:gd name="connsiteY886" fmla="*/ 2463464 h 4036143"/>
                  <a:gd name="connsiteX887" fmla="*/ 2032943 w 5806384"/>
                  <a:gd name="connsiteY887" fmla="*/ 2556933 h 4036143"/>
                  <a:gd name="connsiteX888" fmla="*/ 2023029 w 5806384"/>
                  <a:gd name="connsiteY888" fmla="*/ 2612164 h 4036143"/>
                  <a:gd name="connsiteX889" fmla="*/ 1793606 w 5806384"/>
                  <a:gd name="connsiteY889" fmla="*/ 2508782 h 4036143"/>
                  <a:gd name="connsiteX890" fmla="*/ 1945139 w 5806384"/>
                  <a:gd name="connsiteY890" fmla="*/ 2483291 h 4036143"/>
                  <a:gd name="connsiteX891" fmla="*/ 2032943 w 5806384"/>
                  <a:gd name="connsiteY891" fmla="*/ 2556933 h 4036143"/>
                  <a:gd name="connsiteX892" fmla="*/ 2024445 w 5806384"/>
                  <a:gd name="connsiteY892" fmla="*/ 2613580 h 4036143"/>
                  <a:gd name="connsiteX893" fmla="*/ 2034359 w 5806384"/>
                  <a:gd name="connsiteY893" fmla="*/ 2558349 h 4036143"/>
                  <a:gd name="connsiteX894" fmla="*/ 2069764 w 5806384"/>
                  <a:gd name="connsiteY894" fmla="*/ 2588089 h 4036143"/>
                  <a:gd name="connsiteX895" fmla="*/ 2044272 w 5806384"/>
                  <a:gd name="connsiteY895" fmla="*/ 2622077 h 4036143"/>
                  <a:gd name="connsiteX896" fmla="*/ 2024445 w 5806384"/>
                  <a:gd name="connsiteY896" fmla="*/ 2613580 h 4036143"/>
                  <a:gd name="connsiteX897" fmla="*/ 2044272 w 5806384"/>
                  <a:gd name="connsiteY897" fmla="*/ 2624910 h 4036143"/>
                  <a:gd name="connsiteX898" fmla="*/ 2015948 w 5806384"/>
                  <a:gd name="connsiteY898" fmla="*/ 2663147 h 4036143"/>
                  <a:gd name="connsiteX899" fmla="*/ 2024445 w 5806384"/>
                  <a:gd name="connsiteY899" fmla="*/ 2616413 h 4036143"/>
                  <a:gd name="connsiteX900" fmla="*/ 2044272 w 5806384"/>
                  <a:gd name="connsiteY900" fmla="*/ 2624910 h 4036143"/>
                  <a:gd name="connsiteX901" fmla="*/ 2047105 w 5806384"/>
                  <a:gd name="connsiteY901" fmla="*/ 2623494 h 4036143"/>
                  <a:gd name="connsiteX902" fmla="*/ 2072596 w 5806384"/>
                  <a:gd name="connsiteY902" fmla="*/ 2589505 h 4036143"/>
                  <a:gd name="connsiteX903" fmla="*/ 2188724 w 5806384"/>
                  <a:gd name="connsiteY903" fmla="*/ 2687222 h 4036143"/>
                  <a:gd name="connsiteX904" fmla="*/ 2047105 w 5806384"/>
                  <a:gd name="connsiteY904" fmla="*/ 2623494 h 4036143"/>
                  <a:gd name="connsiteX905" fmla="*/ 2052769 w 5806384"/>
                  <a:gd name="connsiteY905" fmla="*/ 2462048 h 4036143"/>
                  <a:gd name="connsiteX906" fmla="*/ 2054185 w 5806384"/>
                  <a:gd name="connsiteY906" fmla="*/ 2453551 h 4036143"/>
                  <a:gd name="connsiteX907" fmla="*/ 2183059 w 5806384"/>
                  <a:gd name="connsiteY907" fmla="*/ 2435140 h 4036143"/>
                  <a:gd name="connsiteX908" fmla="*/ 2178810 w 5806384"/>
                  <a:gd name="connsiteY908" fmla="*/ 2440805 h 4036143"/>
                  <a:gd name="connsiteX909" fmla="*/ 2052769 w 5806384"/>
                  <a:gd name="connsiteY909" fmla="*/ 2462048 h 4036143"/>
                  <a:gd name="connsiteX910" fmla="*/ 1129413 w 5806384"/>
                  <a:gd name="connsiteY910" fmla="*/ 1003371 h 4036143"/>
                  <a:gd name="connsiteX911" fmla="*/ 1105337 w 5806384"/>
                  <a:gd name="connsiteY911" fmla="*/ 962302 h 4036143"/>
                  <a:gd name="connsiteX912" fmla="*/ 1109586 w 5806384"/>
                  <a:gd name="connsiteY912" fmla="*/ 948140 h 4036143"/>
                  <a:gd name="connsiteX913" fmla="*/ 1268199 w 5806384"/>
                  <a:gd name="connsiteY913" fmla="*/ 1033111 h 4036143"/>
                  <a:gd name="connsiteX914" fmla="*/ 1282361 w 5806384"/>
                  <a:gd name="connsiteY914" fmla="*/ 1055770 h 4036143"/>
                  <a:gd name="connsiteX915" fmla="*/ 1169066 w 5806384"/>
                  <a:gd name="connsiteY915" fmla="*/ 1463633 h 4036143"/>
                  <a:gd name="connsiteX916" fmla="*/ 1129413 w 5806384"/>
                  <a:gd name="connsiteY916" fmla="*/ 1003371 h 4036143"/>
                  <a:gd name="connsiteX917" fmla="*/ 1169066 w 5806384"/>
                  <a:gd name="connsiteY917" fmla="*/ 1474963 h 4036143"/>
                  <a:gd name="connsiteX918" fmla="*/ 1173314 w 5806384"/>
                  <a:gd name="connsiteY918" fmla="*/ 1521697 h 4036143"/>
                  <a:gd name="connsiteX919" fmla="*/ 1157737 w 5806384"/>
                  <a:gd name="connsiteY919" fmla="*/ 1514616 h 4036143"/>
                  <a:gd name="connsiteX920" fmla="*/ 1169066 w 5806384"/>
                  <a:gd name="connsiteY920" fmla="*/ 1474963 h 4036143"/>
                  <a:gd name="connsiteX921" fmla="*/ 1814849 w 5806384"/>
                  <a:gd name="connsiteY921" fmla="*/ 1051522 h 4036143"/>
                  <a:gd name="connsiteX922" fmla="*/ 2096671 w 5806384"/>
                  <a:gd name="connsiteY922" fmla="*/ 911319 h 4036143"/>
                  <a:gd name="connsiteX923" fmla="*/ 1921064 w 5806384"/>
                  <a:gd name="connsiteY923" fmla="*/ 1183227 h 4036143"/>
                  <a:gd name="connsiteX924" fmla="*/ 1814849 w 5806384"/>
                  <a:gd name="connsiteY924" fmla="*/ 1051522 h 4036143"/>
                  <a:gd name="connsiteX925" fmla="*/ 2726876 w 5806384"/>
                  <a:gd name="connsiteY925" fmla="*/ 952388 h 4036143"/>
                  <a:gd name="connsiteX926" fmla="*/ 2742454 w 5806384"/>
                  <a:gd name="connsiteY926" fmla="*/ 949556 h 4036143"/>
                  <a:gd name="connsiteX927" fmla="*/ 2755200 w 5806384"/>
                  <a:gd name="connsiteY927" fmla="*/ 952388 h 4036143"/>
                  <a:gd name="connsiteX928" fmla="*/ 2726876 w 5806384"/>
                  <a:gd name="connsiteY928" fmla="*/ 952388 h 4036143"/>
                  <a:gd name="connsiteX929" fmla="*/ 4590584 w 5806384"/>
                  <a:gd name="connsiteY929" fmla="*/ 905654 h 4036143"/>
                  <a:gd name="connsiteX930" fmla="*/ 4654313 w 5806384"/>
                  <a:gd name="connsiteY930" fmla="*/ 803688 h 4036143"/>
                  <a:gd name="connsiteX931" fmla="*/ 4788851 w 5806384"/>
                  <a:gd name="connsiteY931" fmla="*/ 901405 h 4036143"/>
                  <a:gd name="connsiteX932" fmla="*/ 4590584 w 5806384"/>
                  <a:gd name="connsiteY932" fmla="*/ 905654 h 4036143"/>
                  <a:gd name="connsiteX933" fmla="*/ 4572174 w 5806384"/>
                  <a:gd name="connsiteY933" fmla="*/ 907070 h 4036143"/>
                  <a:gd name="connsiteX934" fmla="*/ 4586336 w 5806384"/>
                  <a:gd name="connsiteY934" fmla="*/ 907070 h 4036143"/>
                  <a:gd name="connsiteX935" fmla="*/ 4580671 w 5806384"/>
                  <a:gd name="connsiteY935" fmla="*/ 915567 h 4036143"/>
                  <a:gd name="connsiteX936" fmla="*/ 4572174 w 5806384"/>
                  <a:gd name="connsiteY936" fmla="*/ 907070 h 4036143"/>
                  <a:gd name="connsiteX937" fmla="*/ 4092085 w 5806384"/>
                  <a:gd name="connsiteY937" fmla="*/ 1707218 h 4036143"/>
                  <a:gd name="connsiteX938" fmla="*/ 3970292 w 5806384"/>
                  <a:gd name="connsiteY938" fmla="*/ 1643489 h 4036143"/>
                  <a:gd name="connsiteX939" fmla="*/ 3970292 w 5806384"/>
                  <a:gd name="connsiteY939" fmla="*/ 1643489 h 4036143"/>
                  <a:gd name="connsiteX940" fmla="*/ 3936304 w 5806384"/>
                  <a:gd name="connsiteY940" fmla="*/ 1749704 h 4036143"/>
                  <a:gd name="connsiteX941" fmla="*/ 3896650 w 5806384"/>
                  <a:gd name="connsiteY941" fmla="*/ 1761033 h 4036143"/>
                  <a:gd name="connsiteX942" fmla="*/ 3920726 w 5806384"/>
                  <a:gd name="connsiteY942" fmla="*/ 1565599 h 4036143"/>
                  <a:gd name="connsiteX943" fmla="*/ 3920726 w 5806384"/>
                  <a:gd name="connsiteY943" fmla="*/ 1565599 h 4036143"/>
                  <a:gd name="connsiteX944" fmla="*/ 3883905 w 5806384"/>
                  <a:gd name="connsiteY944" fmla="*/ 1507535 h 4036143"/>
                  <a:gd name="connsiteX945" fmla="*/ 4175640 w 5806384"/>
                  <a:gd name="connsiteY945" fmla="*/ 1392824 h 4036143"/>
                  <a:gd name="connsiteX946" fmla="*/ 4307346 w 5806384"/>
                  <a:gd name="connsiteY946" fmla="*/ 1477795 h 4036143"/>
                  <a:gd name="connsiteX947" fmla="*/ 4267693 w 5806384"/>
                  <a:gd name="connsiteY947" fmla="*/ 1661900 h 4036143"/>
                  <a:gd name="connsiteX948" fmla="*/ 4092085 w 5806384"/>
                  <a:gd name="connsiteY948" fmla="*/ 1707218 h 4036143"/>
                  <a:gd name="connsiteX949" fmla="*/ 3267862 w 5806384"/>
                  <a:gd name="connsiteY949" fmla="*/ 2915229 h 4036143"/>
                  <a:gd name="connsiteX950" fmla="*/ 3201301 w 5806384"/>
                  <a:gd name="connsiteY950" fmla="*/ 2978958 h 4036143"/>
                  <a:gd name="connsiteX951" fmla="*/ 3146069 w 5806384"/>
                  <a:gd name="connsiteY951" fmla="*/ 2857165 h 4036143"/>
                  <a:gd name="connsiteX952" fmla="*/ 3267862 w 5806384"/>
                  <a:gd name="connsiteY952" fmla="*/ 2915229 h 4036143"/>
                  <a:gd name="connsiteX953" fmla="*/ 2544188 w 5806384"/>
                  <a:gd name="connsiteY953" fmla="*/ 2685806 h 4036143"/>
                  <a:gd name="connsiteX954" fmla="*/ 2631991 w 5806384"/>
                  <a:gd name="connsiteY954" fmla="*/ 2748118 h 4036143"/>
                  <a:gd name="connsiteX955" fmla="*/ 2670229 w 5806384"/>
                  <a:gd name="connsiteY955" fmla="*/ 2801934 h 4036143"/>
                  <a:gd name="connsiteX956" fmla="*/ 2544188 w 5806384"/>
                  <a:gd name="connsiteY956" fmla="*/ 2685806 h 4036143"/>
                  <a:gd name="connsiteX957" fmla="*/ 2402569 w 5806384"/>
                  <a:gd name="connsiteY957" fmla="*/ 2556933 h 4036143"/>
                  <a:gd name="connsiteX958" fmla="*/ 2430893 w 5806384"/>
                  <a:gd name="connsiteY958" fmla="*/ 2582424 h 4036143"/>
                  <a:gd name="connsiteX959" fmla="*/ 2449303 w 5806384"/>
                  <a:gd name="connsiteY959" fmla="*/ 2614997 h 4036143"/>
                  <a:gd name="connsiteX960" fmla="*/ 2398320 w 5806384"/>
                  <a:gd name="connsiteY960" fmla="*/ 2578175 h 4036143"/>
                  <a:gd name="connsiteX961" fmla="*/ 2402569 w 5806384"/>
                  <a:gd name="connsiteY961" fmla="*/ 2556933 h 4036143"/>
                  <a:gd name="connsiteX962" fmla="*/ 1874329 w 5806384"/>
                  <a:gd name="connsiteY962" fmla="*/ 1660484 h 4036143"/>
                  <a:gd name="connsiteX963" fmla="*/ 1966381 w 5806384"/>
                  <a:gd name="connsiteY963" fmla="*/ 1734126 h 4036143"/>
                  <a:gd name="connsiteX964" fmla="*/ 1744040 w 5806384"/>
                  <a:gd name="connsiteY964" fmla="*/ 1799270 h 4036143"/>
                  <a:gd name="connsiteX965" fmla="*/ 1456553 w 5806384"/>
                  <a:gd name="connsiteY965" fmla="*/ 1659068 h 4036143"/>
                  <a:gd name="connsiteX966" fmla="*/ 1450888 w 5806384"/>
                  <a:gd name="connsiteY966" fmla="*/ 1647738 h 4036143"/>
                  <a:gd name="connsiteX967" fmla="*/ 1874329 w 5806384"/>
                  <a:gd name="connsiteY967" fmla="*/ 1660484 h 4036143"/>
                  <a:gd name="connsiteX968" fmla="*/ 1273864 w 5806384"/>
                  <a:gd name="connsiteY968" fmla="*/ 1569848 h 4036143"/>
                  <a:gd name="connsiteX969" fmla="*/ 1314933 w 5806384"/>
                  <a:gd name="connsiteY969" fmla="*/ 1571264 h 4036143"/>
                  <a:gd name="connsiteX970" fmla="*/ 1307852 w 5806384"/>
                  <a:gd name="connsiteY970" fmla="*/ 1586842 h 4036143"/>
                  <a:gd name="connsiteX971" fmla="*/ 1273864 w 5806384"/>
                  <a:gd name="connsiteY971" fmla="*/ 1569848 h 4036143"/>
                  <a:gd name="connsiteX972" fmla="*/ 1285194 w 5806384"/>
                  <a:gd name="connsiteY972" fmla="*/ 1055770 h 4036143"/>
                  <a:gd name="connsiteX973" fmla="*/ 1285194 w 5806384"/>
                  <a:gd name="connsiteY973" fmla="*/ 1055770 h 4036143"/>
                  <a:gd name="connsiteX974" fmla="*/ 1272448 w 5806384"/>
                  <a:gd name="connsiteY974" fmla="*/ 1034527 h 4036143"/>
                  <a:gd name="connsiteX975" fmla="*/ 1278113 w 5806384"/>
                  <a:gd name="connsiteY975" fmla="*/ 1037360 h 4036143"/>
                  <a:gd name="connsiteX976" fmla="*/ 1278113 w 5806384"/>
                  <a:gd name="connsiteY976" fmla="*/ 1037360 h 4036143"/>
                  <a:gd name="connsiteX977" fmla="*/ 1504703 w 5806384"/>
                  <a:gd name="connsiteY977" fmla="*/ 952388 h 4036143"/>
                  <a:gd name="connsiteX978" fmla="*/ 1504703 w 5806384"/>
                  <a:gd name="connsiteY978" fmla="*/ 952388 h 4036143"/>
                  <a:gd name="connsiteX979" fmla="*/ 1622247 w 5806384"/>
                  <a:gd name="connsiteY979" fmla="*/ 781029 h 4036143"/>
                  <a:gd name="connsiteX980" fmla="*/ 1705802 w 5806384"/>
                  <a:gd name="connsiteY980" fmla="*/ 897157 h 4036143"/>
                  <a:gd name="connsiteX981" fmla="*/ 1584010 w 5806384"/>
                  <a:gd name="connsiteY981" fmla="*/ 1163401 h 4036143"/>
                  <a:gd name="connsiteX982" fmla="*/ 1465050 w 5806384"/>
                  <a:gd name="connsiteY982" fmla="*/ 1222881 h 4036143"/>
                  <a:gd name="connsiteX983" fmla="*/ 1173314 w 5806384"/>
                  <a:gd name="connsiteY983" fmla="*/ 1497622 h 4036143"/>
                  <a:gd name="connsiteX984" fmla="*/ 1173314 w 5806384"/>
                  <a:gd name="connsiteY984" fmla="*/ 1497622 h 4036143"/>
                  <a:gd name="connsiteX985" fmla="*/ 1353171 w 5806384"/>
                  <a:gd name="connsiteY985" fmla="*/ 1483460 h 4036143"/>
                  <a:gd name="connsiteX986" fmla="*/ 1313518 w 5806384"/>
                  <a:gd name="connsiteY986" fmla="*/ 1567015 h 4036143"/>
                  <a:gd name="connsiteX987" fmla="*/ 1268199 w 5806384"/>
                  <a:gd name="connsiteY987" fmla="*/ 1565599 h 4036143"/>
                  <a:gd name="connsiteX988" fmla="*/ 1174731 w 5806384"/>
                  <a:gd name="connsiteY988" fmla="*/ 1520281 h 4036143"/>
                  <a:gd name="connsiteX989" fmla="*/ 1170482 w 5806384"/>
                  <a:gd name="connsiteY989" fmla="*/ 1467882 h 4036143"/>
                  <a:gd name="connsiteX990" fmla="*/ 1285194 w 5806384"/>
                  <a:gd name="connsiteY990" fmla="*/ 1055770 h 4036143"/>
                  <a:gd name="connsiteX991" fmla="*/ 2256701 w 5806384"/>
                  <a:gd name="connsiteY991" fmla="*/ 1169066 h 4036143"/>
                  <a:gd name="connsiteX992" fmla="*/ 2003203 w 5806384"/>
                  <a:gd name="connsiteY992" fmla="*/ 1285193 h 4036143"/>
                  <a:gd name="connsiteX993" fmla="*/ 1962133 w 5806384"/>
                  <a:gd name="connsiteY993" fmla="*/ 1234210 h 4036143"/>
                  <a:gd name="connsiteX994" fmla="*/ 2024445 w 5806384"/>
                  <a:gd name="connsiteY994" fmla="*/ 1156320 h 4036143"/>
                  <a:gd name="connsiteX995" fmla="*/ 2256701 w 5806384"/>
                  <a:gd name="connsiteY995" fmla="*/ 1169066 h 4036143"/>
                  <a:gd name="connsiteX996" fmla="*/ 1749704 w 5806384"/>
                  <a:gd name="connsiteY996" fmla="*/ 1453720 h 4036143"/>
                  <a:gd name="connsiteX997" fmla="*/ 2113666 w 5806384"/>
                  <a:gd name="connsiteY997" fmla="*/ 1425396 h 4036143"/>
                  <a:gd name="connsiteX998" fmla="*/ 2188724 w 5806384"/>
                  <a:gd name="connsiteY998" fmla="*/ 1520281 h 4036143"/>
                  <a:gd name="connsiteX999" fmla="*/ 1895572 w 5806384"/>
                  <a:gd name="connsiteY999" fmla="*/ 1661900 h 4036143"/>
                  <a:gd name="connsiteX1000" fmla="*/ 1895572 w 5806384"/>
                  <a:gd name="connsiteY1000" fmla="*/ 1661900 h 4036143"/>
                  <a:gd name="connsiteX1001" fmla="*/ 1896988 w 5806384"/>
                  <a:gd name="connsiteY1001" fmla="*/ 1663316 h 4036143"/>
                  <a:gd name="connsiteX1002" fmla="*/ 2201469 w 5806384"/>
                  <a:gd name="connsiteY1002" fmla="*/ 1535859 h 4036143"/>
                  <a:gd name="connsiteX1003" fmla="*/ 2239707 w 5806384"/>
                  <a:gd name="connsiteY1003" fmla="*/ 1584010 h 4036143"/>
                  <a:gd name="connsiteX1004" fmla="*/ 2241123 w 5806384"/>
                  <a:gd name="connsiteY1004" fmla="*/ 1654819 h 4036143"/>
                  <a:gd name="connsiteX1005" fmla="*/ 1969214 w 5806384"/>
                  <a:gd name="connsiteY1005" fmla="*/ 1734126 h 4036143"/>
                  <a:gd name="connsiteX1006" fmla="*/ 1874329 w 5806384"/>
                  <a:gd name="connsiteY1006" fmla="*/ 1659068 h 4036143"/>
                  <a:gd name="connsiteX1007" fmla="*/ 1874329 w 5806384"/>
                  <a:gd name="connsiteY1007" fmla="*/ 1659068 h 4036143"/>
                  <a:gd name="connsiteX1008" fmla="*/ 1449472 w 5806384"/>
                  <a:gd name="connsiteY1008" fmla="*/ 1646322 h 4036143"/>
                  <a:gd name="connsiteX1009" fmla="*/ 1409818 w 5806384"/>
                  <a:gd name="connsiteY1009" fmla="*/ 1571264 h 4036143"/>
                  <a:gd name="connsiteX1010" fmla="*/ 1409818 w 5806384"/>
                  <a:gd name="connsiteY1010" fmla="*/ 1571264 h 4036143"/>
                  <a:gd name="connsiteX1011" fmla="*/ 1316350 w 5806384"/>
                  <a:gd name="connsiteY1011" fmla="*/ 1569848 h 4036143"/>
                  <a:gd name="connsiteX1012" fmla="*/ 1356003 w 5806384"/>
                  <a:gd name="connsiteY1012" fmla="*/ 1486292 h 4036143"/>
                  <a:gd name="connsiteX1013" fmla="*/ 1518865 w 5806384"/>
                  <a:gd name="connsiteY1013" fmla="*/ 1473547 h 4036143"/>
                  <a:gd name="connsiteX1014" fmla="*/ 1523114 w 5806384"/>
                  <a:gd name="connsiteY1014" fmla="*/ 1493373 h 4036143"/>
                  <a:gd name="connsiteX1015" fmla="*/ 1405570 w 5806384"/>
                  <a:gd name="connsiteY1015" fmla="*/ 1559934 h 4036143"/>
                  <a:gd name="connsiteX1016" fmla="*/ 1405570 w 5806384"/>
                  <a:gd name="connsiteY1016" fmla="*/ 1559934 h 4036143"/>
                  <a:gd name="connsiteX1017" fmla="*/ 1406986 w 5806384"/>
                  <a:gd name="connsiteY1017" fmla="*/ 1561350 h 4036143"/>
                  <a:gd name="connsiteX1018" fmla="*/ 1616582 w 5806384"/>
                  <a:gd name="connsiteY1018" fmla="*/ 1465049 h 4036143"/>
                  <a:gd name="connsiteX1019" fmla="*/ 1685976 w 5806384"/>
                  <a:gd name="connsiteY1019" fmla="*/ 1459385 h 4036143"/>
                  <a:gd name="connsiteX1020" fmla="*/ 1664733 w 5806384"/>
                  <a:gd name="connsiteY1020" fmla="*/ 1584010 h 4036143"/>
                  <a:gd name="connsiteX1021" fmla="*/ 1664733 w 5806384"/>
                  <a:gd name="connsiteY1021" fmla="*/ 1585426 h 4036143"/>
                  <a:gd name="connsiteX1022" fmla="*/ 1749704 w 5806384"/>
                  <a:gd name="connsiteY1022" fmla="*/ 1453720 h 4036143"/>
                  <a:gd name="connsiteX1023" fmla="*/ 2190140 w 5806384"/>
                  <a:gd name="connsiteY1023" fmla="*/ 1518865 h 4036143"/>
                  <a:gd name="connsiteX1024" fmla="*/ 2115082 w 5806384"/>
                  <a:gd name="connsiteY1024" fmla="*/ 1425396 h 4036143"/>
                  <a:gd name="connsiteX1025" fmla="*/ 2235458 w 5806384"/>
                  <a:gd name="connsiteY1025" fmla="*/ 1415483 h 4036143"/>
                  <a:gd name="connsiteX1026" fmla="*/ 2238290 w 5806384"/>
                  <a:gd name="connsiteY1026" fmla="*/ 1496206 h 4036143"/>
                  <a:gd name="connsiteX1027" fmla="*/ 2190140 w 5806384"/>
                  <a:gd name="connsiteY1027" fmla="*/ 1518865 h 4036143"/>
                  <a:gd name="connsiteX1028" fmla="*/ 2239707 w 5806384"/>
                  <a:gd name="connsiteY1028" fmla="*/ 1494789 h 4036143"/>
                  <a:gd name="connsiteX1029" fmla="*/ 2236874 w 5806384"/>
                  <a:gd name="connsiteY1029" fmla="*/ 1415483 h 4036143"/>
                  <a:gd name="connsiteX1030" fmla="*/ 2413898 w 5806384"/>
                  <a:gd name="connsiteY1030" fmla="*/ 1401321 h 4036143"/>
                  <a:gd name="connsiteX1031" fmla="*/ 2419563 w 5806384"/>
                  <a:gd name="connsiteY1031" fmla="*/ 1406986 h 4036143"/>
                  <a:gd name="connsiteX1032" fmla="*/ 2239707 w 5806384"/>
                  <a:gd name="connsiteY1032" fmla="*/ 1494789 h 4036143"/>
                  <a:gd name="connsiteX1033" fmla="*/ 2239707 w 5806384"/>
                  <a:gd name="connsiteY1033" fmla="*/ 1517448 h 4036143"/>
                  <a:gd name="connsiteX1034" fmla="*/ 2239707 w 5806384"/>
                  <a:gd name="connsiteY1034" fmla="*/ 1497622 h 4036143"/>
                  <a:gd name="connsiteX1035" fmla="*/ 2423812 w 5806384"/>
                  <a:gd name="connsiteY1035" fmla="*/ 1408402 h 4036143"/>
                  <a:gd name="connsiteX1036" fmla="*/ 2423812 w 5806384"/>
                  <a:gd name="connsiteY1036" fmla="*/ 1408402 h 4036143"/>
                  <a:gd name="connsiteX1037" fmla="*/ 2416731 w 5806384"/>
                  <a:gd name="connsiteY1037" fmla="*/ 1401321 h 4036143"/>
                  <a:gd name="connsiteX1038" fmla="*/ 2541355 w 5806384"/>
                  <a:gd name="connsiteY1038" fmla="*/ 1391407 h 4036143"/>
                  <a:gd name="connsiteX1039" fmla="*/ 2239707 w 5806384"/>
                  <a:gd name="connsiteY1039" fmla="*/ 1517448 h 4036143"/>
                  <a:gd name="connsiteX1040" fmla="*/ 3039854 w 5806384"/>
                  <a:gd name="connsiteY1040" fmla="*/ 1351754 h 4036143"/>
                  <a:gd name="connsiteX1041" fmla="*/ 2554101 w 5806384"/>
                  <a:gd name="connsiteY1041" fmla="*/ 1389991 h 4036143"/>
                  <a:gd name="connsiteX1042" fmla="*/ 3045520 w 5806384"/>
                  <a:gd name="connsiteY1042" fmla="*/ 1184644 h 4036143"/>
                  <a:gd name="connsiteX1043" fmla="*/ 3066762 w 5806384"/>
                  <a:gd name="connsiteY1043" fmla="*/ 1200222 h 4036143"/>
                  <a:gd name="connsiteX1044" fmla="*/ 3039854 w 5806384"/>
                  <a:gd name="connsiteY1044" fmla="*/ 1351754 h 4036143"/>
                  <a:gd name="connsiteX1045" fmla="*/ 2765114 w 5806384"/>
                  <a:gd name="connsiteY1045" fmla="*/ 950972 h 4036143"/>
                  <a:gd name="connsiteX1046" fmla="*/ 2746703 w 5806384"/>
                  <a:gd name="connsiteY1046" fmla="*/ 948140 h 4036143"/>
                  <a:gd name="connsiteX1047" fmla="*/ 2990288 w 5806384"/>
                  <a:gd name="connsiteY1047" fmla="*/ 898573 h 4036143"/>
                  <a:gd name="connsiteX1048" fmla="*/ 3022861 w 5806384"/>
                  <a:gd name="connsiteY1048" fmla="*/ 945307 h 4036143"/>
                  <a:gd name="connsiteX1049" fmla="*/ 2765114 w 5806384"/>
                  <a:gd name="connsiteY1049" fmla="*/ 950972 h 4036143"/>
                  <a:gd name="connsiteX1050" fmla="*/ 3150318 w 5806384"/>
                  <a:gd name="connsiteY1050" fmla="*/ 595508 h 4036143"/>
                  <a:gd name="connsiteX1051" fmla="*/ 3175809 w 5806384"/>
                  <a:gd name="connsiteY1051" fmla="*/ 606838 h 4036143"/>
                  <a:gd name="connsiteX1052" fmla="*/ 3172977 w 5806384"/>
                  <a:gd name="connsiteY1052" fmla="*/ 621000 h 4036143"/>
                  <a:gd name="connsiteX1053" fmla="*/ 3150318 w 5806384"/>
                  <a:gd name="connsiteY1053" fmla="*/ 595508 h 4036143"/>
                  <a:gd name="connsiteX1054" fmla="*/ 4273358 w 5806384"/>
                  <a:gd name="connsiteY1054" fmla="*/ 611086 h 4036143"/>
                  <a:gd name="connsiteX1055" fmla="*/ 4412144 w 5806384"/>
                  <a:gd name="connsiteY1055" fmla="*/ 749873 h 4036143"/>
                  <a:gd name="connsiteX1056" fmla="*/ 4431971 w 5806384"/>
                  <a:gd name="connsiteY1056" fmla="*/ 908486 h 4036143"/>
                  <a:gd name="connsiteX1057" fmla="*/ 4114744 w 5806384"/>
                  <a:gd name="connsiteY1057" fmla="*/ 916984 h 4036143"/>
                  <a:gd name="connsiteX1058" fmla="*/ 4161478 w 5806384"/>
                  <a:gd name="connsiteY1058" fmla="*/ 803688 h 4036143"/>
                  <a:gd name="connsiteX1059" fmla="*/ 4161478 w 5806384"/>
                  <a:gd name="connsiteY1059" fmla="*/ 803688 h 4036143"/>
                  <a:gd name="connsiteX1060" fmla="*/ 4041102 w 5806384"/>
                  <a:gd name="connsiteY1060" fmla="*/ 881579 h 4036143"/>
                  <a:gd name="connsiteX1061" fmla="*/ 3960379 w 5806384"/>
                  <a:gd name="connsiteY1061" fmla="*/ 717301 h 4036143"/>
                  <a:gd name="connsiteX1062" fmla="*/ 3960379 w 5806384"/>
                  <a:gd name="connsiteY1062" fmla="*/ 717301 h 4036143"/>
                  <a:gd name="connsiteX1063" fmla="*/ 3600667 w 5806384"/>
                  <a:gd name="connsiteY1063" fmla="*/ 922648 h 4036143"/>
                  <a:gd name="connsiteX1064" fmla="*/ 3895234 w 5806384"/>
                  <a:gd name="connsiteY1064" fmla="*/ 548774 h 4036143"/>
                  <a:gd name="connsiteX1065" fmla="*/ 4273358 w 5806384"/>
                  <a:gd name="connsiteY1065" fmla="*/ 611086 h 4036143"/>
                  <a:gd name="connsiteX1066" fmla="*/ 2947802 w 5806384"/>
                  <a:gd name="connsiteY1066" fmla="*/ 2763697 h 4036143"/>
                  <a:gd name="connsiteX1067" fmla="*/ 2942138 w 5806384"/>
                  <a:gd name="connsiteY1067" fmla="*/ 2770778 h 4036143"/>
                  <a:gd name="connsiteX1068" fmla="*/ 2865663 w 5806384"/>
                  <a:gd name="connsiteY1068" fmla="*/ 2749535 h 4036143"/>
                  <a:gd name="connsiteX1069" fmla="*/ 2780692 w 5806384"/>
                  <a:gd name="connsiteY1069" fmla="*/ 2684390 h 4036143"/>
                  <a:gd name="connsiteX1070" fmla="*/ 2780692 w 5806384"/>
                  <a:gd name="connsiteY1070" fmla="*/ 2684390 h 4036143"/>
                  <a:gd name="connsiteX1071" fmla="*/ 2947802 w 5806384"/>
                  <a:gd name="connsiteY1071" fmla="*/ 2763697 h 4036143"/>
                  <a:gd name="connsiteX1072" fmla="*/ 1969214 w 5806384"/>
                  <a:gd name="connsiteY1072" fmla="*/ 1736958 h 4036143"/>
                  <a:gd name="connsiteX1073" fmla="*/ 2156151 w 5806384"/>
                  <a:gd name="connsiteY1073" fmla="*/ 1885658 h 4036143"/>
                  <a:gd name="connsiteX1074" fmla="*/ 2136324 w 5806384"/>
                  <a:gd name="connsiteY1074" fmla="*/ 1991873 h 4036143"/>
                  <a:gd name="connsiteX1075" fmla="*/ 1748288 w 5806384"/>
                  <a:gd name="connsiteY1075" fmla="*/ 1802103 h 4036143"/>
                  <a:gd name="connsiteX1076" fmla="*/ 1969214 w 5806384"/>
                  <a:gd name="connsiteY1076" fmla="*/ 1736958 h 4036143"/>
                  <a:gd name="connsiteX1077" fmla="*/ 4433387 w 5806384"/>
                  <a:gd name="connsiteY1077" fmla="*/ 908486 h 4036143"/>
                  <a:gd name="connsiteX1078" fmla="*/ 4413560 w 5806384"/>
                  <a:gd name="connsiteY1078" fmla="*/ 752705 h 4036143"/>
                  <a:gd name="connsiteX1079" fmla="*/ 4566510 w 5806384"/>
                  <a:gd name="connsiteY1079" fmla="*/ 905654 h 4036143"/>
                  <a:gd name="connsiteX1080" fmla="*/ 4433387 w 5806384"/>
                  <a:gd name="connsiteY1080" fmla="*/ 908486 h 4036143"/>
                  <a:gd name="connsiteX1081" fmla="*/ 3508614 w 5806384"/>
                  <a:gd name="connsiteY1081" fmla="*/ 2661731 h 4036143"/>
                  <a:gd name="connsiteX1082" fmla="*/ 3569510 w 5806384"/>
                  <a:gd name="connsiteY1082" fmla="*/ 2691471 h 4036143"/>
                  <a:gd name="connsiteX1083" fmla="*/ 3623325 w 5806384"/>
                  <a:gd name="connsiteY1083" fmla="*/ 2718378 h 4036143"/>
                  <a:gd name="connsiteX1084" fmla="*/ 3586505 w 5806384"/>
                  <a:gd name="connsiteY1084" fmla="*/ 2804766 h 4036143"/>
                  <a:gd name="connsiteX1085" fmla="*/ 3508614 w 5806384"/>
                  <a:gd name="connsiteY1085" fmla="*/ 2661731 h 4036143"/>
                  <a:gd name="connsiteX1086" fmla="*/ 3328758 w 5806384"/>
                  <a:gd name="connsiteY1086" fmla="*/ 2942136 h 4036143"/>
                  <a:gd name="connsiteX1087" fmla="*/ 3340087 w 5806384"/>
                  <a:gd name="connsiteY1087" fmla="*/ 2936472 h 4036143"/>
                  <a:gd name="connsiteX1088" fmla="*/ 3342920 w 5806384"/>
                  <a:gd name="connsiteY1088" fmla="*/ 2949217 h 4036143"/>
                  <a:gd name="connsiteX1089" fmla="*/ 3328758 w 5806384"/>
                  <a:gd name="connsiteY1089" fmla="*/ 2942136 h 4036143"/>
                  <a:gd name="connsiteX1090" fmla="*/ 3308931 w 5806384"/>
                  <a:gd name="connsiteY1090" fmla="*/ 2878408 h 4036143"/>
                  <a:gd name="connsiteX1091" fmla="*/ 3308931 w 5806384"/>
                  <a:gd name="connsiteY1091" fmla="*/ 2878408 h 4036143"/>
                  <a:gd name="connsiteX1092" fmla="*/ 3316012 w 5806384"/>
                  <a:gd name="connsiteY1092" fmla="*/ 2809015 h 4036143"/>
                  <a:gd name="connsiteX1093" fmla="*/ 3340087 w 5806384"/>
                  <a:gd name="connsiteY1093" fmla="*/ 2933639 h 4036143"/>
                  <a:gd name="connsiteX1094" fmla="*/ 3325925 w 5806384"/>
                  <a:gd name="connsiteY1094" fmla="*/ 2940720 h 4036143"/>
                  <a:gd name="connsiteX1095" fmla="*/ 3270694 w 5806384"/>
                  <a:gd name="connsiteY1095" fmla="*/ 2915229 h 4036143"/>
                  <a:gd name="connsiteX1096" fmla="*/ 3308931 w 5806384"/>
                  <a:gd name="connsiteY1096" fmla="*/ 2878408 h 4036143"/>
                  <a:gd name="connsiteX1097" fmla="*/ 2950635 w 5806384"/>
                  <a:gd name="connsiteY1097" fmla="*/ 2763697 h 4036143"/>
                  <a:gd name="connsiteX1098" fmla="*/ 2990288 w 5806384"/>
                  <a:gd name="connsiteY1098" fmla="*/ 2782107 h 4036143"/>
                  <a:gd name="connsiteX1099" fmla="*/ 2944970 w 5806384"/>
                  <a:gd name="connsiteY1099" fmla="*/ 2769361 h 4036143"/>
                  <a:gd name="connsiteX1100" fmla="*/ 2950635 w 5806384"/>
                  <a:gd name="connsiteY1100" fmla="*/ 2763697 h 4036143"/>
                  <a:gd name="connsiteX1101" fmla="*/ 2382742 w 5806384"/>
                  <a:gd name="connsiteY1101" fmla="*/ 2494620 h 4036143"/>
                  <a:gd name="connsiteX1102" fmla="*/ 2411066 w 5806384"/>
                  <a:gd name="connsiteY1102" fmla="*/ 2507366 h 4036143"/>
                  <a:gd name="connsiteX1103" fmla="*/ 2405401 w 5806384"/>
                  <a:gd name="connsiteY1103" fmla="*/ 2534273 h 4036143"/>
                  <a:gd name="connsiteX1104" fmla="*/ 2382742 w 5806384"/>
                  <a:gd name="connsiteY1104" fmla="*/ 2494620 h 4036143"/>
                  <a:gd name="connsiteX1105" fmla="*/ 2403985 w 5806384"/>
                  <a:gd name="connsiteY1105" fmla="*/ 2401152 h 4036143"/>
                  <a:gd name="connsiteX1106" fmla="*/ 2337424 w 5806384"/>
                  <a:gd name="connsiteY1106" fmla="*/ 2412481 h 4036143"/>
                  <a:gd name="connsiteX1107" fmla="*/ 2276528 w 5806384"/>
                  <a:gd name="connsiteY1107" fmla="*/ 2304851 h 4036143"/>
                  <a:gd name="connsiteX1108" fmla="*/ 2403985 w 5806384"/>
                  <a:gd name="connsiteY1108" fmla="*/ 2401152 h 4036143"/>
                  <a:gd name="connsiteX1109" fmla="*/ 3158815 w 5806384"/>
                  <a:gd name="connsiteY1109" fmla="*/ 1241291 h 4036143"/>
                  <a:gd name="connsiteX1110" fmla="*/ 3165896 w 5806384"/>
                  <a:gd name="connsiteY1110" fmla="*/ 1271031 h 4036143"/>
                  <a:gd name="connsiteX1111" fmla="*/ 3069595 w 5806384"/>
                  <a:gd name="connsiteY1111" fmla="*/ 1198806 h 4036143"/>
                  <a:gd name="connsiteX1112" fmla="*/ 3071011 w 5806384"/>
                  <a:gd name="connsiteY1112" fmla="*/ 1193141 h 4036143"/>
                  <a:gd name="connsiteX1113" fmla="*/ 3158815 w 5806384"/>
                  <a:gd name="connsiteY1113" fmla="*/ 1241291 h 4036143"/>
                  <a:gd name="connsiteX1114" fmla="*/ 3072427 w 5806384"/>
                  <a:gd name="connsiteY1114" fmla="*/ 1007620 h 4036143"/>
                  <a:gd name="connsiteX1115" fmla="*/ 3029942 w 5806384"/>
                  <a:gd name="connsiteY1115" fmla="*/ 946724 h 4036143"/>
                  <a:gd name="connsiteX1116" fmla="*/ 3114913 w 5806384"/>
                  <a:gd name="connsiteY1116" fmla="*/ 945307 h 4036143"/>
                  <a:gd name="connsiteX1117" fmla="*/ 3102167 w 5806384"/>
                  <a:gd name="connsiteY1117" fmla="*/ 1013285 h 4036143"/>
                  <a:gd name="connsiteX1118" fmla="*/ 3072427 w 5806384"/>
                  <a:gd name="connsiteY1118" fmla="*/ 1007620 h 4036143"/>
                  <a:gd name="connsiteX1119" fmla="*/ 3100751 w 5806384"/>
                  <a:gd name="connsiteY1119" fmla="*/ 1014701 h 4036143"/>
                  <a:gd name="connsiteX1120" fmla="*/ 3096502 w 5806384"/>
                  <a:gd name="connsiteY1120" fmla="*/ 1041608 h 4036143"/>
                  <a:gd name="connsiteX1121" fmla="*/ 3073843 w 5806384"/>
                  <a:gd name="connsiteY1121" fmla="*/ 1010452 h 4036143"/>
                  <a:gd name="connsiteX1122" fmla="*/ 3100751 w 5806384"/>
                  <a:gd name="connsiteY1122" fmla="*/ 1014701 h 4036143"/>
                  <a:gd name="connsiteX1123" fmla="*/ 4157230 w 5806384"/>
                  <a:gd name="connsiteY1123" fmla="*/ 809353 h 4036143"/>
                  <a:gd name="connsiteX1124" fmla="*/ 4111911 w 5806384"/>
                  <a:gd name="connsiteY1124" fmla="*/ 918400 h 4036143"/>
                  <a:gd name="connsiteX1125" fmla="*/ 4059512 w 5806384"/>
                  <a:gd name="connsiteY1125" fmla="*/ 919816 h 4036143"/>
                  <a:gd name="connsiteX1126" fmla="*/ 4042519 w 5806384"/>
                  <a:gd name="connsiteY1126" fmla="*/ 884411 h 4036143"/>
                  <a:gd name="connsiteX1127" fmla="*/ 4157230 w 5806384"/>
                  <a:gd name="connsiteY1127" fmla="*/ 809353 h 4036143"/>
                  <a:gd name="connsiteX1128" fmla="*/ 3961795 w 5806384"/>
                  <a:gd name="connsiteY1128" fmla="*/ 1280945 h 4036143"/>
                  <a:gd name="connsiteX1129" fmla="*/ 4001449 w 5806384"/>
                  <a:gd name="connsiteY1129" fmla="*/ 1278112 h 4036143"/>
                  <a:gd name="connsiteX1130" fmla="*/ 4174224 w 5806384"/>
                  <a:gd name="connsiteY1130" fmla="*/ 1389991 h 4036143"/>
                  <a:gd name="connsiteX1131" fmla="*/ 3883905 w 5806384"/>
                  <a:gd name="connsiteY1131" fmla="*/ 1504703 h 4036143"/>
                  <a:gd name="connsiteX1132" fmla="*/ 3875407 w 5806384"/>
                  <a:gd name="connsiteY1132" fmla="*/ 1490541 h 4036143"/>
                  <a:gd name="connsiteX1133" fmla="*/ 3961795 w 5806384"/>
                  <a:gd name="connsiteY1133" fmla="*/ 1280945 h 4036143"/>
                  <a:gd name="connsiteX1134" fmla="*/ 3864078 w 5806384"/>
                  <a:gd name="connsiteY1134" fmla="*/ 1511784 h 4036143"/>
                  <a:gd name="connsiteX1135" fmla="*/ 3872576 w 5806384"/>
                  <a:gd name="connsiteY1135" fmla="*/ 1491957 h 4036143"/>
                  <a:gd name="connsiteX1136" fmla="*/ 3881072 w 5806384"/>
                  <a:gd name="connsiteY1136" fmla="*/ 1504703 h 4036143"/>
                  <a:gd name="connsiteX1137" fmla="*/ 3864078 w 5806384"/>
                  <a:gd name="connsiteY1137" fmla="*/ 1511784 h 4036143"/>
                  <a:gd name="connsiteX1138" fmla="*/ 3752199 w 5806384"/>
                  <a:gd name="connsiteY1138" fmla="*/ 1297939 h 4036143"/>
                  <a:gd name="connsiteX1139" fmla="*/ 3958963 w 5806384"/>
                  <a:gd name="connsiteY1139" fmla="*/ 1282361 h 4036143"/>
                  <a:gd name="connsiteX1140" fmla="*/ 3872576 w 5806384"/>
                  <a:gd name="connsiteY1140" fmla="*/ 1489125 h 4036143"/>
                  <a:gd name="connsiteX1141" fmla="*/ 3752199 w 5806384"/>
                  <a:gd name="connsiteY1141" fmla="*/ 1297939 h 4036143"/>
                  <a:gd name="connsiteX1142" fmla="*/ 3011531 w 5806384"/>
                  <a:gd name="connsiteY1142" fmla="*/ 2790604 h 4036143"/>
                  <a:gd name="connsiteX1143" fmla="*/ 3127658 w 5806384"/>
                  <a:gd name="connsiteY1143" fmla="*/ 2823177 h 4036143"/>
                  <a:gd name="connsiteX1144" fmla="*/ 3140404 w 5806384"/>
                  <a:gd name="connsiteY1144" fmla="*/ 2852916 h 4036143"/>
                  <a:gd name="connsiteX1145" fmla="*/ 3011531 w 5806384"/>
                  <a:gd name="connsiteY1145" fmla="*/ 2790604 h 4036143"/>
                  <a:gd name="connsiteX1146" fmla="*/ 3051185 w 5806384"/>
                  <a:gd name="connsiteY1146" fmla="*/ 2654650 h 4036143"/>
                  <a:gd name="connsiteX1147" fmla="*/ 3127658 w 5806384"/>
                  <a:gd name="connsiteY1147" fmla="*/ 2820344 h 4036143"/>
                  <a:gd name="connsiteX1148" fmla="*/ 3001618 w 5806384"/>
                  <a:gd name="connsiteY1148" fmla="*/ 2784939 h 4036143"/>
                  <a:gd name="connsiteX1149" fmla="*/ 2952051 w 5806384"/>
                  <a:gd name="connsiteY1149" fmla="*/ 2760864 h 4036143"/>
                  <a:gd name="connsiteX1150" fmla="*/ 3051185 w 5806384"/>
                  <a:gd name="connsiteY1150" fmla="*/ 2654650 h 4036143"/>
                  <a:gd name="connsiteX1151" fmla="*/ 1972047 w 5806384"/>
                  <a:gd name="connsiteY1151" fmla="*/ 1735542 h 4036143"/>
                  <a:gd name="connsiteX1152" fmla="*/ 2241123 w 5806384"/>
                  <a:gd name="connsiteY1152" fmla="*/ 1656235 h 4036143"/>
                  <a:gd name="connsiteX1153" fmla="*/ 2252452 w 5806384"/>
                  <a:gd name="connsiteY1153" fmla="*/ 2047104 h 4036143"/>
                  <a:gd name="connsiteX1154" fmla="*/ 2139157 w 5806384"/>
                  <a:gd name="connsiteY1154" fmla="*/ 1991873 h 4036143"/>
                  <a:gd name="connsiteX1155" fmla="*/ 2158984 w 5806384"/>
                  <a:gd name="connsiteY1155" fmla="*/ 1884242 h 4036143"/>
                  <a:gd name="connsiteX1156" fmla="*/ 2158984 w 5806384"/>
                  <a:gd name="connsiteY1156" fmla="*/ 1884242 h 4036143"/>
                  <a:gd name="connsiteX1157" fmla="*/ 1972047 w 5806384"/>
                  <a:gd name="connsiteY1157" fmla="*/ 1735542 h 4036143"/>
                  <a:gd name="connsiteX1158" fmla="*/ 3069595 w 5806384"/>
                  <a:gd name="connsiteY1158" fmla="*/ 2630574 h 4036143"/>
                  <a:gd name="connsiteX1159" fmla="*/ 3051185 w 5806384"/>
                  <a:gd name="connsiteY1159" fmla="*/ 2650401 h 4036143"/>
                  <a:gd name="connsiteX1160" fmla="*/ 3017196 w 5806384"/>
                  <a:gd name="connsiteY1160" fmla="*/ 2575343 h 4036143"/>
                  <a:gd name="connsiteX1161" fmla="*/ 3069595 w 5806384"/>
                  <a:gd name="connsiteY1161" fmla="*/ 2630574 h 4036143"/>
                  <a:gd name="connsiteX1162" fmla="*/ 2854334 w 5806384"/>
                  <a:gd name="connsiteY1162" fmla="*/ 2226960 h 4036143"/>
                  <a:gd name="connsiteX1163" fmla="*/ 2715547 w 5806384"/>
                  <a:gd name="connsiteY1163" fmla="*/ 1807768 h 4036143"/>
                  <a:gd name="connsiteX1164" fmla="*/ 2729709 w 5806384"/>
                  <a:gd name="connsiteY1164" fmla="*/ 1810600 h 4036143"/>
                  <a:gd name="connsiteX1165" fmla="*/ 2896819 w 5806384"/>
                  <a:gd name="connsiteY1165" fmla="*/ 2239706 h 4036143"/>
                  <a:gd name="connsiteX1166" fmla="*/ 2854334 w 5806384"/>
                  <a:gd name="connsiteY1166" fmla="*/ 2226960 h 4036143"/>
                  <a:gd name="connsiteX1167" fmla="*/ 2714130 w 5806384"/>
                  <a:gd name="connsiteY1167" fmla="*/ 1804935 h 4036143"/>
                  <a:gd name="connsiteX1168" fmla="*/ 2641905 w 5806384"/>
                  <a:gd name="connsiteY1168" fmla="*/ 1585426 h 4036143"/>
                  <a:gd name="connsiteX1169" fmla="*/ 2728292 w 5806384"/>
                  <a:gd name="connsiteY1169" fmla="*/ 1807768 h 4036143"/>
                  <a:gd name="connsiteX1170" fmla="*/ 2714130 w 5806384"/>
                  <a:gd name="connsiteY1170" fmla="*/ 1804935 h 4036143"/>
                  <a:gd name="connsiteX1171" fmla="*/ 3393902 w 5806384"/>
                  <a:gd name="connsiteY1171" fmla="*/ 2280775 h 4036143"/>
                  <a:gd name="connsiteX1172" fmla="*/ 3688471 w 5806384"/>
                  <a:gd name="connsiteY1172" fmla="*/ 2452135 h 4036143"/>
                  <a:gd name="connsiteX1173" fmla="*/ 3327342 w 5806384"/>
                  <a:gd name="connsiteY1173" fmla="*/ 2354417 h 4036143"/>
                  <a:gd name="connsiteX1174" fmla="*/ 3393902 w 5806384"/>
                  <a:gd name="connsiteY1174" fmla="*/ 2280775 h 4036143"/>
                  <a:gd name="connsiteX1175" fmla="*/ 3324509 w 5806384"/>
                  <a:gd name="connsiteY1175" fmla="*/ 2353001 h 4036143"/>
                  <a:gd name="connsiteX1176" fmla="*/ 3124826 w 5806384"/>
                  <a:gd name="connsiteY1176" fmla="*/ 2299186 h 4036143"/>
                  <a:gd name="connsiteX1177" fmla="*/ 3171561 w 5806384"/>
                  <a:gd name="connsiteY1177" fmla="*/ 2156151 h 4036143"/>
                  <a:gd name="connsiteX1178" fmla="*/ 3184306 w 5806384"/>
                  <a:gd name="connsiteY1178" fmla="*/ 2154735 h 4036143"/>
                  <a:gd name="connsiteX1179" fmla="*/ 3182890 w 5806384"/>
                  <a:gd name="connsiteY1179" fmla="*/ 2157567 h 4036143"/>
                  <a:gd name="connsiteX1180" fmla="*/ 3182890 w 5806384"/>
                  <a:gd name="connsiteY1180" fmla="*/ 2157567 h 4036143"/>
                  <a:gd name="connsiteX1181" fmla="*/ 3392486 w 5806384"/>
                  <a:gd name="connsiteY1181" fmla="*/ 2279359 h 4036143"/>
                  <a:gd name="connsiteX1182" fmla="*/ 3324509 w 5806384"/>
                  <a:gd name="connsiteY1182" fmla="*/ 2353001 h 4036143"/>
                  <a:gd name="connsiteX1183" fmla="*/ 2321846 w 5806384"/>
                  <a:gd name="connsiteY1183" fmla="*/ 2083925 h 4036143"/>
                  <a:gd name="connsiteX1184" fmla="*/ 2260950 w 5806384"/>
                  <a:gd name="connsiteY1184" fmla="*/ 2292105 h 4036143"/>
                  <a:gd name="connsiteX1185" fmla="*/ 2253869 w 5806384"/>
                  <a:gd name="connsiteY1185" fmla="*/ 2051352 h 4036143"/>
                  <a:gd name="connsiteX1186" fmla="*/ 2321846 w 5806384"/>
                  <a:gd name="connsiteY1186" fmla="*/ 2083925 h 4036143"/>
                  <a:gd name="connsiteX1187" fmla="*/ 2253869 w 5806384"/>
                  <a:gd name="connsiteY1187" fmla="*/ 2048520 h 4036143"/>
                  <a:gd name="connsiteX1188" fmla="*/ 2243955 w 5806384"/>
                  <a:gd name="connsiteY1188" fmla="*/ 1656235 h 4036143"/>
                  <a:gd name="connsiteX1189" fmla="*/ 2287857 w 5806384"/>
                  <a:gd name="connsiteY1189" fmla="*/ 1643489 h 4036143"/>
                  <a:gd name="connsiteX1190" fmla="*/ 2408233 w 5806384"/>
                  <a:gd name="connsiteY1190" fmla="*/ 1792190 h 4036143"/>
                  <a:gd name="connsiteX1191" fmla="*/ 2323262 w 5806384"/>
                  <a:gd name="connsiteY1191" fmla="*/ 2081092 h 4036143"/>
                  <a:gd name="connsiteX1192" fmla="*/ 2253869 w 5806384"/>
                  <a:gd name="connsiteY1192" fmla="*/ 2048520 h 4036143"/>
                  <a:gd name="connsiteX1193" fmla="*/ 2843004 w 5806384"/>
                  <a:gd name="connsiteY1193" fmla="*/ 2336007 h 4036143"/>
                  <a:gd name="connsiteX1194" fmla="*/ 2488956 w 5806384"/>
                  <a:gd name="connsiteY1194" fmla="*/ 2163232 h 4036143"/>
                  <a:gd name="connsiteX1195" fmla="*/ 2535691 w 5806384"/>
                  <a:gd name="connsiteY1195" fmla="*/ 1952219 h 4036143"/>
                  <a:gd name="connsiteX1196" fmla="*/ 2843004 w 5806384"/>
                  <a:gd name="connsiteY1196" fmla="*/ 2336007 h 4036143"/>
                  <a:gd name="connsiteX1197" fmla="*/ 2957715 w 5806384"/>
                  <a:gd name="connsiteY1197" fmla="*/ 2394071 h 4036143"/>
                  <a:gd name="connsiteX1198" fmla="*/ 3020028 w 5806384"/>
                  <a:gd name="connsiteY1198" fmla="*/ 2552684 h 4036143"/>
                  <a:gd name="connsiteX1199" fmla="*/ 2850085 w 5806384"/>
                  <a:gd name="connsiteY1199" fmla="*/ 2341672 h 4036143"/>
                  <a:gd name="connsiteX1200" fmla="*/ 2957715 w 5806384"/>
                  <a:gd name="connsiteY1200" fmla="*/ 2394071 h 4036143"/>
                  <a:gd name="connsiteX1201" fmla="*/ 2847253 w 5806384"/>
                  <a:gd name="connsiteY1201" fmla="*/ 2337423 h 4036143"/>
                  <a:gd name="connsiteX1202" fmla="*/ 2535691 w 5806384"/>
                  <a:gd name="connsiteY1202" fmla="*/ 1949387 h 4036143"/>
                  <a:gd name="connsiteX1203" fmla="*/ 2573928 w 5806384"/>
                  <a:gd name="connsiteY1203" fmla="*/ 1778028 h 4036143"/>
                  <a:gd name="connsiteX1204" fmla="*/ 2712715 w 5806384"/>
                  <a:gd name="connsiteY1204" fmla="*/ 1804935 h 4036143"/>
                  <a:gd name="connsiteX1205" fmla="*/ 2851501 w 5806384"/>
                  <a:gd name="connsiteY1205" fmla="*/ 2226960 h 4036143"/>
                  <a:gd name="connsiteX1206" fmla="*/ 2851501 w 5806384"/>
                  <a:gd name="connsiteY1206" fmla="*/ 2226960 h 4036143"/>
                  <a:gd name="connsiteX1207" fmla="*/ 2898235 w 5806384"/>
                  <a:gd name="connsiteY1207" fmla="*/ 2239706 h 4036143"/>
                  <a:gd name="connsiteX1208" fmla="*/ 2957715 w 5806384"/>
                  <a:gd name="connsiteY1208" fmla="*/ 2389822 h 4036143"/>
                  <a:gd name="connsiteX1209" fmla="*/ 2847253 w 5806384"/>
                  <a:gd name="connsiteY1209" fmla="*/ 2337423 h 4036143"/>
                  <a:gd name="connsiteX1210" fmla="*/ 2534274 w 5806384"/>
                  <a:gd name="connsiteY1210" fmla="*/ 1947971 h 4036143"/>
                  <a:gd name="connsiteX1211" fmla="*/ 2408233 w 5806384"/>
                  <a:gd name="connsiteY1211" fmla="*/ 1792190 h 4036143"/>
                  <a:gd name="connsiteX1212" fmla="*/ 2420979 w 5806384"/>
                  <a:gd name="connsiteY1212" fmla="*/ 1749704 h 4036143"/>
                  <a:gd name="connsiteX1213" fmla="*/ 2571095 w 5806384"/>
                  <a:gd name="connsiteY1213" fmla="*/ 1779444 h 4036143"/>
                  <a:gd name="connsiteX1214" fmla="*/ 2534274 w 5806384"/>
                  <a:gd name="connsiteY1214" fmla="*/ 1947971 h 4036143"/>
                  <a:gd name="connsiteX1215" fmla="*/ 2420979 w 5806384"/>
                  <a:gd name="connsiteY1215" fmla="*/ 1746871 h 4036143"/>
                  <a:gd name="connsiteX1216" fmla="*/ 2420979 w 5806384"/>
                  <a:gd name="connsiteY1216" fmla="*/ 1746871 h 4036143"/>
                  <a:gd name="connsiteX1217" fmla="*/ 2408233 w 5806384"/>
                  <a:gd name="connsiteY1217" fmla="*/ 1789357 h 4036143"/>
                  <a:gd name="connsiteX1218" fmla="*/ 2289273 w 5806384"/>
                  <a:gd name="connsiteY1218" fmla="*/ 1642073 h 4036143"/>
                  <a:gd name="connsiteX1219" fmla="*/ 2623495 w 5806384"/>
                  <a:gd name="connsiteY1219" fmla="*/ 1542940 h 4036143"/>
                  <a:gd name="connsiteX1220" fmla="*/ 2572511 w 5806384"/>
                  <a:gd name="connsiteY1220" fmla="*/ 1776611 h 4036143"/>
                  <a:gd name="connsiteX1221" fmla="*/ 2420979 w 5806384"/>
                  <a:gd name="connsiteY1221" fmla="*/ 1746871 h 4036143"/>
                  <a:gd name="connsiteX1222" fmla="*/ 2408233 w 5806384"/>
                  <a:gd name="connsiteY1222" fmla="*/ 1793606 h 4036143"/>
                  <a:gd name="connsiteX1223" fmla="*/ 2534274 w 5806384"/>
                  <a:gd name="connsiteY1223" fmla="*/ 1949387 h 4036143"/>
                  <a:gd name="connsiteX1224" fmla="*/ 2487540 w 5806384"/>
                  <a:gd name="connsiteY1224" fmla="*/ 2160399 h 4036143"/>
                  <a:gd name="connsiteX1225" fmla="*/ 2323262 w 5806384"/>
                  <a:gd name="connsiteY1225" fmla="*/ 2081092 h 4036143"/>
                  <a:gd name="connsiteX1226" fmla="*/ 2408233 w 5806384"/>
                  <a:gd name="connsiteY1226" fmla="*/ 1793606 h 4036143"/>
                  <a:gd name="connsiteX1227" fmla="*/ 3310347 w 5806384"/>
                  <a:gd name="connsiteY1227" fmla="*/ 1892739 h 4036143"/>
                  <a:gd name="connsiteX1228" fmla="*/ 3304682 w 5806384"/>
                  <a:gd name="connsiteY1228" fmla="*/ 1904069 h 4036143"/>
                  <a:gd name="connsiteX1229" fmla="*/ 3211214 w 5806384"/>
                  <a:gd name="connsiteY1229" fmla="*/ 1868664 h 4036143"/>
                  <a:gd name="connsiteX1230" fmla="*/ 3209797 w 5806384"/>
                  <a:gd name="connsiteY1230" fmla="*/ 1868664 h 4036143"/>
                  <a:gd name="connsiteX1231" fmla="*/ 3293353 w 5806384"/>
                  <a:gd name="connsiteY1231" fmla="*/ 1928144 h 4036143"/>
                  <a:gd name="connsiteX1232" fmla="*/ 3185723 w 5806384"/>
                  <a:gd name="connsiteY1232" fmla="*/ 2153318 h 4036143"/>
                  <a:gd name="connsiteX1233" fmla="*/ 3170144 w 5806384"/>
                  <a:gd name="connsiteY1233" fmla="*/ 2154735 h 4036143"/>
                  <a:gd name="connsiteX1234" fmla="*/ 3170144 w 5806384"/>
                  <a:gd name="connsiteY1234" fmla="*/ 2154735 h 4036143"/>
                  <a:gd name="connsiteX1235" fmla="*/ 3121994 w 5806384"/>
                  <a:gd name="connsiteY1235" fmla="*/ 2299186 h 4036143"/>
                  <a:gd name="connsiteX1236" fmla="*/ 3031358 w 5806384"/>
                  <a:gd name="connsiteY1236" fmla="*/ 2275111 h 4036143"/>
                  <a:gd name="connsiteX1237" fmla="*/ 3021444 w 5806384"/>
                  <a:gd name="connsiteY1237" fmla="*/ 1476379 h 4036143"/>
                  <a:gd name="connsiteX1238" fmla="*/ 3243786 w 5806384"/>
                  <a:gd name="connsiteY1238" fmla="*/ 1605252 h 4036143"/>
                  <a:gd name="connsiteX1239" fmla="*/ 3310347 w 5806384"/>
                  <a:gd name="connsiteY1239" fmla="*/ 1892739 h 4036143"/>
                  <a:gd name="connsiteX1240" fmla="*/ 3544019 w 5806384"/>
                  <a:gd name="connsiteY1240" fmla="*/ 2106584 h 4036143"/>
                  <a:gd name="connsiteX1241" fmla="*/ 3188554 w 5806384"/>
                  <a:gd name="connsiteY1241" fmla="*/ 2151902 h 4036143"/>
                  <a:gd name="connsiteX1242" fmla="*/ 3296186 w 5806384"/>
                  <a:gd name="connsiteY1242" fmla="*/ 1928144 h 4036143"/>
                  <a:gd name="connsiteX1243" fmla="*/ 3544019 w 5806384"/>
                  <a:gd name="connsiteY1243" fmla="*/ 2106584 h 4036143"/>
                  <a:gd name="connsiteX1244" fmla="*/ 3223959 w 5806384"/>
                  <a:gd name="connsiteY1244" fmla="*/ 1875745 h 4036143"/>
                  <a:gd name="connsiteX1245" fmla="*/ 3303267 w 5806384"/>
                  <a:gd name="connsiteY1245" fmla="*/ 1905485 h 4036143"/>
                  <a:gd name="connsiteX1246" fmla="*/ 3293353 w 5806384"/>
                  <a:gd name="connsiteY1246" fmla="*/ 1925311 h 4036143"/>
                  <a:gd name="connsiteX1247" fmla="*/ 3223959 w 5806384"/>
                  <a:gd name="connsiteY1247" fmla="*/ 1875745 h 4036143"/>
                  <a:gd name="connsiteX1248" fmla="*/ 3121994 w 5806384"/>
                  <a:gd name="connsiteY1248" fmla="*/ 2300602 h 4036143"/>
                  <a:gd name="connsiteX1249" fmla="*/ 3073843 w 5806384"/>
                  <a:gd name="connsiteY1249" fmla="*/ 2447886 h 4036143"/>
                  <a:gd name="connsiteX1250" fmla="*/ 3034190 w 5806384"/>
                  <a:gd name="connsiteY1250" fmla="*/ 2429475 h 4036143"/>
                  <a:gd name="connsiteX1251" fmla="*/ 3032773 w 5806384"/>
                  <a:gd name="connsiteY1251" fmla="*/ 2277943 h 4036143"/>
                  <a:gd name="connsiteX1252" fmla="*/ 3121994 w 5806384"/>
                  <a:gd name="connsiteY1252" fmla="*/ 2300602 h 4036143"/>
                  <a:gd name="connsiteX1253" fmla="*/ 3031358 w 5806384"/>
                  <a:gd name="connsiteY1253" fmla="*/ 2428059 h 4036143"/>
                  <a:gd name="connsiteX1254" fmla="*/ 2959132 w 5806384"/>
                  <a:gd name="connsiteY1254" fmla="*/ 2392654 h 4036143"/>
                  <a:gd name="connsiteX1255" fmla="*/ 2899652 w 5806384"/>
                  <a:gd name="connsiteY1255" fmla="*/ 2241122 h 4036143"/>
                  <a:gd name="connsiteX1256" fmla="*/ 3028525 w 5806384"/>
                  <a:gd name="connsiteY1256" fmla="*/ 2276527 h 4036143"/>
                  <a:gd name="connsiteX1257" fmla="*/ 3031358 w 5806384"/>
                  <a:gd name="connsiteY1257" fmla="*/ 2428059 h 4036143"/>
                  <a:gd name="connsiteX1258" fmla="*/ 3072427 w 5806384"/>
                  <a:gd name="connsiteY1258" fmla="*/ 2449302 h 4036143"/>
                  <a:gd name="connsiteX1259" fmla="*/ 3035606 w 5806384"/>
                  <a:gd name="connsiteY1259" fmla="*/ 2559765 h 4036143"/>
                  <a:gd name="connsiteX1260" fmla="*/ 3034190 w 5806384"/>
                  <a:gd name="connsiteY1260" fmla="*/ 2429475 h 4036143"/>
                  <a:gd name="connsiteX1261" fmla="*/ 3072427 w 5806384"/>
                  <a:gd name="connsiteY1261" fmla="*/ 2449302 h 4036143"/>
                  <a:gd name="connsiteX1262" fmla="*/ 3075259 w 5806384"/>
                  <a:gd name="connsiteY1262" fmla="*/ 2447886 h 4036143"/>
                  <a:gd name="connsiteX1263" fmla="*/ 3123410 w 5806384"/>
                  <a:gd name="connsiteY1263" fmla="*/ 2300602 h 4036143"/>
                  <a:gd name="connsiteX1264" fmla="*/ 3323093 w 5806384"/>
                  <a:gd name="connsiteY1264" fmla="*/ 2354417 h 4036143"/>
                  <a:gd name="connsiteX1265" fmla="*/ 3187139 w 5806384"/>
                  <a:gd name="connsiteY1265" fmla="*/ 2503117 h 4036143"/>
                  <a:gd name="connsiteX1266" fmla="*/ 3075259 w 5806384"/>
                  <a:gd name="connsiteY1266" fmla="*/ 2447886 h 4036143"/>
                  <a:gd name="connsiteX1267" fmla="*/ 3185723 w 5806384"/>
                  <a:gd name="connsiteY1267" fmla="*/ 2157567 h 4036143"/>
                  <a:gd name="connsiteX1268" fmla="*/ 3187139 w 5806384"/>
                  <a:gd name="connsiteY1268" fmla="*/ 2154735 h 4036143"/>
                  <a:gd name="connsiteX1269" fmla="*/ 3546852 w 5806384"/>
                  <a:gd name="connsiteY1269" fmla="*/ 2109416 h 4036143"/>
                  <a:gd name="connsiteX1270" fmla="*/ 3548267 w 5806384"/>
                  <a:gd name="connsiteY1270" fmla="*/ 2110833 h 4036143"/>
                  <a:gd name="connsiteX1271" fmla="*/ 3393902 w 5806384"/>
                  <a:gd name="connsiteY1271" fmla="*/ 2279359 h 4036143"/>
                  <a:gd name="connsiteX1272" fmla="*/ 3185723 w 5806384"/>
                  <a:gd name="connsiteY1272" fmla="*/ 2157567 h 4036143"/>
                  <a:gd name="connsiteX1273" fmla="*/ 3493036 w 5806384"/>
                  <a:gd name="connsiteY1273" fmla="*/ 1973462 h 4036143"/>
                  <a:gd name="connsiteX1274" fmla="*/ 3306099 w 5806384"/>
                  <a:gd name="connsiteY1274" fmla="*/ 1904069 h 4036143"/>
                  <a:gd name="connsiteX1275" fmla="*/ 3311763 w 5806384"/>
                  <a:gd name="connsiteY1275" fmla="*/ 1892739 h 4036143"/>
                  <a:gd name="connsiteX1276" fmla="*/ 3311763 w 5806384"/>
                  <a:gd name="connsiteY1276" fmla="*/ 1892739 h 4036143"/>
                  <a:gd name="connsiteX1277" fmla="*/ 3245202 w 5806384"/>
                  <a:gd name="connsiteY1277" fmla="*/ 1605252 h 4036143"/>
                  <a:gd name="connsiteX1278" fmla="*/ 3372659 w 5806384"/>
                  <a:gd name="connsiteY1278" fmla="*/ 1678894 h 4036143"/>
                  <a:gd name="connsiteX1279" fmla="*/ 3493036 w 5806384"/>
                  <a:gd name="connsiteY1279" fmla="*/ 1973462 h 4036143"/>
                  <a:gd name="connsiteX1280" fmla="*/ 3245202 w 5806384"/>
                  <a:gd name="connsiteY1280" fmla="*/ 1602420 h 4036143"/>
                  <a:gd name="connsiteX1281" fmla="*/ 3184306 w 5806384"/>
                  <a:gd name="connsiteY1281" fmla="*/ 1341841 h 4036143"/>
                  <a:gd name="connsiteX1282" fmla="*/ 3232457 w 5806384"/>
                  <a:gd name="connsiteY1282" fmla="*/ 1337592 h 4036143"/>
                  <a:gd name="connsiteX1283" fmla="*/ 3371244 w 5806384"/>
                  <a:gd name="connsiteY1283" fmla="*/ 1676062 h 4036143"/>
                  <a:gd name="connsiteX1284" fmla="*/ 3245202 w 5806384"/>
                  <a:gd name="connsiteY1284" fmla="*/ 1602420 h 4036143"/>
                  <a:gd name="connsiteX1285" fmla="*/ 3546852 w 5806384"/>
                  <a:gd name="connsiteY1285" fmla="*/ 2106584 h 4036143"/>
                  <a:gd name="connsiteX1286" fmla="*/ 3296186 w 5806384"/>
                  <a:gd name="connsiteY1286" fmla="*/ 1926728 h 4036143"/>
                  <a:gd name="connsiteX1287" fmla="*/ 3306099 w 5806384"/>
                  <a:gd name="connsiteY1287" fmla="*/ 1905485 h 4036143"/>
                  <a:gd name="connsiteX1288" fmla="*/ 3494452 w 5806384"/>
                  <a:gd name="connsiteY1288" fmla="*/ 1976294 h 4036143"/>
                  <a:gd name="connsiteX1289" fmla="*/ 3546852 w 5806384"/>
                  <a:gd name="connsiteY1289" fmla="*/ 2106584 h 4036143"/>
                  <a:gd name="connsiteX1290" fmla="*/ 3546852 w 5806384"/>
                  <a:gd name="connsiteY1290" fmla="*/ 2106584 h 4036143"/>
                  <a:gd name="connsiteX1291" fmla="*/ 3248035 w 5806384"/>
                  <a:gd name="connsiteY1291" fmla="*/ 1334760 h 4036143"/>
                  <a:gd name="connsiteX1292" fmla="*/ 3233873 w 5806384"/>
                  <a:gd name="connsiteY1292" fmla="*/ 1336176 h 4036143"/>
                  <a:gd name="connsiteX1293" fmla="*/ 3226792 w 5806384"/>
                  <a:gd name="connsiteY1293" fmla="*/ 1320598 h 4036143"/>
                  <a:gd name="connsiteX1294" fmla="*/ 3248035 w 5806384"/>
                  <a:gd name="connsiteY1294" fmla="*/ 1334760 h 4036143"/>
                  <a:gd name="connsiteX1295" fmla="*/ 3223959 w 5806384"/>
                  <a:gd name="connsiteY1295" fmla="*/ 1317766 h 4036143"/>
                  <a:gd name="connsiteX1296" fmla="*/ 3231040 w 5806384"/>
                  <a:gd name="connsiteY1296" fmla="*/ 1336176 h 4036143"/>
                  <a:gd name="connsiteX1297" fmla="*/ 3182890 w 5806384"/>
                  <a:gd name="connsiteY1297" fmla="*/ 1340425 h 4036143"/>
                  <a:gd name="connsiteX1298" fmla="*/ 3168728 w 5806384"/>
                  <a:gd name="connsiteY1298" fmla="*/ 1276696 h 4036143"/>
                  <a:gd name="connsiteX1299" fmla="*/ 3223959 w 5806384"/>
                  <a:gd name="connsiteY1299" fmla="*/ 1317766 h 4036143"/>
                  <a:gd name="connsiteX1300" fmla="*/ 2243955 w 5806384"/>
                  <a:gd name="connsiteY1300" fmla="*/ 1653403 h 4036143"/>
                  <a:gd name="connsiteX1301" fmla="*/ 2242539 w 5806384"/>
                  <a:gd name="connsiteY1301" fmla="*/ 1586842 h 4036143"/>
                  <a:gd name="connsiteX1302" fmla="*/ 2286441 w 5806384"/>
                  <a:gd name="connsiteY1302" fmla="*/ 1642073 h 4036143"/>
                  <a:gd name="connsiteX1303" fmla="*/ 2243955 w 5806384"/>
                  <a:gd name="connsiteY1303" fmla="*/ 1653403 h 4036143"/>
                  <a:gd name="connsiteX1304" fmla="*/ 3071011 w 5806384"/>
                  <a:gd name="connsiteY1304" fmla="*/ 2631991 h 4036143"/>
                  <a:gd name="connsiteX1305" fmla="*/ 3301850 w 5806384"/>
                  <a:gd name="connsiteY1305" fmla="*/ 2869911 h 4036143"/>
                  <a:gd name="connsiteX1306" fmla="*/ 3129075 w 5806384"/>
                  <a:gd name="connsiteY1306" fmla="*/ 2821760 h 4036143"/>
                  <a:gd name="connsiteX1307" fmla="*/ 3052600 w 5806384"/>
                  <a:gd name="connsiteY1307" fmla="*/ 2653234 h 4036143"/>
                  <a:gd name="connsiteX1308" fmla="*/ 3071011 w 5806384"/>
                  <a:gd name="connsiteY1308" fmla="*/ 2631991 h 4036143"/>
                  <a:gd name="connsiteX1309" fmla="*/ 3398152 w 5806384"/>
                  <a:gd name="connsiteY1309" fmla="*/ 2607916 h 4036143"/>
                  <a:gd name="connsiteX1310" fmla="*/ 3436388 w 5806384"/>
                  <a:gd name="connsiteY1310" fmla="*/ 2885489 h 4036143"/>
                  <a:gd name="connsiteX1311" fmla="*/ 3342920 w 5806384"/>
                  <a:gd name="connsiteY1311" fmla="*/ 2932223 h 4036143"/>
                  <a:gd name="connsiteX1312" fmla="*/ 3314596 w 5806384"/>
                  <a:gd name="connsiteY1312" fmla="*/ 2797685 h 4036143"/>
                  <a:gd name="connsiteX1313" fmla="*/ 3314596 w 5806384"/>
                  <a:gd name="connsiteY1313" fmla="*/ 2796269 h 4036143"/>
                  <a:gd name="connsiteX1314" fmla="*/ 3307515 w 5806384"/>
                  <a:gd name="connsiteY1314" fmla="*/ 2872743 h 4036143"/>
                  <a:gd name="connsiteX1315" fmla="*/ 3072427 w 5806384"/>
                  <a:gd name="connsiteY1315" fmla="*/ 2630574 h 4036143"/>
                  <a:gd name="connsiteX1316" fmla="*/ 3187139 w 5806384"/>
                  <a:gd name="connsiteY1316" fmla="*/ 2505950 h 4036143"/>
                  <a:gd name="connsiteX1317" fmla="*/ 3398152 w 5806384"/>
                  <a:gd name="connsiteY1317" fmla="*/ 2607916 h 4036143"/>
                  <a:gd name="connsiteX1318" fmla="*/ 3716795 w 5806384"/>
                  <a:gd name="connsiteY1318" fmla="*/ 1300771 h 4036143"/>
                  <a:gd name="connsiteX1319" fmla="*/ 3681390 w 5806384"/>
                  <a:gd name="connsiteY1319" fmla="*/ 1656235 h 4036143"/>
                  <a:gd name="connsiteX1320" fmla="*/ 3253700 w 5806384"/>
                  <a:gd name="connsiteY1320" fmla="*/ 1337592 h 4036143"/>
                  <a:gd name="connsiteX1321" fmla="*/ 3716795 w 5806384"/>
                  <a:gd name="connsiteY1321" fmla="*/ 1300771 h 4036143"/>
                  <a:gd name="connsiteX1322" fmla="*/ 3747950 w 5806384"/>
                  <a:gd name="connsiteY1322" fmla="*/ 1296523 h 4036143"/>
                  <a:gd name="connsiteX1323" fmla="*/ 3718210 w 5806384"/>
                  <a:gd name="connsiteY1323" fmla="*/ 1299355 h 4036143"/>
                  <a:gd name="connsiteX1324" fmla="*/ 3722459 w 5806384"/>
                  <a:gd name="connsiteY1324" fmla="*/ 1256869 h 4036143"/>
                  <a:gd name="connsiteX1325" fmla="*/ 3747950 w 5806384"/>
                  <a:gd name="connsiteY1325" fmla="*/ 1296523 h 4036143"/>
                  <a:gd name="connsiteX1326" fmla="*/ 4004281 w 5806384"/>
                  <a:gd name="connsiteY1326" fmla="*/ 1178979 h 4036143"/>
                  <a:gd name="connsiteX1327" fmla="*/ 4015611 w 5806384"/>
                  <a:gd name="connsiteY1327" fmla="*/ 1150655 h 4036143"/>
                  <a:gd name="connsiteX1328" fmla="*/ 4150149 w 5806384"/>
                  <a:gd name="connsiteY1328" fmla="*/ 1108169 h 4036143"/>
                  <a:gd name="connsiteX1329" fmla="*/ 4202548 w 5806384"/>
                  <a:gd name="connsiteY1329" fmla="*/ 1215800 h 4036143"/>
                  <a:gd name="connsiteX1330" fmla="*/ 4004281 w 5806384"/>
                  <a:gd name="connsiteY1330" fmla="*/ 1178979 h 4036143"/>
                  <a:gd name="connsiteX1331" fmla="*/ 3957547 w 5806384"/>
                  <a:gd name="connsiteY1331" fmla="*/ 1169066 h 4036143"/>
                  <a:gd name="connsiteX1332" fmla="*/ 4014195 w 5806384"/>
                  <a:gd name="connsiteY1332" fmla="*/ 1150655 h 4036143"/>
                  <a:gd name="connsiteX1333" fmla="*/ 4002865 w 5806384"/>
                  <a:gd name="connsiteY1333" fmla="*/ 1177563 h 4036143"/>
                  <a:gd name="connsiteX1334" fmla="*/ 3957547 w 5806384"/>
                  <a:gd name="connsiteY1334" fmla="*/ 1169066 h 4036143"/>
                  <a:gd name="connsiteX1335" fmla="*/ 4182721 w 5806384"/>
                  <a:gd name="connsiteY1335" fmla="*/ 1095424 h 4036143"/>
                  <a:gd name="connsiteX1336" fmla="*/ 4151565 w 5806384"/>
                  <a:gd name="connsiteY1336" fmla="*/ 1105337 h 4036143"/>
                  <a:gd name="connsiteX1337" fmla="*/ 4143068 w 5806384"/>
                  <a:gd name="connsiteY1337" fmla="*/ 1086926 h 4036143"/>
                  <a:gd name="connsiteX1338" fmla="*/ 4182721 w 5806384"/>
                  <a:gd name="connsiteY1338" fmla="*/ 1095424 h 4036143"/>
                  <a:gd name="connsiteX1339" fmla="*/ 4185554 w 5806384"/>
                  <a:gd name="connsiteY1339" fmla="*/ 1094007 h 4036143"/>
                  <a:gd name="connsiteX1340" fmla="*/ 4140235 w 5806384"/>
                  <a:gd name="connsiteY1340" fmla="*/ 1084094 h 4036143"/>
                  <a:gd name="connsiteX1341" fmla="*/ 4087836 w 5806384"/>
                  <a:gd name="connsiteY1341" fmla="*/ 977880 h 4036143"/>
                  <a:gd name="connsiteX1342" fmla="*/ 4111911 w 5806384"/>
                  <a:gd name="connsiteY1342" fmla="*/ 919816 h 4036143"/>
                  <a:gd name="connsiteX1343" fmla="*/ 4430555 w 5806384"/>
                  <a:gd name="connsiteY1343" fmla="*/ 911319 h 4036143"/>
                  <a:gd name="connsiteX1344" fmla="*/ 4443301 w 5806384"/>
                  <a:gd name="connsiteY1344" fmla="*/ 1010452 h 4036143"/>
                  <a:gd name="connsiteX1345" fmla="*/ 4185554 w 5806384"/>
                  <a:gd name="connsiteY1345" fmla="*/ 1094007 h 4036143"/>
                  <a:gd name="connsiteX1346" fmla="*/ 4110496 w 5806384"/>
                  <a:gd name="connsiteY1346" fmla="*/ 919816 h 4036143"/>
                  <a:gd name="connsiteX1347" fmla="*/ 4087836 w 5806384"/>
                  <a:gd name="connsiteY1347" fmla="*/ 975047 h 4036143"/>
                  <a:gd name="connsiteX1348" fmla="*/ 4060929 w 5806384"/>
                  <a:gd name="connsiteY1348" fmla="*/ 921232 h 4036143"/>
                  <a:gd name="connsiteX1349" fmla="*/ 4110496 w 5806384"/>
                  <a:gd name="connsiteY1349" fmla="*/ 919816 h 4036143"/>
                  <a:gd name="connsiteX1350" fmla="*/ 4138819 w 5806384"/>
                  <a:gd name="connsiteY1350" fmla="*/ 1084094 h 4036143"/>
                  <a:gd name="connsiteX1351" fmla="*/ 4052431 w 5806384"/>
                  <a:gd name="connsiteY1351" fmla="*/ 1065684 h 4036143"/>
                  <a:gd name="connsiteX1352" fmla="*/ 4087836 w 5806384"/>
                  <a:gd name="connsiteY1352" fmla="*/ 980712 h 4036143"/>
                  <a:gd name="connsiteX1353" fmla="*/ 4138819 w 5806384"/>
                  <a:gd name="connsiteY1353" fmla="*/ 1084094 h 4036143"/>
                  <a:gd name="connsiteX1354" fmla="*/ 4140235 w 5806384"/>
                  <a:gd name="connsiteY1354" fmla="*/ 1085510 h 4036143"/>
                  <a:gd name="connsiteX1355" fmla="*/ 4150149 w 5806384"/>
                  <a:gd name="connsiteY1355" fmla="*/ 1105337 h 4036143"/>
                  <a:gd name="connsiteX1356" fmla="*/ 4017026 w 5806384"/>
                  <a:gd name="connsiteY1356" fmla="*/ 1147823 h 4036143"/>
                  <a:gd name="connsiteX1357" fmla="*/ 4051015 w 5806384"/>
                  <a:gd name="connsiteY1357" fmla="*/ 1065684 h 4036143"/>
                  <a:gd name="connsiteX1358" fmla="*/ 4140235 w 5806384"/>
                  <a:gd name="connsiteY1358" fmla="*/ 1085510 h 4036143"/>
                  <a:gd name="connsiteX1359" fmla="*/ 3136156 w 5806384"/>
                  <a:gd name="connsiteY1359" fmla="*/ 1101088 h 4036143"/>
                  <a:gd name="connsiteX1360" fmla="*/ 3222543 w 5806384"/>
                  <a:gd name="connsiteY1360" fmla="*/ 1313517 h 4036143"/>
                  <a:gd name="connsiteX1361" fmla="*/ 3167312 w 5806384"/>
                  <a:gd name="connsiteY1361" fmla="*/ 1272448 h 4036143"/>
                  <a:gd name="connsiteX1362" fmla="*/ 3158815 w 5806384"/>
                  <a:gd name="connsiteY1362" fmla="*/ 1238459 h 4036143"/>
                  <a:gd name="connsiteX1363" fmla="*/ 3158815 w 5806384"/>
                  <a:gd name="connsiteY1363" fmla="*/ 1238459 h 4036143"/>
                  <a:gd name="connsiteX1364" fmla="*/ 3069595 w 5806384"/>
                  <a:gd name="connsiteY1364" fmla="*/ 1190308 h 4036143"/>
                  <a:gd name="connsiteX1365" fmla="*/ 3096502 w 5806384"/>
                  <a:gd name="connsiteY1365" fmla="*/ 1044441 h 4036143"/>
                  <a:gd name="connsiteX1366" fmla="*/ 3136156 w 5806384"/>
                  <a:gd name="connsiteY1366" fmla="*/ 1101088 h 4036143"/>
                  <a:gd name="connsiteX1367" fmla="*/ 3020028 w 5806384"/>
                  <a:gd name="connsiteY1367" fmla="*/ 1472130 h 4036143"/>
                  <a:gd name="connsiteX1368" fmla="*/ 3020028 w 5806384"/>
                  <a:gd name="connsiteY1368" fmla="*/ 1472130 h 4036143"/>
                  <a:gd name="connsiteX1369" fmla="*/ 3041271 w 5806384"/>
                  <a:gd name="connsiteY1369" fmla="*/ 1353170 h 4036143"/>
                  <a:gd name="connsiteX1370" fmla="*/ 3182890 w 5806384"/>
                  <a:gd name="connsiteY1370" fmla="*/ 1341841 h 4036143"/>
                  <a:gd name="connsiteX1371" fmla="*/ 3243786 w 5806384"/>
                  <a:gd name="connsiteY1371" fmla="*/ 1601004 h 4036143"/>
                  <a:gd name="connsiteX1372" fmla="*/ 3020028 w 5806384"/>
                  <a:gd name="connsiteY1372" fmla="*/ 1472130 h 4036143"/>
                  <a:gd name="connsiteX1373" fmla="*/ 3020028 w 5806384"/>
                  <a:gd name="connsiteY1373" fmla="*/ 1472130 h 4036143"/>
                  <a:gd name="connsiteX1374" fmla="*/ 3029942 w 5806384"/>
                  <a:gd name="connsiteY1374" fmla="*/ 2273694 h 4036143"/>
                  <a:gd name="connsiteX1375" fmla="*/ 2899652 w 5806384"/>
                  <a:gd name="connsiteY1375" fmla="*/ 2238290 h 4036143"/>
                  <a:gd name="connsiteX1376" fmla="*/ 2732542 w 5806384"/>
                  <a:gd name="connsiteY1376" fmla="*/ 1809184 h 4036143"/>
                  <a:gd name="connsiteX1377" fmla="*/ 2950635 w 5806384"/>
                  <a:gd name="connsiteY1377" fmla="*/ 1851669 h 4036143"/>
                  <a:gd name="connsiteX1378" fmla="*/ 2950635 w 5806384"/>
                  <a:gd name="connsiteY1378" fmla="*/ 1851669 h 4036143"/>
                  <a:gd name="connsiteX1379" fmla="*/ 3020028 w 5806384"/>
                  <a:gd name="connsiteY1379" fmla="*/ 1472130 h 4036143"/>
                  <a:gd name="connsiteX1380" fmla="*/ 2437973 w 5806384"/>
                  <a:gd name="connsiteY1380" fmla="*/ 2398319 h 4036143"/>
                  <a:gd name="connsiteX1381" fmla="*/ 2665980 w 5806384"/>
                  <a:gd name="connsiteY1381" fmla="*/ 2358666 h 4036143"/>
                  <a:gd name="connsiteX1382" fmla="*/ 2777859 w 5806384"/>
                  <a:gd name="connsiteY1382" fmla="*/ 2680141 h 4036143"/>
                  <a:gd name="connsiteX1383" fmla="*/ 2772195 w 5806384"/>
                  <a:gd name="connsiteY1383" fmla="*/ 2677309 h 4036143"/>
                  <a:gd name="connsiteX1384" fmla="*/ 2433725 w 5806384"/>
                  <a:gd name="connsiteY1384" fmla="*/ 2420978 h 4036143"/>
                  <a:gd name="connsiteX1385" fmla="*/ 2437973 w 5806384"/>
                  <a:gd name="connsiteY1385" fmla="*/ 2398319 h 4036143"/>
                  <a:gd name="connsiteX1386" fmla="*/ 2413898 w 5806384"/>
                  <a:gd name="connsiteY1386" fmla="*/ 2507366 h 4036143"/>
                  <a:gd name="connsiteX1387" fmla="*/ 2432309 w 5806384"/>
                  <a:gd name="connsiteY1387" fmla="*/ 2423811 h 4036143"/>
                  <a:gd name="connsiteX1388" fmla="*/ 2762281 w 5806384"/>
                  <a:gd name="connsiteY1388" fmla="*/ 2673060 h 4036143"/>
                  <a:gd name="connsiteX1389" fmla="*/ 2413898 w 5806384"/>
                  <a:gd name="connsiteY1389" fmla="*/ 2507366 h 4036143"/>
                  <a:gd name="connsiteX1390" fmla="*/ 2409650 w 5806384"/>
                  <a:gd name="connsiteY1390" fmla="*/ 2402568 h 4036143"/>
                  <a:gd name="connsiteX1391" fmla="*/ 2436557 w 5806384"/>
                  <a:gd name="connsiteY1391" fmla="*/ 2398319 h 4036143"/>
                  <a:gd name="connsiteX1392" fmla="*/ 2432309 w 5806384"/>
                  <a:gd name="connsiteY1392" fmla="*/ 2419562 h 4036143"/>
                  <a:gd name="connsiteX1393" fmla="*/ 2409650 w 5806384"/>
                  <a:gd name="connsiteY1393" fmla="*/ 2402568 h 4036143"/>
                  <a:gd name="connsiteX1394" fmla="*/ 2430893 w 5806384"/>
                  <a:gd name="connsiteY1394" fmla="*/ 2420978 h 4036143"/>
                  <a:gd name="connsiteX1395" fmla="*/ 2412482 w 5806384"/>
                  <a:gd name="connsiteY1395" fmla="*/ 2504534 h 4036143"/>
                  <a:gd name="connsiteX1396" fmla="*/ 2382742 w 5806384"/>
                  <a:gd name="connsiteY1396" fmla="*/ 2490372 h 4036143"/>
                  <a:gd name="connsiteX1397" fmla="*/ 2340256 w 5806384"/>
                  <a:gd name="connsiteY1397" fmla="*/ 2413897 h 4036143"/>
                  <a:gd name="connsiteX1398" fmla="*/ 2408233 w 5806384"/>
                  <a:gd name="connsiteY1398" fmla="*/ 2402568 h 4036143"/>
                  <a:gd name="connsiteX1399" fmla="*/ 2430893 w 5806384"/>
                  <a:gd name="connsiteY1399" fmla="*/ 2420978 h 4036143"/>
                  <a:gd name="connsiteX1400" fmla="*/ 2488956 w 5806384"/>
                  <a:gd name="connsiteY1400" fmla="*/ 2164648 h 4036143"/>
                  <a:gd name="connsiteX1401" fmla="*/ 2847253 w 5806384"/>
                  <a:gd name="connsiteY1401" fmla="*/ 2338839 h 4036143"/>
                  <a:gd name="connsiteX1402" fmla="*/ 3027109 w 5806384"/>
                  <a:gd name="connsiteY1402" fmla="*/ 2562597 h 4036143"/>
                  <a:gd name="connsiteX1403" fmla="*/ 3028525 w 5806384"/>
                  <a:gd name="connsiteY1403" fmla="*/ 2564014 h 4036143"/>
                  <a:gd name="connsiteX1404" fmla="*/ 2961964 w 5806384"/>
                  <a:gd name="connsiteY1404" fmla="*/ 2395487 h 4036143"/>
                  <a:gd name="connsiteX1405" fmla="*/ 3032773 w 5806384"/>
                  <a:gd name="connsiteY1405" fmla="*/ 2429475 h 4036143"/>
                  <a:gd name="connsiteX1406" fmla="*/ 3034190 w 5806384"/>
                  <a:gd name="connsiteY1406" fmla="*/ 2571095 h 4036143"/>
                  <a:gd name="connsiteX1407" fmla="*/ 3034190 w 5806384"/>
                  <a:gd name="connsiteY1407" fmla="*/ 2572511 h 4036143"/>
                  <a:gd name="connsiteX1408" fmla="*/ 3075259 w 5806384"/>
                  <a:gd name="connsiteY1408" fmla="*/ 2450718 h 4036143"/>
                  <a:gd name="connsiteX1409" fmla="*/ 3187139 w 5806384"/>
                  <a:gd name="connsiteY1409" fmla="*/ 2504534 h 4036143"/>
                  <a:gd name="connsiteX1410" fmla="*/ 3072427 w 5806384"/>
                  <a:gd name="connsiteY1410" fmla="*/ 2629158 h 4036143"/>
                  <a:gd name="connsiteX1411" fmla="*/ 3011531 w 5806384"/>
                  <a:gd name="connsiteY1411" fmla="*/ 2566846 h 4036143"/>
                  <a:gd name="connsiteX1412" fmla="*/ 3010115 w 5806384"/>
                  <a:gd name="connsiteY1412" fmla="*/ 2565430 h 4036143"/>
                  <a:gd name="connsiteX1413" fmla="*/ 3049768 w 5806384"/>
                  <a:gd name="connsiteY1413" fmla="*/ 2651817 h 4036143"/>
                  <a:gd name="connsiteX1414" fmla="*/ 2949219 w 5806384"/>
                  <a:gd name="connsiteY1414" fmla="*/ 2760864 h 4036143"/>
                  <a:gd name="connsiteX1415" fmla="*/ 2779276 w 5806384"/>
                  <a:gd name="connsiteY1415" fmla="*/ 2680141 h 4036143"/>
                  <a:gd name="connsiteX1416" fmla="*/ 2665980 w 5806384"/>
                  <a:gd name="connsiteY1416" fmla="*/ 2355834 h 4036143"/>
                  <a:gd name="connsiteX1417" fmla="*/ 2665980 w 5806384"/>
                  <a:gd name="connsiteY1417" fmla="*/ 2355834 h 4036143"/>
                  <a:gd name="connsiteX1418" fmla="*/ 2437973 w 5806384"/>
                  <a:gd name="connsiteY1418" fmla="*/ 2395487 h 4036143"/>
                  <a:gd name="connsiteX1419" fmla="*/ 2488956 w 5806384"/>
                  <a:gd name="connsiteY1419" fmla="*/ 2164648 h 4036143"/>
                  <a:gd name="connsiteX1420" fmla="*/ 3504366 w 5806384"/>
                  <a:gd name="connsiteY1420" fmla="*/ 2657482 h 4036143"/>
                  <a:gd name="connsiteX1421" fmla="*/ 3399567 w 5806384"/>
                  <a:gd name="connsiteY1421" fmla="*/ 2606499 h 4036143"/>
                  <a:gd name="connsiteX1422" fmla="*/ 3372659 w 5806384"/>
                  <a:gd name="connsiteY1422" fmla="*/ 2413897 h 4036143"/>
                  <a:gd name="connsiteX1423" fmla="*/ 3504366 w 5806384"/>
                  <a:gd name="connsiteY1423" fmla="*/ 2657482 h 4036143"/>
                  <a:gd name="connsiteX1424" fmla="*/ 4004281 w 5806384"/>
                  <a:gd name="connsiteY1424" fmla="*/ 1180395 h 4036143"/>
                  <a:gd name="connsiteX1425" fmla="*/ 4205381 w 5806384"/>
                  <a:gd name="connsiteY1425" fmla="*/ 1217216 h 4036143"/>
                  <a:gd name="connsiteX1426" fmla="*/ 4271941 w 5806384"/>
                  <a:gd name="connsiteY1426" fmla="*/ 1351754 h 4036143"/>
                  <a:gd name="connsiteX1427" fmla="*/ 4177057 w 5806384"/>
                  <a:gd name="connsiteY1427" fmla="*/ 1388575 h 4036143"/>
                  <a:gd name="connsiteX1428" fmla="*/ 4001449 w 5806384"/>
                  <a:gd name="connsiteY1428" fmla="*/ 1275280 h 4036143"/>
                  <a:gd name="connsiteX1429" fmla="*/ 4001449 w 5806384"/>
                  <a:gd name="connsiteY1429" fmla="*/ 1275280 h 4036143"/>
                  <a:gd name="connsiteX1430" fmla="*/ 3961795 w 5806384"/>
                  <a:gd name="connsiteY1430" fmla="*/ 1278112 h 4036143"/>
                  <a:gd name="connsiteX1431" fmla="*/ 4004281 w 5806384"/>
                  <a:gd name="connsiteY1431" fmla="*/ 1180395 h 4036143"/>
                  <a:gd name="connsiteX1432" fmla="*/ 4436220 w 5806384"/>
                  <a:gd name="connsiteY1432" fmla="*/ 1149239 h 4036143"/>
                  <a:gd name="connsiteX1433" fmla="*/ 4189802 w 5806384"/>
                  <a:gd name="connsiteY1433" fmla="*/ 1095424 h 4036143"/>
                  <a:gd name="connsiteX1434" fmla="*/ 4444717 w 5806384"/>
                  <a:gd name="connsiteY1434" fmla="*/ 1013285 h 4036143"/>
                  <a:gd name="connsiteX1435" fmla="*/ 4457463 w 5806384"/>
                  <a:gd name="connsiteY1435" fmla="*/ 1115250 h 4036143"/>
                  <a:gd name="connsiteX1436" fmla="*/ 4436220 w 5806384"/>
                  <a:gd name="connsiteY1436" fmla="*/ 1149239 h 4036143"/>
                  <a:gd name="connsiteX1437" fmla="*/ 3949049 w 5806384"/>
                  <a:gd name="connsiteY1437" fmla="*/ 1170482 h 4036143"/>
                  <a:gd name="connsiteX1438" fmla="*/ 3723876 w 5806384"/>
                  <a:gd name="connsiteY1438" fmla="*/ 1242707 h 4036143"/>
                  <a:gd name="connsiteX1439" fmla="*/ 3603499 w 5806384"/>
                  <a:gd name="connsiteY1439" fmla="*/ 1106753 h 4036143"/>
                  <a:gd name="connsiteX1440" fmla="*/ 3949049 w 5806384"/>
                  <a:gd name="connsiteY1440" fmla="*/ 1170482 h 4036143"/>
                  <a:gd name="connsiteX1441" fmla="*/ 3953298 w 5806384"/>
                  <a:gd name="connsiteY1441" fmla="*/ 1170482 h 4036143"/>
                  <a:gd name="connsiteX1442" fmla="*/ 4001449 w 5806384"/>
                  <a:gd name="connsiteY1442" fmla="*/ 1178979 h 4036143"/>
                  <a:gd name="connsiteX1443" fmla="*/ 3960379 w 5806384"/>
                  <a:gd name="connsiteY1443" fmla="*/ 1278112 h 4036143"/>
                  <a:gd name="connsiteX1444" fmla="*/ 3750783 w 5806384"/>
                  <a:gd name="connsiteY1444" fmla="*/ 1295107 h 4036143"/>
                  <a:gd name="connsiteX1445" fmla="*/ 3722459 w 5806384"/>
                  <a:gd name="connsiteY1445" fmla="*/ 1249788 h 4036143"/>
                  <a:gd name="connsiteX1446" fmla="*/ 3722459 w 5806384"/>
                  <a:gd name="connsiteY1446" fmla="*/ 1249788 h 4036143"/>
                  <a:gd name="connsiteX1447" fmla="*/ 3718210 w 5806384"/>
                  <a:gd name="connsiteY1447" fmla="*/ 1297939 h 4036143"/>
                  <a:gd name="connsiteX1448" fmla="*/ 3252283 w 5806384"/>
                  <a:gd name="connsiteY1448" fmla="*/ 1334760 h 4036143"/>
                  <a:gd name="connsiteX1449" fmla="*/ 3226792 w 5806384"/>
                  <a:gd name="connsiteY1449" fmla="*/ 1316349 h 4036143"/>
                  <a:gd name="connsiteX1450" fmla="*/ 3138988 w 5806384"/>
                  <a:gd name="connsiteY1450" fmla="*/ 1101088 h 4036143"/>
                  <a:gd name="connsiteX1451" fmla="*/ 3099335 w 5806384"/>
                  <a:gd name="connsiteY1451" fmla="*/ 1044441 h 4036143"/>
                  <a:gd name="connsiteX1452" fmla="*/ 3105000 w 5806384"/>
                  <a:gd name="connsiteY1452" fmla="*/ 1016117 h 4036143"/>
                  <a:gd name="connsiteX1453" fmla="*/ 3600667 w 5806384"/>
                  <a:gd name="connsiteY1453" fmla="*/ 1106753 h 4036143"/>
                  <a:gd name="connsiteX1454" fmla="*/ 3723876 w 5806384"/>
                  <a:gd name="connsiteY1454" fmla="*/ 1245540 h 4036143"/>
                  <a:gd name="connsiteX1455" fmla="*/ 3723876 w 5806384"/>
                  <a:gd name="connsiteY1455" fmla="*/ 1245540 h 4036143"/>
                  <a:gd name="connsiteX1456" fmla="*/ 3953298 w 5806384"/>
                  <a:gd name="connsiteY1456" fmla="*/ 1170482 h 4036143"/>
                  <a:gd name="connsiteX1457" fmla="*/ 3069595 w 5806384"/>
                  <a:gd name="connsiteY1457" fmla="*/ 1006204 h 4036143"/>
                  <a:gd name="connsiteX1458" fmla="*/ 2776443 w 5806384"/>
                  <a:gd name="connsiteY1458" fmla="*/ 952388 h 4036143"/>
                  <a:gd name="connsiteX1459" fmla="*/ 3027109 w 5806384"/>
                  <a:gd name="connsiteY1459" fmla="*/ 946724 h 4036143"/>
                  <a:gd name="connsiteX1460" fmla="*/ 3069595 w 5806384"/>
                  <a:gd name="connsiteY1460" fmla="*/ 1006204 h 4036143"/>
                  <a:gd name="connsiteX1461" fmla="*/ 3027109 w 5806384"/>
                  <a:gd name="connsiteY1461" fmla="*/ 943891 h 4036143"/>
                  <a:gd name="connsiteX1462" fmla="*/ 2993120 w 5806384"/>
                  <a:gd name="connsiteY1462" fmla="*/ 897157 h 4036143"/>
                  <a:gd name="connsiteX1463" fmla="*/ 3049768 w 5806384"/>
                  <a:gd name="connsiteY1463" fmla="*/ 885827 h 4036143"/>
                  <a:gd name="connsiteX1464" fmla="*/ 3114913 w 5806384"/>
                  <a:gd name="connsiteY1464" fmla="*/ 854671 h 4036143"/>
                  <a:gd name="connsiteX1465" fmla="*/ 3114913 w 5806384"/>
                  <a:gd name="connsiteY1465" fmla="*/ 854671 h 4036143"/>
                  <a:gd name="connsiteX1466" fmla="*/ 3106416 w 5806384"/>
                  <a:gd name="connsiteY1466" fmla="*/ 577098 h 4036143"/>
                  <a:gd name="connsiteX1467" fmla="*/ 3143237 w 5806384"/>
                  <a:gd name="connsiteY1467" fmla="*/ 594092 h 4036143"/>
                  <a:gd name="connsiteX1468" fmla="*/ 3170144 w 5806384"/>
                  <a:gd name="connsiteY1468" fmla="*/ 623832 h 4036143"/>
                  <a:gd name="connsiteX1469" fmla="*/ 3113497 w 5806384"/>
                  <a:gd name="connsiteY1469" fmla="*/ 942475 h 4036143"/>
                  <a:gd name="connsiteX1470" fmla="*/ 3027109 w 5806384"/>
                  <a:gd name="connsiteY1470" fmla="*/ 943891 h 4036143"/>
                  <a:gd name="connsiteX1471" fmla="*/ 2379910 w 5806384"/>
                  <a:gd name="connsiteY1471" fmla="*/ 2493204 h 4036143"/>
                  <a:gd name="connsiteX1472" fmla="*/ 2405401 w 5806384"/>
                  <a:gd name="connsiteY1472" fmla="*/ 2537106 h 4036143"/>
                  <a:gd name="connsiteX1473" fmla="*/ 2401152 w 5806384"/>
                  <a:gd name="connsiteY1473" fmla="*/ 2552684 h 4036143"/>
                  <a:gd name="connsiteX1474" fmla="*/ 2287857 w 5806384"/>
                  <a:gd name="connsiteY1474" fmla="*/ 2449302 h 4036143"/>
                  <a:gd name="connsiteX1475" fmla="*/ 2379910 w 5806384"/>
                  <a:gd name="connsiteY1475" fmla="*/ 2493204 h 4036143"/>
                  <a:gd name="connsiteX1476" fmla="*/ 2402569 w 5806384"/>
                  <a:gd name="connsiteY1476" fmla="*/ 2555516 h 4036143"/>
                  <a:gd name="connsiteX1477" fmla="*/ 2405401 w 5806384"/>
                  <a:gd name="connsiteY1477" fmla="*/ 2539938 h 4036143"/>
                  <a:gd name="connsiteX1478" fmla="*/ 2426644 w 5806384"/>
                  <a:gd name="connsiteY1478" fmla="*/ 2578175 h 4036143"/>
                  <a:gd name="connsiteX1479" fmla="*/ 2402569 w 5806384"/>
                  <a:gd name="connsiteY1479" fmla="*/ 2555516 h 4036143"/>
                  <a:gd name="connsiteX1480" fmla="*/ 2777859 w 5806384"/>
                  <a:gd name="connsiteY1480" fmla="*/ 2681557 h 4036143"/>
                  <a:gd name="connsiteX1481" fmla="*/ 2777859 w 5806384"/>
                  <a:gd name="connsiteY1481" fmla="*/ 2681557 h 4036143"/>
                  <a:gd name="connsiteX1482" fmla="*/ 2777859 w 5806384"/>
                  <a:gd name="connsiteY1482" fmla="*/ 2681557 h 4036143"/>
                  <a:gd name="connsiteX1483" fmla="*/ 2777859 w 5806384"/>
                  <a:gd name="connsiteY1483" fmla="*/ 2681557 h 4036143"/>
                  <a:gd name="connsiteX1484" fmla="*/ 3307515 w 5806384"/>
                  <a:gd name="connsiteY1484" fmla="*/ 2872743 h 4036143"/>
                  <a:gd name="connsiteX1485" fmla="*/ 3307515 w 5806384"/>
                  <a:gd name="connsiteY1485" fmla="*/ 2876992 h 4036143"/>
                  <a:gd name="connsiteX1486" fmla="*/ 3270694 w 5806384"/>
                  <a:gd name="connsiteY1486" fmla="*/ 2912397 h 4036143"/>
                  <a:gd name="connsiteX1487" fmla="*/ 3144653 w 5806384"/>
                  <a:gd name="connsiteY1487" fmla="*/ 2852916 h 4036143"/>
                  <a:gd name="connsiteX1488" fmla="*/ 3130491 w 5806384"/>
                  <a:gd name="connsiteY1488" fmla="*/ 2823177 h 4036143"/>
                  <a:gd name="connsiteX1489" fmla="*/ 3307515 w 5806384"/>
                  <a:gd name="connsiteY1489" fmla="*/ 2872743 h 4036143"/>
                  <a:gd name="connsiteX1490" fmla="*/ 3505782 w 5806384"/>
                  <a:gd name="connsiteY1490" fmla="*/ 2660315 h 4036143"/>
                  <a:gd name="connsiteX1491" fmla="*/ 3586505 w 5806384"/>
                  <a:gd name="connsiteY1491" fmla="*/ 2809015 h 4036143"/>
                  <a:gd name="connsiteX1492" fmla="*/ 3586505 w 5806384"/>
                  <a:gd name="connsiteY1492" fmla="*/ 2809015 h 4036143"/>
                  <a:gd name="connsiteX1493" fmla="*/ 3624742 w 5806384"/>
                  <a:gd name="connsiteY1493" fmla="*/ 2718378 h 4036143"/>
                  <a:gd name="connsiteX1494" fmla="*/ 3696968 w 5806384"/>
                  <a:gd name="connsiteY1494" fmla="*/ 2753783 h 4036143"/>
                  <a:gd name="connsiteX1495" fmla="*/ 3439221 w 5806384"/>
                  <a:gd name="connsiteY1495" fmla="*/ 2882656 h 4036143"/>
                  <a:gd name="connsiteX1496" fmla="*/ 3400983 w 5806384"/>
                  <a:gd name="connsiteY1496" fmla="*/ 2606499 h 4036143"/>
                  <a:gd name="connsiteX1497" fmla="*/ 3505782 w 5806384"/>
                  <a:gd name="connsiteY1497" fmla="*/ 2660315 h 4036143"/>
                  <a:gd name="connsiteX1498" fmla="*/ 3375492 w 5806384"/>
                  <a:gd name="connsiteY1498" fmla="*/ 1680311 h 4036143"/>
                  <a:gd name="connsiteX1499" fmla="*/ 3723876 w 5806384"/>
                  <a:gd name="connsiteY1499" fmla="*/ 1882826 h 4036143"/>
                  <a:gd name="connsiteX1500" fmla="*/ 3746534 w 5806384"/>
                  <a:gd name="connsiteY1500" fmla="*/ 2068347 h 4036143"/>
                  <a:gd name="connsiteX1501" fmla="*/ 3495868 w 5806384"/>
                  <a:gd name="connsiteY1501" fmla="*/ 1974878 h 4036143"/>
                  <a:gd name="connsiteX1502" fmla="*/ 3375492 w 5806384"/>
                  <a:gd name="connsiteY1502" fmla="*/ 1680311 h 4036143"/>
                  <a:gd name="connsiteX1503" fmla="*/ 3699800 w 5806384"/>
                  <a:gd name="connsiteY1503" fmla="*/ 1666149 h 4036143"/>
                  <a:gd name="connsiteX1504" fmla="*/ 3892402 w 5806384"/>
                  <a:gd name="connsiteY1504" fmla="*/ 1891323 h 4036143"/>
                  <a:gd name="connsiteX1505" fmla="*/ 3868326 w 5806384"/>
                  <a:gd name="connsiteY1505" fmla="*/ 1964965 h 4036143"/>
                  <a:gd name="connsiteX1506" fmla="*/ 3725291 w 5806384"/>
                  <a:gd name="connsiteY1506" fmla="*/ 1881410 h 4036143"/>
                  <a:gd name="connsiteX1507" fmla="*/ 3699800 w 5806384"/>
                  <a:gd name="connsiteY1507" fmla="*/ 1666149 h 4036143"/>
                  <a:gd name="connsiteX1508" fmla="*/ 4460295 w 5806384"/>
                  <a:gd name="connsiteY1508" fmla="*/ 1262534 h 4036143"/>
                  <a:gd name="connsiteX1509" fmla="*/ 4205381 w 5806384"/>
                  <a:gd name="connsiteY1509" fmla="*/ 1215800 h 4036143"/>
                  <a:gd name="connsiteX1510" fmla="*/ 4151565 w 5806384"/>
                  <a:gd name="connsiteY1510" fmla="*/ 1106753 h 4036143"/>
                  <a:gd name="connsiteX1511" fmla="*/ 4185554 w 5806384"/>
                  <a:gd name="connsiteY1511" fmla="*/ 1095424 h 4036143"/>
                  <a:gd name="connsiteX1512" fmla="*/ 4436220 w 5806384"/>
                  <a:gd name="connsiteY1512" fmla="*/ 1150655 h 4036143"/>
                  <a:gd name="connsiteX1513" fmla="*/ 4436220 w 5806384"/>
                  <a:gd name="connsiteY1513" fmla="*/ 1150655 h 4036143"/>
                  <a:gd name="connsiteX1514" fmla="*/ 4457463 w 5806384"/>
                  <a:gd name="connsiteY1514" fmla="*/ 1118083 h 4036143"/>
                  <a:gd name="connsiteX1515" fmla="*/ 4474457 w 5806384"/>
                  <a:gd name="connsiteY1515" fmla="*/ 1258286 h 4036143"/>
                  <a:gd name="connsiteX1516" fmla="*/ 4460295 w 5806384"/>
                  <a:gd name="connsiteY1516" fmla="*/ 1262534 h 4036143"/>
                  <a:gd name="connsiteX1517" fmla="*/ 3983038 w 5806384"/>
                  <a:gd name="connsiteY1517" fmla="*/ 919816 h 4036143"/>
                  <a:gd name="connsiteX1518" fmla="*/ 4039686 w 5806384"/>
                  <a:gd name="connsiteY1518" fmla="*/ 882995 h 4036143"/>
                  <a:gd name="connsiteX1519" fmla="*/ 4056680 w 5806384"/>
                  <a:gd name="connsiteY1519" fmla="*/ 918400 h 4036143"/>
                  <a:gd name="connsiteX1520" fmla="*/ 3983038 w 5806384"/>
                  <a:gd name="connsiteY1520" fmla="*/ 919816 h 4036143"/>
                  <a:gd name="connsiteX1521" fmla="*/ 4058096 w 5806384"/>
                  <a:gd name="connsiteY1521" fmla="*/ 919816 h 4036143"/>
                  <a:gd name="connsiteX1522" fmla="*/ 4086420 w 5806384"/>
                  <a:gd name="connsiteY1522" fmla="*/ 976464 h 4036143"/>
                  <a:gd name="connsiteX1523" fmla="*/ 4049600 w 5806384"/>
                  <a:gd name="connsiteY1523" fmla="*/ 1062851 h 4036143"/>
                  <a:gd name="connsiteX1524" fmla="*/ 3832922 w 5806384"/>
                  <a:gd name="connsiteY1524" fmla="*/ 1014701 h 4036143"/>
                  <a:gd name="connsiteX1525" fmla="*/ 3978790 w 5806384"/>
                  <a:gd name="connsiteY1525" fmla="*/ 921232 h 4036143"/>
                  <a:gd name="connsiteX1526" fmla="*/ 4058096 w 5806384"/>
                  <a:gd name="connsiteY1526" fmla="*/ 919816 h 4036143"/>
                  <a:gd name="connsiteX1527" fmla="*/ 3828673 w 5806384"/>
                  <a:gd name="connsiteY1527" fmla="*/ 1017533 h 4036143"/>
                  <a:gd name="connsiteX1528" fmla="*/ 3828673 w 5806384"/>
                  <a:gd name="connsiteY1528" fmla="*/ 1017533 h 4036143"/>
                  <a:gd name="connsiteX1529" fmla="*/ 4049600 w 5806384"/>
                  <a:gd name="connsiteY1529" fmla="*/ 1067100 h 4036143"/>
                  <a:gd name="connsiteX1530" fmla="*/ 4014195 w 5806384"/>
                  <a:gd name="connsiteY1530" fmla="*/ 1150655 h 4036143"/>
                  <a:gd name="connsiteX1531" fmla="*/ 3951882 w 5806384"/>
                  <a:gd name="connsiteY1531" fmla="*/ 1170482 h 4036143"/>
                  <a:gd name="connsiteX1532" fmla="*/ 3599250 w 5806384"/>
                  <a:gd name="connsiteY1532" fmla="*/ 1105337 h 4036143"/>
                  <a:gd name="connsiteX1533" fmla="*/ 3450550 w 5806384"/>
                  <a:gd name="connsiteY1533" fmla="*/ 936810 h 4036143"/>
                  <a:gd name="connsiteX1534" fmla="*/ 3975957 w 5806384"/>
                  <a:gd name="connsiteY1534" fmla="*/ 924064 h 4036143"/>
                  <a:gd name="connsiteX1535" fmla="*/ 3828673 w 5806384"/>
                  <a:gd name="connsiteY1535" fmla="*/ 1017533 h 4036143"/>
                  <a:gd name="connsiteX1536" fmla="*/ 3103583 w 5806384"/>
                  <a:gd name="connsiteY1536" fmla="*/ 1013285 h 4036143"/>
                  <a:gd name="connsiteX1537" fmla="*/ 3116329 w 5806384"/>
                  <a:gd name="connsiteY1537" fmla="*/ 943891 h 4036143"/>
                  <a:gd name="connsiteX1538" fmla="*/ 3449134 w 5806384"/>
                  <a:gd name="connsiteY1538" fmla="*/ 935394 h 4036143"/>
                  <a:gd name="connsiteX1539" fmla="*/ 3597834 w 5806384"/>
                  <a:gd name="connsiteY1539" fmla="*/ 1102505 h 4036143"/>
                  <a:gd name="connsiteX1540" fmla="*/ 3103583 w 5806384"/>
                  <a:gd name="connsiteY1540" fmla="*/ 1013285 h 4036143"/>
                  <a:gd name="connsiteX1541" fmla="*/ 3116329 w 5806384"/>
                  <a:gd name="connsiteY1541" fmla="*/ 942475 h 4036143"/>
                  <a:gd name="connsiteX1542" fmla="*/ 3174393 w 5806384"/>
                  <a:gd name="connsiteY1542" fmla="*/ 626664 h 4036143"/>
                  <a:gd name="connsiteX1543" fmla="*/ 3446301 w 5806384"/>
                  <a:gd name="connsiteY1543" fmla="*/ 933978 h 4036143"/>
                  <a:gd name="connsiteX1544" fmla="*/ 3116329 w 5806384"/>
                  <a:gd name="connsiteY1544" fmla="*/ 942475 h 4036143"/>
                  <a:gd name="connsiteX1545" fmla="*/ 3146069 w 5806384"/>
                  <a:gd name="connsiteY1545" fmla="*/ 592676 h 4036143"/>
                  <a:gd name="connsiteX1546" fmla="*/ 3121994 w 5806384"/>
                  <a:gd name="connsiteY1546" fmla="*/ 565768 h 4036143"/>
                  <a:gd name="connsiteX1547" fmla="*/ 3073843 w 5806384"/>
                  <a:gd name="connsiteY1547" fmla="*/ 494959 h 4036143"/>
                  <a:gd name="connsiteX1548" fmla="*/ 3211214 w 5806384"/>
                  <a:gd name="connsiteY1548" fmla="*/ 408571 h 4036143"/>
                  <a:gd name="connsiteX1549" fmla="*/ 3174393 w 5806384"/>
                  <a:gd name="connsiteY1549" fmla="*/ 606838 h 4036143"/>
                  <a:gd name="connsiteX1550" fmla="*/ 3146069 w 5806384"/>
                  <a:gd name="connsiteY1550" fmla="*/ 592676 h 4036143"/>
                  <a:gd name="connsiteX1551" fmla="*/ 3212630 w 5806384"/>
                  <a:gd name="connsiteY1551" fmla="*/ 404322 h 4036143"/>
                  <a:gd name="connsiteX1552" fmla="*/ 3072427 w 5806384"/>
                  <a:gd name="connsiteY1552" fmla="*/ 492126 h 4036143"/>
                  <a:gd name="connsiteX1553" fmla="*/ 3051185 w 5806384"/>
                  <a:gd name="connsiteY1553" fmla="*/ 459554 h 4036143"/>
                  <a:gd name="connsiteX1554" fmla="*/ 3218295 w 5806384"/>
                  <a:gd name="connsiteY1554" fmla="*/ 371750 h 4036143"/>
                  <a:gd name="connsiteX1555" fmla="*/ 3212630 w 5806384"/>
                  <a:gd name="connsiteY1555" fmla="*/ 404322 h 4036143"/>
                  <a:gd name="connsiteX1556" fmla="*/ 3106416 w 5806384"/>
                  <a:gd name="connsiteY1556" fmla="*/ 574265 h 4036143"/>
                  <a:gd name="connsiteX1557" fmla="*/ 3106416 w 5806384"/>
                  <a:gd name="connsiteY1557" fmla="*/ 574265 h 4036143"/>
                  <a:gd name="connsiteX1558" fmla="*/ 3114913 w 5806384"/>
                  <a:gd name="connsiteY1558" fmla="*/ 853255 h 4036143"/>
                  <a:gd name="connsiteX1559" fmla="*/ 3051185 w 5806384"/>
                  <a:gd name="connsiteY1559" fmla="*/ 884411 h 4036143"/>
                  <a:gd name="connsiteX1560" fmla="*/ 2994537 w 5806384"/>
                  <a:gd name="connsiteY1560" fmla="*/ 895741 h 4036143"/>
                  <a:gd name="connsiteX1561" fmla="*/ 2823177 w 5806384"/>
                  <a:gd name="connsiteY1561" fmla="*/ 653572 h 4036143"/>
                  <a:gd name="connsiteX1562" fmla="*/ 3073843 w 5806384"/>
                  <a:gd name="connsiteY1562" fmla="*/ 494959 h 4036143"/>
                  <a:gd name="connsiteX1563" fmla="*/ 3121994 w 5806384"/>
                  <a:gd name="connsiteY1563" fmla="*/ 565768 h 4036143"/>
                  <a:gd name="connsiteX1564" fmla="*/ 3143237 w 5806384"/>
                  <a:gd name="connsiteY1564" fmla="*/ 589843 h 4036143"/>
                  <a:gd name="connsiteX1565" fmla="*/ 3106416 w 5806384"/>
                  <a:gd name="connsiteY1565" fmla="*/ 574265 h 4036143"/>
                  <a:gd name="connsiteX1566" fmla="*/ 2715547 w 5806384"/>
                  <a:gd name="connsiteY1566" fmla="*/ 952388 h 4036143"/>
                  <a:gd name="connsiteX1567" fmla="*/ 2715547 w 5806384"/>
                  <a:gd name="connsiteY1567" fmla="*/ 952388 h 4036143"/>
                  <a:gd name="connsiteX1568" fmla="*/ 2715547 w 5806384"/>
                  <a:gd name="connsiteY1568" fmla="*/ 953805 h 4036143"/>
                  <a:gd name="connsiteX1569" fmla="*/ 2715547 w 5806384"/>
                  <a:gd name="connsiteY1569" fmla="*/ 953805 h 4036143"/>
                  <a:gd name="connsiteX1570" fmla="*/ 2766530 w 5806384"/>
                  <a:gd name="connsiteY1570" fmla="*/ 952388 h 4036143"/>
                  <a:gd name="connsiteX1571" fmla="*/ 3071011 w 5806384"/>
                  <a:gd name="connsiteY1571" fmla="*/ 1009036 h 4036143"/>
                  <a:gd name="connsiteX1572" fmla="*/ 3096502 w 5806384"/>
                  <a:gd name="connsiteY1572" fmla="*/ 1044441 h 4036143"/>
                  <a:gd name="connsiteX1573" fmla="*/ 3069595 w 5806384"/>
                  <a:gd name="connsiteY1573" fmla="*/ 1190308 h 4036143"/>
                  <a:gd name="connsiteX1574" fmla="*/ 2545604 w 5806384"/>
                  <a:gd name="connsiteY1574" fmla="*/ 912735 h 4036143"/>
                  <a:gd name="connsiteX1575" fmla="*/ 2738206 w 5806384"/>
                  <a:gd name="connsiteY1575" fmla="*/ 948140 h 4036143"/>
                  <a:gd name="connsiteX1576" fmla="*/ 2715547 w 5806384"/>
                  <a:gd name="connsiteY1576" fmla="*/ 952388 h 4036143"/>
                  <a:gd name="connsiteX1577" fmla="*/ 3167312 w 5806384"/>
                  <a:gd name="connsiteY1577" fmla="*/ 1273864 h 4036143"/>
                  <a:gd name="connsiteX1578" fmla="*/ 3182890 w 5806384"/>
                  <a:gd name="connsiteY1578" fmla="*/ 1340425 h 4036143"/>
                  <a:gd name="connsiteX1579" fmla="*/ 3042687 w 5806384"/>
                  <a:gd name="connsiteY1579" fmla="*/ 1351754 h 4036143"/>
                  <a:gd name="connsiteX1580" fmla="*/ 3069595 w 5806384"/>
                  <a:gd name="connsiteY1580" fmla="*/ 1201638 h 4036143"/>
                  <a:gd name="connsiteX1581" fmla="*/ 3167312 w 5806384"/>
                  <a:gd name="connsiteY1581" fmla="*/ 1273864 h 4036143"/>
                  <a:gd name="connsiteX1582" fmla="*/ 3038439 w 5806384"/>
                  <a:gd name="connsiteY1582" fmla="*/ 1353170 h 4036143"/>
                  <a:gd name="connsiteX1583" fmla="*/ 2947802 w 5806384"/>
                  <a:gd name="connsiteY1583" fmla="*/ 1850253 h 4036143"/>
                  <a:gd name="connsiteX1584" fmla="*/ 2729709 w 5806384"/>
                  <a:gd name="connsiteY1584" fmla="*/ 1807768 h 4036143"/>
                  <a:gd name="connsiteX1585" fmla="*/ 2627743 w 5806384"/>
                  <a:gd name="connsiteY1585" fmla="*/ 1548605 h 4036143"/>
                  <a:gd name="connsiteX1586" fmla="*/ 2627743 w 5806384"/>
                  <a:gd name="connsiteY1586" fmla="*/ 1548605 h 4036143"/>
                  <a:gd name="connsiteX1587" fmla="*/ 2626327 w 5806384"/>
                  <a:gd name="connsiteY1587" fmla="*/ 1548605 h 4036143"/>
                  <a:gd name="connsiteX1588" fmla="*/ 2711299 w 5806384"/>
                  <a:gd name="connsiteY1588" fmla="*/ 1803519 h 4036143"/>
                  <a:gd name="connsiteX1589" fmla="*/ 2573928 w 5806384"/>
                  <a:gd name="connsiteY1589" fmla="*/ 1776611 h 4036143"/>
                  <a:gd name="connsiteX1590" fmla="*/ 2626327 w 5806384"/>
                  <a:gd name="connsiteY1590" fmla="*/ 1540108 h 4036143"/>
                  <a:gd name="connsiteX1591" fmla="*/ 2626327 w 5806384"/>
                  <a:gd name="connsiteY1591" fmla="*/ 1540108 h 4036143"/>
                  <a:gd name="connsiteX1592" fmla="*/ 2287857 w 5806384"/>
                  <a:gd name="connsiteY1592" fmla="*/ 1640657 h 4036143"/>
                  <a:gd name="connsiteX1593" fmla="*/ 2241123 w 5806384"/>
                  <a:gd name="connsiteY1593" fmla="*/ 1582593 h 4036143"/>
                  <a:gd name="connsiteX1594" fmla="*/ 2239707 w 5806384"/>
                  <a:gd name="connsiteY1594" fmla="*/ 1520281 h 4036143"/>
                  <a:gd name="connsiteX1595" fmla="*/ 2548436 w 5806384"/>
                  <a:gd name="connsiteY1595" fmla="*/ 1391407 h 4036143"/>
                  <a:gd name="connsiteX1596" fmla="*/ 3038439 w 5806384"/>
                  <a:gd name="connsiteY1596" fmla="*/ 1353170 h 4036143"/>
                  <a:gd name="connsiteX1597" fmla="*/ 2201469 w 5806384"/>
                  <a:gd name="connsiteY1597" fmla="*/ 1533027 h 4036143"/>
                  <a:gd name="connsiteX1598" fmla="*/ 2191556 w 5806384"/>
                  <a:gd name="connsiteY1598" fmla="*/ 1520281 h 4036143"/>
                  <a:gd name="connsiteX1599" fmla="*/ 2236874 w 5806384"/>
                  <a:gd name="connsiteY1599" fmla="*/ 1497622 h 4036143"/>
                  <a:gd name="connsiteX1600" fmla="*/ 2236874 w 5806384"/>
                  <a:gd name="connsiteY1600" fmla="*/ 1517448 h 4036143"/>
                  <a:gd name="connsiteX1601" fmla="*/ 2201469 w 5806384"/>
                  <a:gd name="connsiteY1601" fmla="*/ 1533027 h 4036143"/>
                  <a:gd name="connsiteX1602" fmla="*/ 2202886 w 5806384"/>
                  <a:gd name="connsiteY1602" fmla="*/ 1535859 h 4036143"/>
                  <a:gd name="connsiteX1603" fmla="*/ 2236874 w 5806384"/>
                  <a:gd name="connsiteY1603" fmla="*/ 1521697 h 4036143"/>
                  <a:gd name="connsiteX1604" fmla="*/ 2238290 w 5806384"/>
                  <a:gd name="connsiteY1604" fmla="*/ 1581177 h 4036143"/>
                  <a:gd name="connsiteX1605" fmla="*/ 2202886 w 5806384"/>
                  <a:gd name="connsiteY1605" fmla="*/ 1535859 h 4036143"/>
                  <a:gd name="connsiteX1606" fmla="*/ 1930977 w 5806384"/>
                  <a:gd name="connsiteY1606" fmla="*/ 1646322 h 4036143"/>
                  <a:gd name="connsiteX1607" fmla="*/ 2190140 w 5806384"/>
                  <a:gd name="connsiteY1607" fmla="*/ 1521697 h 4036143"/>
                  <a:gd name="connsiteX1608" fmla="*/ 2200053 w 5806384"/>
                  <a:gd name="connsiteY1608" fmla="*/ 1534443 h 4036143"/>
                  <a:gd name="connsiteX1609" fmla="*/ 1930977 w 5806384"/>
                  <a:gd name="connsiteY1609" fmla="*/ 1646322 h 4036143"/>
                  <a:gd name="connsiteX1610" fmla="*/ 1691640 w 5806384"/>
                  <a:gd name="connsiteY1610" fmla="*/ 1429645 h 4036143"/>
                  <a:gd name="connsiteX1611" fmla="*/ 1687392 w 5806384"/>
                  <a:gd name="connsiteY1611" fmla="*/ 1456552 h 4036143"/>
                  <a:gd name="connsiteX1612" fmla="*/ 1623663 w 5806384"/>
                  <a:gd name="connsiteY1612" fmla="*/ 1462217 h 4036143"/>
                  <a:gd name="connsiteX1613" fmla="*/ 1691640 w 5806384"/>
                  <a:gd name="connsiteY1613" fmla="*/ 1429645 h 4036143"/>
                  <a:gd name="connsiteX1614" fmla="*/ 1793606 w 5806384"/>
                  <a:gd name="connsiteY1614" fmla="*/ 1381494 h 4036143"/>
                  <a:gd name="connsiteX1615" fmla="*/ 1694473 w 5806384"/>
                  <a:gd name="connsiteY1615" fmla="*/ 1426812 h 4036143"/>
                  <a:gd name="connsiteX1616" fmla="*/ 1721381 w 5806384"/>
                  <a:gd name="connsiteY1616" fmla="*/ 1272448 h 4036143"/>
                  <a:gd name="connsiteX1617" fmla="*/ 1837508 w 5806384"/>
                  <a:gd name="connsiteY1617" fmla="*/ 1314933 h 4036143"/>
                  <a:gd name="connsiteX1618" fmla="*/ 1793606 w 5806384"/>
                  <a:gd name="connsiteY1618" fmla="*/ 1381494 h 4036143"/>
                  <a:gd name="connsiteX1619" fmla="*/ 1521697 w 5806384"/>
                  <a:gd name="connsiteY1619" fmla="*/ 1472130 h 4036143"/>
                  <a:gd name="connsiteX1620" fmla="*/ 1610918 w 5806384"/>
                  <a:gd name="connsiteY1620" fmla="*/ 1465049 h 4036143"/>
                  <a:gd name="connsiteX1621" fmla="*/ 1428229 w 5806384"/>
                  <a:gd name="connsiteY1621" fmla="*/ 1548605 h 4036143"/>
                  <a:gd name="connsiteX1622" fmla="*/ 1525946 w 5806384"/>
                  <a:gd name="connsiteY1622" fmla="*/ 1491957 h 4036143"/>
                  <a:gd name="connsiteX1623" fmla="*/ 1525946 w 5806384"/>
                  <a:gd name="connsiteY1623" fmla="*/ 1491957 h 4036143"/>
                  <a:gd name="connsiteX1624" fmla="*/ 1521697 w 5806384"/>
                  <a:gd name="connsiteY1624" fmla="*/ 1472130 h 4036143"/>
                  <a:gd name="connsiteX1625" fmla="*/ 1474963 w 5806384"/>
                  <a:gd name="connsiteY1625" fmla="*/ 1235626 h 4036143"/>
                  <a:gd name="connsiteX1626" fmla="*/ 1520281 w 5806384"/>
                  <a:gd name="connsiteY1626" fmla="*/ 1470714 h 4036143"/>
                  <a:gd name="connsiteX1627" fmla="*/ 1358835 w 5806384"/>
                  <a:gd name="connsiteY1627" fmla="*/ 1483460 h 4036143"/>
                  <a:gd name="connsiteX1628" fmla="*/ 1474963 w 5806384"/>
                  <a:gd name="connsiteY1628" fmla="*/ 1235626 h 4036143"/>
                  <a:gd name="connsiteX1629" fmla="*/ 1746872 w 5806384"/>
                  <a:gd name="connsiteY1629" fmla="*/ 1453720 h 4036143"/>
                  <a:gd name="connsiteX1630" fmla="*/ 1668981 w 5806384"/>
                  <a:gd name="connsiteY1630" fmla="*/ 1574096 h 4036143"/>
                  <a:gd name="connsiteX1631" fmla="*/ 1688808 w 5806384"/>
                  <a:gd name="connsiteY1631" fmla="*/ 1457969 h 4036143"/>
                  <a:gd name="connsiteX1632" fmla="*/ 1746872 w 5806384"/>
                  <a:gd name="connsiteY1632" fmla="*/ 1453720 h 4036143"/>
                  <a:gd name="connsiteX1633" fmla="*/ 1688808 w 5806384"/>
                  <a:gd name="connsiteY1633" fmla="*/ 1456552 h 4036143"/>
                  <a:gd name="connsiteX1634" fmla="*/ 1693057 w 5806384"/>
                  <a:gd name="connsiteY1634" fmla="*/ 1429645 h 4036143"/>
                  <a:gd name="connsiteX1635" fmla="*/ 1790774 w 5806384"/>
                  <a:gd name="connsiteY1635" fmla="*/ 1384327 h 4036143"/>
                  <a:gd name="connsiteX1636" fmla="*/ 1746872 w 5806384"/>
                  <a:gd name="connsiteY1636" fmla="*/ 1452304 h 4036143"/>
                  <a:gd name="connsiteX1637" fmla="*/ 1688808 w 5806384"/>
                  <a:gd name="connsiteY1637" fmla="*/ 1456552 h 4036143"/>
                  <a:gd name="connsiteX1638" fmla="*/ 1838924 w 5806384"/>
                  <a:gd name="connsiteY1638" fmla="*/ 1314933 h 4036143"/>
                  <a:gd name="connsiteX1639" fmla="*/ 1882826 w 5806384"/>
                  <a:gd name="connsiteY1639" fmla="*/ 1330511 h 4036143"/>
                  <a:gd name="connsiteX1640" fmla="*/ 1882826 w 5806384"/>
                  <a:gd name="connsiteY1640" fmla="*/ 1330511 h 4036143"/>
                  <a:gd name="connsiteX1641" fmla="*/ 1959300 w 5806384"/>
                  <a:gd name="connsiteY1641" fmla="*/ 1234210 h 4036143"/>
                  <a:gd name="connsiteX1642" fmla="*/ 2000370 w 5806384"/>
                  <a:gd name="connsiteY1642" fmla="*/ 1285193 h 4036143"/>
                  <a:gd name="connsiteX1643" fmla="*/ 1797855 w 5806384"/>
                  <a:gd name="connsiteY1643" fmla="*/ 1378662 h 4036143"/>
                  <a:gd name="connsiteX1644" fmla="*/ 1838924 w 5806384"/>
                  <a:gd name="connsiteY1644" fmla="*/ 1314933 h 4036143"/>
                  <a:gd name="connsiteX1645" fmla="*/ 1718548 w 5806384"/>
                  <a:gd name="connsiteY1645" fmla="*/ 1271031 h 4036143"/>
                  <a:gd name="connsiteX1646" fmla="*/ 1691640 w 5806384"/>
                  <a:gd name="connsiteY1646" fmla="*/ 1428229 h 4036143"/>
                  <a:gd name="connsiteX1647" fmla="*/ 1616582 w 5806384"/>
                  <a:gd name="connsiteY1647" fmla="*/ 1462217 h 4036143"/>
                  <a:gd name="connsiteX1648" fmla="*/ 1521697 w 5806384"/>
                  <a:gd name="connsiteY1648" fmla="*/ 1469298 h 4036143"/>
                  <a:gd name="connsiteX1649" fmla="*/ 1476380 w 5806384"/>
                  <a:gd name="connsiteY1649" fmla="*/ 1228546 h 4036143"/>
                  <a:gd name="connsiteX1650" fmla="*/ 1476380 w 5806384"/>
                  <a:gd name="connsiteY1650" fmla="*/ 1228546 h 4036143"/>
                  <a:gd name="connsiteX1651" fmla="*/ 1356003 w 5806384"/>
                  <a:gd name="connsiteY1651" fmla="*/ 1482044 h 4036143"/>
                  <a:gd name="connsiteX1652" fmla="*/ 1180395 w 5806384"/>
                  <a:gd name="connsiteY1652" fmla="*/ 1496206 h 4036143"/>
                  <a:gd name="connsiteX1653" fmla="*/ 1467882 w 5806384"/>
                  <a:gd name="connsiteY1653" fmla="*/ 1225713 h 4036143"/>
                  <a:gd name="connsiteX1654" fmla="*/ 1584010 w 5806384"/>
                  <a:gd name="connsiteY1654" fmla="*/ 1167649 h 4036143"/>
                  <a:gd name="connsiteX1655" fmla="*/ 1562767 w 5806384"/>
                  <a:gd name="connsiteY1655" fmla="*/ 1214384 h 4036143"/>
                  <a:gd name="connsiteX1656" fmla="*/ 1562767 w 5806384"/>
                  <a:gd name="connsiteY1656" fmla="*/ 1214384 h 4036143"/>
                  <a:gd name="connsiteX1657" fmla="*/ 1718548 w 5806384"/>
                  <a:gd name="connsiteY1657" fmla="*/ 1271031 h 4036143"/>
                  <a:gd name="connsiteX1658" fmla="*/ 1751121 w 5806384"/>
                  <a:gd name="connsiteY1658" fmla="*/ 1452304 h 4036143"/>
                  <a:gd name="connsiteX1659" fmla="*/ 1796438 w 5806384"/>
                  <a:gd name="connsiteY1659" fmla="*/ 1382910 h 4036143"/>
                  <a:gd name="connsiteX1660" fmla="*/ 2003203 w 5806384"/>
                  <a:gd name="connsiteY1660" fmla="*/ 1288026 h 4036143"/>
                  <a:gd name="connsiteX1661" fmla="*/ 2112249 w 5806384"/>
                  <a:gd name="connsiteY1661" fmla="*/ 1423980 h 4036143"/>
                  <a:gd name="connsiteX1662" fmla="*/ 1751121 w 5806384"/>
                  <a:gd name="connsiteY1662" fmla="*/ 1452304 h 4036143"/>
                  <a:gd name="connsiteX1663" fmla="*/ 1881410 w 5806384"/>
                  <a:gd name="connsiteY1663" fmla="*/ 1329095 h 4036143"/>
                  <a:gd name="connsiteX1664" fmla="*/ 1838924 w 5806384"/>
                  <a:gd name="connsiteY1664" fmla="*/ 1313517 h 4036143"/>
                  <a:gd name="connsiteX1665" fmla="*/ 1919647 w 5806384"/>
                  <a:gd name="connsiteY1665" fmla="*/ 1187476 h 4036143"/>
                  <a:gd name="connsiteX1666" fmla="*/ 1956468 w 5806384"/>
                  <a:gd name="connsiteY1666" fmla="*/ 1234210 h 4036143"/>
                  <a:gd name="connsiteX1667" fmla="*/ 1881410 w 5806384"/>
                  <a:gd name="connsiteY1667" fmla="*/ 1329095 h 4036143"/>
                  <a:gd name="connsiteX1668" fmla="*/ 1837508 w 5806384"/>
                  <a:gd name="connsiteY1668" fmla="*/ 1313517 h 4036143"/>
                  <a:gd name="connsiteX1669" fmla="*/ 1719964 w 5806384"/>
                  <a:gd name="connsiteY1669" fmla="*/ 1271031 h 4036143"/>
                  <a:gd name="connsiteX1670" fmla="*/ 1751121 w 5806384"/>
                  <a:gd name="connsiteY1670" fmla="*/ 1084094 h 4036143"/>
                  <a:gd name="connsiteX1671" fmla="*/ 1812017 w 5806384"/>
                  <a:gd name="connsiteY1671" fmla="*/ 1054354 h 4036143"/>
                  <a:gd name="connsiteX1672" fmla="*/ 1918231 w 5806384"/>
                  <a:gd name="connsiteY1672" fmla="*/ 1187476 h 4036143"/>
                  <a:gd name="connsiteX1673" fmla="*/ 1837508 w 5806384"/>
                  <a:gd name="connsiteY1673" fmla="*/ 1313517 h 4036143"/>
                  <a:gd name="connsiteX1674" fmla="*/ 1718548 w 5806384"/>
                  <a:gd name="connsiteY1674" fmla="*/ 1269615 h 4036143"/>
                  <a:gd name="connsiteX1675" fmla="*/ 1565599 w 5806384"/>
                  <a:gd name="connsiteY1675" fmla="*/ 1212967 h 4036143"/>
                  <a:gd name="connsiteX1676" fmla="*/ 1586842 w 5806384"/>
                  <a:gd name="connsiteY1676" fmla="*/ 1166233 h 4036143"/>
                  <a:gd name="connsiteX1677" fmla="*/ 1749704 w 5806384"/>
                  <a:gd name="connsiteY1677" fmla="*/ 1084094 h 4036143"/>
                  <a:gd name="connsiteX1678" fmla="*/ 1718548 w 5806384"/>
                  <a:gd name="connsiteY1678" fmla="*/ 1269615 h 4036143"/>
                  <a:gd name="connsiteX1679" fmla="*/ 1316350 w 5806384"/>
                  <a:gd name="connsiteY1679" fmla="*/ 1571264 h 4036143"/>
                  <a:gd name="connsiteX1680" fmla="*/ 1409818 w 5806384"/>
                  <a:gd name="connsiteY1680" fmla="*/ 1572680 h 4036143"/>
                  <a:gd name="connsiteX1681" fmla="*/ 1448056 w 5806384"/>
                  <a:gd name="connsiteY1681" fmla="*/ 1646322 h 4036143"/>
                  <a:gd name="connsiteX1682" fmla="*/ 1428229 w 5806384"/>
                  <a:gd name="connsiteY1682" fmla="*/ 1646322 h 4036143"/>
                  <a:gd name="connsiteX1683" fmla="*/ 1309269 w 5806384"/>
                  <a:gd name="connsiteY1683" fmla="*/ 1588258 h 4036143"/>
                  <a:gd name="connsiteX1684" fmla="*/ 1316350 w 5806384"/>
                  <a:gd name="connsiteY1684" fmla="*/ 1571264 h 4036143"/>
                  <a:gd name="connsiteX1685" fmla="*/ 2187307 w 5806384"/>
                  <a:gd name="connsiteY1685" fmla="*/ 2433724 h 4036143"/>
                  <a:gd name="connsiteX1686" fmla="*/ 2187307 w 5806384"/>
                  <a:gd name="connsiteY1686" fmla="*/ 2433724 h 4036143"/>
                  <a:gd name="connsiteX1687" fmla="*/ 2054185 w 5806384"/>
                  <a:gd name="connsiteY1687" fmla="*/ 2452135 h 4036143"/>
                  <a:gd name="connsiteX1688" fmla="*/ 2137741 w 5806384"/>
                  <a:gd name="connsiteY1688" fmla="*/ 1994705 h 4036143"/>
                  <a:gd name="connsiteX1689" fmla="*/ 2251036 w 5806384"/>
                  <a:gd name="connsiteY1689" fmla="*/ 2049936 h 4036143"/>
                  <a:gd name="connsiteX1690" fmla="*/ 2258117 w 5806384"/>
                  <a:gd name="connsiteY1690" fmla="*/ 2303435 h 4036143"/>
                  <a:gd name="connsiteX1691" fmla="*/ 2258117 w 5806384"/>
                  <a:gd name="connsiteY1691" fmla="*/ 2304851 h 4036143"/>
                  <a:gd name="connsiteX1692" fmla="*/ 2323262 w 5806384"/>
                  <a:gd name="connsiteY1692" fmla="*/ 2085341 h 4036143"/>
                  <a:gd name="connsiteX1693" fmla="*/ 2487540 w 5806384"/>
                  <a:gd name="connsiteY1693" fmla="*/ 2164648 h 4036143"/>
                  <a:gd name="connsiteX1694" fmla="*/ 2436557 w 5806384"/>
                  <a:gd name="connsiteY1694" fmla="*/ 2396903 h 4036143"/>
                  <a:gd name="connsiteX1695" fmla="*/ 2408233 w 5806384"/>
                  <a:gd name="connsiteY1695" fmla="*/ 2402568 h 4036143"/>
                  <a:gd name="connsiteX1696" fmla="*/ 2272279 w 5806384"/>
                  <a:gd name="connsiteY1696" fmla="*/ 2299186 h 4036143"/>
                  <a:gd name="connsiteX1697" fmla="*/ 2270863 w 5806384"/>
                  <a:gd name="connsiteY1697" fmla="*/ 2299186 h 4036143"/>
                  <a:gd name="connsiteX1698" fmla="*/ 2336008 w 5806384"/>
                  <a:gd name="connsiteY1698" fmla="*/ 2415314 h 4036143"/>
                  <a:gd name="connsiteX1699" fmla="*/ 2197221 w 5806384"/>
                  <a:gd name="connsiteY1699" fmla="*/ 2439389 h 4036143"/>
                  <a:gd name="connsiteX1700" fmla="*/ 2187307 w 5806384"/>
                  <a:gd name="connsiteY1700" fmla="*/ 2433724 h 4036143"/>
                  <a:gd name="connsiteX1701" fmla="*/ 2191556 w 5806384"/>
                  <a:gd name="connsiteY1701" fmla="*/ 2439389 h 4036143"/>
                  <a:gd name="connsiteX1702" fmla="*/ 2183059 w 5806384"/>
                  <a:gd name="connsiteY1702" fmla="*/ 2440805 h 4036143"/>
                  <a:gd name="connsiteX1703" fmla="*/ 2187307 w 5806384"/>
                  <a:gd name="connsiteY1703" fmla="*/ 2433724 h 4036143"/>
                  <a:gd name="connsiteX1704" fmla="*/ 2336008 w 5806384"/>
                  <a:gd name="connsiteY1704" fmla="*/ 2415314 h 4036143"/>
                  <a:gd name="connsiteX1705" fmla="*/ 2377077 w 5806384"/>
                  <a:gd name="connsiteY1705" fmla="*/ 2488955 h 4036143"/>
                  <a:gd name="connsiteX1706" fmla="*/ 2277944 w 5806384"/>
                  <a:gd name="connsiteY1706" fmla="*/ 2440805 h 4036143"/>
                  <a:gd name="connsiteX1707" fmla="*/ 2276528 w 5806384"/>
                  <a:gd name="connsiteY1707" fmla="*/ 2440805 h 4036143"/>
                  <a:gd name="connsiteX1708" fmla="*/ 2399736 w 5806384"/>
                  <a:gd name="connsiteY1708" fmla="*/ 2555516 h 4036143"/>
                  <a:gd name="connsiteX1709" fmla="*/ 2395488 w 5806384"/>
                  <a:gd name="connsiteY1709" fmla="*/ 2578175 h 4036143"/>
                  <a:gd name="connsiteX1710" fmla="*/ 2198637 w 5806384"/>
                  <a:gd name="connsiteY1710" fmla="*/ 2439389 h 4036143"/>
                  <a:gd name="connsiteX1711" fmla="*/ 2336008 w 5806384"/>
                  <a:gd name="connsiteY1711" fmla="*/ 2415314 h 4036143"/>
                  <a:gd name="connsiteX1712" fmla="*/ 2532858 w 5806384"/>
                  <a:gd name="connsiteY1712" fmla="*/ 2674476 h 4036143"/>
                  <a:gd name="connsiteX1713" fmla="*/ 2432309 w 5806384"/>
                  <a:gd name="connsiteY1713" fmla="*/ 2582424 h 4036143"/>
                  <a:gd name="connsiteX1714" fmla="*/ 2406817 w 5806384"/>
                  <a:gd name="connsiteY1714" fmla="*/ 2537106 h 4036143"/>
                  <a:gd name="connsiteX1715" fmla="*/ 2412482 w 5806384"/>
                  <a:gd name="connsiteY1715" fmla="*/ 2508782 h 4036143"/>
                  <a:gd name="connsiteX1716" fmla="*/ 2769362 w 5806384"/>
                  <a:gd name="connsiteY1716" fmla="*/ 2678725 h 4036143"/>
                  <a:gd name="connsiteX1717" fmla="*/ 2777859 w 5806384"/>
                  <a:gd name="connsiteY1717" fmla="*/ 2685806 h 4036143"/>
                  <a:gd name="connsiteX1718" fmla="*/ 2793438 w 5806384"/>
                  <a:gd name="connsiteY1718" fmla="*/ 2729708 h 4036143"/>
                  <a:gd name="connsiteX1719" fmla="*/ 2576761 w 5806384"/>
                  <a:gd name="connsiteY1719" fmla="*/ 2670228 h 4036143"/>
                  <a:gd name="connsiteX1720" fmla="*/ 2576761 w 5806384"/>
                  <a:gd name="connsiteY1720" fmla="*/ 2670228 h 4036143"/>
                  <a:gd name="connsiteX1721" fmla="*/ 2629159 w 5806384"/>
                  <a:gd name="connsiteY1721" fmla="*/ 2743870 h 4036143"/>
                  <a:gd name="connsiteX1722" fmla="*/ 2532858 w 5806384"/>
                  <a:gd name="connsiteY1722" fmla="*/ 2674476 h 4036143"/>
                  <a:gd name="connsiteX1723" fmla="*/ 2923727 w 5806384"/>
                  <a:gd name="connsiteY1723" fmla="*/ 2792020 h 4036143"/>
                  <a:gd name="connsiteX1724" fmla="*/ 2942138 w 5806384"/>
                  <a:gd name="connsiteY1724" fmla="*/ 2772194 h 4036143"/>
                  <a:gd name="connsiteX1725" fmla="*/ 2998785 w 5806384"/>
                  <a:gd name="connsiteY1725" fmla="*/ 2787772 h 4036143"/>
                  <a:gd name="connsiteX1726" fmla="*/ 3140404 w 5806384"/>
                  <a:gd name="connsiteY1726" fmla="*/ 2855749 h 4036143"/>
                  <a:gd name="connsiteX1727" fmla="*/ 3197052 w 5806384"/>
                  <a:gd name="connsiteY1727" fmla="*/ 2981790 h 4036143"/>
                  <a:gd name="connsiteX1728" fmla="*/ 3185723 w 5806384"/>
                  <a:gd name="connsiteY1728" fmla="*/ 2993119 h 4036143"/>
                  <a:gd name="connsiteX1729" fmla="*/ 2923727 w 5806384"/>
                  <a:gd name="connsiteY1729" fmla="*/ 2792020 h 4036143"/>
                  <a:gd name="connsiteX1730" fmla="*/ 3323093 w 5806384"/>
                  <a:gd name="connsiteY1730" fmla="*/ 2942136 h 4036143"/>
                  <a:gd name="connsiteX1731" fmla="*/ 3209797 w 5806384"/>
                  <a:gd name="connsiteY1731" fmla="*/ 2998784 h 4036143"/>
                  <a:gd name="connsiteX1732" fmla="*/ 3201301 w 5806384"/>
                  <a:gd name="connsiteY1732" fmla="*/ 2981790 h 4036143"/>
                  <a:gd name="connsiteX1733" fmla="*/ 3269278 w 5806384"/>
                  <a:gd name="connsiteY1733" fmla="*/ 2916645 h 4036143"/>
                  <a:gd name="connsiteX1734" fmla="*/ 3323093 w 5806384"/>
                  <a:gd name="connsiteY1734" fmla="*/ 2942136 h 4036143"/>
                  <a:gd name="connsiteX1735" fmla="*/ 3325925 w 5806384"/>
                  <a:gd name="connsiteY1735" fmla="*/ 2943553 h 4036143"/>
                  <a:gd name="connsiteX1736" fmla="*/ 3342920 w 5806384"/>
                  <a:gd name="connsiteY1736" fmla="*/ 2952050 h 4036143"/>
                  <a:gd name="connsiteX1737" fmla="*/ 3372659 w 5806384"/>
                  <a:gd name="connsiteY1737" fmla="*/ 3103582 h 4036143"/>
                  <a:gd name="connsiteX1738" fmla="*/ 3216878 w 5806384"/>
                  <a:gd name="connsiteY1738" fmla="*/ 3017195 h 4036143"/>
                  <a:gd name="connsiteX1739" fmla="*/ 3209797 w 5806384"/>
                  <a:gd name="connsiteY1739" fmla="*/ 3001616 h 4036143"/>
                  <a:gd name="connsiteX1740" fmla="*/ 3325925 w 5806384"/>
                  <a:gd name="connsiteY1740" fmla="*/ 2943553 h 4036143"/>
                  <a:gd name="connsiteX1741" fmla="*/ 3345752 w 5806384"/>
                  <a:gd name="connsiteY1741" fmla="*/ 2949217 h 4036143"/>
                  <a:gd name="connsiteX1742" fmla="*/ 3342920 w 5806384"/>
                  <a:gd name="connsiteY1742" fmla="*/ 2933639 h 4036143"/>
                  <a:gd name="connsiteX1743" fmla="*/ 3436388 w 5806384"/>
                  <a:gd name="connsiteY1743" fmla="*/ 2886905 h 4036143"/>
                  <a:gd name="connsiteX1744" fmla="*/ 3451967 w 5806384"/>
                  <a:gd name="connsiteY1744" fmla="*/ 2998784 h 4036143"/>
                  <a:gd name="connsiteX1745" fmla="*/ 3345752 w 5806384"/>
                  <a:gd name="connsiteY1745" fmla="*/ 2949217 h 4036143"/>
                  <a:gd name="connsiteX1746" fmla="*/ 3623325 w 5806384"/>
                  <a:gd name="connsiteY1746" fmla="*/ 2716962 h 4036143"/>
                  <a:gd name="connsiteX1747" fmla="*/ 3570926 w 5806384"/>
                  <a:gd name="connsiteY1747" fmla="*/ 2690054 h 4036143"/>
                  <a:gd name="connsiteX1748" fmla="*/ 3507198 w 5806384"/>
                  <a:gd name="connsiteY1748" fmla="*/ 2658898 h 4036143"/>
                  <a:gd name="connsiteX1749" fmla="*/ 3369828 w 5806384"/>
                  <a:gd name="connsiteY1749" fmla="*/ 2403984 h 4036143"/>
                  <a:gd name="connsiteX1750" fmla="*/ 3369828 w 5806384"/>
                  <a:gd name="connsiteY1750" fmla="*/ 2402568 h 4036143"/>
                  <a:gd name="connsiteX1751" fmla="*/ 3398152 w 5806384"/>
                  <a:gd name="connsiteY1751" fmla="*/ 2605083 h 4036143"/>
                  <a:gd name="connsiteX1752" fmla="*/ 3189971 w 5806384"/>
                  <a:gd name="connsiteY1752" fmla="*/ 2503117 h 4036143"/>
                  <a:gd name="connsiteX1753" fmla="*/ 3325925 w 5806384"/>
                  <a:gd name="connsiteY1753" fmla="*/ 2354417 h 4036143"/>
                  <a:gd name="connsiteX1754" fmla="*/ 3701216 w 5806384"/>
                  <a:gd name="connsiteY1754" fmla="*/ 2456383 h 4036143"/>
                  <a:gd name="connsiteX1755" fmla="*/ 3702633 w 5806384"/>
                  <a:gd name="connsiteY1755" fmla="*/ 2456383 h 4036143"/>
                  <a:gd name="connsiteX1756" fmla="*/ 3395319 w 5806384"/>
                  <a:gd name="connsiteY1756" fmla="*/ 2277943 h 4036143"/>
                  <a:gd name="connsiteX1757" fmla="*/ 3549683 w 5806384"/>
                  <a:gd name="connsiteY1757" fmla="*/ 2109416 h 4036143"/>
                  <a:gd name="connsiteX1758" fmla="*/ 3552516 w 5806384"/>
                  <a:gd name="connsiteY1758" fmla="*/ 2110833 h 4036143"/>
                  <a:gd name="connsiteX1759" fmla="*/ 3552516 w 5806384"/>
                  <a:gd name="connsiteY1759" fmla="*/ 2110833 h 4036143"/>
                  <a:gd name="connsiteX1760" fmla="*/ 3551100 w 5806384"/>
                  <a:gd name="connsiteY1760" fmla="*/ 2106584 h 4036143"/>
                  <a:gd name="connsiteX1761" fmla="*/ 3553933 w 5806384"/>
                  <a:gd name="connsiteY1761" fmla="*/ 2103752 h 4036143"/>
                  <a:gd name="connsiteX1762" fmla="*/ 3553933 w 5806384"/>
                  <a:gd name="connsiteY1762" fmla="*/ 2103752 h 4036143"/>
                  <a:gd name="connsiteX1763" fmla="*/ 3549683 w 5806384"/>
                  <a:gd name="connsiteY1763" fmla="*/ 2103752 h 4036143"/>
                  <a:gd name="connsiteX1764" fmla="*/ 3497285 w 5806384"/>
                  <a:gd name="connsiteY1764" fmla="*/ 1974878 h 4036143"/>
                  <a:gd name="connsiteX1765" fmla="*/ 3746534 w 5806384"/>
                  <a:gd name="connsiteY1765" fmla="*/ 2068347 h 4036143"/>
                  <a:gd name="connsiteX1766" fmla="*/ 3780523 w 5806384"/>
                  <a:gd name="connsiteY1766" fmla="*/ 2343088 h 4036143"/>
                  <a:gd name="connsiteX1767" fmla="*/ 3623325 w 5806384"/>
                  <a:gd name="connsiteY1767" fmla="*/ 2716962 h 4036143"/>
                  <a:gd name="connsiteX1768" fmla="*/ 3726707 w 5806384"/>
                  <a:gd name="connsiteY1768" fmla="*/ 1884242 h 4036143"/>
                  <a:gd name="connsiteX1769" fmla="*/ 3868326 w 5806384"/>
                  <a:gd name="connsiteY1769" fmla="*/ 1966381 h 4036143"/>
                  <a:gd name="connsiteX1770" fmla="*/ 3825841 w 5806384"/>
                  <a:gd name="connsiteY1770" fmla="*/ 2098087 h 4036143"/>
                  <a:gd name="connsiteX1771" fmla="*/ 3747950 w 5806384"/>
                  <a:gd name="connsiteY1771" fmla="*/ 2069763 h 4036143"/>
                  <a:gd name="connsiteX1772" fmla="*/ 3726707 w 5806384"/>
                  <a:gd name="connsiteY1772" fmla="*/ 1884242 h 4036143"/>
                  <a:gd name="connsiteX1773" fmla="*/ 3893818 w 5806384"/>
                  <a:gd name="connsiteY1773" fmla="*/ 1892739 h 4036143"/>
                  <a:gd name="connsiteX1774" fmla="*/ 4041102 w 5806384"/>
                  <a:gd name="connsiteY1774" fmla="*/ 2065514 h 4036143"/>
                  <a:gd name="connsiteX1775" fmla="*/ 3869743 w 5806384"/>
                  <a:gd name="connsiteY1775" fmla="*/ 1966381 h 4036143"/>
                  <a:gd name="connsiteX1776" fmla="*/ 3893818 w 5806384"/>
                  <a:gd name="connsiteY1776" fmla="*/ 1892739 h 4036143"/>
                  <a:gd name="connsiteX1777" fmla="*/ 3696968 w 5806384"/>
                  <a:gd name="connsiteY1777" fmla="*/ 1660484 h 4036143"/>
                  <a:gd name="connsiteX1778" fmla="*/ 3696968 w 5806384"/>
                  <a:gd name="connsiteY1778" fmla="*/ 1660484 h 4036143"/>
                  <a:gd name="connsiteX1779" fmla="*/ 3723876 w 5806384"/>
                  <a:gd name="connsiteY1779" fmla="*/ 1879993 h 4036143"/>
                  <a:gd name="connsiteX1780" fmla="*/ 3374076 w 5806384"/>
                  <a:gd name="connsiteY1780" fmla="*/ 1677478 h 4036143"/>
                  <a:gd name="connsiteX1781" fmla="*/ 3235289 w 5806384"/>
                  <a:gd name="connsiteY1781" fmla="*/ 1337592 h 4036143"/>
                  <a:gd name="connsiteX1782" fmla="*/ 3250867 w 5806384"/>
                  <a:gd name="connsiteY1782" fmla="*/ 1336176 h 4036143"/>
                  <a:gd name="connsiteX1783" fmla="*/ 3682806 w 5806384"/>
                  <a:gd name="connsiteY1783" fmla="*/ 1659068 h 4036143"/>
                  <a:gd name="connsiteX1784" fmla="*/ 3682806 w 5806384"/>
                  <a:gd name="connsiteY1784" fmla="*/ 1659068 h 4036143"/>
                  <a:gd name="connsiteX1785" fmla="*/ 3718210 w 5806384"/>
                  <a:gd name="connsiteY1785" fmla="*/ 1299355 h 4036143"/>
                  <a:gd name="connsiteX1786" fmla="*/ 3749367 w 5806384"/>
                  <a:gd name="connsiteY1786" fmla="*/ 1296523 h 4036143"/>
                  <a:gd name="connsiteX1787" fmla="*/ 3871159 w 5806384"/>
                  <a:gd name="connsiteY1787" fmla="*/ 1489125 h 4036143"/>
                  <a:gd name="connsiteX1788" fmla="*/ 3861245 w 5806384"/>
                  <a:gd name="connsiteY1788" fmla="*/ 1514616 h 4036143"/>
                  <a:gd name="connsiteX1789" fmla="*/ 3882488 w 5806384"/>
                  <a:gd name="connsiteY1789" fmla="*/ 1506119 h 4036143"/>
                  <a:gd name="connsiteX1790" fmla="*/ 3919310 w 5806384"/>
                  <a:gd name="connsiteY1790" fmla="*/ 1564183 h 4036143"/>
                  <a:gd name="connsiteX1791" fmla="*/ 3895234 w 5806384"/>
                  <a:gd name="connsiteY1791" fmla="*/ 1762449 h 4036143"/>
                  <a:gd name="connsiteX1792" fmla="*/ 3895234 w 5806384"/>
                  <a:gd name="connsiteY1792" fmla="*/ 1762449 h 4036143"/>
                  <a:gd name="connsiteX1793" fmla="*/ 3936304 w 5806384"/>
                  <a:gd name="connsiteY1793" fmla="*/ 1751120 h 4036143"/>
                  <a:gd name="connsiteX1794" fmla="*/ 3892402 w 5806384"/>
                  <a:gd name="connsiteY1794" fmla="*/ 1887074 h 4036143"/>
                  <a:gd name="connsiteX1795" fmla="*/ 3696968 w 5806384"/>
                  <a:gd name="connsiteY1795" fmla="*/ 1660484 h 4036143"/>
                  <a:gd name="connsiteX1796" fmla="*/ 4308763 w 5806384"/>
                  <a:gd name="connsiteY1796" fmla="*/ 1474963 h 4036143"/>
                  <a:gd name="connsiteX1797" fmla="*/ 4308763 w 5806384"/>
                  <a:gd name="connsiteY1797" fmla="*/ 1474963 h 4036143"/>
                  <a:gd name="connsiteX1798" fmla="*/ 4177057 w 5806384"/>
                  <a:gd name="connsiteY1798" fmla="*/ 1389991 h 4036143"/>
                  <a:gd name="connsiteX1799" fmla="*/ 4270525 w 5806384"/>
                  <a:gd name="connsiteY1799" fmla="*/ 1353170 h 4036143"/>
                  <a:gd name="connsiteX1800" fmla="*/ 4402231 w 5806384"/>
                  <a:gd name="connsiteY1800" fmla="*/ 1622247 h 4036143"/>
                  <a:gd name="connsiteX1801" fmla="*/ 4269109 w 5806384"/>
                  <a:gd name="connsiteY1801" fmla="*/ 1659068 h 4036143"/>
                  <a:gd name="connsiteX1802" fmla="*/ 4308763 w 5806384"/>
                  <a:gd name="connsiteY1802" fmla="*/ 1474963 h 4036143"/>
                  <a:gd name="connsiteX1803" fmla="*/ 4271941 w 5806384"/>
                  <a:gd name="connsiteY1803" fmla="*/ 1351754 h 4036143"/>
                  <a:gd name="connsiteX1804" fmla="*/ 4206797 w 5806384"/>
                  <a:gd name="connsiteY1804" fmla="*/ 1217216 h 4036143"/>
                  <a:gd name="connsiteX1805" fmla="*/ 4460295 w 5806384"/>
                  <a:gd name="connsiteY1805" fmla="*/ 1263950 h 4036143"/>
                  <a:gd name="connsiteX1806" fmla="*/ 4460295 w 5806384"/>
                  <a:gd name="connsiteY1806" fmla="*/ 1263950 h 4036143"/>
                  <a:gd name="connsiteX1807" fmla="*/ 4475873 w 5806384"/>
                  <a:gd name="connsiteY1807" fmla="*/ 1259702 h 4036143"/>
                  <a:gd name="connsiteX1808" fmla="*/ 4477289 w 5806384"/>
                  <a:gd name="connsiteY1808" fmla="*/ 1269615 h 4036143"/>
                  <a:gd name="connsiteX1809" fmla="*/ 4271941 w 5806384"/>
                  <a:gd name="connsiteY1809" fmla="*/ 1351754 h 4036143"/>
                  <a:gd name="connsiteX1810" fmla="*/ 4539602 w 5806384"/>
                  <a:gd name="connsiteY1810" fmla="*/ 982128 h 4036143"/>
                  <a:gd name="connsiteX1811" fmla="*/ 4458878 w 5806384"/>
                  <a:gd name="connsiteY1811" fmla="*/ 1112418 h 4036143"/>
                  <a:gd name="connsiteX1812" fmla="*/ 4446133 w 5806384"/>
                  <a:gd name="connsiteY1812" fmla="*/ 1013285 h 4036143"/>
                  <a:gd name="connsiteX1813" fmla="*/ 4539602 w 5806384"/>
                  <a:gd name="connsiteY1813" fmla="*/ 982128 h 4036143"/>
                  <a:gd name="connsiteX1814" fmla="*/ 4446133 w 5806384"/>
                  <a:gd name="connsiteY1814" fmla="*/ 1010452 h 4036143"/>
                  <a:gd name="connsiteX1815" fmla="*/ 4433387 w 5806384"/>
                  <a:gd name="connsiteY1815" fmla="*/ 911319 h 4036143"/>
                  <a:gd name="connsiteX1816" fmla="*/ 4569341 w 5806384"/>
                  <a:gd name="connsiteY1816" fmla="*/ 908486 h 4036143"/>
                  <a:gd name="connsiteX1817" fmla="*/ 4579255 w 5806384"/>
                  <a:gd name="connsiteY1817" fmla="*/ 918400 h 4036143"/>
                  <a:gd name="connsiteX1818" fmla="*/ 4541017 w 5806384"/>
                  <a:gd name="connsiteY1818" fmla="*/ 980712 h 4036143"/>
                  <a:gd name="connsiteX1819" fmla="*/ 4446133 w 5806384"/>
                  <a:gd name="connsiteY1819" fmla="*/ 1010452 h 4036143"/>
                  <a:gd name="connsiteX1820" fmla="*/ 4652897 w 5806384"/>
                  <a:gd name="connsiteY1820" fmla="*/ 802272 h 4036143"/>
                  <a:gd name="connsiteX1821" fmla="*/ 4589168 w 5806384"/>
                  <a:gd name="connsiteY1821" fmla="*/ 905654 h 4036143"/>
                  <a:gd name="connsiteX1822" fmla="*/ 4572174 w 5806384"/>
                  <a:gd name="connsiteY1822" fmla="*/ 905654 h 4036143"/>
                  <a:gd name="connsiteX1823" fmla="*/ 4414977 w 5806384"/>
                  <a:gd name="connsiteY1823" fmla="*/ 749873 h 4036143"/>
                  <a:gd name="connsiteX1824" fmla="*/ 4397982 w 5806384"/>
                  <a:gd name="connsiteY1824" fmla="*/ 618167 h 4036143"/>
                  <a:gd name="connsiteX1825" fmla="*/ 4652897 w 5806384"/>
                  <a:gd name="connsiteY1825" fmla="*/ 802272 h 4036143"/>
                  <a:gd name="connsiteX1826" fmla="*/ 3400983 w 5806384"/>
                  <a:gd name="connsiteY1826" fmla="*/ 92760 h 4036143"/>
                  <a:gd name="connsiteX1827" fmla="*/ 3528440 w 5806384"/>
                  <a:gd name="connsiteY1827" fmla="*/ 350507 h 4036143"/>
                  <a:gd name="connsiteX1828" fmla="*/ 3453382 w 5806384"/>
                  <a:gd name="connsiteY1828" fmla="*/ 731463 h 4036143"/>
                  <a:gd name="connsiteX1829" fmla="*/ 3177225 w 5806384"/>
                  <a:gd name="connsiteY1829" fmla="*/ 605422 h 4036143"/>
                  <a:gd name="connsiteX1830" fmla="*/ 3214047 w 5806384"/>
                  <a:gd name="connsiteY1830" fmla="*/ 404322 h 4036143"/>
                  <a:gd name="connsiteX1831" fmla="*/ 3313180 w 5806384"/>
                  <a:gd name="connsiteY1831" fmla="*/ 342010 h 4036143"/>
                  <a:gd name="connsiteX1832" fmla="*/ 3313180 w 5806384"/>
                  <a:gd name="connsiteY1832" fmla="*/ 342010 h 4036143"/>
                  <a:gd name="connsiteX1833" fmla="*/ 3231040 w 5806384"/>
                  <a:gd name="connsiteY1833" fmla="*/ 138079 h 4036143"/>
                  <a:gd name="connsiteX1834" fmla="*/ 3150318 w 5806384"/>
                  <a:gd name="connsiteY1834" fmla="*/ 13454 h 4036143"/>
                  <a:gd name="connsiteX1835" fmla="*/ 3400983 w 5806384"/>
                  <a:gd name="connsiteY1835" fmla="*/ 92760 h 4036143"/>
                  <a:gd name="connsiteX1836" fmla="*/ 2412482 w 5806384"/>
                  <a:gd name="connsiteY1836" fmla="*/ 1399905 h 4036143"/>
                  <a:gd name="connsiteX1837" fmla="*/ 2238290 w 5806384"/>
                  <a:gd name="connsiteY1837" fmla="*/ 1414067 h 4036143"/>
                  <a:gd name="connsiteX1838" fmla="*/ 2234042 w 5806384"/>
                  <a:gd name="connsiteY1838" fmla="*/ 1231378 h 4036143"/>
                  <a:gd name="connsiteX1839" fmla="*/ 2412482 w 5806384"/>
                  <a:gd name="connsiteY1839" fmla="*/ 1399905 h 4036143"/>
                  <a:gd name="connsiteX1840" fmla="*/ 1268199 w 5806384"/>
                  <a:gd name="connsiteY1840" fmla="*/ 1569848 h 4036143"/>
                  <a:gd name="connsiteX1841" fmla="*/ 1305020 w 5806384"/>
                  <a:gd name="connsiteY1841" fmla="*/ 1588258 h 4036143"/>
                  <a:gd name="connsiteX1842" fmla="*/ 1279529 w 5806384"/>
                  <a:gd name="connsiteY1842" fmla="*/ 1640657 h 4036143"/>
                  <a:gd name="connsiteX1843" fmla="*/ 1184644 w 5806384"/>
                  <a:gd name="connsiteY1843" fmla="*/ 1637825 h 4036143"/>
                  <a:gd name="connsiteX1844" fmla="*/ 1178979 w 5806384"/>
                  <a:gd name="connsiteY1844" fmla="*/ 1568431 h 4036143"/>
                  <a:gd name="connsiteX1845" fmla="*/ 1268199 w 5806384"/>
                  <a:gd name="connsiteY1845" fmla="*/ 1569848 h 4036143"/>
                  <a:gd name="connsiteX1846" fmla="*/ 698890 w 5806384"/>
                  <a:gd name="connsiteY1846" fmla="*/ 1550021 h 4036143"/>
                  <a:gd name="connsiteX1847" fmla="*/ 904238 w 5806384"/>
                  <a:gd name="connsiteY1847" fmla="*/ 1497622 h 4036143"/>
                  <a:gd name="connsiteX1848" fmla="*/ 885828 w 5806384"/>
                  <a:gd name="connsiteY1848" fmla="*/ 1561350 h 4036143"/>
                  <a:gd name="connsiteX1849" fmla="*/ 885828 w 5806384"/>
                  <a:gd name="connsiteY1849" fmla="*/ 1561350 h 4036143"/>
                  <a:gd name="connsiteX1850" fmla="*/ 1176147 w 5806384"/>
                  <a:gd name="connsiteY1850" fmla="*/ 1567015 h 4036143"/>
                  <a:gd name="connsiteX1851" fmla="*/ 1181812 w 5806384"/>
                  <a:gd name="connsiteY1851" fmla="*/ 1636409 h 4036143"/>
                  <a:gd name="connsiteX1852" fmla="*/ 1060019 w 5806384"/>
                  <a:gd name="connsiteY1852" fmla="*/ 1632160 h 4036143"/>
                  <a:gd name="connsiteX1853" fmla="*/ 1060019 w 5806384"/>
                  <a:gd name="connsiteY1853" fmla="*/ 1632160 h 4036143"/>
                  <a:gd name="connsiteX1854" fmla="*/ 1197390 w 5806384"/>
                  <a:gd name="connsiteY1854" fmla="*/ 1796438 h 4036143"/>
                  <a:gd name="connsiteX1855" fmla="*/ 1197390 w 5806384"/>
                  <a:gd name="connsiteY1855" fmla="*/ 1803519 h 4036143"/>
                  <a:gd name="connsiteX1856" fmla="*/ 875914 w 5806384"/>
                  <a:gd name="connsiteY1856" fmla="*/ 1854502 h 4036143"/>
                  <a:gd name="connsiteX1857" fmla="*/ 844758 w 5806384"/>
                  <a:gd name="connsiteY1857" fmla="*/ 1807768 h 4036143"/>
                  <a:gd name="connsiteX1858" fmla="*/ 873082 w 5806384"/>
                  <a:gd name="connsiteY1858" fmla="*/ 1803519 h 4036143"/>
                  <a:gd name="connsiteX1859" fmla="*/ 873082 w 5806384"/>
                  <a:gd name="connsiteY1859" fmla="*/ 1803519 h 4036143"/>
                  <a:gd name="connsiteX1860" fmla="*/ 698890 w 5806384"/>
                  <a:gd name="connsiteY1860" fmla="*/ 1550021 h 4036143"/>
                  <a:gd name="connsiteX1861" fmla="*/ 1263951 w 5806384"/>
                  <a:gd name="connsiteY1861" fmla="*/ 1567015 h 4036143"/>
                  <a:gd name="connsiteX1862" fmla="*/ 1178979 w 5806384"/>
                  <a:gd name="connsiteY1862" fmla="*/ 1565599 h 4036143"/>
                  <a:gd name="connsiteX1863" fmla="*/ 1174731 w 5806384"/>
                  <a:gd name="connsiteY1863" fmla="*/ 1524529 h 4036143"/>
                  <a:gd name="connsiteX1864" fmla="*/ 1263951 w 5806384"/>
                  <a:gd name="connsiteY1864" fmla="*/ 1567015 h 4036143"/>
                  <a:gd name="connsiteX1865" fmla="*/ 1065684 w 5806384"/>
                  <a:gd name="connsiteY1865" fmla="*/ 1634992 h 4036143"/>
                  <a:gd name="connsiteX1866" fmla="*/ 1183228 w 5806384"/>
                  <a:gd name="connsiteY1866" fmla="*/ 1639241 h 4036143"/>
                  <a:gd name="connsiteX1867" fmla="*/ 1197390 w 5806384"/>
                  <a:gd name="connsiteY1867" fmla="*/ 1793606 h 4036143"/>
                  <a:gd name="connsiteX1868" fmla="*/ 1065684 w 5806384"/>
                  <a:gd name="connsiteY1868" fmla="*/ 1634992 h 4036143"/>
                  <a:gd name="connsiteX1869" fmla="*/ 1200222 w 5806384"/>
                  <a:gd name="connsiteY1869" fmla="*/ 1796438 h 4036143"/>
                  <a:gd name="connsiteX1870" fmla="*/ 1186060 w 5806384"/>
                  <a:gd name="connsiteY1870" fmla="*/ 1639241 h 4036143"/>
                  <a:gd name="connsiteX1871" fmla="*/ 1280945 w 5806384"/>
                  <a:gd name="connsiteY1871" fmla="*/ 1642073 h 4036143"/>
                  <a:gd name="connsiteX1872" fmla="*/ 1205887 w 5806384"/>
                  <a:gd name="connsiteY1872" fmla="*/ 1802103 h 4036143"/>
                  <a:gd name="connsiteX1873" fmla="*/ 1200222 w 5806384"/>
                  <a:gd name="connsiteY1873" fmla="*/ 1796438 h 4036143"/>
                  <a:gd name="connsiteX1874" fmla="*/ 1422564 w 5806384"/>
                  <a:gd name="connsiteY1874" fmla="*/ 1644906 h 4036143"/>
                  <a:gd name="connsiteX1875" fmla="*/ 1283777 w 5806384"/>
                  <a:gd name="connsiteY1875" fmla="*/ 1640657 h 4036143"/>
                  <a:gd name="connsiteX1876" fmla="*/ 1307852 w 5806384"/>
                  <a:gd name="connsiteY1876" fmla="*/ 1588258 h 4036143"/>
                  <a:gd name="connsiteX1877" fmla="*/ 1422564 w 5806384"/>
                  <a:gd name="connsiteY1877" fmla="*/ 1644906 h 4036143"/>
                  <a:gd name="connsiteX1878" fmla="*/ 1449472 w 5806384"/>
                  <a:gd name="connsiteY1878" fmla="*/ 1647738 h 4036143"/>
                  <a:gd name="connsiteX1879" fmla="*/ 1455137 w 5806384"/>
                  <a:gd name="connsiteY1879" fmla="*/ 1657651 h 4036143"/>
                  <a:gd name="connsiteX1880" fmla="*/ 1432478 w 5806384"/>
                  <a:gd name="connsiteY1880" fmla="*/ 1646322 h 4036143"/>
                  <a:gd name="connsiteX1881" fmla="*/ 1449472 w 5806384"/>
                  <a:gd name="connsiteY1881" fmla="*/ 1647738 h 4036143"/>
                  <a:gd name="connsiteX1882" fmla="*/ 2674477 w 5806384"/>
                  <a:gd name="connsiteY1882" fmla="*/ 2814679 h 4036143"/>
                  <a:gd name="connsiteX1883" fmla="*/ 2674477 w 5806384"/>
                  <a:gd name="connsiteY1883" fmla="*/ 2813263 h 4036143"/>
                  <a:gd name="connsiteX1884" fmla="*/ 2634824 w 5806384"/>
                  <a:gd name="connsiteY1884" fmla="*/ 2942136 h 4036143"/>
                  <a:gd name="connsiteX1885" fmla="*/ 2454968 w 5806384"/>
                  <a:gd name="connsiteY1885" fmla="*/ 2623494 h 4036143"/>
                  <a:gd name="connsiteX1886" fmla="*/ 2531442 w 5806384"/>
                  <a:gd name="connsiteY1886" fmla="*/ 2677309 h 4036143"/>
                  <a:gd name="connsiteX1887" fmla="*/ 2675894 w 5806384"/>
                  <a:gd name="connsiteY1887" fmla="*/ 2810431 h 4036143"/>
                  <a:gd name="connsiteX1888" fmla="*/ 2675894 w 5806384"/>
                  <a:gd name="connsiteY1888" fmla="*/ 2810431 h 4036143"/>
                  <a:gd name="connsiteX1889" fmla="*/ 2677310 w 5806384"/>
                  <a:gd name="connsiteY1889" fmla="*/ 2809015 h 4036143"/>
                  <a:gd name="connsiteX1890" fmla="*/ 2636240 w 5806384"/>
                  <a:gd name="connsiteY1890" fmla="*/ 2750951 h 4036143"/>
                  <a:gd name="connsiteX1891" fmla="*/ 2834507 w 5806384"/>
                  <a:gd name="connsiteY1891" fmla="*/ 2891154 h 4036143"/>
                  <a:gd name="connsiteX1892" fmla="*/ 2668813 w 5806384"/>
                  <a:gd name="connsiteY1892" fmla="*/ 2974709 h 4036143"/>
                  <a:gd name="connsiteX1893" fmla="*/ 2674477 w 5806384"/>
                  <a:gd name="connsiteY1893" fmla="*/ 2814679 h 4036143"/>
                  <a:gd name="connsiteX1894" fmla="*/ 2520112 w 5806384"/>
                  <a:gd name="connsiteY1894" fmla="*/ 2665979 h 4036143"/>
                  <a:gd name="connsiteX1895" fmla="*/ 2452135 w 5806384"/>
                  <a:gd name="connsiteY1895" fmla="*/ 2619245 h 4036143"/>
                  <a:gd name="connsiteX1896" fmla="*/ 2435141 w 5806384"/>
                  <a:gd name="connsiteY1896" fmla="*/ 2589505 h 4036143"/>
                  <a:gd name="connsiteX1897" fmla="*/ 2520112 w 5806384"/>
                  <a:gd name="connsiteY1897" fmla="*/ 2665979 h 4036143"/>
                  <a:gd name="connsiteX1898" fmla="*/ 2654651 w 5806384"/>
                  <a:gd name="connsiteY1898" fmla="*/ 2981790 h 4036143"/>
                  <a:gd name="connsiteX1899" fmla="*/ 2617830 w 5806384"/>
                  <a:gd name="connsiteY1899" fmla="*/ 3000200 h 4036143"/>
                  <a:gd name="connsiteX1900" fmla="*/ 2634824 w 5806384"/>
                  <a:gd name="connsiteY1900" fmla="*/ 2946385 h 4036143"/>
                  <a:gd name="connsiteX1901" fmla="*/ 2654651 w 5806384"/>
                  <a:gd name="connsiteY1901" fmla="*/ 2981790 h 4036143"/>
                  <a:gd name="connsiteX1902" fmla="*/ 2671645 w 5806384"/>
                  <a:gd name="connsiteY1902" fmla="*/ 2827425 h 4036143"/>
                  <a:gd name="connsiteX1903" fmla="*/ 2668813 w 5806384"/>
                  <a:gd name="connsiteY1903" fmla="*/ 2974709 h 4036143"/>
                  <a:gd name="connsiteX1904" fmla="*/ 2657483 w 5806384"/>
                  <a:gd name="connsiteY1904" fmla="*/ 2980374 h 4036143"/>
                  <a:gd name="connsiteX1905" fmla="*/ 2636240 w 5806384"/>
                  <a:gd name="connsiteY1905" fmla="*/ 2943553 h 4036143"/>
                  <a:gd name="connsiteX1906" fmla="*/ 2671645 w 5806384"/>
                  <a:gd name="connsiteY1906" fmla="*/ 2827425 h 4036143"/>
                  <a:gd name="connsiteX1907" fmla="*/ 2668813 w 5806384"/>
                  <a:gd name="connsiteY1907" fmla="*/ 2977541 h 4036143"/>
                  <a:gd name="connsiteX1908" fmla="*/ 2668813 w 5806384"/>
                  <a:gd name="connsiteY1908" fmla="*/ 3001616 h 4036143"/>
                  <a:gd name="connsiteX1909" fmla="*/ 2658899 w 5806384"/>
                  <a:gd name="connsiteY1909" fmla="*/ 2983206 h 4036143"/>
                  <a:gd name="connsiteX1910" fmla="*/ 2668813 w 5806384"/>
                  <a:gd name="connsiteY1910" fmla="*/ 2977541 h 4036143"/>
                  <a:gd name="connsiteX1911" fmla="*/ 2695720 w 5806384"/>
                  <a:gd name="connsiteY1911" fmla="*/ 3054016 h 4036143"/>
                  <a:gd name="connsiteX1912" fmla="*/ 2661732 w 5806384"/>
                  <a:gd name="connsiteY1912" fmla="*/ 3381156 h 4036143"/>
                  <a:gd name="connsiteX1913" fmla="*/ 2670229 w 5806384"/>
                  <a:gd name="connsiteY1913" fmla="*/ 3008697 h 4036143"/>
                  <a:gd name="connsiteX1914" fmla="*/ 2695720 w 5806384"/>
                  <a:gd name="connsiteY1914" fmla="*/ 3054016 h 4036143"/>
                  <a:gd name="connsiteX1915" fmla="*/ 2861415 w 5806384"/>
                  <a:gd name="connsiteY1915" fmla="*/ 2746702 h 4036143"/>
                  <a:gd name="connsiteX1916" fmla="*/ 2797686 w 5806384"/>
                  <a:gd name="connsiteY1916" fmla="*/ 2728292 h 4036143"/>
                  <a:gd name="connsiteX1917" fmla="*/ 2783524 w 5806384"/>
                  <a:gd name="connsiteY1917" fmla="*/ 2685806 h 4036143"/>
                  <a:gd name="connsiteX1918" fmla="*/ 2861415 w 5806384"/>
                  <a:gd name="connsiteY1918" fmla="*/ 2746702 h 4036143"/>
                  <a:gd name="connsiteX1919" fmla="*/ 2865663 w 5806384"/>
                  <a:gd name="connsiteY1919" fmla="*/ 2750951 h 4036143"/>
                  <a:gd name="connsiteX1920" fmla="*/ 2920895 w 5806384"/>
                  <a:gd name="connsiteY1920" fmla="*/ 2793436 h 4036143"/>
                  <a:gd name="connsiteX1921" fmla="*/ 2847253 w 5806384"/>
                  <a:gd name="connsiteY1921" fmla="*/ 2874159 h 4036143"/>
                  <a:gd name="connsiteX1922" fmla="*/ 2797686 w 5806384"/>
                  <a:gd name="connsiteY1922" fmla="*/ 2732540 h 4036143"/>
                  <a:gd name="connsiteX1923" fmla="*/ 2865663 w 5806384"/>
                  <a:gd name="connsiteY1923" fmla="*/ 2750951 h 4036143"/>
                  <a:gd name="connsiteX1924" fmla="*/ 2871328 w 5806384"/>
                  <a:gd name="connsiteY1924" fmla="*/ 2752367 h 4036143"/>
                  <a:gd name="connsiteX1925" fmla="*/ 2940721 w 5806384"/>
                  <a:gd name="connsiteY1925" fmla="*/ 2772194 h 4036143"/>
                  <a:gd name="connsiteX1926" fmla="*/ 2922311 w 5806384"/>
                  <a:gd name="connsiteY1926" fmla="*/ 2792020 h 4036143"/>
                  <a:gd name="connsiteX1927" fmla="*/ 2871328 w 5806384"/>
                  <a:gd name="connsiteY1927" fmla="*/ 2752367 h 4036143"/>
                  <a:gd name="connsiteX1928" fmla="*/ 3208382 w 5806384"/>
                  <a:gd name="connsiteY1928" fmla="*/ 3001616 h 4036143"/>
                  <a:gd name="connsiteX1929" fmla="*/ 3214047 w 5806384"/>
                  <a:gd name="connsiteY1929" fmla="*/ 3015778 h 4036143"/>
                  <a:gd name="connsiteX1930" fmla="*/ 3198468 w 5806384"/>
                  <a:gd name="connsiteY1930" fmla="*/ 3007281 h 4036143"/>
                  <a:gd name="connsiteX1931" fmla="*/ 3208382 w 5806384"/>
                  <a:gd name="connsiteY1931" fmla="*/ 3001616 h 4036143"/>
                  <a:gd name="connsiteX1932" fmla="*/ 4617492 w 5806384"/>
                  <a:gd name="connsiteY1932" fmla="*/ 955221 h 4036143"/>
                  <a:gd name="connsiteX1933" fmla="*/ 4545267 w 5806384"/>
                  <a:gd name="connsiteY1933" fmla="*/ 979296 h 4036143"/>
                  <a:gd name="connsiteX1934" fmla="*/ 4582087 w 5806384"/>
                  <a:gd name="connsiteY1934" fmla="*/ 919816 h 4036143"/>
                  <a:gd name="connsiteX1935" fmla="*/ 4617492 w 5806384"/>
                  <a:gd name="connsiteY1935" fmla="*/ 955221 h 4036143"/>
                  <a:gd name="connsiteX1936" fmla="*/ 4781770 w 5806384"/>
                  <a:gd name="connsiteY1936" fmla="*/ 902822 h 4036143"/>
                  <a:gd name="connsiteX1937" fmla="*/ 4618908 w 5806384"/>
                  <a:gd name="connsiteY1937" fmla="*/ 955221 h 4036143"/>
                  <a:gd name="connsiteX1938" fmla="*/ 4582087 w 5806384"/>
                  <a:gd name="connsiteY1938" fmla="*/ 918400 h 4036143"/>
                  <a:gd name="connsiteX1939" fmla="*/ 4589168 w 5806384"/>
                  <a:gd name="connsiteY1939" fmla="*/ 908486 h 4036143"/>
                  <a:gd name="connsiteX1940" fmla="*/ 4781770 w 5806384"/>
                  <a:gd name="connsiteY1940" fmla="*/ 902822 h 4036143"/>
                  <a:gd name="connsiteX1941" fmla="*/ 5083419 w 5806384"/>
                  <a:gd name="connsiteY1941" fmla="*/ 871665 h 4036143"/>
                  <a:gd name="connsiteX1942" fmla="*/ 5115992 w 5806384"/>
                  <a:gd name="connsiteY1942" fmla="*/ 868833 h 4036143"/>
                  <a:gd name="connsiteX1943" fmla="*/ 5098997 w 5806384"/>
                  <a:gd name="connsiteY1943" fmla="*/ 880163 h 4036143"/>
                  <a:gd name="connsiteX1944" fmla="*/ 5083419 w 5806384"/>
                  <a:gd name="connsiteY1944" fmla="*/ 871665 h 4036143"/>
                  <a:gd name="connsiteX1945" fmla="*/ 5080587 w 5806384"/>
                  <a:gd name="connsiteY1945" fmla="*/ 870249 h 4036143"/>
                  <a:gd name="connsiteX1946" fmla="*/ 4951713 w 5806384"/>
                  <a:gd name="connsiteY1946" fmla="*/ 796607 h 4036143"/>
                  <a:gd name="connsiteX1947" fmla="*/ 5182553 w 5806384"/>
                  <a:gd name="connsiteY1947" fmla="*/ 822099 h 4036143"/>
                  <a:gd name="connsiteX1948" fmla="*/ 5118824 w 5806384"/>
                  <a:gd name="connsiteY1948" fmla="*/ 866001 h 4036143"/>
                  <a:gd name="connsiteX1949" fmla="*/ 5080587 w 5806384"/>
                  <a:gd name="connsiteY1949" fmla="*/ 870249 h 4036143"/>
                  <a:gd name="connsiteX1950" fmla="*/ 5057927 w 5806384"/>
                  <a:gd name="connsiteY1950" fmla="*/ 874498 h 4036143"/>
                  <a:gd name="connsiteX1951" fmla="*/ 5080587 w 5806384"/>
                  <a:gd name="connsiteY1951" fmla="*/ 871665 h 4036143"/>
                  <a:gd name="connsiteX1952" fmla="*/ 5097581 w 5806384"/>
                  <a:gd name="connsiteY1952" fmla="*/ 881579 h 4036143"/>
                  <a:gd name="connsiteX1953" fmla="*/ 5086251 w 5806384"/>
                  <a:gd name="connsiteY1953" fmla="*/ 890076 h 4036143"/>
                  <a:gd name="connsiteX1954" fmla="*/ 5057927 w 5806384"/>
                  <a:gd name="connsiteY1954" fmla="*/ 874498 h 4036143"/>
                  <a:gd name="connsiteX1955" fmla="*/ 5053679 w 5806384"/>
                  <a:gd name="connsiteY1955" fmla="*/ 873082 h 4036143"/>
                  <a:gd name="connsiteX1956" fmla="*/ 4910644 w 5806384"/>
                  <a:gd name="connsiteY1956" fmla="*/ 792359 h 4036143"/>
                  <a:gd name="connsiteX1957" fmla="*/ 4946049 w 5806384"/>
                  <a:gd name="connsiteY1957" fmla="*/ 796607 h 4036143"/>
                  <a:gd name="connsiteX1958" fmla="*/ 5076338 w 5806384"/>
                  <a:gd name="connsiteY1958" fmla="*/ 870249 h 4036143"/>
                  <a:gd name="connsiteX1959" fmla="*/ 5053679 w 5806384"/>
                  <a:gd name="connsiteY1959" fmla="*/ 873082 h 4036143"/>
                  <a:gd name="connsiteX1960" fmla="*/ 4941800 w 5806384"/>
                  <a:gd name="connsiteY1960" fmla="*/ 793775 h 4036143"/>
                  <a:gd name="connsiteX1961" fmla="*/ 4902146 w 5806384"/>
                  <a:gd name="connsiteY1961" fmla="*/ 789526 h 4036143"/>
                  <a:gd name="connsiteX1962" fmla="*/ 4900730 w 5806384"/>
                  <a:gd name="connsiteY1962" fmla="*/ 789526 h 4036143"/>
                  <a:gd name="connsiteX1963" fmla="*/ 5050846 w 5806384"/>
                  <a:gd name="connsiteY1963" fmla="*/ 873082 h 4036143"/>
                  <a:gd name="connsiteX1964" fmla="*/ 4801597 w 5806384"/>
                  <a:gd name="connsiteY1964" fmla="*/ 899989 h 4036143"/>
                  <a:gd name="connsiteX1965" fmla="*/ 4791683 w 5806384"/>
                  <a:gd name="connsiteY1965" fmla="*/ 899989 h 4036143"/>
                  <a:gd name="connsiteX1966" fmla="*/ 4654313 w 5806384"/>
                  <a:gd name="connsiteY1966" fmla="*/ 800856 h 4036143"/>
                  <a:gd name="connsiteX1967" fmla="*/ 4732203 w 5806384"/>
                  <a:gd name="connsiteY1967" fmla="*/ 674815 h 4036143"/>
                  <a:gd name="connsiteX1968" fmla="*/ 4941800 w 5806384"/>
                  <a:gd name="connsiteY1968" fmla="*/ 793775 h 4036143"/>
                  <a:gd name="connsiteX1969" fmla="*/ 4790268 w 5806384"/>
                  <a:gd name="connsiteY1969" fmla="*/ 902822 h 4036143"/>
                  <a:gd name="connsiteX1970" fmla="*/ 4803013 w 5806384"/>
                  <a:gd name="connsiteY1970" fmla="*/ 902822 h 4036143"/>
                  <a:gd name="connsiteX1971" fmla="*/ 5055096 w 5806384"/>
                  <a:gd name="connsiteY1971" fmla="*/ 875914 h 4036143"/>
                  <a:gd name="connsiteX1972" fmla="*/ 5083419 w 5806384"/>
                  <a:gd name="connsiteY1972" fmla="*/ 891492 h 4036143"/>
                  <a:gd name="connsiteX1973" fmla="*/ 4773273 w 5806384"/>
                  <a:gd name="connsiteY1973" fmla="*/ 1106753 h 4036143"/>
                  <a:gd name="connsiteX1974" fmla="*/ 4621740 w 5806384"/>
                  <a:gd name="connsiteY1974" fmla="*/ 956637 h 4036143"/>
                  <a:gd name="connsiteX1975" fmla="*/ 4790268 w 5806384"/>
                  <a:gd name="connsiteY1975" fmla="*/ 902822 h 4036143"/>
                  <a:gd name="connsiteX1976" fmla="*/ 5086251 w 5806384"/>
                  <a:gd name="connsiteY1976" fmla="*/ 891492 h 4036143"/>
                  <a:gd name="connsiteX1977" fmla="*/ 5097581 w 5806384"/>
                  <a:gd name="connsiteY1977" fmla="*/ 882995 h 4036143"/>
                  <a:gd name="connsiteX1978" fmla="*/ 5268940 w 5806384"/>
                  <a:gd name="connsiteY1978" fmla="*/ 980712 h 4036143"/>
                  <a:gd name="connsiteX1979" fmla="*/ 5263275 w 5806384"/>
                  <a:gd name="connsiteY1979" fmla="*/ 989209 h 4036143"/>
                  <a:gd name="connsiteX1980" fmla="*/ 5086251 w 5806384"/>
                  <a:gd name="connsiteY1980" fmla="*/ 891492 h 4036143"/>
                  <a:gd name="connsiteX1981" fmla="*/ 5365241 w 5806384"/>
                  <a:gd name="connsiteY1981" fmla="*/ 841925 h 4036143"/>
                  <a:gd name="connsiteX1982" fmla="*/ 5271773 w 5806384"/>
                  <a:gd name="connsiteY1982" fmla="*/ 979296 h 4036143"/>
                  <a:gd name="connsiteX1983" fmla="*/ 5100413 w 5806384"/>
                  <a:gd name="connsiteY1983" fmla="*/ 881579 h 4036143"/>
                  <a:gd name="connsiteX1984" fmla="*/ 5120240 w 5806384"/>
                  <a:gd name="connsiteY1984" fmla="*/ 867417 h 4036143"/>
                  <a:gd name="connsiteX1985" fmla="*/ 5365241 w 5806384"/>
                  <a:gd name="connsiteY1985" fmla="*/ 841925 h 4036143"/>
                  <a:gd name="connsiteX1986" fmla="*/ 1812017 w 5806384"/>
                  <a:gd name="connsiteY1986" fmla="*/ 1051522 h 4036143"/>
                  <a:gd name="connsiteX1987" fmla="*/ 1752537 w 5806384"/>
                  <a:gd name="connsiteY1987" fmla="*/ 1081262 h 4036143"/>
                  <a:gd name="connsiteX1988" fmla="*/ 1766699 w 5806384"/>
                  <a:gd name="connsiteY1988" fmla="*/ 996290 h 4036143"/>
                  <a:gd name="connsiteX1989" fmla="*/ 1812017 w 5806384"/>
                  <a:gd name="connsiteY1989" fmla="*/ 1051522 h 4036143"/>
                  <a:gd name="connsiteX1990" fmla="*/ 1108170 w 5806384"/>
                  <a:gd name="connsiteY1990" fmla="*/ 946724 h 4036143"/>
                  <a:gd name="connsiteX1991" fmla="*/ 1103921 w 5806384"/>
                  <a:gd name="connsiteY1991" fmla="*/ 959469 h 4036143"/>
                  <a:gd name="connsiteX1992" fmla="*/ 1092592 w 5806384"/>
                  <a:gd name="connsiteY1992" fmla="*/ 938226 h 4036143"/>
                  <a:gd name="connsiteX1993" fmla="*/ 1108170 w 5806384"/>
                  <a:gd name="connsiteY1993" fmla="*/ 946724 h 4036143"/>
                  <a:gd name="connsiteX1994" fmla="*/ 1421148 w 5806384"/>
                  <a:gd name="connsiteY1994" fmla="*/ 1898404 h 4036143"/>
                  <a:gd name="connsiteX1995" fmla="*/ 1559935 w 5806384"/>
                  <a:gd name="connsiteY1995" fmla="*/ 1857334 h 4036143"/>
                  <a:gd name="connsiteX1996" fmla="*/ 1601004 w 5806384"/>
                  <a:gd name="connsiteY1996" fmla="*/ 1935225 h 4036143"/>
                  <a:gd name="connsiteX1997" fmla="*/ 1421148 w 5806384"/>
                  <a:gd name="connsiteY1997" fmla="*/ 1898404 h 4036143"/>
                  <a:gd name="connsiteX1998" fmla="*/ 1742623 w 5806384"/>
                  <a:gd name="connsiteY1998" fmla="*/ 1800687 h 4036143"/>
                  <a:gd name="connsiteX1999" fmla="*/ 1561351 w 5806384"/>
                  <a:gd name="connsiteY1999" fmla="*/ 1854502 h 4036143"/>
                  <a:gd name="connsiteX2000" fmla="*/ 1459385 w 5806384"/>
                  <a:gd name="connsiteY2000" fmla="*/ 1663316 h 4036143"/>
                  <a:gd name="connsiteX2001" fmla="*/ 1742623 w 5806384"/>
                  <a:gd name="connsiteY2001" fmla="*/ 1800687 h 4036143"/>
                  <a:gd name="connsiteX2002" fmla="*/ 2194388 w 5806384"/>
                  <a:gd name="connsiteY2002" fmla="*/ 2439389 h 4036143"/>
                  <a:gd name="connsiteX2003" fmla="*/ 2195805 w 5806384"/>
                  <a:gd name="connsiteY2003" fmla="*/ 2439389 h 4036143"/>
                  <a:gd name="connsiteX2004" fmla="*/ 2395488 w 5806384"/>
                  <a:gd name="connsiteY2004" fmla="*/ 2579592 h 4036143"/>
                  <a:gd name="connsiteX2005" fmla="*/ 2347337 w 5806384"/>
                  <a:gd name="connsiteY2005" fmla="*/ 2797685 h 4036143"/>
                  <a:gd name="connsiteX2006" fmla="*/ 2194388 w 5806384"/>
                  <a:gd name="connsiteY2006" fmla="*/ 2439389 h 4036143"/>
                  <a:gd name="connsiteX2007" fmla="*/ 2192972 w 5806384"/>
                  <a:gd name="connsiteY2007" fmla="*/ 2437973 h 4036143"/>
                  <a:gd name="connsiteX2008" fmla="*/ 2192972 w 5806384"/>
                  <a:gd name="connsiteY2008" fmla="*/ 2437973 h 4036143"/>
                  <a:gd name="connsiteX2009" fmla="*/ 2192972 w 5806384"/>
                  <a:gd name="connsiteY2009" fmla="*/ 2437973 h 4036143"/>
                  <a:gd name="connsiteX2010" fmla="*/ 2192972 w 5806384"/>
                  <a:gd name="connsiteY2010" fmla="*/ 2437973 h 4036143"/>
                  <a:gd name="connsiteX2011" fmla="*/ 4089253 w 5806384"/>
                  <a:gd name="connsiteY2011" fmla="*/ 1708634 h 4036143"/>
                  <a:gd name="connsiteX2012" fmla="*/ 3939136 w 5806384"/>
                  <a:gd name="connsiteY2012" fmla="*/ 1749704 h 4036143"/>
                  <a:gd name="connsiteX2013" fmla="*/ 3971709 w 5806384"/>
                  <a:gd name="connsiteY2013" fmla="*/ 1647738 h 4036143"/>
                  <a:gd name="connsiteX2014" fmla="*/ 4089253 w 5806384"/>
                  <a:gd name="connsiteY2014" fmla="*/ 1708634 h 4036143"/>
                  <a:gd name="connsiteX2015" fmla="*/ 5284518 w 5806384"/>
                  <a:gd name="connsiteY2015" fmla="*/ 1140742 h 4036143"/>
                  <a:gd name="connsiteX2016" fmla="*/ 5356744 w 5806384"/>
                  <a:gd name="connsiteY2016" fmla="*/ 1031695 h 4036143"/>
                  <a:gd name="connsiteX2017" fmla="*/ 5400646 w 5806384"/>
                  <a:gd name="connsiteY2017" fmla="*/ 1057186 h 4036143"/>
                  <a:gd name="connsiteX2018" fmla="*/ 5284518 w 5806384"/>
                  <a:gd name="connsiteY2018" fmla="*/ 1140742 h 4036143"/>
                  <a:gd name="connsiteX2019" fmla="*/ 2801934 w 5806384"/>
                  <a:gd name="connsiteY2019" fmla="*/ 629497 h 4036143"/>
                  <a:gd name="connsiteX2020" fmla="*/ 2818929 w 5806384"/>
                  <a:gd name="connsiteY2020" fmla="*/ 653572 h 4036143"/>
                  <a:gd name="connsiteX2021" fmla="*/ 2541355 w 5806384"/>
                  <a:gd name="connsiteY2021" fmla="*/ 829180 h 4036143"/>
                  <a:gd name="connsiteX2022" fmla="*/ 2801934 w 5806384"/>
                  <a:gd name="connsiteY2022" fmla="*/ 629497 h 4036143"/>
                  <a:gd name="connsiteX2023" fmla="*/ 2532858 w 5806384"/>
                  <a:gd name="connsiteY2023" fmla="*/ 908486 h 4036143"/>
                  <a:gd name="connsiteX2024" fmla="*/ 1926728 w 5806384"/>
                  <a:gd name="connsiteY2024" fmla="*/ 796607 h 4036143"/>
                  <a:gd name="connsiteX2025" fmla="*/ 2129244 w 5806384"/>
                  <a:gd name="connsiteY2025" fmla="*/ 693225 h 4036143"/>
                  <a:gd name="connsiteX2026" fmla="*/ 2532858 w 5806384"/>
                  <a:gd name="connsiteY2026" fmla="*/ 908486 h 4036143"/>
                  <a:gd name="connsiteX2027" fmla="*/ 1710051 w 5806384"/>
                  <a:gd name="connsiteY2027" fmla="*/ 897157 h 4036143"/>
                  <a:gd name="connsiteX2028" fmla="*/ 1753953 w 5806384"/>
                  <a:gd name="connsiteY2028" fmla="*/ 800856 h 4036143"/>
                  <a:gd name="connsiteX2029" fmla="*/ 1763866 w 5806384"/>
                  <a:gd name="connsiteY2029" fmla="*/ 973631 h 4036143"/>
                  <a:gd name="connsiteX2030" fmla="*/ 1710051 w 5806384"/>
                  <a:gd name="connsiteY2030" fmla="*/ 897157 h 4036143"/>
                  <a:gd name="connsiteX2031" fmla="*/ 579930 w 5806384"/>
                  <a:gd name="connsiteY2031" fmla="*/ 1177563 h 4036143"/>
                  <a:gd name="connsiteX2032" fmla="*/ 570017 w 5806384"/>
                  <a:gd name="connsiteY2032" fmla="*/ 1207303 h 4036143"/>
                  <a:gd name="connsiteX2033" fmla="*/ 568601 w 5806384"/>
                  <a:gd name="connsiteY2033" fmla="*/ 1208719 h 4036143"/>
                  <a:gd name="connsiteX2034" fmla="*/ 554439 w 5806384"/>
                  <a:gd name="connsiteY2034" fmla="*/ 1197389 h 4036143"/>
                  <a:gd name="connsiteX2035" fmla="*/ 579930 w 5806384"/>
                  <a:gd name="connsiteY2035" fmla="*/ 1177563 h 4036143"/>
                  <a:gd name="connsiteX2036" fmla="*/ 759787 w 5806384"/>
                  <a:gd name="connsiteY2036" fmla="*/ 871665 h 4036143"/>
                  <a:gd name="connsiteX2037" fmla="*/ 748457 w 5806384"/>
                  <a:gd name="connsiteY2037" fmla="*/ 882995 h 4036143"/>
                  <a:gd name="connsiteX2038" fmla="*/ 747041 w 5806384"/>
                  <a:gd name="connsiteY2038" fmla="*/ 861752 h 4036143"/>
                  <a:gd name="connsiteX2039" fmla="*/ 759787 w 5806384"/>
                  <a:gd name="connsiteY2039" fmla="*/ 871665 h 4036143"/>
                  <a:gd name="connsiteX2040" fmla="*/ 762619 w 5806384"/>
                  <a:gd name="connsiteY2040" fmla="*/ 871665 h 4036143"/>
                  <a:gd name="connsiteX2041" fmla="*/ 948140 w 5806384"/>
                  <a:gd name="connsiteY2041" fmla="*/ 687561 h 4036143"/>
                  <a:gd name="connsiteX2042" fmla="*/ 983545 w 5806384"/>
                  <a:gd name="connsiteY2042" fmla="*/ 749873 h 4036143"/>
                  <a:gd name="connsiteX2043" fmla="*/ 822099 w 5806384"/>
                  <a:gd name="connsiteY2043" fmla="*/ 919816 h 4036143"/>
                  <a:gd name="connsiteX2044" fmla="*/ 762619 w 5806384"/>
                  <a:gd name="connsiteY2044" fmla="*/ 871665 h 4036143"/>
                  <a:gd name="connsiteX2045" fmla="*/ 820683 w 5806384"/>
                  <a:gd name="connsiteY2045" fmla="*/ 921232 h 4036143"/>
                  <a:gd name="connsiteX2046" fmla="*/ 762619 w 5806384"/>
                  <a:gd name="connsiteY2046" fmla="*/ 982128 h 4036143"/>
                  <a:gd name="connsiteX2047" fmla="*/ 756954 w 5806384"/>
                  <a:gd name="connsiteY2047" fmla="*/ 986377 h 4036143"/>
                  <a:gd name="connsiteX2048" fmla="*/ 749873 w 5806384"/>
                  <a:gd name="connsiteY2048" fmla="*/ 884411 h 4036143"/>
                  <a:gd name="connsiteX2049" fmla="*/ 762619 w 5806384"/>
                  <a:gd name="connsiteY2049" fmla="*/ 871665 h 4036143"/>
                  <a:gd name="connsiteX2050" fmla="*/ 820683 w 5806384"/>
                  <a:gd name="connsiteY2050" fmla="*/ 921232 h 4036143"/>
                  <a:gd name="connsiteX2051" fmla="*/ 756954 w 5806384"/>
                  <a:gd name="connsiteY2051" fmla="*/ 989209 h 4036143"/>
                  <a:gd name="connsiteX2052" fmla="*/ 764035 w 5806384"/>
                  <a:gd name="connsiteY2052" fmla="*/ 984961 h 4036143"/>
                  <a:gd name="connsiteX2053" fmla="*/ 822099 w 5806384"/>
                  <a:gd name="connsiteY2053" fmla="*/ 924064 h 4036143"/>
                  <a:gd name="connsiteX2054" fmla="*/ 871666 w 5806384"/>
                  <a:gd name="connsiteY2054" fmla="*/ 965134 h 4036143"/>
                  <a:gd name="connsiteX2055" fmla="*/ 761203 w 5806384"/>
                  <a:gd name="connsiteY2055" fmla="*/ 1045857 h 4036143"/>
                  <a:gd name="connsiteX2056" fmla="*/ 756954 w 5806384"/>
                  <a:gd name="connsiteY2056" fmla="*/ 989209 h 4036143"/>
                  <a:gd name="connsiteX2057" fmla="*/ 584179 w 5806384"/>
                  <a:gd name="connsiteY2057" fmla="*/ 1171898 h 4036143"/>
                  <a:gd name="connsiteX2058" fmla="*/ 602589 w 5806384"/>
                  <a:gd name="connsiteY2058" fmla="*/ 1120915 h 4036143"/>
                  <a:gd name="connsiteX2059" fmla="*/ 616751 w 5806384"/>
                  <a:gd name="connsiteY2059" fmla="*/ 1118083 h 4036143"/>
                  <a:gd name="connsiteX2060" fmla="*/ 592676 w 5806384"/>
                  <a:gd name="connsiteY2060" fmla="*/ 1166233 h 4036143"/>
                  <a:gd name="connsiteX2061" fmla="*/ 584179 w 5806384"/>
                  <a:gd name="connsiteY2061" fmla="*/ 1171898 h 4036143"/>
                  <a:gd name="connsiteX2062" fmla="*/ 591260 w 5806384"/>
                  <a:gd name="connsiteY2062" fmla="*/ 1169066 h 4036143"/>
                  <a:gd name="connsiteX2063" fmla="*/ 572849 w 5806384"/>
                  <a:gd name="connsiteY2063" fmla="*/ 1204470 h 4036143"/>
                  <a:gd name="connsiteX2064" fmla="*/ 571433 w 5806384"/>
                  <a:gd name="connsiteY2064" fmla="*/ 1204470 h 4036143"/>
                  <a:gd name="connsiteX2065" fmla="*/ 582763 w 5806384"/>
                  <a:gd name="connsiteY2065" fmla="*/ 1174730 h 4036143"/>
                  <a:gd name="connsiteX2066" fmla="*/ 591260 w 5806384"/>
                  <a:gd name="connsiteY2066" fmla="*/ 1169066 h 4036143"/>
                  <a:gd name="connsiteX2067" fmla="*/ 490710 w 5806384"/>
                  <a:gd name="connsiteY2067" fmla="*/ 1139326 h 4036143"/>
                  <a:gd name="connsiteX2068" fmla="*/ 490710 w 5806384"/>
                  <a:gd name="connsiteY2068" fmla="*/ 1139326 h 4036143"/>
                  <a:gd name="connsiteX2069" fmla="*/ 599757 w 5806384"/>
                  <a:gd name="connsiteY2069" fmla="*/ 1120915 h 4036143"/>
                  <a:gd name="connsiteX2070" fmla="*/ 579930 w 5806384"/>
                  <a:gd name="connsiteY2070" fmla="*/ 1174730 h 4036143"/>
                  <a:gd name="connsiteX2071" fmla="*/ 550190 w 5806384"/>
                  <a:gd name="connsiteY2071" fmla="*/ 1195973 h 4036143"/>
                  <a:gd name="connsiteX2072" fmla="*/ 435479 w 5806384"/>
                  <a:gd name="connsiteY2072" fmla="*/ 1103921 h 4036143"/>
                  <a:gd name="connsiteX2073" fmla="*/ 608254 w 5806384"/>
                  <a:gd name="connsiteY2073" fmla="*/ 1021782 h 4036143"/>
                  <a:gd name="connsiteX2074" fmla="*/ 490710 w 5806384"/>
                  <a:gd name="connsiteY2074" fmla="*/ 1139326 h 4036143"/>
                  <a:gd name="connsiteX2075" fmla="*/ 684728 w 5806384"/>
                  <a:gd name="connsiteY2075" fmla="*/ 984961 h 4036143"/>
                  <a:gd name="connsiteX2076" fmla="*/ 647908 w 5806384"/>
                  <a:gd name="connsiteY2076" fmla="*/ 1058603 h 4036143"/>
                  <a:gd name="connsiteX2077" fmla="*/ 615335 w 5806384"/>
                  <a:gd name="connsiteY2077" fmla="*/ 1079845 h 4036143"/>
                  <a:gd name="connsiteX2078" fmla="*/ 615335 w 5806384"/>
                  <a:gd name="connsiteY2078" fmla="*/ 1079845 h 4036143"/>
                  <a:gd name="connsiteX2079" fmla="*/ 601173 w 5806384"/>
                  <a:gd name="connsiteY2079" fmla="*/ 1118083 h 4036143"/>
                  <a:gd name="connsiteX2080" fmla="*/ 496375 w 5806384"/>
                  <a:gd name="connsiteY2080" fmla="*/ 1136493 h 4036143"/>
                  <a:gd name="connsiteX2081" fmla="*/ 615335 w 5806384"/>
                  <a:gd name="connsiteY2081" fmla="*/ 1017533 h 4036143"/>
                  <a:gd name="connsiteX2082" fmla="*/ 684728 w 5806384"/>
                  <a:gd name="connsiteY2082" fmla="*/ 984961 h 4036143"/>
                  <a:gd name="connsiteX2083" fmla="*/ 645075 w 5806384"/>
                  <a:gd name="connsiteY2083" fmla="*/ 1062851 h 4036143"/>
                  <a:gd name="connsiteX2084" fmla="*/ 618167 w 5806384"/>
                  <a:gd name="connsiteY2084" fmla="*/ 1115250 h 4036143"/>
                  <a:gd name="connsiteX2085" fmla="*/ 602589 w 5806384"/>
                  <a:gd name="connsiteY2085" fmla="*/ 1118083 h 4036143"/>
                  <a:gd name="connsiteX2086" fmla="*/ 615335 w 5806384"/>
                  <a:gd name="connsiteY2086" fmla="*/ 1081262 h 4036143"/>
                  <a:gd name="connsiteX2087" fmla="*/ 645075 w 5806384"/>
                  <a:gd name="connsiteY2087" fmla="*/ 1062851 h 4036143"/>
                  <a:gd name="connsiteX2088" fmla="*/ 650740 w 5806384"/>
                  <a:gd name="connsiteY2088" fmla="*/ 1057186 h 4036143"/>
                  <a:gd name="connsiteX2089" fmla="*/ 688977 w 5806384"/>
                  <a:gd name="connsiteY2089" fmla="*/ 982128 h 4036143"/>
                  <a:gd name="connsiteX2090" fmla="*/ 688977 w 5806384"/>
                  <a:gd name="connsiteY2090" fmla="*/ 982128 h 4036143"/>
                  <a:gd name="connsiteX2091" fmla="*/ 619584 w 5806384"/>
                  <a:gd name="connsiteY2091" fmla="*/ 1014701 h 4036143"/>
                  <a:gd name="connsiteX2092" fmla="*/ 747041 w 5806384"/>
                  <a:gd name="connsiteY2092" fmla="*/ 887244 h 4036143"/>
                  <a:gd name="connsiteX2093" fmla="*/ 754122 w 5806384"/>
                  <a:gd name="connsiteY2093" fmla="*/ 987793 h 4036143"/>
                  <a:gd name="connsiteX2094" fmla="*/ 650740 w 5806384"/>
                  <a:gd name="connsiteY2094" fmla="*/ 1057186 h 4036143"/>
                  <a:gd name="connsiteX2095" fmla="*/ 647908 w 5806384"/>
                  <a:gd name="connsiteY2095" fmla="*/ 1060019 h 4036143"/>
                  <a:gd name="connsiteX2096" fmla="*/ 754122 w 5806384"/>
                  <a:gd name="connsiteY2096" fmla="*/ 989209 h 4036143"/>
                  <a:gd name="connsiteX2097" fmla="*/ 758370 w 5806384"/>
                  <a:gd name="connsiteY2097" fmla="*/ 1044441 h 4036143"/>
                  <a:gd name="connsiteX2098" fmla="*/ 676231 w 5806384"/>
                  <a:gd name="connsiteY2098" fmla="*/ 1103921 h 4036143"/>
                  <a:gd name="connsiteX2099" fmla="*/ 621000 w 5806384"/>
                  <a:gd name="connsiteY2099" fmla="*/ 1113834 h 4036143"/>
                  <a:gd name="connsiteX2100" fmla="*/ 647908 w 5806384"/>
                  <a:gd name="connsiteY2100" fmla="*/ 1060019 h 4036143"/>
                  <a:gd name="connsiteX2101" fmla="*/ 551606 w 5806384"/>
                  <a:gd name="connsiteY2101" fmla="*/ 1197389 h 4036143"/>
                  <a:gd name="connsiteX2102" fmla="*/ 565768 w 5806384"/>
                  <a:gd name="connsiteY2102" fmla="*/ 1208719 h 4036143"/>
                  <a:gd name="connsiteX2103" fmla="*/ 459554 w 5806384"/>
                  <a:gd name="connsiteY2103" fmla="*/ 1265367 h 4036143"/>
                  <a:gd name="connsiteX2104" fmla="*/ 551606 w 5806384"/>
                  <a:gd name="connsiteY2104" fmla="*/ 1197389 h 4036143"/>
                  <a:gd name="connsiteX2105" fmla="*/ 571433 w 5806384"/>
                  <a:gd name="connsiteY2105" fmla="*/ 1211551 h 4036143"/>
                  <a:gd name="connsiteX2106" fmla="*/ 574265 w 5806384"/>
                  <a:gd name="connsiteY2106" fmla="*/ 1205887 h 4036143"/>
                  <a:gd name="connsiteX2107" fmla="*/ 670566 w 5806384"/>
                  <a:gd name="connsiteY2107" fmla="*/ 1154904 h 4036143"/>
                  <a:gd name="connsiteX2108" fmla="*/ 681896 w 5806384"/>
                  <a:gd name="connsiteY2108" fmla="*/ 1300771 h 4036143"/>
                  <a:gd name="connsiteX2109" fmla="*/ 571433 w 5806384"/>
                  <a:gd name="connsiteY2109" fmla="*/ 1211551 h 4036143"/>
                  <a:gd name="connsiteX2110" fmla="*/ 671983 w 5806384"/>
                  <a:gd name="connsiteY2110" fmla="*/ 1108169 h 4036143"/>
                  <a:gd name="connsiteX2111" fmla="*/ 596925 w 5806384"/>
                  <a:gd name="connsiteY2111" fmla="*/ 1163401 h 4036143"/>
                  <a:gd name="connsiteX2112" fmla="*/ 619584 w 5806384"/>
                  <a:gd name="connsiteY2112" fmla="*/ 1118083 h 4036143"/>
                  <a:gd name="connsiteX2113" fmla="*/ 671983 w 5806384"/>
                  <a:gd name="connsiteY2113" fmla="*/ 1108169 h 4036143"/>
                  <a:gd name="connsiteX2114" fmla="*/ 758370 w 5806384"/>
                  <a:gd name="connsiteY2114" fmla="*/ 1047273 h 4036143"/>
                  <a:gd name="connsiteX2115" fmla="*/ 761203 w 5806384"/>
                  <a:gd name="connsiteY2115" fmla="*/ 1089759 h 4036143"/>
                  <a:gd name="connsiteX2116" fmla="*/ 680480 w 5806384"/>
                  <a:gd name="connsiteY2116" fmla="*/ 1103921 h 4036143"/>
                  <a:gd name="connsiteX2117" fmla="*/ 758370 w 5806384"/>
                  <a:gd name="connsiteY2117" fmla="*/ 1047273 h 4036143"/>
                  <a:gd name="connsiteX2118" fmla="*/ 568601 w 5806384"/>
                  <a:gd name="connsiteY2118" fmla="*/ 1208719 h 4036143"/>
                  <a:gd name="connsiteX2119" fmla="*/ 568601 w 5806384"/>
                  <a:gd name="connsiteY2119" fmla="*/ 1208719 h 4036143"/>
                  <a:gd name="connsiteX2120" fmla="*/ 568601 w 5806384"/>
                  <a:gd name="connsiteY2120" fmla="*/ 1208719 h 4036143"/>
                  <a:gd name="connsiteX2121" fmla="*/ 568601 w 5806384"/>
                  <a:gd name="connsiteY2121" fmla="*/ 1208719 h 4036143"/>
                  <a:gd name="connsiteX2122" fmla="*/ 568601 w 5806384"/>
                  <a:gd name="connsiteY2122" fmla="*/ 1211551 h 4036143"/>
                  <a:gd name="connsiteX2123" fmla="*/ 568601 w 5806384"/>
                  <a:gd name="connsiteY2123" fmla="*/ 1211551 h 4036143"/>
                  <a:gd name="connsiteX2124" fmla="*/ 567185 w 5806384"/>
                  <a:gd name="connsiteY2124" fmla="*/ 1214384 h 4036143"/>
                  <a:gd name="connsiteX2125" fmla="*/ 568601 w 5806384"/>
                  <a:gd name="connsiteY2125" fmla="*/ 1211551 h 4036143"/>
                  <a:gd name="connsiteX2126" fmla="*/ 570017 w 5806384"/>
                  <a:gd name="connsiteY2126" fmla="*/ 1208719 h 4036143"/>
                  <a:gd name="connsiteX2127" fmla="*/ 570017 w 5806384"/>
                  <a:gd name="connsiteY2127" fmla="*/ 1208719 h 4036143"/>
                  <a:gd name="connsiteX2128" fmla="*/ 570017 w 5806384"/>
                  <a:gd name="connsiteY2128" fmla="*/ 1211551 h 4036143"/>
                  <a:gd name="connsiteX2129" fmla="*/ 570017 w 5806384"/>
                  <a:gd name="connsiteY2129" fmla="*/ 1211551 h 4036143"/>
                  <a:gd name="connsiteX2130" fmla="*/ 570017 w 5806384"/>
                  <a:gd name="connsiteY2130" fmla="*/ 1208719 h 4036143"/>
                  <a:gd name="connsiteX2131" fmla="*/ 752706 w 5806384"/>
                  <a:gd name="connsiteY2131" fmla="*/ 2127827 h 4036143"/>
                  <a:gd name="connsiteX2132" fmla="*/ 728630 w 5806384"/>
                  <a:gd name="connsiteY2132" fmla="*/ 2195804 h 4036143"/>
                  <a:gd name="connsiteX2133" fmla="*/ 741376 w 5806384"/>
                  <a:gd name="connsiteY2133" fmla="*/ 2120746 h 4036143"/>
                  <a:gd name="connsiteX2134" fmla="*/ 752706 w 5806384"/>
                  <a:gd name="connsiteY2134" fmla="*/ 2127827 h 4036143"/>
                  <a:gd name="connsiteX2135" fmla="*/ 605422 w 5806384"/>
                  <a:gd name="connsiteY2135" fmla="*/ 1766698 h 4036143"/>
                  <a:gd name="connsiteX2136" fmla="*/ 486461 w 5806384"/>
                  <a:gd name="connsiteY2136" fmla="*/ 1647738 h 4036143"/>
                  <a:gd name="connsiteX2137" fmla="*/ 649323 w 5806384"/>
                  <a:gd name="connsiteY2137" fmla="*/ 1517448 h 4036143"/>
                  <a:gd name="connsiteX2138" fmla="*/ 843342 w 5806384"/>
                  <a:gd name="connsiteY2138" fmla="*/ 1809184 h 4036143"/>
                  <a:gd name="connsiteX2139" fmla="*/ 751289 w 5806384"/>
                  <a:gd name="connsiteY2139" fmla="*/ 1824762 h 4036143"/>
                  <a:gd name="connsiteX2140" fmla="*/ 625248 w 5806384"/>
                  <a:gd name="connsiteY2140" fmla="*/ 1752536 h 4036143"/>
                  <a:gd name="connsiteX2141" fmla="*/ 625248 w 5806384"/>
                  <a:gd name="connsiteY2141" fmla="*/ 1752536 h 4036143"/>
                  <a:gd name="connsiteX2142" fmla="*/ 605422 w 5806384"/>
                  <a:gd name="connsiteY2142" fmla="*/ 1766698 h 4036143"/>
                  <a:gd name="connsiteX2143" fmla="*/ 605422 w 5806384"/>
                  <a:gd name="connsiteY2143" fmla="*/ 1769530 h 4036143"/>
                  <a:gd name="connsiteX2144" fmla="*/ 674815 w 5806384"/>
                  <a:gd name="connsiteY2144" fmla="*/ 1838924 h 4036143"/>
                  <a:gd name="connsiteX2145" fmla="*/ 596925 w 5806384"/>
                  <a:gd name="connsiteY2145" fmla="*/ 1860167 h 4036143"/>
                  <a:gd name="connsiteX2146" fmla="*/ 595508 w 5806384"/>
                  <a:gd name="connsiteY2146" fmla="*/ 1851669 h 4036143"/>
                  <a:gd name="connsiteX2147" fmla="*/ 595508 w 5806384"/>
                  <a:gd name="connsiteY2147" fmla="*/ 1851669 h 4036143"/>
                  <a:gd name="connsiteX2148" fmla="*/ 456722 w 5806384"/>
                  <a:gd name="connsiteY2148" fmla="*/ 1885658 h 4036143"/>
                  <a:gd name="connsiteX2149" fmla="*/ 605422 w 5806384"/>
                  <a:gd name="connsiteY2149" fmla="*/ 1769530 h 4036143"/>
                  <a:gd name="connsiteX2150" fmla="*/ 739960 w 5806384"/>
                  <a:gd name="connsiteY2150" fmla="*/ 2117913 h 4036143"/>
                  <a:gd name="connsiteX2151" fmla="*/ 690393 w 5806384"/>
                  <a:gd name="connsiteY2151" fmla="*/ 2086757 h 4036143"/>
                  <a:gd name="connsiteX2152" fmla="*/ 619584 w 5806384"/>
                  <a:gd name="connsiteY2152" fmla="*/ 1991873 h 4036143"/>
                  <a:gd name="connsiteX2153" fmla="*/ 592676 w 5806384"/>
                  <a:gd name="connsiteY2153" fmla="*/ 1862999 h 4036143"/>
                  <a:gd name="connsiteX2154" fmla="*/ 596925 w 5806384"/>
                  <a:gd name="connsiteY2154" fmla="*/ 1861583 h 4036143"/>
                  <a:gd name="connsiteX2155" fmla="*/ 626665 w 5806384"/>
                  <a:gd name="connsiteY2155" fmla="*/ 1990456 h 4036143"/>
                  <a:gd name="connsiteX2156" fmla="*/ 626665 w 5806384"/>
                  <a:gd name="connsiteY2156" fmla="*/ 1990456 h 4036143"/>
                  <a:gd name="connsiteX2157" fmla="*/ 748457 w 5806384"/>
                  <a:gd name="connsiteY2157" fmla="*/ 2074011 h 4036143"/>
                  <a:gd name="connsiteX2158" fmla="*/ 739960 w 5806384"/>
                  <a:gd name="connsiteY2158" fmla="*/ 2117913 h 4036143"/>
                  <a:gd name="connsiteX2159" fmla="*/ 187645 w 5806384"/>
                  <a:gd name="connsiteY2159" fmla="*/ 2093838 h 4036143"/>
                  <a:gd name="connsiteX2160" fmla="*/ 230131 w 5806384"/>
                  <a:gd name="connsiteY2160" fmla="*/ 1996121 h 4036143"/>
                  <a:gd name="connsiteX2161" fmla="*/ 317935 w 5806384"/>
                  <a:gd name="connsiteY2161" fmla="*/ 1984792 h 4036143"/>
                  <a:gd name="connsiteX2162" fmla="*/ 302357 w 5806384"/>
                  <a:gd name="connsiteY2162" fmla="*/ 2004618 h 4036143"/>
                  <a:gd name="connsiteX2163" fmla="*/ 187645 w 5806384"/>
                  <a:gd name="connsiteY2163" fmla="*/ 2093838 h 4036143"/>
                  <a:gd name="connsiteX2164" fmla="*/ 152241 w 5806384"/>
                  <a:gd name="connsiteY2164" fmla="*/ 2123578 h 4036143"/>
                  <a:gd name="connsiteX2165" fmla="*/ 180564 w 5806384"/>
                  <a:gd name="connsiteY2165" fmla="*/ 2102335 h 4036143"/>
                  <a:gd name="connsiteX2166" fmla="*/ 181980 w 5806384"/>
                  <a:gd name="connsiteY2166" fmla="*/ 2102335 h 4036143"/>
                  <a:gd name="connsiteX2167" fmla="*/ 172067 w 5806384"/>
                  <a:gd name="connsiteY2167" fmla="*/ 2126411 h 4036143"/>
                  <a:gd name="connsiteX2168" fmla="*/ 152241 w 5806384"/>
                  <a:gd name="connsiteY2168" fmla="*/ 2123578 h 4036143"/>
                  <a:gd name="connsiteX2169" fmla="*/ 48858 w 5806384"/>
                  <a:gd name="connsiteY2169" fmla="*/ 2106584 h 4036143"/>
                  <a:gd name="connsiteX2170" fmla="*/ 77182 w 5806384"/>
                  <a:gd name="connsiteY2170" fmla="*/ 2085341 h 4036143"/>
                  <a:gd name="connsiteX2171" fmla="*/ 98425 w 5806384"/>
                  <a:gd name="connsiteY2171" fmla="*/ 2115081 h 4036143"/>
                  <a:gd name="connsiteX2172" fmla="*/ 48858 w 5806384"/>
                  <a:gd name="connsiteY2172" fmla="*/ 2106584 h 4036143"/>
                  <a:gd name="connsiteX2173" fmla="*/ 157905 w 5806384"/>
                  <a:gd name="connsiteY2173" fmla="*/ 2083925 h 4036143"/>
                  <a:gd name="connsiteX2174" fmla="*/ 223050 w 5806384"/>
                  <a:gd name="connsiteY2174" fmla="*/ 1997537 h 4036143"/>
                  <a:gd name="connsiteX2175" fmla="*/ 228715 w 5806384"/>
                  <a:gd name="connsiteY2175" fmla="*/ 1997537 h 4036143"/>
                  <a:gd name="connsiteX2176" fmla="*/ 184813 w 5806384"/>
                  <a:gd name="connsiteY2176" fmla="*/ 2098087 h 4036143"/>
                  <a:gd name="connsiteX2177" fmla="*/ 180564 w 5806384"/>
                  <a:gd name="connsiteY2177" fmla="*/ 2100919 h 4036143"/>
                  <a:gd name="connsiteX2178" fmla="*/ 157905 w 5806384"/>
                  <a:gd name="connsiteY2178" fmla="*/ 2083925 h 4036143"/>
                  <a:gd name="connsiteX2179" fmla="*/ 123917 w 5806384"/>
                  <a:gd name="connsiteY2179" fmla="*/ 2146237 h 4036143"/>
                  <a:gd name="connsiteX2180" fmla="*/ 150824 w 5806384"/>
                  <a:gd name="connsiteY2180" fmla="*/ 2124994 h 4036143"/>
                  <a:gd name="connsiteX2181" fmla="*/ 170651 w 5806384"/>
                  <a:gd name="connsiteY2181" fmla="*/ 2127827 h 4036143"/>
                  <a:gd name="connsiteX2182" fmla="*/ 147992 w 5806384"/>
                  <a:gd name="connsiteY2182" fmla="*/ 2178810 h 4036143"/>
                  <a:gd name="connsiteX2183" fmla="*/ 123917 w 5806384"/>
                  <a:gd name="connsiteY2183" fmla="*/ 2146237 h 4036143"/>
                  <a:gd name="connsiteX2184" fmla="*/ 115420 w 5806384"/>
                  <a:gd name="connsiteY2184" fmla="*/ 2139156 h 4036143"/>
                  <a:gd name="connsiteX2185" fmla="*/ 119668 w 5806384"/>
                  <a:gd name="connsiteY2185" fmla="*/ 2146237 h 4036143"/>
                  <a:gd name="connsiteX2186" fmla="*/ 95593 w 5806384"/>
                  <a:gd name="connsiteY2186" fmla="*/ 2164648 h 4036143"/>
                  <a:gd name="connsiteX2187" fmla="*/ 115420 w 5806384"/>
                  <a:gd name="connsiteY2187" fmla="*/ 2139156 h 4036143"/>
                  <a:gd name="connsiteX2188" fmla="*/ 128165 w 5806384"/>
                  <a:gd name="connsiteY2188" fmla="*/ 2122162 h 4036143"/>
                  <a:gd name="connsiteX2189" fmla="*/ 146575 w 5806384"/>
                  <a:gd name="connsiteY2189" fmla="*/ 2124994 h 4036143"/>
                  <a:gd name="connsiteX2190" fmla="*/ 122500 w 5806384"/>
                  <a:gd name="connsiteY2190" fmla="*/ 2144821 h 4036143"/>
                  <a:gd name="connsiteX2191" fmla="*/ 116836 w 5806384"/>
                  <a:gd name="connsiteY2191" fmla="*/ 2137740 h 4036143"/>
                  <a:gd name="connsiteX2192" fmla="*/ 128165 w 5806384"/>
                  <a:gd name="connsiteY2192" fmla="*/ 2122162 h 4036143"/>
                  <a:gd name="connsiteX2193" fmla="*/ 116836 w 5806384"/>
                  <a:gd name="connsiteY2193" fmla="*/ 2057017 h 4036143"/>
                  <a:gd name="connsiteX2194" fmla="*/ 155073 w 5806384"/>
                  <a:gd name="connsiteY2194" fmla="*/ 2083925 h 4036143"/>
                  <a:gd name="connsiteX2195" fmla="*/ 128165 w 5806384"/>
                  <a:gd name="connsiteY2195" fmla="*/ 2119330 h 4036143"/>
                  <a:gd name="connsiteX2196" fmla="*/ 102674 w 5806384"/>
                  <a:gd name="connsiteY2196" fmla="*/ 2115081 h 4036143"/>
                  <a:gd name="connsiteX2197" fmla="*/ 80015 w 5806384"/>
                  <a:gd name="connsiteY2197" fmla="*/ 2083925 h 4036143"/>
                  <a:gd name="connsiteX2198" fmla="*/ 116836 w 5806384"/>
                  <a:gd name="connsiteY2198" fmla="*/ 2057017 h 4036143"/>
                  <a:gd name="connsiteX2199" fmla="*/ 129581 w 5806384"/>
                  <a:gd name="connsiteY2199" fmla="*/ 2120746 h 4036143"/>
                  <a:gd name="connsiteX2200" fmla="*/ 155073 w 5806384"/>
                  <a:gd name="connsiteY2200" fmla="*/ 2085341 h 4036143"/>
                  <a:gd name="connsiteX2201" fmla="*/ 177732 w 5806384"/>
                  <a:gd name="connsiteY2201" fmla="*/ 2100919 h 4036143"/>
                  <a:gd name="connsiteX2202" fmla="*/ 149408 w 5806384"/>
                  <a:gd name="connsiteY2202" fmla="*/ 2123578 h 4036143"/>
                  <a:gd name="connsiteX2203" fmla="*/ 129581 w 5806384"/>
                  <a:gd name="connsiteY2203" fmla="*/ 2120746 h 4036143"/>
                  <a:gd name="connsiteX2204" fmla="*/ 118252 w 5806384"/>
                  <a:gd name="connsiteY2204" fmla="*/ 2055601 h 4036143"/>
                  <a:gd name="connsiteX2205" fmla="*/ 193310 w 5806384"/>
                  <a:gd name="connsiteY2205" fmla="*/ 2000370 h 4036143"/>
                  <a:gd name="connsiteX2206" fmla="*/ 220218 w 5806384"/>
                  <a:gd name="connsiteY2206" fmla="*/ 1997537 h 4036143"/>
                  <a:gd name="connsiteX2207" fmla="*/ 156489 w 5806384"/>
                  <a:gd name="connsiteY2207" fmla="*/ 2082509 h 4036143"/>
                  <a:gd name="connsiteX2208" fmla="*/ 118252 w 5806384"/>
                  <a:gd name="connsiteY2208" fmla="*/ 2055601 h 4036143"/>
                  <a:gd name="connsiteX2209" fmla="*/ 63020 w 5806384"/>
                  <a:gd name="connsiteY2209" fmla="*/ 2015948 h 4036143"/>
                  <a:gd name="connsiteX2210" fmla="*/ 189061 w 5806384"/>
                  <a:gd name="connsiteY2210" fmla="*/ 2000370 h 4036143"/>
                  <a:gd name="connsiteX2211" fmla="*/ 116836 w 5806384"/>
                  <a:gd name="connsiteY2211" fmla="*/ 2054185 h 4036143"/>
                  <a:gd name="connsiteX2212" fmla="*/ 63020 w 5806384"/>
                  <a:gd name="connsiteY2212" fmla="*/ 2015948 h 4036143"/>
                  <a:gd name="connsiteX2213" fmla="*/ 126749 w 5806384"/>
                  <a:gd name="connsiteY2213" fmla="*/ 2122162 h 4036143"/>
                  <a:gd name="connsiteX2214" fmla="*/ 116836 w 5806384"/>
                  <a:gd name="connsiteY2214" fmla="*/ 2136324 h 4036143"/>
                  <a:gd name="connsiteX2215" fmla="*/ 104090 w 5806384"/>
                  <a:gd name="connsiteY2215" fmla="*/ 2119330 h 4036143"/>
                  <a:gd name="connsiteX2216" fmla="*/ 126749 w 5806384"/>
                  <a:gd name="connsiteY2216" fmla="*/ 2122162 h 4036143"/>
                  <a:gd name="connsiteX2217" fmla="*/ 223050 w 5806384"/>
                  <a:gd name="connsiteY2217" fmla="*/ 1994705 h 4036143"/>
                  <a:gd name="connsiteX2218" fmla="*/ 232963 w 5806384"/>
                  <a:gd name="connsiteY2218" fmla="*/ 1980543 h 4036143"/>
                  <a:gd name="connsiteX2219" fmla="*/ 227299 w 5806384"/>
                  <a:gd name="connsiteY2219" fmla="*/ 1993289 h 4036143"/>
                  <a:gd name="connsiteX2220" fmla="*/ 223050 w 5806384"/>
                  <a:gd name="connsiteY2220" fmla="*/ 1994705 h 4036143"/>
                  <a:gd name="connsiteX2221" fmla="*/ 238628 w 5806384"/>
                  <a:gd name="connsiteY2221" fmla="*/ 1973462 h 4036143"/>
                  <a:gd name="connsiteX2222" fmla="*/ 238628 w 5806384"/>
                  <a:gd name="connsiteY2222" fmla="*/ 1973462 h 4036143"/>
                  <a:gd name="connsiteX2223" fmla="*/ 237212 w 5806384"/>
                  <a:gd name="connsiteY2223" fmla="*/ 1972046 h 4036143"/>
                  <a:gd name="connsiteX2224" fmla="*/ 220218 w 5806384"/>
                  <a:gd name="connsiteY2224" fmla="*/ 1994705 h 4036143"/>
                  <a:gd name="connsiteX2225" fmla="*/ 194726 w 5806384"/>
                  <a:gd name="connsiteY2225" fmla="*/ 1997537 h 4036143"/>
                  <a:gd name="connsiteX2226" fmla="*/ 234380 w 5806384"/>
                  <a:gd name="connsiteY2226" fmla="*/ 1967797 h 4036143"/>
                  <a:gd name="connsiteX2227" fmla="*/ 234380 w 5806384"/>
                  <a:gd name="connsiteY2227" fmla="*/ 1967797 h 4036143"/>
                  <a:gd name="connsiteX2228" fmla="*/ 74350 w 5806384"/>
                  <a:gd name="connsiteY2228" fmla="*/ 1981959 h 4036143"/>
                  <a:gd name="connsiteX2229" fmla="*/ 370334 w 5806384"/>
                  <a:gd name="connsiteY2229" fmla="*/ 1909733 h 4036143"/>
                  <a:gd name="connsiteX2230" fmla="*/ 375999 w 5806384"/>
                  <a:gd name="connsiteY2230" fmla="*/ 1912566 h 4036143"/>
                  <a:gd name="connsiteX2231" fmla="*/ 317935 w 5806384"/>
                  <a:gd name="connsiteY2231" fmla="*/ 1984792 h 4036143"/>
                  <a:gd name="connsiteX2232" fmla="*/ 228715 w 5806384"/>
                  <a:gd name="connsiteY2232" fmla="*/ 1996121 h 4036143"/>
                  <a:gd name="connsiteX2233" fmla="*/ 238628 w 5806384"/>
                  <a:gd name="connsiteY2233" fmla="*/ 1973462 h 4036143"/>
                  <a:gd name="connsiteX2234" fmla="*/ 230131 w 5806384"/>
                  <a:gd name="connsiteY2234" fmla="*/ 1970630 h 4036143"/>
                  <a:gd name="connsiteX2235" fmla="*/ 191894 w 5806384"/>
                  <a:gd name="connsiteY2235" fmla="*/ 1998953 h 4036143"/>
                  <a:gd name="connsiteX2236" fmla="*/ 57356 w 5806384"/>
                  <a:gd name="connsiteY2236" fmla="*/ 2015948 h 4036143"/>
                  <a:gd name="connsiteX2237" fmla="*/ 57356 w 5806384"/>
                  <a:gd name="connsiteY2237" fmla="*/ 2015948 h 4036143"/>
                  <a:gd name="connsiteX2238" fmla="*/ 115420 w 5806384"/>
                  <a:gd name="connsiteY2238" fmla="*/ 2057017 h 4036143"/>
                  <a:gd name="connsiteX2239" fmla="*/ 80015 w 5806384"/>
                  <a:gd name="connsiteY2239" fmla="*/ 2083925 h 4036143"/>
                  <a:gd name="connsiteX2240" fmla="*/ 19118 w 5806384"/>
                  <a:gd name="connsiteY2240" fmla="*/ 1997537 h 4036143"/>
                  <a:gd name="connsiteX2241" fmla="*/ 65853 w 5806384"/>
                  <a:gd name="connsiteY2241" fmla="*/ 1986208 h 4036143"/>
                  <a:gd name="connsiteX2242" fmla="*/ 230131 w 5806384"/>
                  <a:gd name="connsiteY2242" fmla="*/ 1970630 h 4036143"/>
                  <a:gd name="connsiteX2243" fmla="*/ 13454 w 5806384"/>
                  <a:gd name="connsiteY2243" fmla="*/ 1994705 h 4036143"/>
                  <a:gd name="connsiteX2244" fmla="*/ 13454 w 5806384"/>
                  <a:gd name="connsiteY2244" fmla="*/ 1994705 h 4036143"/>
                  <a:gd name="connsiteX2245" fmla="*/ 75766 w 5806384"/>
                  <a:gd name="connsiteY2245" fmla="*/ 2083925 h 4036143"/>
                  <a:gd name="connsiteX2246" fmla="*/ 43194 w 5806384"/>
                  <a:gd name="connsiteY2246" fmla="*/ 2108000 h 4036143"/>
                  <a:gd name="connsiteX2247" fmla="*/ 99841 w 5806384"/>
                  <a:gd name="connsiteY2247" fmla="*/ 2117913 h 4036143"/>
                  <a:gd name="connsiteX2248" fmla="*/ 114003 w 5806384"/>
                  <a:gd name="connsiteY2248" fmla="*/ 2137740 h 4036143"/>
                  <a:gd name="connsiteX2249" fmla="*/ 89928 w 5806384"/>
                  <a:gd name="connsiteY2249" fmla="*/ 2170312 h 4036143"/>
                  <a:gd name="connsiteX2250" fmla="*/ 47442 w 5806384"/>
                  <a:gd name="connsiteY2250" fmla="*/ 2204301 h 4036143"/>
                  <a:gd name="connsiteX2251" fmla="*/ 10621 w 5806384"/>
                  <a:gd name="connsiteY2251" fmla="*/ 1990456 h 4036143"/>
                  <a:gd name="connsiteX2252" fmla="*/ 50275 w 5806384"/>
                  <a:gd name="connsiteY2252" fmla="*/ 1987624 h 4036143"/>
                  <a:gd name="connsiteX2253" fmla="*/ 13454 w 5806384"/>
                  <a:gd name="connsiteY2253" fmla="*/ 1994705 h 4036143"/>
                  <a:gd name="connsiteX2254" fmla="*/ 58772 w 5806384"/>
                  <a:gd name="connsiteY2254" fmla="*/ 2215631 h 4036143"/>
                  <a:gd name="connsiteX2255" fmla="*/ 92760 w 5806384"/>
                  <a:gd name="connsiteY2255" fmla="*/ 2170312 h 4036143"/>
                  <a:gd name="connsiteX2256" fmla="*/ 122500 w 5806384"/>
                  <a:gd name="connsiteY2256" fmla="*/ 2147654 h 4036143"/>
                  <a:gd name="connsiteX2257" fmla="*/ 147992 w 5806384"/>
                  <a:gd name="connsiteY2257" fmla="*/ 2184474 h 4036143"/>
                  <a:gd name="connsiteX2258" fmla="*/ 147992 w 5806384"/>
                  <a:gd name="connsiteY2258" fmla="*/ 2184474 h 4036143"/>
                  <a:gd name="connsiteX2259" fmla="*/ 172067 w 5806384"/>
                  <a:gd name="connsiteY2259" fmla="*/ 2129243 h 4036143"/>
                  <a:gd name="connsiteX2260" fmla="*/ 196142 w 5806384"/>
                  <a:gd name="connsiteY2260" fmla="*/ 2133492 h 4036143"/>
                  <a:gd name="connsiteX2261" fmla="*/ 130998 w 5806384"/>
                  <a:gd name="connsiteY2261" fmla="*/ 2214214 h 4036143"/>
                  <a:gd name="connsiteX2262" fmla="*/ 58772 w 5806384"/>
                  <a:gd name="connsiteY2262" fmla="*/ 2215631 h 4036143"/>
                  <a:gd name="connsiteX2263" fmla="*/ 181980 w 5806384"/>
                  <a:gd name="connsiteY2263" fmla="*/ 2100919 h 4036143"/>
                  <a:gd name="connsiteX2264" fmla="*/ 181980 w 5806384"/>
                  <a:gd name="connsiteY2264" fmla="*/ 2100919 h 4036143"/>
                  <a:gd name="connsiteX2265" fmla="*/ 181980 w 5806384"/>
                  <a:gd name="connsiteY2265" fmla="*/ 2100919 h 4036143"/>
                  <a:gd name="connsiteX2266" fmla="*/ 181980 w 5806384"/>
                  <a:gd name="connsiteY2266" fmla="*/ 2100919 h 4036143"/>
                  <a:gd name="connsiteX2267" fmla="*/ 183397 w 5806384"/>
                  <a:gd name="connsiteY2267" fmla="*/ 2102335 h 4036143"/>
                  <a:gd name="connsiteX2268" fmla="*/ 184813 w 5806384"/>
                  <a:gd name="connsiteY2268" fmla="*/ 2098087 h 4036143"/>
                  <a:gd name="connsiteX2269" fmla="*/ 293860 w 5806384"/>
                  <a:gd name="connsiteY2269" fmla="*/ 2011699 h 4036143"/>
                  <a:gd name="connsiteX2270" fmla="*/ 206056 w 5806384"/>
                  <a:gd name="connsiteY2270" fmla="*/ 2119330 h 4036143"/>
                  <a:gd name="connsiteX2271" fmla="*/ 183397 w 5806384"/>
                  <a:gd name="connsiteY2271" fmla="*/ 2102335 h 4036143"/>
                  <a:gd name="connsiteX2272" fmla="*/ 380247 w 5806384"/>
                  <a:gd name="connsiteY2272" fmla="*/ 1911149 h 4036143"/>
                  <a:gd name="connsiteX2273" fmla="*/ 384496 w 5806384"/>
                  <a:gd name="connsiteY2273" fmla="*/ 1905485 h 4036143"/>
                  <a:gd name="connsiteX2274" fmla="*/ 448224 w 5806384"/>
                  <a:gd name="connsiteY2274" fmla="*/ 1889907 h 4036143"/>
                  <a:gd name="connsiteX2275" fmla="*/ 405739 w 5806384"/>
                  <a:gd name="connsiteY2275" fmla="*/ 1923895 h 4036143"/>
                  <a:gd name="connsiteX2276" fmla="*/ 380247 w 5806384"/>
                  <a:gd name="connsiteY2276" fmla="*/ 1911149 h 4036143"/>
                  <a:gd name="connsiteX2277" fmla="*/ 320767 w 5806384"/>
                  <a:gd name="connsiteY2277" fmla="*/ 1780860 h 4036143"/>
                  <a:gd name="connsiteX2278" fmla="*/ 485046 w 5806384"/>
                  <a:gd name="connsiteY2278" fmla="*/ 1776611 h 4036143"/>
                  <a:gd name="connsiteX2279" fmla="*/ 381663 w 5806384"/>
                  <a:gd name="connsiteY2279" fmla="*/ 1902652 h 4036143"/>
                  <a:gd name="connsiteX2280" fmla="*/ 370334 w 5806384"/>
                  <a:gd name="connsiteY2280" fmla="*/ 1905485 h 4036143"/>
                  <a:gd name="connsiteX2281" fmla="*/ 133830 w 5806384"/>
                  <a:gd name="connsiteY2281" fmla="*/ 1783692 h 4036143"/>
                  <a:gd name="connsiteX2282" fmla="*/ 254206 w 5806384"/>
                  <a:gd name="connsiteY2282" fmla="*/ 1780860 h 4036143"/>
                  <a:gd name="connsiteX2283" fmla="*/ 269784 w 5806384"/>
                  <a:gd name="connsiteY2283" fmla="*/ 1817681 h 4036143"/>
                  <a:gd name="connsiteX2284" fmla="*/ 269784 w 5806384"/>
                  <a:gd name="connsiteY2284" fmla="*/ 1817681 h 4036143"/>
                  <a:gd name="connsiteX2285" fmla="*/ 320767 w 5806384"/>
                  <a:gd name="connsiteY2285" fmla="*/ 1780860 h 4036143"/>
                  <a:gd name="connsiteX2286" fmla="*/ 317935 w 5806384"/>
                  <a:gd name="connsiteY2286" fmla="*/ 1780860 h 4036143"/>
                  <a:gd name="connsiteX2287" fmla="*/ 274033 w 5806384"/>
                  <a:gd name="connsiteY2287" fmla="*/ 1816265 h 4036143"/>
                  <a:gd name="connsiteX2288" fmla="*/ 258455 w 5806384"/>
                  <a:gd name="connsiteY2288" fmla="*/ 1782276 h 4036143"/>
                  <a:gd name="connsiteX2289" fmla="*/ 317935 w 5806384"/>
                  <a:gd name="connsiteY2289" fmla="*/ 1780860 h 4036143"/>
                  <a:gd name="connsiteX2290" fmla="*/ 320767 w 5806384"/>
                  <a:gd name="connsiteY2290" fmla="*/ 1779444 h 4036143"/>
                  <a:gd name="connsiteX2291" fmla="*/ 258455 w 5806384"/>
                  <a:gd name="connsiteY2291" fmla="*/ 1780860 h 4036143"/>
                  <a:gd name="connsiteX2292" fmla="*/ 235796 w 5806384"/>
                  <a:gd name="connsiteY2292" fmla="*/ 1729877 h 4036143"/>
                  <a:gd name="connsiteX2293" fmla="*/ 459554 w 5806384"/>
                  <a:gd name="connsiteY2293" fmla="*/ 1547188 h 4036143"/>
                  <a:gd name="connsiteX2294" fmla="*/ 459554 w 5806384"/>
                  <a:gd name="connsiteY2294" fmla="*/ 1625079 h 4036143"/>
                  <a:gd name="connsiteX2295" fmla="*/ 483629 w 5806384"/>
                  <a:gd name="connsiteY2295" fmla="*/ 1649154 h 4036143"/>
                  <a:gd name="connsiteX2296" fmla="*/ 320767 w 5806384"/>
                  <a:gd name="connsiteY2296" fmla="*/ 1779444 h 4036143"/>
                  <a:gd name="connsiteX2297" fmla="*/ 387328 w 5806384"/>
                  <a:gd name="connsiteY2297" fmla="*/ 1902652 h 4036143"/>
                  <a:gd name="connsiteX2298" fmla="*/ 490710 w 5806384"/>
                  <a:gd name="connsiteY2298" fmla="*/ 1775195 h 4036143"/>
                  <a:gd name="connsiteX2299" fmla="*/ 490710 w 5806384"/>
                  <a:gd name="connsiteY2299" fmla="*/ 1775195 h 4036143"/>
                  <a:gd name="connsiteX2300" fmla="*/ 323599 w 5806384"/>
                  <a:gd name="connsiteY2300" fmla="*/ 1779444 h 4036143"/>
                  <a:gd name="connsiteX2301" fmla="*/ 485046 w 5806384"/>
                  <a:gd name="connsiteY2301" fmla="*/ 1650570 h 4036143"/>
                  <a:gd name="connsiteX2302" fmla="*/ 604006 w 5806384"/>
                  <a:gd name="connsiteY2302" fmla="*/ 1769530 h 4036143"/>
                  <a:gd name="connsiteX2303" fmla="*/ 452473 w 5806384"/>
                  <a:gd name="connsiteY2303" fmla="*/ 1888491 h 4036143"/>
                  <a:gd name="connsiteX2304" fmla="*/ 387328 w 5806384"/>
                  <a:gd name="connsiteY2304" fmla="*/ 1902652 h 4036143"/>
                  <a:gd name="connsiteX2305" fmla="*/ 206056 w 5806384"/>
                  <a:gd name="connsiteY2305" fmla="*/ 2120746 h 4036143"/>
                  <a:gd name="connsiteX2306" fmla="*/ 197558 w 5806384"/>
                  <a:gd name="connsiteY2306" fmla="*/ 2132075 h 4036143"/>
                  <a:gd name="connsiteX2307" fmla="*/ 172067 w 5806384"/>
                  <a:gd name="connsiteY2307" fmla="*/ 2127827 h 4036143"/>
                  <a:gd name="connsiteX2308" fmla="*/ 181980 w 5806384"/>
                  <a:gd name="connsiteY2308" fmla="*/ 2105168 h 4036143"/>
                  <a:gd name="connsiteX2309" fmla="*/ 206056 w 5806384"/>
                  <a:gd name="connsiteY2309" fmla="*/ 2120746 h 4036143"/>
                  <a:gd name="connsiteX2310" fmla="*/ 228715 w 5806384"/>
                  <a:gd name="connsiteY2310" fmla="*/ 2136324 h 4036143"/>
                  <a:gd name="connsiteX2311" fmla="*/ 200391 w 5806384"/>
                  <a:gd name="connsiteY2311" fmla="*/ 2132075 h 4036143"/>
                  <a:gd name="connsiteX2312" fmla="*/ 208888 w 5806384"/>
                  <a:gd name="connsiteY2312" fmla="*/ 2122162 h 4036143"/>
                  <a:gd name="connsiteX2313" fmla="*/ 228715 w 5806384"/>
                  <a:gd name="connsiteY2313" fmla="*/ 2136324 h 4036143"/>
                  <a:gd name="connsiteX2314" fmla="*/ 327848 w 5806384"/>
                  <a:gd name="connsiteY2314" fmla="*/ 1983375 h 4036143"/>
                  <a:gd name="connsiteX2315" fmla="*/ 308022 w 5806384"/>
                  <a:gd name="connsiteY2315" fmla="*/ 1998953 h 4036143"/>
                  <a:gd name="connsiteX2316" fmla="*/ 319351 w 5806384"/>
                  <a:gd name="connsiteY2316" fmla="*/ 1984792 h 4036143"/>
                  <a:gd name="connsiteX2317" fmla="*/ 327848 w 5806384"/>
                  <a:gd name="connsiteY2317" fmla="*/ 1983375 h 4036143"/>
                  <a:gd name="connsiteX2318" fmla="*/ 402906 w 5806384"/>
                  <a:gd name="connsiteY2318" fmla="*/ 1925311 h 4036143"/>
                  <a:gd name="connsiteX2319" fmla="*/ 330680 w 5806384"/>
                  <a:gd name="connsiteY2319" fmla="*/ 1981959 h 4036143"/>
                  <a:gd name="connsiteX2320" fmla="*/ 320767 w 5806384"/>
                  <a:gd name="connsiteY2320" fmla="*/ 1983375 h 4036143"/>
                  <a:gd name="connsiteX2321" fmla="*/ 377415 w 5806384"/>
                  <a:gd name="connsiteY2321" fmla="*/ 1912566 h 4036143"/>
                  <a:gd name="connsiteX2322" fmla="*/ 402906 w 5806384"/>
                  <a:gd name="connsiteY2322" fmla="*/ 1925311 h 4036143"/>
                  <a:gd name="connsiteX2323" fmla="*/ 477965 w 5806384"/>
                  <a:gd name="connsiteY2323" fmla="*/ 1963549 h 4036143"/>
                  <a:gd name="connsiteX2324" fmla="*/ 334929 w 5806384"/>
                  <a:gd name="connsiteY2324" fmla="*/ 1980543 h 4036143"/>
                  <a:gd name="connsiteX2325" fmla="*/ 405739 w 5806384"/>
                  <a:gd name="connsiteY2325" fmla="*/ 1925311 h 4036143"/>
                  <a:gd name="connsiteX2326" fmla="*/ 477965 w 5806384"/>
                  <a:gd name="connsiteY2326" fmla="*/ 1963549 h 4036143"/>
                  <a:gd name="connsiteX2327" fmla="*/ 687561 w 5806384"/>
                  <a:gd name="connsiteY2327" fmla="*/ 1836092 h 4036143"/>
                  <a:gd name="connsiteX2328" fmla="*/ 751289 w 5806384"/>
                  <a:gd name="connsiteY2328" fmla="*/ 1826178 h 4036143"/>
                  <a:gd name="connsiteX2329" fmla="*/ 977880 w 5806384"/>
                  <a:gd name="connsiteY2329" fmla="*/ 1956468 h 4036143"/>
                  <a:gd name="connsiteX2330" fmla="*/ 687561 w 5806384"/>
                  <a:gd name="connsiteY2330" fmla="*/ 1836092 h 4036143"/>
                  <a:gd name="connsiteX2331" fmla="*/ 3391071 w 5806384"/>
                  <a:gd name="connsiteY2331" fmla="*/ 3753614 h 4036143"/>
                  <a:gd name="connsiteX2332" fmla="*/ 3575175 w 5806384"/>
                  <a:gd name="connsiteY2332" fmla="*/ 3889568 h 4036143"/>
                  <a:gd name="connsiteX2333" fmla="*/ 3572343 w 5806384"/>
                  <a:gd name="connsiteY2333" fmla="*/ 3899481 h 4036143"/>
                  <a:gd name="connsiteX2334" fmla="*/ 3393902 w 5806384"/>
                  <a:gd name="connsiteY2334" fmla="*/ 3808845 h 4036143"/>
                  <a:gd name="connsiteX2335" fmla="*/ 3391071 w 5806384"/>
                  <a:gd name="connsiteY2335" fmla="*/ 3753614 h 4036143"/>
                  <a:gd name="connsiteX2336" fmla="*/ 3395319 w 5806384"/>
                  <a:gd name="connsiteY2336" fmla="*/ 3832921 h 4036143"/>
                  <a:gd name="connsiteX2337" fmla="*/ 3393902 w 5806384"/>
                  <a:gd name="connsiteY2337" fmla="*/ 3810261 h 4036143"/>
                  <a:gd name="connsiteX2338" fmla="*/ 3572343 w 5806384"/>
                  <a:gd name="connsiteY2338" fmla="*/ 3900898 h 4036143"/>
                  <a:gd name="connsiteX2339" fmla="*/ 3556764 w 5806384"/>
                  <a:gd name="connsiteY2339" fmla="*/ 3957545 h 4036143"/>
                  <a:gd name="connsiteX2340" fmla="*/ 3395319 w 5806384"/>
                  <a:gd name="connsiteY2340" fmla="*/ 3832921 h 4036143"/>
                  <a:gd name="connsiteX2341" fmla="*/ 3357082 w 5806384"/>
                  <a:gd name="connsiteY2341" fmla="*/ 3803181 h 4036143"/>
                  <a:gd name="connsiteX2342" fmla="*/ 3347168 w 5806384"/>
                  <a:gd name="connsiteY2342" fmla="*/ 3786186 h 4036143"/>
                  <a:gd name="connsiteX2343" fmla="*/ 3392486 w 5806384"/>
                  <a:gd name="connsiteY2343" fmla="*/ 3810261 h 4036143"/>
                  <a:gd name="connsiteX2344" fmla="*/ 3393902 w 5806384"/>
                  <a:gd name="connsiteY2344" fmla="*/ 3831504 h 4036143"/>
                  <a:gd name="connsiteX2345" fmla="*/ 3357082 w 5806384"/>
                  <a:gd name="connsiteY2345" fmla="*/ 3803181 h 4036143"/>
                  <a:gd name="connsiteX2346" fmla="*/ 3359914 w 5806384"/>
                  <a:gd name="connsiteY2346" fmla="*/ 3807429 h 4036143"/>
                  <a:gd name="connsiteX2347" fmla="*/ 3393902 w 5806384"/>
                  <a:gd name="connsiteY2347" fmla="*/ 3834337 h 4036143"/>
                  <a:gd name="connsiteX2348" fmla="*/ 3395319 w 5806384"/>
                  <a:gd name="connsiteY2348" fmla="*/ 3866909 h 4036143"/>
                  <a:gd name="connsiteX2349" fmla="*/ 3359914 w 5806384"/>
                  <a:gd name="connsiteY2349" fmla="*/ 3807429 h 4036143"/>
                  <a:gd name="connsiteX2350" fmla="*/ 3342920 w 5806384"/>
                  <a:gd name="connsiteY2350" fmla="*/ 3784770 h 4036143"/>
                  <a:gd name="connsiteX2351" fmla="*/ 3351416 w 5806384"/>
                  <a:gd name="connsiteY2351" fmla="*/ 3800348 h 4036143"/>
                  <a:gd name="connsiteX2352" fmla="*/ 3311763 w 5806384"/>
                  <a:gd name="connsiteY2352" fmla="*/ 3770608 h 4036143"/>
                  <a:gd name="connsiteX2353" fmla="*/ 3342920 w 5806384"/>
                  <a:gd name="connsiteY2353" fmla="*/ 3784770 h 4036143"/>
                  <a:gd name="connsiteX2354" fmla="*/ 3344336 w 5806384"/>
                  <a:gd name="connsiteY2354" fmla="*/ 3783354 h 4036143"/>
                  <a:gd name="connsiteX2355" fmla="*/ 3274943 w 5806384"/>
                  <a:gd name="connsiteY2355" fmla="*/ 3667226 h 4036143"/>
                  <a:gd name="connsiteX2356" fmla="*/ 3389654 w 5806384"/>
                  <a:gd name="connsiteY2356" fmla="*/ 3752198 h 4036143"/>
                  <a:gd name="connsiteX2357" fmla="*/ 3392486 w 5806384"/>
                  <a:gd name="connsiteY2357" fmla="*/ 3807429 h 4036143"/>
                  <a:gd name="connsiteX2358" fmla="*/ 3344336 w 5806384"/>
                  <a:gd name="connsiteY2358" fmla="*/ 3783354 h 4036143"/>
                  <a:gd name="connsiteX2359" fmla="*/ 3575175 w 5806384"/>
                  <a:gd name="connsiteY2359" fmla="*/ 3900898 h 4036143"/>
                  <a:gd name="connsiteX2360" fmla="*/ 3578007 w 5806384"/>
                  <a:gd name="connsiteY2360" fmla="*/ 3890985 h 4036143"/>
                  <a:gd name="connsiteX2361" fmla="*/ 3630406 w 5806384"/>
                  <a:gd name="connsiteY2361" fmla="*/ 3929221 h 4036143"/>
                  <a:gd name="connsiteX2362" fmla="*/ 3575175 w 5806384"/>
                  <a:gd name="connsiteY2362" fmla="*/ 3900898 h 4036143"/>
                  <a:gd name="connsiteX2363" fmla="*/ 3266445 w 5806384"/>
                  <a:gd name="connsiteY2363" fmla="*/ 3525607 h 4036143"/>
                  <a:gd name="connsiteX2364" fmla="*/ 3317428 w 5806384"/>
                  <a:gd name="connsiteY2364" fmla="*/ 3504364 h 4036143"/>
                  <a:gd name="connsiteX2365" fmla="*/ 3350001 w 5806384"/>
                  <a:gd name="connsiteY2365" fmla="*/ 3573757 h 4036143"/>
                  <a:gd name="connsiteX2366" fmla="*/ 3266445 w 5806384"/>
                  <a:gd name="connsiteY2366" fmla="*/ 3525607 h 4036143"/>
                  <a:gd name="connsiteX2367" fmla="*/ 3265029 w 5806384"/>
                  <a:gd name="connsiteY2367" fmla="*/ 3524191 h 4036143"/>
                  <a:gd name="connsiteX2368" fmla="*/ 3170144 w 5806384"/>
                  <a:gd name="connsiteY2368" fmla="*/ 3468959 h 4036143"/>
                  <a:gd name="connsiteX2369" fmla="*/ 3317428 w 5806384"/>
                  <a:gd name="connsiteY2369" fmla="*/ 3501532 h 4036143"/>
                  <a:gd name="connsiteX2370" fmla="*/ 3265029 w 5806384"/>
                  <a:gd name="connsiteY2370" fmla="*/ 3524191 h 4036143"/>
                  <a:gd name="connsiteX2371" fmla="*/ 3361330 w 5806384"/>
                  <a:gd name="connsiteY2371" fmla="*/ 3511445 h 4036143"/>
                  <a:gd name="connsiteX2372" fmla="*/ 3359914 w 5806384"/>
                  <a:gd name="connsiteY2372" fmla="*/ 3711128 h 4036143"/>
                  <a:gd name="connsiteX2373" fmla="*/ 3233873 w 5806384"/>
                  <a:gd name="connsiteY2373" fmla="*/ 3538353 h 4036143"/>
                  <a:gd name="connsiteX2374" fmla="*/ 3265029 w 5806384"/>
                  <a:gd name="connsiteY2374" fmla="*/ 3525607 h 4036143"/>
                  <a:gd name="connsiteX2375" fmla="*/ 3355666 w 5806384"/>
                  <a:gd name="connsiteY2375" fmla="*/ 3578006 h 4036143"/>
                  <a:gd name="connsiteX2376" fmla="*/ 3355666 w 5806384"/>
                  <a:gd name="connsiteY2376" fmla="*/ 3578006 h 4036143"/>
                  <a:gd name="connsiteX2377" fmla="*/ 3320261 w 5806384"/>
                  <a:gd name="connsiteY2377" fmla="*/ 3501532 h 4036143"/>
                  <a:gd name="connsiteX2378" fmla="*/ 3320261 w 5806384"/>
                  <a:gd name="connsiteY2378" fmla="*/ 3501532 h 4036143"/>
                  <a:gd name="connsiteX2379" fmla="*/ 3361330 w 5806384"/>
                  <a:gd name="connsiteY2379" fmla="*/ 3511445 h 4036143"/>
                  <a:gd name="connsiteX2380" fmla="*/ 3668644 w 5806384"/>
                  <a:gd name="connsiteY2380" fmla="*/ 3749365 h 4036143"/>
                  <a:gd name="connsiteX2381" fmla="*/ 3780523 w 5806384"/>
                  <a:gd name="connsiteY2381" fmla="*/ 3692718 h 4036143"/>
                  <a:gd name="connsiteX2382" fmla="*/ 3756448 w 5806384"/>
                  <a:gd name="connsiteY2382" fmla="*/ 3757862 h 4036143"/>
                  <a:gd name="connsiteX2383" fmla="*/ 3668644 w 5806384"/>
                  <a:gd name="connsiteY2383" fmla="*/ 3749365 h 4036143"/>
                  <a:gd name="connsiteX2384" fmla="*/ 4385236 w 5806384"/>
                  <a:gd name="connsiteY2384" fmla="*/ 3800348 h 4036143"/>
                  <a:gd name="connsiteX2385" fmla="*/ 4422058 w 5806384"/>
                  <a:gd name="connsiteY2385" fmla="*/ 3784770 h 4036143"/>
                  <a:gd name="connsiteX2386" fmla="*/ 4451797 w 5806384"/>
                  <a:gd name="connsiteY2386" fmla="*/ 3818759 h 4036143"/>
                  <a:gd name="connsiteX2387" fmla="*/ 4426306 w 5806384"/>
                  <a:gd name="connsiteY2387" fmla="*/ 3815926 h 4036143"/>
                  <a:gd name="connsiteX2388" fmla="*/ 4385236 w 5806384"/>
                  <a:gd name="connsiteY2388" fmla="*/ 3800348 h 4036143"/>
                  <a:gd name="connsiteX2389" fmla="*/ 4431971 w 5806384"/>
                  <a:gd name="connsiteY2389" fmla="*/ 3820175 h 4036143"/>
                  <a:gd name="connsiteX2390" fmla="*/ 4453214 w 5806384"/>
                  <a:gd name="connsiteY2390" fmla="*/ 3821591 h 4036143"/>
                  <a:gd name="connsiteX2391" fmla="*/ 4461711 w 5806384"/>
                  <a:gd name="connsiteY2391" fmla="*/ 3831504 h 4036143"/>
                  <a:gd name="connsiteX2392" fmla="*/ 4431971 w 5806384"/>
                  <a:gd name="connsiteY2392" fmla="*/ 3820175 h 4036143"/>
                  <a:gd name="connsiteX2393" fmla="*/ 4361162 w 5806384"/>
                  <a:gd name="connsiteY2393" fmla="*/ 3811678 h 4036143"/>
                  <a:gd name="connsiteX2394" fmla="*/ 4382405 w 5806384"/>
                  <a:gd name="connsiteY2394" fmla="*/ 3803181 h 4036143"/>
                  <a:gd name="connsiteX2395" fmla="*/ 4417809 w 5806384"/>
                  <a:gd name="connsiteY2395" fmla="*/ 3817342 h 4036143"/>
                  <a:gd name="connsiteX2396" fmla="*/ 4361162 w 5806384"/>
                  <a:gd name="connsiteY2396" fmla="*/ 3811678 h 4036143"/>
                  <a:gd name="connsiteX2397" fmla="*/ 4514110 w 5806384"/>
                  <a:gd name="connsiteY2397" fmla="*/ 3895233 h 4036143"/>
                  <a:gd name="connsiteX2398" fmla="*/ 4361162 w 5806384"/>
                  <a:gd name="connsiteY2398" fmla="*/ 3837169 h 4036143"/>
                  <a:gd name="connsiteX2399" fmla="*/ 4473040 w 5806384"/>
                  <a:gd name="connsiteY2399" fmla="*/ 3845666 h 4036143"/>
                  <a:gd name="connsiteX2400" fmla="*/ 4514110 w 5806384"/>
                  <a:gd name="connsiteY2400" fmla="*/ 3895233 h 4036143"/>
                  <a:gd name="connsiteX2401" fmla="*/ 4474457 w 5806384"/>
                  <a:gd name="connsiteY2401" fmla="*/ 3844250 h 4036143"/>
                  <a:gd name="connsiteX2402" fmla="*/ 4468792 w 5806384"/>
                  <a:gd name="connsiteY2402" fmla="*/ 3837169 h 4036143"/>
                  <a:gd name="connsiteX2403" fmla="*/ 4487202 w 5806384"/>
                  <a:gd name="connsiteY2403" fmla="*/ 3844250 h 4036143"/>
                  <a:gd name="connsiteX2404" fmla="*/ 4474457 w 5806384"/>
                  <a:gd name="connsiteY2404" fmla="*/ 3844250 h 4036143"/>
                  <a:gd name="connsiteX2405" fmla="*/ 4521191 w 5806384"/>
                  <a:gd name="connsiteY2405" fmla="*/ 3899481 h 4036143"/>
                  <a:gd name="connsiteX2406" fmla="*/ 4702464 w 5806384"/>
                  <a:gd name="connsiteY2406" fmla="*/ 3967459 h 4036143"/>
                  <a:gd name="connsiteX2407" fmla="*/ 4586336 w 5806384"/>
                  <a:gd name="connsiteY2407" fmla="*/ 3990118 h 4036143"/>
                  <a:gd name="connsiteX2408" fmla="*/ 4446133 w 5806384"/>
                  <a:gd name="connsiteY2408" fmla="*/ 3963210 h 4036143"/>
                  <a:gd name="connsiteX2409" fmla="*/ 4539602 w 5806384"/>
                  <a:gd name="connsiteY2409" fmla="*/ 3922140 h 4036143"/>
                  <a:gd name="connsiteX2410" fmla="*/ 4539602 w 5806384"/>
                  <a:gd name="connsiteY2410" fmla="*/ 3922140 h 4036143"/>
                  <a:gd name="connsiteX2411" fmla="*/ 4521191 w 5806384"/>
                  <a:gd name="connsiteY2411" fmla="*/ 3899481 h 4036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Lst>
                <a:rect l="l" t="t" r="r" b="b"/>
                <a:pathLst>
                  <a:path w="5806384" h="4036143">
                    <a:moveTo>
                      <a:pt x="5707959" y="799440"/>
                    </a:moveTo>
                    <a:lnTo>
                      <a:pt x="5707959" y="799440"/>
                    </a:lnTo>
                    <a:lnTo>
                      <a:pt x="5491282" y="1038776"/>
                    </a:lnTo>
                    <a:lnTo>
                      <a:pt x="5413392" y="945307"/>
                    </a:lnTo>
                    <a:lnTo>
                      <a:pt x="5413392" y="945307"/>
                    </a:lnTo>
                    <a:lnTo>
                      <a:pt x="5358160" y="1028863"/>
                    </a:lnTo>
                    <a:lnTo>
                      <a:pt x="5274605" y="980712"/>
                    </a:lnTo>
                    <a:lnTo>
                      <a:pt x="5369489" y="841925"/>
                    </a:lnTo>
                    <a:lnTo>
                      <a:pt x="5557843" y="822099"/>
                    </a:lnTo>
                    <a:lnTo>
                      <a:pt x="5557843" y="822099"/>
                    </a:lnTo>
                    <a:lnTo>
                      <a:pt x="5471455" y="690393"/>
                    </a:lnTo>
                    <a:lnTo>
                      <a:pt x="5471455" y="690393"/>
                    </a:lnTo>
                    <a:lnTo>
                      <a:pt x="5368073" y="840509"/>
                    </a:lnTo>
                    <a:lnTo>
                      <a:pt x="5124488" y="866001"/>
                    </a:lnTo>
                    <a:lnTo>
                      <a:pt x="5189634" y="820683"/>
                    </a:lnTo>
                    <a:lnTo>
                      <a:pt x="4947464" y="795191"/>
                    </a:lnTo>
                    <a:lnTo>
                      <a:pt x="4732203" y="673399"/>
                    </a:lnTo>
                    <a:lnTo>
                      <a:pt x="4732203" y="673399"/>
                    </a:lnTo>
                    <a:lnTo>
                      <a:pt x="4652897" y="800856"/>
                    </a:lnTo>
                    <a:lnTo>
                      <a:pt x="4393734" y="613919"/>
                    </a:lnTo>
                    <a:lnTo>
                      <a:pt x="4393734" y="613919"/>
                    </a:lnTo>
                    <a:lnTo>
                      <a:pt x="4410728" y="748457"/>
                    </a:lnTo>
                    <a:lnTo>
                      <a:pt x="4273358" y="611086"/>
                    </a:lnTo>
                    <a:lnTo>
                      <a:pt x="4273358" y="611086"/>
                    </a:lnTo>
                    <a:lnTo>
                      <a:pt x="3893818" y="545942"/>
                    </a:lnTo>
                    <a:lnTo>
                      <a:pt x="3893818" y="545942"/>
                    </a:lnTo>
                    <a:lnTo>
                      <a:pt x="3593586" y="928313"/>
                    </a:lnTo>
                    <a:lnTo>
                      <a:pt x="3593586" y="929729"/>
                    </a:lnTo>
                    <a:lnTo>
                      <a:pt x="3960379" y="720133"/>
                    </a:lnTo>
                    <a:lnTo>
                      <a:pt x="4039686" y="882995"/>
                    </a:lnTo>
                    <a:lnTo>
                      <a:pt x="3978790" y="921232"/>
                    </a:lnTo>
                    <a:lnTo>
                      <a:pt x="3449134" y="933978"/>
                    </a:lnTo>
                    <a:lnTo>
                      <a:pt x="3174393" y="623832"/>
                    </a:lnTo>
                    <a:lnTo>
                      <a:pt x="3177225" y="608254"/>
                    </a:lnTo>
                    <a:lnTo>
                      <a:pt x="3454799" y="734295"/>
                    </a:lnTo>
                    <a:lnTo>
                      <a:pt x="3454799" y="734295"/>
                    </a:lnTo>
                    <a:lnTo>
                      <a:pt x="3529857" y="350507"/>
                    </a:lnTo>
                    <a:lnTo>
                      <a:pt x="3529857" y="350507"/>
                    </a:lnTo>
                    <a:lnTo>
                      <a:pt x="3402400" y="91344"/>
                    </a:lnTo>
                    <a:lnTo>
                      <a:pt x="3402400" y="91344"/>
                    </a:lnTo>
                    <a:lnTo>
                      <a:pt x="3146069" y="10621"/>
                    </a:lnTo>
                    <a:lnTo>
                      <a:pt x="3146069" y="10621"/>
                    </a:lnTo>
                    <a:lnTo>
                      <a:pt x="3229624" y="139495"/>
                    </a:lnTo>
                    <a:lnTo>
                      <a:pt x="3310347" y="340594"/>
                    </a:lnTo>
                    <a:lnTo>
                      <a:pt x="3214047" y="401490"/>
                    </a:lnTo>
                    <a:lnTo>
                      <a:pt x="3219711" y="367502"/>
                    </a:lnTo>
                    <a:lnTo>
                      <a:pt x="3219711" y="367502"/>
                    </a:lnTo>
                    <a:lnTo>
                      <a:pt x="3048352" y="456722"/>
                    </a:lnTo>
                    <a:lnTo>
                      <a:pt x="2974710" y="347675"/>
                    </a:lnTo>
                    <a:lnTo>
                      <a:pt x="2974710" y="347675"/>
                    </a:lnTo>
                    <a:lnTo>
                      <a:pt x="2902485" y="537444"/>
                    </a:lnTo>
                    <a:lnTo>
                      <a:pt x="2902485" y="537444"/>
                    </a:lnTo>
                    <a:lnTo>
                      <a:pt x="3049768" y="459554"/>
                    </a:lnTo>
                    <a:lnTo>
                      <a:pt x="3071011" y="492126"/>
                    </a:lnTo>
                    <a:lnTo>
                      <a:pt x="2820345" y="650740"/>
                    </a:lnTo>
                    <a:lnTo>
                      <a:pt x="2801934" y="625248"/>
                    </a:lnTo>
                    <a:lnTo>
                      <a:pt x="2801934" y="625248"/>
                    </a:lnTo>
                    <a:lnTo>
                      <a:pt x="2521529" y="840509"/>
                    </a:lnTo>
                    <a:lnTo>
                      <a:pt x="2521529" y="840509"/>
                    </a:lnTo>
                    <a:lnTo>
                      <a:pt x="2522945" y="841925"/>
                    </a:lnTo>
                    <a:lnTo>
                      <a:pt x="2522945" y="841925"/>
                    </a:lnTo>
                    <a:lnTo>
                      <a:pt x="2820345" y="653572"/>
                    </a:lnTo>
                    <a:lnTo>
                      <a:pt x="2991704" y="894324"/>
                    </a:lnTo>
                    <a:lnTo>
                      <a:pt x="2743871" y="945307"/>
                    </a:lnTo>
                    <a:lnTo>
                      <a:pt x="2539939" y="908486"/>
                    </a:lnTo>
                    <a:lnTo>
                      <a:pt x="2129244" y="690393"/>
                    </a:lnTo>
                    <a:lnTo>
                      <a:pt x="2129244" y="690393"/>
                    </a:lnTo>
                    <a:lnTo>
                      <a:pt x="1921064" y="796607"/>
                    </a:lnTo>
                    <a:lnTo>
                      <a:pt x="1921064" y="796607"/>
                    </a:lnTo>
                    <a:lnTo>
                      <a:pt x="2539939" y="909903"/>
                    </a:lnTo>
                    <a:lnTo>
                      <a:pt x="3069595" y="1191725"/>
                    </a:lnTo>
                    <a:lnTo>
                      <a:pt x="3068178" y="1195973"/>
                    </a:lnTo>
                    <a:lnTo>
                      <a:pt x="3046935" y="1180395"/>
                    </a:lnTo>
                    <a:lnTo>
                      <a:pt x="3046935" y="1180395"/>
                    </a:lnTo>
                    <a:lnTo>
                      <a:pt x="2548436" y="1388575"/>
                    </a:lnTo>
                    <a:lnTo>
                      <a:pt x="2415314" y="1398488"/>
                    </a:lnTo>
                    <a:lnTo>
                      <a:pt x="2231209" y="1225713"/>
                    </a:lnTo>
                    <a:lnTo>
                      <a:pt x="2231209" y="1225713"/>
                    </a:lnTo>
                    <a:lnTo>
                      <a:pt x="2236874" y="1414067"/>
                    </a:lnTo>
                    <a:lnTo>
                      <a:pt x="2115082" y="1423980"/>
                    </a:lnTo>
                    <a:lnTo>
                      <a:pt x="2004619" y="1286609"/>
                    </a:lnTo>
                    <a:lnTo>
                      <a:pt x="2265198" y="1167649"/>
                    </a:lnTo>
                    <a:lnTo>
                      <a:pt x="2266614" y="1167649"/>
                    </a:lnTo>
                    <a:lnTo>
                      <a:pt x="2024445" y="1154904"/>
                    </a:lnTo>
                    <a:lnTo>
                      <a:pt x="2024445" y="1154904"/>
                    </a:lnTo>
                    <a:lnTo>
                      <a:pt x="1962133" y="1232794"/>
                    </a:lnTo>
                    <a:lnTo>
                      <a:pt x="1923896" y="1186060"/>
                    </a:lnTo>
                    <a:lnTo>
                      <a:pt x="2103752" y="907070"/>
                    </a:lnTo>
                    <a:lnTo>
                      <a:pt x="2103752" y="907070"/>
                    </a:lnTo>
                    <a:lnTo>
                      <a:pt x="1813433" y="1050106"/>
                    </a:lnTo>
                    <a:lnTo>
                      <a:pt x="1766699" y="990626"/>
                    </a:lnTo>
                    <a:lnTo>
                      <a:pt x="1766699" y="990626"/>
                    </a:lnTo>
                    <a:lnTo>
                      <a:pt x="1751121" y="1081262"/>
                    </a:lnTo>
                    <a:lnTo>
                      <a:pt x="1589675" y="1161985"/>
                    </a:lnTo>
                    <a:lnTo>
                      <a:pt x="1710051" y="898573"/>
                    </a:lnTo>
                    <a:lnTo>
                      <a:pt x="1768115" y="979296"/>
                    </a:lnTo>
                    <a:lnTo>
                      <a:pt x="1768115" y="979296"/>
                    </a:lnTo>
                    <a:lnTo>
                      <a:pt x="1756785" y="792359"/>
                    </a:lnTo>
                    <a:lnTo>
                      <a:pt x="1756785" y="790943"/>
                    </a:lnTo>
                    <a:lnTo>
                      <a:pt x="1710051" y="894324"/>
                    </a:lnTo>
                    <a:lnTo>
                      <a:pt x="1626496" y="776781"/>
                    </a:lnTo>
                    <a:lnTo>
                      <a:pt x="1626496" y="776781"/>
                    </a:lnTo>
                    <a:lnTo>
                      <a:pt x="1507536" y="949556"/>
                    </a:lnTo>
                    <a:lnTo>
                      <a:pt x="1282361" y="1034527"/>
                    </a:lnTo>
                    <a:lnTo>
                      <a:pt x="1273864" y="1030279"/>
                    </a:lnTo>
                    <a:lnTo>
                      <a:pt x="1152071" y="830596"/>
                    </a:lnTo>
                    <a:lnTo>
                      <a:pt x="1152071" y="830596"/>
                    </a:lnTo>
                    <a:lnTo>
                      <a:pt x="1112418" y="943891"/>
                    </a:lnTo>
                    <a:lnTo>
                      <a:pt x="1094008" y="933978"/>
                    </a:lnTo>
                    <a:lnTo>
                      <a:pt x="1064268" y="881579"/>
                    </a:lnTo>
                    <a:lnTo>
                      <a:pt x="1106754" y="816434"/>
                    </a:lnTo>
                    <a:lnTo>
                      <a:pt x="1432478" y="841925"/>
                    </a:lnTo>
                    <a:lnTo>
                      <a:pt x="1432478" y="841925"/>
                    </a:lnTo>
                    <a:lnTo>
                      <a:pt x="1432478" y="840509"/>
                    </a:lnTo>
                    <a:lnTo>
                      <a:pt x="1181812" y="783862"/>
                    </a:lnTo>
                    <a:lnTo>
                      <a:pt x="1357419" y="717301"/>
                    </a:lnTo>
                    <a:lnTo>
                      <a:pt x="1358835" y="717301"/>
                    </a:lnTo>
                    <a:lnTo>
                      <a:pt x="1136494" y="739960"/>
                    </a:lnTo>
                    <a:lnTo>
                      <a:pt x="1116667" y="615335"/>
                    </a:lnTo>
                    <a:lnTo>
                      <a:pt x="1116667" y="615335"/>
                    </a:lnTo>
                    <a:lnTo>
                      <a:pt x="1023198" y="713052"/>
                    </a:lnTo>
                    <a:lnTo>
                      <a:pt x="952389" y="670566"/>
                    </a:lnTo>
                    <a:lnTo>
                      <a:pt x="1109586" y="613919"/>
                    </a:lnTo>
                    <a:lnTo>
                      <a:pt x="1109586" y="613919"/>
                    </a:lnTo>
                    <a:lnTo>
                      <a:pt x="1109586" y="612503"/>
                    </a:lnTo>
                    <a:lnTo>
                      <a:pt x="949556" y="670566"/>
                    </a:lnTo>
                    <a:lnTo>
                      <a:pt x="949556" y="670566"/>
                    </a:lnTo>
                    <a:lnTo>
                      <a:pt x="1023198" y="714468"/>
                    </a:lnTo>
                    <a:lnTo>
                      <a:pt x="990626" y="748457"/>
                    </a:lnTo>
                    <a:lnTo>
                      <a:pt x="953805" y="683312"/>
                    </a:lnTo>
                    <a:lnTo>
                      <a:pt x="953805" y="683312"/>
                    </a:lnTo>
                    <a:lnTo>
                      <a:pt x="766868" y="870249"/>
                    </a:lnTo>
                    <a:lnTo>
                      <a:pt x="751289" y="857504"/>
                    </a:lnTo>
                    <a:lnTo>
                      <a:pt x="751289" y="857504"/>
                    </a:lnTo>
                    <a:lnTo>
                      <a:pt x="752706" y="885827"/>
                    </a:lnTo>
                    <a:lnTo>
                      <a:pt x="619584" y="1018949"/>
                    </a:lnTo>
                    <a:lnTo>
                      <a:pt x="438311" y="1105337"/>
                    </a:lnTo>
                    <a:lnTo>
                      <a:pt x="438311" y="1105337"/>
                    </a:lnTo>
                    <a:lnTo>
                      <a:pt x="555855" y="1198806"/>
                    </a:lnTo>
                    <a:lnTo>
                      <a:pt x="451057" y="1275280"/>
                    </a:lnTo>
                    <a:lnTo>
                      <a:pt x="451057" y="1275280"/>
                    </a:lnTo>
                    <a:lnTo>
                      <a:pt x="452473" y="1276696"/>
                    </a:lnTo>
                    <a:lnTo>
                      <a:pt x="574265" y="1212967"/>
                    </a:lnTo>
                    <a:lnTo>
                      <a:pt x="575682" y="1212967"/>
                    </a:lnTo>
                    <a:lnTo>
                      <a:pt x="570017" y="1229962"/>
                    </a:lnTo>
                    <a:lnTo>
                      <a:pt x="570017" y="1229962"/>
                    </a:lnTo>
                    <a:lnTo>
                      <a:pt x="571433" y="1229962"/>
                    </a:lnTo>
                    <a:lnTo>
                      <a:pt x="571433" y="1229962"/>
                    </a:lnTo>
                    <a:lnTo>
                      <a:pt x="578514" y="1214384"/>
                    </a:lnTo>
                    <a:lnTo>
                      <a:pt x="693225" y="1305020"/>
                    </a:lnTo>
                    <a:lnTo>
                      <a:pt x="681896" y="1152071"/>
                    </a:lnTo>
                    <a:lnTo>
                      <a:pt x="681896" y="1152071"/>
                    </a:lnTo>
                    <a:lnTo>
                      <a:pt x="584179" y="1203054"/>
                    </a:lnTo>
                    <a:lnTo>
                      <a:pt x="602589" y="1166233"/>
                    </a:lnTo>
                    <a:lnTo>
                      <a:pt x="684728" y="1106753"/>
                    </a:lnTo>
                    <a:lnTo>
                      <a:pt x="772532" y="1091175"/>
                    </a:lnTo>
                    <a:lnTo>
                      <a:pt x="772532" y="1091175"/>
                    </a:lnTo>
                    <a:lnTo>
                      <a:pt x="769700" y="1045857"/>
                    </a:lnTo>
                    <a:lnTo>
                      <a:pt x="884411" y="963718"/>
                    </a:lnTo>
                    <a:lnTo>
                      <a:pt x="884411" y="963718"/>
                    </a:lnTo>
                    <a:lnTo>
                      <a:pt x="832012" y="921232"/>
                    </a:lnTo>
                    <a:lnTo>
                      <a:pt x="993458" y="751289"/>
                    </a:lnTo>
                    <a:lnTo>
                      <a:pt x="1026030" y="807937"/>
                    </a:lnTo>
                    <a:lnTo>
                      <a:pt x="979296" y="803688"/>
                    </a:lnTo>
                    <a:lnTo>
                      <a:pt x="979296" y="803688"/>
                    </a:lnTo>
                    <a:lnTo>
                      <a:pt x="1030279" y="898573"/>
                    </a:lnTo>
                    <a:lnTo>
                      <a:pt x="1030279" y="898573"/>
                    </a:lnTo>
                    <a:lnTo>
                      <a:pt x="1050106" y="909903"/>
                    </a:lnTo>
                    <a:lnTo>
                      <a:pt x="949556" y="1065684"/>
                    </a:lnTo>
                    <a:lnTo>
                      <a:pt x="949556" y="1065684"/>
                    </a:lnTo>
                    <a:lnTo>
                      <a:pt x="1052938" y="1140742"/>
                    </a:lnTo>
                    <a:lnTo>
                      <a:pt x="1052938" y="1140742"/>
                    </a:lnTo>
                    <a:lnTo>
                      <a:pt x="1113834" y="963718"/>
                    </a:lnTo>
                    <a:lnTo>
                      <a:pt x="1136494" y="1003371"/>
                    </a:lnTo>
                    <a:lnTo>
                      <a:pt x="1177563" y="1469298"/>
                    </a:lnTo>
                    <a:lnTo>
                      <a:pt x="1164817" y="1514616"/>
                    </a:lnTo>
                    <a:lnTo>
                      <a:pt x="1164817" y="1514616"/>
                    </a:lnTo>
                    <a:lnTo>
                      <a:pt x="1181812" y="1523113"/>
                    </a:lnTo>
                    <a:lnTo>
                      <a:pt x="1186060" y="1565599"/>
                    </a:lnTo>
                    <a:lnTo>
                      <a:pt x="898573" y="1559934"/>
                    </a:lnTo>
                    <a:lnTo>
                      <a:pt x="916984" y="1494789"/>
                    </a:lnTo>
                    <a:lnTo>
                      <a:pt x="916984" y="1494789"/>
                    </a:lnTo>
                    <a:lnTo>
                      <a:pt x="705971" y="1548605"/>
                    </a:lnTo>
                    <a:lnTo>
                      <a:pt x="705971" y="1548605"/>
                    </a:lnTo>
                    <a:lnTo>
                      <a:pt x="881579" y="1803519"/>
                    </a:lnTo>
                    <a:lnTo>
                      <a:pt x="854671" y="1807768"/>
                    </a:lnTo>
                    <a:lnTo>
                      <a:pt x="659237" y="1514616"/>
                    </a:lnTo>
                    <a:lnTo>
                      <a:pt x="659237" y="1514616"/>
                    </a:lnTo>
                    <a:lnTo>
                      <a:pt x="494959" y="1646322"/>
                    </a:lnTo>
                    <a:lnTo>
                      <a:pt x="470884" y="1622247"/>
                    </a:lnTo>
                    <a:lnTo>
                      <a:pt x="470884" y="1541524"/>
                    </a:lnTo>
                    <a:lnTo>
                      <a:pt x="470884" y="1541524"/>
                    </a:lnTo>
                    <a:lnTo>
                      <a:pt x="242877" y="1728461"/>
                    </a:lnTo>
                    <a:lnTo>
                      <a:pt x="242877" y="1728461"/>
                    </a:lnTo>
                    <a:lnTo>
                      <a:pt x="265536" y="1779444"/>
                    </a:lnTo>
                    <a:lnTo>
                      <a:pt x="139495" y="1782276"/>
                    </a:lnTo>
                    <a:lnTo>
                      <a:pt x="138079" y="1782276"/>
                    </a:lnTo>
                    <a:lnTo>
                      <a:pt x="378831" y="1906901"/>
                    </a:lnTo>
                    <a:lnTo>
                      <a:pt x="72934" y="1981959"/>
                    </a:lnTo>
                    <a:lnTo>
                      <a:pt x="17702" y="1986208"/>
                    </a:lnTo>
                    <a:lnTo>
                      <a:pt x="17702" y="1986208"/>
                    </a:lnTo>
                    <a:lnTo>
                      <a:pt x="55939" y="2205717"/>
                    </a:lnTo>
                    <a:lnTo>
                      <a:pt x="55939" y="2205717"/>
                    </a:lnTo>
                    <a:lnTo>
                      <a:pt x="95593" y="2174561"/>
                    </a:lnTo>
                    <a:lnTo>
                      <a:pt x="64437" y="2217047"/>
                    </a:lnTo>
                    <a:lnTo>
                      <a:pt x="64437" y="2217047"/>
                    </a:lnTo>
                    <a:lnTo>
                      <a:pt x="140911" y="2215631"/>
                    </a:lnTo>
                    <a:lnTo>
                      <a:pt x="140911" y="2215631"/>
                    </a:lnTo>
                    <a:lnTo>
                      <a:pt x="207472" y="2133492"/>
                    </a:lnTo>
                    <a:lnTo>
                      <a:pt x="245709" y="2140573"/>
                    </a:lnTo>
                    <a:lnTo>
                      <a:pt x="217385" y="2120746"/>
                    </a:lnTo>
                    <a:lnTo>
                      <a:pt x="309437" y="2006034"/>
                    </a:lnTo>
                    <a:lnTo>
                      <a:pt x="339178" y="1983375"/>
                    </a:lnTo>
                    <a:lnTo>
                      <a:pt x="492127" y="1964965"/>
                    </a:lnTo>
                    <a:lnTo>
                      <a:pt x="492127" y="1964965"/>
                    </a:lnTo>
                    <a:lnTo>
                      <a:pt x="414236" y="1925311"/>
                    </a:lnTo>
                    <a:lnTo>
                      <a:pt x="459554" y="1889907"/>
                    </a:lnTo>
                    <a:lnTo>
                      <a:pt x="601173" y="1854502"/>
                    </a:lnTo>
                    <a:lnTo>
                      <a:pt x="602589" y="1861583"/>
                    </a:lnTo>
                    <a:lnTo>
                      <a:pt x="595508" y="1862999"/>
                    </a:lnTo>
                    <a:lnTo>
                      <a:pt x="595508" y="1862999"/>
                    </a:lnTo>
                    <a:lnTo>
                      <a:pt x="623832" y="1994705"/>
                    </a:lnTo>
                    <a:lnTo>
                      <a:pt x="694642" y="2091006"/>
                    </a:lnTo>
                    <a:lnTo>
                      <a:pt x="745625" y="2122162"/>
                    </a:lnTo>
                    <a:lnTo>
                      <a:pt x="730047" y="2209966"/>
                    </a:lnTo>
                    <a:lnTo>
                      <a:pt x="730047" y="2209966"/>
                    </a:lnTo>
                    <a:lnTo>
                      <a:pt x="731463" y="2209966"/>
                    </a:lnTo>
                    <a:lnTo>
                      <a:pt x="761203" y="2129243"/>
                    </a:lnTo>
                    <a:lnTo>
                      <a:pt x="761203" y="2129243"/>
                    </a:lnTo>
                    <a:lnTo>
                      <a:pt x="748457" y="2120746"/>
                    </a:lnTo>
                    <a:lnTo>
                      <a:pt x="756954" y="2076844"/>
                    </a:lnTo>
                    <a:lnTo>
                      <a:pt x="756954" y="2076844"/>
                    </a:lnTo>
                    <a:lnTo>
                      <a:pt x="635162" y="1991873"/>
                    </a:lnTo>
                    <a:lnTo>
                      <a:pt x="605422" y="1862999"/>
                    </a:lnTo>
                    <a:lnTo>
                      <a:pt x="686144" y="1840340"/>
                    </a:lnTo>
                    <a:lnTo>
                      <a:pt x="686144" y="1840340"/>
                    </a:lnTo>
                    <a:lnTo>
                      <a:pt x="613919" y="1768114"/>
                    </a:lnTo>
                    <a:lnTo>
                      <a:pt x="632329" y="1753952"/>
                    </a:lnTo>
                    <a:lnTo>
                      <a:pt x="755538" y="1824762"/>
                    </a:lnTo>
                    <a:lnTo>
                      <a:pt x="680480" y="1834675"/>
                    </a:lnTo>
                    <a:lnTo>
                      <a:pt x="679064" y="1834675"/>
                    </a:lnTo>
                    <a:lnTo>
                      <a:pt x="992042" y="1963549"/>
                    </a:lnTo>
                    <a:lnTo>
                      <a:pt x="992042" y="1963549"/>
                    </a:lnTo>
                    <a:lnTo>
                      <a:pt x="993458" y="1962132"/>
                    </a:lnTo>
                    <a:lnTo>
                      <a:pt x="754122" y="1824762"/>
                    </a:lnTo>
                    <a:lnTo>
                      <a:pt x="843342" y="1810600"/>
                    </a:lnTo>
                    <a:lnTo>
                      <a:pt x="875914" y="1858750"/>
                    </a:lnTo>
                    <a:lnTo>
                      <a:pt x="875914" y="1858750"/>
                    </a:lnTo>
                    <a:lnTo>
                      <a:pt x="1200222" y="1807768"/>
                    </a:lnTo>
                    <a:lnTo>
                      <a:pt x="1200222" y="1807768"/>
                    </a:lnTo>
                    <a:lnTo>
                      <a:pt x="1200222" y="1800687"/>
                    </a:lnTo>
                    <a:lnTo>
                      <a:pt x="1204471" y="1806351"/>
                    </a:lnTo>
                    <a:lnTo>
                      <a:pt x="1204471" y="1806351"/>
                    </a:lnTo>
                    <a:lnTo>
                      <a:pt x="1282361" y="1642073"/>
                    </a:lnTo>
                    <a:lnTo>
                      <a:pt x="1426813" y="1646322"/>
                    </a:lnTo>
                    <a:lnTo>
                      <a:pt x="1455137" y="1660484"/>
                    </a:lnTo>
                    <a:lnTo>
                      <a:pt x="1557102" y="1854502"/>
                    </a:lnTo>
                    <a:lnTo>
                      <a:pt x="1411235" y="1896988"/>
                    </a:lnTo>
                    <a:lnTo>
                      <a:pt x="1409818" y="1896988"/>
                    </a:lnTo>
                    <a:lnTo>
                      <a:pt x="1601004" y="1936641"/>
                    </a:lnTo>
                    <a:lnTo>
                      <a:pt x="1601004" y="1936641"/>
                    </a:lnTo>
                    <a:lnTo>
                      <a:pt x="1558518" y="1855918"/>
                    </a:lnTo>
                    <a:lnTo>
                      <a:pt x="1742623" y="1802103"/>
                    </a:lnTo>
                    <a:lnTo>
                      <a:pt x="2133492" y="1993289"/>
                    </a:lnTo>
                    <a:lnTo>
                      <a:pt x="2049937" y="2452135"/>
                    </a:lnTo>
                    <a:lnTo>
                      <a:pt x="1928145" y="2469129"/>
                    </a:lnTo>
                    <a:lnTo>
                      <a:pt x="1480628" y="2091006"/>
                    </a:lnTo>
                    <a:lnTo>
                      <a:pt x="1480628" y="2091006"/>
                    </a:lnTo>
                    <a:lnTo>
                      <a:pt x="1489125" y="2110833"/>
                    </a:lnTo>
                    <a:lnTo>
                      <a:pt x="1350338" y="2127827"/>
                    </a:lnTo>
                    <a:lnTo>
                      <a:pt x="1331928" y="2051352"/>
                    </a:lnTo>
                    <a:lnTo>
                      <a:pt x="1331928" y="2051352"/>
                    </a:lnTo>
                    <a:lnTo>
                      <a:pt x="1224297" y="2141989"/>
                    </a:lnTo>
                    <a:lnTo>
                      <a:pt x="1215800" y="2143405"/>
                    </a:lnTo>
                    <a:lnTo>
                      <a:pt x="1079846" y="1964965"/>
                    </a:lnTo>
                    <a:lnTo>
                      <a:pt x="1079846" y="1964965"/>
                    </a:lnTo>
                    <a:lnTo>
                      <a:pt x="1123748" y="2231209"/>
                    </a:lnTo>
                    <a:lnTo>
                      <a:pt x="1123748" y="2231209"/>
                    </a:lnTo>
                    <a:lnTo>
                      <a:pt x="1208719" y="2157567"/>
                    </a:lnTo>
                    <a:lnTo>
                      <a:pt x="1295107" y="2249619"/>
                    </a:lnTo>
                    <a:lnTo>
                      <a:pt x="1380078" y="2361498"/>
                    </a:lnTo>
                    <a:lnTo>
                      <a:pt x="1363084" y="2401152"/>
                    </a:lnTo>
                    <a:lnTo>
                      <a:pt x="1329095" y="2411065"/>
                    </a:lnTo>
                    <a:lnTo>
                      <a:pt x="1329095" y="2411065"/>
                    </a:lnTo>
                    <a:lnTo>
                      <a:pt x="1266783" y="2571095"/>
                    </a:lnTo>
                    <a:lnTo>
                      <a:pt x="1266783" y="2571095"/>
                    </a:lnTo>
                    <a:lnTo>
                      <a:pt x="1469299" y="2735373"/>
                    </a:lnTo>
                    <a:lnTo>
                      <a:pt x="1438142" y="2779275"/>
                    </a:lnTo>
                    <a:lnTo>
                      <a:pt x="1438142" y="2779275"/>
                    </a:lnTo>
                    <a:lnTo>
                      <a:pt x="1547189" y="2799101"/>
                    </a:lnTo>
                    <a:lnTo>
                      <a:pt x="1644906" y="2878408"/>
                    </a:lnTo>
                    <a:lnTo>
                      <a:pt x="1644906" y="2878408"/>
                    </a:lnTo>
                    <a:lnTo>
                      <a:pt x="1701554" y="2876992"/>
                    </a:lnTo>
                    <a:lnTo>
                      <a:pt x="1693057" y="2986038"/>
                    </a:lnTo>
                    <a:lnTo>
                      <a:pt x="1520281" y="3005865"/>
                    </a:lnTo>
                    <a:lnTo>
                      <a:pt x="1520281" y="3005865"/>
                    </a:lnTo>
                    <a:lnTo>
                      <a:pt x="1520281" y="3007281"/>
                    </a:lnTo>
                    <a:lnTo>
                      <a:pt x="1520281" y="3007281"/>
                    </a:lnTo>
                    <a:lnTo>
                      <a:pt x="1690224" y="3018611"/>
                    </a:lnTo>
                    <a:lnTo>
                      <a:pt x="1678895" y="3151733"/>
                    </a:lnTo>
                    <a:lnTo>
                      <a:pt x="1678895" y="3151733"/>
                    </a:lnTo>
                    <a:lnTo>
                      <a:pt x="1888491" y="3028524"/>
                    </a:lnTo>
                    <a:lnTo>
                      <a:pt x="1888491" y="3028524"/>
                    </a:lnTo>
                    <a:lnTo>
                      <a:pt x="1691640" y="3015778"/>
                    </a:lnTo>
                    <a:lnTo>
                      <a:pt x="1694473" y="2987455"/>
                    </a:lnTo>
                    <a:lnTo>
                      <a:pt x="1844589" y="2970460"/>
                    </a:lnTo>
                    <a:lnTo>
                      <a:pt x="1887075" y="3027108"/>
                    </a:lnTo>
                    <a:lnTo>
                      <a:pt x="1887075" y="3027108"/>
                    </a:lnTo>
                    <a:lnTo>
                      <a:pt x="1888491" y="3025692"/>
                    </a:lnTo>
                    <a:lnTo>
                      <a:pt x="1863000" y="2967628"/>
                    </a:lnTo>
                    <a:lnTo>
                      <a:pt x="2001786" y="2952050"/>
                    </a:lnTo>
                    <a:lnTo>
                      <a:pt x="2001786" y="2952050"/>
                    </a:lnTo>
                    <a:lnTo>
                      <a:pt x="1964966" y="2801934"/>
                    </a:lnTo>
                    <a:lnTo>
                      <a:pt x="2055602" y="2831674"/>
                    </a:lnTo>
                    <a:lnTo>
                      <a:pt x="2057018" y="2831674"/>
                    </a:lnTo>
                    <a:lnTo>
                      <a:pt x="1940890" y="2712714"/>
                    </a:lnTo>
                    <a:lnTo>
                      <a:pt x="1940890" y="2712714"/>
                    </a:lnTo>
                    <a:lnTo>
                      <a:pt x="1962133" y="2799101"/>
                    </a:lnTo>
                    <a:lnTo>
                      <a:pt x="1759618" y="2732540"/>
                    </a:lnTo>
                    <a:lnTo>
                      <a:pt x="1489125" y="2112249"/>
                    </a:lnTo>
                    <a:lnTo>
                      <a:pt x="1490541" y="2112249"/>
                    </a:lnTo>
                    <a:lnTo>
                      <a:pt x="1707219" y="2500285"/>
                    </a:lnTo>
                    <a:lnTo>
                      <a:pt x="1707219" y="2500285"/>
                    </a:lnTo>
                    <a:lnTo>
                      <a:pt x="1925312" y="2470545"/>
                    </a:lnTo>
                    <a:lnTo>
                      <a:pt x="1938058" y="2481874"/>
                    </a:lnTo>
                    <a:lnTo>
                      <a:pt x="1782277" y="2508782"/>
                    </a:lnTo>
                    <a:lnTo>
                      <a:pt x="1782277" y="2508782"/>
                    </a:lnTo>
                    <a:lnTo>
                      <a:pt x="2018781" y="2614997"/>
                    </a:lnTo>
                    <a:lnTo>
                      <a:pt x="2008867" y="2671644"/>
                    </a:lnTo>
                    <a:lnTo>
                      <a:pt x="2042856" y="2624910"/>
                    </a:lnTo>
                    <a:lnTo>
                      <a:pt x="2195805" y="2694303"/>
                    </a:lnTo>
                    <a:lnTo>
                      <a:pt x="2197221" y="2694303"/>
                    </a:lnTo>
                    <a:lnTo>
                      <a:pt x="2069764" y="2586673"/>
                    </a:lnTo>
                    <a:lnTo>
                      <a:pt x="2177394" y="2440805"/>
                    </a:lnTo>
                    <a:lnTo>
                      <a:pt x="2188724" y="2439389"/>
                    </a:lnTo>
                    <a:lnTo>
                      <a:pt x="2344505" y="2803350"/>
                    </a:lnTo>
                    <a:lnTo>
                      <a:pt x="2344505" y="2803350"/>
                    </a:lnTo>
                    <a:lnTo>
                      <a:pt x="2394071" y="2579592"/>
                    </a:lnTo>
                    <a:lnTo>
                      <a:pt x="2447887" y="2617829"/>
                    </a:lnTo>
                    <a:lnTo>
                      <a:pt x="2630576" y="2942136"/>
                    </a:lnTo>
                    <a:lnTo>
                      <a:pt x="2613581" y="2998784"/>
                    </a:lnTo>
                    <a:lnTo>
                      <a:pt x="2498870" y="3055432"/>
                    </a:lnTo>
                    <a:lnTo>
                      <a:pt x="2498870" y="3055432"/>
                    </a:lnTo>
                    <a:lnTo>
                      <a:pt x="2576761" y="3116328"/>
                    </a:lnTo>
                    <a:lnTo>
                      <a:pt x="2532858" y="3257947"/>
                    </a:lnTo>
                    <a:lnTo>
                      <a:pt x="2532858" y="3257947"/>
                    </a:lnTo>
                    <a:lnTo>
                      <a:pt x="2656067" y="3174392"/>
                    </a:lnTo>
                    <a:lnTo>
                      <a:pt x="2656067" y="3174392"/>
                    </a:lnTo>
                    <a:lnTo>
                      <a:pt x="2579592" y="3114912"/>
                    </a:lnTo>
                    <a:lnTo>
                      <a:pt x="2614997" y="3000200"/>
                    </a:lnTo>
                    <a:lnTo>
                      <a:pt x="2653234" y="2981790"/>
                    </a:lnTo>
                    <a:lnTo>
                      <a:pt x="2665980" y="3003033"/>
                    </a:lnTo>
                    <a:lnTo>
                      <a:pt x="2657483" y="3405231"/>
                    </a:lnTo>
                    <a:lnTo>
                      <a:pt x="2657483" y="3405231"/>
                    </a:lnTo>
                    <a:lnTo>
                      <a:pt x="2658899" y="3405231"/>
                    </a:lnTo>
                    <a:lnTo>
                      <a:pt x="2658899" y="3405231"/>
                    </a:lnTo>
                    <a:lnTo>
                      <a:pt x="2695720" y="3051183"/>
                    </a:lnTo>
                    <a:lnTo>
                      <a:pt x="2695720" y="3051183"/>
                    </a:lnTo>
                    <a:lnTo>
                      <a:pt x="2668813" y="3001616"/>
                    </a:lnTo>
                    <a:lnTo>
                      <a:pt x="2668813" y="2973293"/>
                    </a:lnTo>
                    <a:lnTo>
                      <a:pt x="2837339" y="2888321"/>
                    </a:lnTo>
                    <a:lnTo>
                      <a:pt x="2837339" y="2888321"/>
                    </a:lnTo>
                    <a:lnTo>
                      <a:pt x="2631991" y="2742454"/>
                    </a:lnTo>
                    <a:lnTo>
                      <a:pt x="2579592" y="2668812"/>
                    </a:lnTo>
                    <a:lnTo>
                      <a:pt x="2792021" y="2728292"/>
                    </a:lnTo>
                    <a:lnTo>
                      <a:pt x="2843004" y="2874159"/>
                    </a:lnTo>
                    <a:lnTo>
                      <a:pt x="2843004" y="2874159"/>
                    </a:lnTo>
                    <a:lnTo>
                      <a:pt x="2919478" y="2790604"/>
                    </a:lnTo>
                    <a:lnTo>
                      <a:pt x="3184306" y="2991703"/>
                    </a:lnTo>
                    <a:lnTo>
                      <a:pt x="3184306" y="2991703"/>
                    </a:lnTo>
                    <a:lnTo>
                      <a:pt x="3197052" y="2980374"/>
                    </a:lnTo>
                    <a:lnTo>
                      <a:pt x="3204133" y="2997368"/>
                    </a:lnTo>
                    <a:lnTo>
                      <a:pt x="3191387" y="3004449"/>
                    </a:lnTo>
                    <a:lnTo>
                      <a:pt x="3191387" y="3004449"/>
                    </a:lnTo>
                    <a:lnTo>
                      <a:pt x="3212630" y="3017195"/>
                    </a:lnTo>
                    <a:lnTo>
                      <a:pt x="3270694" y="3144652"/>
                    </a:lnTo>
                    <a:lnTo>
                      <a:pt x="3270694" y="3144652"/>
                    </a:lnTo>
                    <a:lnTo>
                      <a:pt x="3376909" y="3140403"/>
                    </a:lnTo>
                    <a:lnTo>
                      <a:pt x="3396735" y="3242369"/>
                    </a:lnTo>
                    <a:lnTo>
                      <a:pt x="3396735" y="3242369"/>
                    </a:lnTo>
                    <a:lnTo>
                      <a:pt x="3480290" y="3165895"/>
                    </a:lnTo>
                    <a:lnTo>
                      <a:pt x="3553933" y="3206964"/>
                    </a:lnTo>
                    <a:lnTo>
                      <a:pt x="3430724" y="3306097"/>
                    </a:lnTo>
                    <a:lnTo>
                      <a:pt x="3277775" y="3231040"/>
                    </a:lnTo>
                    <a:lnTo>
                      <a:pt x="3277775" y="3231040"/>
                    </a:lnTo>
                    <a:lnTo>
                      <a:pt x="3248035" y="3364161"/>
                    </a:lnTo>
                    <a:lnTo>
                      <a:pt x="3248035" y="3364161"/>
                    </a:lnTo>
                    <a:lnTo>
                      <a:pt x="3311763" y="3500116"/>
                    </a:lnTo>
                    <a:lnTo>
                      <a:pt x="3154566" y="3464711"/>
                    </a:lnTo>
                    <a:lnTo>
                      <a:pt x="3153150" y="3464711"/>
                    </a:lnTo>
                    <a:lnTo>
                      <a:pt x="3257948" y="3525607"/>
                    </a:lnTo>
                    <a:lnTo>
                      <a:pt x="3226792" y="3538353"/>
                    </a:lnTo>
                    <a:lnTo>
                      <a:pt x="3226792" y="3538353"/>
                    </a:lnTo>
                    <a:lnTo>
                      <a:pt x="3357082" y="3718209"/>
                    </a:lnTo>
                    <a:lnTo>
                      <a:pt x="3357082" y="3718209"/>
                    </a:lnTo>
                    <a:lnTo>
                      <a:pt x="3358497" y="3510029"/>
                    </a:lnTo>
                    <a:lnTo>
                      <a:pt x="3358497" y="3510029"/>
                    </a:lnTo>
                    <a:lnTo>
                      <a:pt x="3320261" y="3501532"/>
                    </a:lnTo>
                    <a:lnTo>
                      <a:pt x="3372659" y="3480289"/>
                    </a:lnTo>
                    <a:lnTo>
                      <a:pt x="3386821" y="3749365"/>
                    </a:lnTo>
                    <a:lnTo>
                      <a:pt x="3265029" y="3660145"/>
                    </a:lnTo>
                    <a:lnTo>
                      <a:pt x="3263613" y="3660145"/>
                    </a:lnTo>
                    <a:lnTo>
                      <a:pt x="3337255" y="3781938"/>
                    </a:lnTo>
                    <a:lnTo>
                      <a:pt x="3300434" y="3763527"/>
                    </a:lnTo>
                    <a:lnTo>
                      <a:pt x="3300434" y="3763527"/>
                    </a:lnTo>
                    <a:lnTo>
                      <a:pt x="3299018" y="3764943"/>
                    </a:lnTo>
                    <a:lnTo>
                      <a:pt x="3351416" y="3806013"/>
                    </a:lnTo>
                    <a:lnTo>
                      <a:pt x="3393902" y="3875406"/>
                    </a:lnTo>
                    <a:lnTo>
                      <a:pt x="3393902" y="3876823"/>
                    </a:lnTo>
                    <a:lnTo>
                      <a:pt x="3392486" y="3838585"/>
                    </a:lnTo>
                    <a:lnTo>
                      <a:pt x="3555348" y="3964626"/>
                    </a:lnTo>
                    <a:lnTo>
                      <a:pt x="3555348" y="3964626"/>
                    </a:lnTo>
                    <a:lnTo>
                      <a:pt x="3570926" y="3905146"/>
                    </a:lnTo>
                    <a:lnTo>
                      <a:pt x="3637487" y="3939135"/>
                    </a:lnTo>
                    <a:lnTo>
                      <a:pt x="3637487" y="3939135"/>
                    </a:lnTo>
                    <a:lnTo>
                      <a:pt x="3638904" y="3937719"/>
                    </a:lnTo>
                    <a:lnTo>
                      <a:pt x="3638904" y="3937719"/>
                    </a:lnTo>
                    <a:lnTo>
                      <a:pt x="3575175" y="3890985"/>
                    </a:lnTo>
                    <a:lnTo>
                      <a:pt x="3647401" y="3619076"/>
                    </a:lnTo>
                    <a:lnTo>
                      <a:pt x="3772026" y="3688469"/>
                    </a:lnTo>
                    <a:lnTo>
                      <a:pt x="3772026" y="3688469"/>
                    </a:lnTo>
                    <a:lnTo>
                      <a:pt x="3783355" y="3453381"/>
                    </a:lnTo>
                    <a:lnTo>
                      <a:pt x="3896650" y="3772024"/>
                    </a:lnTo>
                    <a:lnTo>
                      <a:pt x="3756448" y="3759279"/>
                    </a:lnTo>
                    <a:lnTo>
                      <a:pt x="3781939" y="3691302"/>
                    </a:lnTo>
                    <a:lnTo>
                      <a:pt x="3781939" y="3691302"/>
                    </a:lnTo>
                    <a:lnTo>
                      <a:pt x="3660147" y="3753614"/>
                    </a:lnTo>
                    <a:lnTo>
                      <a:pt x="3660147" y="3753614"/>
                    </a:lnTo>
                    <a:lnTo>
                      <a:pt x="3755031" y="3762111"/>
                    </a:lnTo>
                    <a:lnTo>
                      <a:pt x="3739453" y="3803181"/>
                    </a:lnTo>
                    <a:lnTo>
                      <a:pt x="3739453" y="3803181"/>
                    </a:lnTo>
                    <a:lnTo>
                      <a:pt x="3929223" y="3837169"/>
                    </a:lnTo>
                    <a:lnTo>
                      <a:pt x="3929223" y="3837169"/>
                    </a:lnTo>
                    <a:lnTo>
                      <a:pt x="4247866" y="3749365"/>
                    </a:lnTo>
                    <a:lnTo>
                      <a:pt x="4379572" y="3804597"/>
                    </a:lnTo>
                    <a:lnTo>
                      <a:pt x="4352664" y="3815926"/>
                    </a:lnTo>
                    <a:lnTo>
                      <a:pt x="4424890" y="3823007"/>
                    </a:lnTo>
                    <a:lnTo>
                      <a:pt x="4464544" y="3840002"/>
                    </a:lnTo>
                    <a:lnTo>
                      <a:pt x="4471625" y="3848499"/>
                    </a:lnTo>
                    <a:lnTo>
                      <a:pt x="4348416" y="3838585"/>
                    </a:lnTo>
                    <a:lnTo>
                      <a:pt x="4347000" y="3838585"/>
                    </a:lnTo>
                    <a:lnTo>
                      <a:pt x="4516943" y="3902314"/>
                    </a:lnTo>
                    <a:lnTo>
                      <a:pt x="4536769" y="3924973"/>
                    </a:lnTo>
                    <a:lnTo>
                      <a:pt x="4440468" y="3967459"/>
                    </a:lnTo>
                    <a:lnTo>
                      <a:pt x="4440468" y="3967459"/>
                    </a:lnTo>
                    <a:lnTo>
                      <a:pt x="4586336" y="3995783"/>
                    </a:lnTo>
                    <a:lnTo>
                      <a:pt x="4586336" y="3995783"/>
                    </a:lnTo>
                    <a:lnTo>
                      <a:pt x="4709544" y="3971707"/>
                    </a:lnTo>
                    <a:lnTo>
                      <a:pt x="4710960" y="3971707"/>
                    </a:lnTo>
                    <a:lnTo>
                      <a:pt x="4519775" y="3899481"/>
                    </a:lnTo>
                    <a:lnTo>
                      <a:pt x="4477289" y="3849915"/>
                    </a:lnTo>
                    <a:lnTo>
                      <a:pt x="4501364" y="3851331"/>
                    </a:lnTo>
                    <a:lnTo>
                      <a:pt x="4467376" y="3837169"/>
                    </a:lnTo>
                    <a:lnTo>
                      <a:pt x="4457463" y="3825840"/>
                    </a:lnTo>
                    <a:lnTo>
                      <a:pt x="4841250" y="3862661"/>
                    </a:lnTo>
                    <a:lnTo>
                      <a:pt x="4987118" y="3964626"/>
                    </a:lnTo>
                    <a:lnTo>
                      <a:pt x="5087668" y="4029771"/>
                    </a:lnTo>
                    <a:lnTo>
                      <a:pt x="5087668" y="4029771"/>
                    </a:lnTo>
                    <a:lnTo>
                      <a:pt x="5089084" y="4028355"/>
                    </a:lnTo>
                    <a:lnTo>
                      <a:pt x="4985702" y="3958962"/>
                    </a:lnTo>
                    <a:lnTo>
                      <a:pt x="4839834" y="3856996"/>
                    </a:lnTo>
                    <a:lnTo>
                      <a:pt x="4453214" y="3820175"/>
                    </a:lnTo>
                    <a:lnTo>
                      <a:pt x="4422058" y="3783354"/>
                    </a:lnTo>
                    <a:lnTo>
                      <a:pt x="4422058" y="3783354"/>
                    </a:lnTo>
                    <a:lnTo>
                      <a:pt x="4382405" y="3800348"/>
                    </a:lnTo>
                    <a:lnTo>
                      <a:pt x="4247866" y="3745117"/>
                    </a:lnTo>
                    <a:lnTo>
                      <a:pt x="4247866" y="3745117"/>
                    </a:lnTo>
                    <a:lnTo>
                      <a:pt x="3929223" y="3832921"/>
                    </a:lnTo>
                    <a:lnTo>
                      <a:pt x="3742286" y="3800348"/>
                    </a:lnTo>
                    <a:lnTo>
                      <a:pt x="3756448" y="3760695"/>
                    </a:lnTo>
                    <a:lnTo>
                      <a:pt x="3899483" y="3773440"/>
                    </a:lnTo>
                    <a:lnTo>
                      <a:pt x="3899483" y="3773440"/>
                    </a:lnTo>
                    <a:lnTo>
                      <a:pt x="3781939" y="3442052"/>
                    </a:lnTo>
                    <a:lnTo>
                      <a:pt x="3781939" y="3440636"/>
                    </a:lnTo>
                    <a:lnTo>
                      <a:pt x="3770610" y="3682804"/>
                    </a:lnTo>
                    <a:lnTo>
                      <a:pt x="3647401" y="3614827"/>
                    </a:lnTo>
                    <a:lnTo>
                      <a:pt x="3647401" y="3614827"/>
                    </a:lnTo>
                    <a:lnTo>
                      <a:pt x="3575175" y="3888152"/>
                    </a:lnTo>
                    <a:lnTo>
                      <a:pt x="3389654" y="3752198"/>
                    </a:lnTo>
                    <a:lnTo>
                      <a:pt x="3375492" y="3478873"/>
                    </a:lnTo>
                    <a:lnTo>
                      <a:pt x="3375492" y="3478873"/>
                    </a:lnTo>
                    <a:lnTo>
                      <a:pt x="3318844" y="3502948"/>
                    </a:lnTo>
                    <a:lnTo>
                      <a:pt x="3317428" y="3502948"/>
                    </a:lnTo>
                    <a:lnTo>
                      <a:pt x="3252283" y="3366994"/>
                    </a:lnTo>
                    <a:lnTo>
                      <a:pt x="3280607" y="3236704"/>
                    </a:lnTo>
                    <a:lnTo>
                      <a:pt x="3432140" y="3310346"/>
                    </a:lnTo>
                    <a:lnTo>
                      <a:pt x="3432140" y="3310346"/>
                    </a:lnTo>
                    <a:lnTo>
                      <a:pt x="3558181" y="3209797"/>
                    </a:lnTo>
                    <a:lnTo>
                      <a:pt x="3558181" y="3209797"/>
                    </a:lnTo>
                    <a:lnTo>
                      <a:pt x="3483123" y="3167311"/>
                    </a:lnTo>
                    <a:lnTo>
                      <a:pt x="3517111" y="3136155"/>
                    </a:lnTo>
                    <a:lnTo>
                      <a:pt x="3432140" y="3138987"/>
                    </a:lnTo>
                    <a:lnTo>
                      <a:pt x="3372659" y="3106415"/>
                    </a:lnTo>
                    <a:lnTo>
                      <a:pt x="3342920" y="2954882"/>
                    </a:lnTo>
                    <a:lnTo>
                      <a:pt x="3450550" y="3005865"/>
                    </a:lnTo>
                    <a:lnTo>
                      <a:pt x="3450550" y="3005865"/>
                    </a:lnTo>
                    <a:lnTo>
                      <a:pt x="3434972" y="2888321"/>
                    </a:lnTo>
                    <a:lnTo>
                      <a:pt x="3696968" y="2756616"/>
                    </a:lnTo>
                    <a:lnTo>
                      <a:pt x="3696968" y="2756616"/>
                    </a:lnTo>
                    <a:lnTo>
                      <a:pt x="3621910" y="2718378"/>
                    </a:lnTo>
                    <a:lnTo>
                      <a:pt x="3779106" y="2347336"/>
                    </a:lnTo>
                    <a:lnTo>
                      <a:pt x="3779106" y="2347336"/>
                    </a:lnTo>
                    <a:lnTo>
                      <a:pt x="3745118" y="2072595"/>
                    </a:lnTo>
                    <a:lnTo>
                      <a:pt x="3823009" y="2102335"/>
                    </a:lnTo>
                    <a:lnTo>
                      <a:pt x="3823009" y="2102335"/>
                    </a:lnTo>
                    <a:lnTo>
                      <a:pt x="3865495" y="1969213"/>
                    </a:lnTo>
                    <a:lnTo>
                      <a:pt x="4045350" y="2074011"/>
                    </a:lnTo>
                    <a:lnTo>
                      <a:pt x="4046767" y="2074011"/>
                    </a:lnTo>
                    <a:lnTo>
                      <a:pt x="3889569" y="1891323"/>
                    </a:lnTo>
                    <a:lnTo>
                      <a:pt x="3933472" y="1752536"/>
                    </a:lnTo>
                    <a:lnTo>
                      <a:pt x="4086420" y="1710050"/>
                    </a:lnTo>
                    <a:lnTo>
                      <a:pt x="4235120" y="1786525"/>
                    </a:lnTo>
                    <a:lnTo>
                      <a:pt x="4195467" y="1974878"/>
                    </a:lnTo>
                    <a:lnTo>
                      <a:pt x="4195467" y="1974878"/>
                    </a:lnTo>
                    <a:lnTo>
                      <a:pt x="4390901" y="1862999"/>
                    </a:lnTo>
                    <a:lnTo>
                      <a:pt x="4390901" y="1862999"/>
                    </a:lnTo>
                    <a:lnTo>
                      <a:pt x="4243617" y="1786525"/>
                    </a:lnTo>
                    <a:lnTo>
                      <a:pt x="4270525" y="1661900"/>
                    </a:lnTo>
                    <a:lnTo>
                      <a:pt x="4407896" y="1625079"/>
                    </a:lnTo>
                    <a:lnTo>
                      <a:pt x="4407896" y="1625079"/>
                    </a:lnTo>
                    <a:lnTo>
                      <a:pt x="4274774" y="1354587"/>
                    </a:lnTo>
                    <a:lnTo>
                      <a:pt x="4480121" y="1273864"/>
                    </a:lnTo>
                    <a:lnTo>
                      <a:pt x="4480121" y="1273864"/>
                    </a:lnTo>
                    <a:lnTo>
                      <a:pt x="4478705" y="1261118"/>
                    </a:lnTo>
                    <a:lnTo>
                      <a:pt x="4777522" y="1191725"/>
                    </a:lnTo>
                    <a:lnTo>
                      <a:pt x="4984286" y="970799"/>
                    </a:lnTo>
                    <a:lnTo>
                      <a:pt x="5267524" y="1129412"/>
                    </a:lnTo>
                    <a:lnTo>
                      <a:pt x="5149980" y="1232794"/>
                    </a:lnTo>
                    <a:lnTo>
                      <a:pt x="5040934" y="1307852"/>
                    </a:lnTo>
                    <a:lnTo>
                      <a:pt x="5040934" y="1307852"/>
                    </a:lnTo>
                    <a:lnTo>
                      <a:pt x="5113159" y="1416899"/>
                    </a:lnTo>
                    <a:lnTo>
                      <a:pt x="5021107" y="1585426"/>
                    </a:lnTo>
                    <a:lnTo>
                      <a:pt x="4934719" y="1693056"/>
                    </a:lnTo>
                    <a:lnTo>
                      <a:pt x="4844083" y="1821930"/>
                    </a:lnTo>
                    <a:lnTo>
                      <a:pt x="4784602" y="1879993"/>
                    </a:lnTo>
                    <a:lnTo>
                      <a:pt x="4784602" y="1879993"/>
                    </a:lnTo>
                    <a:lnTo>
                      <a:pt x="4786019" y="1881410"/>
                    </a:lnTo>
                    <a:lnTo>
                      <a:pt x="4786019" y="1881410"/>
                    </a:lnTo>
                    <a:lnTo>
                      <a:pt x="4845499" y="1823346"/>
                    </a:lnTo>
                    <a:lnTo>
                      <a:pt x="4937551" y="1693056"/>
                    </a:lnTo>
                    <a:lnTo>
                      <a:pt x="5023939" y="1585426"/>
                    </a:lnTo>
                    <a:lnTo>
                      <a:pt x="5115992" y="1416899"/>
                    </a:lnTo>
                    <a:lnTo>
                      <a:pt x="5115992" y="1416899"/>
                    </a:lnTo>
                    <a:lnTo>
                      <a:pt x="5045182" y="1309268"/>
                    </a:lnTo>
                    <a:lnTo>
                      <a:pt x="5152812" y="1235626"/>
                    </a:lnTo>
                    <a:lnTo>
                      <a:pt x="5271773" y="1130828"/>
                    </a:lnTo>
                    <a:lnTo>
                      <a:pt x="5271773" y="1130828"/>
                    </a:lnTo>
                    <a:lnTo>
                      <a:pt x="4984286" y="969383"/>
                    </a:lnTo>
                    <a:lnTo>
                      <a:pt x="4984286" y="969383"/>
                    </a:lnTo>
                    <a:lnTo>
                      <a:pt x="4776106" y="1188892"/>
                    </a:lnTo>
                    <a:lnTo>
                      <a:pt x="4477289" y="1258286"/>
                    </a:lnTo>
                    <a:lnTo>
                      <a:pt x="4458878" y="1115250"/>
                    </a:lnTo>
                    <a:lnTo>
                      <a:pt x="4542434" y="980712"/>
                    </a:lnTo>
                    <a:lnTo>
                      <a:pt x="4618908" y="956637"/>
                    </a:lnTo>
                    <a:lnTo>
                      <a:pt x="4771857" y="1108169"/>
                    </a:lnTo>
                    <a:lnTo>
                      <a:pt x="4771857" y="1108169"/>
                    </a:lnTo>
                    <a:lnTo>
                      <a:pt x="5084835" y="892908"/>
                    </a:lnTo>
                    <a:lnTo>
                      <a:pt x="5264692" y="993458"/>
                    </a:lnTo>
                    <a:lnTo>
                      <a:pt x="5264692" y="993458"/>
                    </a:lnTo>
                    <a:lnTo>
                      <a:pt x="5271773" y="982128"/>
                    </a:lnTo>
                    <a:lnTo>
                      <a:pt x="5355327" y="1030279"/>
                    </a:lnTo>
                    <a:lnTo>
                      <a:pt x="5277437" y="1147823"/>
                    </a:lnTo>
                    <a:lnTo>
                      <a:pt x="5277437" y="1149239"/>
                    </a:lnTo>
                    <a:lnTo>
                      <a:pt x="5404894" y="1057186"/>
                    </a:lnTo>
                    <a:lnTo>
                      <a:pt x="5404894" y="1057186"/>
                    </a:lnTo>
                    <a:lnTo>
                      <a:pt x="5358160" y="1030279"/>
                    </a:lnTo>
                    <a:lnTo>
                      <a:pt x="5411975" y="949556"/>
                    </a:lnTo>
                    <a:lnTo>
                      <a:pt x="5489866" y="1043025"/>
                    </a:lnTo>
                    <a:lnTo>
                      <a:pt x="5489866" y="1043025"/>
                    </a:lnTo>
                    <a:lnTo>
                      <a:pt x="5706544" y="803688"/>
                    </a:lnTo>
                    <a:lnTo>
                      <a:pt x="5804260" y="929729"/>
                    </a:lnTo>
                    <a:lnTo>
                      <a:pt x="5804260" y="929729"/>
                    </a:lnTo>
                    <a:lnTo>
                      <a:pt x="5805677" y="928313"/>
                    </a:lnTo>
                    <a:lnTo>
                      <a:pt x="5805677" y="928313"/>
                    </a:lnTo>
                    <a:lnTo>
                      <a:pt x="5707959" y="799440"/>
                    </a:lnTo>
                    <a:close/>
                    <a:moveTo>
                      <a:pt x="3376909" y="3106415"/>
                    </a:moveTo>
                    <a:lnTo>
                      <a:pt x="3432140" y="3137571"/>
                    </a:lnTo>
                    <a:lnTo>
                      <a:pt x="3383990" y="3138987"/>
                    </a:lnTo>
                    <a:lnTo>
                      <a:pt x="3376909" y="3106415"/>
                    </a:lnTo>
                    <a:close/>
                    <a:moveTo>
                      <a:pt x="3402400" y="3239537"/>
                    </a:moveTo>
                    <a:lnTo>
                      <a:pt x="3382573" y="3141819"/>
                    </a:lnTo>
                    <a:lnTo>
                      <a:pt x="3434972" y="3140403"/>
                    </a:lnTo>
                    <a:lnTo>
                      <a:pt x="3483123" y="3167311"/>
                    </a:lnTo>
                    <a:lnTo>
                      <a:pt x="3402400" y="3239537"/>
                    </a:lnTo>
                    <a:close/>
                    <a:moveTo>
                      <a:pt x="3439221" y="3138987"/>
                    </a:moveTo>
                    <a:lnTo>
                      <a:pt x="3514279" y="3136155"/>
                    </a:lnTo>
                    <a:lnTo>
                      <a:pt x="3483123" y="3164478"/>
                    </a:lnTo>
                    <a:lnTo>
                      <a:pt x="3439221" y="3138987"/>
                    </a:lnTo>
                    <a:close/>
                    <a:moveTo>
                      <a:pt x="2505951" y="3059680"/>
                    </a:moveTo>
                    <a:lnTo>
                      <a:pt x="2614997" y="3004449"/>
                    </a:lnTo>
                    <a:lnTo>
                      <a:pt x="2579592" y="3117744"/>
                    </a:lnTo>
                    <a:lnTo>
                      <a:pt x="2505951" y="3059680"/>
                    </a:lnTo>
                    <a:close/>
                    <a:moveTo>
                      <a:pt x="2539939" y="3255115"/>
                    </a:moveTo>
                    <a:lnTo>
                      <a:pt x="2581009" y="3119160"/>
                    </a:lnTo>
                    <a:lnTo>
                      <a:pt x="2654651" y="3175808"/>
                    </a:lnTo>
                    <a:lnTo>
                      <a:pt x="2539939" y="3255115"/>
                    </a:lnTo>
                    <a:close/>
                    <a:moveTo>
                      <a:pt x="1928145" y="2469129"/>
                    </a:moveTo>
                    <a:lnTo>
                      <a:pt x="1712883" y="2498869"/>
                    </a:lnTo>
                    <a:lnTo>
                      <a:pt x="1496206" y="2110833"/>
                    </a:lnTo>
                    <a:lnTo>
                      <a:pt x="1496206" y="2110833"/>
                    </a:lnTo>
                    <a:lnTo>
                      <a:pt x="1493374" y="2110833"/>
                    </a:lnTo>
                    <a:lnTo>
                      <a:pt x="1487709" y="2098087"/>
                    </a:lnTo>
                    <a:lnTo>
                      <a:pt x="1928145" y="2469129"/>
                    </a:lnTo>
                    <a:close/>
                    <a:moveTo>
                      <a:pt x="1928145" y="2865662"/>
                    </a:moveTo>
                    <a:lnTo>
                      <a:pt x="1824762" y="2869911"/>
                    </a:lnTo>
                    <a:lnTo>
                      <a:pt x="1814849" y="2845835"/>
                    </a:lnTo>
                    <a:lnTo>
                      <a:pt x="1928145" y="2865662"/>
                    </a:lnTo>
                    <a:close/>
                    <a:moveTo>
                      <a:pt x="1867248" y="2966212"/>
                    </a:moveTo>
                    <a:lnTo>
                      <a:pt x="1826179" y="2871327"/>
                    </a:lnTo>
                    <a:lnTo>
                      <a:pt x="1939474" y="2867078"/>
                    </a:lnTo>
                    <a:lnTo>
                      <a:pt x="1939474" y="2867078"/>
                    </a:lnTo>
                    <a:lnTo>
                      <a:pt x="1939474" y="2865662"/>
                    </a:lnTo>
                    <a:lnTo>
                      <a:pt x="1813433" y="2843003"/>
                    </a:lnTo>
                    <a:lnTo>
                      <a:pt x="1766699" y="2735373"/>
                    </a:lnTo>
                    <a:lnTo>
                      <a:pt x="1969214" y="2801934"/>
                    </a:lnTo>
                    <a:lnTo>
                      <a:pt x="2006035" y="2950634"/>
                    </a:lnTo>
                    <a:lnTo>
                      <a:pt x="1867248" y="2966212"/>
                    </a:lnTo>
                    <a:close/>
                    <a:moveTo>
                      <a:pt x="1745456" y="2833090"/>
                    </a:moveTo>
                    <a:lnTo>
                      <a:pt x="1812017" y="2844419"/>
                    </a:lnTo>
                    <a:lnTo>
                      <a:pt x="1823346" y="2868495"/>
                    </a:lnTo>
                    <a:lnTo>
                      <a:pt x="1775196" y="2869911"/>
                    </a:lnTo>
                    <a:lnTo>
                      <a:pt x="1745456" y="2833090"/>
                    </a:lnTo>
                    <a:close/>
                    <a:moveTo>
                      <a:pt x="1708635" y="2827425"/>
                    </a:moveTo>
                    <a:lnTo>
                      <a:pt x="1704386" y="2874159"/>
                    </a:lnTo>
                    <a:lnTo>
                      <a:pt x="1649155" y="2875576"/>
                    </a:lnTo>
                    <a:lnTo>
                      <a:pt x="1554270" y="2799101"/>
                    </a:lnTo>
                    <a:lnTo>
                      <a:pt x="1708635" y="2827425"/>
                    </a:lnTo>
                    <a:close/>
                    <a:moveTo>
                      <a:pt x="1405570" y="2392654"/>
                    </a:moveTo>
                    <a:lnTo>
                      <a:pt x="1439559" y="2437973"/>
                    </a:lnTo>
                    <a:lnTo>
                      <a:pt x="1303604" y="2547019"/>
                    </a:lnTo>
                    <a:lnTo>
                      <a:pt x="1365916" y="2402568"/>
                    </a:lnTo>
                    <a:lnTo>
                      <a:pt x="1405570" y="2392654"/>
                    </a:lnTo>
                    <a:close/>
                    <a:moveTo>
                      <a:pt x="1299356" y="2249619"/>
                    </a:moveTo>
                    <a:lnTo>
                      <a:pt x="1222881" y="2149070"/>
                    </a:lnTo>
                    <a:lnTo>
                      <a:pt x="1228546" y="2144821"/>
                    </a:lnTo>
                    <a:lnTo>
                      <a:pt x="1351754" y="2130659"/>
                    </a:lnTo>
                    <a:lnTo>
                      <a:pt x="1387159" y="2272278"/>
                    </a:lnTo>
                    <a:lnTo>
                      <a:pt x="1387159" y="2272278"/>
                    </a:lnTo>
                    <a:lnTo>
                      <a:pt x="1480628" y="2137740"/>
                    </a:lnTo>
                    <a:lnTo>
                      <a:pt x="1389992" y="2345920"/>
                    </a:lnTo>
                    <a:lnTo>
                      <a:pt x="1299356" y="2249619"/>
                    </a:lnTo>
                    <a:close/>
                    <a:moveTo>
                      <a:pt x="1296523" y="2565430"/>
                    </a:moveTo>
                    <a:lnTo>
                      <a:pt x="1303604" y="2551268"/>
                    </a:lnTo>
                    <a:lnTo>
                      <a:pt x="1442391" y="2439389"/>
                    </a:lnTo>
                    <a:lnTo>
                      <a:pt x="1567016" y="2602251"/>
                    </a:lnTo>
                    <a:lnTo>
                      <a:pt x="1542940" y="2636239"/>
                    </a:lnTo>
                    <a:lnTo>
                      <a:pt x="1296523" y="2565430"/>
                    </a:lnTo>
                    <a:close/>
                    <a:moveTo>
                      <a:pt x="1609501" y="2658898"/>
                    </a:moveTo>
                    <a:lnTo>
                      <a:pt x="1632161" y="2688638"/>
                    </a:lnTo>
                    <a:lnTo>
                      <a:pt x="1530195" y="2654650"/>
                    </a:lnTo>
                    <a:lnTo>
                      <a:pt x="1541524" y="2639072"/>
                    </a:lnTo>
                    <a:lnTo>
                      <a:pt x="1609501" y="2658898"/>
                    </a:lnTo>
                    <a:close/>
                    <a:moveTo>
                      <a:pt x="1425397" y="2386990"/>
                    </a:moveTo>
                    <a:lnTo>
                      <a:pt x="1459385" y="2422394"/>
                    </a:lnTo>
                    <a:lnTo>
                      <a:pt x="1442391" y="2436556"/>
                    </a:lnTo>
                    <a:lnTo>
                      <a:pt x="1408402" y="2392654"/>
                    </a:lnTo>
                    <a:lnTo>
                      <a:pt x="1425397" y="2386990"/>
                    </a:lnTo>
                    <a:close/>
                    <a:moveTo>
                      <a:pt x="1428229" y="2386990"/>
                    </a:moveTo>
                    <a:lnTo>
                      <a:pt x="1542940" y="2354417"/>
                    </a:lnTo>
                    <a:lnTo>
                      <a:pt x="1460801" y="2420978"/>
                    </a:lnTo>
                    <a:lnTo>
                      <a:pt x="1428229" y="2386990"/>
                    </a:lnTo>
                    <a:close/>
                    <a:moveTo>
                      <a:pt x="1460801" y="2423811"/>
                    </a:moveTo>
                    <a:lnTo>
                      <a:pt x="1593923" y="2564014"/>
                    </a:lnTo>
                    <a:lnTo>
                      <a:pt x="1568432" y="2600835"/>
                    </a:lnTo>
                    <a:lnTo>
                      <a:pt x="1443807" y="2437973"/>
                    </a:lnTo>
                    <a:lnTo>
                      <a:pt x="1460801" y="2423811"/>
                    </a:lnTo>
                    <a:close/>
                    <a:moveTo>
                      <a:pt x="1544357" y="2637655"/>
                    </a:moveTo>
                    <a:lnTo>
                      <a:pt x="1568432" y="2603667"/>
                    </a:lnTo>
                    <a:lnTo>
                      <a:pt x="1608085" y="2656066"/>
                    </a:lnTo>
                    <a:lnTo>
                      <a:pt x="1544357" y="2637655"/>
                    </a:lnTo>
                    <a:close/>
                    <a:moveTo>
                      <a:pt x="1636409" y="2690054"/>
                    </a:moveTo>
                    <a:lnTo>
                      <a:pt x="1613750" y="2660315"/>
                    </a:lnTo>
                    <a:lnTo>
                      <a:pt x="1721381" y="2691471"/>
                    </a:lnTo>
                    <a:lnTo>
                      <a:pt x="1718548" y="2718378"/>
                    </a:lnTo>
                    <a:lnTo>
                      <a:pt x="1636409" y="2690054"/>
                    </a:lnTo>
                    <a:close/>
                    <a:moveTo>
                      <a:pt x="1718548" y="2719795"/>
                    </a:moveTo>
                    <a:lnTo>
                      <a:pt x="1712883" y="2789188"/>
                    </a:lnTo>
                    <a:lnTo>
                      <a:pt x="1639242" y="2692887"/>
                    </a:lnTo>
                    <a:lnTo>
                      <a:pt x="1718548" y="2719795"/>
                    </a:lnTo>
                    <a:close/>
                    <a:moveTo>
                      <a:pt x="1423980" y="2385573"/>
                    </a:moveTo>
                    <a:lnTo>
                      <a:pt x="1406986" y="2389822"/>
                    </a:lnTo>
                    <a:lnTo>
                      <a:pt x="1385743" y="2361498"/>
                    </a:lnTo>
                    <a:lnTo>
                      <a:pt x="1391408" y="2348753"/>
                    </a:lnTo>
                    <a:lnTo>
                      <a:pt x="1423980" y="2385573"/>
                    </a:lnTo>
                    <a:close/>
                    <a:moveTo>
                      <a:pt x="1288026" y="2564014"/>
                    </a:moveTo>
                    <a:lnTo>
                      <a:pt x="1299356" y="2554100"/>
                    </a:lnTo>
                    <a:lnTo>
                      <a:pt x="1293691" y="2565430"/>
                    </a:lnTo>
                    <a:lnTo>
                      <a:pt x="1288026" y="2564014"/>
                    </a:lnTo>
                    <a:close/>
                    <a:moveTo>
                      <a:pt x="1540108" y="2639072"/>
                    </a:moveTo>
                    <a:lnTo>
                      <a:pt x="1528778" y="2654650"/>
                    </a:lnTo>
                    <a:lnTo>
                      <a:pt x="1292275" y="2576759"/>
                    </a:lnTo>
                    <a:lnTo>
                      <a:pt x="1296523" y="2568262"/>
                    </a:lnTo>
                    <a:lnTo>
                      <a:pt x="1540108" y="2639072"/>
                    </a:lnTo>
                    <a:close/>
                    <a:moveTo>
                      <a:pt x="1711467" y="2824593"/>
                    </a:moveTo>
                    <a:lnTo>
                      <a:pt x="1714300" y="2794853"/>
                    </a:lnTo>
                    <a:lnTo>
                      <a:pt x="1741207" y="2830257"/>
                    </a:lnTo>
                    <a:lnTo>
                      <a:pt x="1711467" y="2824593"/>
                    </a:lnTo>
                    <a:close/>
                    <a:moveTo>
                      <a:pt x="1707219" y="2874159"/>
                    </a:moveTo>
                    <a:lnTo>
                      <a:pt x="1711467" y="2827425"/>
                    </a:lnTo>
                    <a:lnTo>
                      <a:pt x="1742623" y="2833090"/>
                    </a:lnTo>
                    <a:lnTo>
                      <a:pt x="1772363" y="2871327"/>
                    </a:lnTo>
                    <a:lnTo>
                      <a:pt x="1707219" y="2874159"/>
                    </a:lnTo>
                    <a:close/>
                    <a:moveTo>
                      <a:pt x="1388576" y="2347336"/>
                    </a:moveTo>
                    <a:lnTo>
                      <a:pt x="1382911" y="2360082"/>
                    </a:lnTo>
                    <a:lnTo>
                      <a:pt x="1310685" y="2265197"/>
                    </a:lnTo>
                    <a:lnTo>
                      <a:pt x="1388576" y="2347336"/>
                    </a:lnTo>
                    <a:close/>
                    <a:moveTo>
                      <a:pt x="1404154" y="2391238"/>
                    </a:moveTo>
                    <a:lnTo>
                      <a:pt x="1368749" y="2401152"/>
                    </a:lnTo>
                    <a:lnTo>
                      <a:pt x="1384327" y="2364331"/>
                    </a:lnTo>
                    <a:lnTo>
                      <a:pt x="1404154" y="2391238"/>
                    </a:lnTo>
                    <a:close/>
                    <a:moveTo>
                      <a:pt x="1302188" y="2549852"/>
                    </a:moveTo>
                    <a:lnTo>
                      <a:pt x="1285194" y="2564014"/>
                    </a:lnTo>
                    <a:lnTo>
                      <a:pt x="1285194" y="2564014"/>
                    </a:lnTo>
                    <a:lnTo>
                      <a:pt x="1295107" y="2566846"/>
                    </a:lnTo>
                    <a:lnTo>
                      <a:pt x="1290858" y="2576759"/>
                    </a:lnTo>
                    <a:lnTo>
                      <a:pt x="1290858" y="2576759"/>
                    </a:lnTo>
                    <a:lnTo>
                      <a:pt x="1528778" y="2656066"/>
                    </a:lnTo>
                    <a:lnTo>
                      <a:pt x="1473547" y="2732540"/>
                    </a:lnTo>
                    <a:lnTo>
                      <a:pt x="1272448" y="2569678"/>
                    </a:lnTo>
                    <a:lnTo>
                      <a:pt x="1334760" y="2412481"/>
                    </a:lnTo>
                    <a:lnTo>
                      <a:pt x="1365916" y="2403984"/>
                    </a:lnTo>
                    <a:lnTo>
                      <a:pt x="1302188" y="2549852"/>
                    </a:lnTo>
                    <a:close/>
                    <a:moveTo>
                      <a:pt x="1530195" y="2657482"/>
                    </a:moveTo>
                    <a:lnTo>
                      <a:pt x="1634993" y="2692887"/>
                    </a:lnTo>
                    <a:lnTo>
                      <a:pt x="1711467" y="2793436"/>
                    </a:lnTo>
                    <a:lnTo>
                      <a:pt x="1708635" y="2826009"/>
                    </a:lnTo>
                    <a:lnTo>
                      <a:pt x="1551438" y="2797685"/>
                    </a:lnTo>
                    <a:lnTo>
                      <a:pt x="1474963" y="2735373"/>
                    </a:lnTo>
                    <a:lnTo>
                      <a:pt x="1530195" y="2657482"/>
                    </a:lnTo>
                    <a:close/>
                    <a:moveTo>
                      <a:pt x="1707219" y="2875576"/>
                    </a:moveTo>
                    <a:lnTo>
                      <a:pt x="1773780" y="2872743"/>
                    </a:lnTo>
                    <a:lnTo>
                      <a:pt x="1846005" y="2967628"/>
                    </a:lnTo>
                    <a:lnTo>
                      <a:pt x="1697305" y="2984622"/>
                    </a:lnTo>
                    <a:lnTo>
                      <a:pt x="1707219" y="2875576"/>
                    </a:lnTo>
                    <a:close/>
                    <a:moveTo>
                      <a:pt x="1744040" y="2831674"/>
                    </a:moveTo>
                    <a:lnTo>
                      <a:pt x="1714300" y="2792020"/>
                    </a:lnTo>
                    <a:lnTo>
                      <a:pt x="1719964" y="2719795"/>
                    </a:lnTo>
                    <a:lnTo>
                      <a:pt x="1763866" y="2733956"/>
                    </a:lnTo>
                    <a:lnTo>
                      <a:pt x="1810600" y="2843003"/>
                    </a:lnTo>
                    <a:lnTo>
                      <a:pt x="1744040" y="2831674"/>
                    </a:lnTo>
                    <a:close/>
                    <a:moveTo>
                      <a:pt x="1719964" y="2718378"/>
                    </a:moveTo>
                    <a:lnTo>
                      <a:pt x="1722797" y="2690054"/>
                    </a:lnTo>
                    <a:lnTo>
                      <a:pt x="1722797" y="2690054"/>
                    </a:lnTo>
                    <a:lnTo>
                      <a:pt x="1610918" y="2657482"/>
                    </a:lnTo>
                    <a:lnTo>
                      <a:pt x="1568432" y="2602251"/>
                    </a:lnTo>
                    <a:lnTo>
                      <a:pt x="1595340" y="2564014"/>
                    </a:lnTo>
                    <a:lnTo>
                      <a:pt x="1595340" y="2564014"/>
                    </a:lnTo>
                    <a:lnTo>
                      <a:pt x="1462218" y="2422394"/>
                    </a:lnTo>
                    <a:lnTo>
                      <a:pt x="1551438" y="2350169"/>
                    </a:lnTo>
                    <a:lnTo>
                      <a:pt x="1552854" y="2350169"/>
                    </a:lnTo>
                    <a:lnTo>
                      <a:pt x="1426813" y="2385573"/>
                    </a:lnTo>
                    <a:lnTo>
                      <a:pt x="1391408" y="2348753"/>
                    </a:lnTo>
                    <a:lnTo>
                      <a:pt x="1486293" y="2129243"/>
                    </a:lnTo>
                    <a:lnTo>
                      <a:pt x="1486293" y="2129243"/>
                    </a:lnTo>
                    <a:lnTo>
                      <a:pt x="1484876" y="2127827"/>
                    </a:lnTo>
                    <a:lnTo>
                      <a:pt x="1387159" y="2266613"/>
                    </a:lnTo>
                    <a:lnTo>
                      <a:pt x="1353171" y="2129243"/>
                    </a:lnTo>
                    <a:lnTo>
                      <a:pt x="1491957" y="2112249"/>
                    </a:lnTo>
                    <a:lnTo>
                      <a:pt x="1762450" y="2731124"/>
                    </a:lnTo>
                    <a:lnTo>
                      <a:pt x="1719964" y="2718378"/>
                    </a:lnTo>
                    <a:close/>
                    <a:moveTo>
                      <a:pt x="1547189" y="2796269"/>
                    </a:moveTo>
                    <a:lnTo>
                      <a:pt x="1443807" y="2777858"/>
                    </a:lnTo>
                    <a:lnTo>
                      <a:pt x="1473547" y="2736789"/>
                    </a:lnTo>
                    <a:lnTo>
                      <a:pt x="1547189" y="2796269"/>
                    </a:lnTo>
                    <a:close/>
                    <a:moveTo>
                      <a:pt x="1823346" y="2871327"/>
                    </a:moveTo>
                    <a:lnTo>
                      <a:pt x="1864416" y="2966212"/>
                    </a:lnTo>
                    <a:lnTo>
                      <a:pt x="1848838" y="2967628"/>
                    </a:lnTo>
                    <a:lnTo>
                      <a:pt x="1776612" y="2872743"/>
                    </a:lnTo>
                    <a:lnTo>
                      <a:pt x="1823346" y="2871327"/>
                    </a:lnTo>
                    <a:close/>
                    <a:moveTo>
                      <a:pt x="1865832" y="2969044"/>
                    </a:moveTo>
                    <a:lnTo>
                      <a:pt x="1887075" y="3018611"/>
                    </a:lnTo>
                    <a:lnTo>
                      <a:pt x="1850254" y="2970460"/>
                    </a:lnTo>
                    <a:lnTo>
                      <a:pt x="1865832" y="2969044"/>
                    </a:lnTo>
                    <a:close/>
                    <a:moveTo>
                      <a:pt x="2055602" y="2828841"/>
                    </a:moveTo>
                    <a:lnTo>
                      <a:pt x="1970630" y="2800517"/>
                    </a:lnTo>
                    <a:lnTo>
                      <a:pt x="1950804" y="2721211"/>
                    </a:lnTo>
                    <a:lnTo>
                      <a:pt x="2055602" y="2828841"/>
                    </a:lnTo>
                    <a:close/>
                    <a:moveTo>
                      <a:pt x="1229962" y="2141989"/>
                    </a:moveTo>
                    <a:lnTo>
                      <a:pt x="1331928" y="2055601"/>
                    </a:lnTo>
                    <a:lnTo>
                      <a:pt x="1350338" y="2127827"/>
                    </a:lnTo>
                    <a:lnTo>
                      <a:pt x="1229962" y="2141989"/>
                    </a:lnTo>
                    <a:close/>
                    <a:moveTo>
                      <a:pt x="1220049" y="2150486"/>
                    </a:moveTo>
                    <a:lnTo>
                      <a:pt x="1285194" y="2235457"/>
                    </a:lnTo>
                    <a:lnTo>
                      <a:pt x="1211552" y="2157567"/>
                    </a:lnTo>
                    <a:lnTo>
                      <a:pt x="1220049" y="2150486"/>
                    </a:lnTo>
                    <a:close/>
                    <a:moveTo>
                      <a:pt x="1215800" y="2143405"/>
                    </a:moveTo>
                    <a:lnTo>
                      <a:pt x="1198806" y="2144821"/>
                    </a:lnTo>
                    <a:lnTo>
                      <a:pt x="1198806" y="2144821"/>
                    </a:lnTo>
                    <a:lnTo>
                      <a:pt x="1210135" y="2156151"/>
                    </a:lnTo>
                    <a:lnTo>
                      <a:pt x="1127996" y="2226960"/>
                    </a:lnTo>
                    <a:lnTo>
                      <a:pt x="1085511" y="1972046"/>
                    </a:lnTo>
                    <a:lnTo>
                      <a:pt x="1215800" y="2143405"/>
                    </a:lnTo>
                    <a:close/>
                    <a:moveTo>
                      <a:pt x="1217216" y="2146237"/>
                    </a:moveTo>
                    <a:lnTo>
                      <a:pt x="1220049" y="2149070"/>
                    </a:lnTo>
                    <a:lnTo>
                      <a:pt x="1211552" y="2156151"/>
                    </a:lnTo>
                    <a:lnTo>
                      <a:pt x="1203054" y="2147654"/>
                    </a:lnTo>
                    <a:lnTo>
                      <a:pt x="1217216" y="2146237"/>
                    </a:lnTo>
                    <a:close/>
                    <a:moveTo>
                      <a:pt x="1684559" y="3147484"/>
                    </a:moveTo>
                    <a:lnTo>
                      <a:pt x="1695889" y="3017195"/>
                    </a:lnTo>
                    <a:lnTo>
                      <a:pt x="1885659" y="3029940"/>
                    </a:lnTo>
                    <a:lnTo>
                      <a:pt x="1684559" y="3147484"/>
                    </a:lnTo>
                    <a:close/>
                    <a:moveTo>
                      <a:pt x="1535859" y="3005865"/>
                    </a:moveTo>
                    <a:lnTo>
                      <a:pt x="1695889" y="2987455"/>
                    </a:lnTo>
                    <a:lnTo>
                      <a:pt x="1693057" y="3015778"/>
                    </a:lnTo>
                    <a:lnTo>
                      <a:pt x="1535859" y="3005865"/>
                    </a:lnTo>
                    <a:close/>
                    <a:moveTo>
                      <a:pt x="1072765" y="744208"/>
                    </a:moveTo>
                    <a:lnTo>
                      <a:pt x="1020366" y="713052"/>
                    </a:lnTo>
                    <a:lnTo>
                      <a:pt x="1111002" y="618167"/>
                    </a:lnTo>
                    <a:lnTo>
                      <a:pt x="1130829" y="738544"/>
                    </a:lnTo>
                    <a:lnTo>
                      <a:pt x="1072765" y="744208"/>
                    </a:lnTo>
                    <a:close/>
                    <a:moveTo>
                      <a:pt x="942475" y="1064267"/>
                    </a:moveTo>
                    <a:lnTo>
                      <a:pt x="1041609" y="909903"/>
                    </a:lnTo>
                    <a:lnTo>
                      <a:pt x="1088343" y="935394"/>
                    </a:lnTo>
                    <a:lnTo>
                      <a:pt x="1102505" y="960886"/>
                    </a:lnTo>
                    <a:lnTo>
                      <a:pt x="1041609" y="1136493"/>
                    </a:lnTo>
                    <a:lnTo>
                      <a:pt x="942475" y="1064267"/>
                    </a:lnTo>
                    <a:close/>
                    <a:moveTo>
                      <a:pt x="1043025" y="909903"/>
                    </a:moveTo>
                    <a:lnTo>
                      <a:pt x="1060019" y="884411"/>
                    </a:lnTo>
                    <a:lnTo>
                      <a:pt x="1088343" y="932562"/>
                    </a:lnTo>
                    <a:lnTo>
                      <a:pt x="1043025" y="909903"/>
                    </a:lnTo>
                    <a:close/>
                    <a:moveTo>
                      <a:pt x="1101089" y="816434"/>
                    </a:moveTo>
                    <a:lnTo>
                      <a:pt x="1060019" y="880163"/>
                    </a:lnTo>
                    <a:lnTo>
                      <a:pt x="1020366" y="809353"/>
                    </a:lnTo>
                    <a:lnTo>
                      <a:pt x="1101089" y="816434"/>
                    </a:lnTo>
                    <a:close/>
                    <a:moveTo>
                      <a:pt x="1017533" y="809353"/>
                    </a:moveTo>
                    <a:lnTo>
                      <a:pt x="1058603" y="881579"/>
                    </a:lnTo>
                    <a:lnTo>
                      <a:pt x="1041609" y="908486"/>
                    </a:lnTo>
                    <a:lnTo>
                      <a:pt x="1021782" y="897157"/>
                    </a:lnTo>
                    <a:lnTo>
                      <a:pt x="973632" y="805105"/>
                    </a:lnTo>
                    <a:lnTo>
                      <a:pt x="1017533" y="809353"/>
                    </a:lnTo>
                    <a:close/>
                    <a:moveTo>
                      <a:pt x="1072765" y="747041"/>
                    </a:moveTo>
                    <a:lnTo>
                      <a:pt x="1072765" y="747041"/>
                    </a:lnTo>
                    <a:lnTo>
                      <a:pt x="1130829" y="741376"/>
                    </a:lnTo>
                    <a:lnTo>
                      <a:pt x="1135077" y="765451"/>
                    </a:lnTo>
                    <a:lnTo>
                      <a:pt x="1102505" y="815018"/>
                    </a:lnTo>
                    <a:lnTo>
                      <a:pt x="1018949" y="807937"/>
                    </a:lnTo>
                    <a:lnTo>
                      <a:pt x="986377" y="749873"/>
                    </a:lnTo>
                    <a:lnTo>
                      <a:pt x="1020366" y="714468"/>
                    </a:lnTo>
                    <a:lnTo>
                      <a:pt x="1072765" y="747041"/>
                    </a:lnTo>
                    <a:close/>
                    <a:moveTo>
                      <a:pt x="1171898" y="783862"/>
                    </a:moveTo>
                    <a:lnTo>
                      <a:pt x="1171898" y="783862"/>
                    </a:lnTo>
                    <a:lnTo>
                      <a:pt x="1414067" y="839093"/>
                    </a:lnTo>
                    <a:lnTo>
                      <a:pt x="1105337" y="815018"/>
                    </a:lnTo>
                    <a:lnTo>
                      <a:pt x="1136494" y="765451"/>
                    </a:lnTo>
                    <a:lnTo>
                      <a:pt x="1136494" y="765451"/>
                    </a:lnTo>
                    <a:lnTo>
                      <a:pt x="1132245" y="739960"/>
                    </a:lnTo>
                    <a:lnTo>
                      <a:pt x="1340425" y="718717"/>
                    </a:lnTo>
                    <a:lnTo>
                      <a:pt x="1171898" y="783862"/>
                    </a:lnTo>
                    <a:close/>
                    <a:moveTo>
                      <a:pt x="1266783" y="1028863"/>
                    </a:moveTo>
                    <a:lnTo>
                      <a:pt x="1111002" y="945307"/>
                    </a:lnTo>
                    <a:lnTo>
                      <a:pt x="1149239" y="834845"/>
                    </a:lnTo>
                    <a:lnTo>
                      <a:pt x="1266783" y="1028863"/>
                    </a:lnTo>
                    <a:close/>
                    <a:moveTo>
                      <a:pt x="3048352" y="459554"/>
                    </a:moveTo>
                    <a:lnTo>
                      <a:pt x="2905316" y="534612"/>
                    </a:lnTo>
                    <a:lnTo>
                      <a:pt x="2974710" y="351923"/>
                    </a:lnTo>
                    <a:lnTo>
                      <a:pt x="3048352" y="459554"/>
                    </a:lnTo>
                    <a:close/>
                    <a:moveTo>
                      <a:pt x="5369489" y="840509"/>
                    </a:moveTo>
                    <a:lnTo>
                      <a:pt x="5470039" y="694642"/>
                    </a:lnTo>
                    <a:lnTo>
                      <a:pt x="5553594" y="822099"/>
                    </a:lnTo>
                    <a:lnTo>
                      <a:pt x="5369489" y="840509"/>
                    </a:lnTo>
                    <a:close/>
                    <a:moveTo>
                      <a:pt x="4267693" y="1661900"/>
                    </a:moveTo>
                    <a:lnTo>
                      <a:pt x="4240785" y="1785109"/>
                    </a:lnTo>
                    <a:lnTo>
                      <a:pt x="4094917" y="1708634"/>
                    </a:lnTo>
                    <a:lnTo>
                      <a:pt x="4267693" y="1661900"/>
                    </a:lnTo>
                    <a:close/>
                    <a:moveTo>
                      <a:pt x="4203964" y="1970630"/>
                    </a:moveTo>
                    <a:lnTo>
                      <a:pt x="4243617" y="1787941"/>
                    </a:lnTo>
                    <a:lnTo>
                      <a:pt x="4388069" y="1862999"/>
                    </a:lnTo>
                    <a:lnTo>
                      <a:pt x="4203964" y="1970630"/>
                    </a:lnTo>
                    <a:close/>
                    <a:moveTo>
                      <a:pt x="3374076" y="3104998"/>
                    </a:moveTo>
                    <a:lnTo>
                      <a:pt x="3381157" y="3138987"/>
                    </a:lnTo>
                    <a:lnTo>
                      <a:pt x="3276359" y="3143236"/>
                    </a:lnTo>
                    <a:lnTo>
                      <a:pt x="3219711" y="3020027"/>
                    </a:lnTo>
                    <a:lnTo>
                      <a:pt x="3374076" y="3104998"/>
                    </a:lnTo>
                    <a:close/>
                    <a:moveTo>
                      <a:pt x="2035775" y="2556933"/>
                    </a:moveTo>
                    <a:lnTo>
                      <a:pt x="2052769" y="2464880"/>
                    </a:lnTo>
                    <a:lnTo>
                      <a:pt x="2178810" y="2443637"/>
                    </a:lnTo>
                    <a:lnTo>
                      <a:pt x="2072596" y="2588089"/>
                    </a:lnTo>
                    <a:lnTo>
                      <a:pt x="2035775" y="2556933"/>
                    </a:lnTo>
                    <a:close/>
                    <a:moveTo>
                      <a:pt x="2049937" y="2464880"/>
                    </a:moveTo>
                    <a:lnTo>
                      <a:pt x="2032943" y="2555516"/>
                    </a:lnTo>
                    <a:lnTo>
                      <a:pt x="1946555" y="2483291"/>
                    </a:lnTo>
                    <a:lnTo>
                      <a:pt x="2049937" y="2464880"/>
                    </a:lnTo>
                    <a:close/>
                    <a:moveTo>
                      <a:pt x="2049937" y="2463464"/>
                    </a:moveTo>
                    <a:lnTo>
                      <a:pt x="1945139" y="2481874"/>
                    </a:lnTo>
                    <a:lnTo>
                      <a:pt x="1932393" y="2471961"/>
                    </a:lnTo>
                    <a:lnTo>
                      <a:pt x="2051353" y="2454967"/>
                    </a:lnTo>
                    <a:lnTo>
                      <a:pt x="2049937" y="2463464"/>
                    </a:lnTo>
                    <a:close/>
                    <a:moveTo>
                      <a:pt x="2032943" y="2556933"/>
                    </a:moveTo>
                    <a:lnTo>
                      <a:pt x="2023029" y="2612164"/>
                    </a:lnTo>
                    <a:lnTo>
                      <a:pt x="1793606" y="2508782"/>
                    </a:lnTo>
                    <a:lnTo>
                      <a:pt x="1945139" y="2483291"/>
                    </a:lnTo>
                    <a:lnTo>
                      <a:pt x="2032943" y="2556933"/>
                    </a:lnTo>
                    <a:close/>
                    <a:moveTo>
                      <a:pt x="2024445" y="2613580"/>
                    </a:moveTo>
                    <a:lnTo>
                      <a:pt x="2034359" y="2558349"/>
                    </a:lnTo>
                    <a:lnTo>
                      <a:pt x="2069764" y="2588089"/>
                    </a:lnTo>
                    <a:lnTo>
                      <a:pt x="2044272" y="2622077"/>
                    </a:lnTo>
                    <a:lnTo>
                      <a:pt x="2024445" y="2613580"/>
                    </a:lnTo>
                    <a:close/>
                    <a:moveTo>
                      <a:pt x="2044272" y="2624910"/>
                    </a:moveTo>
                    <a:lnTo>
                      <a:pt x="2015948" y="2663147"/>
                    </a:lnTo>
                    <a:lnTo>
                      <a:pt x="2024445" y="2616413"/>
                    </a:lnTo>
                    <a:lnTo>
                      <a:pt x="2044272" y="2624910"/>
                    </a:lnTo>
                    <a:close/>
                    <a:moveTo>
                      <a:pt x="2047105" y="2623494"/>
                    </a:moveTo>
                    <a:lnTo>
                      <a:pt x="2072596" y="2589505"/>
                    </a:lnTo>
                    <a:lnTo>
                      <a:pt x="2188724" y="2687222"/>
                    </a:lnTo>
                    <a:lnTo>
                      <a:pt x="2047105" y="2623494"/>
                    </a:lnTo>
                    <a:close/>
                    <a:moveTo>
                      <a:pt x="2052769" y="2462048"/>
                    </a:moveTo>
                    <a:lnTo>
                      <a:pt x="2054185" y="2453551"/>
                    </a:lnTo>
                    <a:lnTo>
                      <a:pt x="2183059" y="2435140"/>
                    </a:lnTo>
                    <a:lnTo>
                      <a:pt x="2178810" y="2440805"/>
                    </a:lnTo>
                    <a:lnTo>
                      <a:pt x="2052769" y="2462048"/>
                    </a:lnTo>
                    <a:close/>
                    <a:moveTo>
                      <a:pt x="1129413" y="1003371"/>
                    </a:moveTo>
                    <a:lnTo>
                      <a:pt x="1105337" y="962302"/>
                    </a:lnTo>
                    <a:lnTo>
                      <a:pt x="1109586" y="948140"/>
                    </a:lnTo>
                    <a:lnTo>
                      <a:pt x="1268199" y="1033111"/>
                    </a:lnTo>
                    <a:lnTo>
                      <a:pt x="1282361" y="1055770"/>
                    </a:lnTo>
                    <a:lnTo>
                      <a:pt x="1169066" y="1463633"/>
                    </a:lnTo>
                    <a:lnTo>
                      <a:pt x="1129413" y="1003371"/>
                    </a:lnTo>
                    <a:close/>
                    <a:moveTo>
                      <a:pt x="1169066" y="1474963"/>
                    </a:moveTo>
                    <a:lnTo>
                      <a:pt x="1173314" y="1521697"/>
                    </a:lnTo>
                    <a:lnTo>
                      <a:pt x="1157737" y="1514616"/>
                    </a:lnTo>
                    <a:lnTo>
                      <a:pt x="1169066" y="1474963"/>
                    </a:lnTo>
                    <a:close/>
                    <a:moveTo>
                      <a:pt x="1814849" y="1051522"/>
                    </a:moveTo>
                    <a:lnTo>
                      <a:pt x="2096671" y="911319"/>
                    </a:lnTo>
                    <a:lnTo>
                      <a:pt x="1921064" y="1183227"/>
                    </a:lnTo>
                    <a:lnTo>
                      <a:pt x="1814849" y="1051522"/>
                    </a:lnTo>
                    <a:close/>
                    <a:moveTo>
                      <a:pt x="2726876" y="952388"/>
                    </a:moveTo>
                    <a:lnTo>
                      <a:pt x="2742454" y="949556"/>
                    </a:lnTo>
                    <a:lnTo>
                      <a:pt x="2755200" y="952388"/>
                    </a:lnTo>
                    <a:lnTo>
                      <a:pt x="2726876" y="952388"/>
                    </a:lnTo>
                    <a:close/>
                    <a:moveTo>
                      <a:pt x="4590584" y="905654"/>
                    </a:moveTo>
                    <a:lnTo>
                      <a:pt x="4654313" y="803688"/>
                    </a:lnTo>
                    <a:lnTo>
                      <a:pt x="4788851" y="901405"/>
                    </a:lnTo>
                    <a:lnTo>
                      <a:pt x="4590584" y="905654"/>
                    </a:lnTo>
                    <a:close/>
                    <a:moveTo>
                      <a:pt x="4572174" y="907070"/>
                    </a:moveTo>
                    <a:lnTo>
                      <a:pt x="4586336" y="907070"/>
                    </a:lnTo>
                    <a:lnTo>
                      <a:pt x="4580671" y="915567"/>
                    </a:lnTo>
                    <a:lnTo>
                      <a:pt x="4572174" y="907070"/>
                    </a:lnTo>
                    <a:close/>
                    <a:moveTo>
                      <a:pt x="4092085" y="1707218"/>
                    </a:moveTo>
                    <a:lnTo>
                      <a:pt x="3970292" y="1643489"/>
                    </a:lnTo>
                    <a:lnTo>
                      <a:pt x="3970292" y="1643489"/>
                    </a:lnTo>
                    <a:lnTo>
                      <a:pt x="3936304" y="1749704"/>
                    </a:lnTo>
                    <a:lnTo>
                      <a:pt x="3896650" y="1761033"/>
                    </a:lnTo>
                    <a:lnTo>
                      <a:pt x="3920726" y="1565599"/>
                    </a:lnTo>
                    <a:lnTo>
                      <a:pt x="3920726" y="1565599"/>
                    </a:lnTo>
                    <a:lnTo>
                      <a:pt x="3883905" y="1507535"/>
                    </a:lnTo>
                    <a:lnTo>
                      <a:pt x="4175640" y="1392824"/>
                    </a:lnTo>
                    <a:lnTo>
                      <a:pt x="4307346" y="1477795"/>
                    </a:lnTo>
                    <a:lnTo>
                      <a:pt x="4267693" y="1661900"/>
                    </a:lnTo>
                    <a:lnTo>
                      <a:pt x="4092085" y="1707218"/>
                    </a:lnTo>
                    <a:close/>
                    <a:moveTo>
                      <a:pt x="3267862" y="2915229"/>
                    </a:moveTo>
                    <a:lnTo>
                      <a:pt x="3201301" y="2978958"/>
                    </a:lnTo>
                    <a:lnTo>
                      <a:pt x="3146069" y="2857165"/>
                    </a:lnTo>
                    <a:lnTo>
                      <a:pt x="3267862" y="2915229"/>
                    </a:lnTo>
                    <a:close/>
                    <a:moveTo>
                      <a:pt x="2544188" y="2685806"/>
                    </a:moveTo>
                    <a:lnTo>
                      <a:pt x="2631991" y="2748118"/>
                    </a:lnTo>
                    <a:lnTo>
                      <a:pt x="2670229" y="2801934"/>
                    </a:lnTo>
                    <a:lnTo>
                      <a:pt x="2544188" y="2685806"/>
                    </a:lnTo>
                    <a:close/>
                    <a:moveTo>
                      <a:pt x="2402569" y="2556933"/>
                    </a:moveTo>
                    <a:lnTo>
                      <a:pt x="2430893" y="2582424"/>
                    </a:lnTo>
                    <a:lnTo>
                      <a:pt x="2449303" y="2614997"/>
                    </a:lnTo>
                    <a:lnTo>
                      <a:pt x="2398320" y="2578175"/>
                    </a:lnTo>
                    <a:lnTo>
                      <a:pt x="2402569" y="2556933"/>
                    </a:lnTo>
                    <a:close/>
                    <a:moveTo>
                      <a:pt x="1874329" y="1660484"/>
                    </a:moveTo>
                    <a:lnTo>
                      <a:pt x="1966381" y="1734126"/>
                    </a:lnTo>
                    <a:lnTo>
                      <a:pt x="1744040" y="1799270"/>
                    </a:lnTo>
                    <a:lnTo>
                      <a:pt x="1456553" y="1659068"/>
                    </a:lnTo>
                    <a:lnTo>
                      <a:pt x="1450888" y="1647738"/>
                    </a:lnTo>
                    <a:lnTo>
                      <a:pt x="1874329" y="1660484"/>
                    </a:lnTo>
                    <a:close/>
                    <a:moveTo>
                      <a:pt x="1273864" y="1569848"/>
                    </a:moveTo>
                    <a:lnTo>
                      <a:pt x="1314933" y="1571264"/>
                    </a:lnTo>
                    <a:lnTo>
                      <a:pt x="1307852" y="1586842"/>
                    </a:lnTo>
                    <a:lnTo>
                      <a:pt x="1273864" y="1569848"/>
                    </a:lnTo>
                    <a:close/>
                    <a:moveTo>
                      <a:pt x="1285194" y="1055770"/>
                    </a:moveTo>
                    <a:lnTo>
                      <a:pt x="1285194" y="1055770"/>
                    </a:lnTo>
                    <a:lnTo>
                      <a:pt x="1272448" y="1034527"/>
                    </a:lnTo>
                    <a:lnTo>
                      <a:pt x="1278113" y="1037360"/>
                    </a:lnTo>
                    <a:lnTo>
                      <a:pt x="1278113" y="1037360"/>
                    </a:lnTo>
                    <a:lnTo>
                      <a:pt x="1504703" y="952388"/>
                    </a:lnTo>
                    <a:lnTo>
                      <a:pt x="1504703" y="952388"/>
                    </a:lnTo>
                    <a:lnTo>
                      <a:pt x="1622247" y="781029"/>
                    </a:lnTo>
                    <a:lnTo>
                      <a:pt x="1705802" y="897157"/>
                    </a:lnTo>
                    <a:lnTo>
                      <a:pt x="1584010" y="1163401"/>
                    </a:lnTo>
                    <a:lnTo>
                      <a:pt x="1465050" y="1222881"/>
                    </a:lnTo>
                    <a:lnTo>
                      <a:pt x="1173314" y="1497622"/>
                    </a:lnTo>
                    <a:lnTo>
                      <a:pt x="1173314" y="1497622"/>
                    </a:lnTo>
                    <a:lnTo>
                      <a:pt x="1353171" y="1483460"/>
                    </a:lnTo>
                    <a:lnTo>
                      <a:pt x="1313518" y="1567015"/>
                    </a:lnTo>
                    <a:lnTo>
                      <a:pt x="1268199" y="1565599"/>
                    </a:lnTo>
                    <a:lnTo>
                      <a:pt x="1174731" y="1520281"/>
                    </a:lnTo>
                    <a:lnTo>
                      <a:pt x="1170482" y="1467882"/>
                    </a:lnTo>
                    <a:lnTo>
                      <a:pt x="1285194" y="1055770"/>
                    </a:lnTo>
                    <a:close/>
                    <a:moveTo>
                      <a:pt x="2256701" y="1169066"/>
                    </a:moveTo>
                    <a:lnTo>
                      <a:pt x="2003203" y="1285193"/>
                    </a:lnTo>
                    <a:lnTo>
                      <a:pt x="1962133" y="1234210"/>
                    </a:lnTo>
                    <a:lnTo>
                      <a:pt x="2024445" y="1156320"/>
                    </a:lnTo>
                    <a:lnTo>
                      <a:pt x="2256701" y="1169066"/>
                    </a:lnTo>
                    <a:close/>
                    <a:moveTo>
                      <a:pt x="1749704" y="1453720"/>
                    </a:moveTo>
                    <a:lnTo>
                      <a:pt x="2113666" y="1425396"/>
                    </a:lnTo>
                    <a:lnTo>
                      <a:pt x="2188724" y="1520281"/>
                    </a:lnTo>
                    <a:lnTo>
                      <a:pt x="1895572" y="1661900"/>
                    </a:lnTo>
                    <a:lnTo>
                      <a:pt x="1895572" y="1661900"/>
                    </a:lnTo>
                    <a:lnTo>
                      <a:pt x="1896988" y="1663316"/>
                    </a:lnTo>
                    <a:lnTo>
                      <a:pt x="2201469" y="1535859"/>
                    </a:lnTo>
                    <a:lnTo>
                      <a:pt x="2239707" y="1584010"/>
                    </a:lnTo>
                    <a:lnTo>
                      <a:pt x="2241123" y="1654819"/>
                    </a:lnTo>
                    <a:lnTo>
                      <a:pt x="1969214" y="1734126"/>
                    </a:lnTo>
                    <a:lnTo>
                      <a:pt x="1874329" y="1659068"/>
                    </a:lnTo>
                    <a:lnTo>
                      <a:pt x="1874329" y="1659068"/>
                    </a:lnTo>
                    <a:lnTo>
                      <a:pt x="1449472" y="1646322"/>
                    </a:lnTo>
                    <a:lnTo>
                      <a:pt x="1409818" y="1571264"/>
                    </a:lnTo>
                    <a:lnTo>
                      <a:pt x="1409818" y="1571264"/>
                    </a:lnTo>
                    <a:lnTo>
                      <a:pt x="1316350" y="1569848"/>
                    </a:lnTo>
                    <a:lnTo>
                      <a:pt x="1356003" y="1486292"/>
                    </a:lnTo>
                    <a:lnTo>
                      <a:pt x="1518865" y="1473547"/>
                    </a:lnTo>
                    <a:lnTo>
                      <a:pt x="1523114" y="1493373"/>
                    </a:lnTo>
                    <a:lnTo>
                      <a:pt x="1405570" y="1559934"/>
                    </a:lnTo>
                    <a:lnTo>
                      <a:pt x="1405570" y="1559934"/>
                    </a:lnTo>
                    <a:lnTo>
                      <a:pt x="1406986" y="1561350"/>
                    </a:lnTo>
                    <a:lnTo>
                      <a:pt x="1616582" y="1465049"/>
                    </a:lnTo>
                    <a:lnTo>
                      <a:pt x="1685976" y="1459385"/>
                    </a:lnTo>
                    <a:lnTo>
                      <a:pt x="1664733" y="1584010"/>
                    </a:lnTo>
                    <a:lnTo>
                      <a:pt x="1664733" y="1585426"/>
                    </a:lnTo>
                    <a:lnTo>
                      <a:pt x="1749704" y="1453720"/>
                    </a:lnTo>
                    <a:close/>
                    <a:moveTo>
                      <a:pt x="2190140" y="1518865"/>
                    </a:moveTo>
                    <a:lnTo>
                      <a:pt x="2115082" y="1425396"/>
                    </a:lnTo>
                    <a:lnTo>
                      <a:pt x="2235458" y="1415483"/>
                    </a:lnTo>
                    <a:lnTo>
                      <a:pt x="2238290" y="1496206"/>
                    </a:lnTo>
                    <a:lnTo>
                      <a:pt x="2190140" y="1518865"/>
                    </a:lnTo>
                    <a:close/>
                    <a:moveTo>
                      <a:pt x="2239707" y="1494789"/>
                    </a:moveTo>
                    <a:lnTo>
                      <a:pt x="2236874" y="1415483"/>
                    </a:lnTo>
                    <a:lnTo>
                      <a:pt x="2413898" y="1401321"/>
                    </a:lnTo>
                    <a:lnTo>
                      <a:pt x="2419563" y="1406986"/>
                    </a:lnTo>
                    <a:lnTo>
                      <a:pt x="2239707" y="1494789"/>
                    </a:lnTo>
                    <a:close/>
                    <a:moveTo>
                      <a:pt x="2239707" y="1517448"/>
                    </a:moveTo>
                    <a:lnTo>
                      <a:pt x="2239707" y="1497622"/>
                    </a:lnTo>
                    <a:lnTo>
                      <a:pt x="2423812" y="1408402"/>
                    </a:lnTo>
                    <a:lnTo>
                      <a:pt x="2423812" y="1408402"/>
                    </a:lnTo>
                    <a:lnTo>
                      <a:pt x="2416731" y="1401321"/>
                    </a:lnTo>
                    <a:lnTo>
                      <a:pt x="2541355" y="1391407"/>
                    </a:lnTo>
                    <a:lnTo>
                      <a:pt x="2239707" y="1517448"/>
                    </a:lnTo>
                    <a:close/>
                    <a:moveTo>
                      <a:pt x="3039854" y="1351754"/>
                    </a:moveTo>
                    <a:lnTo>
                      <a:pt x="2554101" y="1389991"/>
                    </a:lnTo>
                    <a:lnTo>
                      <a:pt x="3045520" y="1184644"/>
                    </a:lnTo>
                    <a:lnTo>
                      <a:pt x="3066762" y="1200222"/>
                    </a:lnTo>
                    <a:lnTo>
                      <a:pt x="3039854" y="1351754"/>
                    </a:lnTo>
                    <a:close/>
                    <a:moveTo>
                      <a:pt x="2765114" y="950972"/>
                    </a:moveTo>
                    <a:lnTo>
                      <a:pt x="2746703" y="948140"/>
                    </a:lnTo>
                    <a:lnTo>
                      <a:pt x="2990288" y="898573"/>
                    </a:lnTo>
                    <a:lnTo>
                      <a:pt x="3022861" y="945307"/>
                    </a:lnTo>
                    <a:lnTo>
                      <a:pt x="2765114" y="950972"/>
                    </a:lnTo>
                    <a:close/>
                    <a:moveTo>
                      <a:pt x="3150318" y="595508"/>
                    </a:moveTo>
                    <a:lnTo>
                      <a:pt x="3175809" y="606838"/>
                    </a:lnTo>
                    <a:lnTo>
                      <a:pt x="3172977" y="621000"/>
                    </a:lnTo>
                    <a:lnTo>
                      <a:pt x="3150318" y="595508"/>
                    </a:lnTo>
                    <a:close/>
                    <a:moveTo>
                      <a:pt x="4273358" y="611086"/>
                    </a:moveTo>
                    <a:lnTo>
                      <a:pt x="4412144" y="749873"/>
                    </a:lnTo>
                    <a:lnTo>
                      <a:pt x="4431971" y="908486"/>
                    </a:lnTo>
                    <a:lnTo>
                      <a:pt x="4114744" y="916984"/>
                    </a:lnTo>
                    <a:lnTo>
                      <a:pt x="4161478" y="803688"/>
                    </a:lnTo>
                    <a:lnTo>
                      <a:pt x="4161478" y="803688"/>
                    </a:lnTo>
                    <a:lnTo>
                      <a:pt x="4041102" y="881579"/>
                    </a:lnTo>
                    <a:lnTo>
                      <a:pt x="3960379" y="717301"/>
                    </a:lnTo>
                    <a:lnTo>
                      <a:pt x="3960379" y="717301"/>
                    </a:lnTo>
                    <a:lnTo>
                      <a:pt x="3600667" y="922648"/>
                    </a:lnTo>
                    <a:lnTo>
                      <a:pt x="3895234" y="548774"/>
                    </a:lnTo>
                    <a:lnTo>
                      <a:pt x="4273358" y="611086"/>
                    </a:lnTo>
                    <a:close/>
                    <a:moveTo>
                      <a:pt x="2947802" y="2763697"/>
                    </a:moveTo>
                    <a:lnTo>
                      <a:pt x="2942138" y="2770778"/>
                    </a:lnTo>
                    <a:lnTo>
                      <a:pt x="2865663" y="2749535"/>
                    </a:lnTo>
                    <a:lnTo>
                      <a:pt x="2780692" y="2684390"/>
                    </a:lnTo>
                    <a:lnTo>
                      <a:pt x="2780692" y="2684390"/>
                    </a:lnTo>
                    <a:lnTo>
                      <a:pt x="2947802" y="2763697"/>
                    </a:lnTo>
                    <a:close/>
                    <a:moveTo>
                      <a:pt x="1969214" y="1736958"/>
                    </a:moveTo>
                    <a:lnTo>
                      <a:pt x="2156151" y="1885658"/>
                    </a:lnTo>
                    <a:lnTo>
                      <a:pt x="2136324" y="1991873"/>
                    </a:lnTo>
                    <a:lnTo>
                      <a:pt x="1748288" y="1802103"/>
                    </a:lnTo>
                    <a:lnTo>
                      <a:pt x="1969214" y="1736958"/>
                    </a:lnTo>
                    <a:close/>
                    <a:moveTo>
                      <a:pt x="4433387" y="908486"/>
                    </a:moveTo>
                    <a:lnTo>
                      <a:pt x="4413560" y="752705"/>
                    </a:lnTo>
                    <a:lnTo>
                      <a:pt x="4566510" y="905654"/>
                    </a:lnTo>
                    <a:lnTo>
                      <a:pt x="4433387" y="908486"/>
                    </a:lnTo>
                    <a:close/>
                    <a:moveTo>
                      <a:pt x="3508614" y="2661731"/>
                    </a:moveTo>
                    <a:lnTo>
                      <a:pt x="3569510" y="2691471"/>
                    </a:lnTo>
                    <a:lnTo>
                      <a:pt x="3623325" y="2718378"/>
                    </a:lnTo>
                    <a:lnTo>
                      <a:pt x="3586505" y="2804766"/>
                    </a:lnTo>
                    <a:lnTo>
                      <a:pt x="3508614" y="2661731"/>
                    </a:lnTo>
                    <a:close/>
                    <a:moveTo>
                      <a:pt x="3328758" y="2942136"/>
                    </a:moveTo>
                    <a:lnTo>
                      <a:pt x="3340087" y="2936472"/>
                    </a:lnTo>
                    <a:lnTo>
                      <a:pt x="3342920" y="2949217"/>
                    </a:lnTo>
                    <a:lnTo>
                      <a:pt x="3328758" y="2942136"/>
                    </a:lnTo>
                    <a:close/>
                    <a:moveTo>
                      <a:pt x="3308931" y="2878408"/>
                    </a:moveTo>
                    <a:lnTo>
                      <a:pt x="3308931" y="2878408"/>
                    </a:lnTo>
                    <a:lnTo>
                      <a:pt x="3316012" y="2809015"/>
                    </a:lnTo>
                    <a:lnTo>
                      <a:pt x="3340087" y="2933639"/>
                    </a:lnTo>
                    <a:lnTo>
                      <a:pt x="3325925" y="2940720"/>
                    </a:lnTo>
                    <a:lnTo>
                      <a:pt x="3270694" y="2915229"/>
                    </a:lnTo>
                    <a:lnTo>
                      <a:pt x="3308931" y="2878408"/>
                    </a:lnTo>
                    <a:close/>
                    <a:moveTo>
                      <a:pt x="2950635" y="2763697"/>
                    </a:moveTo>
                    <a:lnTo>
                      <a:pt x="2990288" y="2782107"/>
                    </a:lnTo>
                    <a:lnTo>
                      <a:pt x="2944970" y="2769361"/>
                    </a:lnTo>
                    <a:lnTo>
                      <a:pt x="2950635" y="2763697"/>
                    </a:lnTo>
                    <a:close/>
                    <a:moveTo>
                      <a:pt x="2382742" y="2494620"/>
                    </a:moveTo>
                    <a:lnTo>
                      <a:pt x="2411066" y="2507366"/>
                    </a:lnTo>
                    <a:lnTo>
                      <a:pt x="2405401" y="2534273"/>
                    </a:lnTo>
                    <a:lnTo>
                      <a:pt x="2382742" y="2494620"/>
                    </a:lnTo>
                    <a:close/>
                    <a:moveTo>
                      <a:pt x="2403985" y="2401152"/>
                    </a:moveTo>
                    <a:lnTo>
                      <a:pt x="2337424" y="2412481"/>
                    </a:lnTo>
                    <a:lnTo>
                      <a:pt x="2276528" y="2304851"/>
                    </a:lnTo>
                    <a:lnTo>
                      <a:pt x="2403985" y="2401152"/>
                    </a:lnTo>
                    <a:close/>
                    <a:moveTo>
                      <a:pt x="3158815" y="1241291"/>
                    </a:moveTo>
                    <a:lnTo>
                      <a:pt x="3165896" y="1271031"/>
                    </a:lnTo>
                    <a:lnTo>
                      <a:pt x="3069595" y="1198806"/>
                    </a:lnTo>
                    <a:lnTo>
                      <a:pt x="3071011" y="1193141"/>
                    </a:lnTo>
                    <a:lnTo>
                      <a:pt x="3158815" y="1241291"/>
                    </a:lnTo>
                    <a:close/>
                    <a:moveTo>
                      <a:pt x="3072427" y="1007620"/>
                    </a:moveTo>
                    <a:lnTo>
                      <a:pt x="3029942" y="946724"/>
                    </a:lnTo>
                    <a:lnTo>
                      <a:pt x="3114913" y="945307"/>
                    </a:lnTo>
                    <a:lnTo>
                      <a:pt x="3102167" y="1013285"/>
                    </a:lnTo>
                    <a:lnTo>
                      <a:pt x="3072427" y="1007620"/>
                    </a:lnTo>
                    <a:close/>
                    <a:moveTo>
                      <a:pt x="3100751" y="1014701"/>
                    </a:moveTo>
                    <a:lnTo>
                      <a:pt x="3096502" y="1041608"/>
                    </a:lnTo>
                    <a:lnTo>
                      <a:pt x="3073843" y="1010452"/>
                    </a:lnTo>
                    <a:lnTo>
                      <a:pt x="3100751" y="1014701"/>
                    </a:lnTo>
                    <a:close/>
                    <a:moveTo>
                      <a:pt x="4157230" y="809353"/>
                    </a:moveTo>
                    <a:lnTo>
                      <a:pt x="4111911" y="918400"/>
                    </a:lnTo>
                    <a:lnTo>
                      <a:pt x="4059512" y="919816"/>
                    </a:lnTo>
                    <a:lnTo>
                      <a:pt x="4042519" y="884411"/>
                    </a:lnTo>
                    <a:lnTo>
                      <a:pt x="4157230" y="809353"/>
                    </a:lnTo>
                    <a:close/>
                    <a:moveTo>
                      <a:pt x="3961795" y="1280945"/>
                    </a:moveTo>
                    <a:lnTo>
                      <a:pt x="4001449" y="1278112"/>
                    </a:lnTo>
                    <a:lnTo>
                      <a:pt x="4174224" y="1389991"/>
                    </a:lnTo>
                    <a:lnTo>
                      <a:pt x="3883905" y="1504703"/>
                    </a:lnTo>
                    <a:lnTo>
                      <a:pt x="3875407" y="1490541"/>
                    </a:lnTo>
                    <a:lnTo>
                      <a:pt x="3961795" y="1280945"/>
                    </a:lnTo>
                    <a:close/>
                    <a:moveTo>
                      <a:pt x="3864078" y="1511784"/>
                    </a:moveTo>
                    <a:lnTo>
                      <a:pt x="3872576" y="1491957"/>
                    </a:lnTo>
                    <a:lnTo>
                      <a:pt x="3881072" y="1504703"/>
                    </a:lnTo>
                    <a:lnTo>
                      <a:pt x="3864078" y="1511784"/>
                    </a:lnTo>
                    <a:close/>
                    <a:moveTo>
                      <a:pt x="3752199" y="1297939"/>
                    </a:moveTo>
                    <a:lnTo>
                      <a:pt x="3958963" y="1282361"/>
                    </a:lnTo>
                    <a:lnTo>
                      <a:pt x="3872576" y="1489125"/>
                    </a:lnTo>
                    <a:lnTo>
                      <a:pt x="3752199" y="1297939"/>
                    </a:lnTo>
                    <a:close/>
                    <a:moveTo>
                      <a:pt x="3011531" y="2790604"/>
                    </a:moveTo>
                    <a:lnTo>
                      <a:pt x="3127658" y="2823177"/>
                    </a:lnTo>
                    <a:lnTo>
                      <a:pt x="3140404" y="2852916"/>
                    </a:lnTo>
                    <a:lnTo>
                      <a:pt x="3011531" y="2790604"/>
                    </a:lnTo>
                    <a:close/>
                    <a:moveTo>
                      <a:pt x="3051185" y="2654650"/>
                    </a:moveTo>
                    <a:lnTo>
                      <a:pt x="3127658" y="2820344"/>
                    </a:lnTo>
                    <a:lnTo>
                      <a:pt x="3001618" y="2784939"/>
                    </a:lnTo>
                    <a:lnTo>
                      <a:pt x="2952051" y="2760864"/>
                    </a:lnTo>
                    <a:lnTo>
                      <a:pt x="3051185" y="2654650"/>
                    </a:lnTo>
                    <a:close/>
                    <a:moveTo>
                      <a:pt x="1972047" y="1735542"/>
                    </a:moveTo>
                    <a:lnTo>
                      <a:pt x="2241123" y="1656235"/>
                    </a:lnTo>
                    <a:lnTo>
                      <a:pt x="2252452" y="2047104"/>
                    </a:lnTo>
                    <a:lnTo>
                      <a:pt x="2139157" y="1991873"/>
                    </a:lnTo>
                    <a:lnTo>
                      <a:pt x="2158984" y="1884242"/>
                    </a:lnTo>
                    <a:lnTo>
                      <a:pt x="2158984" y="1884242"/>
                    </a:lnTo>
                    <a:lnTo>
                      <a:pt x="1972047" y="1735542"/>
                    </a:lnTo>
                    <a:close/>
                    <a:moveTo>
                      <a:pt x="3069595" y="2630574"/>
                    </a:moveTo>
                    <a:lnTo>
                      <a:pt x="3051185" y="2650401"/>
                    </a:lnTo>
                    <a:lnTo>
                      <a:pt x="3017196" y="2575343"/>
                    </a:lnTo>
                    <a:lnTo>
                      <a:pt x="3069595" y="2630574"/>
                    </a:lnTo>
                    <a:close/>
                    <a:moveTo>
                      <a:pt x="2854334" y="2226960"/>
                    </a:moveTo>
                    <a:lnTo>
                      <a:pt x="2715547" y="1807768"/>
                    </a:lnTo>
                    <a:lnTo>
                      <a:pt x="2729709" y="1810600"/>
                    </a:lnTo>
                    <a:lnTo>
                      <a:pt x="2896819" y="2239706"/>
                    </a:lnTo>
                    <a:lnTo>
                      <a:pt x="2854334" y="2226960"/>
                    </a:lnTo>
                    <a:close/>
                    <a:moveTo>
                      <a:pt x="2714130" y="1804935"/>
                    </a:moveTo>
                    <a:lnTo>
                      <a:pt x="2641905" y="1585426"/>
                    </a:lnTo>
                    <a:lnTo>
                      <a:pt x="2728292" y="1807768"/>
                    </a:lnTo>
                    <a:lnTo>
                      <a:pt x="2714130" y="1804935"/>
                    </a:lnTo>
                    <a:close/>
                    <a:moveTo>
                      <a:pt x="3393902" y="2280775"/>
                    </a:moveTo>
                    <a:lnTo>
                      <a:pt x="3688471" y="2452135"/>
                    </a:lnTo>
                    <a:lnTo>
                      <a:pt x="3327342" y="2354417"/>
                    </a:lnTo>
                    <a:lnTo>
                      <a:pt x="3393902" y="2280775"/>
                    </a:lnTo>
                    <a:close/>
                    <a:moveTo>
                      <a:pt x="3324509" y="2353001"/>
                    </a:moveTo>
                    <a:lnTo>
                      <a:pt x="3124826" y="2299186"/>
                    </a:lnTo>
                    <a:lnTo>
                      <a:pt x="3171561" y="2156151"/>
                    </a:lnTo>
                    <a:lnTo>
                      <a:pt x="3184306" y="2154735"/>
                    </a:lnTo>
                    <a:lnTo>
                      <a:pt x="3182890" y="2157567"/>
                    </a:lnTo>
                    <a:lnTo>
                      <a:pt x="3182890" y="2157567"/>
                    </a:lnTo>
                    <a:lnTo>
                      <a:pt x="3392486" y="2279359"/>
                    </a:lnTo>
                    <a:lnTo>
                      <a:pt x="3324509" y="2353001"/>
                    </a:lnTo>
                    <a:close/>
                    <a:moveTo>
                      <a:pt x="2321846" y="2083925"/>
                    </a:moveTo>
                    <a:lnTo>
                      <a:pt x="2260950" y="2292105"/>
                    </a:lnTo>
                    <a:lnTo>
                      <a:pt x="2253869" y="2051352"/>
                    </a:lnTo>
                    <a:lnTo>
                      <a:pt x="2321846" y="2083925"/>
                    </a:lnTo>
                    <a:close/>
                    <a:moveTo>
                      <a:pt x="2253869" y="2048520"/>
                    </a:moveTo>
                    <a:lnTo>
                      <a:pt x="2243955" y="1656235"/>
                    </a:lnTo>
                    <a:lnTo>
                      <a:pt x="2287857" y="1643489"/>
                    </a:lnTo>
                    <a:lnTo>
                      <a:pt x="2408233" y="1792190"/>
                    </a:lnTo>
                    <a:lnTo>
                      <a:pt x="2323262" y="2081092"/>
                    </a:lnTo>
                    <a:lnTo>
                      <a:pt x="2253869" y="2048520"/>
                    </a:lnTo>
                    <a:close/>
                    <a:moveTo>
                      <a:pt x="2843004" y="2336007"/>
                    </a:moveTo>
                    <a:lnTo>
                      <a:pt x="2488956" y="2163232"/>
                    </a:lnTo>
                    <a:lnTo>
                      <a:pt x="2535691" y="1952219"/>
                    </a:lnTo>
                    <a:lnTo>
                      <a:pt x="2843004" y="2336007"/>
                    </a:lnTo>
                    <a:close/>
                    <a:moveTo>
                      <a:pt x="2957715" y="2394071"/>
                    </a:moveTo>
                    <a:lnTo>
                      <a:pt x="3020028" y="2552684"/>
                    </a:lnTo>
                    <a:lnTo>
                      <a:pt x="2850085" y="2341672"/>
                    </a:lnTo>
                    <a:lnTo>
                      <a:pt x="2957715" y="2394071"/>
                    </a:lnTo>
                    <a:close/>
                    <a:moveTo>
                      <a:pt x="2847253" y="2337423"/>
                    </a:moveTo>
                    <a:lnTo>
                      <a:pt x="2535691" y="1949387"/>
                    </a:lnTo>
                    <a:lnTo>
                      <a:pt x="2573928" y="1778028"/>
                    </a:lnTo>
                    <a:lnTo>
                      <a:pt x="2712715" y="1804935"/>
                    </a:lnTo>
                    <a:lnTo>
                      <a:pt x="2851501" y="2226960"/>
                    </a:lnTo>
                    <a:lnTo>
                      <a:pt x="2851501" y="2226960"/>
                    </a:lnTo>
                    <a:lnTo>
                      <a:pt x="2898235" y="2239706"/>
                    </a:lnTo>
                    <a:lnTo>
                      <a:pt x="2957715" y="2389822"/>
                    </a:lnTo>
                    <a:lnTo>
                      <a:pt x="2847253" y="2337423"/>
                    </a:lnTo>
                    <a:close/>
                    <a:moveTo>
                      <a:pt x="2534274" y="1947971"/>
                    </a:moveTo>
                    <a:lnTo>
                      <a:pt x="2408233" y="1792190"/>
                    </a:lnTo>
                    <a:lnTo>
                      <a:pt x="2420979" y="1749704"/>
                    </a:lnTo>
                    <a:lnTo>
                      <a:pt x="2571095" y="1779444"/>
                    </a:lnTo>
                    <a:lnTo>
                      <a:pt x="2534274" y="1947971"/>
                    </a:lnTo>
                    <a:close/>
                    <a:moveTo>
                      <a:pt x="2420979" y="1746871"/>
                    </a:moveTo>
                    <a:lnTo>
                      <a:pt x="2420979" y="1746871"/>
                    </a:lnTo>
                    <a:lnTo>
                      <a:pt x="2408233" y="1789357"/>
                    </a:lnTo>
                    <a:lnTo>
                      <a:pt x="2289273" y="1642073"/>
                    </a:lnTo>
                    <a:lnTo>
                      <a:pt x="2623495" y="1542940"/>
                    </a:lnTo>
                    <a:lnTo>
                      <a:pt x="2572511" y="1776611"/>
                    </a:lnTo>
                    <a:lnTo>
                      <a:pt x="2420979" y="1746871"/>
                    </a:lnTo>
                    <a:close/>
                    <a:moveTo>
                      <a:pt x="2408233" y="1793606"/>
                    </a:moveTo>
                    <a:lnTo>
                      <a:pt x="2534274" y="1949387"/>
                    </a:lnTo>
                    <a:lnTo>
                      <a:pt x="2487540" y="2160399"/>
                    </a:lnTo>
                    <a:lnTo>
                      <a:pt x="2323262" y="2081092"/>
                    </a:lnTo>
                    <a:lnTo>
                      <a:pt x="2408233" y="1793606"/>
                    </a:lnTo>
                    <a:close/>
                    <a:moveTo>
                      <a:pt x="3310347" y="1892739"/>
                    </a:moveTo>
                    <a:lnTo>
                      <a:pt x="3304682" y="1904069"/>
                    </a:lnTo>
                    <a:lnTo>
                      <a:pt x="3211214" y="1868664"/>
                    </a:lnTo>
                    <a:lnTo>
                      <a:pt x="3209797" y="1868664"/>
                    </a:lnTo>
                    <a:lnTo>
                      <a:pt x="3293353" y="1928144"/>
                    </a:lnTo>
                    <a:lnTo>
                      <a:pt x="3185723" y="2153318"/>
                    </a:lnTo>
                    <a:lnTo>
                      <a:pt x="3170144" y="2154735"/>
                    </a:lnTo>
                    <a:lnTo>
                      <a:pt x="3170144" y="2154735"/>
                    </a:lnTo>
                    <a:lnTo>
                      <a:pt x="3121994" y="2299186"/>
                    </a:lnTo>
                    <a:lnTo>
                      <a:pt x="3031358" y="2275111"/>
                    </a:lnTo>
                    <a:lnTo>
                      <a:pt x="3021444" y="1476379"/>
                    </a:lnTo>
                    <a:lnTo>
                      <a:pt x="3243786" y="1605252"/>
                    </a:lnTo>
                    <a:lnTo>
                      <a:pt x="3310347" y="1892739"/>
                    </a:lnTo>
                    <a:close/>
                    <a:moveTo>
                      <a:pt x="3544019" y="2106584"/>
                    </a:moveTo>
                    <a:lnTo>
                      <a:pt x="3188554" y="2151902"/>
                    </a:lnTo>
                    <a:lnTo>
                      <a:pt x="3296186" y="1928144"/>
                    </a:lnTo>
                    <a:lnTo>
                      <a:pt x="3544019" y="2106584"/>
                    </a:lnTo>
                    <a:close/>
                    <a:moveTo>
                      <a:pt x="3223959" y="1875745"/>
                    </a:moveTo>
                    <a:lnTo>
                      <a:pt x="3303267" y="1905485"/>
                    </a:lnTo>
                    <a:lnTo>
                      <a:pt x="3293353" y="1925311"/>
                    </a:lnTo>
                    <a:lnTo>
                      <a:pt x="3223959" y="1875745"/>
                    </a:lnTo>
                    <a:close/>
                    <a:moveTo>
                      <a:pt x="3121994" y="2300602"/>
                    </a:moveTo>
                    <a:lnTo>
                      <a:pt x="3073843" y="2447886"/>
                    </a:lnTo>
                    <a:lnTo>
                      <a:pt x="3034190" y="2429475"/>
                    </a:lnTo>
                    <a:lnTo>
                      <a:pt x="3032773" y="2277943"/>
                    </a:lnTo>
                    <a:lnTo>
                      <a:pt x="3121994" y="2300602"/>
                    </a:lnTo>
                    <a:close/>
                    <a:moveTo>
                      <a:pt x="3031358" y="2428059"/>
                    </a:moveTo>
                    <a:lnTo>
                      <a:pt x="2959132" y="2392654"/>
                    </a:lnTo>
                    <a:lnTo>
                      <a:pt x="2899652" y="2241122"/>
                    </a:lnTo>
                    <a:lnTo>
                      <a:pt x="3028525" y="2276527"/>
                    </a:lnTo>
                    <a:lnTo>
                      <a:pt x="3031358" y="2428059"/>
                    </a:lnTo>
                    <a:close/>
                    <a:moveTo>
                      <a:pt x="3072427" y="2449302"/>
                    </a:moveTo>
                    <a:lnTo>
                      <a:pt x="3035606" y="2559765"/>
                    </a:lnTo>
                    <a:lnTo>
                      <a:pt x="3034190" y="2429475"/>
                    </a:lnTo>
                    <a:lnTo>
                      <a:pt x="3072427" y="2449302"/>
                    </a:lnTo>
                    <a:close/>
                    <a:moveTo>
                      <a:pt x="3075259" y="2447886"/>
                    </a:moveTo>
                    <a:lnTo>
                      <a:pt x="3123410" y="2300602"/>
                    </a:lnTo>
                    <a:lnTo>
                      <a:pt x="3323093" y="2354417"/>
                    </a:lnTo>
                    <a:lnTo>
                      <a:pt x="3187139" y="2503117"/>
                    </a:lnTo>
                    <a:lnTo>
                      <a:pt x="3075259" y="2447886"/>
                    </a:lnTo>
                    <a:close/>
                    <a:moveTo>
                      <a:pt x="3185723" y="2157567"/>
                    </a:moveTo>
                    <a:lnTo>
                      <a:pt x="3187139" y="2154735"/>
                    </a:lnTo>
                    <a:lnTo>
                      <a:pt x="3546852" y="2109416"/>
                    </a:lnTo>
                    <a:lnTo>
                      <a:pt x="3548267" y="2110833"/>
                    </a:lnTo>
                    <a:lnTo>
                      <a:pt x="3393902" y="2279359"/>
                    </a:lnTo>
                    <a:lnTo>
                      <a:pt x="3185723" y="2157567"/>
                    </a:lnTo>
                    <a:close/>
                    <a:moveTo>
                      <a:pt x="3493036" y="1973462"/>
                    </a:moveTo>
                    <a:lnTo>
                      <a:pt x="3306099" y="1904069"/>
                    </a:lnTo>
                    <a:lnTo>
                      <a:pt x="3311763" y="1892739"/>
                    </a:lnTo>
                    <a:lnTo>
                      <a:pt x="3311763" y="1892739"/>
                    </a:lnTo>
                    <a:lnTo>
                      <a:pt x="3245202" y="1605252"/>
                    </a:lnTo>
                    <a:lnTo>
                      <a:pt x="3372659" y="1678894"/>
                    </a:lnTo>
                    <a:lnTo>
                      <a:pt x="3493036" y="1973462"/>
                    </a:lnTo>
                    <a:close/>
                    <a:moveTo>
                      <a:pt x="3245202" y="1602420"/>
                    </a:moveTo>
                    <a:lnTo>
                      <a:pt x="3184306" y="1341841"/>
                    </a:lnTo>
                    <a:lnTo>
                      <a:pt x="3232457" y="1337592"/>
                    </a:lnTo>
                    <a:lnTo>
                      <a:pt x="3371244" y="1676062"/>
                    </a:lnTo>
                    <a:lnTo>
                      <a:pt x="3245202" y="1602420"/>
                    </a:lnTo>
                    <a:close/>
                    <a:moveTo>
                      <a:pt x="3546852" y="2106584"/>
                    </a:moveTo>
                    <a:lnTo>
                      <a:pt x="3296186" y="1926728"/>
                    </a:lnTo>
                    <a:lnTo>
                      <a:pt x="3306099" y="1905485"/>
                    </a:lnTo>
                    <a:lnTo>
                      <a:pt x="3494452" y="1976294"/>
                    </a:lnTo>
                    <a:lnTo>
                      <a:pt x="3546852" y="2106584"/>
                    </a:lnTo>
                    <a:lnTo>
                      <a:pt x="3546852" y="2106584"/>
                    </a:lnTo>
                    <a:close/>
                    <a:moveTo>
                      <a:pt x="3248035" y="1334760"/>
                    </a:moveTo>
                    <a:lnTo>
                      <a:pt x="3233873" y="1336176"/>
                    </a:lnTo>
                    <a:lnTo>
                      <a:pt x="3226792" y="1320598"/>
                    </a:lnTo>
                    <a:lnTo>
                      <a:pt x="3248035" y="1334760"/>
                    </a:lnTo>
                    <a:close/>
                    <a:moveTo>
                      <a:pt x="3223959" y="1317766"/>
                    </a:moveTo>
                    <a:lnTo>
                      <a:pt x="3231040" y="1336176"/>
                    </a:lnTo>
                    <a:lnTo>
                      <a:pt x="3182890" y="1340425"/>
                    </a:lnTo>
                    <a:lnTo>
                      <a:pt x="3168728" y="1276696"/>
                    </a:lnTo>
                    <a:lnTo>
                      <a:pt x="3223959" y="1317766"/>
                    </a:lnTo>
                    <a:close/>
                    <a:moveTo>
                      <a:pt x="2243955" y="1653403"/>
                    </a:moveTo>
                    <a:lnTo>
                      <a:pt x="2242539" y="1586842"/>
                    </a:lnTo>
                    <a:lnTo>
                      <a:pt x="2286441" y="1642073"/>
                    </a:lnTo>
                    <a:lnTo>
                      <a:pt x="2243955" y="1653403"/>
                    </a:lnTo>
                    <a:close/>
                    <a:moveTo>
                      <a:pt x="3071011" y="2631991"/>
                    </a:moveTo>
                    <a:lnTo>
                      <a:pt x="3301850" y="2869911"/>
                    </a:lnTo>
                    <a:lnTo>
                      <a:pt x="3129075" y="2821760"/>
                    </a:lnTo>
                    <a:lnTo>
                      <a:pt x="3052600" y="2653234"/>
                    </a:lnTo>
                    <a:lnTo>
                      <a:pt x="3071011" y="2631991"/>
                    </a:lnTo>
                    <a:close/>
                    <a:moveTo>
                      <a:pt x="3398152" y="2607916"/>
                    </a:moveTo>
                    <a:lnTo>
                      <a:pt x="3436388" y="2885489"/>
                    </a:lnTo>
                    <a:lnTo>
                      <a:pt x="3342920" y="2932223"/>
                    </a:lnTo>
                    <a:lnTo>
                      <a:pt x="3314596" y="2797685"/>
                    </a:lnTo>
                    <a:lnTo>
                      <a:pt x="3314596" y="2796269"/>
                    </a:lnTo>
                    <a:lnTo>
                      <a:pt x="3307515" y="2872743"/>
                    </a:lnTo>
                    <a:lnTo>
                      <a:pt x="3072427" y="2630574"/>
                    </a:lnTo>
                    <a:lnTo>
                      <a:pt x="3187139" y="2505950"/>
                    </a:lnTo>
                    <a:lnTo>
                      <a:pt x="3398152" y="2607916"/>
                    </a:lnTo>
                    <a:close/>
                    <a:moveTo>
                      <a:pt x="3716795" y="1300771"/>
                    </a:moveTo>
                    <a:lnTo>
                      <a:pt x="3681390" y="1656235"/>
                    </a:lnTo>
                    <a:lnTo>
                      <a:pt x="3253700" y="1337592"/>
                    </a:lnTo>
                    <a:lnTo>
                      <a:pt x="3716795" y="1300771"/>
                    </a:lnTo>
                    <a:close/>
                    <a:moveTo>
                      <a:pt x="3747950" y="1296523"/>
                    </a:moveTo>
                    <a:lnTo>
                      <a:pt x="3718210" y="1299355"/>
                    </a:lnTo>
                    <a:lnTo>
                      <a:pt x="3722459" y="1256869"/>
                    </a:lnTo>
                    <a:lnTo>
                      <a:pt x="3747950" y="1296523"/>
                    </a:lnTo>
                    <a:close/>
                    <a:moveTo>
                      <a:pt x="4004281" y="1178979"/>
                    </a:moveTo>
                    <a:lnTo>
                      <a:pt x="4015611" y="1150655"/>
                    </a:lnTo>
                    <a:lnTo>
                      <a:pt x="4150149" y="1108169"/>
                    </a:lnTo>
                    <a:lnTo>
                      <a:pt x="4202548" y="1215800"/>
                    </a:lnTo>
                    <a:lnTo>
                      <a:pt x="4004281" y="1178979"/>
                    </a:lnTo>
                    <a:close/>
                    <a:moveTo>
                      <a:pt x="3957547" y="1169066"/>
                    </a:moveTo>
                    <a:lnTo>
                      <a:pt x="4014195" y="1150655"/>
                    </a:lnTo>
                    <a:lnTo>
                      <a:pt x="4002865" y="1177563"/>
                    </a:lnTo>
                    <a:lnTo>
                      <a:pt x="3957547" y="1169066"/>
                    </a:lnTo>
                    <a:close/>
                    <a:moveTo>
                      <a:pt x="4182721" y="1095424"/>
                    </a:moveTo>
                    <a:lnTo>
                      <a:pt x="4151565" y="1105337"/>
                    </a:lnTo>
                    <a:lnTo>
                      <a:pt x="4143068" y="1086926"/>
                    </a:lnTo>
                    <a:lnTo>
                      <a:pt x="4182721" y="1095424"/>
                    </a:lnTo>
                    <a:close/>
                    <a:moveTo>
                      <a:pt x="4185554" y="1094007"/>
                    </a:moveTo>
                    <a:lnTo>
                      <a:pt x="4140235" y="1084094"/>
                    </a:lnTo>
                    <a:lnTo>
                      <a:pt x="4087836" y="977880"/>
                    </a:lnTo>
                    <a:lnTo>
                      <a:pt x="4111911" y="919816"/>
                    </a:lnTo>
                    <a:lnTo>
                      <a:pt x="4430555" y="911319"/>
                    </a:lnTo>
                    <a:lnTo>
                      <a:pt x="4443301" y="1010452"/>
                    </a:lnTo>
                    <a:lnTo>
                      <a:pt x="4185554" y="1094007"/>
                    </a:lnTo>
                    <a:close/>
                    <a:moveTo>
                      <a:pt x="4110496" y="919816"/>
                    </a:moveTo>
                    <a:lnTo>
                      <a:pt x="4087836" y="975047"/>
                    </a:lnTo>
                    <a:lnTo>
                      <a:pt x="4060929" y="921232"/>
                    </a:lnTo>
                    <a:lnTo>
                      <a:pt x="4110496" y="919816"/>
                    </a:lnTo>
                    <a:close/>
                    <a:moveTo>
                      <a:pt x="4138819" y="1084094"/>
                    </a:moveTo>
                    <a:lnTo>
                      <a:pt x="4052431" y="1065684"/>
                    </a:lnTo>
                    <a:lnTo>
                      <a:pt x="4087836" y="980712"/>
                    </a:lnTo>
                    <a:lnTo>
                      <a:pt x="4138819" y="1084094"/>
                    </a:lnTo>
                    <a:close/>
                    <a:moveTo>
                      <a:pt x="4140235" y="1085510"/>
                    </a:moveTo>
                    <a:lnTo>
                      <a:pt x="4150149" y="1105337"/>
                    </a:lnTo>
                    <a:lnTo>
                      <a:pt x="4017026" y="1147823"/>
                    </a:lnTo>
                    <a:lnTo>
                      <a:pt x="4051015" y="1065684"/>
                    </a:lnTo>
                    <a:lnTo>
                      <a:pt x="4140235" y="1085510"/>
                    </a:lnTo>
                    <a:close/>
                    <a:moveTo>
                      <a:pt x="3136156" y="1101088"/>
                    </a:moveTo>
                    <a:lnTo>
                      <a:pt x="3222543" y="1313517"/>
                    </a:lnTo>
                    <a:lnTo>
                      <a:pt x="3167312" y="1272448"/>
                    </a:lnTo>
                    <a:lnTo>
                      <a:pt x="3158815" y="1238459"/>
                    </a:lnTo>
                    <a:lnTo>
                      <a:pt x="3158815" y="1238459"/>
                    </a:lnTo>
                    <a:lnTo>
                      <a:pt x="3069595" y="1190308"/>
                    </a:lnTo>
                    <a:lnTo>
                      <a:pt x="3096502" y="1044441"/>
                    </a:lnTo>
                    <a:lnTo>
                      <a:pt x="3136156" y="1101088"/>
                    </a:lnTo>
                    <a:close/>
                    <a:moveTo>
                      <a:pt x="3020028" y="1472130"/>
                    </a:moveTo>
                    <a:lnTo>
                      <a:pt x="3020028" y="1472130"/>
                    </a:lnTo>
                    <a:lnTo>
                      <a:pt x="3041271" y="1353170"/>
                    </a:lnTo>
                    <a:lnTo>
                      <a:pt x="3182890" y="1341841"/>
                    </a:lnTo>
                    <a:lnTo>
                      <a:pt x="3243786" y="1601004"/>
                    </a:lnTo>
                    <a:lnTo>
                      <a:pt x="3020028" y="1472130"/>
                    </a:lnTo>
                    <a:close/>
                    <a:moveTo>
                      <a:pt x="3020028" y="1472130"/>
                    </a:moveTo>
                    <a:lnTo>
                      <a:pt x="3029942" y="2273694"/>
                    </a:lnTo>
                    <a:lnTo>
                      <a:pt x="2899652" y="2238290"/>
                    </a:lnTo>
                    <a:lnTo>
                      <a:pt x="2732542" y="1809184"/>
                    </a:lnTo>
                    <a:lnTo>
                      <a:pt x="2950635" y="1851669"/>
                    </a:lnTo>
                    <a:lnTo>
                      <a:pt x="2950635" y="1851669"/>
                    </a:lnTo>
                    <a:lnTo>
                      <a:pt x="3020028" y="1472130"/>
                    </a:lnTo>
                    <a:close/>
                    <a:moveTo>
                      <a:pt x="2437973" y="2398319"/>
                    </a:moveTo>
                    <a:lnTo>
                      <a:pt x="2665980" y="2358666"/>
                    </a:lnTo>
                    <a:lnTo>
                      <a:pt x="2777859" y="2680141"/>
                    </a:lnTo>
                    <a:lnTo>
                      <a:pt x="2772195" y="2677309"/>
                    </a:lnTo>
                    <a:lnTo>
                      <a:pt x="2433725" y="2420978"/>
                    </a:lnTo>
                    <a:lnTo>
                      <a:pt x="2437973" y="2398319"/>
                    </a:lnTo>
                    <a:close/>
                    <a:moveTo>
                      <a:pt x="2413898" y="2507366"/>
                    </a:moveTo>
                    <a:lnTo>
                      <a:pt x="2432309" y="2423811"/>
                    </a:lnTo>
                    <a:lnTo>
                      <a:pt x="2762281" y="2673060"/>
                    </a:lnTo>
                    <a:lnTo>
                      <a:pt x="2413898" y="2507366"/>
                    </a:lnTo>
                    <a:close/>
                    <a:moveTo>
                      <a:pt x="2409650" y="2402568"/>
                    </a:moveTo>
                    <a:lnTo>
                      <a:pt x="2436557" y="2398319"/>
                    </a:lnTo>
                    <a:lnTo>
                      <a:pt x="2432309" y="2419562"/>
                    </a:lnTo>
                    <a:lnTo>
                      <a:pt x="2409650" y="2402568"/>
                    </a:lnTo>
                    <a:close/>
                    <a:moveTo>
                      <a:pt x="2430893" y="2420978"/>
                    </a:moveTo>
                    <a:lnTo>
                      <a:pt x="2412482" y="2504534"/>
                    </a:lnTo>
                    <a:lnTo>
                      <a:pt x="2382742" y="2490372"/>
                    </a:lnTo>
                    <a:lnTo>
                      <a:pt x="2340256" y="2413897"/>
                    </a:lnTo>
                    <a:lnTo>
                      <a:pt x="2408233" y="2402568"/>
                    </a:lnTo>
                    <a:lnTo>
                      <a:pt x="2430893" y="2420978"/>
                    </a:lnTo>
                    <a:close/>
                    <a:moveTo>
                      <a:pt x="2488956" y="2164648"/>
                    </a:moveTo>
                    <a:lnTo>
                      <a:pt x="2847253" y="2338839"/>
                    </a:lnTo>
                    <a:lnTo>
                      <a:pt x="3027109" y="2562597"/>
                    </a:lnTo>
                    <a:lnTo>
                      <a:pt x="3028525" y="2564014"/>
                    </a:lnTo>
                    <a:lnTo>
                      <a:pt x="2961964" y="2395487"/>
                    </a:lnTo>
                    <a:lnTo>
                      <a:pt x="3032773" y="2429475"/>
                    </a:lnTo>
                    <a:lnTo>
                      <a:pt x="3034190" y="2571095"/>
                    </a:lnTo>
                    <a:lnTo>
                      <a:pt x="3034190" y="2572511"/>
                    </a:lnTo>
                    <a:lnTo>
                      <a:pt x="3075259" y="2450718"/>
                    </a:lnTo>
                    <a:lnTo>
                      <a:pt x="3187139" y="2504534"/>
                    </a:lnTo>
                    <a:lnTo>
                      <a:pt x="3072427" y="2629158"/>
                    </a:lnTo>
                    <a:lnTo>
                      <a:pt x="3011531" y="2566846"/>
                    </a:lnTo>
                    <a:lnTo>
                      <a:pt x="3010115" y="2565430"/>
                    </a:lnTo>
                    <a:lnTo>
                      <a:pt x="3049768" y="2651817"/>
                    </a:lnTo>
                    <a:lnTo>
                      <a:pt x="2949219" y="2760864"/>
                    </a:lnTo>
                    <a:lnTo>
                      <a:pt x="2779276" y="2680141"/>
                    </a:lnTo>
                    <a:lnTo>
                      <a:pt x="2665980" y="2355834"/>
                    </a:lnTo>
                    <a:lnTo>
                      <a:pt x="2665980" y="2355834"/>
                    </a:lnTo>
                    <a:lnTo>
                      <a:pt x="2437973" y="2395487"/>
                    </a:lnTo>
                    <a:lnTo>
                      <a:pt x="2488956" y="2164648"/>
                    </a:lnTo>
                    <a:close/>
                    <a:moveTo>
                      <a:pt x="3504366" y="2657482"/>
                    </a:moveTo>
                    <a:lnTo>
                      <a:pt x="3399567" y="2606499"/>
                    </a:lnTo>
                    <a:lnTo>
                      <a:pt x="3372659" y="2413897"/>
                    </a:lnTo>
                    <a:lnTo>
                      <a:pt x="3504366" y="2657482"/>
                    </a:lnTo>
                    <a:close/>
                    <a:moveTo>
                      <a:pt x="4004281" y="1180395"/>
                    </a:moveTo>
                    <a:lnTo>
                      <a:pt x="4205381" y="1217216"/>
                    </a:lnTo>
                    <a:lnTo>
                      <a:pt x="4271941" y="1351754"/>
                    </a:lnTo>
                    <a:lnTo>
                      <a:pt x="4177057" y="1388575"/>
                    </a:lnTo>
                    <a:lnTo>
                      <a:pt x="4001449" y="1275280"/>
                    </a:lnTo>
                    <a:lnTo>
                      <a:pt x="4001449" y="1275280"/>
                    </a:lnTo>
                    <a:lnTo>
                      <a:pt x="3961795" y="1278112"/>
                    </a:lnTo>
                    <a:lnTo>
                      <a:pt x="4004281" y="1180395"/>
                    </a:lnTo>
                    <a:close/>
                    <a:moveTo>
                      <a:pt x="4436220" y="1149239"/>
                    </a:moveTo>
                    <a:lnTo>
                      <a:pt x="4189802" y="1095424"/>
                    </a:lnTo>
                    <a:lnTo>
                      <a:pt x="4444717" y="1013285"/>
                    </a:lnTo>
                    <a:lnTo>
                      <a:pt x="4457463" y="1115250"/>
                    </a:lnTo>
                    <a:lnTo>
                      <a:pt x="4436220" y="1149239"/>
                    </a:lnTo>
                    <a:close/>
                    <a:moveTo>
                      <a:pt x="3949049" y="1170482"/>
                    </a:moveTo>
                    <a:lnTo>
                      <a:pt x="3723876" y="1242707"/>
                    </a:lnTo>
                    <a:lnTo>
                      <a:pt x="3603499" y="1106753"/>
                    </a:lnTo>
                    <a:lnTo>
                      <a:pt x="3949049" y="1170482"/>
                    </a:lnTo>
                    <a:close/>
                    <a:moveTo>
                      <a:pt x="3953298" y="1170482"/>
                    </a:moveTo>
                    <a:lnTo>
                      <a:pt x="4001449" y="1178979"/>
                    </a:lnTo>
                    <a:lnTo>
                      <a:pt x="3960379" y="1278112"/>
                    </a:lnTo>
                    <a:lnTo>
                      <a:pt x="3750783" y="1295107"/>
                    </a:lnTo>
                    <a:lnTo>
                      <a:pt x="3722459" y="1249788"/>
                    </a:lnTo>
                    <a:lnTo>
                      <a:pt x="3722459" y="1249788"/>
                    </a:lnTo>
                    <a:lnTo>
                      <a:pt x="3718210" y="1297939"/>
                    </a:lnTo>
                    <a:lnTo>
                      <a:pt x="3252283" y="1334760"/>
                    </a:lnTo>
                    <a:lnTo>
                      <a:pt x="3226792" y="1316349"/>
                    </a:lnTo>
                    <a:lnTo>
                      <a:pt x="3138988" y="1101088"/>
                    </a:lnTo>
                    <a:lnTo>
                      <a:pt x="3099335" y="1044441"/>
                    </a:lnTo>
                    <a:lnTo>
                      <a:pt x="3105000" y="1016117"/>
                    </a:lnTo>
                    <a:lnTo>
                      <a:pt x="3600667" y="1106753"/>
                    </a:lnTo>
                    <a:lnTo>
                      <a:pt x="3723876" y="1245540"/>
                    </a:lnTo>
                    <a:lnTo>
                      <a:pt x="3723876" y="1245540"/>
                    </a:lnTo>
                    <a:lnTo>
                      <a:pt x="3953298" y="1170482"/>
                    </a:lnTo>
                    <a:close/>
                    <a:moveTo>
                      <a:pt x="3069595" y="1006204"/>
                    </a:moveTo>
                    <a:lnTo>
                      <a:pt x="2776443" y="952388"/>
                    </a:lnTo>
                    <a:lnTo>
                      <a:pt x="3027109" y="946724"/>
                    </a:lnTo>
                    <a:lnTo>
                      <a:pt x="3069595" y="1006204"/>
                    </a:lnTo>
                    <a:close/>
                    <a:moveTo>
                      <a:pt x="3027109" y="943891"/>
                    </a:moveTo>
                    <a:lnTo>
                      <a:pt x="2993120" y="897157"/>
                    </a:lnTo>
                    <a:lnTo>
                      <a:pt x="3049768" y="885827"/>
                    </a:lnTo>
                    <a:lnTo>
                      <a:pt x="3114913" y="854671"/>
                    </a:lnTo>
                    <a:lnTo>
                      <a:pt x="3114913" y="854671"/>
                    </a:lnTo>
                    <a:lnTo>
                      <a:pt x="3106416" y="577098"/>
                    </a:lnTo>
                    <a:lnTo>
                      <a:pt x="3143237" y="594092"/>
                    </a:lnTo>
                    <a:lnTo>
                      <a:pt x="3170144" y="623832"/>
                    </a:lnTo>
                    <a:lnTo>
                      <a:pt x="3113497" y="942475"/>
                    </a:lnTo>
                    <a:lnTo>
                      <a:pt x="3027109" y="943891"/>
                    </a:lnTo>
                    <a:close/>
                    <a:moveTo>
                      <a:pt x="2379910" y="2493204"/>
                    </a:moveTo>
                    <a:lnTo>
                      <a:pt x="2405401" y="2537106"/>
                    </a:lnTo>
                    <a:lnTo>
                      <a:pt x="2401152" y="2552684"/>
                    </a:lnTo>
                    <a:lnTo>
                      <a:pt x="2287857" y="2449302"/>
                    </a:lnTo>
                    <a:lnTo>
                      <a:pt x="2379910" y="2493204"/>
                    </a:lnTo>
                    <a:close/>
                    <a:moveTo>
                      <a:pt x="2402569" y="2555516"/>
                    </a:moveTo>
                    <a:lnTo>
                      <a:pt x="2405401" y="2539938"/>
                    </a:lnTo>
                    <a:lnTo>
                      <a:pt x="2426644" y="2578175"/>
                    </a:lnTo>
                    <a:lnTo>
                      <a:pt x="2402569" y="2555516"/>
                    </a:lnTo>
                    <a:close/>
                    <a:moveTo>
                      <a:pt x="2777859" y="2681557"/>
                    </a:moveTo>
                    <a:lnTo>
                      <a:pt x="2777859" y="2681557"/>
                    </a:lnTo>
                    <a:lnTo>
                      <a:pt x="2777859" y="2681557"/>
                    </a:lnTo>
                    <a:lnTo>
                      <a:pt x="2777859" y="2681557"/>
                    </a:lnTo>
                    <a:close/>
                    <a:moveTo>
                      <a:pt x="3307515" y="2872743"/>
                    </a:moveTo>
                    <a:lnTo>
                      <a:pt x="3307515" y="2876992"/>
                    </a:lnTo>
                    <a:lnTo>
                      <a:pt x="3270694" y="2912397"/>
                    </a:lnTo>
                    <a:lnTo>
                      <a:pt x="3144653" y="2852916"/>
                    </a:lnTo>
                    <a:lnTo>
                      <a:pt x="3130491" y="2823177"/>
                    </a:lnTo>
                    <a:lnTo>
                      <a:pt x="3307515" y="2872743"/>
                    </a:lnTo>
                    <a:close/>
                    <a:moveTo>
                      <a:pt x="3505782" y="2660315"/>
                    </a:moveTo>
                    <a:lnTo>
                      <a:pt x="3586505" y="2809015"/>
                    </a:lnTo>
                    <a:lnTo>
                      <a:pt x="3586505" y="2809015"/>
                    </a:lnTo>
                    <a:lnTo>
                      <a:pt x="3624742" y="2718378"/>
                    </a:lnTo>
                    <a:lnTo>
                      <a:pt x="3696968" y="2753783"/>
                    </a:lnTo>
                    <a:lnTo>
                      <a:pt x="3439221" y="2882656"/>
                    </a:lnTo>
                    <a:lnTo>
                      <a:pt x="3400983" y="2606499"/>
                    </a:lnTo>
                    <a:lnTo>
                      <a:pt x="3505782" y="2660315"/>
                    </a:lnTo>
                    <a:close/>
                    <a:moveTo>
                      <a:pt x="3375492" y="1680311"/>
                    </a:moveTo>
                    <a:lnTo>
                      <a:pt x="3723876" y="1882826"/>
                    </a:lnTo>
                    <a:lnTo>
                      <a:pt x="3746534" y="2068347"/>
                    </a:lnTo>
                    <a:lnTo>
                      <a:pt x="3495868" y="1974878"/>
                    </a:lnTo>
                    <a:lnTo>
                      <a:pt x="3375492" y="1680311"/>
                    </a:lnTo>
                    <a:close/>
                    <a:moveTo>
                      <a:pt x="3699800" y="1666149"/>
                    </a:moveTo>
                    <a:lnTo>
                      <a:pt x="3892402" y="1891323"/>
                    </a:lnTo>
                    <a:lnTo>
                      <a:pt x="3868326" y="1964965"/>
                    </a:lnTo>
                    <a:lnTo>
                      <a:pt x="3725291" y="1881410"/>
                    </a:lnTo>
                    <a:lnTo>
                      <a:pt x="3699800" y="1666149"/>
                    </a:lnTo>
                    <a:close/>
                    <a:moveTo>
                      <a:pt x="4460295" y="1262534"/>
                    </a:moveTo>
                    <a:lnTo>
                      <a:pt x="4205381" y="1215800"/>
                    </a:lnTo>
                    <a:lnTo>
                      <a:pt x="4151565" y="1106753"/>
                    </a:lnTo>
                    <a:lnTo>
                      <a:pt x="4185554" y="1095424"/>
                    </a:lnTo>
                    <a:lnTo>
                      <a:pt x="4436220" y="1150655"/>
                    </a:lnTo>
                    <a:lnTo>
                      <a:pt x="4436220" y="1150655"/>
                    </a:lnTo>
                    <a:lnTo>
                      <a:pt x="4457463" y="1118083"/>
                    </a:lnTo>
                    <a:lnTo>
                      <a:pt x="4474457" y="1258286"/>
                    </a:lnTo>
                    <a:lnTo>
                      <a:pt x="4460295" y="1262534"/>
                    </a:lnTo>
                    <a:close/>
                    <a:moveTo>
                      <a:pt x="3983038" y="919816"/>
                    </a:moveTo>
                    <a:lnTo>
                      <a:pt x="4039686" y="882995"/>
                    </a:lnTo>
                    <a:lnTo>
                      <a:pt x="4056680" y="918400"/>
                    </a:lnTo>
                    <a:lnTo>
                      <a:pt x="3983038" y="919816"/>
                    </a:lnTo>
                    <a:close/>
                    <a:moveTo>
                      <a:pt x="4058096" y="919816"/>
                    </a:moveTo>
                    <a:lnTo>
                      <a:pt x="4086420" y="976464"/>
                    </a:lnTo>
                    <a:lnTo>
                      <a:pt x="4049600" y="1062851"/>
                    </a:lnTo>
                    <a:lnTo>
                      <a:pt x="3832922" y="1014701"/>
                    </a:lnTo>
                    <a:lnTo>
                      <a:pt x="3978790" y="921232"/>
                    </a:lnTo>
                    <a:lnTo>
                      <a:pt x="4058096" y="919816"/>
                    </a:lnTo>
                    <a:close/>
                    <a:moveTo>
                      <a:pt x="3828673" y="1017533"/>
                    </a:moveTo>
                    <a:lnTo>
                      <a:pt x="3828673" y="1017533"/>
                    </a:lnTo>
                    <a:lnTo>
                      <a:pt x="4049600" y="1067100"/>
                    </a:lnTo>
                    <a:lnTo>
                      <a:pt x="4014195" y="1150655"/>
                    </a:lnTo>
                    <a:lnTo>
                      <a:pt x="3951882" y="1170482"/>
                    </a:lnTo>
                    <a:lnTo>
                      <a:pt x="3599250" y="1105337"/>
                    </a:lnTo>
                    <a:lnTo>
                      <a:pt x="3450550" y="936810"/>
                    </a:lnTo>
                    <a:lnTo>
                      <a:pt x="3975957" y="924064"/>
                    </a:lnTo>
                    <a:lnTo>
                      <a:pt x="3828673" y="1017533"/>
                    </a:lnTo>
                    <a:close/>
                    <a:moveTo>
                      <a:pt x="3103583" y="1013285"/>
                    </a:moveTo>
                    <a:lnTo>
                      <a:pt x="3116329" y="943891"/>
                    </a:lnTo>
                    <a:lnTo>
                      <a:pt x="3449134" y="935394"/>
                    </a:lnTo>
                    <a:lnTo>
                      <a:pt x="3597834" y="1102505"/>
                    </a:lnTo>
                    <a:lnTo>
                      <a:pt x="3103583" y="1013285"/>
                    </a:lnTo>
                    <a:close/>
                    <a:moveTo>
                      <a:pt x="3116329" y="942475"/>
                    </a:moveTo>
                    <a:lnTo>
                      <a:pt x="3174393" y="626664"/>
                    </a:lnTo>
                    <a:lnTo>
                      <a:pt x="3446301" y="933978"/>
                    </a:lnTo>
                    <a:lnTo>
                      <a:pt x="3116329" y="942475"/>
                    </a:lnTo>
                    <a:close/>
                    <a:moveTo>
                      <a:pt x="3146069" y="592676"/>
                    </a:moveTo>
                    <a:lnTo>
                      <a:pt x="3121994" y="565768"/>
                    </a:lnTo>
                    <a:lnTo>
                      <a:pt x="3073843" y="494959"/>
                    </a:lnTo>
                    <a:lnTo>
                      <a:pt x="3211214" y="408571"/>
                    </a:lnTo>
                    <a:lnTo>
                      <a:pt x="3174393" y="606838"/>
                    </a:lnTo>
                    <a:lnTo>
                      <a:pt x="3146069" y="592676"/>
                    </a:lnTo>
                    <a:close/>
                    <a:moveTo>
                      <a:pt x="3212630" y="404322"/>
                    </a:moveTo>
                    <a:lnTo>
                      <a:pt x="3072427" y="492126"/>
                    </a:lnTo>
                    <a:lnTo>
                      <a:pt x="3051185" y="459554"/>
                    </a:lnTo>
                    <a:lnTo>
                      <a:pt x="3218295" y="371750"/>
                    </a:lnTo>
                    <a:lnTo>
                      <a:pt x="3212630" y="404322"/>
                    </a:lnTo>
                    <a:close/>
                    <a:moveTo>
                      <a:pt x="3106416" y="574265"/>
                    </a:moveTo>
                    <a:lnTo>
                      <a:pt x="3106416" y="574265"/>
                    </a:lnTo>
                    <a:lnTo>
                      <a:pt x="3114913" y="853255"/>
                    </a:lnTo>
                    <a:lnTo>
                      <a:pt x="3051185" y="884411"/>
                    </a:lnTo>
                    <a:lnTo>
                      <a:pt x="2994537" y="895741"/>
                    </a:lnTo>
                    <a:lnTo>
                      <a:pt x="2823177" y="653572"/>
                    </a:lnTo>
                    <a:lnTo>
                      <a:pt x="3073843" y="494959"/>
                    </a:lnTo>
                    <a:lnTo>
                      <a:pt x="3121994" y="565768"/>
                    </a:lnTo>
                    <a:lnTo>
                      <a:pt x="3143237" y="589843"/>
                    </a:lnTo>
                    <a:lnTo>
                      <a:pt x="3106416" y="574265"/>
                    </a:lnTo>
                    <a:close/>
                    <a:moveTo>
                      <a:pt x="2715547" y="952388"/>
                    </a:moveTo>
                    <a:lnTo>
                      <a:pt x="2715547" y="952388"/>
                    </a:lnTo>
                    <a:lnTo>
                      <a:pt x="2715547" y="953805"/>
                    </a:lnTo>
                    <a:lnTo>
                      <a:pt x="2715547" y="953805"/>
                    </a:lnTo>
                    <a:lnTo>
                      <a:pt x="2766530" y="952388"/>
                    </a:lnTo>
                    <a:lnTo>
                      <a:pt x="3071011" y="1009036"/>
                    </a:lnTo>
                    <a:lnTo>
                      <a:pt x="3096502" y="1044441"/>
                    </a:lnTo>
                    <a:lnTo>
                      <a:pt x="3069595" y="1190308"/>
                    </a:lnTo>
                    <a:lnTo>
                      <a:pt x="2545604" y="912735"/>
                    </a:lnTo>
                    <a:lnTo>
                      <a:pt x="2738206" y="948140"/>
                    </a:lnTo>
                    <a:lnTo>
                      <a:pt x="2715547" y="952388"/>
                    </a:lnTo>
                    <a:close/>
                    <a:moveTo>
                      <a:pt x="3167312" y="1273864"/>
                    </a:moveTo>
                    <a:lnTo>
                      <a:pt x="3182890" y="1340425"/>
                    </a:lnTo>
                    <a:lnTo>
                      <a:pt x="3042687" y="1351754"/>
                    </a:lnTo>
                    <a:lnTo>
                      <a:pt x="3069595" y="1201638"/>
                    </a:lnTo>
                    <a:lnTo>
                      <a:pt x="3167312" y="1273864"/>
                    </a:lnTo>
                    <a:close/>
                    <a:moveTo>
                      <a:pt x="3038439" y="1353170"/>
                    </a:moveTo>
                    <a:lnTo>
                      <a:pt x="2947802" y="1850253"/>
                    </a:lnTo>
                    <a:lnTo>
                      <a:pt x="2729709" y="1807768"/>
                    </a:lnTo>
                    <a:lnTo>
                      <a:pt x="2627743" y="1548605"/>
                    </a:lnTo>
                    <a:lnTo>
                      <a:pt x="2627743" y="1548605"/>
                    </a:lnTo>
                    <a:lnTo>
                      <a:pt x="2626327" y="1548605"/>
                    </a:lnTo>
                    <a:lnTo>
                      <a:pt x="2711299" y="1803519"/>
                    </a:lnTo>
                    <a:lnTo>
                      <a:pt x="2573928" y="1776611"/>
                    </a:lnTo>
                    <a:lnTo>
                      <a:pt x="2626327" y="1540108"/>
                    </a:lnTo>
                    <a:lnTo>
                      <a:pt x="2626327" y="1540108"/>
                    </a:lnTo>
                    <a:lnTo>
                      <a:pt x="2287857" y="1640657"/>
                    </a:lnTo>
                    <a:lnTo>
                      <a:pt x="2241123" y="1582593"/>
                    </a:lnTo>
                    <a:lnTo>
                      <a:pt x="2239707" y="1520281"/>
                    </a:lnTo>
                    <a:lnTo>
                      <a:pt x="2548436" y="1391407"/>
                    </a:lnTo>
                    <a:lnTo>
                      <a:pt x="3038439" y="1353170"/>
                    </a:lnTo>
                    <a:close/>
                    <a:moveTo>
                      <a:pt x="2201469" y="1533027"/>
                    </a:moveTo>
                    <a:lnTo>
                      <a:pt x="2191556" y="1520281"/>
                    </a:lnTo>
                    <a:lnTo>
                      <a:pt x="2236874" y="1497622"/>
                    </a:lnTo>
                    <a:lnTo>
                      <a:pt x="2236874" y="1517448"/>
                    </a:lnTo>
                    <a:lnTo>
                      <a:pt x="2201469" y="1533027"/>
                    </a:lnTo>
                    <a:close/>
                    <a:moveTo>
                      <a:pt x="2202886" y="1535859"/>
                    </a:moveTo>
                    <a:lnTo>
                      <a:pt x="2236874" y="1521697"/>
                    </a:lnTo>
                    <a:lnTo>
                      <a:pt x="2238290" y="1581177"/>
                    </a:lnTo>
                    <a:lnTo>
                      <a:pt x="2202886" y="1535859"/>
                    </a:lnTo>
                    <a:close/>
                    <a:moveTo>
                      <a:pt x="1930977" y="1646322"/>
                    </a:moveTo>
                    <a:lnTo>
                      <a:pt x="2190140" y="1521697"/>
                    </a:lnTo>
                    <a:lnTo>
                      <a:pt x="2200053" y="1534443"/>
                    </a:lnTo>
                    <a:lnTo>
                      <a:pt x="1930977" y="1646322"/>
                    </a:lnTo>
                    <a:close/>
                    <a:moveTo>
                      <a:pt x="1691640" y="1429645"/>
                    </a:moveTo>
                    <a:lnTo>
                      <a:pt x="1687392" y="1456552"/>
                    </a:lnTo>
                    <a:lnTo>
                      <a:pt x="1623663" y="1462217"/>
                    </a:lnTo>
                    <a:lnTo>
                      <a:pt x="1691640" y="1429645"/>
                    </a:lnTo>
                    <a:close/>
                    <a:moveTo>
                      <a:pt x="1793606" y="1381494"/>
                    </a:moveTo>
                    <a:lnTo>
                      <a:pt x="1694473" y="1426812"/>
                    </a:lnTo>
                    <a:lnTo>
                      <a:pt x="1721381" y="1272448"/>
                    </a:lnTo>
                    <a:lnTo>
                      <a:pt x="1837508" y="1314933"/>
                    </a:lnTo>
                    <a:lnTo>
                      <a:pt x="1793606" y="1381494"/>
                    </a:lnTo>
                    <a:close/>
                    <a:moveTo>
                      <a:pt x="1521697" y="1472130"/>
                    </a:moveTo>
                    <a:lnTo>
                      <a:pt x="1610918" y="1465049"/>
                    </a:lnTo>
                    <a:lnTo>
                      <a:pt x="1428229" y="1548605"/>
                    </a:lnTo>
                    <a:lnTo>
                      <a:pt x="1525946" y="1491957"/>
                    </a:lnTo>
                    <a:lnTo>
                      <a:pt x="1525946" y="1491957"/>
                    </a:lnTo>
                    <a:lnTo>
                      <a:pt x="1521697" y="1472130"/>
                    </a:lnTo>
                    <a:close/>
                    <a:moveTo>
                      <a:pt x="1474963" y="1235626"/>
                    </a:moveTo>
                    <a:lnTo>
                      <a:pt x="1520281" y="1470714"/>
                    </a:lnTo>
                    <a:lnTo>
                      <a:pt x="1358835" y="1483460"/>
                    </a:lnTo>
                    <a:lnTo>
                      <a:pt x="1474963" y="1235626"/>
                    </a:lnTo>
                    <a:close/>
                    <a:moveTo>
                      <a:pt x="1746872" y="1453720"/>
                    </a:moveTo>
                    <a:lnTo>
                      <a:pt x="1668981" y="1574096"/>
                    </a:lnTo>
                    <a:lnTo>
                      <a:pt x="1688808" y="1457969"/>
                    </a:lnTo>
                    <a:lnTo>
                      <a:pt x="1746872" y="1453720"/>
                    </a:lnTo>
                    <a:close/>
                    <a:moveTo>
                      <a:pt x="1688808" y="1456552"/>
                    </a:moveTo>
                    <a:lnTo>
                      <a:pt x="1693057" y="1429645"/>
                    </a:lnTo>
                    <a:lnTo>
                      <a:pt x="1790774" y="1384327"/>
                    </a:lnTo>
                    <a:lnTo>
                      <a:pt x="1746872" y="1452304"/>
                    </a:lnTo>
                    <a:lnTo>
                      <a:pt x="1688808" y="1456552"/>
                    </a:lnTo>
                    <a:close/>
                    <a:moveTo>
                      <a:pt x="1838924" y="1314933"/>
                    </a:moveTo>
                    <a:lnTo>
                      <a:pt x="1882826" y="1330511"/>
                    </a:lnTo>
                    <a:lnTo>
                      <a:pt x="1882826" y="1330511"/>
                    </a:lnTo>
                    <a:lnTo>
                      <a:pt x="1959300" y="1234210"/>
                    </a:lnTo>
                    <a:lnTo>
                      <a:pt x="2000370" y="1285193"/>
                    </a:lnTo>
                    <a:lnTo>
                      <a:pt x="1797855" y="1378662"/>
                    </a:lnTo>
                    <a:lnTo>
                      <a:pt x="1838924" y="1314933"/>
                    </a:lnTo>
                    <a:close/>
                    <a:moveTo>
                      <a:pt x="1718548" y="1271031"/>
                    </a:moveTo>
                    <a:lnTo>
                      <a:pt x="1691640" y="1428229"/>
                    </a:lnTo>
                    <a:lnTo>
                      <a:pt x="1616582" y="1462217"/>
                    </a:lnTo>
                    <a:lnTo>
                      <a:pt x="1521697" y="1469298"/>
                    </a:lnTo>
                    <a:lnTo>
                      <a:pt x="1476380" y="1228546"/>
                    </a:lnTo>
                    <a:lnTo>
                      <a:pt x="1476380" y="1228546"/>
                    </a:lnTo>
                    <a:lnTo>
                      <a:pt x="1356003" y="1482044"/>
                    </a:lnTo>
                    <a:lnTo>
                      <a:pt x="1180395" y="1496206"/>
                    </a:lnTo>
                    <a:lnTo>
                      <a:pt x="1467882" y="1225713"/>
                    </a:lnTo>
                    <a:lnTo>
                      <a:pt x="1584010" y="1167649"/>
                    </a:lnTo>
                    <a:lnTo>
                      <a:pt x="1562767" y="1214384"/>
                    </a:lnTo>
                    <a:lnTo>
                      <a:pt x="1562767" y="1214384"/>
                    </a:lnTo>
                    <a:lnTo>
                      <a:pt x="1718548" y="1271031"/>
                    </a:lnTo>
                    <a:close/>
                    <a:moveTo>
                      <a:pt x="1751121" y="1452304"/>
                    </a:moveTo>
                    <a:lnTo>
                      <a:pt x="1796438" y="1382910"/>
                    </a:lnTo>
                    <a:lnTo>
                      <a:pt x="2003203" y="1288026"/>
                    </a:lnTo>
                    <a:lnTo>
                      <a:pt x="2112249" y="1423980"/>
                    </a:lnTo>
                    <a:lnTo>
                      <a:pt x="1751121" y="1452304"/>
                    </a:lnTo>
                    <a:close/>
                    <a:moveTo>
                      <a:pt x="1881410" y="1329095"/>
                    </a:moveTo>
                    <a:lnTo>
                      <a:pt x="1838924" y="1313517"/>
                    </a:lnTo>
                    <a:lnTo>
                      <a:pt x="1919647" y="1187476"/>
                    </a:lnTo>
                    <a:lnTo>
                      <a:pt x="1956468" y="1234210"/>
                    </a:lnTo>
                    <a:lnTo>
                      <a:pt x="1881410" y="1329095"/>
                    </a:lnTo>
                    <a:close/>
                    <a:moveTo>
                      <a:pt x="1837508" y="1313517"/>
                    </a:moveTo>
                    <a:lnTo>
                      <a:pt x="1719964" y="1271031"/>
                    </a:lnTo>
                    <a:lnTo>
                      <a:pt x="1751121" y="1084094"/>
                    </a:lnTo>
                    <a:lnTo>
                      <a:pt x="1812017" y="1054354"/>
                    </a:lnTo>
                    <a:lnTo>
                      <a:pt x="1918231" y="1187476"/>
                    </a:lnTo>
                    <a:lnTo>
                      <a:pt x="1837508" y="1313517"/>
                    </a:lnTo>
                    <a:close/>
                    <a:moveTo>
                      <a:pt x="1718548" y="1269615"/>
                    </a:moveTo>
                    <a:lnTo>
                      <a:pt x="1565599" y="1212967"/>
                    </a:lnTo>
                    <a:lnTo>
                      <a:pt x="1586842" y="1166233"/>
                    </a:lnTo>
                    <a:lnTo>
                      <a:pt x="1749704" y="1084094"/>
                    </a:lnTo>
                    <a:lnTo>
                      <a:pt x="1718548" y="1269615"/>
                    </a:lnTo>
                    <a:close/>
                    <a:moveTo>
                      <a:pt x="1316350" y="1571264"/>
                    </a:moveTo>
                    <a:lnTo>
                      <a:pt x="1409818" y="1572680"/>
                    </a:lnTo>
                    <a:lnTo>
                      <a:pt x="1448056" y="1646322"/>
                    </a:lnTo>
                    <a:lnTo>
                      <a:pt x="1428229" y="1646322"/>
                    </a:lnTo>
                    <a:lnTo>
                      <a:pt x="1309269" y="1588258"/>
                    </a:lnTo>
                    <a:lnTo>
                      <a:pt x="1316350" y="1571264"/>
                    </a:lnTo>
                    <a:close/>
                    <a:moveTo>
                      <a:pt x="2187307" y="2433724"/>
                    </a:moveTo>
                    <a:lnTo>
                      <a:pt x="2187307" y="2433724"/>
                    </a:lnTo>
                    <a:lnTo>
                      <a:pt x="2054185" y="2452135"/>
                    </a:lnTo>
                    <a:lnTo>
                      <a:pt x="2137741" y="1994705"/>
                    </a:lnTo>
                    <a:lnTo>
                      <a:pt x="2251036" y="2049936"/>
                    </a:lnTo>
                    <a:lnTo>
                      <a:pt x="2258117" y="2303435"/>
                    </a:lnTo>
                    <a:lnTo>
                      <a:pt x="2258117" y="2304851"/>
                    </a:lnTo>
                    <a:lnTo>
                      <a:pt x="2323262" y="2085341"/>
                    </a:lnTo>
                    <a:lnTo>
                      <a:pt x="2487540" y="2164648"/>
                    </a:lnTo>
                    <a:lnTo>
                      <a:pt x="2436557" y="2396903"/>
                    </a:lnTo>
                    <a:lnTo>
                      <a:pt x="2408233" y="2402568"/>
                    </a:lnTo>
                    <a:lnTo>
                      <a:pt x="2272279" y="2299186"/>
                    </a:lnTo>
                    <a:lnTo>
                      <a:pt x="2270863" y="2299186"/>
                    </a:lnTo>
                    <a:lnTo>
                      <a:pt x="2336008" y="2415314"/>
                    </a:lnTo>
                    <a:lnTo>
                      <a:pt x="2197221" y="2439389"/>
                    </a:lnTo>
                    <a:lnTo>
                      <a:pt x="2187307" y="2433724"/>
                    </a:lnTo>
                    <a:lnTo>
                      <a:pt x="2191556" y="2439389"/>
                    </a:lnTo>
                    <a:lnTo>
                      <a:pt x="2183059" y="2440805"/>
                    </a:lnTo>
                    <a:lnTo>
                      <a:pt x="2187307" y="2433724"/>
                    </a:lnTo>
                    <a:close/>
                    <a:moveTo>
                      <a:pt x="2336008" y="2415314"/>
                    </a:moveTo>
                    <a:lnTo>
                      <a:pt x="2377077" y="2488955"/>
                    </a:lnTo>
                    <a:lnTo>
                      <a:pt x="2277944" y="2440805"/>
                    </a:lnTo>
                    <a:lnTo>
                      <a:pt x="2276528" y="2440805"/>
                    </a:lnTo>
                    <a:lnTo>
                      <a:pt x="2399736" y="2555516"/>
                    </a:lnTo>
                    <a:lnTo>
                      <a:pt x="2395488" y="2578175"/>
                    </a:lnTo>
                    <a:lnTo>
                      <a:pt x="2198637" y="2439389"/>
                    </a:lnTo>
                    <a:lnTo>
                      <a:pt x="2336008" y="2415314"/>
                    </a:lnTo>
                    <a:close/>
                    <a:moveTo>
                      <a:pt x="2532858" y="2674476"/>
                    </a:moveTo>
                    <a:lnTo>
                      <a:pt x="2432309" y="2582424"/>
                    </a:lnTo>
                    <a:lnTo>
                      <a:pt x="2406817" y="2537106"/>
                    </a:lnTo>
                    <a:lnTo>
                      <a:pt x="2412482" y="2508782"/>
                    </a:lnTo>
                    <a:lnTo>
                      <a:pt x="2769362" y="2678725"/>
                    </a:lnTo>
                    <a:lnTo>
                      <a:pt x="2777859" y="2685806"/>
                    </a:lnTo>
                    <a:lnTo>
                      <a:pt x="2793438" y="2729708"/>
                    </a:lnTo>
                    <a:lnTo>
                      <a:pt x="2576761" y="2670228"/>
                    </a:lnTo>
                    <a:lnTo>
                      <a:pt x="2576761" y="2670228"/>
                    </a:lnTo>
                    <a:lnTo>
                      <a:pt x="2629159" y="2743870"/>
                    </a:lnTo>
                    <a:lnTo>
                      <a:pt x="2532858" y="2674476"/>
                    </a:lnTo>
                    <a:close/>
                    <a:moveTo>
                      <a:pt x="2923727" y="2792020"/>
                    </a:moveTo>
                    <a:lnTo>
                      <a:pt x="2942138" y="2772194"/>
                    </a:lnTo>
                    <a:lnTo>
                      <a:pt x="2998785" y="2787772"/>
                    </a:lnTo>
                    <a:lnTo>
                      <a:pt x="3140404" y="2855749"/>
                    </a:lnTo>
                    <a:lnTo>
                      <a:pt x="3197052" y="2981790"/>
                    </a:lnTo>
                    <a:lnTo>
                      <a:pt x="3185723" y="2993119"/>
                    </a:lnTo>
                    <a:lnTo>
                      <a:pt x="2923727" y="2792020"/>
                    </a:lnTo>
                    <a:close/>
                    <a:moveTo>
                      <a:pt x="3323093" y="2942136"/>
                    </a:moveTo>
                    <a:lnTo>
                      <a:pt x="3209797" y="2998784"/>
                    </a:lnTo>
                    <a:lnTo>
                      <a:pt x="3201301" y="2981790"/>
                    </a:lnTo>
                    <a:lnTo>
                      <a:pt x="3269278" y="2916645"/>
                    </a:lnTo>
                    <a:lnTo>
                      <a:pt x="3323093" y="2942136"/>
                    </a:lnTo>
                    <a:close/>
                    <a:moveTo>
                      <a:pt x="3325925" y="2943553"/>
                    </a:moveTo>
                    <a:lnTo>
                      <a:pt x="3342920" y="2952050"/>
                    </a:lnTo>
                    <a:lnTo>
                      <a:pt x="3372659" y="3103582"/>
                    </a:lnTo>
                    <a:lnTo>
                      <a:pt x="3216878" y="3017195"/>
                    </a:lnTo>
                    <a:lnTo>
                      <a:pt x="3209797" y="3001616"/>
                    </a:lnTo>
                    <a:lnTo>
                      <a:pt x="3325925" y="2943553"/>
                    </a:lnTo>
                    <a:close/>
                    <a:moveTo>
                      <a:pt x="3345752" y="2949217"/>
                    </a:moveTo>
                    <a:lnTo>
                      <a:pt x="3342920" y="2933639"/>
                    </a:lnTo>
                    <a:lnTo>
                      <a:pt x="3436388" y="2886905"/>
                    </a:lnTo>
                    <a:lnTo>
                      <a:pt x="3451967" y="2998784"/>
                    </a:lnTo>
                    <a:lnTo>
                      <a:pt x="3345752" y="2949217"/>
                    </a:lnTo>
                    <a:close/>
                    <a:moveTo>
                      <a:pt x="3623325" y="2716962"/>
                    </a:moveTo>
                    <a:lnTo>
                      <a:pt x="3570926" y="2690054"/>
                    </a:lnTo>
                    <a:lnTo>
                      <a:pt x="3507198" y="2658898"/>
                    </a:lnTo>
                    <a:lnTo>
                      <a:pt x="3369828" y="2403984"/>
                    </a:lnTo>
                    <a:lnTo>
                      <a:pt x="3369828" y="2402568"/>
                    </a:lnTo>
                    <a:lnTo>
                      <a:pt x="3398152" y="2605083"/>
                    </a:lnTo>
                    <a:lnTo>
                      <a:pt x="3189971" y="2503117"/>
                    </a:lnTo>
                    <a:lnTo>
                      <a:pt x="3325925" y="2354417"/>
                    </a:lnTo>
                    <a:lnTo>
                      <a:pt x="3701216" y="2456383"/>
                    </a:lnTo>
                    <a:lnTo>
                      <a:pt x="3702633" y="2456383"/>
                    </a:lnTo>
                    <a:lnTo>
                      <a:pt x="3395319" y="2277943"/>
                    </a:lnTo>
                    <a:lnTo>
                      <a:pt x="3549683" y="2109416"/>
                    </a:lnTo>
                    <a:lnTo>
                      <a:pt x="3552516" y="2110833"/>
                    </a:lnTo>
                    <a:lnTo>
                      <a:pt x="3552516" y="2110833"/>
                    </a:lnTo>
                    <a:lnTo>
                      <a:pt x="3551100" y="2106584"/>
                    </a:lnTo>
                    <a:lnTo>
                      <a:pt x="3553933" y="2103752"/>
                    </a:lnTo>
                    <a:lnTo>
                      <a:pt x="3553933" y="2103752"/>
                    </a:lnTo>
                    <a:lnTo>
                      <a:pt x="3549683" y="2103752"/>
                    </a:lnTo>
                    <a:lnTo>
                      <a:pt x="3497285" y="1974878"/>
                    </a:lnTo>
                    <a:lnTo>
                      <a:pt x="3746534" y="2068347"/>
                    </a:lnTo>
                    <a:lnTo>
                      <a:pt x="3780523" y="2343088"/>
                    </a:lnTo>
                    <a:lnTo>
                      <a:pt x="3623325" y="2716962"/>
                    </a:lnTo>
                    <a:close/>
                    <a:moveTo>
                      <a:pt x="3726707" y="1884242"/>
                    </a:moveTo>
                    <a:lnTo>
                      <a:pt x="3868326" y="1966381"/>
                    </a:lnTo>
                    <a:lnTo>
                      <a:pt x="3825841" y="2098087"/>
                    </a:lnTo>
                    <a:lnTo>
                      <a:pt x="3747950" y="2069763"/>
                    </a:lnTo>
                    <a:lnTo>
                      <a:pt x="3726707" y="1884242"/>
                    </a:lnTo>
                    <a:close/>
                    <a:moveTo>
                      <a:pt x="3893818" y="1892739"/>
                    </a:moveTo>
                    <a:lnTo>
                      <a:pt x="4041102" y="2065514"/>
                    </a:lnTo>
                    <a:lnTo>
                      <a:pt x="3869743" y="1966381"/>
                    </a:lnTo>
                    <a:lnTo>
                      <a:pt x="3893818" y="1892739"/>
                    </a:lnTo>
                    <a:close/>
                    <a:moveTo>
                      <a:pt x="3696968" y="1660484"/>
                    </a:moveTo>
                    <a:lnTo>
                      <a:pt x="3696968" y="1660484"/>
                    </a:lnTo>
                    <a:lnTo>
                      <a:pt x="3723876" y="1879993"/>
                    </a:lnTo>
                    <a:lnTo>
                      <a:pt x="3374076" y="1677478"/>
                    </a:lnTo>
                    <a:lnTo>
                      <a:pt x="3235289" y="1337592"/>
                    </a:lnTo>
                    <a:lnTo>
                      <a:pt x="3250867" y="1336176"/>
                    </a:lnTo>
                    <a:lnTo>
                      <a:pt x="3682806" y="1659068"/>
                    </a:lnTo>
                    <a:lnTo>
                      <a:pt x="3682806" y="1659068"/>
                    </a:lnTo>
                    <a:lnTo>
                      <a:pt x="3718210" y="1299355"/>
                    </a:lnTo>
                    <a:lnTo>
                      <a:pt x="3749367" y="1296523"/>
                    </a:lnTo>
                    <a:lnTo>
                      <a:pt x="3871159" y="1489125"/>
                    </a:lnTo>
                    <a:lnTo>
                      <a:pt x="3861245" y="1514616"/>
                    </a:lnTo>
                    <a:lnTo>
                      <a:pt x="3882488" y="1506119"/>
                    </a:lnTo>
                    <a:lnTo>
                      <a:pt x="3919310" y="1564183"/>
                    </a:lnTo>
                    <a:lnTo>
                      <a:pt x="3895234" y="1762449"/>
                    </a:lnTo>
                    <a:lnTo>
                      <a:pt x="3895234" y="1762449"/>
                    </a:lnTo>
                    <a:lnTo>
                      <a:pt x="3936304" y="1751120"/>
                    </a:lnTo>
                    <a:lnTo>
                      <a:pt x="3892402" y="1887074"/>
                    </a:lnTo>
                    <a:lnTo>
                      <a:pt x="3696968" y="1660484"/>
                    </a:lnTo>
                    <a:close/>
                    <a:moveTo>
                      <a:pt x="4308763" y="1474963"/>
                    </a:moveTo>
                    <a:lnTo>
                      <a:pt x="4308763" y="1474963"/>
                    </a:lnTo>
                    <a:lnTo>
                      <a:pt x="4177057" y="1389991"/>
                    </a:lnTo>
                    <a:lnTo>
                      <a:pt x="4270525" y="1353170"/>
                    </a:lnTo>
                    <a:lnTo>
                      <a:pt x="4402231" y="1622247"/>
                    </a:lnTo>
                    <a:lnTo>
                      <a:pt x="4269109" y="1659068"/>
                    </a:lnTo>
                    <a:lnTo>
                      <a:pt x="4308763" y="1474963"/>
                    </a:lnTo>
                    <a:close/>
                    <a:moveTo>
                      <a:pt x="4271941" y="1351754"/>
                    </a:moveTo>
                    <a:lnTo>
                      <a:pt x="4206797" y="1217216"/>
                    </a:lnTo>
                    <a:lnTo>
                      <a:pt x="4460295" y="1263950"/>
                    </a:lnTo>
                    <a:lnTo>
                      <a:pt x="4460295" y="1263950"/>
                    </a:lnTo>
                    <a:lnTo>
                      <a:pt x="4475873" y="1259702"/>
                    </a:lnTo>
                    <a:lnTo>
                      <a:pt x="4477289" y="1269615"/>
                    </a:lnTo>
                    <a:lnTo>
                      <a:pt x="4271941" y="1351754"/>
                    </a:lnTo>
                    <a:close/>
                    <a:moveTo>
                      <a:pt x="4539602" y="982128"/>
                    </a:moveTo>
                    <a:lnTo>
                      <a:pt x="4458878" y="1112418"/>
                    </a:lnTo>
                    <a:lnTo>
                      <a:pt x="4446133" y="1013285"/>
                    </a:lnTo>
                    <a:lnTo>
                      <a:pt x="4539602" y="982128"/>
                    </a:lnTo>
                    <a:close/>
                    <a:moveTo>
                      <a:pt x="4446133" y="1010452"/>
                    </a:moveTo>
                    <a:lnTo>
                      <a:pt x="4433387" y="911319"/>
                    </a:lnTo>
                    <a:lnTo>
                      <a:pt x="4569341" y="908486"/>
                    </a:lnTo>
                    <a:lnTo>
                      <a:pt x="4579255" y="918400"/>
                    </a:lnTo>
                    <a:lnTo>
                      <a:pt x="4541017" y="980712"/>
                    </a:lnTo>
                    <a:lnTo>
                      <a:pt x="4446133" y="1010452"/>
                    </a:lnTo>
                    <a:close/>
                    <a:moveTo>
                      <a:pt x="4652897" y="802272"/>
                    </a:moveTo>
                    <a:lnTo>
                      <a:pt x="4589168" y="905654"/>
                    </a:lnTo>
                    <a:lnTo>
                      <a:pt x="4572174" y="905654"/>
                    </a:lnTo>
                    <a:lnTo>
                      <a:pt x="4414977" y="749873"/>
                    </a:lnTo>
                    <a:lnTo>
                      <a:pt x="4397982" y="618167"/>
                    </a:lnTo>
                    <a:lnTo>
                      <a:pt x="4652897" y="802272"/>
                    </a:lnTo>
                    <a:close/>
                    <a:moveTo>
                      <a:pt x="3400983" y="92760"/>
                    </a:moveTo>
                    <a:lnTo>
                      <a:pt x="3528440" y="350507"/>
                    </a:lnTo>
                    <a:lnTo>
                      <a:pt x="3453382" y="731463"/>
                    </a:lnTo>
                    <a:lnTo>
                      <a:pt x="3177225" y="605422"/>
                    </a:lnTo>
                    <a:lnTo>
                      <a:pt x="3214047" y="404322"/>
                    </a:lnTo>
                    <a:lnTo>
                      <a:pt x="3313180" y="342010"/>
                    </a:lnTo>
                    <a:lnTo>
                      <a:pt x="3313180" y="342010"/>
                    </a:lnTo>
                    <a:lnTo>
                      <a:pt x="3231040" y="138079"/>
                    </a:lnTo>
                    <a:lnTo>
                      <a:pt x="3150318" y="13454"/>
                    </a:lnTo>
                    <a:lnTo>
                      <a:pt x="3400983" y="92760"/>
                    </a:lnTo>
                    <a:close/>
                    <a:moveTo>
                      <a:pt x="2412482" y="1399905"/>
                    </a:moveTo>
                    <a:lnTo>
                      <a:pt x="2238290" y="1414067"/>
                    </a:lnTo>
                    <a:lnTo>
                      <a:pt x="2234042" y="1231378"/>
                    </a:lnTo>
                    <a:lnTo>
                      <a:pt x="2412482" y="1399905"/>
                    </a:lnTo>
                    <a:close/>
                    <a:moveTo>
                      <a:pt x="1268199" y="1569848"/>
                    </a:moveTo>
                    <a:lnTo>
                      <a:pt x="1305020" y="1588258"/>
                    </a:lnTo>
                    <a:lnTo>
                      <a:pt x="1279529" y="1640657"/>
                    </a:lnTo>
                    <a:lnTo>
                      <a:pt x="1184644" y="1637825"/>
                    </a:lnTo>
                    <a:lnTo>
                      <a:pt x="1178979" y="1568431"/>
                    </a:lnTo>
                    <a:lnTo>
                      <a:pt x="1268199" y="1569848"/>
                    </a:lnTo>
                    <a:close/>
                    <a:moveTo>
                      <a:pt x="698890" y="1550021"/>
                    </a:moveTo>
                    <a:lnTo>
                      <a:pt x="904238" y="1497622"/>
                    </a:lnTo>
                    <a:lnTo>
                      <a:pt x="885828" y="1561350"/>
                    </a:lnTo>
                    <a:lnTo>
                      <a:pt x="885828" y="1561350"/>
                    </a:lnTo>
                    <a:lnTo>
                      <a:pt x="1176147" y="1567015"/>
                    </a:lnTo>
                    <a:lnTo>
                      <a:pt x="1181812" y="1636409"/>
                    </a:lnTo>
                    <a:lnTo>
                      <a:pt x="1060019" y="1632160"/>
                    </a:lnTo>
                    <a:lnTo>
                      <a:pt x="1060019" y="1632160"/>
                    </a:lnTo>
                    <a:lnTo>
                      <a:pt x="1197390" y="1796438"/>
                    </a:lnTo>
                    <a:lnTo>
                      <a:pt x="1197390" y="1803519"/>
                    </a:lnTo>
                    <a:lnTo>
                      <a:pt x="875914" y="1854502"/>
                    </a:lnTo>
                    <a:lnTo>
                      <a:pt x="844758" y="1807768"/>
                    </a:lnTo>
                    <a:lnTo>
                      <a:pt x="873082" y="1803519"/>
                    </a:lnTo>
                    <a:lnTo>
                      <a:pt x="873082" y="1803519"/>
                    </a:lnTo>
                    <a:lnTo>
                      <a:pt x="698890" y="1550021"/>
                    </a:lnTo>
                    <a:close/>
                    <a:moveTo>
                      <a:pt x="1263951" y="1567015"/>
                    </a:moveTo>
                    <a:lnTo>
                      <a:pt x="1178979" y="1565599"/>
                    </a:lnTo>
                    <a:lnTo>
                      <a:pt x="1174731" y="1524529"/>
                    </a:lnTo>
                    <a:lnTo>
                      <a:pt x="1263951" y="1567015"/>
                    </a:lnTo>
                    <a:close/>
                    <a:moveTo>
                      <a:pt x="1065684" y="1634992"/>
                    </a:moveTo>
                    <a:lnTo>
                      <a:pt x="1183228" y="1639241"/>
                    </a:lnTo>
                    <a:lnTo>
                      <a:pt x="1197390" y="1793606"/>
                    </a:lnTo>
                    <a:lnTo>
                      <a:pt x="1065684" y="1634992"/>
                    </a:lnTo>
                    <a:close/>
                    <a:moveTo>
                      <a:pt x="1200222" y="1796438"/>
                    </a:moveTo>
                    <a:lnTo>
                      <a:pt x="1186060" y="1639241"/>
                    </a:lnTo>
                    <a:lnTo>
                      <a:pt x="1280945" y="1642073"/>
                    </a:lnTo>
                    <a:lnTo>
                      <a:pt x="1205887" y="1802103"/>
                    </a:lnTo>
                    <a:lnTo>
                      <a:pt x="1200222" y="1796438"/>
                    </a:lnTo>
                    <a:close/>
                    <a:moveTo>
                      <a:pt x="1422564" y="1644906"/>
                    </a:moveTo>
                    <a:lnTo>
                      <a:pt x="1283777" y="1640657"/>
                    </a:lnTo>
                    <a:lnTo>
                      <a:pt x="1307852" y="1588258"/>
                    </a:lnTo>
                    <a:lnTo>
                      <a:pt x="1422564" y="1644906"/>
                    </a:lnTo>
                    <a:close/>
                    <a:moveTo>
                      <a:pt x="1449472" y="1647738"/>
                    </a:moveTo>
                    <a:lnTo>
                      <a:pt x="1455137" y="1657651"/>
                    </a:lnTo>
                    <a:lnTo>
                      <a:pt x="1432478" y="1646322"/>
                    </a:lnTo>
                    <a:lnTo>
                      <a:pt x="1449472" y="1647738"/>
                    </a:lnTo>
                    <a:close/>
                    <a:moveTo>
                      <a:pt x="2674477" y="2814679"/>
                    </a:moveTo>
                    <a:lnTo>
                      <a:pt x="2674477" y="2813263"/>
                    </a:lnTo>
                    <a:lnTo>
                      <a:pt x="2634824" y="2942136"/>
                    </a:lnTo>
                    <a:lnTo>
                      <a:pt x="2454968" y="2623494"/>
                    </a:lnTo>
                    <a:lnTo>
                      <a:pt x="2531442" y="2677309"/>
                    </a:lnTo>
                    <a:lnTo>
                      <a:pt x="2675894" y="2810431"/>
                    </a:lnTo>
                    <a:lnTo>
                      <a:pt x="2675894" y="2810431"/>
                    </a:lnTo>
                    <a:lnTo>
                      <a:pt x="2677310" y="2809015"/>
                    </a:lnTo>
                    <a:lnTo>
                      <a:pt x="2636240" y="2750951"/>
                    </a:lnTo>
                    <a:lnTo>
                      <a:pt x="2834507" y="2891154"/>
                    </a:lnTo>
                    <a:lnTo>
                      <a:pt x="2668813" y="2974709"/>
                    </a:lnTo>
                    <a:lnTo>
                      <a:pt x="2674477" y="2814679"/>
                    </a:lnTo>
                    <a:close/>
                    <a:moveTo>
                      <a:pt x="2520112" y="2665979"/>
                    </a:moveTo>
                    <a:lnTo>
                      <a:pt x="2452135" y="2619245"/>
                    </a:lnTo>
                    <a:lnTo>
                      <a:pt x="2435141" y="2589505"/>
                    </a:lnTo>
                    <a:lnTo>
                      <a:pt x="2520112" y="2665979"/>
                    </a:lnTo>
                    <a:close/>
                    <a:moveTo>
                      <a:pt x="2654651" y="2981790"/>
                    </a:moveTo>
                    <a:lnTo>
                      <a:pt x="2617830" y="3000200"/>
                    </a:lnTo>
                    <a:lnTo>
                      <a:pt x="2634824" y="2946385"/>
                    </a:lnTo>
                    <a:lnTo>
                      <a:pt x="2654651" y="2981790"/>
                    </a:lnTo>
                    <a:close/>
                    <a:moveTo>
                      <a:pt x="2671645" y="2827425"/>
                    </a:moveTo>
                    <a:lnTo>
                      <a:pt x="2668813" y="2974709"/>
                    </a:lnTo>
                    <a:lnTo>
                      <a:pt x="2657483" y="2980374"/>
                    </a:lnTo>
                    <a:lnTo>
                      <a:pt x="2636240" y="2943553"/>
                    </a:lnTo>
                    <a:lnTo>
                      <a:pt x="2671645" y="2827425"/>
                    </a:lnTo>
                    <a:close/>
                    <a:moveTo>
                      <a:pt x="2668813" y="2977541"/>
                    </a:moveTo>
                    <a:lnTo>
                      <a:pt x="2668813" y="3001616"/>
                    </a:lnTo>
                    <a:lnTo>
                      <a:pt x="2658899" y="2983206"/>
                    </a:lnTo>
                    <a:lnTo>
                      <a:pt x="2668813" y="2977541"/>
                    </a:lnTo>
                    <a:close/>
                    <a:moveTo>
                      <a:pt x="2695720" y="3054016"/>
                    </a:moveTo>
                    <a:lnTo>
                      <a:pt x="2661732" y="3381156"/>
                    </a:lnTo>
                    <a:lnTo>
                      <a:pt x="2670229" y="3008697"/>
                    </a:lnTo>
                    <a:lnTo>
                      <a:pt x="2695720" y="3054016"/>
                    </a:lnTo>
                    <a:close/>
                    <a:moveTo>
                      <a:pt x="2861415" y="2746702"/>
                    </a:moveTo>
                    <a:lnTo>
                      <a:pt x="2797686" y="2728292"/>
                    </a:lnTo>
                    <a:lnTo>
                      <a:pt x="2783524" y="2685806"/>
                    </a:lnTo>
                    <a:lnTo>
                      <a:pt x="2861415" y="2746702"/>
                    </a:lnTo>
                    <a:close/>
                    <a:moveTo>
                      <a:pt x="2865663" y="2750951"/>
                    </a:moveTo>
                    <a:lnTo>
                      <a:pt x="2920895" y="2793436"/>
                    </a:lnTo>
                    <a:lnTo>
                      <a:pt x="2847253" y="2874159"/>
                    </a:lnTo>
                    <a:lnTo>
                      <a:pt x="2797686" y="2732540"/>
                    </a:lnTo>
                    <a:lnTo>
                      <a:pt x="2865663" y="2750951"/>
                    </a:lnTo>
                    <a:close/>
                    <a:moveTo>
                      <a:pt x="2871328" y="2752367"/>
                    </a:moveTo>
                    <a:lnTo>
                      <a:pt x="2940721" y="2772194"/>
                    </a:lnTo>
                    <a:lnTo>
                      <a:pt x="2922311" y="2792020"/>
                    </a:lnTo>
                    <a:lnTo>
                      <a:pt x="2871328" y="2752367"/>
                    </a:lnTo>
                    <a:close/>
                    <a:moveTo>
                      <a:pt x="3208382" y="3001616"/>
                    </a:moveTo>
                    <a:lnTo>
                      <a:pt x="3214047" y="3015778"/>
                    </a:lnTo>
                    <a:lnTo>
                      <a:pt x="3198468" y="3007281"/>
                    </a:lnTo>
                    <a:lnTo>
                      <a:pt x="3208382" y="3001616"/>
                    </a:lnTo>
                    <a:close/>
                    <a:moveTo>
                      <a:pt x="4617492" y="955221"/>
                    </a:moveTo>
                    <a:lnTo>
                      <a:pt x="4545267" y="979296"/>
                    </a:lnTo>
                    <a:lnTo>
                      <a:pt x="4582087" y="919816"/>
                    </a:lnTo>
                    <a:lnTo>
                      <a:pt x="4617492" y="955221"/>
                    </a:lnTo>
                    <a:close/>
                    <a:moveTo>
                      <a:pt x="4781770" y="902822"/>
                    </a:moveTo>
                    <a:lnTo>
                      <a:pt x="4618908" y="955221"/>
                    </a:lnTo>
                    <a:lnTo>
                      <a:pt x="4582087" y="918400"/>
                    </a:lnTo>
                    <a:lnTo>
                      <a:pt x="4589168" y="908486"/>
                    </a:lnTo>
                    <a:lnTo>
                      <a:pt x="4781770" y="902822"/>
                    </a:lnTo>
                    <a:close/>
                    <a:moveTo>
                      <a:pt x="5083419" y="871665"/>
                    </a:moveTo>
                    <a:lnTo>
                      <a:pt x="5115992" y="868833"/>
                    </a:lnTo>
                    <a:lnTo>
                      <a:pt x="5098997" y="880163"/>
                    </a:lnTo>
                    <a:lnTo>
                      <a:pt x="5083419" y="871665"/>
                    </a:lnTo>
                    <a:close/>
                    <a:moveTo>
                      <a:pt x="5080587" y="870249"/>
                    </a:moveTo>
                    <a:lnTo>
                      <a:pt x="4951713" y="796607"/>
                    </a:lnTo>
                    <a:lnTo>
                      <a:pt x="5182553" y="822099"/>
                    </a:lnTo>
                    <a:lnTo>
                      <a:pt x="5118824" y="866001"/>
                    </a:lnTo>
                    <a:lnTo>
                      <a:pt x="5080587" y="870249"/>
                    </a:lnTo>
                    <a:close/>
                    <a:moveTo>
                      <a:pt x="5057927" y="874498"/>
                    </a:moveTo>
                    <a:lnTo>
                      <a:pt x="5080587" y="871665"/>
                    </a:lnTo>
                    <a:lnTo>
                      <a:pt x="5097581" y="881579"/>
                    </a:lnTo>
                    <a:lnTo>
                      <a:pt x="5086251" y="890076"/>
                    </a:lnTo>
                    <a:lnTo>
                      <a:pt x="5057927" y="874498"/>
                    </a:lnTo>
                    <a:close/>
                    <a:moveTo>
                      <a:pt x="5053679" y="873082"/>
                    </a:moveTo>
                    <a:lnTo>
                      <a:pt x="4910644" y="792359"/>
                    </a:lnTo>
                    <a:lnTo>
                      <a:pt x="4946049" y="796607"/>
                    </a:lnTo>
                    <a:lnTo>
                      <a:pt x="5076338" y="870249"/>
                    </a:lnTo>
                    <a:lnTo>
                      <a:pt x="5053679" y="873082"/>
                    </a:lnTo>
                    <a:close/>
                    <a:moveTo>
                      <a:pt x="4941800" y="793775"/>
                    </a:moveTo>
                    <a:lnTo>
                      <a:pt x="4902146" y="789526"/>
                    </a:lnTo>
                    <a:lnTo>
                      <a:pt x="4900730" y="789526"/>
                    </a:lnTo>
                    <a:lnTo>
                      <a:pt x="5050846" y="873082"/>
                    </a:lnTo>
                    <a:lnTo>
                      <a:pt x="4801597" y="899989"/>
                    </a:lnTo>
                    <a:lnTo>
                      <a:pt x="4791683" y="899989"/>
                    </a:lnTo>
                    <a:lnTo>
                      <a:pt x="4654313" y="800856"/>
                    </a:lnTo>
                    <a:lnTo>
                      <a:pt x="4732203" y="674815"/>
                    </a:lnTo>
                    <a:lnTo>
                      <a:pt x="4941800" y="793775"/>
                    </a:lnTo>
                    <a:close/>
                    <a:moveTo>
                      <a:pt x="4790268" y="902822"/>
                    </a:moveTo>
                    <a:lnTo>
                      <a:pt x="4803013" y="902822"/>
                    </a:lnTo>
                    <a:lnTo>
                      <a:pt x="5055096" y="875914"/>
                    </a:lnTo>
                    <a:lnTo>
                      <a:pt x="5083419" y="891492"/>
                    </a:lnTo>
                    <a:lnTo>
                      <a:pt x="4773273" y="1106753"/>
                    </a:lnTo>
                    <a:lnTo>
                      <a:pt x="4621740" y="956637"/>
                    </a:lnTo>
                    <a:lnTo>
                      <a:pt x="4790268" y="902822"/>
                    </a:lnTo>
                    <a:close/>
                    <a:moveTo>
                      <a:pt x="5086251" y="891492"/>
                    </a:moveTo>
                    <a:lnTo>
                      <a:pt x="5097581" y="882995"/>
                    </a:lnTo>
                    <a:lnTo>
                      <a:pt x="5268940" y="980712"/>
                    </a:lnTo>
                    <a:lnTo>
                      <a:pt x="5263275" y="989209"/>
                    </a:lnTo>
                    <a:lnTo>
                      <a:pt x="5086251" y="891492"/>
                    </a:lnTo>
                    <a:close/>
                    <a:moveTo>
                      <a:pt x="5365241" y="841925"/>
                    </a:moveTo>
                    <a:lnTo>
                      <a:pt x="5271773" y="979296"/>
                    </a:lnTo>
                    <a:lnTo>
                      <a:pt x="5100413" y="881579"/>
                    </a:lnTo>
                    <a:lnTo>
                      <a:pt x="5120240" y="867417"/>
                    </a:lnTo>
                    <a:lnTo>
                      <a:pt x="5365241" y="841925"/>
                    </a:lnTo>
                    <a:close/>
                    <a:moveTo>
                      <a:pt x="1812017" y="1051522"/>
                    </a:moveTo>
                    <a:lnTo>
                      <a:pt x="1752537" y="1081262"/>
                    </a:lnTo>
                    <a:lnTo>
                      <a:pt x="1766699" y="996290"/>
                    </a:lnTo>
                    <a:lnTo>
                      <a:pt x="1812017" y="1051522"/>
                    </a:lnTo>
                    <a:close/>
                    <a:moveTo>
                      <a:pt x="1108170" y="946724"/>
                    </a:moveTo>
                    <a:lnTo>
                      <a:pt x="1103921" y="959469"/>
                    </a:lnTo>
                    <a:lnTo>
                      <a:pt x="1092592" y="938226"/>
                    </a:lnTo>
                    <a:lnTo>
                      <a:pt x="1108170" y="946724"/>
                    </a:lnTo>
                    <a:close/>
                    <a:moveTo>
                      <a:pt x="1421148" y="1898404"/>
                    </a:moveTo>
                    <a:lnTo>
                      <a:pt x="1559935" y="1857334"/>
                    </a:lnTo>
                    <a:lnTo>
                      <a:pt x="1601004" y="1935225"/>
                    </a:lnTo>
                    <a:lnTo>
                      <a:pt x="1421148" y="1898404"/>
                    </a:lnTo>
                    <a:close/>
                    <a:moveTo>
                      <a:pt x="1742623" y="1800687"/>
                    </a:moveTo>
                    <a:lnTo>
                      <a:pt x="1561351" y="1854502"/>
                    </a:lnTo>
                    <a:lnTo>
                      <a:pt x="1459385" y="1663316"/>
                    </a:lnTo>
                    <a:lnTo>
                      <a:pt x="1742623" y="1800687"/>
                    </a:lnTo>
                    <a:close/>
                    <a:moveTo>
                      <a:pt x="2194388" y="2439389"/>
                    </a:moveTo>
                    <a:lnTo>
                      <a:pt x="2195805" y="2439389"/>
                    </a:lnTo>
                    <a:lnTo>
                      <a:pt x="2395488" y="2579592"/>
                    </a:lnTo>
                    <a:lnTo>
                      <a:pt x="2347337" y="2797685"/>
                    </a:lnTo>
                    <a:lnTo>
                      <a:pt x="2194388" y="2439389"/>
                    </a:lnTo>
                    <a:close/>
                    <a:moveTo>
                      <a:pt x="2192972" y="2437973"/>
                    </a:moveTo>
                    <a:lnTo>
                      <a:pt x="2192972" y="2437973"/>
                    </a:lnTo>
                    <a:lnTo>
                      <a:pt x="2192972" y="2437973"/>
                    </a:lnTo>
                    <a:lnTo>
                      <a:pt x="2192972" y="2437973"/>
                    </a:lnTo>
                    <a:close/>
                    <a:moveTo>
                      <a:pt x="4089253" y="1708634"/>
                    </a:moveTo>
                    <a:lnTo>
                      <a:pt x="3939136" y="1749704"/>
                    </a:lnTo>
                    <a:lnTo>
                      <a:pt x="3971709" y="1647738"/>
                    </a:lnTo>
                    <a:lnTo>
                      <a:pt x="4089253" y="1708634"/>
                    </a:lnTo>
                    <a:close/>
                    <a:moveTo>
                      <a:pt x="5284518" y="1140742"/>
                    </a:moveTo>
                    <a:lnTo>
                      <a:pt x="5356744" y="1031695"/>
                    </a:lnTo>
                    <a:lnTo>
                      <a:pt x="5400646" y="1057186"/>
                    </a:lnTo>
                    <a:lnTo>
                      <a:pt x="5284518" y="1140742"/>
                    </a:lnTo>
                    <a:close/>
                    <a:moveTo>
                      <a:pt x="2801934" y="629497"/>
                    </a:moveTo>
                    <a:lnTo>
                      <a:pt x="2818929" y="653572"/>
                    </a:lnTo>
                    <a:lnTo>
                      <a:pt x="2541355" y="829180"/>
                    </a:lnTo>
                    <a:lnTo>
                      <a:pt x="2801934" y="629497"/>
                    </a:lnTo>
                    <a:close/>
                    <a:moveTo>
                      <a:pt x="2532858" y="908486"/>
                    </a:moveTo>
                    <a:lnTo>
                      <a:pt x="1926728" y="796607"/>
                    </a:lnTo>
                    <a:lnTo>
                      <a:pt x="2129244" y="693225"/>
                    </a:lnTo>
                    <a:lnTo>
                      <a:pt x="2532858" y="908486"/>
                    </a:lnTo>
                    <a:close/>
                    <a:moveTo>
                      <a:pt x="1710051" y="897157"/>
                    </a:moveTo>
                    <a:lnTo>
                      <a:pt x="1753953" y="800856"/>
                    </a:lnTo>
                    <a:lnTo>
                      <a:pt x="1763866" y="973631"/>
                    </a:lnTo>
                    <a:lnTo>
                      <a:pt x="1710051" y="897157"/>
                    </a:lnTo>
                    <a:close/>
                    <a:moveTo>
                      <a:pt x="579930" y="1177563"/>
                    </a:moveTo>
                    <a:lnTo>
                      <a:pt x="570017" y="1207303"/>
                    </a:lnTo>
                    <a:lnTo>
                      <a:pt x="568601" y="1208719"/>
                    </a:lnTo>
                    <a:lnTo>
                      <a:pt x="554439" y="1197389"/>
                    </a:lnTo>
                    <a:lnTo>
                      <a:pt x="579930" y="1177563"/>
                    </a:lnTo>
                    <a:close/>
                    <a:moveTo>
                      <a:pt x="759787" y="871665"/>
                    </a:moveTo>
                    <a:lnTo>
                      <a:pt x="748457" y="882995"/>
                    </a:lnTo>
                    <a:lnTo>
                      <a:pt x="747041" y="861752"/>
                    </a:lnTo>
                    <a:lnTo>
                      <a:pt x="759787" y="871665"/>
                    </a:lnTo>
                    <a:close/>
                    <a:moveTo>
                      <a:pt x="762619" y="871665"/>
                    </a:moveTo>
                    <a:lnTo>
                      <a:pt x="948140" y="687561"/>
                    </a:lnTo>
                    <a:lnTo>
                      <a:pt x="983545" y="749873"/>
                    </a:lnTo>
                    <a:lnTo>
                      <a:pt x="822099" y="919816"/>
                    </a:lnTo>
                    <a:lnTo>
                      <a:pt x="762619" y="871665"/>
                    </a:lnTo>
                    <a:close/>
                    <a:moveTo>
                      <a:pt x="820683" y="921232"/>
                    </a:moveTo>
                    <a:lnTo>
                      <a:pt x="762619" y="982128"/>
                    </a:lnTo>
                    <a:lnTo>
                      <a:pt x="756954" y="986377"/>
                    </a:lnTo>
                    <a:lnTo>
                      <a:pt x="749873" y="884411"/>
                    </a:lnTo>
                    <a:lnTo>
                      <a:pt x="762619" y="871665"/>
                    </a:lnTo>
                    <a:lnTo>
                      <a:pt x="820683" y="921232"/>
                    </a:lnTo>
                    <a:close/>
                    <a:moveTo>
                      <a:pt x="756954" y="989209"/>
                    </a:moveTo>
                    <a:lnTo>
                      <a:pt x="764035" y="984961"/>
                    </a:lnTo>
                    <a:lnTo>
                      <a:pt x="822099" y="924064"/>
                    </a:lnTo>
                    <a:lnTo>
                      <a:pt x="871666" y="965134"/>
                    </a:lnTo>
                    <a:lnTo>
                      <a:pt x="761203" y="1045857"/>
                    </a:lnTo>
                    <a:lnTo>
                      <a:pt x="756954" y="989209"/>
                    </a:lnTo>
                    <a:close/>
                    <a:moveTo>
                      <a:pt x="584179" y="1171898"/>
                    </a:moveTo>
                    <a:lnTo>
                      <a:pt x="602589" y="1120915"/>
                    </a:lnTo>
                    <a:lnTo>
                      <a:pt x="616751" y="1118083"/>
                    </a:lnTo>
                    <a:lnTo>
                      <a:pt x="592676" y="1166233"/>
                    </a:lnTo>
                    <a:lnTo>
                      <a:pt x="584179" y="1171898"/>
                    </a:lnTo>
                    <a:close/>
                    <a:moveTo>
                      <a:pt x="591260" y="1169066"/>
                    </a:moveTo>
                    <a:lnTo>
                      <a:pt x="572849" y="1204470"/>
                    </a:lnTo>
                    <a:lnTo>
                      <a:pt x="571433" y="1204470"/>
                    </a:lnTo>
                    <a:lnTo>
                      <a:pt x="582763" y="1174730"/>
                    </a:lnTo>
                    <a:lnTo>
                      <a:pt x="591260" y="1169066"/>
                    </a:lnTo>
                    <a:close/>
                    <a:moveTo>
                      <a:pt x="490710" y="1139326"/>
                    </a:moveTo>
                    <a:lnTo>
                      <a:pt x="490710" y="1139326"/>
                    </a:lnTo>
                    <a:lnTo>
                      <a:pt x="599757" y="1120915"/>
                    </a:lnTo>
                    <a:lnTo>
                      <a:pt x="579930" y="1174730"/>
                    </a:lnTo>
                    <a:lnTo>
                      <a:pt x="550190" y="1195973"/>
                    </a:lnTo>
                    <a:lnTo>
                      <a:pt x="435479" y="1103921"/>
                    </a:lnTo>
                    <a:lnTo>
                      <a:pt x="608254" y="1021782"/>
                    </a:lnTo>
                    <a:lnTo>
                      <a:pt x="490710" y="1139326"/>
                    </a:lnTo>
                    <a:close/>
                    <a:moveTo>
                      <a:pt x="684728" y="984961"/>
                    </a:moveTo>
                    <a:lnTo>
                      <a:pt x="647908" y="1058603"/>
                    </a:lnTo>
                    <a:lnTo>
                      <a:pt x="615335" y="1079845"/>
                    </a:lnTo>
                    <a:lnTo>
                      <a:pt x="615335" y="1079845"/>
                    </a:lnTo>
                    <a:lnTo>
                      <a:pt x="601173" y="1118083"/>
                    </a:lnTo>
                    <a:lnTo>
                      <a:pt x="496375" y="1136493"/>
                    </a:lnTo>
                    <a:lnTo>
                      <a:pt x="615335" y="1017533"/>
                    </a:lnTo>
                    <a:lnTo>
                      <a:pt x="684728" y="984961"/>
                    </a:lnTo>
                    <a:close/>
                    <a:moveTo>
                      <a:pt x="645075" y="1062851"/>
                    </a:moveTo>
                    <a:lnTo>
                      <a:pt x="618167" y="1115250"/>
                    </a:lnTo>
                    <a:lnTo>
                      <a:pt x="602589" y="1118083"/>
                    </a:lnTo>
                    <a:lnTo>
                      <a:pt x="615335" y="1081262"/>
                    </a:lnTo>
                    <a:lnTo>
                      <a:pt x="645075" y="1062851"/>
                    </a:lnTo>
                    <a:close/>
                    <a:moveTo>
                      <a:pt x="650740" y="1057186"/>
                    </a:moveTo>
                    <a:lnTo>
                      <a:pt x="688977" y="982128"/>
                    </a:lnTo>
                    <a:lnTo>
                      <a:pt x="688977" y="982128"/>
                    </a:lnTo>
                    <a:lnTo>
                      <a:pt x="619584" y="1014701"/>
                    </a:lnTo>
                    <a:lnTo>
                      <a:pt x="747041" y="887244"/>
                    </a:lnTo>
                    <a:lnTo>
                      <a:pt x="754122" y="987793"/>
                    </a:lnTo>
                    <a:lnTo>
                      <a:pt x="650740" y="1057186"/>
                    </a:lnTo>
                    <a:close/>
                    <a:moveTo>
                      <a:pt x="647908" y="1060019"/>
                    </a:moveTo>
                    <a:lnTo>
                      <a:pt x="754122" y="989209"/>
                    </a:lnTo>
                    <a:lnTo>
                      <a:pt x="758370" y="1044441"/>
                    </a:lnTo>
                    <a:lnTo>
                      <a:pt x="676231" y="1103921"/>
                    </a:lnTo>
                    <a:lnTo>
                      <a:pt x="621000" y="1113834"/>
                    </a:lnTo>
                    <a:lnTo>
                      <a:pt x="647908" y="1060019"/>
                    </a:lnTo>
                    <a:close/>
                    <a:moveTo>
                      <a:pt x="551606" y="1197389"/>
                    </a:moveTo>
                    <a:lnTo>
                      <a:pt x="565768" y="1208719"/>
                    </a:lnTo>
                    <a:lnTo>
                      <a:pt x="459554" y="1265367"/>
                    </a:lnTo>
                    <a:lnTo>
                      <a:pt x="551606" y="1197389"/>
                    </a:lnTo>
                    <a:close/>
                    <a:moveTo>
                      <a:pt x="571433" y="1211551"/>
                    </a:moveTo>
                    <a:lnTo>
                      <a:pt x="574265" y="1205887"/>
                    </a:lnTo>
                    <a:lnTo>
                      <a:pt x="670566" y="1154904"/>
                    </a:lnTo>
                    <a:lnTo>
                      <a:pt x="681896" y="1300771"/>
                    </a:lnTo>
                    <a:lnTo>
                      <a:pt x="571433" y="1211551"/>
                    </a:lnTo>
                    <a:close/>
                    <a:moveTo>
                      <a:pt x="671983" y="1108169"/>
                    </a:moveTo>
                    <a:lnTo>
                      <a:pt x="596925" y="1163401"/>
                    </a:lnTo>
                    <a:lnTo>
                      <a:pt x="619584" y="1118083"/>
                    </a:lnTo>
                    <a:lnTo>
                      <a:pt x="671983" y="1108169"/>
                    </a:lnTo>
                    <a:close/>
                    <a:moveTo>
                      <a:pt x="758370" y="1047273"/>
                    </a:moveTo>
                    <a:lnTo>
                      <a:pt x="761203" y="1089759"/>
                    </a:lnTo>
                    <a:lnTo>
                      <a:pt x="680480" y="1103921"/>
                    </a:lnTo>
                    <a:lnTo>
                      <a:pt x="758370" y="1047273"/>
                    </a:lnTo>
                    <a:close/>
                    <a:moveTo>
                      <a:pt x="568601" y="1208719"/>
                    </a:moveTo>
                    <a:lnTo>
                      <a:pt x="568601" y="1208719"/>
                    </a:lnTo>
                    <a:lnTo>
                      <a:pt x="568601" y="1208719"/>
                    </a:lnTo>
                    <a:lnTo>
                      <a:pt x="568601" y="1208719"/>
                    </a:lnTo>
                    <a:close/>
                    <a:moveTo>
                      <a:pt x="568601" y="1211551"/>
                    </a:moveTo>
                    <a:lnTo>
                      <a:pt x="568601" y="1211551"/>
                    </a:lnTo>
                    <a:lnTo>
                      <a:pt x="567185" y="1214384"/>
                    </a:lnTo>
                    <a:lnTo>
                      <a:pt x="568601" y="1211551"/>
                    </a:lnTo>
                    <a:close/>
                    <a:moveTo>
                      <a:pt x="570017" y="1208719"/>
                    </a:moveTo>
                    <a:lnTo>
                      <a:pt x="570017" y="1208719"/>
                    </a:lnTo>
                    <a:lnTo>
                      <a:pt x="570017" y="1211551"/>
                    </a:lnTo>
                    <a:lnTo>
                      <a:pt x="570017" y="1211551"/>
                    </a:lnTo>
                    <a:lnTo>
                      <a:pt x="570017" y="1208719"/>
                    </a:lnTo>
                    <a:close/>
                    <a:moveTo>
                      <a:pt x="752706" y="2127827"/>
                    </a:moveTo>
                    <a:lnTo>
                      <a:pt x="728630" y="2195804"/>
                    </a:lnTo>
                    <a:lnTo>
                      <a:pt x="741376" y="2120746"/>
                    </a:lnTo>
                    <a:lnTo>
                      <a:pt x="752706" y="2127827"/>
                    </a:lnTo>
                    <a:close/>
                    <a:moveTo>
                      <a:pt x="605422" y="1766698"/>
                    </a:moveTo>
                    <a:lnTo>
                      <a:pt x="486461" y="1647738"/>
                    </a:lnTo>
                    <a:lnTo>
                      <a:pt x="649323" y="1517448"/>
                    </a:lnTo>
                    <a:lnTo>
                      <a:pt x="843342" y="1809184"/>
                    </a:lnTo>
                    <a:lnTo>
                      <a:pt x="751289" y="1824762"/>
                    </a:lnTo>
                    <a:lnTo>
                      <a:pt x="625248" y="1752536"/>
                    </a:lnTo>
                    <a:lnTo>
                      <a:pt x="625248" y="1752536"/>
                    </a:lnTo>
                    <a:lnTo>
                      <a:pt x="605422" y="1766698"/>
                    </a:lnTo>
                    <a:close/>
                    <a:moveTo>
                      <a:pt x="605422" y="1769530"/>
                    </a:moveTo>
                    <a:lnTo>
                      <a:pt x="674815" y="1838924"/>
                    </a:lnTo>
                    <a:lnTo>
                      <a:pt x="596925" y="1860167"/>
                    </a:lnTo>
                    <a:lnTo>
                      <a:pt x="595508" y="1851669"/>
                    </a:lnTo>
                    <a:lnTo>
                      <a:pt x="595508" y="1851669"/>
                    </a:lnTo>
                    <a:lnTo>
                      <a:pt x="456722" y="1885658"/>
                    </a:lnTo>
                    <a:lnTo>
                      <a:pt x="605422" y="1769530"/>
                    </a:lnTo>
                    <a:close/>
                    <a:moveTo>
                      <a:pt x="739960" y="2117913"/>
                    </a:moveTo>
                    <a:lnTo>
                      <a:pt x="690393" y="2086757"/>
                    </a:lnTo>
                    <a:lnTo>
                      <a:pt x="619584" y="1991873"/>
                    </a:lnTo>
                    <a:lnTo>
                      <a:pt x="592676" y="1862999"/>
                    </a:lnTo>
                    <a:lnTo>
                      <a:pt x="596925" y="1861583"/>
                    </a:lnTo>
                    <a:lnTo>
                      <a:pt x="626665" y="1990456"/>
                    </a:lnTo>
                    <a:lnTo>
                      <a:pt x="626665" y="1990456"/>
                    </a:lnTo>
                    <a:lnTo>
                      <a:pt x="748457" y="2074011"/>
                    </a:lnTo>
                    <a:lnTo>
                      <a:pt x="739960" y="2117913"/>
                    </a:lnTo>
                    <a:close/>
                    <a:moveTo>
                      <a:pt x="187645" y="2093838"/>
                    </a:moveTo>
                    <a:lnTo>
                      <a:pt x="230131" y="1996121"/>
                    </a:lnTo>
                    <a:lnTo>
                      <a:pt x="317935" y="1984792"/>
                    </a:lnTo>
                    <a:lnTo>
                      <a:pt x="302357" y="2004618"/>
                    </a:lnTo>
                    <a:lnTo>
                      <a:pt x="187645" y="2093838"/>
                    </a:lnTo>
                    <a:close/>
                    <a:moveTo>
                      <a:pt x="152241" y="2123578"/>
                    </a:moveTo>
                    <a:lnTo>
                      <a:pt x="180564" y="2102335"/>
                    </a:lnTo>
                    <a:lnTo>
                      <a:pt x="181980" y="2102335"/>
                    </a:lnTo>
                    <a:lnTo>
                      <a:pt x="172067" y="2126411"/>
                    </a:lnTo>
                    <a:lnTo>
                      <a:pt x="152241" y="2123578"/>
                    </a:lnTo>
                    <a:close/>
                    <a:moveTo>
                      <a:pt x="48858" y="2106584"/>
                    </a:moveTo>
                    <a:lnTo>
                      <a:pt x="77182" y="2085341"/>
                    </a:lnTo>
                    <a:lnTo>
                      <a:pt x="98425" y="2115081"/>
                    </a:lnTo>
                    <a:lnTo>
                      <a:pt x="48858" y="2106584"/>
                    </a:lnTo>
                    <a:close/>
                    <a:moveTo>
                      <a:pt x="157905" y="2083925"/>
                    </a:moveTo>
                    <a:lnTo>
                      <a:pt x="223050" y="1997537"/>
                    </a:lnTo>
                    <a:lnTo>
                      <a:pt x="228715" y="1997537"/>
                    </a:lnTo>
                    <a:lnTo>
                      <a:pt x="184813" y="2098087"/>
                    </a:lnTo>
                    <a:lnTo>
                      <a:pt x="180564" y="2100919"/>
                    </a:lnTo>
                    <a:lnTo>
                      <a:pt x="157905" y="2083925"/>
                    </a:lnTo>
                    <a:close/>
                    <a:moveTo>
                      <a:pt x="123917" y="2146237"/>
                    </a:moveTo>
                    <a:lnTo>
                      <a:pt x="150824" y="2124994"/>
                    </a:lnTo>
                    <a:lnTo>
                      <a:pt x="170651" y="2127827"/>
                    </a:lnTo>
                    <a:lnTo>
                      <a:pt x="147992" y="2178810"/>
                    </a:lnTo>
                    <a:lnTo>
                      <a:pt x="123917" y="2146237"/>
                    </a:lnTo>
                    <a:close/>
                    <a:moveTo>
                      <a:pt x="115420" y="2139156"/>
                    </a:moveTo>
                    <a:lnTo>
                      <a:pt x="119668" y="2146237"/>
                    </a:lnTo>
                    <a:lnTo>
                      <a:pt x="95593" y="2164648"/>
                    </a:lnTo>
                    <a:lnTo>
                      <a:pt x="115420" y="2139156"/>
                    </a:lnTo>
                    <a:close/>
                    <a:moveTo>
                      <a:pt x="128165" y="2122162"/>
                    </a:moveTo>
                    <a:lnTo>
                      <a:pt x="146575" y="2124994"/>
                    </a:lnTo>
                    <a:lnTo>
                      <a:pt x="122500" y="2144821"/>
                    </a:lnTo>
                    <a:lnTo>
                      <a:pt x="116836" y="2137740"/>
                    </a:lnTo>
                    <a:lnTo>
                      <a:pt x="128165" y="2122162"/>
                    </a:lnTo>
                    <a:close/>
                    <a:moveTo>
                      <a:pt x="116836" y="2057017"/>
                    </a:moveTo>
                    <a:lnTo>
                      <a:pt x="155073" y="2083925"/>
                    </a:lnTo>
                    <a:lnTo>
                      <a:pt x="128165" y="2119330"/>
                    </a:lnTo>
                    <a:lnTo>
                      <a:pt x="102674" y="2115081"/>
                    </a:lnTo>
                    <a:lnTo>
                      <a:pt x="80015" y="2083925"/>
                    </a:lnTo>
                    <a:lnTo>
                      <a:pt x="116836" y="2057017"/>
                    </a:lnTo>
                    <a:close/>
                    <a:moveTo>
                      <a:pt x="129581" y="2120746"/>
                    </a:moveTo>
                    <a:lnTo>
                      <a:pt x="155073" y="2085341"/>
                    </a:lnTo>
                    <a:lnTo>
                      <a:pt x="177732" y="2100919"/>
                    </a:lnTo>
                    <a:lnTo>
                      <a:pt x="149408" y="2123578"/>
                    </a:lnTo>
                    <a:lnTo>
                      <a:pt x="129581" y="2120746"/>
                    </a:lnTo>
                    <a:close/>
                    <a:moveTo>
                      <a:pt x="118252" y="2055601"/>
                    </a:moveTo>
                    <a:lnTo>
                      <a:pt x="193310" y="2000370"/>
                    </a:lnTo>
                    <a:lnTo>
                      <a:pt x="220218" y="1997537"/>
                    </a:lnTo>
                    <a:lnTo>
                      <a:pt x="156489" y="2082509"/>
                    </a:lnTo>
                    <a:lnTo>
                      <a:pt x="118252" y="2055601"/>
                    </a:lnTo>
                    <a:close/>
                    <a:moveTo>
                      <a:pt x="63020" y="2015948"/>
                    </a:moveTo>
                    <a:lnTo>
                      <a:pt x="189061" y="2000370"/>
                    </a:lnTo>
                    <a:lnTo>
                      <a:pt x="116836" y="2054185"/>
                    </a:lnTo>
                    <a:lnTo>
                      <a:pt x="63020" y="2015948"/>
                    </a:lnTo>
                    <a:close/>
                    <a:moveTo>
                      <a:pt x="126749" y="2122162"/>
                    </a:moveTo>
                    <a:lnTo>
                      <a:pt x="116836" y="2136324"/>
                    </a:lnTo>
                    <a:lnTo>
                      <a:pt x="104090" y="2119330"/>
                    </a:lnTo>
                    <a:lnTo>
                      <a:pt x="126749" y="2122162"/>
                    </a:lnTo>
                    <a:close/>
                    <a:moveTo>
                      <a:pt x="223050" y="1994705"/>
                    </a:moveTo>
                    <a:lnTo>
                      <a:pt x="232963" y="1980543"/>
                    </a:lnTo>
                    <a:lnTo>
                      <a:pt x="227299" y="1993289"/>
                    </a:lnTo>
                    <a:lnTo>
                      <a:pt x="223050" y="1994705"/>
                    </a:lnTo>
                    <a:close/>
                    <a:moveTo>
                      <a:pt x="238628" y="1973462"/>
                    </a:moveTo>
                    <a:lnTo>
                      <a:pt x="238628" y="1973462"/>
                    </a:lnTo>
                    <a:lnTo>
                      <a:pt x="237212" y="1972046"/>
                    </a:lnTo>
                    <a:lnTo>
                      <a:pt x="220218" y="1994705"/>
                    </a:lnTo>
                    <a:lnTo>
                      <a:pt x="194726" y="1997537"/>
                    </a:lnTo>
                    <a:lnTo>
                      <a:pt x="234380" y="1967797"/>
                    </a:lnTo>
                    <a:lnTo>
                      <a:pt x="234380" y="1967797"/>
                    </a:lnTo>
                    <a:lnTo>
                      <a:pt x="74350" y="1981959"/>
                    </a:lnTo>
                    <a:lnTo>
                      <a:pt x="370334" y="1909733"/>
                    </a:lnTo>
                    <a:lnTo>
                      <a:pt x="375999" y="1912566"/>
                    </a:lnTo>
                    <a:lnTo>
                      <a:pt x="317935" y="1984792"/>
                    </a:lnTo>
                    <a:lnTo>
                      <a:pt x="228715" y="1996121"/>
                    </a:lnTo>
                    <a:lnTo>
                      <a:pt x="238628" y="1973462"/>
                    </a:lnTo>
                    <a:close/>
                    <a:moveTo>
                      <a:pt x="230131" y="1970630"/>
                    </a:moveTo>
                    <a:lnTo>
                      <a:pt x="191894" y="1998953"/>
                    </a:lnTo>
                    <a:lnTo>
                      <a:pt x="57356" y="2015948"/>
                    </a:lnTo>
                    <a:lnTo>
                      <a:pt x="57356" y="2015948"/>
                    </a:lnTo>
                    <a:lnTo>
                      <a:pt x="115420" y="2057017"/>
                    </a:lnTo>
                    <a:lnTo>
                      <a:pt x="80015" y="2083925"/>
                    </a:lnTo>
                    <a:lnTo>
                      <a:pt x="19118" y="1997537"/>
                    </a:lnTo>
                    <a:lnTo>
                      <a:pt x="65853" y="1986208"/>
                    </a:lnTo>
                    <a:lnTo>
                      <a:pt x="230131" y="1970630"/>
                    </a:lnTo>
                    <a:close/>
                    <a:moveTo>
                      <a:pt x="13454" y="1994705"/>
                    </a:moveTo>
                    <a:lnTo>
                      <a:pt x="13454" y="1994705"/>
                    </a:lnTo>
                    <a:lnTo>
                      <a:pt x="75766" y="2083925"/>
                    </a:lnTo>
                    <a:lnTo>
                      <a:pt x="43194" y="2108000"/>
                    </a:lnTo>
                    <a:lnTo>
                      <a:pt x="99841" y="2117913"/>
                    </a:lnTo>
                    <a:lnTo>
                      <a:pt x="114003" y="2137740"/>
                    </a:lnTo>
                    <a:lnTo>
                      <a:pt x="89928" y="2170312"/>
                    </a:lnTo>
                    <a:lnTo>
                      <a:pt x="47442" y="2204301"/>
                    </a:lnTo>
                    <a:lnTo>
                      <a:pt x="10621" y="1990456"/>
                    </a:lnTo>
                    <a:lnTo>
                      <a:pt x="50275" y="1987624"/>
                    </a:lnTo>
                    <a:lnTo>
                      <a:pt x="13454" y="1994705"/>
                    </a:lnTo>
                    <a:close/>
                    <a:moveTo>
                      <a:pt x="58772" y="2215631"/>
                    </a:moveTo>
                    <a:lnTo>
                      <a:pt x="92760" y="2170312"/>
                    </a:lnTo>
                    <a:lnTo>
                      <a:pt x="122500" y="2147654"/>
                    </a:lnTo>
                    <a:lnTo>
                      <a:pt x="147992" y="2184474"/>
                    </a:lnTo>
                    <a:lnTo>
                      <a:pt x="147992" y="2184474"/>
                    </a:lnTo>
                    <a:lnTo>
                      <a:pt x="172067" y="2129243"/>
                    </a:lnTo>
                    <a:lnTo>
                      <a:pt x="196142" y="2133492"/>
                    </a:lnTo>
                    <a:lnTo>
                      <a:pt x="130998" y="2214214"/>
                    </a:lnTo>
                    <a:lnTo>
                      <a:pt x="58772" y="2215631"/>
                    </a:lnTo>
                    <a:close/>
                    <a:moveTo>
                      <a:pt x="181980" y="2100919"/>
                    </a:moveTo>
                    <a:lnTo>
                      <a:pt x="181980" y="2100919"/>
                    </a:lnTo>
                    <a:lnTo>
                      <a:pt x="181980" y="2100919"/>
                    </a:lnTo>
                    <a:lnTo>
                      <a:pt x="181980" y="2100919"/>
                    </a:lnTo>
                    <a:close/>
                    <a:moveTo>
                      <a:pt x="183397" y="2102335"/>
                    </a:moveTo>
                    <a:lnTo>
                      <a:pt x="184813" y="2098087"/>
                    </a:lnTo>
                    <a:lnTo>
                      <a:pt x="293860" y="2011699"/>
                    </a:lnTo>
                    <a:lnTo>
                      <a:pt x="206056" y="2119330"/>
                    </a:lnTo>
                    <a:lnTo>
                      <a:pt x="183397" y="2102335"/>
                    </a:lnTo>
                    <a:close/>
                    <a:moveTo>
                      <a:pt x="380247" y="1911149"/>
                    </a:moveTo>
                    <a:lnTo>
                      <a:pt x="384496" y="1905485"/>
                    </a:lnTo>
                    <a:lnTo>
                      <a:pt x="448224" y="1889907"/>
                    </a:lnTo>
                    <a:lnTo>
                      <a:pt x="405739" y="1923895"/>
                    </a:lnTo>
                    <a:lnTo>
                      <a:pt x="380247" y="1911149"/>
                    </a:lnTo>
                    <a:close/>
                    <a:moveTo>
                      <a:pt x="320767" y="1780860"/>
                    </a:moveTo>
                    <a:lnTo>
                      <a:pt x="485046" y="1776611"/>
                    </a:lnTo>
                    <a:lnTo>
                      <a:pt x="381663" y="1902652"/>
                    </a:lnTo>
                    <a:lnTo>
                      <a:pt x="370334" y="1905485"/>
                    </a:lnTo>
                    <a:lnTo>
                      <a:pt x="133830" y="1783692"/>
                    </a:lnTo>
                    <a:lnTo>
                      <a:pt x="254206" y="1780860"/>
                    </a:lnTo>
                    <a:lnTo>
                      <a:pt x="269784" y="1817681"/>
                    </a:lnTo>
                    <a:lnTo>
                      <a:pt x="269784" y="1817681"/>
                    </a:lnTo>
                    <a:lnTo>
                      <a:pt x="320767" y="1780860"/>
                    </a:lnTo>
                    <a:close/>
                    <a:moveTo>
                      <a:pt x="317935" y="1780860"/>
                    </a:moveTo>
                    <a:lnTo>
                      <a:pt x="274033" y="1816265"/>
                    </a:lnTo>
                    <a:lnTo>
                      <a:pt x="258455" y="1782276"/>
                    </a:lnTo>
                    <a:lnTo>
                      <a:pt x="317935" y="1780860"/>
                    </a:lnTo>
                    <a:close/>
                    <a:moveTo>
                      <a:pt x="320767" y="1779444"/>
                    </a:moveTo>
                    <a:lnTo>
                      <a:pt x="258455" y="1780860"/>
                    </a:lnTo>
                    <a:lnTo>
                      <a:pt x="235796" y="1729877"/>
                    </a:lnTo>
                    <a:lnTo>
                      <a:pt x="459554" y="1547188"/>
                    </a:lnTo>
                    <a:lnTo>
                      <a:pt x="459554" y="1625079"/>
                    </a:lnTo>
                    <a:lnTo>
                      <a:pt x="483629" y="1649154"/>
                    </a:lnTo>
                    <a:lnTo>
                      <a:pt x="320767" y="1779444"/>
                    </a:lnTo>
                    <a:close/>
                    <a:moveTo>
                      <a:pt x="387328" y="1902652"/>
                    </a:moveTo>
                    <a:lnTo>
                      <a:pt x="490710" y="1775195"/>
                    </a:lnTo>
                    <a:lnTo>
                      <a:pt x="490710" y="1775195"/>
                    </a:lnTo>
                    <a:lnTo>
                      <a:pt x="323599" y="1779444"/>
                    </a:lnTo>
                    <a:lnTo>
                      <a:pt x="485046" y="1650570"/>
                    </a:lnTo>
                    <a:lnTo>
                      <a:pt x="604006" y="1769530"/>
                    </a:lnTo>
                    <a:lnTo>
                      <a:pt x="452473" y="1888491"/>
                    </a:lnTo>
                    <a:lnTo>
                      <a:pt x="387328" y="1902652"/>
                    </a:lnTo>
                    <a:close/>
                    <a:moveTo>
                      <a:pt x="206056" y="2120746"/>
                    </a:moveTo>
                    <a:lnTo>
                      <a:pt x="197558" y="2132075"/>
                    </a:lnTo>
                    <a:lnTo>
                      <a:pt x="172067" y="2127827"/>
                    </a:lnTo>
                    <a:lnTo>
                      <a:pt x="181980" y="2105168"/>
                    </a:lnTo>
                    <a:lnTo>
                      <a:pt x="206056" y="2120746"/>
                    </a:lnTo>
                    <a:close/>
                    <a:moveTo>
                      <a:pt x="228715" y="2136324"/>
                    </a:moveTo>
                    <a:lnTo>
                      <a:pt x="200391" y="2132075"/>
                    </a:lnTo>
                    <a:lnTo>
                      <a:pt x="208888" y="2122162"/>
                    </a:lnTo>
                    <a:lnTo>
                      <a:pt x="228715" y="2136324"/>
                    </a:lnTo>
                    <a:close/>
                    <a:moveTo>
                      <a:pt x="327848" y="1983375"/>
                    </a:moveTo>
                    <a:lnTo>
                      <a:pt x="308022" y="1998953"/>
                    </a:lnTo>
                    <a:lnTo>
                      <a:pt x="319351" y="1984792"/>
                    </a:lnTo>
                    <a:lnTo>
                      <a:pt x="327848" y="1983375"/>
                    </a:lnTo>
                    <a:close/>
                    <a:moveTo>
                      <a:pt x="402906" y="1925311"/>
                    </a:moveTo>
                    <a:lnTo>
                      <a:pt x="330680" y="1981959"/>
                    </a:lnTo>
                    <a:lnTo>
                      <a:pt x="320767" y="1983375"/>
                    </a:lnTo>
                    <a:lnTo>
                      <a:pt x="377415" y="1912566"/>
                    </a:lnTo>
                    <a:lnTo>
                      <a:pt x="402906" y="1925311"/>
                    </a:lnTo>
                    <a:close/>
                    <a:moveTo>
                      <a:pt x="477965" y="1963549"/>
                    </a:moveTo>
                    <a:lnTo>
                      <a:pt x="334929" y="1980543"/>
                    </a:lnTo>
                    <a:lnTo>
                      <a:pt x="405739" y="1925311"/>
                    </a:lnTo>
                    <a:lnTo>
                      <a:pt x="477965" y="1963549"/>
                    </a:lnTo>
                    <a:close/>
                    <a:moveTo>
                      <a:pt x="687561" y="1836092"/>
                    </a:moveTo>
                    <a:lnTo>
                      <a:pt x="751289" y="1826178"/>
                    </a:lnTo>
                    <a:lnTo>
                      <a:pt x="977880" y="1956468"/>
                    </a:lnTo>
                    <a:lnTo>
                      <a:pt x="687561" y="1836092"/>
                    </a:lnTo>
                    <a:close/>
                    <a:moveTo>
                      <a:pt x="3391071" y="3753614"/>
                    </a:moveTo>
                    <a:lnTo>
                      <a:pt x="3575175" y="3889568"/>
                    </a:lnTo>
                    <a:lnTo>
                      <a:pt x="3572343" y="3899481"/>
                    </a:lnTo>
                    <a:lnTo>
                      <a:pt x="3393902" y="3808845"/>
                    </a:lnTo>
                    <a:lnTo>
                      <a:pt x="3391071" y="3753614"/>
                    </a:lnTo>
                    <a:close/>
                    <a:moveTo>
                      <a:pt x="3395319" y="3832921"/>
                    </a:moveTo>
                    <a:lnTo>
                      <a:pt x="3393902" y="3810261"/>
                    </a:lnTo>
                    <a:lnTo>
                      <a:pt x="3572343" y="3900898"/>
                    </a:lnTo>
                    <a:lnTo>
                      <a:pt x="3556764" y="3957545"/>
                    </a:lnTo>
                    <a:lnTo>
                      <a:pt x="3395319" y="3832921"/>
                    </a:lnTo>
                    <a:close/>
                    <a:moveTo>
                      <a:pt x="3357082" y="3803181"/>
                    </a:moveTo>
                    <a:lnTo>
                      <a:pt x="3347168" y="3786186"/>
                    </a:lnTo>
                    <a:lnTo>
                      <a:pt x="3392486" y="3810261"/>
                    </a:lnTo>
                    <a:lnTo>
                      <a:pt x="3393902" y="3831504"/>
                    </a:lnTo>
                    <a:lnTo>
                      <a:pt x="3357082" y="3803181"/>
                    </a:lnTo>
                    <a:close/>
                    <a:moveTo>
                      <a:pt x="3359914" y="3807429"/>
                    </a:moveTo>
                    <a:lnTo>
                      <a:pt x="3393902" y="3834337"/>
                    </a:lnTo>
                    <a:lnTo>
                      <a:pt x="3395319" y="3866909"/>
                    </a:lnTo>
                    <a:lnTo>
                      <a:pt x="3359914" y="3807429"/>
                    </a:lnTo>
                    <a:close/>
                    <a:moveTo>
                      <a:pt x="3342920" y="3784770"/>
                    </a:moveTo>
                    <a:lnTo>
                      <a:pt x="3351416" y="3800348"/>
                    </a:lnTo>
                    <a:lnTo>
                      <a:pt x="3311763" y="3770608"/>
                    </a:lnTo>
                    <a:lnTo>
                      <a:pt x="3342920" y="3784770"/>
                    </a:lnTo>
                    <a:close/>
                    <a:moveTo>
                      <a:pt x="3344336" y="3783354"/>
                    </a:moveTo>
                    <a:lnTo>
                      <a:pt x="3274943" y="3667226"/>
                    </a:lnTo>
                    <a:lnTo>
                      <a:pt x="3389654" y="3752198"/>
                    </a:lnTo>
                    <a:lnTo>
                      <a:pt x="3392486" y="3807429"/>
                    </a:lnTo>
                    <a:lnTo>
                      <a:pt x="3344336" y="3783354"/>
                    </a:lnTo>
                    <a:close/>
                    <a:moveTo>
                      <a:pt x="3575175" y="3900898"/>
                    </a:moveTo>
                    <a:lnTo>
                      <a:pt x="3578007" y="3890985"/>
                    </a:lnTo>
                    <a:lnTo>
                      <a:pt x="3630406" y="3929221"/>
                    </a:lnTo>
                    <a:lnTo>
                      <a:pt x="3575175" y="3900898"/>
                    </a:lnTo>
                    <a:close/>
                    <a:moveTo>
                      <a:pt x="3266445" y="3525607"/>
                    </a:moveTo>
                    <a:lnTo>
                      <a:pt x="3317428" y="3504364"/>
                    </a:lnTo>
                    <a:lnTo>
                      <a:pt x="3350001" y="3573757"/>
                    </a:lnTo>
                    <a:lnTo>
                      <a:pt x="3266445" y="3525607"/>
                    </a:lnTo>
                    <a:close/>
                    <a:moveTo>
                      <a:pt x="3265029" y="3524191"/>
                    </a:moveTo>
                    <a:lnTo>
                      <a:pt x="3170144" y="3468959"/>
                    </a:lnTo>
                    <a:lnTo>
                      <a:pt x="3317428" y="3501532"/>
                    </a:lnTo>
                    <a:lnTo>
                      <a:pt x="3265029" y="3524191"/>
                    </a:lnTo>
                    <a:close/>
                    <a:moveTo>
                      <a:pt x="3361330" y="3511445"/>
                    </a:moveTo>
                    <a:lnTo>
                      <a:pt x="3359914" y="3711128"/>
                    </a:lnTo>
                    <a:lnTo>
                      <a:pt x="3233873" y="3538353"/>
                    </a:lnTo>
                    <a:lnTo>
                      <a:pt x="3265029" y="3525607"/>
                    </a:lnTo>
                    <a:lnTo>
                      <a:pt x="3355666" y="3578006"/>
                    </a:lnTo>
                    <a:lnTo>
                      <a:pt x="3355666" y="3578006"/>
                    </a:lnTo>
                    <a:lnTo>
                      <a:pt x="3320261" y="3501532"/>
                    </a:lnTo>
                    <a:lnTo>
                      <a:pt x="3320261" y="3501532"/>
                    </a:lnTo>
                    <a:lnTo>
                      <a:pt x="3361330" y="3511445"/>
                    </a:lnTo>
                    <a:close/>
                    <a:moveTo>
                      <a:pt x="3668644" y="3749365"/>
                    </a:moveTo>
                    <a:lnTo>
                      <a:pt x="3780523" y="3692718"/>
                    </a:lnTo>
                    <a:lnTo>
                      <a:pt x="3756448" y="3757862"/>
                    </a:lnTo>
                    <a:lnTo>
                      <a:pt x="3668644" y="3749365"/>
                    </a:lnTo>
                    <a:close/>
                    <a:moveTo>
                      <a:pt x="4385236" y="3800348"/>
                    </a:moveTo>
                    <a:lnTo>
                      <a:pt x="4422058" y="3784770"/>
                    </a:lnTo>
                    <a:lnTo>
                      <a:pt x="4451797" y="3818759"/>
                    </a:lnTo>
                    <a:lnTo>
                      <a:pt x="4426306" y="3815926"/>
                    </a:lnTo>
                    <a:lnTo>
                      <a:pt x="4385236" y="3800348"/>
                    </a:lnTo>
                    <a:close/>
                    <a:moveTo>
                      <a:pt x="4431971" y="3820175"/>
                    </a:moveTo>
                    <a:lnTo>
                      <a:pt x="4453214" y="3821591"/>
                    </a:lnTo>
                    <a:lnTo>
                      <a:pt x="4461711" y="3831504"/>
                    </a:lnTo>
                    <a:lnTo>
                      <a:pt x="4431971" y="3820175"/>
                    </a:lnTo>
                    <a:close/>
                    <a:moveTo>
                      <a:pt x="4361162" y="3811678"/>
                    </a:moveTo>
                    <a:lnTo>
                      <a:pt x="4382405" y="3803181"/>
                    </a:lnTo>
                    <a:lnTo>
                      <a:pt x="4417809" y="3817342"/>
                    </a:lnTo>
                    <a:lnTo>
                      <a:pt x="4361162" y="3811678"/>
                    </a:lnTo>
                    <a:close/>
                    <a:moveTo>
                      <a:pt x="4514110" y="3895233"/>
                    </a:moveTo>
                    <a:lnTo>
                      <a:pt x="4361162" y="3837169"/>
                    </a:lnTo>
                    <a:lnTo>
                      <a:pt x="4473040" y="3845666"/>
                    </a:lnTo>
                    <a:lnTo>
                      <a:pt x="4514110" y="3895233"/>
                    </a:lnTo>
                    <a:close/>
                    <a:moveTo>
                      <a:pt x="4474457" y="3844250"/>
                    </a:moveTo>
                    <a:lnTo>
                      <a:pt x="4468792" y="3837169"/>
                    </a:lnTo>
                    <a:lnTo>
                      <a:pt x="4487202" y="3844250"/>
                    </a:lnTo>
                    <a:lnTo>
                      <a:pt x="4474457" y="3844250"/>
                    </a:lnTo>
                    <a:close/>
                    <a:moveTo>
                      <a:pt x="4521191" y="3899481"/>
                    </a:moveTo>
                    <a:lnTo>
                      <a:pt x="4702464" y="3967459"/>
                    </a:lnTo>
                    <a:lnTo>
                      <a:pt x="4586336" y="3990118"/>
                    </a:lnTo>
                    <a:lnTo>
                      <a:pt x="4446133" y="3963210"/>
                    </a:lnTo>
                    <a:lnTo>
                      <a:pt x="4539602" y="3922140"/>
                    </a:lnTo>
                    <a:lnTo>
                      <a:pt x="4539602" y="3922140"/>
                    </a:lnTo>
                    <a:lnTo>
                      <a:pt x="4521191" y="3899481"/>
                    </a:lnTo>
                    <a:close/>
                  </a:path>
                </a:pathLst>
              </a:custGeom>
              <a:grpFill/>
              <a:ln w="6350" cap="flat">
                <a:solidFill>
                  <a:schemeClr val="tx1">
                    <a:lumMod val="25000"/>
                    <a:lumOff val="75000"/>
                  </a:schemeClr>
                </a:solidFill>
                <a:prstDash val="solid"/>
                <a:miter/>
              </a:ln>
            </p:spPr>
            <p:txBody>
              <a:bodyPr rtlCol="0" anchor="ctr"/>
              <a:lstStyle/>
              <a:p>
                <a:pPr defTabSz="932384">
                  <a:defRPr/>
                </a:pPr>
                <a:endParaRPr lang="en-US" dirty="0">
                  <a:solidFill>
                    <a:srgbClr val="1A1A1A"/>
                  </a:solidFill>
                  <a:latin typeface="Segoe UI"/>
                </a:endParaRPr>
              </a:p>
            </p:txBody>
          </p:sp>
          <p:sp>
            <p:nvSpPr>
              <p:cNvPr id="949" name="Freeform: Shape 948">
                <a:extLst>
                  <a:ext uri="{FF2B5EF4-FFF2-40B4-BE49-F238E27FC236}">
                    <a16:creationId xmlns:a16="http://schemas.microsoft.com/office/drawing/2014/main" id="{637AEF78-A656-41E8-96FE-0D379B4076CE}"/>
                  </a:ext>
                </a:extLst>
              </p:cNvPr>
              <p:cNvSpPr/>
              <p:nvPr/>
            </p:nvSpPr>
            <p:spPr>
              <a:xfrm>
                <a:off x="5261155" y="2789590"/>
                <a:ext cx="2081801" cy="2563305"/>
              </a:xfrm>
              <a:custGeom>
                <a:avLst/>
                <a:gdLst>
                  <a:gd name="connsiteX0" fmla="*/ 1861584 w 2081801"/>
                  <a:gd name="connsiteY0" fmla="*/ 1065684 h 2563305"/>
                  <a:gd name="connsiteX1" fmla="*/ 1996122 w 2081801"/>
                  <a:gd name="connsiteY1" fmla="*/ 1212967 h 2563305"/>
                  <a:gd name="connsiteX2" fmla="*/ 1976295 w 2081801"/>
                  <a:gd name="connsiteY2" fmla="*/ 1265367 h 2563305"/>
                  <a:gd name="connsiteX3" fmla="*/ 1908318 w 2081801"/>
                  <a:gd name="connsiteY3" fmla="*/ 1344673 h 2563305"/>
                  <a:gd name="connsiteX4" fmla="*/ 1654820 w 2081801"/>
                  <a:gd name="connsiteY4" fmla="*/ 1440974 h 2563305"/>
                  <a:gd name="connsiteX5" fmla="*/ 1663317 w 2081801"/>
                  <a:gd name="connsiteY5" fmla="*/ 1357419 h 2563305"/>
                  <a:gd name="connsiteX6" fmla="*/ 1779445 w 2081801"/>
                  <a:gd name="connsiteY6" fmla="*/ 1259702 h 2563305"/>
                  <a:gd name="connsiteX7" fmla="*/ 1779445 w 2081801"/>
                  <a:gd name="connsiteY7" fmla="*/ 1259702 h 2563305"/>
                  <a:gd name="connsiteX8" fmla="*/ 1778029 w 2081801"/>
                  <a:gd name="connsiteY8" fmla="*/ 1258286 h 2563305"/>
                  <a:gd name="connsiteX9" fmla="*/ 1664733 w 2081801"/>
                  <a:gd name="connsiteY9" fmla="*/ 1339008 h 2563305"/>
                  <a:gd name="connsiteX10" fmla="*/ 1681727 w 2081801"/>
                  <a:gd name="connsiteY10" fmla="*/ 1174730 h 2563305"/>
                  <a:gd name="connsiteX11" fmla="*/ 1691641 w 2081801"/>
                  <a:gd name="connsiteY11" fmla="*/ 1113834 h 2563305"/>
                  <a:gd name="connsiteX12" fmla="*/ 1734127 w 2081801"/>
                  <a:gd name="connsiteY12" fmla="*/ 1109585 h 2563305"/>
                  <a:gd name="connsiteX13" fmla="*/ 1734127 w 2081801"/>
                  <a:gd name="connsiteY13" fmla="*/ 1109585 h 2563305"/>
                  <a:gd name="connsiteX14" fmla="*/ 1735543 w 2081801"/>
                  <a:gd name="connsiteY14" fmla="*/ 857503 h 2563305"/>
                  <a:gd name="connsiteX15" fmla="*/ 1735543 w 2081801"/>
                  <a:gd name="connsiteY15" fmla="*/ 857503 h 2563305"/>
                  <a:gd name="connsiteX16" fmla="*/ 1734127 w 2081801"/>
                  <a:gd name="connsiteY16" fmla="*/ 857503 h 2563305"/>
                  <a:gd name="connsiteX17" fmla="*/ 1690225 w 2081801"/>
                  <a:gd name="connsiteY17" fmla="*/ 1112418 h 2563305"/>
                  <a:gd name="connsiteX18" fmla="*/ 1616583 w 2081801"/>
                  <a:gd name="connsiteY18" fmla="*/ 1119499 h 2563305"/>
                  <a:gd name="connsiteX19" fmla="*/ 1667565 w 2081801"/>
                  <a:gd name="connsiteY19" fmla="*/ 1101088 h 2563305"/>
                  <a:gd name="connsiteX20" fmla="*/ 1667565 w 2081801"/>
                  <a:gd name="connsiteY20" fmla="*/ 1101088 h 2563305"/>
                  <a:gd name="connsiteX21" fmla="*/ 1567016 w 2081801"/>
                  <a:gd name="connsiteY21" fmla="*/ 1052938 h 2563305"/>
                  <a:gd name="connsiteX22" fmla="*/ 1610918 w 2081801"/>
                  <a:gd name="connsiteY22" fmla="*/ 1003371 h 2563305"/>
                  <a:gd name="connsiteX23" fmla="*/ 1610918 w 2081801"/>
                  <a:gd name="connsiteY23" fmla="*/ 1003371 h 2563305"/>
                  <a:gd name="connsiteX24" fmla="*/ 1564184 w 2081801"/>
                  <a:gd name="connsiteY24" fmla="*/ 837677 h 2563305"/>
                  <a:gd name="connsiteX25" fmla="*/ 1690225 w 2081801"/>
                  <a:gd name="connsiteY25" fmla="*/ 707387 h 2563305"/>
                  <a:gd name="connsiteX26" fmla="*/ 1690225 w 2081801"/>
                  <a:gd name="connsiteY26" fmla="*/ 707387 h 2563305"/>
                  <a:gd name="connsiteX27" fmla="*/ 1582594 w 2081801"/>
                  <a:gd name="connsiteY27" fmla="*/ 720133 h 2563305"/>
                  <a:gd name="connsiteX28" fmla="*/ 1650571 w 2081801"/>
                  <a:gd name="connsiteY28" fmla="*/ 643659 h 2563305"/>
                  <a:gd name="connsiteX29" fmla="*/ 1650571 w 2081801"/>
                  <a:gd name="connsiteY29" fmla="*/ 643659 h 2563305"/>
                  <a:gd name="connsiteX30" fmla="*/ 1406986 w 2081801"/>
                  <a:gd name="connsiteY30" fmla="*/ 670566 h 2563305"/>
                  <a:gd name="connsiteX31" fmla="*/ 1436726 w 2081801"/>
                  <a:gd name="connsiteY31" fmla="*/ 625248 h 2563305"/>
                  <a:gd name="connsiteX32" fmla="*/ 1450888 w 2081801"/>
                  <a:gd name="connsiteY32" fmla="*/ 477964 h 2563305"/>
                  <a:gd name="connsiteX33" fmla="*/ 1593924 w 2081801"/>
                  <a:gd name="connsiteY33" fmla="*/ 509121 h 2563305"/>
                  <a:gd name="connsiteX34" fmla="*/ 1620831 w 2081801"/>
                  <a:gd name="connsiteY34" fmla="*/ 585595 h 2563305"/>
                  <a:gd name="connsiteX35" fmla="*/ 1620831 w 2081801"/>
                  <a:gd name="connsiteY35" fmla="*/ 585595 h 2563305"/>
                  <a:gd name="connsiteX36" fmla="*/ 1622248 w 2081801"/>
                  <a:gd name="connsiteY36" fmla="*/ 585595 h 2563305"/>
                  <a:gd name="connsiteX37" fmla="*/ 1593924 w 2081801"/>
                  <a:gd name="connsiteY37" fmla="*/ 507704 h 2563305"/>
                  <a:gd name="connsiteX38" fmla="*/ 1593924 w 2081801"/>
                  <a:gd name="connsiteY38" fmla="*/ 507704 h 2563305"/>
                  <a:gd name="connsiteX39" fmla="*/ 1449472 w 2081801"/>
                  <a:gd name="connsiteY39" fmla="*/ 476548 h 2563305"/>
                  <a:gd name="connsiteX40" fmla="*/ 1473547 w 2081801"/>
                  <a:gd name="connsiteY40" fmla="*/ 215969 h 2563305"/>
                  <a:gd name="connsiteX41" fmla="*/ 1473547 w 2081801"/>
                  <a:gd name="connsiteY41" fmla="*/ 215969 h 2563305"/>
                  <a:gd name="connsiteX42" fmla="*/ 1472131 w 2081801"/>
                  <a:gd name="connsiteY42" fmla="*/ 215969 h 2563305"/>
                  <a:gd name="connsiteX43" fmla="*/ 1472131 w 2081801"/>
                  <a:gd name="connsiteY43" fmla="*/ 215969 h 2563305"/>
                  <a:gd name="connsiteX44" fmla="*/ 1392824 w 2081801"/>
                  <a:gd name="connsiteY44" fmla="*/ 465219 h 2563305"/>
                  <a:gd name="connsiteX45" fmla="*/ 1339009 w 2081801"/>
                  <a:gd name="connsiteY45" fmla="*/ 453889 h 2563305"/>
                  <a:gd name="connsiteX46" fmla="*/ 1310685 w 2081801"/>
                  <a:gd name="connsiteY46" fmla="*/ 208888 h 2563305"/>
                  <a:gd name="connsiteX47" fmla="*/ 1310685 w 2081801"/>
                  <a:gd name="connsiteY47" fmla="*/ 208888 h 2563305"/>
                  <a:gd name="connsiteX48" fmla="*/ 1309269 w 2081801"/>
                  <a:gd name="connsiteY48" fmla="*/ 208888 h 2563305"/>
                  <a:gd name="connsiteX49" fmla="*/ 1302188 w 2081801"/>
                  <a:gd name="connsiteY49" fmla="*/ 446808 h 2563305"/>
                  <a:gd name="connsiteX50" fmla="*/ 1184644 w 2081801"/>
                  <a:gd name="connsiteY50" fmla="*/ 421317 h 2563305"/>
                  <a:gd name="connsiteX51" fmla="*/ 1203055 w 2081801"/>
                  <a:gd name="connsiteY51" fmla="*/ 343426 h 2563305"/>
                  <a:gd name="connsiteX52" fmla="*/ 1203055 w 2081801"/>
                  <a:gd name="connsiteY52" fmla="*/ 343426 h 2563305"/>
                  <a:gd name="connsiteX53" fmla="*/ 1021782 w 2081801"/>
                  <a:gd name="connsiteY53" fmla="*/ 285362 h 2563305"/>
                  <a:gd name="connsiteX54" fmla="*/ 1043025 w 2081801"/>
                  <a:gd name="connsiteY54" fmla="*/ 274033 h 2563305"/>
                  <a:gd name="connsiteX55" fmla="*/ 958054 w 2081801"/>
                  <a:gd name="connsiteY55" fmla="*/ 264120 h 2563305"/>
                  <a:gd name="connsiteX56" fmla="*/ 783862 w 2081801"/>
                  <a:gd name="connsiteY56" fmla="*/ 207472 h 2563305"/>
                  <a:gd name="connsiteX57" fmla="*/ 921233 w 2081801"/>
                  <a:gd name="connsiteY57" fmla="*/ 206056 h 2563305"/>
                  <a:gd name="connsiteX58" fmla="*/ 921233 w 2081801"/>
                  <a:gd name="connsiteY58" fmla="*/ 206056 h 2563305"/>
                  <a:gd name="connsiteX59" fmla="*/ 921233 w 2081801"/>
                  <a:gd name="connsiteY59" fmla="*/ 204640 h 2563305"/>
                  <a:gd name="connsiteX60" fmla="*/ 657821 w 2081801"/>
                  <a:gd name="connsiteY60" fmla="*/ 146576 h 2563305"/>
                  <a:gd name="connsiteX61" fmla="*/ 837678 w 2081801"/>
                  <a:gd name="connsiteY61" fmla="*/ 12037 h 2563305"/>
                  <a:gd name="connsiteX62" fmla="*/ 839093 w 2081801"/>
                  <a:gd name="connsiteY62" fmla="*/ 12037 h 2563305"/>
                  <a:gd name="connsiteX63" fmla="*/ 405739 w 2081801"/>
                  <a:gd name="connsiteY63" fmla="*/ 92760 h 2563305"/>
                  <a:gd name="connsiteX64" fmla="*/ 404323 w 2081801"/>
                  <a:gd name="connsiteY64" fmla="*/ 92760 h 2563305"/>
                  <a:gd name="connsiteX65" fmla="*/ 653573 w 2081801"/>
                  <a:gd name="connsiteY65" fmla="*/ 147992 h 2563305"/>
                  <a:gd name="connsiteX66" fmla="*/ 636578 w 2081801"/>
                  <a:gd name="connsiteY66" fmla="*/ 160738 h 2563305"/>
                  <a:gd name="connsiteX67" fmla="*/ 537445 w 2081801"/>
                  <a:gd name="connsiteY67" fmla="*/ 128165 h 2563305"/>
                  <a:gd name="connsiteX68" fmla="*/ 536029 w 2081801"/>
                  <a:gd name="connsiteY68" fmla="*/ 128165 h 2563305"/>
                  <a:gd name="connsiteX69" fmla="*/ 598341 w 2081801"/>
                  <a:gd name="connsiteY69" fmla="*/ 189061 h 2563305"/>
                  <a:gd name="connsiteX70" fmla="*/ 571433 w 2081801"/>
                  <a:gd name="connsiteY70" fmla="*/ 208888 h 2563305"/>
                  <a:gd name="connsiteX71" fmla="*/ 493543 w 2081801"/>
                  <a:gd name="connsiteY71" fmla="*/ 210304 h 2563305"/>
                  <a:gd name="connsiteX72" fmla="*/ 281114 w 2081801"/>
                  <a:gd name="connsiteY72" fmla="*/ 184813 h 2563305"/>
                  <a:gd name="connsiteX73" fmla="*/ 279698 w 2081801"/>
                  <a:gd name="connsiteY73" fmla="*/ 184813 h 2563305"/>
                  <a:gd name="connsiteX74" fmla="*/ 315103 w 2081801"/>
                  <a:gd name="connsiteY74" fmla="*/ 211720 h 2563305"/>
                  <a:gd name="connsiteX75" fmla="*/ 227299 w 2081801"/>
                  <a:gd name="connsiteY75" fmla="*/ 213137 h 2563305"/>
                  <a:gd name="connsiteX76" fmla="*/ 227299 w 2081801"/>
                  <a:gd name="connsiteY76" fmla="*/ 213137 h 2563305"/>
                  <a:gd name="connsiteX77" fmla="*/ 227299 w 2081801"/>
                  <a:gd name="connsiteY77" fmla="*/ 214553 h 2563305"/>
                  <a:gd name="connsiteX78" fmla="*/ 227299 w 2081801"/>
                  <a:gd name="connsiteY78" fmla="*/ 214553 h 2563305"/>
                  <a:gd name="connsiteX79" fmla="*/ 357588 w 2081801"/>
                  <a:gd name="connsiteY79" fmla="*/ 242877 h 2563305"/>
                  <a:gd name="connsiteX80" fmla="*/ 441144 w 2081801"/>
                  <a:gd name="connsiteY80" fmla="*/ 306605 h 2563305"/>
                  <a:gd name="connsiteX81" fmla="*/ 367502 w 2081801"/>
                  <a:gd name="connsiteY81" fmla="*/ 361837 h 2563305"/>
                  <a:gd name="connsiteX82" fmla="*/ 367502 w 2081801"/>
                  <a:gd name="connsiteY82" fmla="*/ 361837 h 2563305"/>
                  <a:gd name="connsiteX83" fmla="*/ 446809 w 2081801"/>
                  <a:gd name="connsiteY83" fmla="*/ 534612 h 2563305"/>
                  <a:gd name="connsiteX84" fmla="*/ 381664 w 2081801"/>
                  <a:gd name="connsiteY84" fmla="*/ 509121 h 2563305"/>
                  <a:gd name="connsiteX85" fmla="*/ 381664 w 2081801"/>
                  <a:gd name="connsiteY85" fmla="*/ 509121 h 2563305"/>
                  <a:gd name="connsiteX86" fmla="*/ 310854 w 2081801"/>
                  <a:gd name="connsiteY86" fmla="*/ 656404 h 2563305"/>
                  <a:gd name="connsiteX87" fmla="*/ 298109 w 2081801"/>
                  <a:gd name="connsiteY87" fmla="*/ 653572 h 2563305"/>
                  <a:gd name="connsiteX88" fmla="*/ 262704 w 2081801"/>
                  <a:gd name="connsiteY88" fmla="*/ 596924 h 2563305"/>
                  <a:gd name="connsiteX89" fmla="*/ 296692 w 2081801"/>
                  <a:gd name="connsiteY89" fmla="*/ 557271 h 2563305"/>
                  <a:gd name="connsiteX90" fmla="*/ 298109 w 2081801"/>
                  <a:gd name="connsiteY90" fmla="*/ 555855 h 2563305"/>
                  <a:gd name="connsiteX91" fmla="*/ 254207 w 2081801"/>
                  <a:gd name="connsiteY91" fmla="*/ 582762 h 2563305"/>
                  <a:gd name="connsiteX92" fmla="*/ 191894 w 2081801"/>
                  <a:gd name="connsiteY92" fmla="*/ 485045 h 2563305"/>
                  <a:gd name="connsiteX93" fmla="*/ 223050 w 2081801"/>
                  <a:gd name="connsiteY93" fmla="*/ 308022 h 2563305"/>
                  <a:gd name="connsiteX94" fmla="*/ 223050 w 2081801"/>
                  <a:gd name="connsiteY94" fmla="*/ 308022 h 2563305"/>
                  <a:gd name="connsiteX95" fmla="*/ 221634 w 2081801"/>
                  <a:gd name="connsiteY95" fmla="*/ 308022 h 2563305"/>
                  <a:gd name="connsiteX96" fmla="*/ 156489 w 2081801"/>
                  <a:gd name="connsiteY96" fmla="*/ 520450 h 2563305"/>
                  <a:gd name="connsiteX97" fmla="*/ 115420 w 2081801"/>
                  <a:gd name="connsiteY97" fmla="*/ 594092 h 2563305"/>
                  <a:gd name="connsiteX98" fmla="*/ 54523 w 2081801"/>
                  <a:gd name="connsiteY98" fmla="*/ 487878 h 2563305"/>
                  <a:gd name="connsiteX99" fmla="*/ 53107 w 2081801"/>
                  <a:gd name="connsiteY99" fmla="*/ 486461 h 2563305"/>
                  <a:gd name="connsiteX100" fmla="*/ 99842 w 2081801"/>
                  <a:gd name="connsiteY100" fmla="*/ 676231 h 2563305"/>
                  <a:gd name="connsiteX101" fmla="*/ 99842 w 2081801"/>
                  <a:gd name="connsiteY101" fmla="*/ 676231 h 2563305"/>
                  <a:gd name="connsiteX102" fmla="*/ 109755 w 2081801"/>
                  <a:gd name="connsiteY102" fmla="*/ 670566 h 2563305"/>
                  <a:gd name="connsiteX103" fmla="*/ 10621 w 2081801"/>
                  <a:gd name="connsiteY103" fmla="*/ 993458 h 2563305"/>
                  <a:gd name="connsiteX104" fmla="*/ 10621 w 2081801"/>
                  <a:gd name="connsiteY104" fmla="*/ 993458 h 2563305"/>
                  <a:gd name="connsiteX105" fmla="*/ 84264 w 2081801"/>
                  <a:gd name="connsiteY105" fmla="*/ 1081262 h 2563305"/>
                  <a:gd name="connsiteX106" fmla="*/ 82847 w 2081801"/>
                  <a:gd name="connsiteY106" fmla="*/ 1091175 h 2563305"/>
                  <a:gd name="connsiteX107" fmla="*/ 82847 w 2081801"/>
                  <a:gd name="connsiteY107" fmla="*/ 1091175 h 2563305"/>
                  <a:gd name="connsiteX108" fmla="*/ 97009 w 2081801"/>
                  <a:gd name="connsiteY108" fmla="*/ 1095424 h 2563305"/>
                  <a:gd name="connsiteX109" fmla="*/ 268368 w 2081801"/>
                  <a:gd name="connsiteY109" fmla="*/ 1299355 h 2563305"/>
                  <a:gd name="connsiteX110" fmla="*/ 268368 w 2081801"/>
                  <a:gd name="connsiteY110" fmla="*/ 1299355 h 2563305"/>
                  <a:gd name="connsiteX111" fmla="*/ 305190 w 2081801"/>
                  <a:gd name="connsiteY111" fmla="*/ 1157736 h 2563305"/>
                  <a:gd name="connsiteX112" fmla="*/ 390161 w 2081801"/>
                  <a:gd name="connsiteY112" fmla="*/ 1183227 h 2563305"/>
                  <a:gd name="connsiteX113" fmla="*/ 354756 w 2081801"/>
                  <a:gd name="connsiteY113" fmla="*/ 1278112 h 2563305"/>
                  <a:gd name="connsiteX114" fmla="*/ 354756 w 2081801"/>
                  <a:gd name="connsiteY114" fmla="*/ 1278112 h 2563305"/>
                  <a:gd name="connsiteX115" fmla="*/ 536029 w 2081801"/>
                  <a:gd name="connsiteY115" fmla="*/ 1225713 h 2563305"/>
                  <a:gd name="connsiteX116" fmla="*/ 536029 w 2081801"/>
                  <a:gd name="connsiteY116" fmla="*/ 1225713 h 2563305"/>
                  <a:gd name="connsiteX117" fmla="*/ 392993 w 2081801"/>
                  <a:gd name="connsiteY117" fmla="*/ 1181811 h 2563305"/>
                  <a:gd name="connsiteX118" fmla="*/ 421317 w 2081801"/>
                  <a:gd name="connsiteY118" fmla="*/ 1106753 h 2563305"/>
                  <a:gd name="connsiteX119" fmla="*/ 565769 w 2081801"/>
                  <a:gd name="connsiteY119" fmla="*/ 1140742 h 2563305"/>
                  <a:gd name="connsiteX120" fmla="*/ 671983 w 2081801"/>
                  <a:gd name="connsiteY120" fmla="*/ 1256869 h 2563305"/>
                  <a:gd name="connsiteX121" fmla="*/ 943892 w 2081801"/>
                  <a:gd name="connsiteY121" fmla="*/ 1336176 h 2563305"/>
                  <a:gd name="connsiteX122" fmla="*/ 943892 w 2081801"/>
                  <a:gd name="connsiteY122" fmla="*/ 1367332 h 2563305"/>
                  <a:gd name="connsiteX123" fmla="*/ 943892 w 2081801"/>
                  <a:gd name="connsiteY123" fmla="*/ 1367332 h 2563305"/>
                  <a:gd name="connsiteX124" fmla="*/ 959470 w 2081801"/>
                  <a:gd name="connsiteY124" fmla="*/ 1344673 h 2563305"/>
                  <a:gd name="connsiteX125" fmla="*/ 982129 w 2081801"/>
                  <a:gd name="connsiteY125" fmla="*/ 1371581 h 2563305"/>
                  <a:gd name="connsiteX126" fmla="*/ 958054 w 2081801"/>
                  <a:gd name="connsiteY126" fmla="*/ 1439558 h 2563305"/>
                  <a:gd name="connsiteX127" fmla="*/ 847591 w 2081801"/>
                  <a:gd name="connsiteY127" fmla="*/ 1525946 h 2563305"/>
                  <a:gd name="connsiteX128" fmla="*/ 847591 w 2081801"/>
                  <a:gd name="connsiteY128" fmla="*/ 1525946 h 2563305"/>
                  <a:gd name="connsiteX129" fmla="*/ 914152 w 2081801"/>
                  <a:gd name="connsiteY129" fmla="*/ 1528778 h 2563305"/>
                  <a:gd name="connsiteX130" fmla="*/ 925481 w 2081801"/>
                  <a:gd name="connsiteY130" fmla="*/ 1530194 h 2563305"/>
                  <a:gd name="connsiteX131" fmla="*/ 853255 w 2081801"/>
                  <a:gd name="connsiteY131" fmla="*/ 1735542 h 2563305"/>
                  <a:gd name="connsiteX132" fmla="*/ 853255 w 2081801"/>
                  <a:gd name="connsiteY132" fmla="*/ 1735542 h 2563305"/>
                  <a:gd name="connsiteX133" fmla="*/ 977880 w 2081801"/>
                  <a:gd name="connsiteY133" fmla="*/ 1756785 h 2563305"/>
                  <a:gd name="connsiteX134" fmla="*/ 982129 w 2081801"/>
                  <a:gd name="connsiteY134" fmla="*/ 1797854 h 2563305"/>
                  <a:gd name="connsiteX135" fmla="*/ 929730 w 2081801"/>
                  <a:gd name="connsiteY135" fmla="*/ 1891323 h 2563305"/>
                  <a:gd name="connsiteX136" fmla="*/ 929730 w 2081801"/>
                  <a:gd name="connsiteY136" fmla="*/ 1891323 h 2563305"/>
                  <a:gd name="connsiteX137" fmla="*/ 935395 w 2081801"/>
                  <a:gd name="connsiteY137" fmla="*/ 1904068 h 2563305"/>
                  <a:gd name="connsiteX138" fmla="*/ 935395 w 2081801"/>
                  <a:gd name="connsiteY138" fmla="*/ 1905485 h 2563305"/>
                  <a:gd name="connsiteX139" fmla="*/ 953805 w 2081801"/>
                  <a:gd name="connsiteY139" fmla="*/ 1939473 h 2563305"/>
                  <a:gd name="connsiteX140" fmla="*/ 1010453 w 2081801"/>
                  <a:gd name="connsiteY140" fmla="*/ 2041439 h 2563305"/>
                  <a:gd name="connsiteX141" fmla="*/ 1040193 w 2081801"/>
                  <a:gd name="connsiteY141" fmla="*/ 2303434 h 2563305"/>
                  <a:gd name="connsiteX142" fmla="*/ 1040193 w 2081801"/>
                  <a:gd name="connsiteY142" fmla="*/ 2303434 h 2563305"/>
                  <a:gd name="connsiteX143" fmla="*/ 1113835 w 2081801"/>
                  <a:gd name="connsiteY143" fmla="*/ 2185891 h 2563305"/>
                  <a:gd name="connsiteX144" fmla="*/ 1174731 w 2081801"/>
                  <a:gd name="connsiteY144" fmla="*/ 2174561 h 2563305"/>
                  <a:gd name="connsiteX145" fmla="*/ 1136494 w 2081801"/>
                  <a:gd name="connsiteY145" fmla="*/ 2316180 h 2563305"/>
                  <a:gd name="connsiteX146" fmla="*/ 1048690 w 2081801"/>
                  <a:gd name="connsiteY146" fmla="*/ 2302018 h 2563305"/>
                  <a:gd name="connsiteX147" fmla="*/ 1047274 w 2081801"/>
                  <a:gd name="connsiteY147" fmla="*/ 2302018 h 2563305"/>
                  <a:gd name="connsiteX148" fmla="*/ 1129413 w 2081801"/>
                  <a:gd name="connsiteY148" fmla="*/ 2344504 h 2563305"/>
                  <a:gd name="connsiteX149" fmla="*/ 1102505 w 2081801"/>
                  <a:gd name="connsiteY149" fmla="*/ 2446470 h 2563305"/>
                  <a:gd name="connsiteX150" fmla="*/ 1102505 w 2081801"/>
                  <a:gd name="connsiteY150" fmla="*/ 2446470 h 2563305"/>
                  <a:gd name="connsiteX151" fmla="*/ 1224298 w 2081801"/>
                  <a:gd name="connsiteY151" fmla="*/ 2391238 h 2563305"/>
                  <a:gd name="connsiteX152" fmla="*/ 1307853 w 2081801"/>
                  <a:gd name="connsiteY152" fmla="*/ 2433724 h 2563305"/>
                  <a:gd name="connsiteX153" fmla="*/ 1163402 w 2081801"/>
                  <a:gd name="connsiteY153" fmla="*/ 2564013 h 2563305"/>
                  <a:gd name="connsiteX154" fmla="*/ 1163402 w 2081801"/>
                  <a:gd name="connsiteY154" fmla="*/ 2564013 h 2563305"/>
                  <a:gd name="connsiteX155" fmla="*/ 1164817 w 2081801"/>
                  <a:gd name="connsiteY155" fmla="*/ 2565430 h 2563305"/>
                  <a:gd name="connsiteX156" fmla="*/ 1310685 w 2081801"/>
                  <a:gd name="connsiteY156" fmla="*/ 2433724 h 2563305"/>
                  <a:gd name="connsiteX157" fmla="*/ 1310685 w 2081801"/>
                  <a:gd name="connsiteY157" fmla="*/ 2433724 h 2563305"/>
                  <a:gd name="connsiteX158" fmla="*/ 1225714 w 2081801"/>
                  <a:gd name="connsiteY158" fmla="*/ 2389822 h 2563305"/>
                  <a:gd name="connsiteX159" fmla="*/ 1319183 w 2081801"/>
                  <a:gd name="connsiteY159" fmla="*/ 2347336 h 2563305"/>
                  <a:gd name="connsiteX160" fmla="*/ 1387160 w 2081801"/>
                  <a:gd name="connsiteY160" fmla="*/ 2358666 h 2563305"/>
                  <a:gd name="connsiteX161" fmla="*/ 1387160 w 2081801"/>
                  <a:gd name="connsiteY161" fmla="*/ 2358666 h 2563305"/>
                  <a:gd name="connsiteX162" fmla="*/ 1414067 w 2081801"/>
                  <a:gd name="connsiteY162" fmla="*/ 2304851 h 2563305"/>
                  <a:gd name="connsiteX163" fmla="*/ 1525946 w 2081801"/>
                  <a:gd name="connsiteY163" fmla="*/ 2253868 h 2563305"/>
                  <a:gd name="connsiteX164" fmla="*/ 1525946 w 2081801"/>
                  <a:gd name="connsiteY164" fmla="*/ 2253868 h 2563305"/>
                  <a:gd name="connsiteX165" fmla="*/ 1525946 w 2081801"/>
                  <a:gd name="connsiteY165" fmla="*/ 2252451 h 2563305"/>
                  <a:gd name="connsiteX166" fmla="*/ 1525946 w 2081801"/>
                  <a:gd name="connsiteY166" fmla="*/ 2252451 h 2563305"/>
                  <a:gd name="connsiteX167" fmla="*/ 1432478 w 2081801"/>
                  <a:gd name="connsiteY167" fmla="*/ 2269446 h 2563305"/>
                  <a:gd name="connsiteX168" fmla="*/ 1490541 w 2081801"/>
                  <a:gd name="connsiteY168" fmla="*/ 2154734 h 2563305"/>
                  <a:gd name="connsiteX169" fmla="*/ 1595340 w 2081801"/>
                  <a:gd name="connsiteY169" fmla="*/ 2079676 h 2563305"/>
                  <a:gd name="connsiteX170" fmla="*/ 1595340 w 2081801"/>
                  <a:gd name="connsiteY170" fmla="*/ 2079676 h 2563305"/>
                  <a:gd name="connsiteX171" fmla="*/ 1540108 w 2081801"/>
                  <a:gd name="connsiteY171" fmla="*/ 2055601 h 2563305"/>
                  <a:gd name="connsiteX172" fmla="*/ 1660484 w 2081801"/>
                  <a:gd name="connsiteY172" fmla="*/ 1816265 h 2563305"/>
                  <a:gd name="connsiteX173" fmla="*/ 1670398 w 2081801"/>
                  <a:gd name="connsiteY173" fmla="*/ 1823346 h 2563305"/>
                  <a:gd name="connsiteX174" fmla="*/ 1853087 w 2081801"/>
                  <a:gd name="connsiteY174" fmla="*/ 2194388 h 2563305"/>
                  <a:gd name="connsiteX175" fmla="*/ 1853087 w 2081801"/>
                  <a:gd name="connsiteY175" fmla="*/ 2194388 h 2563305"/>
                  <a:gd name="connsiteX176" fmla="*/ 1906902 w 2081801"/>
                  <a:gd name="connsiteY176" fmla="*/ 2007451 h 2563305"/>
                  <a:gd name="connsiteX177" fmla="*/ 1915399 w 2081801"/>
                  <a:gd name="connsiteY177" fmla="*/ 2137740 h 2563305"/>
                  <a:gd name="connsiteX178" fmla="*/ 1894156 w 2081801"/>
                  <a:gd name="connsiteY178" fmla="*/ 2194388 h 2563305"/>
                  <a:gd name="connsiteX179" fmla="*/ 1894156 w 2081801"/>
                  <a:gd name="connsiteY179" fmla="*/ 2195804 h 2563305"/>
                  <a:gd name="connsiteX180" fmla="*/ 1918231 w 2081801"/>
                  <a:gd name="connsiteY180" fmla="*/ 2167480 h 2563305"/>
                  <a:gd name="connsiteX181" fmla="*/ 1923896 w 2081801"/>
                  <a:gd name="connsiteY181" fmla="*/ 2260949 h 2563305"/>
                  <a:gd name="connsiteX182" fmla="*/ 1923896 w 2081801"/>
                  <a:gd name="connsiteY182" fmla="*/ 2262365 h 2563305"/>
                  <a:gd name="connsiteX183" fmla="*/ 1987625 w 2081801"/>
                  <a:gd name="connsiteY183" fmla="*/ 2081092 h 2563305"/>
                  <a:gd name="connsiteX184" fmla="*/ 1987625 w 2081801"/>
                  <a:gd name="connsiteY184" fmla="*/ 2079676 h 2563305"/>
                  <a:gd name="connsiteX185" fmla="*/ 1919648 w 2081801"/>
                  <a:gd name="connsiteY185" fmla="*/ 2161815 h 2563305"/>
                  <a:gd name="connsiteX186" fmla="*/ 1918231 w 2081801"/>
                  <a:gd name="connsiteY186" fmla="*/ 2139156 h 2563305"/>
                  <a:gd name="connsiteX187" fmla="*/ 2021613 w 2081801"/>
                  <a:gd name="connsiteY187" fmla="*/ 1872912 h 2563305"/>
                  <a:gd name="connsiteX188" fmla="*/ 2021613 w 2081801"/>
                  <a:gd name="connsiteY188" fmla="*/ 1871496 h 2563305"/>
                  <a:gd name="connsiteX189" fmla="*/ 1908318 w 2081801"/>
                  <a:gd name="connsiteY189" fmla="*/ 1991872 h 2563305"/>
                  <a:gd name="connsiteX190" fmla="*/ 1673231 w 2081801"/>
                  <a:gd name="connsiteY190" fmla="*/ 1821929 h 2563305"/>
                  <a:gd name="connsiteX191" fmla="*/ 1664733 w 2081801"/>
                  <a:gd name="connsiteY191" fmla="*/ 1803519 h 2563305"/>
                  <a:gd name="connsiteX192" fmla="*/ 1684560 w 2081801"/>
                  <a:gd name="connsiteY192" fmla="*/ 1678894 h 2563305"/>
                  <a:gd name="connsiteX193" fmla="*/ 1684560 w 2081801"/>
                  <a:gd name="connsiteY193" fmla="*/ 1678894 h 2563305"/>
                  <a:gd name="connsiteX194" fmla="*/ 1472131 w 2081801"/>
                  <a:gd name="connsiteY194" fmla="*/ 1804935 h 2563305"/>
                  <a:gd name="connsiteX195" fmla="*/ 1443807 w 2081801"/>
                  <a:gd name="connsiteY195" fmla="*/ 1702970 h 2563305"/>
                  <a:gd name="connsiteX196" fmla="*/ 1637826 w 2081801"/>
                  <a:gd name="connsiteY196" fmla="*/ 1592506 h 2563305"/>
                  <a:gd name="connsiteX197" fmla="*/ 1637826 w 2081801"/>
                  <a:gd name="connsiteY197" fmla="*/ 1592506 h 2563305"/>
                  <a:gd name="connsiteX198" fmla="*/ 1643490 w 2081801"/>
                  <a:gd name="connsiteY198" fmla="*/ 1537275 h 2563305"/>
                  <a:gd name="connsiteX199" fmla="*/ 1724213 w 2081801"/>
                  <a:gd name="connsiteY199" fmla="*/ 1561350 h 2563305"/>
                  <a:gd name="connsiteX200" fmla="*/ 1724213 w 2081801"/>
                  <a:gd name="connsiteY200" fmla="*/ 1561350 h 2563305"/>
                  <a:gd name="connsiteX201" fmla="*/ 1908318 w 2081801"/>
                  <a:gd name="connsiteY201" fmla="*/ 1348922 h 2563305"/>
                  <a:gd name="connsiteX202" fmla="*/ 1953636 w 2081801"/>
                  <a:gd name="connsiteY202" fmla="*/ 1331927 h 2563305"/>
                  <a:gd name="connsiteX203" fmla="*/ 1953636 w 2081801"/>
                  <a:gd name="connsiteY203" fmla="*/ 1331927 h 2563305"/>
                  <a:gd name="connsiteX204" fmla="*/ 1977712 w 2081801"/>
                  <a:gd name="connsiteY204" fmla="*/ 1269615 h 2563305"/>
                  <a:gd name="connsiteX205" fmla="*/ 2011700 w 2081801"/>
                  <a:gd name="connsiteY205" fmla="*/ 1231378 h 2563305"/>
                  <a:gd name="connsiteX206" fmla="*/ 2011700 w 2081801"/>
                  <a:gd name="connsiteY206" fmla="*/ 1231378 h 2563305"/>
                  <a:gd name="connsiteX207" fmla="*/ 1998955 w 2081801"/>
                  <a:gd name="connsiteY207" fmla="*/ 1217216 h 2563305"/>
                  <a:gd name="connsiteX208" fmla="*/ 2072596 w 2081801"/>
                  <a:gd name="connsiteY208" fmla="*/ 1026030 h 2563305"/>
                  <a:gd name="connsiteX209" fmla="*/ 2072596 w 2081801"/>
                  <a:gd name="connsiteY209" fmla="*/ 1026030 h 2563305"/>
                  <a:gd name="connsiteX210" fmla="*/ 1861584 w 2081801"/>
                  <a:gd name="connsiteY210" fmla="*/ 1065684 h 2563305"/>
                  <a:gd name="connsiteX211" fmla="*/ 1861584 w 2081801"/>
                  <a:gd name="connsiteY211" fmla="*/ 1065684 h 2563305"/>
                  <a:gd name="connsiteX212" fmla="*/ 2008868 w 2081801"/>
                  <a:gd name="connsiteY212" fmla="*/ 1227129 h 2563305"/>
                  <a:gd name="connsiteX213" fmla="*/ 1980544 w 2081801"/>
                  <a:gd name="connsiteY213" fmla="*/ 1261118 h 2563305"/>
                  <a:gd name="connsiteX214" fmla="*/ 1997538 w 2081801"/>
                  <a:gd name="connsiteY214" fmla="*/ 1215800 h 2563305"/>
                  <a:gd name="connsiteX215" fmla="*/ 2008868 w 2081801"/>
                  <a:gd name="connsiteY215" fmla="*/ 1227129 h 2563305"/>
                  <a:gd name="connsiteX216" fmla="*/ 2068348 w 2081801"/>
                  <a:gd name="connsiteY216" fmla="*/ 1024614 h 2563305"/>
                  <a:gd name="connsiteX217" fmla="*/ 1996122 w 2081801"/>
                  <a:gd name="connsiteY217" fmla="*/ 1211551 h 2563305"/>
                  <a:gd name="connsiteX218" fmla="*/ 1864416 w 2081801"/>
                  <a:gd name="connsiteY218" fmla="*/ 1067100 h 2563305"/>
                  <a:gd name="connsiteX219" fmla="*/ 2068348 w 2081801"/>
                  <a:gd name="connsiteY219" fmla="*/ 1024614 h 2563305"/>
                  <a:gd name="connsiteX220" fmla="*/ 1973463 w 2081801"/>
                  <a:gd name="connsiteY220" fmla="*/ 1271031 h 2563305"/>
                  <a:gd name="connsiteX221" fmla="*/ 1952220 w 2081801"/>
                  <a:gd name="connsiteY221" fmla="*/ 1327679 h 2563305"/>
                  <a:gd name="connsiteX222" fmla="*/ 1911150 w 2081801"/>
                  <a:gd name="connsiteY222" fmla="*/ 1343257 h 2563305"/>
                  <a:gd name="connsiteX223" fmla="*/ 1973463 w 2081801"/>
                  <a:gd name="connsiteY223" fmla="*/ 1271031 h 2563305"/>
                  <a:gd name="connsiteX224" fmla="*/ 1324847 w 2081801"/>
                  <a:gd name="connsiteY224" fmla="*/ 2343088 h 2563305"/>
                  <a:gd name="connsiteX225" fmla="*/ 1414067 w 2081801"/>
                  <a:gd name="connsiteY225" fmla="*/ 2303434 h 2563305"/>
                  <a:gd name="connsiteX226" fmla="*/ 1388576 w 2081801"/>
                  <a:gd name="connsiteY226" fmla="*/ 2354417 h 2563305"/>
                  <a:gd name="connsiteX227" fmla="*/ 1324847 w 2081801"/>
                  <a:gd name="connsiteY227" fmla="*/ 2343088 h 2563305"/>
                  <a:gd name="connsiteX228" fmla="*/ 99842 w 2081801"/>
                  <a:gd name="connsiteY228" fmla="*/ 1091175 h 2563305"/>
                  <a:gd name="connsiteX229" fmla="*/ 302357 w 2081801"/>
                  <a:gd name="connsiteY229" fmla="*/ 1152071 h 2563305"/>
                  <a:gd name="connsiteX230" fmla="*/ 266952 w 2081801"/>
                  <a:gd name="connsiteY230" fmla="*/ 1289442 h 2563305"/>
                  <a:gd name="connsiteX231" fmla="*/ 99842 w 2081801"/>
                  <a:gd name="connsiteY231" fmla="*/ 1091175 h 2563305"/>
                  <a:gd name="connsiteX232" fmla="*/ 1395657 w 2081801"/>
                  <a:gd name="connsiteY232" fmla="*/ 462386 h 2563305"/>
                  <a:gd name="connsiteX233" fmla="*/ 1472131 w 2081801"/>
                  <a:gd name="connsiteY233" fmla="*/ 224466 h 2563305"/>
                  <a:gd name="connsiteX234" fmla="*/ 1448056 w 2081801"/>
                  <a:gd name="connsiteY234" fmla="*/ 475132 h 2563305"/>
                  <a:gd name="connsiteX235" fmla="*/ 1395657 w 2081801"/>
                  <a:gd name="connsiteY235" fmla="*/ 462386 h 2563305"/>
                  <a:gd name="connsiteX236" fmla="*/ 1317766 w 2081801"/>
                  <a:gd name="connsiteY236" fmla="*/ 2343088 h 2563305"/>
                  <a:gd name="connsiteX237" fmla="*/ 1225714 w 2081801"/>
                  <a:gd name="connsiteY237" fmla="*/ 2384157 h 2563305"/>
                  <a:gd name="connsiteX238" fmla="*/ 1133662 w 2081801"/>
                  <a:gd name="connsiteY238" fmla="*/ 2337423 h 2563305"/>
                  <a:gd name="connsiteX239" fmla="*/ 1139326 w 2081801"/>
                  <a:gd name="connsiteY239" fmla="*/ 2313348 h 2563305"/>
                  <a:gd name="connsiteX240" fmla="*/ 1317766 w 2081801"/>
                  <a:gd name="connsiteY240" fmla="*/ 2343088 h 2563305"/>
                  <a:gd name="connsiteX241" fmla="*/ 1095424 w 2081801"/>
                  <a:gd name="connsiteY241" fmla="*/ 2184474 h 2563305"/>
                  <a:gd name="connsiteX242" fmla="*/ 1095424 w 2081801"/>
                  <a:gd name="connsiteY242" fmla="*/ 2184474 h 2563305"/>
                  <a:gd name="connsiteX243" fmla="*/ 1112419 w 2081801"/>
                  <a:gd name="connsiteY243" fmla="*/ 2181642 h 2563305"/>
                  <a:gd name="connsiteX244" fmla="*/ 1043025 w 2081801"/>
                  <a:gd name="connsiteY244" fmla="*/ 2292105 h 2563305"/>
                  <a:gd name="connsiteX245" fmla="*/ 1014701 w 2081801"/>
                  <a:gd name="connsiteY245" fmla="*/ 2040023 h 2563305"/>
                  <a:gd name="connsiteX246" fmla="*/ 1095424 w 2081801"/>
                  <a:gd name="connsiteY246" fmla="*/ 2184474 h 2563305"/>
                  <a:gd name="connsiteX247" fmla="*/ 418485 w 2081801"/>
                  <a:gd name="connsiteY247" fmla="*/ 1102504 h 2563305"/>
                  <a:gd name="connsiteX248" fmla="*/ 390161 w 2081801"/>
                  <a:gd name="connsiteY248" fmla="*/ 1177563 h 2563305"/>
                  <a:gd name="connsiteX249" fmla="*/ 305190 w 2081801"/>
                  <a:gd name="connsiteY249" fmla="*/ 1152071 h 2563305"/>
                  <a:gd name="connsiteX250" fmla="*/ 323600 w 2081801"/>
                  <a:gd name="connsiteY250" fmla="*/ 1079846 h 2563305"/>
                  <a:gd name="connsiteX251" fmla="*/ 418485 w 2081801"/>
                  <a:gd name="connsiteY251" fmla="*/ 1102504 h 2563305"/>
                  <a:gd name="connsiteX252" fmla="*/ 357588 w 2081801"/>
                  <a:gd name="connsiteY252" fmla="*/ 1269615 h 2563305"/>
                  <a:gd name="connsiteX253" fmla="*/ 391577 w 2081801"/>
                  <a:gd name="connsiteY253" fmla="*/ 1178979 h 2563305"/>
                  <a:gd name="connsiteX254" fmla="*/ 528948 w 2081801"/>
                  <a:gd name="connsiteY254" fmla="*/ 1220048 h 2563305"/>
                  <a:gd name="connsiteX255" fmla="*/ 357588 w 2081801"/>
                  <a:gd name="connsiteY255" fmla="*/ 1269615 h 2563305"/>
                  <a:gd name="connsiteX256" fmla="*/ 94177 w 2081801"/>
                  <a:gd name="connsiteY256" fmla="*/ 1086927 h 2563305"/>
                  <a:gd name="connsiteX257" fmla="*/ 85680 w 2081801"/>
                  <a:gd name="connsiteY257" fmla="*/ 1084094 h 2563305"/>
                  <a:gd name="connsiteX258" fmla="*/ 87096 w 2081801"/>
                  <a:gd name="connsiteY258" fmla="*/ 1077013 h 2563305"/>
                  <a:gd name="connsiteX259" fmla="*/ 94177 w 2081801"/>
                  <a:gd name="connsiteY259" fmla="*/ 1086927 h 2563305"/>
                  <a:gd name="connsiteX260" fmla="*/ 108339 w 2081801"/>
                  <a:gd name="connsiteY260" fmla="*/ 605422 h 2563305"/>
                  <a:gd name="connsiteX261" fmla="*/ 115420 w 2081801"/>
                  <a:gd name="connsiteY261" fmla="*/ 592676 h 2563305"/>
                  <a:gd name="connsiteX262" fmla="*/ 125333 w 2081801"/>
                  <a:gd name="connsiteY262" fmla="*/ 609670 h 2563305"/>
                  <a:gd name="connsiteX263" fmla="*/ 108339 w 2081801"/>
                  <a:gd name="connsiteY263" fmla="*/ 605422 h 2563305"/>
                  <a:gd name="connsiteX264" fmla="*/ 1303604 w 2081801"/>
                  <a:gd name="connsiteY264" fmla="*/ 530363 h 2563305"/>
                  <a:gd name="connsiteX265" fmla="*/ 1306437 w 2081801"/>
                  <a:gd name="connsiteY265" fmla="*/ 445392 h 2563305"/>
                  <a:gd name="connsiteX266" fmla="*/ 1339009 w 2081801"/>
                  <a:gd name="connsiteY266" fmla="*/ 452473 h 2563305"/>
                  <a:gd name="connsiteX267" fmla="*/ 1346090 w 2081801"/>
                  <a:gd name="connsiteY267" fmla="*/ 511953 h 2563305"/>
                  <a:gd name="connsiteX268" fmla="*/ 1303604 w 2081801"/>
                  <a:gd name="connsiteY268" fmla="*/ 530363 h 2563305"/>
                  <a:gd name="connsiteX269" fmla="*/ 1664733 w 2081801"/>
                  <a:gd name="connsiteY269" fmla="*/ 1800687 h 2563305"/>
                  <a:gd name="connsiteX270" fmla="*/ 1664733 w 2081801"/>
                  <a:gd name="connsiteY270" fmla="*/ 1800687 h 2563305"/>
                  <a:gd name="connsiteX271" fmla="*/ 1671814 w 2081801"/>
                  <a:gd name="connsiteY271" fmla="*/ 1816265 h 2563305"/>
                  <a:gd name="connsiteX272" fmla="*/ 1663317 w 2081801"/>
                  <a:gd name="connsiteY272" fmla="*/ 1809184 h 2563305"/>
                  <a:gd name="connsiteX273" fmla="*/ 1663317 w 2081801"/>
                  <a:gd name="connsiteY273" fmla="*/ 1809184 h 2563305"/>
                  <a:gd name="connsiteX274" fmla="*/ 1541524 w 2081801"/>
                  <a:gd name="connsiteY274" fmla="*/ 2051353 h 2563305"/>
                  <a:gd name="connsiteX275" fmla="*/ 1446640 w 2081801"/>
                  <a:gd name="connsiteY275" fmla="*/ 2010283 h 2563305"/>
                  <a:gd name="connsiteX276" fmla="*/ 1496207 w 2081801"/>
                  <a:gd name="connsiteY276" fmla="*/ 1898404 h 2563305"/>
                  <a:gd name="connsiteX277" fmla="*/ 1496207 w 2081801"/>
                  <a:gd name="connsiteY277" fmla="*/ 1898404 h 2563305"/>
                  <a:gd name="connsiteX278" fmla="*/ 1487709 w 2081801"/>
                  <a:gd name="connsiteY278" fmla="*/ 1898404 h 2563305"/>
                  <a:gd name="connsiteX279" fmla="*/ 1499039 w 2081801"/>
                  <a:gd name="connsiteY279" fmla="*/ 1889906 h 2563305"/>
                  <a:gd name="connsiteX280" fmla="*/ 1499039 w 2081801"/>
                  <a:gd name="connsiteY280" fmla="*/ 1889906 h 2563305"/>
                  <a:gd name="connsiteX281" fmla="*/ 1474964 w 2081801"/>
                  <a:gd name="connsiteY281" fmla="*/ 1804935 h 2563305"/>
                  <a:gd name="connsiteX282" fmla="*/ 1684560 w 2081801"/>
                  <a:gd name="connsiteY282" fmla="*/ 1680310 h 2563305"/>
                  <a:gd name="connsiteX283" fmla="*/ 1664733 w 2081801"/>
                  <a:gd name="connsiteY283" fmla="*/ 1800687 h 2563305"/>
                  <a:gd name="connsiteX284" fmla="*/ 1292275 w 2081801"/>
                  <a:gd name="connsiteY284" fmla="*/ 2292105 h 2563305"/>
                  <a:gd name="connsiteX285" fmla="*/ 1292275 w 2081801"/>
                  <a:gd name="connsiteY285" fmla="*/ 2292105 h 2563305"/>
                  <a:gd name="connsiteX286" fmla="*/ 1431062 w 2081801"/>
                  <a:gd name="connsiteY286" fmla="*/ 2268030 h 2563305"/>
                  <a:gd name="connsiteX287" fmla="*/ 1415484 w 2081801"/>
                  <a:gd name="connsiteY287" fmla="*/ 2299186 h 2563305"/>
                  <a:gd name="connsiteX288" fmla="*/ 1320599 w 2081801"/>
                  <a:gd name="connsiteY288" fmla="*/ 2341672 h 2563305"/>
                  <a:gd name="connsiteX289" fmla="*/ 1139326 w 2081801"/>
                  <a:gd name="connsiteY289" fmla="*/ 2311932 h 2563305"/>
                  <a:gd name="connsiteX290" fmla="*/ 1177564 w 2081801"/>
                  <a:gd name="connsiteY290" fmla="*/ 2167480 h 2563305"/>
                  <a:gd name="connsiteX291" fmla="*/ 1177564 w 2081801"/>
                  <a:gd name="connsiteY291" fmla="*/ 2167480 h 2563305"/>
                  <a:gd name="connsiteX292" fmla="*/ 1115251 w 2081801"/>
                  <a:gd name="connsiteY292" fmla="*/ 2178810 h 2563305"/>
                  <a:gd name="connsiteX293" fmla="*/ 1163402 w 2081801"/>
                  <a:gd name="connsiteY293" fmla="*/ 2102335 h 2563305"/>
                  <a:gd name="connsiteX294" fmla="*/ 1170483 w 2081801"/>
                  <a:gd name="connsiteY294" fmla="*/ 2124994 h 2563305"/>
                  <a:gd name="connsiteX295" fmla="*/ 1166234 w 2081801"/>
                  <a:gd name="connsiteY295" fmla="*/ 2160399 h 2563305"/>
                  <a:gd name="connsiteX296" fmla="*/ 1166234 w 2081801"/>
                  <a:gd name="connsiteY296" fmla="*/ 2160399 h 2563305"/>
                  <a:gd name="connsiteX297" fmla="*/ 1178979 w 2081801"/>
                  <a:gd name="connsiteY297" fmla="*/ 2150486 h 2563305"/>
                  <a:gd name="connsiteX298" fmla="*/ 1181812 w 2081801"/>
                  <a:gd name="connsiteY298" fmla="*/ 2158983 h 2563305"/>
                  <a:gd name="connsiteX299" fmla="*/ 1181812 w 2081801"/>
                  <a:gd name="connsiteY299" fmla="*/ 2158983 h 2563305"/>
                  <a:gd name="connsiteX300" fmla="*/ 1323431 w 2081801"/>
                  <a:gd name="connsiteY300" fmla="*/ 2130659 h 2563305"/>
                  <a:gd name="connsiteX301" fmla="*/ 1323431 w 2081801"/>
                  <a:gd name="connsiteY301" fmla="*/ 2130659 h 2563305"/>
                  <a:gd name="connsiteX302" fmla="*/ 1255454 w 2081801"/>
                  <a:gd name="connsiteY302" fmla="*/ 2086757 h 2563305"/>
                  <a:gd name="connsiteX303" fmla="*/ 1483461 w 2081801"/>
                  <a:gd name="connsiteY303" fmla="*/ 1898404 h 2563305"/>
                  <a:gd name="connsiteX304" fmla="*/ 1490541 w 2081801"/>
                  <a:gd name="connsiteY304" fmla="*/ 1898404 h 2563305"/>
                  <a:gd name="connsiteX305" fmla="*/ 1442391 w 2081801"/>
                  <a:gd name="connsiteY305" fmla="*/ 2010283 h 2563305"/>
                  <a:gd name="connsiteX306" fmla="*/ 1442391 w 2081801"/>
                  <a:gd name="connsiteY306" fmla="*/ 2010283 h 2563305"/>
                  <a:gd name="connsiteX307" fmla="*/ 1540108 w 2081801"/>
                  <a:gd name="connsiteY307" fmla="*/ 2051353 h 2563305"/>
                  <a:gd name="connsiteX308" fmla="*/ 1490541 w 2081801"/>
                  <a:gd name="connsiteY308" fmla="*/ 2149070 h 2563305"/>
                  <a:gd name="connsiteX309" fmla="*/ 1292275 w 2081801"/>
                  <a:gd name="connsiteY309" fmla="*/ 2292105 h 2563305"/>
                  <a:gd name="connsiteX310" fmla="*/ 1096840 w 2081801"/>
                  <a:gd name="connsiteY310" fmla="*/ 2183058 h 2563305"/>
                  <a:gd name="connsiteX311" fmla="*/ 1013285 w 2081801"/>
                  <a:gd name="connsiteY311" fmla="*/ 2035774 h 2563305"/>
                  <a:gd name="connsiteX312" fmla="*/ 1013285 w 2081801"/>
                  <a:gd name="connsiteY312" fmla="*/ 2035774 h 2563305"/>
                  <a:gd name="connsiteX313" fmla="*/ 984961 w 2081801"/>
                  <a:gd name="connsiteY313" fmla="*/ 1793606 h 2563305"/>
                  <a:gd name="connsiteX314" fmla="*/ 1004788 w 2081801"/>
                  <a:gd name="connsiteY314" fmla="*/ 1755368 h 2563305"/>
                  <a:gd name="connsiteX315" fmla="*/ 1004788 w 2081801"/>
                  <a:gd name="connsiteY315" fmla="*/ 1753952 h 2563305"/>
                  <a:gd name="connsiteX316" fmla="*/ 979297 w 2081801"/>
                  <a:gd name="connsiteY316" fmla="*/ 1749704 h 2563305"/>
                  <a:gd name="connsiteX317" fmla="*/ 973632 w 2081801"/>
                  <a:gd name="connsiteY317" fmla="*/ 1701553 h 2563305"/>
                  <a:gd name="connsiteX318" fmla="*/ 1044441 w 2081801"/>
                  <a:gd name="connsiteY318" fmla="*/ 1674646 h 2563305"/>
                  <a:gd name="connsiteX319" fmla="*/ 1218633 w 2081801"/>
                  <a:gd name="connsiteY319" fmla="*/ 1663316 h 2563305"/>
                  <a:gd name="connsiteX320" fmla="*/ 1210136 w 2081801"/>
                  <a:gd name="connsiteY320" fmla="*/ 1751120 h 2563305"/>
                  <a:gd name="connsiteX321" fmla="*/ 1055771 w 2081801"/>
                  <a:gd name="connsiteY321" fmla="*/ 1770946 h 2563305"/>
                  <a:gd name="connsiteX322" fmla="*/ 1055771 w 2081801"/>
                  <a:gd name="connsiteY322" fmla="*/ 1770946 h 2563305"/>
                  <a:gd name="connsiteX323" fmla="*/ 1106754 w 2081801"/>
                  <a:gd name="connsiteY323" fmla="*/ 1925311 h 2563305"/>
                  <a:gd name="connsiteX324" fmla="*/ 1010453 w 2081801"/>
                  <a:gd name="connsiteY324" fmla="*/ 1932392 h 2563305"/>
                  <a:gd name="connsiteX325" fmla="*/ 1010453 w 2081801"/>
                  <a:gd name="connsiteY325" fmla="*/ 1932392 h 2563305"/>
                  <a:gd name="connsiteX326" fmla="*/ 1136494 w 2081801"/>
                  <a:gd name="connsiteY326" fmla="*/ 2013115 h 2563305"/>
                  <a:gd name="connsiteX327" fmla="*/ 1164817 w 2081801"/>
                  <a:gd name="connsiteY327" fmla="*/ 2100919 h 2563305"/>
                  <a:gd name="connsiteX328" fmla="*/ 1115251 w 2081801"/>
                  <a:gd name="connsiteY328" fmla="*/ 2180226 h 2563305"/>
                  <a:gd name="connsiteX329" fmla="*/ 1096840 w 2081801"/>
                  <a:gd name="connsiteY329" fmla="*/ 2183058 h 2563305"/>
                  <a:gd name="connsiteX330" fmla="*/ 114004 w 2081801"/>
                  <a:gd name="connsiteY330" fmla="*/ 589843 h 2563305"/>
                  <a:gd name="connsiteX331" fmla="*/ 104090 w 2081801"/>
                  <a:gd name="connsiteY331" fmla="*/ 606838 h 2563305"/>
                  <a:gd name="connsiteX332" fmla="*/ 125333 w 2081801"/>
                  <a:gd name="connsiteY332" fmla="*/ 611086 h 2563305"/>
                  <a:gd name="connsiteX333" fmla="*/ 109755 w 2081801"/>
                  <a:gd name="connsiteY333" fmla="*/ 662069 h 2563305"/>
                  <a:gd name="connsiteX334" fmla="*/ 101258 w 2081801"/>
                  <a:gd name="connsiteY334" fmla="*/ 667734 h 2563305"/>
                  <a:gd name="connsiteX335" fmla="*/ 58772 w 2081801"/>
                  <a:gd name="connsiteY335" fmla="*/ 493542 h 2563305"/>
                  <a:gd name="connsiteX336" fmla="*/ 114004 w 2081801"/>
                  <a:gd name="connsiteY336" fmla="*/ 589843 h 2563305"/>
                  <a:gd name="connsiteX337" fmla="*/ 225883 w 2081801"/>
                  <a:gd name="connsiteY337" fmla="*/ 632329 h 2563305"/>
                  <a:gd name="connsiteX338" fmla="*/ 181981 w 2081801"/>
                  <a:gd name="connsiteY338" fmla="*/ 622416 h 2563305"/>
                  <a:gd name="connsiteX339" fmla="*/ 252790 w 2081801"/>
                  <a:gd name="connsiteY339" fmla="*/ 579930 h 2563305"/>
                  <a:gd name="connsiteX340" fmla="*/ 259871 w 2081801"/>
                  <a:gd name="connsiteY340" fmla="*/ 591260 h 2563305"/>
                  <a:gd name="connsiteX341" fmla="*/ 225883 w 2081801"/>
                  <a:gd name="connsiteY341" fmla="*/ 632329 h 2563305"/>
                  <a:gd name="connsiteX342" fmla="*/ 640827 w 2081801"/>
                  <a:gd name="connsiteY342" fmla="*/ 156489 h 2563305"/>
                  <a:gd name="connsiteX343" fmla="*/ 657821 w 2081801"/>
                  <a:gd name="connsiteY343" fmla="*/ 143743 h 2563305"/>
                  <a:gd name="connsiteX344" fmla="*/ 914152 w 2081801"/>
                  <a:gd name="connsiteY344" fmla="*/ 200391 h 2563305"/>
                  <a:gd name="connsiteX345" fmla="*/ 781030 w 2081801"/>
                  <a:gd name="connsiteY345" fmla="*/ 201807 h 2563305"/>
                  <a:gd name="connsiteX346" fmla="*/ 640827 w 2081801"/>
                  <a:gd name="connsiteY346" fmla="*/ 156489 h 2563305"/>
                  <a:gd name="connsiteX347" fmla="*/ 884412 w 2081801"/>
                  <a:gd name="connsiteY347" fmla="*/ 351923 h 2563305"/>
                  <a:gd name="connsiteX348" fmla="*/ 1020366 w 2081801"/>
                  <a:gd name="connsiteY348" fmla="*/ 282530 h 2563305"/>
                  <a:gd name="connsiteX349" fmla="*/ 1201639 w 2081801"/>
                  <a:gd name="connsiteY349" fmla="*/ 340594 h 2563305"/>
                  <a:gd name="connsiteX350" fmla="*/ 1184644 w 2081801"/>
                  <a:gd name="connsiteY350" fmla="*/ 417068 h 2563305"/>
                  <a:gd name="connsiteX351" fmla="*/ 884412 w 2081801"/>
                  <a:gd name="connsiteY351" fmla="*/ 351923 h 2563305"/>
                  <a:gd name="connsiteX352" fmla="*/ 1493374 w 2081801"/>
                  <a:gd name="connsiteY352" fmla="*/ 1130828 h 2563305"/>
                  <a:gd name="connsiteX353" fmla="*/ 1562767 w 2081801"/>
                  <a:gd name="connsiteY353" fmla="*/ 1054354 h 2563305"/>
                  <a:gd name="connsiteX354" fmla="*/ 1659069 w 2081801"/>
                  <a:gd name="connsiteY354" fmla="*/ 1101088 h 2563305"/>
                  <a:gd name="connsiteX355" fmla="*/ 1605253 w 2081801"/>
                  <a:gd name="connsiteY355" fmla="*/ 1120915 h 2563305"/>
                  <a:gd name="connsiteX356" fmla="*/ 1493374 w 2081801"/>
                  <a:gd name="connsiteY356" fmla="*/ 1130828 h 2563305"/>
                  <a:gd name="connsiteX357" fmla="*/ 1513201 w 2081801"/>
                  <a:gd name="connsiteY357" fmla="*/ 1494789 h 2563305"/>
                  <a:gd name="connsiteX358" fmla="*/ 1501871 w 2081801"/>
                  <a:gd name="connsiteY358" fmla="*/ 1491957 h 2563305"/>
                  <a:gd name="connsiteX359" fmla="*/ 1659069 w 2081801"/>
                  <a:gd name="connsiteY359" fmla="*/ 1360251 h 2563305"/>
                  <a:gd name="connsiteX360" fmla="*/ 1650571 w 2081801"/>
                  <a:gd name="connsiteY360" fmla="*/ 1442390 h 2563305"/>
                  <a:gd name="connsiteX361" fmla="*/ 1513201 w 2081801"/>
                  <a:gd name="connsiteY361" fmla="*/ 1494789 h 2563305"/>
                  <a:gd name="connsiteX362" fmla="*/ 960886 w 2081801"/>
                  <a:gd name="connsiteY362" fmla="*/ 1336176 h 2563305"/>
                  <a:gd name="connsiteX363" fmla="*/ 989210 w 2081801"/>
                  <a:gd name="connsiteY363" fmla="*/ 1344673 h 2563305"/>
                  <a:gd name="connsiteX364" fmla="*/ 982129 w 2081801"/>
                  <a:gd name="connsiteY364" fmla="*/ 1364500 h 2563305"/>
                  <a:gd name="connsiteX365" fmla="*/ 959470 w 2081801"/>
                  <a:gd name="connsiteY365" fmla="*/ 1337592 h 2563305"/>
                  <a:gd name="connsiteX366" fmla="*/ 960886 w 2081801"/>
                  <a:gd name="connsiteY366" fmla="*/ 1336176 h 2563305"/>
                  <a:gd name="connsiteX367" fmla="*/ 945308 w 2081801"/>
                  <a:gd name="connsiteY367" fmla="*/ 1329095 h 2563305"/>
                  <a:gd name="connsiteX368" fmla="*/ 945308 w 2081801"/>
                  <a:gd name="connsiteY368" fmla="*/ 1323430 h 2563305"/>
                  <a:gd name="connsiteX369" fmla="*/ 950973 w 2081801"/>
                  <a:gd name="connsiteY369" fmla="*/ 1330511 h 2563305"/>
                  <a:gd name="connsiteX370" fmla="*/ 945308 w 2081801"/>
                  <a:gd name="connsiteY370" fmla="*/ 1329095 h 2563305"/>
                  <a:gd name="connsiteX371" fmla="*/ 114004 w 2081801"/>
                  <a:gd name="connsiteY371" fmla="*/ 660653 h 2563305"/>
                  <a:gd name="connsiteX372" fmla="*/ 128166 w 2081801"/>
                  <a:gd name="connsiteY372" fmla="*/ 613919 h 2563305"/>
                  <a:gd name="connsiteX373" fmla="*/ 145160 w 2081801"/>
                  <a:gd name="connsiteY373" fmla="*/ 642242 h 2563305"/>
                  <a:gd name="connsiteX374" fmla="*/ 114004 w 2081801"/>
                  <a:gd name="connsiteY374" fmla="*/ 660653 h 2563305"/>
                  <a:gd name="connsiteX375" fmla="*/ 180564 w 2081801"/>
                  <a:gd name="connsiteY375" fmla="*/ 621000 h 2563305"/>
                  <a:gd name="connsiteX376" fmla="*/ 167819 w 2081801"/>
                  <a:gd name="connsiteY376" fmla="*/ 618167 h 2563305"/>
                  <a:gd name="connsiteX377" fmla="*/ 191894 w 2081801"/>
                  <a:gd name="connsiteY377" fmla="*/ 482213 h 2563305"/>
                  <a:gd name="connsiteX378" fmla="*/ 252790 w 2081801"/>
                  <a:gd name="connsiteY378" fmla="*/ 578514 h 2563305"/>
                  <a:gd name="connsiteX379" fmla="*/ 180564 w 2081801"/>
                  <a:gd name="connsiteY379" fmla="*/ 621000 h 2563305"/>
                  <a:gd name="connsiteX380" fmla="*/ 507705 w 2081801"/>
                  <a:gd name="connsiteY380" fmla="*/ 660653 h 2563305"/>
                  <a:gd name="connsiteX381" fmla="*/ 524699 w 2081801"/>
                  <a:gd name="connsiteY381" fmla="*/ 698890 h 2563305"/>
                  <a:gd name="connsiteX382" fmla="*/ 516202 w 2081801"/>
                  <a:gd name="connsiteY382" fmla="*/ 697474 h 2563305"/>
                  <a:gd name="connsiteX383" fmla="*/ 492127 w 2081801"/>
                  <a:gd name="connsiteY383" fmla="*/ 664902 h 2563305"/>
                  <a:gd name="connsiteX384" fmla="*/ 507705 w 2081801"/>
                  <a:gd name="connsiteY384" fmla="*/ 660653 h 2563305"/>
                  <a:gd name="connsiteX385" fmla="*/ 489294 w 2081801"/>
                  <a:gd name="connsiteY385" fmla="*/ 266952 h 2563305"/>
                  <a:gd name="connsiteX386" fmla="*/ 443976 w 2081801"/>
                  <a:gd name="connsiteY386" fmla="*/ 300941 h 2563305"/>
                  <a:gd name="connsiteX387" fmla="*/ 363253 w 2081801"/>
                  <a:gd name="connsiteY387" fmla="*/ 240044 h 2563305"/>
                  <a:gd name="connsiteX388" fmla="*/ 489294 w 2081801"/>
                  <a:gd name="connsiteY388" fmla="*/ 266952 h 2563305"/>
                  <a:gd name="connsiteX389" fmla="*/ 643659 w 2081801"/>
                  <a:gd name="connsiteY389" fmla="*/ 223050 h 2563305"/>
                  <a:gd name="connsiteX390" fmla="*/ 626665 w 2081801"/>
                  <a:gd name="connsiteY390" fmla="*/ 206056 h 2563305"/>
                  <a:gd name="connsiteX391" fmla="*/ 781030 w 2081801"/>
                  <a:gd name="connsiteY391" fmla="*/ 204640 h 2563305"/>
                  <a:gd name="connsiteX392" fmla="*/ 950973 w 2081801"/>
                  <a:gd name="connsiteY392" fmla="*/ 259871 h 2563305"/>
                  <a:gd name="connsiteX393" fmla="*/ 643659 w 2081801"/>
                  <a:gd name="connsiteY393" fmla="*/ 223050 h 2563305"/>
                  <a:gd name="connsiteX394" fmla="*/ 642243 w 2081801"/>
                  <a:gd name="connsiteY394" fmla="*/ 224466 h 2563305"/>
                  <a:gd name="connsiteX395" fmla="*/ 739960 w 2081801"/>
                  <a:gd name="connsiteY395" fmla="*/ 319351 h 2563305"/>
                  <a:gd name="connsiteX396" fmla="*/ 493543 w 2081801"/>
                  <a:gd name="connsiteY396" fmla="*/ 265536 h 2563305"/>
                  <a:gd name="connsiteX397" fmla="*/ 561520 w 2081801"/>
                  <a:gd name="connsiteY397" fmla="*/ 214553 h 2563305"/>
                  <a:gd name="connsiteX398" fmla="*/ 642243 w 2081801"/>
                  <a:gd name="connsiteY398" fmla="*/ 224466 h 2563305"/>
                  <a:gd name="connsiteX399" fmla="*/ 1453721 w 2081801"/>
                  <a:gd name="connsiteY399" fmla="*/ 1174730 h 2563305"/>
                  <a:gd name="connsiteX400" fmla="*/ 1491958 w 2081801"/>
                  <a:gd name="connsiteY400" fmla="*/ 1132245 h 2563305"/>
                  <a:gd name="connsiteX401" fmla="*/ 1598172 w 2081801"/>
                  <a:gd name="connsiteY401" fmla="*/ 1122331 h 2563305"/>
                  <a:gd name="connsiteX402" fmla="*/ 1453721 w 2081801"/>
                  <a:gd name="connsiteY402" fmla="*/ 1174730 h 2563305"/>
                  <a:gd name="connsiteX403" fmla="*/ 1484877 w 2081801"/>
                  <a:gd name="connsiteY403" fmla="*/ 1504703 h 2563305"/>
                  <a:gd name="connsiteX404" fmla="*/ 1499039 w 2081801"/>
                  <a:gd name="connsiteY404" fmla="*/ 1491957 h 2563305"/>
                  <a:gd name="connsiteX405" fmla="*/ 1508952 w 2081801"/>
                  <a:gd name="connsiteY405" fmla="*/ 1494789 h 2563305"/>
                  <a:gd name="connsiteX406" fmla="*/ 1484877 w 2081801"/>
                  <a:gd name="connsiteY406" fmla="*/ 1504703 h 2563305"/>
                  <a:gd name="connsiteX407" fmla="*/ 1397073 w 2081801"/>
                  <a:gd name="connsiteY407" fmla="*/ 1727044 h 2563305"/>
                  <a:gd name="connsiteX408" fmla="*/ 1320599 w 2081801"/>
                  <a:gd name="connsiteY408" fmla="*/ 1848837 h 2563305"/>
                  <a:gd name="connsiteX409" fmla="*/ 1282362 w 2081801"/>
                  <a:gd name="connsiteY409" fmla="*/ 1744039 h 2563305"/>
                  <a:gd name="connsiteX410" fmla="*/ 1391408 w 2081801"/>
                  <a:gd name="connsiteY410" fmla="*/ 1729877 h 2563305"/>
                  <a:gd name="connsiteX411" fmla="*/ 1397073 w 2081801"/>
                  <a:gd name="connsiteY411" fmla="*/ 1727044 h 2563305"/>
                  <a:gd name="connsiteX412" fmla="*/ 1191725 w 2081801"/>
                  <a:gd name="connsiteY412" fmla="*/ 1921063 h 2563305"/>
                  <a:gd name="connsiteX413" fmla="*/ 1178979 w 2081801"/>
                  <a:gd name="connsiteY413" fmla="*/ 2038606 h 2563305"/>
                  <a:gd name="connsiteX414" fmla="*/ 1135078 w 2081801"/>
                  <a:gd name="connsiteY414" fmla="*/ 2010283 h 2563305"/>
                  <a:gd name="connsiteX415" fmla="*/ 1108170 w 2081801"/>
                  <a:gd name="connsiteY415" fmla="*/ 1926727 h 2563305"/>
                  <a:gd name="connsiteX416" fmla="*/ 1191725 w 2081801"/>
                  <a:gd name="connsiteY416" fmla="*/ 1921063 h 2563305"/>
                  <a:gd name="connsiteX417" fmla="*/ 1224298 w 2081801"/>
                  <a:gd name="connsiteY417" fmla="*/ 1606668 h 2563305"/>
                  <a:gd name="connsiteX418" fmla="*/ 1218633 w 2081801"/>
                  <a:gd name="connsiteY418" fmla="*/ 1661900 h 2563305"/>
                  <a:gd name="connsiteX419" fmla="*/ 1051522 w 2081801"/>
                  <a:gd name="connsiteY419" fmla="*/ 1673229 h 2563305"/>
                  <a:gd name="connsiteX420" fmla="*/ 1224298 w 2081801"/>
                  <a:gd name="connsiteY420" fmla="*/ 1606668 h 2563305"/>
                  <a:gd name="connsiteX421" fmla="*/ 1215800 w 2081801"/>
                  <a:gd name="connsiteY421" fmla="*/ 1565599 h 2563305"/>
                  <a:gd name="connsiteX422" fmla="*/ 1225714 w 2081801"/>
                  <a:gd name="connsiteY422" fmla="*/ 1593923 h 2563305"/>
                  <a:gd name="connsiteX423" fmla="*/ 1224298 w 2081801"/>
                  <a:gd name="connsiteY423" fmla="*/ 1603836 h 2563305"/>
                  <a:gd name="connsiteX424" fmla="*/ 1044441 w 2081801"/>
                  <a:gd name="connsiteY424" fmla="*/ 1671813 h 2563305"/>
                  <a:gd name="connsiteX425" fmla="*/ 999123 w 2081801"/>
                  <a:gd name="connsiteY425" fmla="*/ 1674646 h 2563305"/>
                  <a:gd name="connsiteX426" fmla="*/ 1112419 w 2081801"/>
                  <a:gd name="connsiteY426" fmla="*/ 1550021 h 2563305"/>
                  <a:gd name="connsiteX427" fmla="*/ 1215800 w 2081801"/>
                  <a:gd name="connsiteY427" fmla="*/ 1565599 h 2563305"/>
                  <a:gd name="connsiteX428" fmla="*/ 166402 w 2081801"/>
                  <a:gd name="connsiteY428" fmla="*/ 956637 h 2563305"/>
                  <a:gd name="connsiteX429" fmla="*/ 220218 w 2081801"/>
                  <a:gd name="connsiteY429" fmla="*/ 844758 h 2563305"/>
                  <a:gd name="connsiteX430" fmla="*/ 434063 w 2081801"/>
                  <a:gd name="connsiteY430" fmla="*/ 915567 h 2563305"/>
                  <a:gd name="connsiteX431" fmla="*/ 456722 w 2081801"/>
                  <a:gd name="connsiteY431" fmla="*/ 931145 h 2563305"/>
                  <a:gd name="connsiteX432" fmla="*/ 166402 w 2081801"/>
                  <a:gd name="connsiteY432" fmla="*/ 956637 h 2563305"/>
                  <a:gd name="connsiteX433" fmla="*/ 659237 w 2081801"/>
                  <a:gd name="connsiteY433" fmla="*/ 463803 h 2563305"/>
                  <a:gd name="connsiteX434" fmla="*/ 445392 w 2081801"/>
                  <a:gd name="connsiteY434" fmla="*/ 302357 h 2563305"/>
                  <a:gd name="connsiteX435" fmla="*/ 490711 w 2081801"/>
                  <a:gd name="connsiteY435" fmla="*/ 268368 h 2563305"/>
                  <a:gd name="connsiteX436" fmla="*/ 741376 w 2081801"/>
                  <a:gd name="connsiteY436" fmla="*/ 323599 h 2563305"/>
                  <a:gd name="connsiteX437" fmla="*/ 807937 w 2081801"/>
                  <a:gd name="connsiteY437" fmla="*/ 388744 h 2563305"/>
                  <a:gd name="connsiteX438" fmla="*/ 659237 w 2081801"/>
                  <a:gd name="connsiteY438" fmla="*/ 463803 h 2563305"/>
                  <a:gd name="connsiteX439" fmla="*/ 878747 w 2081801"/>
                  <a:gd name="connsiteY439" fmla="*/ 351923 h 2563305"/>
                  <a:gd name="connsiteX440" fmla="*/ 812186 w 2081801"/>
                  <a:gd name="connsiteY440" fmla="*/ 385912 h 2563305"/>
                  <a:gd name="connsiteX441" fmla="*/ 747041 w 2081801"/>
                  <a:gd name="connsiteY441" fmla="*/ 322183 h 2563305"/>
                  <a:gd name="connsiteX442" fmla="*/ 878747 w 2081801"/>
                  <a:gd name="connsiteY442" fmla="*/ 351923 h 2563305"/>
                  <a:gd name="connsiteX443" fmla="*/ 1197390 w 2081801"/>
                  <a:gd name="connsiteY443" fmla="*/ 2049936 h 2563305"/>
                  <a:gd name="connsiteX444" fmla="*/ 1282362 w 2081801"/>
                  <a:gd name="connsiteY444" fmla="*/ 1913982 h 2563305"/>
                  <a:gd name="connsiteX445" fmla="*/ 1480628 w 2081801"/>
                  <a:gd name="connsiteY445" fmla="*/ 1899820 h 2563305"/>
                  <a:gd name="connsiteX446" fmla="*/ 1254038 w 2081801"/>
                  <a:gd name="connsiteY446" fmla="*/ 2086757 h 2563305"/>
                  <a:gd name="connsiteX447" fmla="*/ 1197390 w 2081801"/>
                  <a:gd name="connsiteY447" fmla="*/ 2049936 h 2563305"/>
                  <a:gd name="connsiteX448" fmla="*/ 1183228 w 2081801"/>
                  <a:gd name="connsiteY448" fmla="*/ 2156151 h 2563305"/>
                  <a:gd name="connsiteX449" fmla="*/ 1180396 w 2081801"/>
                  <a:gd name="connsiteY449" fmla="*/ 2149070 h 2563305"/>
                  <a:gd name="connsiteX450" fmla="*/ 1254038 w 2081801"/>
                  <a:gd name="connsiteY450" fmla="*/ 2088173 h 2563305"/>
                  <a:gd name="connsiteX451" fmla="*/ 1317766 w 2081801"/>
                  <a:gd name="connsiteY451" fmla="*/ 2129243 h 2563305"/>
                  <a:gd name="connsiteX452" fmla="*/ 1183228 w 2081801"/>
                  <a:gd name="connsiteY452" fmla="*/ 2156151 h 2563305"/>
                  <a:gd name="connsiteX453" fmla="*/ 1178979 w 2081801"/>
                  <a:gd name="connsiteY453" fmla="*/ 2149070 h 2563305"/>
                  <a:gd name="connsiteX454" fmla="*/ 1170483 w 2081801"/>
                  <a:gd name="connsiteY454" fmla="*/ 2156151 h 2563305"/>
                  <a:gd name="connsiteX455" fmla="*/ 1173315 w 2081801"/>
                  <a:gd name="connsiteY455" fmla="*/ 2130659 h 2563305"/>
                  <a:gd name="connsiteX456" fmla="*/ 1178979 w 2081801"/>
                  <a:gd name="connsiteY456" fmla="*/ 2149070 h 2563305"/>
                  <a:gd name="connsiteX457" fmla="*/ 1194558 w 2081801"/>
                  <a:gd name="connsiteY457" fmla="*/ 1918230 h 2563305"/>
                  <a:gd name="connsiteX458" fmla="*/ 1211552 w 2081801"/>
                  <a:gd name="connsiteY458" fmla="*/ 1751120 h 2563305"/>
                  <a:gd name="connsiteX459" fmla="*/ 1279529 w 2081801"/>
                  <a:gd name="connsiteY459" fmla="*/ 1742623 h 2563305"/>
                  <a:gd name="connsiteX460" fmla="*/ 1317766 w 2081801"/>
                  <a:gd name="connsiteY460" fmla="*/ 1848837 h 2563305"/>
                  <a:gd name="connsiteX461" fmla="*/ 1279529 w 2081801"/>
                  <a:gd name="connsiteY461" fmla="*/ 1911149 h 2563305"/>
                  <a:gd name="connsiteX462" fmla="*/ 1194558 w 2081801"/>
                  <a:gd name="connsiteY462" fmla="*/ 1918230 h 2563305"/>
                  <a:gd name="connsiteX463" fmla="*/ 1252622 w 2081801"/>
                  <a:gd name="connsiteY463" fmla="*/ 2088173 h 2563305"/>
                  <a:gd name="connsiteX464" fmla="*/ 1180396 w 2081801"/>
                  <a:gd name="connsiteY464" fmla="*/ 2147653 h 2563305"/>
                  <a:gd name="connsiteX465" fmla="*/ 1173315 w 2081801"/>
                  <a:gd name="connsiteY465" fmla="*/ 2124994 h 2563305"/>
                  <a:gd name="connsiteX466" fmla="*/ 1177564 w 2081801"/>
                  <a:gd name="connsiteY466" fmla="*/ 2081092 h 2563305"/>
                  <a:gd name="connsiteX467" fmla="*/ 1195974 w 2081801"/>
                  <a:gd name="connsiteY467" fmla="*/ 2052768 h 2563305"/>
                  <a:gd name="connsiteX468" fmla="*/ 1252622 w 2081801"/>
                  <a:gd name="connsiteY468" fmla="*/ 2088173 h 2563305"/>
                  <a:gd name="connsiteX469" fmla="*/ 1279529 w 2081801"/>
                  <a:gd name="connsiteY469" fmla="*/ 1915398 h 2563305"/>
                  <a:gd name="connsiteX470" fmla="*/ 1195974 w 2081801"/>
                  <a:gd name="connsiteY470" fmla="*/ 2049936 h 2563305"/>
                  <a:gd name="connsiteX471" fmla="*/ 1183228 w 2081801"/>
                  <a:gd name="connsiteY471" fmla="*/ 2041439 h 2563305"/>
                  <a:gd name="connsiteX472" fmla="*/ 1195974 w 2081801"/>
                  <a:gd name="connsiteY472" fmla="*/ 1922479 h 2563305"/>
                  <a:gd name="connsiteX473" fmla="*/ 1279529 w 2081801"/>
                  <a:gd name="connsiteY473" fmla="*/ 1915398 h 2563305"/>
                  <a:gd name="connsiteX474" fmla="*/ 1194558 w 2081801"/>
                  <a:gd name="connsiteY474" fmla="*/ 2049936 h 2563305"/>
                  <a:gd name="connsiteX475" fmla="*/ 1178979 w 2081801"/>
                  <a:gd name="connsiteY475" fmla="*/ 2075428 h 2563305"/>
                  <a:gd name="connsiteX476" fmla="*/ 1181812 w 2081801"/>
                  <a:gd name="connsiteY476" fmla="*/ 2042855 h 2563305"/>
                  <a:gd name="connsiteX477" fmla="*/ 1194558 w 2081801"/>
                  <a:gd name="connsiteY477" fmla="*/ 2049936 h 2563305"/>
                  <a:gd name="connsiteX478" fmla="*/ 1174731 w 2081801"/>
                  <a:gd name="connsiteY478" fmla="*/ 2083925 h 2563305"/>
                  <a:gd name="connsiteX479" fmla="*/ 1170483 w 2081801"/>
                  <a:gd name="connsiteY479" fmla="*/ 2119330 h 2563305"/>
                  <a:gd name="connsiteX480" fmla="*/ 1163402 w 2081801"/>
                  <a:gd name="connsiteY480" fmla="*/ 2099503 h 2563305"/>
                  <a:gd name="connsiteX481" fmla="*/ 1174731 w 2081801"/>
                  <a:gd name="connsiteY481" fmla="*/ 2083925 h 2563305"/>
                  <a:gd name="connsiteX482" fmla="*/ 1229962 w 2081801"/>
                  <a:gd name="connsiteY482" fmla="*/ 1603836 h 2563305"/>
                  <a:gd name="connsiteX483" fmla="*/ 1249789 w 2081801"/>
                  <a:gd name="connsiteY483" fmla="*/ 1659068 h 2563305"/>
                  <a:gd name="connsiteX484" fmla="*/ 1221465 w 2081801"/>
                  <a:gd name="connsiteY484" fmla="*/ 1660484 h 2563305"/>
                  <a:gd name="connsiteX485" fmla="*/ 1227130 w 2081801"/>
                  <a:gd name="connsiteY485" fmla="*/ 1605252 h 2563305"/>
                  <a:gd name="connsiteX486" fmla="*/ 1229962 w 2081801"/>
                  <a:gd name="connsiteY486" fmla="*/ 1603836 h 2563305"/>
                  <a:gd name="connsiteX487" fmla="*/ 945308 w 2081801"/>
                  <a:gd name="connsiteY487" fmla="*/ 888660 h 2563305"/>
                  <a:gd name="connsiteX488" fmla="*/ 945308 w 2081801"/>
                  <a:gd name="connsiteY488" fmla="*/ 925481 h 2563305"/>
                  <a:gd name="connsiteX489" fmla="*/ 789527 w 2081801"/>
                  <a:gd name="connsiteY489" fmla="*/ 902822 h 2563305"/>
                  <a:gd name="connsiteX490" fmla="*/ 945308 w 2081801"/>
                  <a:gd name="connsiteY490" fmla="*/ 888660 h 2563305"/>
                  <a:gd name="connsiteX491" fmla="*/ 633746 w 2081801"/>
                  <a:gd name="connsiteY491" fmla="*/ 936810 h 2563305"/>
                  <a:gd name="connsiteX492" fmla="*/ 704555 w 2081801"/>
                  <a:gd name="connsiteY492" fmla="*/ 1092591 h 2563305"/>
                  <a:gd name="connsiteX493" fmla="*/ 690393 w 2081801"/>
                  <a:gd name="connsiteY493" fmla="*/ 1091175 h 2563305"/>
                  <a:gd name="connsiteX494" fmla="*/ 460971 w 2081801"/>
                  <a:gd name="connsiteY494" fmla="*/ 931145 h 2563305"/>
                  <a:gd name="connsiteX495" fmla="*/ 479381 w 2081801"/>
                  <a:gd name="connsiteY495" fmla="*/ 929729 h 2563305"/>
                  <a:gd name="connsiteX496" fmla="*/ 528948 w 2081801"/>
                  <a:gd name="connsiteY496" fmla="*/ 946723 h 2563305"/>
                  <a:gd name="connsiteX497" fmla="*/ 528948 w 2081801"/>
                  <a:gd name="connsiteY497" fmla="*/ 946723 h 2563305"/>
                  <a:gd name="connsiteX498" fmla="*/ 633746 w 2081801"/>
                  <a:gd name="connsiteY498" fmla="*/ 936810 h 2563305"/>
                  <a:gd name="connsiteX499" fmla="*/ 633746 w 2081801"/>
                  <a:gd name="connsiteY499" fmla="*/ 856087 h 2563305"/>
                  <a:gd name="connsiteX500" fmla="*/ 602590 w 2081801"/>
                  <a:gd name="connsiteY500" fmla="*/ 861752 h 2563305"/>
                  <a:gd name="connsiteX501" fmla="*/ 547358 w 2081801"/>
                  <a:gd name="connsiteY501" fmla="*/ 739960 h 2563305"/>
                  <a:gd name="connsiteX502" fmla="*/ 633746 w 2081801"/>
                  <a:gd name="connsiteY502" fmla="*/ 856087 h 2563305"/>
                  <a:gd name="connsiteX503" fmla="*/ 637995 w 2081801"/>
                  <a:gd name="connsiteY503" fmla="*/ 622416 h 2563305"/>
                  <a:gd name="connsiteX504" fmla="*/ 656405 w 2081801"/>
                  <a:gd name="connsiteY504" fmla="*/ 728630 h 2563305"/>
                  <a:gd name="connsiteX505" fmla="*/ 527531 w 2081801"/>
                  <a:gd name="connsiteY505" fmla="*/ 698890 h 2563305"/>
                  <a:gd name="connsiteX506" fmla="*/ 509121 w 2081801"/>
                  <a:gd name="connsiteY506" fmla="*/ 659237 h 2563305"/>
                  <a:gd name="connsiteX507" fmla="*/ 637995 w 2081801"/>
                  <a:gd name="connsiteY507" fmla="*/ 622416 h 2563305"/>
                  <a:gd name="connsiteX508" fmla="*/ 1173315 w 2081801"/>
                  <a:gd name="connsiteY508" fmla="*/ 591260 h 2563305"/>
                  <a:gd name="connsiteX509" fmla="*/ 1204471 w 2081801"/>
                  <a:gd name="connsiteY509" fmla="*/ 577098 h 2563305"/>
                  <a:gd name="connsiteX510" fmla="*/ 1224298 w 2081801"/>
                  <a:gd name="connsiteY510" fmla="*/ 594092 h 2563305"/>
                  <a:gd name="connsiteX511" fmla="*/ 1173315 w 2081801"/>
                  <a:gd name="connsiteY511" fmla="*/ 591260 h 2563305"/>
                  <a:gd name="connsiteX512" fmla="*/ 1227130 w 2081801"/>
                  <a:gd name="connsiteY512" fmla="*/ 594092 h 2563305"/>
                  <a:gd name="connsiteX513" fmla="*/ 1205887 w 2081801"/>
                  <a:gd name="connsiteY513" fmla="*/ 575682 h 2563305"/>
                  <a:gd name="connsiteX514" fmla="*/ 1300772 w 2081801"/>
                  <a:gd name="connsiteY514" fmla="*/ 533196 h 2563305"/>
                  <a:gd name="connsiteX515" fmla="*/ 1299356 w 2081801"/>
                  <a:gd name="connsiteY515" fmla="*/ 598341 h 2563305"/>
                  <a:gd name="connsiteX516" fmla="*/ 1227130 w 2081801"/>
                  <a:gd name="connsiteY516" fmla="*/ 594092 h 2563305"/>
                  <a:gd name="connsiteX517" fmla="*/ 1229962 w 2081801"/>
                  <a:gd name="connsiteY517" fmla="*/ 596924 h 2563305"/>
                  <a:gd name="connsiteX518" fmla="*/ 1299356 w 2081801"/>
                  <a:gd name="connsiteY518" fmla="*/ 601173 h 2563305"/>
                  <a:gd name="connsiteX519" fmla="*/ 1297940 w 2081801"/>
                  <a:gd name="connsiteY519" fmla="*/ 653572 h 2563305"/>
                  <a:gd name="connsiteX520" fmla="*/ 1229962 w 2081801"/>
                  <a:gd name="connsiteY520" fmla="*/ 596924 h 2563305"/>
                  <a:gd name="connsiteX521" fmla="*/ 1299356 w 2081801"/>
                  <a:gd name="connsiteY521" fmla="*/ 680480 h 2563305"/>
                  <a:gd name="connsiteX522" fmla="*/ 1299356 w 2081801"/>
                  <a:gd name="connsiteY522" fmla="*/ 657821 h 2563305"/>
                  <a:gd name="connsiteX523" fmla="*/ 1323431 w 2081801"/>
                  <a:gd name="connsiteY523" fmla="*/ 677647 h 2563305"/>
                  <a:gd name="connsiteX524" fmla="*/ 1299356 w 2081801"/>
                  <a:gd name="connsiteY524" fmla="*/ 680480 h 2563305"/>
                  <a:gd name="connsiteX525" fmla="*/ 1350339 w 2081801"/>
                  <a:gd name="connsiteY525" fmla="*/ 748457 h 2563305"/>
                  <a:gd name="connsiteX526" fmla="*/ 1348922 w 2081801"/>
                  <a:gd name="connsiteY526" fmla="*/ 749873 h 2563305"/>
                  <a:gd name="connsiteX527" fmla="*/ 1350339 w 2081801"/>
                  <a:gd name="connsiteY527" fmla="*/ 748457 h 2563305"/>
                  <a:gd name="connsiteX528" fmla="*/ 1350339 w 2081801"/>
                  <a:gd name="connsiteY528" fmla="*/ 748457 h 2563305"/>
                  <a:gd name="connsiteX529" fmla="*/ 1350339 w 2081801"/>
                  <a:gd name="connsiteY529" fmla="*/ 745624 h 2563305"/>
                  <a:gd name="connsiteX530" fmla="*/ 1357420 w 2081801"/>
                  <a:gd name="connsiteY530" fmla="*/ 703139 h 2563305"/>
                  <a:gd name="connsiteX531" fmla="*/ 1357420 w 2081801"/>
                  <a:gd name="connsiteY531" fmla="*/ 703139 h 2563305"/>
                  <a:gd name="connsiteX532" fmla="*/ 1327679 w 2081801"/>
                  <a:gd name="connsiteY532" fmla="*/ 679063 h 2563305"/>
                  <a:gd name="connsiteX533" fmla="*/ 1401322 w 2081801"/>
                  <a:gd name="connsiteY533" fmla="*/ 670566 h 2563305"/>
                  <a:gd name="connsiteX534" fmla="*/ 1350339 w 2081801"/>
                  <a:gd name="connsiteY534" fmla="*/ 745624 h 2563305"/>
                  <a:gd name="connsiteX535" fmla="*/ 1350339 w 2081801"/>
                  <a:gd name="connsiteY535" fmla="*/ 745624 h 2563305"/>
                  <a:gd name="connsiteX536" fmla="*/ 1561351 w 2081801"/>
                  <a:gd name="connsiteY536" fmla="*/ 837677 h 2563305"/>
                  <a:gd name="connsiteX537" fmla="*/ 1496207 w 2081801"/>
                  <a:gd name="connsiteY537" fmla="*/ 905654 h 2563305"/>
                  <a:gd name="connsiteX538" fmla="*/ 1339009 w 2081801"/>
                  <a:gd name="connsiteY538" fmla="*/ 941059 h 2563305"/>
                  <a:gd name="connsiteX539" fmla="*/ 1319183 w 2081801"/>
                  <a:gd name="connsiteY539" fmla="*/ 931145 h 2563305"/>
                  <a:gd name="connsiteX540" fmla="*/ 1350339 w 2081801"/>
                  <a:gd name="connsiteY540" fmla="*/ 752705 h 2563305"/>
                  <a:gd name="connsiteX541" fmla="*/ 1354587 w 2081801"/>
                  <a:gd name="connsiteY541" fmla="*/ 747041 h 2563305"/>
                  <a:gd name="connsiteX542" fmla="*/ 1578346 w 2081801"/>
                  <a:gd name="connsiteY542" fmla="*/ 721549 h 2563305"/>
                  <a:gd name="connsiteX543" fmla="*/ 1541524 w 2081801"/>
                  <a:gd name="connsiteY543" fmla="*/ 762619 h 2563305"/>
                  <a:gd name="connsiteX544" fmla="*/ 1541524 w 2081801"/>
                  <a:gd name="connsiteY544" fmla="*/ 762619 h 2563305"/>
                  <a:gd name="connsiteX545" fmla="*/ 1561351 w 2081801"/>
                  <a:gd name="connsiteY545" fmla="*/ 837677 h 2563305"/>
                  <a:gd name="connsiteX546" fmla="*/ 1392824 w 2081801"/>
                  <a:gd name="connsiteY546" fmla="*/ 1306436 h 2563305"/>
                  <a:gd name="connsiteX547" fmla="*/ 1421148 w 2081801"/>
                  <a:gd name="connsiteY547" fmla="*/ 1341841 h 2563305"/>
                  <a:gd name="connsiteX548" fmla="*/ 1322015 w 2081801"/>
                  <a:gd name="connsiteY548" fmla="*/ 1423980 h 2563305"/>
                  <a:gd name="connsiteX549" fmla="*/ 1367333 w 2081801"/>
                  <a:gd name="connsiteY549" fmla="*/ 1293690 h 2563305"/>
                  <a:gd name="connsiteX550" fmla="*/ 1392824 w 2081801"/>
                  <a:gd name="connsiteY550" fmla="*/ 1306436 h 2563305"/>
                  <a:gd name="connsiteX551" fmla="*/ 1378662 w 2081801"/>
                  <a:gd name="connsiteY551" fmla="*/ 1256869 h 2563305"/>
                  <a:gd name="connsiteX552" fmla="*/ 1367333 w 2081801"/>
                  <a:gd name="connsiteY552" fmla="*/ 1290858 h 2563305"/>
                  <a:gd name="connsiteX553" fmla="*/ 1354587 w 2081801"/>
                  <a:gd name="connsiteY553" fmla="*/ 1283777 h 2563305"/>
                  <a:gd name="connsiteX554" fmla="*/ 1378662 w 2081801"/>
                  <a:gd name="connsiteY554" fmla="*/ 1256869 h 2563305"/>
                  <a:gd name="connsiteX555" fmla="*/ 1391408 w 2081801"/>
                  <a:gd name="connsiteY555" fmla="*/ 1541524 h 2563305"/>
                  <a:gd name="connsiteX556" fmla="*/ 1450888 w 2081801"/>
                  <a:gd name="connsiteY556" fmla="*/ 1479211 h 2563305"/>
                  <a:gd name="connsiteX557" fmla="*/ 1497622 w 2081801"/>
                  <a:gd name="connsiteY557" fmla="*/ 1493373 h 2563305"/>
                  <a:gd name="connsiteX558" fmla="*/ 1479212 w 2081801"/>
                  <a:gd name="connsiteY558" fmla="*/ 1508951 h 2563305"/>
                  <a:gd name="connsiteX559" fmla="*/ 1391408 w 2081801"/>
                  <a:gd name="connsiteY559" fmla="*/ 1541524 h 2563305"/>
                  <a:gd name="connsiteX560" fmla="*/ 1382911 w 2081801"/>
                  <a:gd name="connsiteY560" fmla="*/ 1545772 h 2563305"/>
                  <a:gd name="connsiteX561" fmla="*/ 1348922 w 2081801"/>
                  <a:gd name="connsiteY561" fmla="*/ 1581177 h 2563305"/>
                  <a:gd name="connsiteX562" fmla="*/ 1306437 w 2081801"/>
                  <a:gd name="connsiteY562" fmla="*/ 1575512 h 2563305"/>
                  <a:gd name="connsiteX563" fmla="*/ 1382911 w 2081801"/>
                  <a:gd name="connsiteY563" fmla="*/ 1545772 h 2563305"/>
                  <a:gd name="connsiteX564" fmla="*/ 1224298 w 2081801"/>
                  <a:gd name="connsiteY564" fmla="*/ 1423980 h 2563305"/>
                  <a:gd name="connsiteX565" fmla="*/ 1183228 w 2081801"/>
                  <a:gd name="connsiteY565" fmla="*/ 1469298 h 2563305"/>
                  <a:gd name="connsiteX566" fmla="*/ 1163402 w 2081801"/>
                  <a:gd name="connsiteY566" fmla="*/ 1416899 h 2563305"/>
                  <a:gd name="connsiteX567" fmla="*/ 1224298 w 2081801"/>
                  <a:gd name="connsiteY567" fmla="*/ 1423980 h 2563305"/>
                  <a:gd name="connsiteX568" fmla="*/ 1237043 w 2081801"/>
                  <a:gd name="connsiteY568" fmla="*/ 1414067 h 2563305"/>
                  <a:gd name="connsiteX569" fmla="*/ 1246957 w 2081801"/>
                  <a:gd name="connsiteY569" fmla="*/ 1404153 h 2563305"/>
                  <a:gd name="connsiteX570" fmla="*/ 1245541 w 2081801"/>
                  <a:gd name="connsiteY570" fmla="*/ 1416899 h 2563305"/>
                  <a:gd name="connsiteX571" fmla="*/ 1237043 w 2081801"/>
                  <a:gd name="connsiteY571" fmla="*/ 1414067 h 2563305"/>
                  <a:gd name="connsiteX572" fmla="*/ 1245541 w 2081801"/>
                  <a:gd name="connsiteY572" fmla="*/ 1425396 h 2563305"/>
                  <a:gd name="connsiteX573" fmla="*/ 1245541 w 2081801"/>
                  <a:gd name="connsiteY573" fmla="*/ 1419731 h 2563305"/>
                  <a:gd name="connsiteX574" fmla="*/ 1285194 w 2081801"/>
                  <a:gd name="connsiteY574" fmla="*/ 1431061 h 2563305"/>
                  <a:gd name="connsiteX575" fmla="*/ 1245541 w 2081801"/>
                  <a:gd name="connsiteY575" fmla="*/ 1425396 h 2563305"/>
                  <a:gd name="connsiteX576" fmla="*/ 1347507 w 2081801"/>
                  <a:gd name="connsiteY576" fmla="*/ 1582593 h 2563305"/>
                  <a:gd name="connsiteX577" fmla="*/ 1275281 w 2081801"/>
                  <a:gd name="connsiteY577" fmla="*/ 1657651 h 2563305"/>
                  <a:gd name="connsiteX578" fmla="*/ 1251205 w 2081801"/>
                  <a:gd name="connsiteY578" fmla="*/ 1659068 h 2563305"/>
                  <a:gd name="connsiteX579" fmla="*/ 1231379 w 2081801"/>
                  <a:gd name="connsiteY579" fmla="*/ 1603836 h 2563305"/>
                  <a:gd name="connsiteX580" fmla="*/ 1302188 w 2081801"/>
                  <a:gd name="connsiteY580" fmla="*/ 1576929 h 2563305"/>
                  <a:gd name="connsiteX581" fmla="*/ 1347507 w 2081801"/>
                  <a:gd name="connsiteY581" fmla="*/ 1582593 h 2563305"/>
                  <a:gd name="connsiteX582" fmla="*/ 1231379 w 2081801"/>
                  <a:gd name="connsiteY582" fmla="*/ 1567015 h 2563305"/>
                  <a:gd name="connsiteX583" fmla="*/ 1299356 w 2081801"/>
                  <a:gd name="connsiteY583" fmla="*/ 1575512 h 2563305"/>
                  <a:gd name="connsiteX584" fmla="*/ 1232795 w 2081801"/>
                  <a:gd name="connsiteY584" fmla="*/ 1601004 h 2563305"/>
                  <a:gd name="connsiteX585" fmla="*/ 1229962 w 2081801"/>
                  <a:gd name="connsiteY585" fmla="*/ 1592506 h 2563305"/>
                  <a:gd name="connsiteX586" fmla="*/ 1231379 w 2081801"/>
                  <a:gd name="connsiteY586" fmla="*/ 1567015 h 2563305"/>
                  <a:gd name="connsiteX587" fmla="*/ 1231379 w 2081801"/>
                  <a:gd name="connsiteY587" fmla="*/ 1565599 h 2563305"/>
                  <a:gd name="connsiteX588" fmla="*/ 1245541 w 2081801"/>
                  <a:gd name="connsiteY588" fmla="*/ 1428229 h 2563305"/>
                  <a:gd name="connsiteX589" fmla="*/ 1299356 w 2081801"/>
                  <a:gd name="connsiteY589" fmla="*/ 1435310 h 2563305"/>
                  <a:gd name="connsiteX590" fmla="*/ 1449472 w 2081801"/>
                  <a:gd name="connsiteY590" fmla="*/ 1479211 h 2563305"/>
                  <a:gd name="connsiteX591" fmla="*/ 1387160 w 2081801"/>
                  <a:gd name="connsiteY591" fmla="*/ 1544356 h 2563305"/>
                  <a:gd name="connsiteX592" fmla="*/ 1303604 w 2081801"/>
                  <a:gd name="connsiteY592" fmla="*/ 1576929 h 2563305"/>
                  <a:gd name="connsiteX593" fmla="*/ 1231379 w 2081801"/>
                  <a:gd name="connsiteY593" fmla="*/ 1565599 h 2563305"/>
                  <a:gd name="connsiteX594" fmla="*/ 1228546 w 2081801"/>
                  <a:gd name="connsiteY594" fmla="*/ 1422563 h 2563305"/>
                  <a:gd name="connsiteX595" fmla="*/ 1235627 w 2081801"/>
                  <a:gd name="connsiteY595" fmla="*/ 1415483 h 2563305"/>
                  <a:gd name="connsiteX596" fmla="*/ 1245541 w 2081801"/>
                  <a:gd name="connsiteY596" fmla="*/ 1418315 h 2563305"/>
                  <a:gd name="connsiteX597" fmla="*/ 1245541 w 2081801"/>
                  <a:gd name="connsiteY597" fmla="*/ 1425396 h 2563305"/>
                  <a:gd name="connsiteX598" fmla="*/ 1228546 w 2081801"/>
                  <a:gd name="connsiteY598" fmla="*/ 1422563 h 2563305"/>
                  <a:gd name="connsiteX599" fmla="*/ 1227130 w 2081801"/>
                  <a:gd name="connsiteY599" fmla="*/ 1425396 h 2563305"/>
                  <a:gd name="connsiteX600" fmla="*/ 1244124 w 2081801"/>
                  <a:gd name="connsiteY600" fmla="*/ 1428229 h 2563305"/>
                  <a:gd name="connsiteX601" fmla="*/ 1229962 w 2081801"/>
                  <a:gd name="connsiteY601" fmla="*/ 1565599 h 2563305"/>
                  <a:gd name="connsiteX602" fmla="*/ 1218633 w 2081801"/>
                  <a:gd name="connsiteY602" fmla="*/ 1564183 h 2563305"/>
                  <a:gd name="connsiteX603" fmla="*/ 1186060 w 2081801"/>
                  <a:gd name="connsiteY603" fmla="*/ 1473546 h 2563305"/>
                  <a:gd name="connsiteX604" fmla="*/ 1227130 w 2081801"/>
                  <a:gd name="connsiteY604" fmla="*/ 1425396 h 2563305"/>
                  <a:gd name="connsiteX605" fmla="*/ 1232795 w 2081801"/>
                  <a:gd name="connsiteY605" fmla="*/ 1415483 h 2563305"/>
                  <a:gd name="connsiteX606" fmla="*/ 1225714 w 2081801"/>
                  <a:gd name="connsiteY606" fmla="*/ 1422563 h 2563305"/>
                  <a:gd name="connsiteX607" fmla="*/ 1163402 w 2081801"/>
                  <a:gd name="connsiteY607" fmla="*/ 1414067 h 2563305"/>
                  <a:gd name="connsiteX608" fmla="*/ 1154904 w 2081801"/>
                  <a:gd name="connsiteY608" fmla="*/ 1392824 h 2563305"/>
                  <a:gd name="connsiteX609" fmla="*/ 1232795 w 2081801"/>
                  <a:gd name="connsiteY609" fmla="*/ 1415483 h 2563305"/>
                  <a:gd name="connsiteX610" fmla="*/ 1474964 w 2081801"/>
                  <a:gd name="connsiteY610" fmla="*/ 1511784 h 2563305"/>
                  <a:gd name="connsiteX611" fmla="*/ 1385743 w 2081801"/>
                  <a:gd name="connsiteY611" fmla="*/ 1586842 h 2563305"/>
                  <a:gd name="connsiteX612" fmla="*/ 1353171 w 2081801"/>
                  <a:gd name="connsiteY612" fmla="*/ 1582593 h 2563305"/>
                  <a:gd name="connsiteX613" fmla="*/ 1388576 w 2081801"/>
                  <a:gd name="connsiteY613" fmla="*/ 1545772 h 2563305"/>
                  <a:gd name="connsiteX614" fmla="*/ 1474964 w 2081801"/>
                  <a:gd name="connsiteY614" fmla="*/ 1511784 h 2563305"/>
                  <a:gd name="connsiteX615" fmla="*/ 1312102 w 2081801"/>
                  <a:gd name="connsiteY615" fmla="*/ 1436725 h 2563305"/>
                  <a:gd name="connsiteX616" fmla="*/ 1469299 w 2081801"/>
                  <a:gd name="connsiteY616" fmla="*/ 1457968 h 2563305"/>
                  <a:gd name="connsiteX617" fmla="*/ 1450888 w 2081801"/>
                  <a:gd name="connsiteY617" fmla="*/ 1477795 h 2563305"/>
                  <a:gd name="connsiteX618" fmla="*/ 1312102 w 2081801"/>
                  <a:gd name="connsiteY618" fmla="*/ 1436725 h 2563305"/>
                  <a:gd name="connsiteX619" fmla="*/ 676231 w 2081801"/>
                  <a:gd name="connsiteY619" fmla="*/ 912735 h 2563305"/>
                  <a:gd name="connsiteX620" fmla="*/ 688977 w 2081801"/>
                  <a:gd name="connsiteY620" fmla="*/ 929729 h 2563305"/>
                  <a:gd name="connsiteX621" fmla="*/ 636578 w 2081801"/>
                  <a:gd name="connsiteY621" fmla="*/ 935394 h 2563305"/>
                  <a:gd name="connsiteX622" fmla="*/ 628081 w 2081801"/>
                  <a:gd name="connsiteY622" fmla="*/ 918400 h 2563305"/>
                  <a:gd name="connsiteX623" fmla="*/ 676231 w 2081801"/>
                  <a:gd name="connsiteY623" fmla="*/ 912735 h 2563305"/>
                  <a:gd name="connsiteX624" fmla="*/ 531780 w 2081801"/>
                  <a:gd name="connsiteY624" fmla="*/ 945307 h 2563305"/>
                  <a:gd name="connsiteX625" fmla="*/ 486462 w 2081801"/>
                  <a:gd name="connsiteY625" fmla="*/ 929729 h 2563305"/>
                  <a:gd name="connsiteX626" fmla="*/ 625249 w 2081801"/>
                  <a:gd name="connsiteY626" fmla="*/ 916984 h 2563305"/>
                  <a:gd name="connsiteX627" fmla="*/ 633746 w 2081801"/>
                  <a:gd name="connsiteY627" fmla="*/ 933978 h 2563305"/>
                  <a:gd name="connsiteX628" fmla="*/ 531780 w 2081801"/>
                  <a:gd name="connsiteY628" fmla="*/ 945307 h 2563305"/>
                  <a:gd name="connsiteX629" fmla="*/ 626665 w 2081801"/>
                  <a:gd name="connsiteY629" fmla="*/ 915567 h 2563305"/>
                  <a:gd name="connsiteX630" fmla="*/ 602590 w 2081801"/>
                  <a:gd name="connsiteY630" fmla="*/ 863168 h 2563305"/>
                  <a:gd name="connsiteX631" fmla="*/ 633746 w 2081801"/>
                  <a:gd name="connsiteY631" fmla="*/ 857503 h 2563305"/>
                  <a:gd name="connsiteX632" fmla="*/ 673399 w 2081801"/>
                  <a:gd name="connsiteY632" fmla="*/ 911319 h 2563305"/>
                  <a:gd name="connsiteX633" fmla="*/ 626665 w 2081801"/>
                  <a:gd name="connsiteY633" fmla="*/ 915567 h 2563305"/>
                  <a:gd name="connsiteX634" fmla="*/ 504873 w 2081801"/>
                  <a:gd name="connsiteY634" fmla="*/ 553022 h 2563305"/>
                  <a:gd name="connsiteX635" fmla="*/ 496375 w 2081801"/>
                  <a:gd name="connsiteY635" fmla="*/ 550190 h 2563305"/>
                  <a:gd name="connsiteX636" fmla="*/ 659237 w 2081801"/>
                  <a:gd name="connsiteY636" fmla="*/ 466635 h 2563305"/>
                  <a:gd name="connsiteX637" fmla="*/ 795192 w 2081801"/>
                  <a:gd name="connsiteY637" fmla="*/ 570017 h 2563305"/>
                  <a:gd name="connsiteX638" fmla="*/ 504873 w 2081801"/>
                  <a:gd name="connsiteY638" fmla="*/ 553022 h 2563305"/>
                  <a:gd name="connsiteX639" fmla="*/ 1094008 w 2081801"/>
                  <a:gd name="connsiteY639" fmla="*/ 485045 h 2563305"/>
                  <a:gd name="connsiteX640" fmla="*/ 1157737 w 2081801"/>
                  <a:gd name="connsiteY640" fmla="*/ 538860 h 2563305"/>
                  <a:gd name="connsiteX641" fmla="*/ 1146407 w 2081801"/>
                  <a:gd name="connsiteY641" fmla="*/ 591260 h 2563305"/>
                  <a:gd name="connsiteX642" fmla="*/ 1035944 w 2081801"/>
                  <a:gd name="connsiteY642" fmla="*/ 585595 h 2563305"/>
                  <a:gd name="connsiteX643" fmla="*/ 996291 w 2081801"/>
                  <a:gd name="connsiteY643" fmla="*/ 414236 h 2563305"/>
                  <a:gd name="connsiteX644" fmla="*/ 1094008 w 2081801"/>
                  <a:gd name="connsiteY644" fmla="*/ 485045 h 2563305"/>
                  <a:gd name="connsiteX645" fmla="*/ 1033112 w 2081801"/>
                  <a:gd name="connsiteY645" fmla="*/ 585595 h 2563305"/>
                  <a:gd name="connsiteX646" fmla="*/ 1037360 w 2081801"/>
                  <a:gd name="connsiteY646" fmla="*/ 605422 h 2563305"/>
                  <a:gd name="connsiteX647" fmla="*/ 1016117 w 2081801"/>
                  <a:gd name="connsiteY647" fmla="*/ 584179 h 2563305"/>
                  <a:gd name="connsiteX648" fmla="*/ 1033112 w 2081801"/>
                  <a:gd name="connsiteY648" fmla="*/ 585595 h 2563305"/>
                  <a:gd name="connsiteX649" fmla="*/ 1297940 w 2081801"/>
                  <a:gd name="connsiteY649" fmla="*/ 752705 h 2563305"/>
                  <a:gd name="connsiteX650" fmla="*/ 1299356 w 2081801"/>
                  <a:gd name="connsiteY650" fmla="*/ 681896 h 2563305"/>
                  <a:gd name="connsiteX651" fmla="*/ 1326264 w 2081801"/>
                  <a:gd name="connsiteY651" fmla="*/ 679063 h 2563305"/>
                  <a:gd name="connsiteX652" fmla="*/ 1356003 w 2081801"/>
                  <a:gd name="connsiteY652" fmla="*/ 704555 h 2563305"/>
                  <a:gd name="connsiteX653" fmla="*/ 1348922 w 2081801"/>
                  <a:gd name="connsiteY653" fmla="*/ 747041 h 2563305"/>
                  <a:gd name="connsiteX654" fmla="*/ 1297940 w 2081801"/>
                  <a:gd name="connsiteY654" fmla="*/ 752705 h 2563305"/>
                  <a:gd name="connsiteX655" fmla="*/ 1314934 w 2081801"/>
                  <a:gd name="connsiteY655" fmla="*/ 946723 h 2563305"/>
                  <a:gd name="connsiteX656" fmla="*/ 1317766 w 2081801"/>
                  <a:gd name="connsiteY656" fmla="*/ 933978 h 2563305"/>
                  <a:gd name="connsiteX657" fmla="*/ 1334760 w 2081801"/>
                  <a:gd name="connsiteY657" fmla="*/ 942475 h 2563305"/>
                  <a:gd name="connsiteX658" fmla="*/ 1314934 w 2081801"/>
                  <a:gd name="connsiteY658" fmla="*/ 946723 h 2563305"/>
                  <a:gd name="connsiteX659" fmla="*/ 1327679 w 2081801"/>
                  <a:gd name="connsiteY659" fmla="*/ 1146406 h 2563305"/>
                  <a:gd name="connsiteX660" fmla="*/ 1450888 w 2081801"/>
                  <a:gd name="connsiteY660" fmla="*/ 1048689 h 2563305"/>
                  <a:gd name="connsiteX661" fmla="*/ 1419732 w 2081801"/>
                  <a:gd name="connsiteY661" fmla="*/ 1136493 h 2563305"/>
                  <a:gd name="connsiteX662" fmla="*/ 1327679 w 2081801"/>
                  <a:gd name="connsiteY662" fmla="*/ 1146406 h 2563305"/>
                  <a:gd name="connsiteX663" fmla="*/ 1271032 w 2081801"/>
                  <a:gd name="connsiteY663" fmla="*/ 1190308 h 2563305"/>
                  <a:gd name="connsiteX664" fmla="*/ 1262535 w 2081801"/>
                  <a:gd name="connsiteY664" fmla="*/ 1235627 h 2563305"/>
                  <a:gd name="connsiteX665" fmla="*/ 1245541 w 2081801"/>
                  <a:gd name="connsiteY665" fmla="*/ 1401321 h 2563305"/>
                  <a:gd name="connsiteX666" fmla="*/ 1234211 w 2081801"/>
                  <a:gd name="connsiteY666" fmla="*/ 1414067 h 2563305"/>
                  <a:gd name="connsiteX667" fmla="*/ 1154904 w 2081801"/>
                  <a:gd name="connsiteY667" fmla="*/ 1391408 h 2563305"/>
                  <a:gd name="connsiteX668" fmla="*/ 1123748 w 2081801"/>
                  <a:gd name="connsiteY668" fmla="*/ 1306436 h 2563305"/>
                  <a:gd name="connsiteX669" fmla="*/ 1271032 w 2081801"/>
                  <a:gd name="connsiteY669" fmla="*/ 1190308 h 2563305"/>
                  <a:gd name="connsiteX670" fmla="*/ 781030 w 2081801"/>
                  <a:gd name="connsiteY670" fmla="*/ 901405 h 2563305"/>
                  <a:gd name="connsiteX671" fmla="*/ 687561 w 2081801"/>
                  <a:gd name="connsiteY671" fmla="*/ 887243 h 2563305"/>
                  <a:gd name="connsiteX672" fmla="*/ 680480 w 2081801"/>
                  <a:gd name="connsiteY672" fmla="*/ 850422 h 2563305"/>
                  <a:gd name="connsiteX673" fmla="*/ 1102505 w 2081801"/>
                  <a:gd name="connsiteY673" fmla="*/ 781029 h 2563305"/>
                  <a:gd name="connsiteX674" fmla="*/ 1102505 w 2081801"/>
                  <a:gd name="connsiteY674" fmla="*/ 781029 h 2563305"/>
                  <a:gd name="connsiteX675" fmla="*/ 1120916 w 2081801"/>
                  <a:gd name="connsiteY675" fmla="*/ 701722 h 2563305"/>
                  <a:gd name="connsiteX676" fmla="*/ 1130829 w 2081801"/>
                  <a:gd name="connsiteY676" fmla="*/ 700306 h 2563305"/>
                  <a:gd name="connsiteX677" fmla="*/ 1198806 w 2081801"/>
                  <a:gd name="connsiteY677" fmla="*/ 765451 h 2563305"/>
                  <a:gd name="connsiteX678" fmla="*/ 1198806 w 2081801"/>
                  <a:gd name="connsiteY678" fmla="*/ 765451 h 2563305"/>
                  <a:gd name="connsiteX679" fmla="*/ 1293691 w 2081801"/>
                  <a:gd name="connsiteY679" fmla="*/ 754122 h 2563305"/>
                  <a:gd name="connsiteX680" fmla="*/ 1290859 w 2081801"/>
                  <a:gd name="connsiteY680" fmla="*/ 833428 h 2563305"/>
                  <a:gd name="connsiteX681" fmla="*/ 1242708 w 2081801"/>
                  <a:gd name="connsiteY681" fmla="*/ 907070 h 2563305"/>
                  <a:gd name="connsiteX682" fmla="*/ 1132245 w 2081801"/>
                  <a:gd name="connsiteY682" fmla="*/ 911319 h 2563305"/>
                  <a:gd name="connsiteX683" fmla="*/ 1132245 w 2081801"/>
                  <a:gd name="connsiteY683" fmla="*/ 911319 h 2563305"/>
                  <a:gd name="connsiteX684" fmla="*/ 1112419 w 2081801"/>
                  <a:gd name="connsiteY684" fmla="*/ 950972 h 2563305"/>
                  <a:gd name="connsiteX685" fmla="*/ 946724 w 2081801"/>
                  <a:gd name="connsiteY685" fmla="*/ 925481 h 2563305"/>
                  <a:gd name="connsiteX686" fmla="*/ 946724 w 2081801"/>
                  <a:gd name="connsiteY686" fmla="*/ 885827 h 2563305"/>
                  <a:gd name="connsiteX687" fmla="*/ 946724 w 2081801"/>
                  <a:gd name="connsiteY687" fmla="*/ 885827 h 2563305"/>
                  <a:gd name="connsiteX688" fmla="*/ 781030 w 2081801"/>
                  <a:gd name="connsiteY688" fmla="*/ 901405 h 2563305"/>
                  <a:gd name="connsiteX689" fmla="*/ 1292275 w 2081801"/>
                  <a:gd name="connsiteY689" fmla="*/ 919816 h 2563305"/>
                  <a:gd name="connsiteX690" fmla="*/ 1295107 w 2081801"/>
                  <a:gd name="connsiteY690" fmla="*/ 834844 h 2563305"/>
                  <a:gd name="connsiteX691" fmla="*/ 1346090 w 2081801"/>
                  <a:gd name="connsiteY691" fmla="*/ 758370 h 2563305"/>
                  <a:gd name="connsiteX692" fmla="*/ 1316350 w 2081801"/>
                  <a:gd name="connsiteY692" fmla="*/ 931145 h 2563305"/>
                  <a:gd name="connsiteX693" fmla="*/ 1292275 w 2081801"/>
                  <a:gd name="connsiteY693" fmla="*/ 919816 h 2563305"/>
                  <a:gd name="connsiteX694" fmla="*/ 1320599 w 2081801"/>
                  <a:gd name="connsiteY694" fmla="*/ 1150655 h 2563305"/>
                  <a:gd name="connsiteX695" fmla="*/ 1324847 w 2081801"/>
                  <a:gd name="connsiteY695" fmla="*/ 1147823 h 2563305"/>
                  <a:gd name="connsiteX696" fmla="*/ 1419732 w 2081801"/>
                  <a:gd name="connsiteY696" fmla="*/ 1139326 h 2563305"/>
                  <a:gd name="connsiteX697" fmla="*/ 1409819 w 2081801"/>
                  <a:gd name="connsiteY697" fmla="*/ 1169065 h 2563305"/>
                  <a:gd name="connsiteX698" fmla="*/ 1320599 w 2081801"/>
                  <a:gd name="connsiteY698" fmla="*/ 1150655 h 2563305"/>
                  <a:gd name="connsiteX699" fmla="*/ 1278113 w 2081801"/>
                  <a:gd name="connsiteY699" fmla="*/ 1152071 h 2563305"/>
                  <a:gd name="connsiteX700" fmla="*/ 1272448 w 2081801"/>
                  <a:gd name="connsiteY700" fmla="*/ 1187476 h 2563305"/>
                  <a:gd name="connsiteX701" fmla="*/ 1123748 w 2081801"/>
                  <a:gd name="connsiteY701" fmla="*/ 1303604 h 2563305"/>
                  <a:gd name="connsiteX702" fmla="*/ 1075598 w 2081801"/>
                  <a:gd name="connsiteY702" fmla="*/ 1170482 h 2563305"/>
                  <a:gd name="connsiteX703" fmla="*/ 1278113 w 2081801"/>
                  <a:gd name="connsiteY703" fmla="*/ 1152071 h 2563305"/>
                  <a:gd name="connsiteX704" fmla="*/ 1273864 w 2081801"/>
                  <a:gd name="connsiteY704" fmla="*/ 1186060 h 2563305"/>
                  <a:gd name="connsiteX705" fmla="*/ 1279529 w 2081801"/>
                  <a:gd name="connsiteY705" fmla="*/ 1153487 h 2563305"/>
                  <a:gd name="connsiteX706" fmla="*/ 1305021 w 2081801"/>
                  <a:gd name="connsiteY706" fmla="*/ 1150655 h 2563305"/>
                  <a:gd name="connsiteX707" fmla="*/ 1316350 w 2081801"/>
                  <a:gd name="connsiteY707" fmla="*/ 1153487 h 2563305"/>
                  <a:gd name="connsiteX708" fmla="*/ 1273864 w 2081801"/>
                  <a:gd name="connsiteY708" fmla="*/ 1186060 h 2563305"/>
                  <a:gd name="connsiteX709" fmla="*/ 1273864 w 2081801"/>
                  <a:gd name="connsiteY709" fmla="*/ 1188892 h 2563305"/>
                  <a:gd name="connsiteX710" fmla="*/ 1319183 w 2081801"/>
                  <a:gd name="connsiteY710" fmla="*/ 1153487 h 2563305"/>
                  <a:gd name="connsiteX711" fmla="*/ 1409819 w 2081801"/>
                  <a:gd name="connsiteY711" fmla="*/ 1171898 h 2563305"/>
                  <a:gd name="connsiteX712" fmla="*/ 1401322 w 2081801"/>
                  <a:gd name="connsiteY712" fmla="*/ 1194557 h 2563305"/>
                  <a:gd name="connsiteX713" fmla="*/ 1265367 w 2081801"/>
                  <a:gd name="connsiteY713" fmla="*/ 1242707 h 2563305"/>
                  <a:gd name="connsiteX714" fmla="*/ 1266783 w 2081801"/>
                  <a:gd name="connsiteY714" fmla="*/ 1235627 h 2563305"/>
                  <a:gd name="connsiteX715" fmla="*/ 1273864 w 2081801"/>
                  <a:gd name="connsiteY715" fmla="*/ 1188892 h 2563305"/>
                  <a:gd name="connsiteX716" fmla="*/ 1263951 w 2081801"/>
                  <a:gd name="connsiteY716" fmla="*/ 1242707 h 2563305"/>
                  <a:gd name="connsiteX717" fmla="*/ 1348922 w 2081801"/>
                  <a:gd name="connsiteY717" fmla="*/ 1285193 h 2563305"/>
                  <a:gd name="connsiteX718" fmla="*/ 1246957 w 2081801"/>
                  <a:gd name="connsiteY718" fmla="*/ 1397072 h 2563305"/>
                  <a:gd name="connsiteX719" fmla="*/ 1263951 w 2081801"/>
                  <a:gd name="connsiteY719" fmla="*/ 1242707 h 2563305"/>
                  <a:gd name="connsiteX720" fmla="*/ 1067100 w 2081801"/>
                  <a:gd name="connsiteY720" fmla="*/ 636578 h 2563305"/>
                  <a:gd name="connsiteX721" fmla="*/ 1048690 w 2081801"/>
                  <a:gd name="connsiteY721" fmla="*/ 645075 h 2563305"/>
                  <a:gd name="connsiteX722" fmla="*/ 1040193 w 2081801"/>
                  <a:gd name="connsiteY722" fmla="*/ 611086 h 2563305"/>
                  <a:gd name="connsiteX723" fmla="*/ 1067100 w 2081801"/>
                  <a:gd name="connsiteY723" fmla="*/ 636578 h 2563305"/>
                  <a:gd name="connsiteX724" fmla="*/ 1200222 w 2081801"/>
                  <a:gd name="connsiteY724" fmla="*/ 764035 h 2563305"/>
                  <a:gd name="connsiteX725" fmla="*/ 1135078 w 2081801"/>
                  <a:gd name="connsiteY725" fmla="*/ 700306 h 2563305"/>
                  <a:gd name="connsiteX726" fmla="*/ 1297940 w 2081801"/>
                  <a:gd name="connsiteY726" fmla="*/ 683312 h 2563305"/>
                  <a:gd name="connsiteX727" fmla="*/ 1296524 w 2081801"/>
                  <a:gd name="connsiteY727" fmla="*/ 754122 h 2563305"/>
                  <a:gd name="connsiteX728" fmla="*/ 1200222 w 2081801"/>
                  <a:gd name="connsiteY728" fmla="*/ 764035 h 2563305"/>
                  <a:gd name="connsiteX729" fmla="*/ 1129413 w 2081801"/>
                  <a:gd name="connsiteY729" fmla="*/ 698890 h 2563305"/>
                  <a:gd name="connsiteX730" fmla="*/ 1120916 w 2081801"/>
                  <a:gd name="connsiteY730" fmla="*/ 700306 h 2563305"/>
                  <a:gd name="connsiteX731" fmla="*/ 1122332 w 2081801"/>
                  <a:gd name="connsiteY731" fmla="*/ 693225 h 2563305"/>
                  <a:gd name="connsiteX732" fmla="*/ 1129413 w 2081801"/>
                  <a:gd name="connsiteY732" fmla="*/ 698890 h 2563305"/>
                  <a:gd name="connsiteX733" fmla="*/ 1140742 w 2081801"/>
                  <a:gd name="connsiteY733" fmla="*/ 605422 h 2563305"/>
                  <a:gd name="connsiteX734" fmla="*/ 1122332 w 2081801"/>
                  <a:gd name="connsiteY734" fmla="*/ 687560 h 2563305"/>
                  <a:gd name="connsiteX735" fmla="*/ 1069933 w 2081801"/>
                  <a:gd name="connsiteY735" fmla="*/ 637994 h 2563305"/>
                  <a:gd name="connsiteX736" fmla="*/ 1140742 w 2081801"/>
                  <a:gd name="connsiteY736" fmla="*/ 605422 h 2563305"/>
                  <a:gd name="connsiteX737" fmla="*/ 1119500 w 2081801"/>
                  <a:gd name="connsiteY737" fmla="*/ 698890 h 2563305"/>
                  <a:gd name="connsiteX738" fmla="*/ 1062852 w 2081801"/>
                  <a:gd name="connsiteY738" fmla="*/ 704555 h 2563305"/>
                  <a:gd name="connsiteX739" fmla="*/ 1048690 w 2081801"/>
                  <a:gd name="connsiteY739" fmla="*/ 646491 h 2563305"/>
                  <a:gd name="connsiteX740" fmla="*/ 1068517 w 2081801"/>
                  <a:gd name="connsiteY740" fmla="*/ 637994 h 2563305"/>
                  <a:gd name="connsiteX741" fmla="*/ 1122332 w 2081801"/>
                  <a:gd name="connsiteY741" fmla="*/ 688977 h 2563305"/>
                  <a:gd name="connsiteX742" fmla="*/ 1119500 w 2081801"/>
                  <a:gd name="connsiteY742" fmla="*/ 698890 h 2563305"/>
                  <a:gd name="connsiteX743" fmla="*/ 1101089 w 2081801"/>
                  <a:gd name="connsiteY743" fmla="*/ 778197 h 2563305"/>
                  <a:gd name="connsiteX744" fmla="*/ 679064 w 2081801"/>
                  <a:gd name="connsiteY744" fmla="*/ 847590 h 2563305"/>
                  <a:gd name="connsiteX745" fmla="*/ 659237 w 2081801"/>
                  <a:gd name="connsiteY745" fmla="*/ 731462 h 2563305"/>
                  <a:gd name="connsiteX746" fmla="*/ 681897 w 2081801"/>
                  <a:gd name="connsiteY746" fmla="*/ 737127 h 2563305"/>
                  <a:gd name="connsiteX747" fmla="*/ 681897 w 2081801"/>
                  <a:gd name="connsiteY747" fmla="*/ 737127 h 2563305"/>
                  <a:gd name="connsiteX748" fmla="*/ 764035 w 2081801"/>
                  <a:gd name="connsiteY748" fmla="*/ 659237 h 2563305"/>
                  <a:gd name="connsiteX749" fmla="*/ 901406 w 2081801"/>
                  <a:gd name="connsiteY749" fmla="*/ 714468 h 2563305"/>
                  <a:gd name="connsiteX750" fmla="*/ 901406 w 2081801"/>
                  <a:gd name="connsiteY750" fmla="*/ 714468 h 2563305"/>
                  <a:gd name="connsiteX751" fmla="*/ 1045857 w 2081801"/>
                  <a:gd name="connsiteY751" fmla="*/ 649323 h 2563305"/>
                  <a:gd name="connsiteX752" fmla="*/ 1060019 w 2081801"/>
                  <a:gd name="connsiteY752" fmla="*/ 708803 h 2563305"/>
                  <a:gd name="connsiteX753" fmla="*/ 1060019 w 2081801"/>
                  <a:gd name="connsiteY753" fmla="*/ 708803 h 2563305"/>
                  <a:gd name="connsiteX754" fmla="*/ 1118083 w 2081801"/>
                  <a:gd name="connsiteY754" fmla="*/ 703139 h 2563305"/>
                  <a:gd name="connsiteX755" fmla="*/ 1101089 w 2081801"/>
                  <a:gd name="connsiteY755" fmla="*/ 778197 h 2563305"/>
                  <a:gd name="connsiteX756" fmla="*/ 1292275 w 2081801"/>
                  <a:gd name="connsiteY756" fmla="*/ 952388 h 2563305"/>
                  <a:gd name="connsiteX757" fmla="*/ 1293691 w 2081801"/>
                  <a:gd name="connsiteY757" fmla="*/ 922648 h 2563305"/>
                  <a:gd name="connsiteX758" fmla="*/ 1316350 w 2081801"/>
                  <a:gd name="connsiteY758" fmla="*/ 933978 h 2563305"/>
                  <a:gd name="connsiteX759" fmla="*/ 1313518 w 2081801"/>
                  <a:gd name="connsiteY759" fmla="*/ 948140 h 2563305"/>
                  <a:gd name="connsiteX760" fmla="*/ 1292275 w 2081801"/>
                  <a:gd name="connsiteY760" fmla="*/ 952388 h 2563305"/>
                  <a:gd name="connsiteX761" fmla="*/ 1279529 w 2081801"/>
                  <a:gd name="connsiteY761" fmla="*/ 1150655 h 2563305"/>
                  <a:gd name="connsiteX762" fmla="*/ 1280945 w 2081801"/>
                  <a:gd name="connsiteY762" fmla="*/ 1146406 h 2563305"/>
                  <a:gd name="connsiteX763" fmla="*/ 1297940 w 2081801"/>
                  <a:gd name="connsiteY763" fmla="*/ 1149239 h 2563305"/>
                  <a:gd name="connsiteX764" fmla="*/ 1279529 w 2081801"/>
                  <a:gd name="connsiteY764" fmla="*/ 1150655 h 2563305"/>
                  <a:gd name="connsiteX765" fmla="*/ 1204471 w 2081801"/>
                  <a:gd name="connsiteY765" fmla="*/ 966550 h 2563305"/>
                  <a:gd name="connsiteX766" fmla="*/ 1200222 w 2081801"/>
                  <a:gd name="connsiteY766" fmla="*/ 973631 h 2563305"/>
                  <a:gd name="connsiteX767" fmla="*/ 1091176 w 2081801"/>
                  <a:gd name="connsiteY767" fmla="*/ 999122 h 2563305"/>
                  <a:gd name="connsiteX768" fmla="*/ 1113835 w 2081801"/>
                  <a:gd name="connsiteY768" fmla="*/ 953804 h 2563305"/>
                  <a:gd name="connsiteX769" fmla="*/ 1204471 w 2081801"/>
                  <a:gd name="connsiteY769" fmla="*/ 966550 h 2563305"/>
                  <a:gd name="connsiteX770" fmla="*/ 1265367 w 2081801"/>
                  <a:gd name="connsiteY770" fmla="*/ 905654 h 2563305"/>
                  <a:gd name="connsiteX771" fmla="*/ 1265367 w 2081801"/>
                  <a:gd name="connsiteY771" fmla="*/ 905654 h 2563305"/>
                  <a:gd name="connsiteX772" fmla="*/ 1246957 w 2081801"/>
                  <a:gd name="connsiteY772" fmla="*/ 905654 h 2563305"/>
                  <a:gd name="connsiteX773" fmla="*/ 1293691 w 2081801"/>
                  <a:gd name="connsiteY773" fmla="*/ 836261 h 2563305"/>
                  <a:gd name="connsiteX774" fmla="*/ 1290859 w 2081801"/>
                  <a:gd name="connsiteY774" fmla="*/ 916984 h 2563305"/>
                  <a:gd name="connsiteX775" fmla="*/ 1265367 w 2081801"/>
                  <a:gd name="connsiteY775" fmla="*/ 905654 h 2563305"/>
                  <a:gd name="connsiteX776" fmla="*/ 1220049 w 2081801"/>
                  <a:gd name="connsiteY776" fmla="*/ 969383 h 2563305"/>
                  <a:gd name="connsiteX777" fmla="*/ 1203055 w 2081801"/>
                  <a:gd name="connsiteY777" fmla="*/ 972215 h 2563305"/>
                  <a:gd name="connsiteX778" fmla="*/ 1207303 w 2081801"/>
                  <a:gd name="connsiteY778" fmla="*/ 966550 h 2563305"/>
                  <a:gd name="connsiteX779" fmla="*/ 1220049 w 2081801"/>
                  <a:gd name="connsiteY779" fmla="*/ 969383 h 2563305"/>
                  <a:gd name="connsiteX780" fmla="*/ 1289443 w 2081801"/>
                  <a:gd name="connsiteY780" fmla="*/ 955221 h 2563305"/>
                  <a:gd name="connsiteX781" fmla="*/ 1289443 w 2081801"/>
                  <a:gd name="connsiteY781" fmla="*/ 977880 h 2563305"/>
                  <a:gd name="connsiteX782" fmla="*/ 1231379 w 2081801"/>
                  <a:gd name="connsiteY782" fmla="*/ 969383 h 2563305"/>
                  <a:gd name="connsiteX783" fmla="*/ 1289443 w 2081801"/>
                  <a:gd name="connsiteY783" fmla="*/ 955221 h 2563305"/>
                  <a:gd name="connsiteX784" fmla="*/ 1289443 w 2081801"/>
                  <a:gd name="connsiteY784" fmla="*/ 952388 h 2563305"/>
                  <a:gd name="connsiteX785" fmla="*/ 1224298 w 2081801"/>
                  <a:gd name="connsiteY785" fmla="*/ 966550 h 2563305"/>
                  <a:gd name="connsiteX786" fmla="*/ 1207303 w 2081801"/>
                  <a:gd name="connsiteY786" fmla="*/ 963718 h 2563305"/>
                  <a:gd name="connsiteX787" fmla="*/ 1244124 w 2081801"/>
                  <a:gd name="connsiteY787" fmla="*/ 907070 h 2563305"/>
                  <a:gd name="connsiteX788" fmla="*/ 1262535 w 2081801"/>
                  <a:gd name="connsiteY788" fmla="*/ 907070 h 2563305"/>
                  <a:gd name="connsiteX789" fmla="*/ 1289443 w 2081801"/>
                  <a:gd name="connsiteY789" fmla="*/ 919816 h 2563305"/>
                  <a:gd name="connsiteX790" fmla="*/ 1289443 w 2081801"/>
                  <a:gd name="connsiteY790" fmla="*/ 952388 h 2563305"/>
                  <a:gd name="connsiteX791" fmla="*/ 1242708 w 2081801"/>
                  <a:gd name="connsiteY791" fmla="*/ 908486 h 2563305"/>
                  <a:gd name="connsiteX792" fmla="*/ 1205887 w 2081801"/>
                  <a:gd name="connsiteY792" fmla="*/ 963718 h 2563305"/>
                  <a:gd name="connsiteX793" fmla="*/ 1115251 w 2081801"/>
                  <a:gd name="connsiteY793" fmla="*/ 949556 h 2563305"/>
                  <a:gd name="connsiteX794" fmla="*/ 1135078 w 2081801"/>
                  <a:gd name="connsiteY794" fmla="*/ 911319 h 2563305"/>
                  <a:gd name="connsiteX795" fmla="*/ 1242708 w 2081801"/>
                  <a:gd name="connsiteY795" fmla="*/ 908486 h 2563305"/>
                  <a:gd name="connsiteX796" fmla="*/ 1195974 w 2081801"/>
                  <a:gd name="connsiteY796" fmla="*/ 1126580 h 2563305"/>
                  <a:gd name="connsiteX797" fmla="*/ 1103921 w 2081801"/>
                  <a:gd name="connsiteY797" fmla="*/ 1120915 h 2563305"/>
                  <a:gd name="connsiteX798" fmla="*/ 1200222 w 2081801"/>
                  <a:gd name="connsiteY798" fmla="*/ 976464 h 2563305"/>
                  <a:gd name="connsiteX799" fmla="*/ 1224298 w 2081801"/>
                  <a:gd name="connsiteY799" fmla="*/ 970799 h 2563305"/>
                  <a:gd name="connsiteX800" fmla="*/ 1289443 w 2081801"/>
                  <a:gd name="connsiteY800" fmla="*/ 980712 h 2563305"/>
                  <a:gd name="connsiteX801" fmla="*/ 1289443 w 2081801"/>
                  <a:gd name="connsiteY801" fmla="*/ 980712 h 2563305"/>
                  <a:gd name="connsiteX802" fmla="*/ 1289443 w 2081801"/>
                  <a:gd name="connsiteY802" fmla="*/ 955221 h 2563305"/>
                  <a:gd name="connsiteX803" fmla="*/ 1310685 w 2081801"/>
                  <a:gd name="connsiteY803" fmla="*/ 950972 h 2563305"/>
                  <a:gd name="connsiteX804" fmla="*/ 1276697 w 2081801"/>
                  <a:gd name="connsiteY804" fmla="*/ 1144990 h 2563305"/>
                  <a:gd name="connsiteX805" fmla="*/ 1195974 w 2081801"/>
                  <a:gd name="connsiteY805" fmla="*/ 1126580 h 2563305"/>
                  <a:gd name="connsiteX806" fmla="*/ 1054355 w 2081801"/>
                  <a:gd name="connsiteY806" fmla="*/ 1119499 h 2563305"/>
                  <a:gd name="connsiteX807" fmla="*/ 1071349 w 2081801"/>
                  <a:gd name="connsiteY807" fmla="*/ 1166233 h 2563305"/>
                  <a:gd name="connsiteX808" fmla="*/ 1068517 w 2081801"/>
                  <a:gd name="connsiteY808" fmla="*/ 1170482 h 2563305"/>
                  <a:gd name="connsiteX809" fmla="*/ 1000540 w 2081801"/>
                  <a:gd name="connsiteY809" fmla="*/ 1176146 h 2563305"/>
                  <a:gd name="connsiteX810" fmla="*/ 1030279 w 2081801"/>
                  <a:gd name="connsiteY810" fmla="*/ 1116666 h 2563305"/>
                  <a:gd name="connsiteX811" fmla="*/ 1054355 w 2081801"/>
                  <a:gd name="connsiteY811" fmla="*/ 1119499 h 2563305"/>
                  <a:gd name="connsiteX812" fmla="*/ 1198806 w 2081801"/>
                  <a:gd name="connsiteY812" fmla="*/ 976464 h 2563305"/>
                  <a:gd name="connsiteX813" fmla="*/ 1102505 w 2081801"/>
                  <a:gd name="connsiteY813" fmla="*/ 1120915 h 2563305"/>
                  <a:gd name="connsiteX814" fmla="*/ 1055771 w 2081801"/>
                  <a:gd name="connsiteY814" fmla="*/ 1118083 h 2563305"/>
                  <a:gd name="connsiteX815" fmla="*/ 1045857 w 2081801"/>
                  <a:gd name="connsiteY815" fmla="*/ 1089759 h 2563305"/>
                  <a:gd name="connsiteX816" fmla="*/ 1091176 w 2081801"/>
                  <a:gd name="connsiteY816" fmla="*/ 1001955 h 2563305"/>
                  <a:gd name="connsiteX817" fmla="*/ 1198806 w 2081801"/>
                  <a:gd name="connsiteY817" fmla="*/ 976464 h 2563305"/>
                  <a:gd name="connsiteX818" fmla="*/ 1031696 w 2081801"/>
                  <a:gd name="connsiteY818" fmla="*/ 1115250 h 2563305"/>
                  <a:gd name="connsiteX819" fmla="*/ 1044441 w 2081801"/>
                  <a:gd name="connsiteY819" fmla="*/ 1091175 h 2563305"/>
                  <a:gd name="connsiteX820" fmla="*/ 1052938 w 2081801"/>
                  <a:gd name="connsiteY820" fmla="*/ 1116666 h 2563305"/>
                  <a:gd name="connsiteX821" fmla="*/ 1031696 w 2081801"/>
                  <a:gd name="connsiteY821" fmla="*/ 1115250 h 2563305"/>
                  <a:gd name="connsiteX822" fmla="*/ 1088343 w 2081801"/>
                  <a:gd name="connsiteY822" fmla="*/ 1000539 h 2563305"/>
                  <a:gd name="connsiteX823" fmla="*/ 1045857 w 2081801"/>
                  <a:gd name="connsiteY823" fmla="*/ 1085510 h 2563305"/>
                  <a:gd name="connsiteX824" fmla="*/ 1020366 w 2081801"/>
                  <a:gd name="connsiteY824" fmla="*/ 1016117 h 2563305"/>
                  <a:gd name="connsiteX825" fmla="*/ 1088343 w 2081801"/>
                  <a:gd name="connsiteY825" fmla="*/ 1000539 h 2563305"/>
                  <a:gd name="connsiteX826" fmla="*/ 1088343 w 2081801"/>
                  <a:gd name="connsiteY826" fmla="*/ 999122 h 2563305"/>
                  <a:gd name="connsiteX827" fmla="*/ 1016117 w 2081801"/>
                  <a:gd name="connsiteY827" fmla="*/ 1016117 h 2563305"/>
                  <a:gd name="connsiteX828" fmla="*/ 1016117 w 2081801"/>
                  <a:gd name="connsiteY828" fmla="*/ 1016117 h 2563305"/>
                  <a:gd name="connsiteX829" fmla="*/ 1043025 w 2081801"/>
                  <a:gd name="connsiteY829" fmla="*/ 1089759 h 2563305"/>
                  <a:gd name="connsiteX830" fmla="*/ 1030279 w 2081801"/>
                  <a:gd name="connsiteY830" fmla="*/ 1116666 h 2563305"/>
                  <a:gd name="connsiteX831" fmla="*/ 946724 w 2081801"/>
                  <a:gd name="connsiteY831" fmla="*/ 1111002 h 2563305"/>
                  <a:gd name="connsiteX832" fmla="*/ 948140 w 2081801"/>
                  <a:gd name="connsiteY832" fmla="*/ 929729 h 2563305"/>
                  <a:gd name="connsiteX833" fmla="*/ 1113835 w 2081801"/>
                  <a:gd name="connsiteY833" fmla="*/ 953804 h 2563305"/>
                  <a:gd name="connsiteX834" fmla="*/ 1088343 w 2081801"/>
                  <a:gd name="connsiteY834" fmla="*/ 999122 h 2563305"/>
                  <a:gd name="connsiteX835" fmla="*/ 1101089 w 2081801"/>
                  <a:gd name="connsiteY835" fmla="*/ 1122331 h 2563305"/>
                  <a:gd name="connsiteX836" fmla="*/ 1072765 w 2081801"/>
                  <a:gd name="connsiteY836" fmla="*/ 1164817 h 2563305"/>
                  <a:gd name="connsiteX837" fmla="*/ 1055771 w 2081801"/>
                  <a:gd name="connsiteY837" fmla="*/ 1119499 h 2563305"/>
                  <a:gd name="connsiteX838" fmla="*/ 1101089 w 2081801"/>
                  <a:gd name="connsiteY838" fmla="*/ 1122331 h 2563305"/>
                  <a:gd name="connsiteX839" fmla="*/ 1102505 w 2081801"/>
                  <a:gd name="connsiteY839" fmla="*/ 1122331 h 2563305"/>
                  <a:gd name="connsiteX840" fmla="*/ 1195974 w 2081801"/>
                  <a:gd name="connsiteY840" fmla="*/ 1129412 h 2563305"/>
                  <a:gd name="connsiteX841" fmla="*/ 1279529 w 2081801"/>
                  <a:gd name="connsiteY841" fmla="*/ 1146406 h 2563305"/>
                  <a:gd name="connsiteX842" fmla="*/ 1278113 w 2081801"/>
                  <a:gd name="connsiteY842" fmla="*/ 1152071 h 2563305"/>
                  <a:gd name="connsiteX843" fmla="*/ 1074181 w 2081801"/>
                  <a:gd name="connsiteY843" fmla="*/ 1170482 h 2563305"/>
                  <a:gd name="connsiteX844" fmla="*/ 1072765 w 2081801"/>
                  <a:gd name="connsiteY844" fmla="*/ 1167649 h 2563305"/>
                  <a:gd name="connsiteX845" fmla="*/ 1102505 w 2081801"/>
                  <a:gd name="connsiteY845" fmla="*/ 1122331 h 2563305"/>
                  <a:gd name="connsiteX846" fmla="*/ 1296524 w 2081801"/>
                  <a:gd name="connsiteY846" fmla="*/ 680480 h 2563305"/>
                  <a:gd name="connsiteX847" fmla="*/ 1132245 w 2081801"/>
                  <a:gd name="connsiteY847" fmla="*/ 697474 h 2563305"/>
                  <a:gd name="connsiteX848" fmla="*/ 1123748 w 2081801"/>
                  <a:gd name="connsiteY848" fmla="*/ 688977 h 2563305"/>
                  <a:gd name="connsiteX849" fmla="*/ 1143575 w 2081801"/>
                  <a:gd name="connsiteY849" fmla="*/ 604005 h 2563305"/>
                  <a:gd name="connsiteX850" fmla="*/ 1169066 w 2081801"/>
                  <a:gd name="connsiteY850" fmla="*/ 592676 h 2563305"/>
                  <a:gd name="connsiteX851" fmla="*/ 1227130 w 2081801"/>
                  <a:gd name="connsiteY851" fmla="*/ 595508 h 2563305"/>
                  <a:gd name="connsiteX852" fmla="*/ 1297940 w 2081801"/>
                  <a:gd name="connsiteY852" fmla="*/ 654988 h 2563305"/>
                  <a:gd name="connsiteX853" fmla="*/ 1296524 w 2081801"/>
                  <a:gd name="connsiteY853" fmla="*/ 680480 h 2563305"/>
                  <a:gd name="connsiteX854" fmla="*/ 1144991 w 2081801"/>
                  <a:gd name="connsiteY854" fmla="*/ 591260 h 2563305"/>
                  <a:gd name="connsiteX855" fmla="*/ 1142159 w 2081801"/>
                  <a:gd name="connsiteY855" fmla="*/ 602589 h 2563305"/>
                  <a:gd name="connsiteX856" fmla="*/ 1069933 w 2081801"/>
                  <a:gd name="connsiteY856" fmla="*/ 635161 h 2563305"/>
                  <a:gd name="connsiteX857" fmla="*/ 1040193 w 2081801"/>
                  <a:gd name="connsiteY857" fmla="*/ 606838 h 2563305"/>
                  <a:gd name="connsiteX858" fmla="*/ 1034528 w 2081801"/>
                  <a:gd name="connsiteY858" fmla="*/ 584179 h 2563305"/>
                  <a:gd name="connsiteX859" fmla="*/ 1144991 w 2081801"/>
                  <a:gd name="connsiteY859" fmla="*/ 591260 h 2563305"/>
                  <a:gd name="connsiteX860" fmla="*/ 510537 w 2081801"/>
                  <a:gd name="connsiteY860" fmla="*/ 555855 h 2563305"/>
                  <a:gd name="connsiteX861" fmla="*/ 798024 w 2081801"/>
                  <a:gd name="connsiteY861" fmla="*/ 572849 h 2563305"/>
                  <a:gd name="connsiteX862" fmla="*/ 827764 w 2081801"/>
                  <a:gd name="connsiteY862" fmla="*/ 595508 h 2563305"/>
                  <a:gd name="connsiteX863" fmla="*/ 762619 w 2081801"/>
                  <a:gd name="connsiteY863" fmla="*/ 657821 h 2563305"/>
                  <a:gd name="connsiteX864" fmla="*/ 510537 w 2081801"/>
                  <a:gd name="connsiteY864" fmla="*/ 555855 h 2563305"/>
                  <a:gd name="connsiteX865" fmla="*/ 679064 w 2081801"/>
                  <a:gd name="connsiteY865" fmla="*/ 850422 h 2563305"/>
                  <a:gd name="connsiteX866" fmla="*/ 686145 w 2081801"/>
                  <a:gd name="connsiteY866" fmla="*/ 888660 h 2563305"/>
                  <a:gd name="connsiteX867" fmla="*/ 686145 w 2081801"/>
                  <a:gd name="connsiteY867" fmla="*/ 888660 h 2563305"/>
                  <a:gd name="connsiteX868" fmla="*/ 772533 w 2081801"/>
                  <a:gd name="connsiteY868" fmla="*/ 901405 h 2563305"/>
                  <a:gd name="connsiteX869" fmla="*/ 677648 w 2081801"/>
                  <a:gd name="connsiteY869" fmla="*/ 909903 h 2563305"/>
                  <a:gd name="connsiteX870" fmla="*/ 637995 w 2081801"/>
                  <a:gd name="connsiteY870" fmla="*/ 856087 h 2563305"/>
                  <a:gd name="connsiteX871" fmla="*/ 679064 w 2081801"/>
                  <a:gd name="connsiteY871" fmla="*/ 850422 h 2563305"/>
                  <a:gd name="connsiteX872" fmla="*/ 1071349 w 2081801"/>
                  <a:gd name="connsiteY872" fmla="*/ 1170482 h 2563305"/>
                  <a:gd name="connsiteX873" fmla="*/ 1072765 w 2081801"/>
                  <a:gd name="connsiteY873" fmla="*/ 1169065 h 2563305"/>
                  <a:gd name="connsiteX874" fmla="*/ 1072765 w 2081801"/>
                  <a:gd name="connsiteY874" fmla="*/ 1170482 h 2563305"/>
                  <a:gd name="connsiteX875" fmla="*/ 1071349 w 2081801"/>
                  <a:gd name="connsiteY875" fmla="*/ 1170482 h 2563305"/>
                  <a:gd name="connsiteX876" fmla="*/ 1402738 w 2081801"/>
                  <a:gd name="connsiteY876" fmla="*/ 1193141 h 2563305"/>
                  <a:gd name="connsiteX877" fmla="*/ 1409819 w 2081801"/>
                  <a:gd name="connsiteY877" fmla="*/ 1171898 h 2563305"/>
                  <a:gd name="connsiteX878" fmla="*/ 1443807 w 2081801"/>
                  <a:gd name="connsiteY878" fmla="*/ 1178979 h 2563305"/>
                  <a:gd name="connsiteX879" fmla="*/ 1402738 w 2081801"/>
                  <a:gd name="connsiteY879" fmla="*/ 1193141 h 2563305"/>
                  <a:gd name="connsiteX880" fmla="*/ 1347507 w 2081801"/>
                  <a:gd name="connsiteY880" fmla="*/ 748457 h 2563305"/>
                  <a:gd name="connsiteX881" fmla="*/ 1346090 w 2081801"/>
                  <a:gd name="connsiteY881" fmla="*/ 752705 h 2563305"/>
                  <a:gd name="connsiteX882" fmla="*/ 1293691 w 2081801"/>
                  <a:gd name="connsiteY882" fmla="*/ 830596 h 2563305"/>
                  <a:gd name="connsiteX883" fmla="*/ 1295107 w 2081801"/>
                  <a:gd name="connsiteY883" fmla="*/ 754122 h 2563305"/>
                  <a:gd name="connsiteX884" fmla="*/ 1347507 w 2081801"/>
                  <a:gd name="connsiteY884" fmla="*/ 748457 h 2563305"/>
                  <a:gd name="connsiteX885" fmla="*/ 1144991 w 2081801"/>
                  <a:gd name="connsiteY885" fmla="*/ 602589 h 2563305"/>
                  <a:gd name="connsiteX886" fmla="*/ 1147823 w 2081801"/>
                  <a:gd name="connsiteY886" fmla="*/ 592676 h 2563305"/>
                  <a:gd name="connsiteX887" fmla="*/ 1166234 w 2081801"/>
                  <a:gd name="connsiteY887" fmla="*/ 594092 h 2563305"/>
                  <a:gd name="connsiteX888" fmla="*/ 1144991 w 2081801"/>
                  <a:gd name="connsiteY888" fmla="*/ 602589 h 2563305"/>
                  <a:gd name="connsiteX889" fmla="*/ 901406 w 2081801"/>
                  <a:gd name="connsiteY889" fmla="*/ 711636 h 2563305"/>
                  <a:gd name="connsiteX890" fmla="*/ 765452 w 2081801"/>
                  <a:gd name="connsiteY890" fmla="*/ 657821 h 2563305"/>
                  <a:gd name="connsiteX891" fmla="*/ 832012 w 2081801"/>
                  <a:gd name="connsiteY891" fmla="*/ 595508 h 2563305"/>
                  <a:gd name="connsiteX892" fmla="*/ 832012 w 2081801"/>
                  <a:gd name="connsiteY892" fmla="*/ 595508 h 2563305"/>
                  <a:gd name="connsiteX893" fmla="*/ 802273 w 2081801"/>
                  <a:gd name="connsiteY893" fmla="*/ 572849 h 2563305"/>
                  <a:gd name="connsiteX894" fmla="*/ 1011869 w 2081801"/>
                  <a:gd name="connsiteY894" fmla="*/ 584179 h 2563305"/>
                  <a:gd name="connsiteX895" fmla="*/ 1037360 w 2081801"/>
                  <a:gd name="connsiteY895" fmla="*/ 608254 h 2563305"/>
                  <a:gd name="connsiteX896" fmla="*/ 1045857 w 2081801"/>
                  <a:gd name="connsiteY896" fmla="*/ 645075 h 2563305"/>
                  <a:gd name="connsiteX897" fmla="*/ 901406 w 2081801"/>
                  <a:gd name="connsiteY897" fmla="*/ 711636 h 2563305"/>
                  <a:gd name="connsiteX898" fmla="*/ 1000540 w 2081801"/>
                  <a:gd name="connsiteY898" fmla="*/ 1317765 h 2563305"/>
                  <a:gd name="connsiteX899" fmla="*/ 1000540 w 2081801"/>
                  <a:gd name="connsiteY899" fmla="*/ 1317765 h 2563305"/>
                  <a:gd name="connsiteX900" fmla="*/ 992042 w 2081801"/>
                  <a:gd name="connsiteY900" fmla="*/ 1289442 h 2563305"/>
                  <a:gd name="connsiteX901" fmla="*/ 1069933 w 2081801"/>
                  <a:gd name="connsiteY901" fmla="*/ 1171898 h 2563305"/>
                  <a:gd name="connsiteX902" fmla="*/ 1072765 w 2081801"/>
                  <a:gd name="connsiteY902" fmla="*/ 1171898 h 2563305"/>
                  <a:gd name="connsiteX903" fmla="*/ 1120916 w 2081801"/>
                  <a:gd name="connsiteY903" fmla="*/ 1305020 h 2563305"/>
                  <a:gd name="connsiteX904" fmla="*/ 1050106 w 2081801"/>
                  <a:gd name="connsiteY904" fmla="*/ 1360251 h 2563305"/>
                  <a:gd name="connsiteX905" fmla="*/ 990626 w 2081801"/>
                  <a:gd name="connsiteY905" fmla="*/ 1343257 h 2563305"/>
                  <a:gd name="connsiteX906" fmla="*/ 1000540 w 2081801"/>
                  <a:gd name="connsiteY906" fmla="*/ 1317765 h 2563305"/>
                  <a:gd name="connsiteX907" fmla="*/ 1054355 w 2081801"/>
                  <a:gd name="connsiteY907" fmla="*/ 1361667 h 2563305"/>
                  <a:gd name="connsiteX908" fmla="*/ 1122332 w 2081801"/>
                  <a:gd name="connsiteY908" fmla="*/ 1307852 h 2563305"/>
                  <a:gd name="connsiteX909" fmla="*/ 1152072 w 2081801"/>
                  <a:gd name="connsiteY909" fmla="*/ 1389991 h 2563305"/>
                  <a:gd name="connsiteX910" fmla="*/ 1054355 w 2081801"/>
                  <a:gd name="connsiteY910" fmla="*/ 1361667 h 2563305"/>
                  <a:gd name="connsiteX911" fmla="*/ 1351755 w 2081801"/>
                  <a:gd name="connsiteY911" fmla="*/ 1283777 h 2563305"/>
                  <a:gd name="connsiteX912" fmla="*/ 1269616 w 2081801"/>
                  <a:gd name="connsiteY912" fmla="*/ 1242707 h 2563305"/>
                  <a:gd name="connsiteX913" fmla="*/ 1399905 w 2081801"/>
                  <a:gd name="connsiteY913" fmla="*/ 1195973 h 2563305"/>
                  <a:gd name="connsiteX914" fmla="*/ 1380079 w 2081801"/>
                  <a:gd name="connsiteY914" fmla="*/ 1252621 h 2563305"/>
                  <a:gd name="connsiteX915" fmla="*/ 1351755 w 2081801"/>
                  <a:gd name="connsiteY915" fmla="*/ 1283777 h 2563305"/>
                  <a:gd name="connsiteX916" fmla="*/ 1446640 w 2081801"/>
                  <a:gd name="connsiteY916" fmla="*/ 1178979 h 2563305"/>
                  <a:gd name="connsiteX917" fmla="*/ 1384327 w 2081801"/>
                  <a:gd name="connsiteY917" fmla="*/ 1248372 h 2563305"/>
                  <a:gd name="connsiteX918" fmla="*/ 1402738 w 2081801"/>
                  <a:gd name="connsiteY918" fmla="*/ 1194557 h 2563305"/>
                  <a:gd name="connsiteX919" fmla="*/ 1446640 w 2081801"/>
                  <a:gd name="connsiteY919" fmla="*/ 1178979 h 2563305"/>
                  <a:gd name="connsiteX920" fmla="*/ 1146407 w 2081801"/>
                  <a:gd name="connsiteY920" fmla="*/ 589843 h 2563305"/>
                  <a:gd name="connsiteX921" fmla="*/ 1157737 w 2081801"/>
                  <a:gd name="connsiteY921" fmla="*/ 538860 h 2563305"/>
                  <a:gd name="connsiteX922" fmla="*/ 1201639 w 2081801"/>
                  <a:gd name="connsiteY922" fmla="*/ 575682 h 2563305"/>
                  <a:gd name="connsiteX923" fmla="*/ 1167650 w 2081801"/>
                  <a:gd name="connsiteY923" fmla="*/ 591260 h 2563305"/>
                  <a:gd name="connsiteX924" fmla="*/ 1146407 w 2081801"/>
                  <a:gd name="connsiteY924" fmla="*/ 589843 h 2563305"/>
                  <a:gd name="connsiteX925" fmla="*/ 799440 w 2081801"/>
                  <a:gd name="connsiteY925" fmla="*/ 570017 h 2563305"/>
                  <a:gd name="connsiteX926" fmla="*/ 662069 w 2081801"/>
                  <a:gd name="connsiteY926" fmla="*/ 465219 h 2563305"/>
                  <a:gd name="connsiteX927" fmla="*/ 812186 w 2081801"/>
                  <a:gd name="connsiteY927" fmla="*/ 388744 h 2563305"/>
                  <a:gd name="connsiteX928" fmla="*/ 1010453 w 2081801"/>
                  <a:gd name="connsiteY928" fmla="*/ 581346 h 2563305"/>
                  <a:gd name="connsiteX929" fmla="*/ 799440 w 2081801"/>
                  <a:gd name="connsiteY929" fmla="*/ 570017 h 2563305"/>
                  <a:gd name="connsiteX930" fmla="*/ 492127 w 2081801"/>
                  <a:gd name="connsiteY930" fmla="*/ 550190 h 2563305"/>
                  <a:gd name="connsiteX931" fmla="*/ 483630 w 2081801"/>
                  <a:gd name="connsiteY931" fmla="*/ 554439 h 2563305"/>
                  <a:gd name="connsiteX932" fmla="*/ 504873 w 2081801"/>
                  <a:gd name="connsiteY932" fmla="*/ 555855 h 2563305"/>
                  <a:gd name="connsiteX933" fmla="*/ 762619 w 2081801"/>
                  <a:gd name="connsiteY933" fmla="*/ 659237 h 2563305"/>
                  <a:gd name="connsiteX934" fmla="*/ 681897 w 2081801"/>
                  <a:gd name="connsiteY934" fmla="*/ 735711 h 2563305"/>
                  <a:gd name="connsiteX935" fmla="*/ 659237 w 2081801"/>
                  <a:gd name="connsiteY935" fmla="*/ 730046 h 2563305"/>
                  <a:gd name="connsiteX936" fmla="*/ 639411 w 2081801"/>
                  <a:gd name="connsiteY936" fmla="*/ 621000 h 2563305"/>
                  <a:gd name="connsiteX937" fmla="*/ 639411 w 2081801"/>
                  <a:gd name="connsiteY937" fmla="*/ 621000 h 2563305"/>
                  <a:gd name="connsiteX938" fmla="*/ 509121 w 2081801"/>
                  <a:gd name="connsiteY938" fmla="*/ 659237 h 2563305"/>
                  <a:gd name="connsiteX939" fmla="*/ 452473 w 2081801"/>
                  <a:gd name="connsiteY939" fmla="*/ 534612 h 2563305"/>
                  <a:gd name="connsiteX940" fmla="*/ 492127 w 2081801"/>
                  <a:gd name="connsiteY940" fmla="*/ 550190 h 2563305"/>
                  <a:gd name="connsiteX941" fmla="*/ 657821 w 2081801"/>
                  <a:gd name="connsiteY941" fmla="*/ 731462 h 2563305"/>
                  <a:gd name="connsiteX942" fmla="*/ 679064 w 2081801"/>
                  <a:gd name="connsiteY942" fmla="*/ 847590 h 2563305"/>
                  <a:gd name="connsiteX943" fmla="*/ 636578 w 2081801"/>
                  <a:gd name="connsiteY943" fmla="*/ 854671 h 2563305"/>
                  <a:gd name="connsiteX944" fmla="*/ 543110 w 2081801"/>
                  <a:gd name="connsiteY944" fmla="*/ 730046 h 2563305"/>
                  <a:gd name="connsiteX945" fmla="*/ 530364 w 2081801"/>
                  <a:gd name="connsiteY945" fmla="*/ 701722 h 2563305"/>
                  <a:gd name="connsiteX946" fmla="*/ 657821 w 2081801"/>
                  <a:gd name="connsiteY946" fmla="*/ 731462 h 2563305"/>
                  <a:gd name="connsiteX947" fmla="*/ 691810 w 2081801"/>
                  <a:gd name="connsiteY947" fmla="*/ 931145 h 2563305"/>
                  <a:gd name="connsiteX948" fmla="*/ 691810 w 2081801"/>
                  <a:gd name="connsiteY948" fmla="*/ 931145 h 2563305"/>
                  <a:gd name="connsiteX949" fmla="*/ 677648 w 2081801"/>
                  <a:gd name="connsiteY949" fmla="*/ 912735 h 2563305"/>
                  <a:gd name="connsiteX950" fmla="*/ 779614 w 2081801"/>
                  <a:gd name="connsiteY950" fmla="*/ 902822 h 2563305"/>
                  <a:gd name="connsiteX951" fmla="*/ 943892 w 2081801"/>
                  <a:gd name="connsiteY951" fmla="*/ 926897 h 2563305"/>
                  <a:gd name="connsiteX952" fmla="*/ 942476 w 2081801"/>
                  <a:gd name="connsiteY952" fmla="*/ 1108169 h 2563305"/>
                  <a:gd name="connsiteX953" fmla="*/ 705972 w 2081801"/>
                  <a:gd name="connsiteY953" fmla="*/ 1091175 h 2563305"/>
                  <a:gd name="connsiteX954" fmla="*/ 633746 w 2081801"/>
                  <a:gd name="connsiteY954" fmla="*/ 935394 h 2563305"/>
                  <a:gd name="connsiteX955" fmla="*/ 691810 w 2081801"/>
                  <a:gd name="connsiteY955" fmla="*/ 931145 h 2563305"/>
                  <a:gd name="connsiteX956" fmla="*/ 946724 w 2081801"/>
                  <a:gd name="connsiteY956" fmla="*/ 1111002 h 2563305"/>
                  <a:gd name="connsiteX957" fmla="*/ 1028863 w 2081801"/>
                  <a:gd name="connsiteY957" fmla="*/ 1116666 h 2563305"/>
                  <a:gd name="connsiteX958" fmla="*/ 997707 w 2081801"/>
                  <a:gd name="connsiteY958" fmla="*/ 1177563 h 2563305"/>
                  <a:gd name="connsiteX959" fmla="*/ 997707 w 2081801"/>
                  <a:gd name="connsiteY959" fmla="*/ 1177563 h 2563305"/>
                  <a:gd name="connsiteX960" fmla="*/ 1067100 w 2081801"/>
                  <a:gd name="connsiteY960" fmla="*/ 1170482 h 2563305"/>
                  <a:gd name="connsiteX961" fmla="*/ 990626 w 2081801"/>
                  <a:gd name="connsiteY961" fmla="*/ 1285193 h 2563305"/>
                  <a:gd name="connsiteX962" fmla="*/ 962302 w 2081801"/>
                  <a:gd name="connsiteY962" fmla="*/ 1188892 h 2563305"/>
                  <a:gd name="connsiteX963" fmla="*/ 962302 w 2081801"/>
                  <a:gd name="connsiteY963" fmla="*/ 1188892 h 2563305"/>
                  <a:gd name="connsiteX964" fmla="*/ 945308 w 2081801"/>
                  <a:gd name="connsiteY964" fmla="*/ 1188892 h 2563305"/>
                  <a:gd name="connsiteX965" fmla="*/ 946724 w 2081801"/>
                  <a:gd name="connsiteY965" fmla="*/ 1111002 h 2563305"/>
                  <a:gd name="connsiteX966" fmla="*/ 1153488 w 2081801"/>
                  <a:gd name="connsiteY966" fmla="*/ 1392824 h 2563305"/>
                  <a:gd name="connsiteX967" fmla="*/ 1161985 w 2081801"/>
                  <a:gd name="connsiteY967" fmla="*/ 1414067 h 2563305"/>
                  <a:gd name="connsiteX968" fmla="*/ 1011869 w 2081801"/>
                  <a:gd name="connsiteY968" fmla="*/ 1394240 h 2563305"/>
                  <a:gd name="connsiteX969" fmla="*/ 1051522 w 2081801"/>
                  <a:gd name="connsiteY969" fmla="*/ 1363084 h 2563305"/>
                  <a:gd name="connsiteX970" fmla="*/ 1153488 w 2081801"/>
                  <a:gd name="connsiteY970" fmla="*/ 1392824 h 2563305"/>
                  <a:gd name="connsiteX971" fmla="*/ 1113835 w 2081801"/>
                  <a:gd name="connsiteY971" fmla="*/ 1548605 h 2563305"/>
                  <a:gd name="connsiteX972" fmla="*/ 1181812 w 2081801"/>
                  <a:gd name="connsiteY972" fmla="*/ 1473546 h 2563305"/>
                  <a:gd name="connsiteX973" fmla="*/ 1214384 w 2081801"/>
                  <a:gd name="connsiteY973" fmla="*/ 1562767 h 2563305"/>
                  <a:gd name="connsiteX974" fmla="*/ 1113835 w 2081801"/>
                  <a:gd name="connsiteY974" fmla="*/ 1548605 h 2563305"/>
                  <a:gd name="connsiteX975" fmla="*/ 1228546 w 2081801"/>
                  <a:gd name="connsiteY975" fmla="*/ 1567015 h 2563305"/>
                  <a:gd name="connsiteX976" fmla="*/ 1225714 w 2081801"/>
                  <a:gd name="connsiteY976" fmla="*/ 1589674 h 2563305"/>
                  <a:gd name="connsiteX977" fmla="*/ 1217217 w 2081801"/>
                  <a:gd name="connsiteY977" fmla="*/ 1565599 h 2563305"/>
                  <a:gd name="connsiteX978" fmla="*/ 1228546 w 2081801"/>
                  <a:gd name="connsiteY978" fmla="*/ 1567015 h 2563305"/>
                  <a:gd name="connsiteX979" fmla="*/ 1251205 w 2081801"/>
                  <a:gd name="connsiteY979" fmla="*/ 1661900 h 2563305"/>
                  <a:gd name="connsiteX980" fmla="*/ 1280945 w 2081801"/>
                  <a:gd name="connsiteY980" fmla="*/ 1742623 h 2563305"/>
                  <a:gd name="connsiteX981" fmla="*/ 1212968 w 2081801"/>
                  <a:gd name="connsiteY981" fmla="*/ 1751120 h 2563305"/>
                  <a:gd name="connsiteX982" fmla="*/ 1221465 w 2081801"/>
                  <a:gd name="connsiteY982" fmla="*/ 1664732 h 2563305"/>
                  <a:gd name="connsiteX983" fmla="*/ 1251205 w 2081801"/>
                  <a:gd name="connsiteY983" fmla="*/ 1661900 h 2563305"/>
                  <a:gd name="connsiteX984" fmla="*/ 1368749 w 2081801"/>
                  <a:gd name="connsiteY984" fmla="*/ 1292274 h 2563305"/>
                  <a:gd name="connsiteX985" fmla="*/ 1382911 w 2081801"/>
                  <a:gd name="connsiteY985" fmla="*/ 1252621 h 2563305"/>
                  <a:gd name="connsiteX986" fmla="*/ 1450888 w 2081801"/>
                  <a:gd name="connsiteY986" fmla="*/ 1177563 h 2563305"/>
                  <a:gd name="connsiteX987" fmla="*/ 1586843 w 2081801"/>
                  <a:gd name="connsiteY987" fmla="*/ 1204470 h 2563305"/>
                  <a:gd name="connsiteX988" fmla="*/ 1423981 w 2081801"/>
                  <a:gd name="connsiteY988" fmla="*/ 1340425 h 2563305"/>
                  <a:gd name="connsiteX989" fmla="*/ 1394241 w 2081801"/>
                  <a:gd name="connsiteY989" fmla="*/ 1303604 h 2563305"/>
                  <a:gd name="connsiteX990" fmla="*/ 1368749 w 2081801"/>
                  <a:gd name="connsiteY990" fmla="*/ 1292274 h 2563305"/>
                  <a:gd name="connsiteX991" fmla="*/ 1449472 w 2081801"/>
                  <a:gd name="connsiteY991" fmla="*/ 1176146 h 2563305"/>
                  <a:gd name="connsiteX992" fmla="*/ 1411235 w 2081801"/>
                  <a:gd name="connsiteY992" fmla="*/ 1169065 h 2563305"/>
                  <a:gd name="connsiteX993" fmla="*/ 1421148 w 2081801"/>
                  <a:gd name="connsiteY993" fmla="*/ 1139326 h 2563305"/>
                  <a:gd name="connsiteX994" fmla="*/ 1487709 w 2081801"/>
                  <a:gd name="connsiteY994" fmla="*/ 1133661 h 2563305"/>
                  <a:gd name="connsiteX995" fmla="*/ 1449472 w 2081801"/>
                  <a:gd name="connsiteY995" fmla="*/ 1176146 h 2563305"/>
                  <a:gd name="connsiteX996" fmla="*/ 1449472 w 2081801"/>
                  <a:gd name="connsiteY996" fmla="*/ 1176146 h 2563305"/>
                  <a:gd name="connsiteX997" fmla="*/ 1422564 w 2081801"/>
                  <a:gd name="connsiteY997" fmla="*/ 1136493 h 2563305"/>
                  <a:gd name="connsiteX998" fmla="*/ 1455137 w 2081801"/>
                  <a:gd name="connsiteY998" fmla="*/ 1043024 h 2563305"/>
                  <a:gd name="connsiteX999" fmla="*/ 1455137 w 2081801"/>
                  <a:gd name="connsiteY999" fmla="*/ 1043024 h 2563305"/>
                  <a:gd name="connsiteX1000" fmla="*/ 1323431 w 2081801"/>
                  <a:gd name="connsiteY1000" fmla="*/ 1146406 h 2563305"/>
                  <a:gd name="connsiteX1001" fmla="*/ 1305021 w 2081801"/>
                  <a:gd name="connsiteY1001" fmla="*/ 1147823 h 2563305"/>
                  <a:gd name="connsiteX1002" fmla="*/ 1280945 w 2081801"/>
                  <a:gd name="connsiteY1002" fmla="*/ 1143574 h 2563305"/>
                  <a:gd name="connsiteX1003" fmla="*/ 1314934 w 2081801"/>
                  <a:gd name="connsiteY1003" fmla="*/ 949556 h 2563305"/>
                  <a:gd name="connsiteX1004" fmla="*/ 1337593 w 2081801"/>
                  <a:gd name="connsiteY1004" fmla="*/ 943891 h 2563305"/>
                  <a:gd name="connsiteX1005" fmla="*/ 1561351 w 2081801"/>
                  <a:gd name="connsiteY1005" fmla="*/ 1052938 h 2563305"/>
                  <a:gd name="connsiteX1006" fmla="*/ 1490541 w 2081801"/>
                  <a:gd name="connsiteY1006" fmla="*/ 1130828 h 2563305"/>
                  <a:gd name="connsiteX1007" fmla="*/ 1422564 w 2081801"/>
                  <a:gd name="connsiteY1007" fmla="*/ 1136493 h 2563305"/>
                  <a:gd name="connsiteX1008" fmla="*/ 1157737 w 2081801"/>
                  <a:gd name="connsiteY1008" fmla="*/ 536028 h 2563305"/>
                  <a:gd name="connsiteX1009" fmla="*/ 1095424 w 2081801"/>
                  <a:gd name="connsiteY1009" fmla="*/ 483629 h 2563305"/>
                  <a:gd name="connsiteX1010" fmla="*/ 992042 w 2081801"/>
                  <a:gd name="connsiteY1010" fmla="*/ 408571 h 2563305"/>
                  <a:gd name="connsiteX1011" fmla="*/ 992042 w 2081801"/>
                  <a:gd name="connsiteY1011" fmla="*/ 408571 h 2563305"/>
                  <a:gd name="connsiteX1012" fmla="*/ 1033112 w 2081801"/>
                  <a:gd name="connsiteY1012" fmla="*/ 584179 h 2563305"/>
                  <a:gd name="connsiteX1013" fmla="*/ 1014701 w 2081801"/>
                  <a:gd name="connsiteY1013" fmla="*/ 582762 h 2563305"/>
                  <a:gd name="connsiteX1014" fmla="*/ 815018 w 2081801"/>
                  <a:gd name="connsiteY1014" fmla="*/ 388744 h 2563305"/>
                  <a:gd name="connsiteX1015" fmla="*/ 884412 w 2081801"/>
                  <a:gd name="connsiteY1015" fmla="*/ 353340 h 2563305"/>
                  <a:gd name="connsiteX1016" fmla="*/ 1186060 w 2081801"/>
                  <a:gd name="connsiteY1016" fmla="*/ 419901 h 2563305"/>
                  <a:gd name="connsiteX1017" fmla="*/ 1157737 w 2081801"/>
                  <a:gd name="connsiteY1017" fmla="*/ 536028 h 2563305"/>
                  <a:gd name="connsiteX1018" fmla="*/ 527531 w 2081801"/>
                  <a:gd name="connsiteY1018" fmla="*/ 701722 h 2563305"/>
                  <a:gd name="connsiteX1019" fmla="*/ 537445 w 2081801"/>
                  <a:gd name="connsiteY1019" fmla="*/ 722965 h 2563305"/>
                  <a:gd name="connsiteX1020" fmla="*/ 520450 w 2081801"/>
                  <a:gd name="connsiteY1020" fmla="*/ 700306 h 2563305"/>
                  <a:gd name="connsiteX1021" fmla="*/ 527531 w 2081801"/>
                  <a:gd name="connsiteY1021" fmla="*/ 701722 h 2563305"/>
                  <a:gd name="connsiteX1022" fmla="*/ 476549 w 2081801"/>
                  <a:gd name="connsiteY1022" fmla="*/ 928313 h 2563305"/>
                  <a:gd name="connsiteX1023" fmla="*/ 460971 w 2081801"/>
                  <a:gd name="connsiteY1023" fmla="*/ 929729 h 2563305"/>
                  <a:gd name="connsiteX1024" fmla="*/ 442560 w 2081801"/>
                  <a:gd name="connsiteY1024" fmla="*/ 916984 h 2563305"/>
                  <a:gd name="connsiteX1025" fmla="*/ 476549 w 2081801"/>
                  <a:gd name="connsiteY1025" fmla="*/ 928313 h 2563305"/>
                  <a:gd name="connsiteX1026" fmla="*/ 962302 w 2081801"/>
                  <a:gd name="connsiteY1026" fmla="*/ 1334760 h 2563305"/>
                  <a:gd name="connsiteX1027" fmla="*/ 990626 w 2081801"/>
                  <a:gd name="connsiteY1027" fmla="*/ 1292274 h 2563305"/>
                  <a:gd name="connsiteX1028" fmla="*/ 997707 w 2081801"/>
                  <a:gd name="connsiteY1028" fmla="*/ 1317765 h 2563305"/>
                  <a:gd name="connsiteX1029" fmla="*/ 989210 w 2081801"/>
                  <a:gd name="connsiteY1029" fmla="*/ 1343257 h 2563305"/>
                  <a:gd name="connsiteX1030" fmla="*/ 962302 w 2081801"/>
                  <a:gd name="connsiteY1030" fmla="*/ 1334760 h 2563305"/>
                  <a:gd name="connsiteX1031" fmla="*/ 1014701 w 2081801"/>
                  <a:gd name="connsiteY1031" fmla="*/ 1933808 h 2563305"/>
                  <a:gd name="connsiteX1032" fmla="*/ 1106754 w 2081801"/>
                  <a:gd name="connsiteY1032" fmla="*/ 1926727 h 2563305"/>
                  <a:gd name="connsiteX1033" fmla="*/ 1133662 w 2081801"/>
                  <a:gd name="connsiteY1033" fmla="*/ 2008867 h 2563305"/>
                  <a:gd name="connsiteX1034" fmla="*/ 1014701 w 2081801"/>
                  <a:gd name="connsiteY1034" fmla="*/ 1933808 h 2563305"/>
                  <a:gd name="connsiteX1035" fmla="*/ 1210136 w 2081801"/>
                  <a:gd name="connsiteY1035" fmla="*/ 1752536 h 2563305"/>
                  <a:gd name="connsiteX1036" fmla="*/ 1193141 w 2081801"/>
                  <a:gd name="connsiteY1036" fmla="*/ 1918230 h 2563305"/>
                  <a:gd name="connsiteX1037" fmla="*/ 1108170 w 2081801"/>
                  <a:gd name="connsiteY1037" fmla="*/ 1923895 h 2563305"/>
                  <a:gd name="connsiteX1038" fmla="*/ 1058603 w 2081801"/>
                  <a:gd name="connsiteY1038" fmla="*/ 1770946 h 2563305"/>
                  <a:gd name="connsiteX1039" fmla="*/ 1210136 w 2081801"/>
                  <a:gd name="connsiteY1039" fmla="*/ 1752536 h 2563305"/>
                  <a:gd name="connsiteX1040" fmla="*/ 1180396 w 2081801"/>
                  <a:gd name="connsiteY1040" fmla="*/ 2041439 h 2563305"/>
                  <a:gd name="connsiteX1041" fmla="*/ 1176147 w 2081801"/>
                  <a:gd name="connsiteY1041" fmla="*/ 2079676 h 2563305"/>
                  <a:gd name="connsiteX1042" fmla="*/ 1164817 w 2081801"/>
                  <a:gd name="connsiteY1042" fmla="*/ 2098087 h 2563305"/>
                  <a:gd name="connsiteX1043" fmla="*/ 1137910 w 2081801"/>
                  <a:gd name="connsiteY1043" fmla="*/ 2014531 h 2563305"/>
                  <a:gd name="connsiteX1044" fmla="*/ 1180396 w 2081801"/>
                  <a:gd name="connsiteY1044" fmla="*/ 2041439 h 2563305"/>
                  <a:gd name="connsiteX1045" fmla="*/ 1340426 w 2081801"/>
                  <a:gd name="connsiteY1045" fmla="*/ 943891 h 2563305"/>
                  <a:gd name="connsiteX1046" fmla="*/ 1496207 w 2081801"/>
                  <a:gd name="connsiteY1046" fmla="*/ 908486 h 2563305"/>
                  <a:gd name="connsiteX1047" fmla="*/ 1496207 w 2081801"/>
                  <a:gd name="connsiteY1047" fmla="*/ 908486 h 2563305"/>
                  <a:gd name="connsiteX1048" fmla="*/ 1561351 w 2081801"/>
                  <a:gd name="connsiteY1048" fmla="*/ 840509 h 2563305"/>
                  <a:gd name="connsiteX1049" fmla="*/ 1606669 w 2081801"/>
                  <a:gd name="connsiteY1049" fmla="*/ 1003371 h 2563305"/>
                  <a:gd name="connsiteX1050" fmla="*/ 1562767 w 2081801"/>
                  <a:gd name="connsiteY1050" fmla="*/ 1051522 h 2563305"/>
                  <a:gd name="connsiteX1051" fmla="*/ 1340426 w 2081801"/>
                  <a:gd name="connsiteY1051" fmla="*/ 943891 h 2563305"/>
                  <a:gd name="connsiteX1052" fmla="*/ 451057 w 2081801"/>
                  <a:gd name="connsiteY1052" fmla="*/ 531780 h 2563305"/>
                  <a:gd name="connsiteX1053" fmla="*/ 371750 w 2081801"/>
                  <a:gd name="connsiteY1053" fmla="*/ 357588 h 2563305"/>
                  <a:gd name="connsiteX1054" fmla="*/ 443976 w 2081801"/>
                  <a:gd name="connsiteY1054" fmla="*/ 303773 h 2563305"/>
                  <a:gd name="connsiteX1055" fmla="*/ 657821 w 2081801"/>
                  <a:gd name="connsiteY1055" fmla="*/ 465219 h 2563305"/>
                  <a:gd name="connsiteX1056" fmla="*/ 493543 w 2081801"/>
                  <a:gd name="connsiteY1056" fmla="*/ 548774 h 2563305"/>
                  <a:gd name="connsiteX1057" fmla="*/ 451057 w 2081801"/>
                  <a:gd name="connsiteY1057" fmla="*/ 531780 h 2563305"/>
                  <a:gd name="connsiteX1058" fmla="*/ 448225 w 2081801"/>
                  <a:gd name="connsiteY1058" fmla="*/ 888660 h 2563305"/>
                  <a:gd name="connsiteX1059" fmla="*/ 448225 w 2081801"/>
                  <a:gd name="connsiteY1059" fmla="*/ 888660 h 2563305"/>
                  <a:gd name="connsiteX1060" fmla="*/ 601173 w 2081801"/>
                  <a:gd name="connsiteY1060" fmla="*/ 863168 h 2563305"/>
                  <a:gd name="connsiteX1061" fmla="*/ 625249 w 2081801"/>
                  <a:gd name="connsiteY1061" fmla="*/ 915567 h 2563305"/>
                  <a:gd name="connsiteX1062" fmla="*/ 482213 w 2081801"/>
                  <a:gd name="connsiteY1062" fmla="*/ 928313 h 2563305"/>
                  <a:gd name="connsiteX1063" fmla="*/ 436895 w 2081801"/>
                  <a:gd name="connsiteY1063" fmla="*/ 912735 h 2563305"/>
                  <a:gd name="connsiteX1064" fmla="*/ 251374 w 2081801"/>
                  <a:gd name="connsiteY1064" fmla="*/ 783862 h 2563305"/>
                  <a:gd name="connsiteX1065" fmla="*/ 308022 w 2081801"/>
                  <a:gd name="connsiteY1065" fmla="*/ 666318 h 2563305"/>
                  <a:gd name="connsiteX1066" fmla="*/ 448225 w 2081801"/>
                  <a:gd name="connsiteY1066" fmla="*/ 888660 h 2563305"/>
                  <a:gd name="connsiteX1067" fmla="*/ 174900 w 2081801"/>
                  <a:gd name="connsiteY1067" fmla="*/ 696058 h 2563305"/>
                  <a:gd name="connsiteX1068" fmla="*/ 211721 w 2081801"/>
                  <a:gd name="connsiteY1068" fmla="*/ 759786 h 2563305"/>
                  <a:gd name="connsiteX1069" fmla="*/ 248542 w 2081801"/>
                  <a:gd name="connsiteY1069" fmla="*/ 785278 h 2563305"/>
                  <a:gd name="connsiteX1070" fmla="*/ 220218 w 2081801"/>
                  <a:gd name="connsiteY1070" fmla="*/ 843341 h 2563305"/>
                  <a:gd name="connsiteX1071" fmla="*/ 133830 w 2081801"/>
                  <a:gd name="connsiteY1071" fmla="*/ 815018 h 2563305"/>
                  <a:gd name="connsiteX1072" fmla="*/ 149408 w 2081801"/>
                  <a:gd name="connsiteY1072" fmla="*/ 728630 h 2563305"/>
                  <a:gd name="connsiteX1073" fmla="*/ 174900 w 2081801"/>
                  <a:gd name="connsiteY1073" fmla="*/ 696058 h 2563305"/>
                  <a:gd name="connsiteX1074" fmla="*/ 173483 w 2081801"/>
                  <a:gd name="connsiteY1074" fmla="*/ 693225 h 2563305"/>
                  <a:gd name="connsiteX1075" fmla="*/ 147992 w 2081801"/>
                  <a:gd name="connsiteY1075" fmla="*/ 722965 h 2563305"/>
                  <a:gd name="connsiteX1076" fmla="*/ 157906 w 2081801"/>
                  <a:gd name="connsiteY1076" fmla="*/ 667734 h 2563305"/>
                  <a:gd name="connsiteX1077" fmla="*/ 173483 w 2081801"/>
                  <a:gd name="connsiteY1077" fmla="*/ 693225 h 2563305"/>
                  <a:gd name="connsiteX1078" fmla="*/ 162154 w 2081801"/>
                  <a:gd name="connsiteY1078" fmla="*/ 633745 h 2563305"/>
                  <a:gd name="connsiteX1079" fmla="*/ 157906 w 2081801"/>
                  <a:gd name="connsiteY1079" fmla="*/ 660653 h 2563305"/>
                  <a:gd name="connsiteX1080" fmla="*/ 147992 w 2081801"/>
                  <a:gd name="connsiteY1080" fmla="*/ 642242 h 2563305"/>
                  <a:gd name="connsiteX1081" fmla="*/ 162154 w 2081801"/>
                  <a:gd name="connsiteY1081" fmla="*/ 633745 h 2563305"/>
                  <a:gd name="connsiteX1082" fmla="*/ 159322 w 2081801"/>
                  <a:gd name="connsiteY1082" fmla="*/ 664902 h 2563305"/>
                  <a:gd name="connsiteX1083" fmla="*/ 164987 w 2081801"/>
                  <a:gd name="connsiteY1083" fmla="*/ 633745 h 2563305"/>
                  <a:gd name="connsiteX1084" fmla="*/ 180564 w 2081801"/>
                  <a:gd name="connsiteY1084" fmla="*/ 625248 h 2563305"/>
                  <a:gd name="connsiteX1085" fmla="*/ 225883 w 2081801"/>
                  <a:gd name="connsiteY1085" fmla="*/ 635161 h 2563305"/>
                  <a:gd name="connsiteX1086" fmla="*/ 176316 w 2081801"/>
                  <a:gd name="connsiteY1086" fmla="*/ 693225 h 2563305"/>
                  <a:gd name="connsiteX1087" fmla="*/ 159322 w 2081801"/>
                  <a:gd name="connsiteY1087" fmla="*/ 664902 h 2563305"/>
                  <a:gd name="connsiteX1088" fmla="*/ 163570 w 2081801"/>
                  <a:gd name="connsiteY1088" fmla="*/ 630913 h 2563305"/>
                  <a:gd name="connsiteX1089" fmla="*/ 146576 w 2081801"/>
                  <a:gd name="connsiteY1089" fmla="*/ 640826 h 2563305"/>
                  <a:gd name="connsiteX1090" fmla="*/ 129582 w 2081801"/>
                  <a:gd name="connsiteY1090" fmla="*/ 611086 h 2563305"/>
                  <a:gd name="connsiteX1091" fmla="*/ 164987 w 2081801"/>
                  <a:gd name="connsiteY1091" fmla="*/ 619584 h 2563305"/>
                  <a:gd name="connsiteX1092" fmla="*/ 163570 w 2081801"/>
                  <a:gd name="connsiteY1092" fmla="*/ 630913 h 2563305"/>
                  <a:gd name="connsiteX1093" fmla="*/ 177732 w 2081801"/>
                  <a:gd name="connsiteY1093" fmla="*/ 622416 h 2563305"/>
                  <a:gd name="connsiteX1094" fmla="*/ 166402 w 2081801"/>
                  <a:gd name="connsiteY1094" fmla="*/ 629497 h 2563305"/>
                  <a:gd name="connsiteX1095" fmla="*/ 167819 w 2081801"/>
                  <a:gd name="connsiteY1095" fmla="*/ 619584 h 2563305"/>
                  <a:gd name="connsiteX1096" fmla="*/ 177732 w 2081801"/>
                  <a:gd name="connsiteY1096" fmla="*/ 622416 h 2563305"/>
                  <a:gd name="connsiteX1097" fmla="*/ 145160 w 2081801"/>
                  <a:gd name="connsiteY1097" fmla="*/ 643659 h 2563305"/>
                  <a:gd name="connsiteX1098" fmla="*/ 156489 w 2081801"/>
                  <a:gd name="connsiteY1098" fmla="*/ 663485 h 2563305"/>
                  <a:gd name="connsiteX1099" fmla="*/ 145160 w 2081801"/>
                  <a:gd name="connsiteY1099" fmla="*/ 724382 h 2563305"/>
                  <a:gd name="connsiteX1100" fmla="*/ 82847 w 2081801"/>
                  <a:gd name="connsiteY1100" fmla="*/ 798023 h 2563305"/>
                  <a:gd name="connsiteX1101" fmla="*/ 82847 w 2081801"/>
                  <a:gd name="connsiteY1101" fmla="*/ 798023 h 2563305"/>
                  <a:gd name="connsiteX1102" fmla="*/ 129582 w 2081801"/>
                  <a:gd name="connsiteY1102" fmla="*/ 813602 h 2563305"/>
                  <a:gd name="connsiteX1103" fmla="*/ 82847 w 2081801"/>
                  <a:gd name="connsiteY1103" fmla="*/ 1071348 h 2563305"/>
                  <a:gd name="connsiteX1104" fmla="*/ 12038 w 2081801"/>
                  <a:gd name="connsiteY1104" fmla="*/ 986377 h 2563305"/>
                  <a:gd name="connsiteX1105" fmla="*/ 111171 w 2081801"/>
                  <a:gd name="connsiteY1105" fmla="*/ 662069 h 2563305"/>
                  <a:gd name="connsiteX1106" fmla="*/ 145160 w 2081801"/>
                  <a:gd name="connsiteY1106" fmla="*/ 643659 h 2563305"/>
                  <a:gd name="connsiteX1107" fmla="*/ 145160 w 2081801"/>
                  <a:gd name="connsiteY1107" fmla="*/ 730046 h 2563305"/>
                  <a:gd name="connsiteX1108" fmla="*/ 130998 w 2081801"/>
                  <a:gd name="connsiteY1108" fmla="*/ 812185 h 2563305"/>
                  <a:gd name="connsiteX1109" fmla="*/ 87096 w 2081801"/>
                  <a:gd name="connsiteY1109" fmla="*/ 798023 h 2563305"/>
                  <a:gd name="connsiteX1110" fmla="*/ 145160 w 2081801"/>
                  <a:gd name="connsiteY1110" fmla="*/ 730046 h 2563305"/>
                  <a:gd name="connsiteX1111" fmla="*/ 945308 w 2081801"/>
                  <a:gd name="connsiteY1111" fmla="*/ 1191725 h 2563305"/>
                  <a:gd name="connsiteX1112" fmla="*/ 960886 w 2081801"/>
                  <a:gd name="connsiteY1112" fmla="*/ 1191725 h 2563305"/>
                  <a:gd name="connsiteX1113" fmla="*/ 989210 w 2081801"/>
                  <a:gd name="connsiteY1113" fmla="*/ 1288025 h 2563305"/>
                  <a:gd name="connsiteX1114" fmla="*/ 959470 w 2081801"/>
                  <a:gd name="connsiteY1114" fmla="*/ 1333344 h 2563305"/>
                  <a:gd name="connsiteX1115" fmla="*/ 955221 w 2081801"/>
                  <a:gd name="connsiteY1115" fmla="*/ 1331927 h 2563305"/>
                  <a:gd name="connsiteX1116" fmla="*/ 945308 w 2081801"/>
                  <a:gd name="connsiteY1116" fmla="*/ 1320598 h 2563305"/>
                  <a:gd name="connsiteX1117" fmla="*/ 945308 w 2081801"/>
                  <a:gd name="connsiteY1117" fmla="*/ 1191725 h 2563305"/>
                  <a:gd name="connsiteX1118" fmla="*/ 1048690 w 2081801"/>
                  <a:gd name="connsiteY1118" fmla="*/ 1361667 h 2563305"/>
                  <a:gd name="connsiteX1119" fmla="*/ 1007621 w 2081801"/>
                  <a:gd name="connsiteY1119" fmla="*/ 1392824 h 2563305"/>
                  <a:gd name="connsiteX1120" fmla="*/ 1003372 w 2081801"/>
                  <a:gd name="connsiteY1120" fmla="*/ 1392824 h 2563305"/>
                  <a:gd name="connsiteX1121" fmla="*/ 980713 w 2081801"/>
                  <a:gd name="connsiteY1121" fmla="*/ 1365916 h 2563305"/>
                  <a:gd name="connsiteX1122" fmla="*/ 987794 w 2081801"/>
                  <a:gd name="connsiteY1122" fmla="*/ 1344673 h 2563305"/>
                  <a:gd name="connsiteX1123" fmla="*/ 1048690 w 2081801"/>
                  <a:gd name="connsiteY1123" fmla="*/ 1361667 h 2563305"/>
                  <a:gd name="connsiteX1124" fmla="*/ 1003372 w 2081801"/>
                  <a:gd name="connsiteY1124" fmla="*/ 1395656 h 2563305"/>
                  <a:gd name="connsiteX1125" fmla="*/ 1003372 w 2081801"/>
                  <a:gd name="connsiteY1125" fmla="*/ 1395656 h 2563305"/>
                  <a:gd name="connsiteX1126" fmla="*/ 1006204 w 2081801"/>
                  <a:gd name="connsiteY1126" fmla="*/ 1395656 h 2563305"/>
                  <a:gd name="connsiteX1127" fmla="*/ 959470 w 2081801"/>
                  <a:gd name="connsiteY1127" fmla="*/ 1432477 h 2563305"/>
                  <a:gd name="connsiteX1128" fmla="*/ 982129 w 2081801"/>
                  <a:gd name="connsiteY1128" fmla="*/ 1368748 h 2563305"/>
                  <a:gd name="connsiteX1129" fmla="*/ 1003372 w 2081801"/>
                  <a:gd name="connsiteY1129" fmla="*/ 1395656 h 2563305"/>
                  <a:gd name="connsiteX1130" fmla="*/ 1333345 w 2081801"/>
                  <a:gd name="connsiteY1130" fmla="*/ 1884242 h 2563305"/>
                  <a:gd name="connsiteX1131" fmla="*/ 1322015 w 2081801"/>
                  <a:gd name="connsiteY1131" fmla="*/ 1851670 h 2563305"/>
                  <a:gd name="connsiteX1132" fmla="*/ 1401322 w 2081801"/>
                  <a:gd name="connsiteY1132" fmla="*/ 1725629 h 2563305"/>
                  <a:gd name="connsiteX1133" fmla="*/ 1443807 w 2081801"/>
                  <a:gd name="connsiteY1133" fmla="*/ 1701553 h 2563305"/>
                  <a:gd name="connsiteX1134" fmla="*/ 1472131 w 2081801"/>
                  <a:gd name="connsiteY1134" fmla="*/ 1803519 h 2563305"/>
                  <a:gd name="connsiteX1135" fmla="*/ 1333345 w 2081801"/>
                  <a:gd name="connsiteY1135" fmla="*/ 1884242 h 2563305"/>
                  <a:gd name="connsiteX1136" fmla="*/ 1402738 w 2081801"/>
                  <a:gd name="connsiteY1136" fmla="*/ 1721380 h 2563305"/>
                  <a:gd name="connsiteX1137" fmla="*/ 1433894 w 2081801"/>
                  <a:gd name="connsiteY1137" fmla="*/ 1670397 h 2563305"/>
                  <a:gd name="connsiteX1138" fmla="*/ 1442391 w 2081801"/>
                  <a:gd name="connsiteY1138" fmla="*/ 1698721 h 2563305"/>
                  <a:gd name="connsiteX1139" fmla="*/ 1402738 w 2081801"/>
                  <a:gd name="connsiteY1139" fmla="*/ 1721380 h 2563305"/>
                  <a:gd name="connsiteX1140" fmla="*/ 1499039 w 2081801"/>
                  <a:gd name="connsiteY1140" fmla="*/ 1490541 h 2563305"/>
                  <a:gd name="connsiteX1141" fmla="*/ 1452305 w 2081801"/>
                  <a:gd name="connsiteY1141" fmla="*/ 1476379 h 2563305"/>
                  <a:gd name="connsiteX1142" fmla="*/ 1472131 w 2081801"/>
                  <a:gd name="connsiteY1142" fmla="*/ 1455136 h 2563305"/>
                  <a:gd name="connsiteX1143" fmla="*/ 1472131 w 2081801"/>
                  <a:gd name="connsiteY1143" fmla="*/ 1455136 h 2563305"/>
                  <a:gd name="connsiteX1144" fmla="*/ 1297940 w 2081801"/>
                  <a:gd name="connsiteY1144" fmla="*/ 1432477 h 2563305"/>
                  <a:gd name="connsiteX1145" fmla="*/ 1245541 w 2081801"/>
                  <a:gd name="connsiteY1145" fmla="*/ 1416899 h 2563305"/>
                  <a:gd name="connsiteX1146" fmla="*/ 1246957 w 2081801"/>
                  <a:gd name="connsiteY1146" fmla="*/ 1401321 h 2563305"/>
                  <a:gd name="connsiteX1147" fmla="*/ 1350339 w 2081801"/>
                  <a:gd name="connsiteY1147" fmla="*/ 1286609 h 2563305"/>
                  <a:gd name="connsiteX1148" fmla="*/ 1364501 w 2081801"/>
                  <a:gd name="connsiteY1148" fmla="*/ 1293690 h 2563305"/>
                  <a:gd name="connsiteX1149" fmla="*/ 1316350 w 2081801"/>
                  <a:gd name="connsiteY1149" fmla="*/ 1431061 h 2563305"/>
                  <a:gd name="connsiteX1150" fmla="*/ 1316350 w 2081801"/>
                  <a:gd name="connsiteY1150" fmla="*/ 1432477 h 2563305"/>
                  <a:gd name="connsiteX1151" fmla="*/ 1421148 w 2081801"/>
                  <a:gd name="connsiteY1151" fmla="*/ 1346089 h 2563305"/>
                  <a:gd name="connsiteX1152" fmla="*/ 1507536 w 2081801"/>
                  <a:gd name="connsiteY1152" fmla="*/ 1453720 h 2563305"/>
                  <a:gd name="connsiteX1153" fmla="*/ 1507536 w 2081801"/>
                  <a:gd name="connsiteY1153" fmla="*/ 1453720 h 2563305"/>
                  <a:gd name="connsiteX1154" fmla="*/ 1659069 w 2081801"/>
                  <a:gd name="connsiteY1154" fmla="*/ 1346089 h 2563305"/>
                  <a:gd name="connsiteX1155" fmla="*/ 1657652 w 2081801"/>
                  <a:gd name="connsiteY1155" fmla="*/ 1358835 h 2563305"/>
                  <a:gd name="connsiteX1156" fmla="*/ 1499039 w 2081801"/>
                  <a:gd name="connsiteY1156" fmla="*/ 1490541 h 2563305"/>
                  <a:gd name="connsiteX1157" fmla="*/ 1660484 w 2081801"/>
                  <a:gd name="connsiteY1157" fmla="*/ 1341841 h 2563305"/>
                  <a:gd name="connsiteX1158" fmla="*/ 1508952 w 2081801"/>
                  <a:gd name="connsiteY1158" fmla="*/ 1449471 h 2563305"/>
                  <a:gd name="connsiteX1159" fmla="*/ 1423981 w 2081801"/>
                  <a:gd name="connsiteY1159" fmla="*/ 1343257 h 2563305"/>
                  <a:gd name="connsiteX1160" fmla="*/ 1591091 w 2081801"/>
                  <a:gd name="connsiteY1160" fmla="*/ 1204470 h 2563305"/>
                  <a:gd name="connsiteX1161" fmla="*/ 1591091 w 2081801"/>
                  <a:gd name="connsiteY1161" fmla="*/ 1204470 h 2563305"/>
                  <a:gd name="connsiteX1162" fmla="*/ 1453721 w 2081801"/>
                  <a:gd name="connsiteY1162" fmla="*/ 1177563 h 2563305"/>
                  <a:gd name="connsiteX1163" fmla="*/ 1606669 w 2081801"/>
                  <a:gd name="connsiteY1163" fmla="*/ 1122331 h 2563305"/>
                  <a:gd name="connsiteX1164" fmla="*/ 1688808 w 2081801"/>
                  <a:gd name="connsiteY1164" fmla="*/ 1115250 h 2563305"/>
                  <a:gd name="connsiteX1165" fmla="*/ 1678895 w 2081801"/>
                  <a:gd name="connsiteY1165" fmla="*/ 1176146 h 2563305"/>
                  <a:gd name="connsiteX1166" fmla="*/ 1660484 w 2081801"/>
                  <a:gd name="connsiteY1166" fmla="*/ 1341841 h 2563305"/>
                  <a:gd name="connsiteX1167" fmla="*/ 1542941 w 2081801"/>
                  <a:gd name="connsiteY1167" fmla="*/ 764035 h 2563305"/>
                  <a:gd name="connsiteX1168" fmla="*/ 1579762 w 2081801"/>
                  <a:gd name="connsiteY1168" fmla="*/ 721549 h 2563305"/>
                  <a:gd name="connsiteX1169" fmla="*/ 1684560 w 2081801"/>
                  <a:gd name="connsiteY1169" fmla="*/ 708803 h 2563305"/>
                  <a:gd name="connsiteX1170" fmla="*/ 1562767 w 2081801"/>
                  <a:gd name="connsiteY1170" fmla="*/ 834844 h 2563305"/>
                  <a:gd name="connsiteX1171" fmla="*/ 1542941 w 2081801"/>
                  <a:gd name="connsiteY1171" fmla="*/ 764035 h 2563305"/>
                  <a:gd name="connsiteX1172" fmla="*/ 1354587 w 2081801"/>
                  <a:gd name="connsiteY1172" fmla="*/ 745624 h 2563305"/>
                  <a:gd name="connsiteX1173" fmla="*/ 1404154 w 2081801"/>
                  <a:gd name="connsiteY1173" fmla="*/ 670566 h 2563305"/>
                  <a:gd name="connsiteX1174" fmla="*/ 1644907 w 2081801"/>
                  <a:gd name="connsiteY1174" fmla="*/ 645075 h 2563305"/>
                  <a:gd name="connsiteX1175" fmla="*/ 1578346 w 2081801"/>
                  <a:gd name="connsiteY1175" fmla="*/ 720133 h 2563305"/>
                  <a:gd name="connsiteX1176" fmla="*/ 1354587 w 2081801"/>
                  <a:gd name="connsiteY1176" fmla="*/ 745624 h 2563305"/>
                  <a:gd name="connsiteX1177" fmla="*/ 1402738 w 2081801"/>
                  <a:gd name="connsiteY1177" fmla="*/ 669150 h 2563305"/>
                  <a:gd name="connsiteX1178" fmla="*/ 1326264 w 2081801"/>
                  <a:gd name="connsiteY1178" fmla="*/ 677647 h 2563305"/>
                  <a:gd name="connsiteX1179" fmla="*/ 1299356 w 2081801"/>
                  <a:gd name="connsiteY1179" fmla="*/ 654988 h 2563305"/>
                  <a:gd name="connsiteX1180" fmla="*/ 1300772 w 2081801"/>
                  <a:gd name="connsiteY1180" fmla="*/ 601173 h 2563305"/>
                  <a:gd name="connsiteX1181" fmla="*/ 1348922 w 2081801"/>
                  <a:gd name="connsiteY1181" fmla="*/ 604005 h 2563305"/>
                  <a:gd name="connsiteX1182" fmla="*/ 1348922 w 2081801"/>
                  <a:gd name="connsiteY1182" fmla="*/ 604005 h 2563305"/>
                  <a:gd name="connsiteX1183" fmla="*/ 1392824 w 2081801"/>
                  <a:gd name="connsiteY1183" fmla="*/ 465219 h 2563305"/>
                  <a:gd name="connsiteX1184" fmla="*/ 1446640 w 2081801"/>
                  <a:gd name="connsiteY1184" fmla="*/ 476548 h 2563305"/>
                  <a:gd name="connsiteX1185" fmla="*/ 1432478 w 2081801"/>
                  <a:gd name="connsiteY1185" fmla="*/ 623832 h 2563305"/>
                  <a:gd name="connsiteX1186" fmla="*/ 1402738 w 2081801"/>
                  <a:gd name="connsiteY1186" fmla="*/ 669150 h 2563305"/>
                  <a:gd name="connsiteX1187" fmla="*/ 1348922 w 2081801"/>
                  <a:gd name="connsiteY1187" fmla="*/ 601173 h 2563305"/>
                  <a:gd name="connsiteX1188" fmla="*/ 1302188 w 2081801"/>
                  <a:gd name="connsiteY1188" fmla="*/ 598341 h 2563305"/>
                  <a:gd name="connsiteX1189" fmla="*/ 1303604 w 2081801"/>
                  <a:gd name="connsiteY1189" fmla="*/ 531780 h 2563305"/>
                  <a:gd name="connsiteX1190" fmla="*/ 1347507 w 2081801"/>
                  <a:gd name="connsiteY1190" fmla="*/ 511953 h 2563305"/>
                  <a:gd name="connsiteX1191" fmla="*/ 1347507 w 2081801"/>
                  <a:gd name="connsiteY1191" fmla="*/ 511953 h 2563305"/>
                  <a:gd name="connsiteX1192" fmla="*/ 1340426 w 2081801"/>
                  <a:gd name="connsiteY1192" fmla="*/ 452473 h 2563305"/>
                  <a:gd name="connsiteX1193" fmla="*/ 1392824 w 2081801"/>
                  <a:gd name="connsiteY1193" fmla="*/ 463803 h 2563305"/>
                  <a:gd name="connsiteX1194" fmla="*/ 1348922 w 2081801"/>
                  <a:gd name="connsiteY1194" fmla="*/ 601173 h 2563305"/>
                  <a:gd name="connsiteX1195" fmla="*/ 1300772 w 2081801"/>
                  <a:gd name="connsiteY1195" fmla="*/ 530363 h 2563305"/>
                  <a:gd name="connsiteX1196" fmla="*/ 1204471 w 2081801"/>
                  <a:gd name="connsiteY1196" fmla="*/ 574265 h 2563305"/>
                  <a:gd name="connsiteX1197" fmla="*/ 1159153 w 2081801"/>
                  <a:gd name="connsiteY1197" fmla="*/ 536028 h 2563305"/>
                  <a:gd name="connsiteX1198" fmla="*/ 1186060 w 2081801"/>
                  <a:gd name="connsiteY1198" fmla="*/ 418484 h 2563305"/>
                  <a:gd name="connsiteX1199" fmla="*/ 1303604 w 2081801"/>
                  <a:gd name="connsiteY1199" fmla="*/ 443976 h 2563305"/>
                  <a:gd name="connsiteX1200" fmla="*/ 1300772 w 2081801"/>
                  <a:gd name="connsiteY1200" fmla="*/ 530363 h 2563305"/>
                  <a:gd name="connsiteX1201" fmla="*/ 881579 w 2081801"/>
                  <a:gd name="connsiteY1201" fmla="*/ 350507 h 2563305"/>
                  <a:gd name="connsiteX1202" fmla="*/ 744209 w 2081801"/>
                  <a:gd name="connsiteY1202" fmla="*/ 320767 h 2563305"/>
                  <a:gd name="connsiteX1203" fmla="*/ 645075 w 2081801"/>
                  <a:gd name="connsiteY1203" fmla="*/ 225882 h 2563305"/>
                  <a:gd name="connsiteX1204" fmla="*/ 959470 w 2081801"/>
                  <a:gd name="connsiteY1204" fmla="*/ 262703 h 2563305"/>
                  <a:gd name="connsiteX1205" fmla="*/ 1017534 w 2081801"/>
                  <a:gd name="connsiteY1205" fmla="*/ 281114 h 2563305"/>
                  <a:gd name="connsiteX1206" fmla="*/ 881579 w 2081801"/>
                  <a:gd name="connsiteY1206" fmla="*/ 350507 h 2563305"/>
                  <a:gd name="connsiteX1207" fmla="*/ 773949 w 2081801"/>
                  <a:gd name="connsiteY1207" fmla="*/ 201807 h 2563305"/>
                  <a:gd name="connsiteX1208" fmla="*/ 623833 w 2081801"/>
                  <a:gd name="connsiteY1208" fmla="*/ 203223 h 2563305"/>
                  <a:gd name="connsiteX1209" fmla="*/ 604006 w 2081801"/>
                  <a:gd name="connsiteY1209" fmla="*/ 183397 h 2563305"/>
                  <a:gd name="connsiteX1210" fmla="*/ 639411 w 2081801"/>
                  <a:gd name="connsiteY1210" fmla="*/ 157905 h 2563305"/>
                  <a:gd name="connsiteX1211" fmla="*/ 773949 w 2081801"/>
                  <a:gd name="connsiteY1211" fmla="*/ 201807 h 2563305"/>
                  <a:gd name="connsiteX1212" fmla="*/ 622416 w 2081801"/>
                  <a:gd name="connsiteY1212" fmla="*/ 206056 h 2563305"/>
                  <a:gd name="connsiteX1213" fmla="*/ 639411 w 2081801"/>
                  <a:gd name="connsiteY1213" fmla="*/ 223050 h 2563305"/>
                  <a:gd name="connsiteX1214" fmla="*/ 564352 w 2081801"/>
                  <a:gd name="connsiteY1214" fmla="*/ 214553 h 2563305"/>
                  <a:gd name="connsiteX1215" fmla="*/ 574266 w 2081801"/>
                  <a:gd name="connsiteY1215" fmla="*/ 207472 h 2563305"/>
                  <a:gd name="connsiteX1216" fmla="*/ 622416 w 2081801"/>
                  <a:gd name="connsiteY1216" fmla="*/ 206056 h 2563305"/>
                  <a:gd name="connsiteX1217" fmla="*/ 449641 w 2081801"/>
                  <a:gd name="connsiteY1217" fmla="*/ 533196 h 2563305"/>
                  <a:gd name="connsiteX1218" fmla="*/ 507705 w 2081801"/>
                  <a:gd name="connsiteY1218" fmla="*/ 659237 h 2563305"/>
                  <a:gd name="connsiteX1219" fmla="*/ 490711 w 2081801"/>
                  <a:gd name="connsiteY1219" fmla="*/ 664902 h 2563305"/>
                  <a:gd name="connsiteX1220" fmla="*/ 490711 w 2081801"/>
                  <a:gd name="connsiteY1220" fmla="*/ 664902 h 2563305"/>
                  <a:gd name="connsiteX1221" fmla="*/ 514786 w 2081801"/>
                  <a:gd name="connsiteY1221" fmla="*/ 697474 h 2563305"/>
                  <a:gd name="connsiteX1222" fmla="*/ 313687 w 2081801"/>
                  <a:gd name="connsiteY1222" fmla="*/ 652156 h 2563305"/>
                  <a:gd name="connsiteX1223" fmla="*/ 383080 w 2081801"/>
                  <a:gd name="connsiteY1223" fmla="*/ 507704 h 2563305"/>
                  <a:gd name="connsiteX1224" fmla="*/ 449641 w 2081801"/>
                  <a:gd name="connsiteY1224" fmla="*/ 533196 h 2563305"/>
                  <a:gd name="connsiteX1225" fmla="*/ 448225 w 2081801"/>
                  <a:gd name="connsiteY1225" fmla="*/ 885827 h 2563305"/>
                  <a:gd name="connsiteX1226" fmla="*/ 308022 w 2081801"/>
                  <a:gd name="connsiteY1226" fmla="*/ 663485 h 2563305"/>
                  <a:gd name="connsiteX1227" fmla="*/ 312270 w 2081801"/>
                  <a:gd name="connsiteY1227" fmla="*/ 653572 h 2563305"/>
                  <a:gd name="connsiteX1228" fmla="*/ 516202 w 2081801"/>
                  <a:gd name="connsiteY1228" fmla="*/ 698890 h 2563305"/>
                  <a:gd name="connsiteX1229" fmla="*/ 540277 w 2081801"/>
                  <a:gd name="connsiteY1229" fmla="*/ 731462 h 2563305"/>
                  <a:gd name="connsiteX1230" fmla="*/ 599757 w 2081801"/>
                  <a:gd name="connsiteY1230" fmla="*/ 860336 h 2563305"/>
                  <a:gd name="connsiteX1231" fmla="*/ 448225 w 2081801"/>
                  <a:gd name="connsiteY1231" fmla="*/ 885827 h 2563305"/>
                  <a:gd name="connsiteX1232" fmla="*/ 221634 w 2081801"/>
                  <a:gd name="connsiteY1232" fmla="*/ 841925 h 2563305"/>
                  <a:gd name="connsiteX1233" fmla="*/ 248542 w 2081801"/>
                  <a:gd name="connsiteY1233" fmla="*/ 785278 h 2563305"/>
                  <a:gd name="connsiteX1234" fmla="*/ 428398 w 2081801"/>
                  <a:gd name="connsiteY1234" fmla="*/ 911319 h 2563305"/>
                  <a:gd name="connsiteX1235" fmla="*/ 221634 w 2081801"/>
                  <a:gd name="connsiteY1235" fmla="*/ 841925 h 2563305"/>
                  <a:gd name="connsiteX1236" fmla="*/ 248542 w 2081801"/>
                  <a:gd name="connsiteY1236" fmla="*/ 782445 h 2563305"/>
                  <a:gd name="connsiteX1237" fmla="*/ 213137 w 2081801"/>
                  <a:gd name="connsiteY1237" fmla="*/ 756954 h 2563305"/>
                  <a:gd name="connsiteX1238" fmla="*/ 176316 w 2081801"/>
                  <a:gd name="connsiteY1238" fmla="*/ 693225 h 2563305"/>
                  <a:gd name="connsiteX1239" fmla="*/ 227299 w 2081801"/>
                  <a:gd name="connsiteY1239" fmla="*/ 633745 h 2563305"/>
                  <a:gd name="connsiteX1240" fmla="*/ 298109 w 2081801"/>
                  <a:gd name="connsiteY1240" fmla="*/ 649323 h 2563305"/>
                  <a:gd name="connsiteX1241" fmla="*/ 306606 w 2081801"/>
                  <a:gd name="connsiteY1241" fmla="*/ 662069 h 2563305"/>
                  <a:gd name="connsiteX1242" fmla="*/ 248542 w 2081801"/>
                  <a:gd name="connsiteY1242" fmla="*/ 782445 h 2563305"/>
                  <a:gd name="connsiteX1243" fmla="*/ 190478 w 2081801"/>
                  <a:gd name="connsiteY1243" fmla="*/ 479380 h 2563305"/>
                  <a:gd name="connsiteX1244" fmla="*/ 166402 w 2081801"/>
                  <a:gd name="connsiteY1244" fmla="*/ 618167 h 2563305"/>
                  <a:gd name="connsiteX1245" fmla="*/ 129582 w 2081801"/>
                  <a:gd name="connsiteY1245" fmla="*/ 609670 h 2563305"/>
                  <a:gd name="connsiteX1246" fmla="*/ 159322 w 2081801"/>
                  <a:gd name="connsiteY1246" fmla="*/ 514785 h 2563305"/>
                  <a:gd name="connsiteX1247" fmla="*/ 184813 w 2081801"/>
                  <a:gd name="connsiteY1247" fmla="*/ 469467 h 2563305"/>
                  <a:gd name="connsiteX1248" fmla="*/ 190478 w 2081801"/>
                  <a:gd name="connsiteY1248" fmla="*/ 479380 h 2563305"/>
                  <a:gd name="connsiteX1249" fmla="*/ 132414 w 2081801"/>
                  <a:gd name="connsiteY1249" fmla="*/ 815018 h 2563305"/>
                  <a:gd name="connsiteX1250" fmla="*/ 218802 w 2081801"/>
                  <a:gd name="connsiteY1250" fmla="*/ 843341 h 2563305"/>
                  <a:gd name="connsiteX1251" fmla="*/ 163570 w 2081801"/>
                  <a:gd name="connsiteY1251" fmla="*/ 958053 h 2563305"/>
                  <a:gd name="connsiteX1252" fmla="*/ 163570 w 2081801"/>
                  <a:gd name="connsiteY1252" fmla="*/ 958053 h 2563305"/>
                  <a:gd name="connsiteX1253" fmla="*/ 459554 w 2081801"/>
                  <a:gd name="connsiteY1253" fmla="*/ 931145 h 2563305"/>
                  <a:gd name="connsiteX1254" fmla="*/ 690393 w 2081801"/>
                  <a:gd name="connsiteY1254" fmla="*/ 1092591 h 2563305"/>
                  <a:gd name="connsiteX1255" fmla="*/ 705972 w 2081801"/>
                  <a:gd name="connsiteY1255" fmla="*/ 1094007 h 2563305"/>
                  <a:gd name="connsiteX1256" fmla="*/ 742793 w 2081801"/>
                  <a:gd name="connsiteY1256" fmla="*/ 1176146 h 2563305"/>
                  <a:gd name="connsiteX1257" fmla="*/ 564352 w 2081801"/>
                  <a:gd name="connsiteY1257" fmla="*/ 1133661 h 2563305"/>
                  <a:gd name="connsiteX1258" fmla="*/ 452473 w 2081801"/>
                  <a:gd name="connsiteY1258" fmla="*/ 1010452 h 2563305"/>
                  <a:gd name="connsiteX1259" fmla="*/ 452473 w 2081801"/>
                  <a:gd name="connsiteY1259" fmla="*/ 1010452 h 2563305"/>
                  <a:gd name="connsiteX1260" fmla="*/ 418485 w 2081801"/>
                  <a:gd name="connsiteY1260" fmla="*/ 1098256 h 2563305"/>
                  <a:gd name="connsiteX1261" fmla="*/ 320768 w 2081801"/>
                  <a:gd name="connsiteY1261" fmla="*/ 1075597 h 2563305"/>
                  <a:gd name="connsiteX1262" fmla="*/ 320768 w 2081801"/>
                  <a:gd name="connsiteY1262" fmla="*/ 1075597 h 2563305"/>
                  <a:gd name="connsiteX1263" fmla="*/ 300941 w 2081801"/>
                  <a:gd name="connsiteY1263" fmla="*/ 1149239 h 2563305"/>
                  <a:gd name="connsiteX1264" fmla="*/ 95593 w 2081801"/>
                  <a:gd name="connsiteY1264" fmla="*/ 1086927 h 2563305"/>
                  <a:gd name="connsiteX1265" fmla="*/ 84264 w 2081801"/>
                  <a:gd name="connsiteY1265" fmla="*/ 1074181 h 2563305"/>
                  <a:gd name="connsiteX1266" fmla="*/ 132414 w 2081801"/>
                  <a:gd name="connsiteY1266" fmla="*/ 815018 h 2563305"/>
                  <a:gd name="connsiteX1267" fmla="*/ 747041 w 2081801"/>
                  <a:gd name="connsiteY1267" fmla="*/ 1178979 h 2563305"/>
                  <a:gd name="connsiteX1268" fmla="*/ 747041 w 2081801"/>
                  <a:gd name="connsiteY1268" fmla="*/ 1178979 h 2563305"/>
                  <a:gd name="connsiteX1269" fmla="*/ 708804 w 2081801"/>
                  <a:gd name="connsiteY1269" fmla="*/ 1094007 h 2563305"/>
                  <a:gd name="connsiteX1270" fmla="*/ 943892 w 2081801"/>
                  <a:gd name="connsiteY1270" fmla="*/ 1109585 h 2563305"/>
                  <a:gd name="connsiteX1271" fmla="*/ 943892 w 2081801"/>
                  <a:gd name="connsiteY1271" fmla="*/ 1188892 h 2563305"/>
                  <a:gd name="connsiteX1272" fmla="*/ 833429 w 2081801"/>
                  <a:gd name="connsiteY1272" fmla="*/ 1186060 h 2563305"/>
                  <a:gd name="connsiteX1273" fmla="*/ 833429 w 2081801"/>
                  <a:gd name="connsiteY1273" fmla="*/ 1186060 h 2563305"/>
                  <a:gd name="connsiteX1274" fmla="*/ 943892 w 2081801"/>
                  <a:gd name="connsiteY1274" fmla="*/ 1320598 h 2563305"/>
                  <a:gd name="connsiteX1275" fmla="*/ 943892 w 2081801"/>
                  <a:gd name="connsiteY1275" fmla="*/ 1327679 h 2563305"/>
                  <a:gd name="connsiteX1276" fmla="*/ 673399 w 2081801"/>
                  <a:gd name="connsiteY1276" fmla="*/ 1248372 h 2563305"/>
                  <a:gd name="connsiteX1277" fmla="*/ 570017 w 2081801"/>
                  <a:gd name="connsiteY1277" fmla="*/ 1135077 h 2563305"/>
                  <a:gd name="connsiteX1278" fmla="*/ 747041 w 2081801"/>
                  <a:gd name="connsiteY1278" fmla="*/ 1178979 h 2563305"/>
                  <a:gd name="connsiteX1279" fmla="*/ 837678 w 2081801"/>
                  <a:gd name="connsiteY1279" fmla="*/ 1190308 h 2563305"/>
                  <a:gd name="connsiteX1280" fmla="*/ 943892 w 2081801"/>
                  <a:gd name="connsiteY1280" fmla="*/ 1193141 h 2563305"/>
                  <a:gd name="connsiteX1281" fmla="*/ 943892 w 2081801"/>
                  <a:gd name="connsiteY1281" fmla="*/ 1319182 h 2563305"/>
                  <a:gd name="connsiteX1282" fmla="*/ 837678 w 2081801"/>
                  <a:gd name="connsiteY1282" fmla="*/ 1190308 h 2563305"/>
                  <a:gd name="connsiteX1283" fmla="*/ 953805 w 2081801"/>
                  <a:gd name="connsiteY1283" fmla="*/ 1334760 h 2563305"/>
                  <a:gd name="connsiteX1284" fmla="*/ 956638 w 2081801"/>
                  <a:gd name="connsiteY1284" fmla="*/ 1339008 h 2563305"/>
                  <a:gd name="connsiteX1285" fmla="*/ 945308 w 2081801"/>
                  <a:gd name="connsiteY1285" fmla="*/ 1356003 h 2563305"/>
                  <a:gd name="connsiteX1286" fmla="*/ 945308 w 2081801"/>
                  <a:gd name="connsiteY1286" fmla="*/ 1331927 h 2563305"/>
                  <a:gd name="connsiteX1287" fmla="*/ 953805 w 2081801"/>
                  <a:gd name="connsiteY1287" fmla="*/ 1334760 h 2563305"/>
                  <a:gd name="connsiteX1288" fmla="*/ 1009036 w 2081801"/>
                  <a:gd name="connsiteY1288" fmla="*/ 1395656 h 2563305"/>
                  <a:gd name="connsiteX1289" fmla="*/ 1161985 w 2081801"/>
                  <a:gd name="connsiteY1289" fmla="*/ 1415483 h 2563305"/>
                  <a:gd name="connsiteX1290" fmla="*/ 1181812 w 2081801"/>
                  <a:gd name="connsiteY1290" fmla="*/ 1470714 h 2563305"/>
                  <a:gd name="connsiteX1291" fmla="*/ 1111002 w 2081801"/>
                  <a:gd name="connsiteY1291" fmla="*/ 1548605 h 2563305"/>
                  <a:gd name="connsiteX1292" fmla="*/ 926897 w 2081801"/>
                  <a:gd name="connsiteY1292" fmla="*/ 1523113 h 2563305"/>
                  <a:gd name="connsiteX1293" fmla="*/ 958054 w 2081801"/>
                  <a:gd name="connsiteY1293" fmla="*/ 1435310 h 2563305"/>
                  <a:gd name="connsiteX1294" fmla="*/ 1009036 w 2081801"/>
                  <a:gd name="connsiteY1294" fmla="*/ 1395656 h 2563305"/>
                  <a:gd name="connsiteX1295" fmla="*/ 926897 w 2081801"/>
                  <a:gd name="connsiteY1295" fmla="*/ 1525946 h 2563305"/>
                  <a:gd name="connsiteX1296" fmla="*/ 1109586 w 2081801"/>
                  <a:gd name="connsiteY1296" fmla="*/ 1551437 h 2563305"/>
                  <a:gd name="connsiteX1297" fmla="*/ 994874 w 2081801"/>
                  <a:gd name="connsiteY1297" fmla="*/ 1678894 h 2563305"/>
                  <a:gd name="connsiteX1298" fmla="*/ 994874 w 2081801"/>
                  <a:gd name="connsiteY1298" fmla="*/ 1678894 h 2563305"/>
                  <a:gd name="connsiteX1299" fmla="*/ 1038776 w 2081801"/>
                  <a:gd name="connsiteY1299" fmla="*/ 1676062 h 2563305"/>
                  <a:gd name="connsiteX1300" fmla="*/ 973632 w 2081801"/>
                  <a:gd name="connsiteY1300" fmla="*/ 1701553 h 2563305"/>
                  <a:gd name="connsiteX1301" fmla="*/ 973632 w 2081801"/>
                  <a:gd name="connsiteY1301" fmla="*/ 1701553 h 2563305"/>
                  <a:gd name="connsiteX1302" fmla="*/ 979297 w 2081801"/>
                  <a:gd name="connsiteY1302" fmla="*/ 1751120 h 2563305"/>
                  <a:gd name="connsiteX1303" fmla="*/ 857504 w 2081801"/>
                  <a:gd name="connsiteY1303" fmla="*/ 1731293 h 2563305"/>
                  <a:gd name="connsiteX1304" fmla="*/ 926897 w 2081801"/>
                  <a:gd name="connsiteY1304" fmla="*/ 1525946 h 2563305"/>
                  <a:gd name="connsiteX1305" fmla="*/ 1483461 w 2081801"/>
                  <a:gd name="connsiteY1305" fmla="*/ 1898404 h 2563305"/>
                  <a:gd name="connsiteX1306" fmla="*/ 1283778 w 2081801"/>
                  <a:gd name="connsiteY1306" fmla="*/ 1912566 h 2563305"/>
                  <a:gd name="connsiteX1307" fmla="*/ 1320599 w 2081801"/>
                  <a:gd name="connsiteY1307" fmla="*/ 1853086 h 2563305"/>
                  <a:gd name="connsiteX1308" fmla="*/ 1333345 w 2081801"/>
                  <a:gd name="connsiteY1308" fmla="*/ 1887074 h 2563305"/>
                  <a:gd name="connsiteX1309" fmla="*/ 1333345 w 2081801"/>
                  <a:gd name="connsiteY1309" fmla="*/ 1887074 h 2563305"/>
                  <a:gd name="connsiteX1310" fmla="*/ 1472131 w 2081801"/>
                  <a:gd name="connsiteY1310" fmla="*/ 1804935 h 2563305"/>
                  <a:gd name="connsiteX1311" fmla="*/ 1496207 w 2081801"/>
                  <a:gd name="connsiteY1311" fmla="*/ 1888491 h 2563305"/>
                  <a:gd name="connsiteX1312" fmla="*/ 1483461 w 2081801"/>
                  <a:gd name="connsiteY1312" fmla="*/ 1898404 h 2563305"/>
                  <a:gd name="connsiteX1313" fmla="*/ 1443807 w 2081801"/>
                  <a:gd name="connsiteY1313" fmla="*/ 1697305 h 2563305"/>
                  <a:gd name="connsiteX1314" fmla="*/ 1435310 w 2081801"/>
                  <a:gd name="connsiteY1314" fmla="*/ 1666148 h 2563305"/>
                  <a:gd name="connsiteX1315" fmla="*/ 1435310 w 2081801"/>
                  <a:gd name="connsiteY1315" fmla="*/ 1666148 h 2563305"/>
                  <a:gd name="connsiteX1316" fmla="*/ 1399905 w 2081801"/>
                  <a:gd name="connsiteY1316" fmla="*/ 1724212 h 2563305"/>
                  <a:gd name="connsiteX1317" fmla="*/ 1392824 w 2081801"/>
                  <a:gd name="connsiteY1317" fmla="*/ 1728461 h 2563305"/>
                  <a:gd name="connsiteX1318" fmla="*/ 1283778 w 2081801"/>
                  <a:gd name="connsiteY1318" fmla="*/ 1742623 h 2563305"/>
                  <a:gd name="connsiteX1319" fmla="*/ 1254038 w 2081801"/>
                  <a:gd name="connsiteY1319" fmla="*/ 1661900 h 2563305"/>
                  <a:gd name="connsiteX1320" fmla="*/ 1278113 w 2081801"/>
                  <a:gd name="connsiteY1320" fmla="*/ 1660484 h 2563305"/>
                  <a:gd name="connsiteX1321" fmla="*/ 1278113 w 2081801"/>
                  <a:gd name="connsiteY1321" fmla="*/ 1660484 h 2563305"/>
                  <a:gd name="connsiteX1322" fmla="*/ 1351755 w 2081801"/>
                  <a:gd name="connsiteY1322" fmla="*/ 1584010 h 2563305"/>
                  <a:gd name="connsiteX1323" fmla="*/ 1387160 w 2081801"/>
                  <a:gd name="connsiteY1323" fmla="*/ 1588258 h 2563305"/>
                  <a:gd name="connsiteX1324" fmla="*/ 1387160 w 2081801"/>
                  <a:gd name="connsiteY1324" fmla="*/ 1588258 h 2563305"/>
                  <a:gd name="connsiteX1325" fmla="*/ 1482045 w 2081801"/>
                  <a:gd name="connsiteY1325" fmla="*/ 1508951 h 2563305"/>
                  <a:gd name="connsiteX1326" fmla="*/ 1514617 w 2081801"/>
                  <a:gd name="connsiteY1326" fmla="*/ 1496206 h 2563305"/>
                  <a:gd name="connsiteX1327" fmla="*/ 1643490 w 2081801"/>
                  <a:gd name="connsiteY1327" fmla="*/ 1533027 h 2563305"/>
                  <a:gd name="connsiteX1328" fmla="*/ 1637826 w 2081801"/>
                  <a:gd name="connsiteY1328" fmla="*/ 1586842 h 2563305"/>
                  <a:gd name="connsiteX1329" fmla="*/ 1443807 w 2081801"/>
                  <a:gd name="connsiteY1329" fmla="*/ 1697305 h 2563305"/>
                  <a:gd name="connsiteX1330" fmla="*/ 1755369 w 2081801"/>
                  <a:gd name="connsiteY1330" fmla="*/ 1276696 h 2563305"/>
                  <a:gd name="connsiteX1331" fmla="*/ 1661901 w 2081801"/>
                  <a:gd name="connsiteY1331" fmla="*/ 1354586 h 2563305"/>
                  <a:gd name="connsiteX1332" fmla="*/ 1663317 w 2081801"/>
                  <a:gd name="connsiteY1332" fmla="*/ 1341841 h 2563305"/>
                  <a:gd name="connsiteX1333" fmla="*/ 1755369 w 2081801"/>
                  <a:gd name="connsiteY1333" fmla="*/ 1276696 h 2563305"/>
                  <a:gd name="connsiteX1334" fmla="*/ 970799 w 2081801"/>
                  <a:gd name="connsiteY1334" fmla="*/ 264120 h 2563305"/>
                  <a:gd name="connsiteX1335" fmla="*/ 1038776 w 2081801"/>
                  <a:gd name="connsiteY1335" fmla="*/ 272617 h 2563305"/>
                  <a:gd name="connsiteX1336" fmla="*/ 1021782 w 2081801"/>
                  <a:gd name="connsiteY1336" fmla="*/ 281114 h 2563305"/>
                  <a:gd name="connsiteX1337" fmla="*/ 970799 w 2081801"/>
                  <a:gd name="connsiteY1337" fmla="*/ 264120 h 2563305"/>
                  <a:gd name="connsiteX1338" fmla="*/ 833429 w 2081801"/>
                  <a:gd name="connsiteY1338" fmla="*/ 10621 h 2563305"/>
                  <a:gd name="connsiteX1339" fmla="*/ 657821 w 2081801"/>
                  <a:gd name="connsiteY1339" fmla="*/ 142327 h 2563305"/>
                  <a:gd name="connsiteX1340" fmla="*/ 417069 w 2081801"/>
                  <a:gd name="connsiteY1340" fmla="*/ 88512 h 2563305"/>
                  <a:gd name="connsiteX1341" fmla="*/ 833429 w 2081801"/>
                  <a:gd name="connsiteY1341" fmla="*/ 10621 h 2563305"/>
                  <a:gd name="connsiteX1342" fmla="*/ 577098 w 2081801"/>
                  <a:gd name="connsiteY1342" fmla="*/ 204640 h 2563305"/>
                  <a:gd name="connsiteX1343" fmla="*/ 602590 w 2081801"/>
                  <a:gd name="connsiteY1343" fmla="*/ 186229 h 2563305"/>
                  <a:gd name="connsiteX1344" fmla="*/ 621000 w 2081801"/>
                  <a:gd name="connsiteY1344" fmla="*/ 204640 h 2563305"/>
                  <a:gd name="connsiteX1345" fmla="*/ 577098 w 2081801"/>
                  <a:gd name="connsiteY1345" fmla="*/ 204640 h 2563305"/>
                  <a:gd name="connsiteX1346" fmla="*/ 636578 w 2081801"/>
                  <a:gd name="connsiteY1346" fmla="*/ 157905 h 2563305"/>
                  <a:gd name="connsiteX1347" fmla="*/ 602590 w 2081801"/>
                  <a:gd name="connsiteY1347" fmla="*/ 183397 h 2563305"/>
                  <a:gd name="connsiteX1348" fmla="*/ 545942 w 2081801"/>
                  <a:gd name="connsiteY1348" fmla="*/ 129581 h 2563305"/>
                  <a:gd name="connsiteX1349" fmla="*/ 636578 w 2081801"/>
                  <a:gd name="connsiteY1349" fmla="*/ 157905 h 2563305"/>
                  <a:gd name="connsiteX1350" fmla="*/ 511954 w 2081801"/>
                  <a:gd name="connsiteY1350" fmla="*/ 207472 h 2563305"/>
                  <a:gd name="connsiteX1351" fmla="*/ 571433 w 2081801"/>
                  <a:gd name="connsiteY1351" fmla="*/ 206056 h 2563305"/>
                  <a:gd name="connsiteX1352" fmla="*/ 562936 w 2081801"/>
                  <a:gd name="connsiteY1352" fmla="*/ 213137 h 2563305"/>
                  <a:gd name="connsiteX1353" fmla="*/ 511954 w 2081801"/>
                  <a:gd name="connsiteY1353" fmla="*/ 207472 h 2563305"/>
                  <a:gd name="connsiteX1354" fmla="*/ 494959 w 2081801"/>
                  <a:gd name="connsiteY1354" fmla="*/ 207472 h 2563305"/>
                  <a:gd name="connsiteX1355" fmla="*/ 558688 w 2081801"/>
                  <a:gd name="connsiteY1355" fmla="*/ 214553 h 2563305"/>
                  <a:gd name="connsiteX1356" fmla="*/ 490711 w 2081801"/>
                  <a:gd name="connsiteY1356" fmla="*/ 265536 h 2563305"/>
                  <a:gd name="connsiteX1357" fmla="*/ 359005 w 2081801"/>
                  <a:gd name="connsiteY1357" fmla="*/ 237212 h 2563305"/>
                  <a:gd name="connsiteX1358" fmla="*/ 323600 w 2081801"/>
                  <a:gd name="connsiteY1358" fmla="*/ 210304 h 2563305"/>
                  <a:gd name="connsiteX1359" fmla="*/ 494959 w 2081801"/>
                  <a:gd name="connsiteY1359" fmla="*/ 207472 h 2563305"/>
                  <a:gd name="connsiteX1360" fmla="*/ 479381 w 2081801"/>
                  <a:gd name="connsiteY1360" fmla="*/ 206056 h 2563305"/>
                  <a:gd name="connsiteX1361" fmla="*/ 320768 w 2081801"/>
                  <a:gd name="connsiteY1361" fmla="*/ 207472 h 2563305"/>
                  <a:gd name="connsiteX1362" fmla="*/ 288195 w 2081801"/>
                  <a:gd name="connsiteY1362" fmla="*/ 183397 h 2563305"/>
                  <a:gd name="connsiteX1363" fmla="*/ 479381 w 2081801"/>
                  <a:gd name="connsiteY1363" fmla="*/ 206056 h 2563305"/>
                  <a:gd name="connsiteX1364" fmla="*/ 320768 w 2081801"/>
                  <a:gd name="connsiteY1364" fmla="*/ 210304 h 2563305"/>
                  <a:gd name="connsiteX1365" fmla="*/ 354756 w 2081801"/>
                  <a:gd name="connsiteY1365" fmla="*/ 237212 h 2563305"/>
                  <a:gd name="connsiteX1366" fmla="*/ 238628 w 2081801"/>
                  <a:gd name="connsiteY1366" fmla="*/ 211720 h 2563305"/>
                  <a:gd name="connsiteX1367" fmla="*/ 320768 w 2081801"/>
                  <a:gd name="connsiteY1367" fmla="*/ 210304 h 2563305"/>
                  <a:gd name="connsiteX1368" fmla="*/ 300941 w 2081801"/>
                  <a:gd name="connsiteY1368" fmla="*/ 650740 h 2563305"/>
                  <a:gd name="connsiteX1369" fmla="*/ 310854 w 2081801"/>
                  <a:gd name="connsiteY1369" fmla="*/ 653572 h 2563305"/>
                  <a:gd name="connsiteX1370" fmla="*/ 306606 w 2081801"/>
                  <a:gd name="connsiteY1370" fmla="*/ 662069 h 2563305"/>
                  <a:gd name="connsiteX1371" fmla="*/ 300941 w 2081801"/>
                  <a:gd name="connsiteY1371" fmla="*/ 650740 h 2563305"/>
                  <a:gd name="connsiteX1372" fmla="*/ 228715 w 2081801"/>
                  <a:gd name="connsiteY1372" fmla="*/ 632329 h 2563305"/>
                  <a:gd name="connsiteX1373" fmla="*/ 262704 w 2081801"/>
                  <a:gd name="connsiteY1373" fmla="*/ 592676 h 2563305"/>
                  <a:gd name="connsiteX1374" fmla="*/ 296692 w 2081801"/>
                  <a:gd name="connsiteY1374" fmla="*/ 646491 h 2563305"/>
                  <a:gd name="connsiteX1375" fmla="*/ 228715 w 2081801"/>
                  <a:gd name="connsiteY1375" fmla="*/ 632329 h 2563305"/>
                  <a:gd name="connsiteX1376" fmla="*/ 262704 w 2081801"/>
                  <a:gd name="connsiteY1376" fmla="*/ 589843 h 2563305"/>
                  <a:gd name="connsiteX1377" fmla="*/ 255623 w 2081801"/>
                  <a:gd name="connsiteY1377" fmla="*/ 578514 h 2563305"/>
                  <a:gd name="connsiteX1378" fmla="*/ 289611 w 2081801"/>
                  <a:gd name="connsiteY1378" fmla="*/ 558687 h 2563305"/>
                  <a:gd name="connsiteX1379" fmla="*/ 262704 w 2081801"/>
                  <a:gd name="connsiteY1379" fmla="*/ 589843 h 2563305"/>
                  <a:gd name="connsiteX1380" fmla="*/ 162154 w 2081801"/>
                  <a:gd name="connsiteY1380" fmla="*/ 506288 h 2563305"/>
                  <a:gd name="connsiteX1381" fmla="*/ 218802 w 2081801"/>
                  <a:gd name="connsiteY1381" fmla="*/ 320767 h 2563305"/>
                  <a:gd name="connsiteX1382" fmla="*/ 190478 w 2081801"/>
                  <a:gd name="connsiteY1382" fmla="*/ 477964 h 2563305"/>
                  <a:gd name="connsiteX1383" fmla="*/ 183397 w 2081801"/>
                  <a:gd name="connsiteY1383" fmla="*/ 466635 h 2563305"/>
                  <a:gd name="connsiteX1384" fmla="*/ 183397 w 2081801"/>
                  <a:gd name="connsiteY1384" fmla="*/ 466635 h 2563305"/>
                  <a:gd name="connsiteX1385" fmla="*/ 162154 w 2081801"/>
                  <a:gd name="connsiteY1385" fmla="*/ 506288 h 2563305"/>
                  <a:gd name="connsiteX1386" fmla="*/ 116836 w 2081801"/>
                  <a:gd name="connsiteY1386" fmla="*/ 589843 h 2563305"/>
                  <a:gd name="connsiteX1387" fmla="*/ 153657 w 2081801"/>
                  <a:gd name="connsiteY1387" fmla="*/ 523282 h 2563305"/>
                  <a:gd name="connsiteX1388" fmla="*/ 128166 w 2081801"/>
                  <a:gd name="connsiteY1388" fmla="*/ 608254 h 2563305"/>
                  <a:gd name="connsiteX1389" fmla="*/ 116836 w 2081801"/>
                  <a:gd name="connsiteY1389" fmla="*/ 589843 h 2563305"/>
                  <a:gd name="connsiteX1390" fmla="*/ 914152 w 2081801"/>
                  <a:gd name="connsiteY1390" fmla="*/ 1521697 h 2563305"/>
                  <a:gd name="connsiteX1391" fmla="*/ 853255 w 2081801"/>
                  <a:gd name="connsiteY1391" fmla="*/ 1518865 h 2563305"/>
                  <a:gd name="connsiteX1392" fmla="*/ 956638 w 2081801"/>
                  <a:gd name="connsiteY1392" fmla="*/ 1438142 h 2563305"/>
                  <a:gd name="connsiteX1393" fmla="*/ 926897 w 2081801"/>
                  <a:gd name="connsiteY1393" fmla="*/ 1523113 h 2563305"/>
                  <a:gd name="connsiteX1394" fmla="*/ 914152 w 2081801"/>
                  <a:gd name="connsiteY1394" fmla="*/ 1521697 h 2563305"/>
                  <a:gd name="connsiteX1395" fmla="*/ 1003372 w 2081801"/>
                  <a:gd name="connsiteY1395" fmla="*/ 1755368 h 2563305"/>
                  <a:gd name="connsiteX1396" fmla="*/ 1000540 w 2081801"/>
                  <a:gd name="connsiteY1396" fmla="*/ 1761033 h 2563305"/>
                  <a:gd name="connsiteX1397" fmla="*/ 984961 w 2081801"/>
                  <a:gd name="connsiteY1397" fmla="*/ 1789357 h 2563305"/>
                  <a:gd name="connsiteX1398" fmla="*/ 980713 w 2081801"/>
                  <a:gd name="connsiteY1398" fmla="*/ 1751120 h 2563305"/>
                  <a:gd name="connsiteX1399" fmla="*/ 1003372 w 2081801"/>
                  <a:gd name="connsiteY1399" fmla="*/ 1755368 h 2563305"/>
                  <a:gd name="connsiteX1400" fmla="*/ 983545 w 2081801"/>
                  <a:gd name="connsiteY1400" fmla="*/ 1796438 h 2563305"/>
                  <a:gd name="connsiteX1401" fmla="*/ 1010453 w 2081801"/>
                  <a:gd name="connsiteY1401" fmla="*/ 2031526 h 2563305"/>
                  <a:gd name="connsiteX1402" fmla="*/ 932562 w 2081801"/>
                  <a:gd name="connsiteY1402" fmla="*/ 1887074 h 2563305"/>
                  <a:gd name="connsiteX1403" fmla="*/ 983545 w 2081801"/>
                  <a:gd name="connsiteY1403" fmla="*/ 1796438 h 2563305"/>
                  <a:gd name="connsiteX1404" fmla="*/ 1299356 w 2081801"/>
                  <a:gd name="connsiteY1404" fmla="*/ 2289272 h 2563305"/>
                  <a:gd name="connsiteX1405" fmla="*/ 1489126 w 2081801"/>
                  <a:gd name="connsiteY1405" fmla="*/ 2153318 h 2563305"/>
                  <a:gd name="connsiteX1406" fmla="*/ 1432478 w 2081801"/>
                  <a:gd name="connsiteY1406" fmla="*/ 2265197 h 2563305"/>
                  <a:gd name="connsiteX1407" fmla="*/ 1299356 w 2081801"/>
                  <a:gd name="connsiteY1407" fmla="*/ 2289272 h 2563305"/>
                  <a:gd name="connsiteX1408" fmla="*/ 1520282 w 2081801"/>
                  <a:gd name="connsiteY1408" fmla="*/ 2252451 h 2563305"/>
                  <a:gd name="connsiteX1409" fmla="*/ 1418316 w 2081801"/>
                  <a:gd name="connsiteY1409" fmla="*/ 2297770 h 2563305"/>
                  <a:gd name="connsiteX1410" fmla="*/ 1433894 w 2081801"/>
                  <a:gd name="connsiteY1410" fmla="*/ 2266613 h 2563305"/>
                  <a:gd name="connsiteX1411" fmla="*/ 1520282 w 2081801"/>
                  <a:gd name="connsiteY1411" fmla="*/ 2252451 h 2563305"/>
                  <a:gd name="connsiteX1412" fmla="*/ 1593924 w 2081801"/>
                  <a:gd name="connsiteY1412" fmla="*/ 2075428 h 2563305"/>
                  <a:gd name="connsiteX1413" fmla="*/ 1494790 w 2081801"/>
                  <a:gd name="connsiteY1413" fmla="*/ 2146237 h 2563305"/>
                  <a:gd name="connsiteX1414" fmla="*/ 1541524 w 2081801"/>
                  <a:gd name="connsiteY1414" fmla="*/ 2052768 h 2563305"/>
                  <a:gd name="connsiteX1415" fmla="*/ 1593924 w 2081801"/>
                  <a:gd name="connsiteY1415" fmla="*/ 2075428 h 2563305"/>
                  <a:gd name="connsiteX1416" fmla="*/ 1650571 w 2081801"/>
                  <a:gd name="connsiteY1416" fmla="*/ 1443806 h 2563305"/>
                  <a:gd name="connsiteX1417" fmla="*/ 1642074 w 2081801"/>
                  <a:gd name="connsiteY1417" fmla="*/ 1531610 h 2563305"/>
                  <a:gd name="connsiteX1418" fmla="*/ 1516033 w 2081801"/>
                  <a:gd name="connsiteY1418" fmla="*/ 1494789 h 2563305"/>
                  <a:gd name="connsiteX1419" fmla="*/ 1650571 w 2081801"/>
                  <a:gd name="connsiteY1419" fmla="*/ 1443806 h 2563305"/>
                  <a:gd name="connsiteX1420" fmla="*/ 1904070 w 2081801"/>
                  <a:gd name="connsiteY1420" fmla="*/ 1347506 h 2563305"/>
                  <a:gd name="connsiteX1421" fmla="*/ 1724213 w 2081801"/>
                  <a:gd name="connsiteY1421" fmla="*/ 1555686 h 2563305"/>
                  <a:gd name="connsiteX1422" fmla="*/ 1643490 w 2081801"/>
                  <a:gd name="connsiteY1422" fmla="*/ 1533027 h 2563305"/>
                  <a:gd name="connsiteX1423" fmla="*/ 1651988 w 2081801"/>
                  <a:gd name="connsiteY1423" fmla="*/ 1443806 h 2563305"/>
                  <a:gd name="connsiteX1424" fmla="*/ 1904070 w 2081801"/>
                  <a:gd name="connsiteY1424" fmla="*/ 1347506 h 2563305"/>
                  <a:gd name="connsiteX1425" fmla="*/ 1305021 w 2081801"/>
                  <a:gd name="connsiteY1425" fmla="*/ 442560 h 2563305"/>
                  <a:gd name="connsiteX1426" fmla="*/ 1310685 w 2081801"/>
                  <a:gd name="connsiteY1426" fmla="*/ 220218 h 2563305"/>
                  <a:gd name="connsiteX1427" fmla="*/ 1336177 w 2081801"/>
                  <a:gd name="connsiteY1427" fmla="*/ 449641 h 2563305"/>
                  <a:gd name="connsiteX1428" fmla="*/ 1305021 w 2081801"/>
                  <a:gd name="connsiteY1428" fmla="*/ 442560 h 2563305"/>
                  <a:gd name="connsiteX1429" fmla="*/ 562936 w 2081801"/>
                  <a:gd name="connsiteY1429" fmla="*/ 1133661 h 2563305"/>
                  <a:gd name="connsiteX1430" fmla="*/ 422733 w 2081801"/>
                  <a:gd name="connsiteY1430" fmla="*/ 1099672 h 2563305"/>
                  <a:gd name="connsiteX1431" fmla="*/ 455306 w 2081801"/>
                  <a:gd name="connsiteY1431" fmla="*/ 1014701 h 2563305"/>
                  <a:gd name="connsiteX1432" fmla="*/ 562936 w 2081801"/>
                  <a:gd name="connsiteY1432" fmla="*/ 1133661 h 2563305"/>
                  <a:gd name="connsiteX1433" fmla="*/ 956638 w 2081801"/>
                  <a:gd name="connsiteY1433" fmla="*/ 1334760 h 2563305"/>
                  <a:gd name="connsiteX1434" fmla="*/ 959470 w 2081801"/>
                  <a:gd name="connsiteY1434" fmla="*/ 1334760 h 2563305"/>
                  <a:gd name="connsiteX1435" fmla="*/ 958054 w 2081801"/>
                  <a:gd name="connsiteY1435" fmla="*/ 1336176 h 2563305"/>
                  <a:gd name="connsiteX1436" fmla="*/ 956638 w 2081801"/>
                  <a:gd name="connsiteY1436" fmla="*/ 1334760 h 2563305"/>
                  <a:gd name="connsiteX1437" fmla="*/ 1136494 w 2081801"/>
                  <a:gd name="connsiteY1437" fmla="*/ 2314764 h 2563305"/>
                  <a:gd name="connsiteX1438" fmla="*/ 1130829 w 2081801"/>
                  <a:gd name="connsiteY1438" fmla="*/ 2337423 h 2563305"/>
                  <a:gd name="connsiteX1439" fmla="*/ 1061436 w 2081801"/>
                  <a:gd name="connsiteY1439" fmla="*/ 2302018 h 2563305"/>
                  <a:gd name="connsiteX1440" fmla="*/ 1136494 w 2081801"/>
                  <a:gd name="connsiteY1440" fmla="*/ 2314764 h 2563305"/>
                  <a:gd name="connsiteX1441" fmla="*/ 1221465 w 2081801"/>
                  <a:gd name="connsiteY1441" fmla="*/ 2386990 h 2563305"/>
                  <a:gd name="connsiteX1442" fmla="*/ 1105338 w 2081801"/>
                  <a:gd name="connsiteY1442" fmla="*/ 2439389 h 2563305"/>
                  <a:gd name="connsiteX1443" fmla="*/ 1130829 w 2081801"/>
                  <a:gd name="connsiteY1443" fmla="*/ 2341672 h 2563305"/>
                  <a:gd name="connsiteX1444" fmla="*/ 1221465 w 2081801"/>
                  <a:gd name="connsiteY1444" fmla="*/ 2386990 h 2563305"/>
                  <a:gd name="connsiteX1445" fmla="*/ 1690225 w 2081801"/>
                  <a:gd name="connsiteY1445" fmla="*/ 1112418 h 2563305"/>
                  <a:gd name="connsiteX1446" fmla="*/ 1731294 w 2081801"/>
                  <a:gd name="connsiteY1446" fmla="*/ 871665 h 2563305"/>
                  <a:gd name="connsiteX1447" fmla="*/ 1729878 w 2081801"/>
                  <a:gd name="connsiteY1447" fmla="*/ 1109585 h 2563305"/>
                  <a:gd name="connsiteX1448" fmla="*/ 1690225 w 2081801"/>
                  <a:gd name="connsiteY1448" fmla="*/ 1112418 h 2563305"/>
                  <a:gd name="connsiteX1449" fmla="*/ 2017365 w 2081801"/>
                  <a:gd name="connsiteY1449" fmla="*/ 1875745 h 2563305"/>
                  <a:gd name="connsiteX1450" fmla="*/ 1918231 w 2081801"/>
                  <a:gd name="connsiteY1450" fmla="*/ 2129243 h 2563305"/>
                  <a:gd name="connsiteX1451" fmla="*/ 1911150 w 2081801"/>
                  <a:gd name="connsiteY1451" fmla="*/ 1991872 h 2563305"/>
                  <a:gd name="connsiteX1452" fmla="*/ 1911150 w 2081801"/>
                  <a:gd name="connsiteY1452" fmla="*/ 1990456 h 2563305"/>
                  <a:gd name="connsiteX1453" fmla="*/ 1855919 w 2081801"/>
                  <a:gd name="connsiteY1453" fmla="*/ 2184474 h 2563305"/>
                  <a:gd name="connsiteX1454" fmla="*/ 1677479 w 2081801"/>
                  <a:gd name="connsiteY1454" fmla="*/ 1821929 h 2563305"/>
                  <a:gd name="connsiteX1455" fmla="*/ 1909734 w 2081801"/>
                  <a:gd name="connsiteY1455" fmla="*/ 1990456 h 2563305"/>
                  <a:gd name="connsiteX1456" fmla="*/ 1909734 w 2081801"/>
                  <a:gd name="connsiteY1456" fmla="*/ 1990456 h 2563305"/>
                  <a:gd name="connsiteX1457" fmla="*/ 2017365 w 2081801"/>
                  <a:gd name="connsiteY1457" fmla="*/ 1875745 h 2563305"/>
                  <a:gd name="connsiteX1458" fmla="*/ 1916815 w 2081801"/>
                  <a:gd name="connsiteY1458" fmla="*/ 2139156 h 2563305"/>
                  <a:gd name="connsiteX1459" fmla="*/ 1918231 w 2081801"/>
                  <a:gd name="connsiteY1459" fmla="*/ 2158983 h 2563305"/>
                  <a:gd name="connsiteX1460" fmla="*/ 1901237 w 2081801"/>
                  <a:gd name="connsiteY1460" fmla="*/ 2180226 h 2563305"/>
                  <a:gd name="connsiteX1461" fmla="*/ 1916815 w 2081801"/>
                  <a:gd name="connsiteY1461" fmla="*/ 2139156 h 2563305"/>
                  <a:gd name="connsiteX1462" fmla="*/ 1925312 w 2081801"/>
                  <a:gd name="connsiteY1462" fmla="*/ 2246787 h 2563305"/>
                  <a:gd name="connsiteX1463" fmla="*/ 1919648 w 2081801"/>
                  <a:gd name="connsiteY1463" fmla="*/ 2160399 h 2563305"/>
                  <a:gd name="connsiteX1464" fmla="*/ 1981960 w 2081801"/>
                  <a:gd name="connsiteY1464" fmla="*/ 2085341 h 2563305"/>
                  <a:gd name="connsiteX1465" fmla="*/ 1925312 w 2081801"/>
                  <a:gd name="connsiteY1465" fmla="*/ 2246787 h 2563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Lst>
                <a:rect l="l" t="t" r="r" b="b"/>
                <a:pathLst>
                  <a:path w="2081801" h="2563305">
                    <a:moveTo>
                      <a:pt x="1861584" y="1065684"/>
                    </a:moveTo>
                    <a:lnTo>
                      <a:pt x="1996122" y="1212967"/>
                    </a:lnTo>
                    <a:lnTo>
                      <a:pt x="1976295" y="1265367"/>
                    </a:lnTo>
                    <a:lnTo>
                      <a:pt x="1908318" y="1344673"/>
                    </a:lnTo>
                    <a:lnTo>
                      <a:pt x="1654820" y="1440974"/>
                    </a:lnTo>
                    <a:lnTo>
                      <a:pt x="1663317" y="1357419"/>
                    </a:lnTo>
                    <a:lnTo>
                      <a:pt x="1779445" y="1259702"/>
                    </a:lnTo>
                    <a:lnTo>
                      <a:pt x="1779445" y="1259702"/>
                    </a:lnTo>
                    <a:lnTo>
                      <a:pt x="1778029" y="1258286"/>
                    </a:lnTo>
                    <a:lnTo>
                      <a:pt x="1664733" y="1339008"/>
                    </a:lnTo>
                    <a:lnTo>
                      <a:pt x="1681727" y="1174730"/>
                    </a:lnTo>
                    <a:lnTo>
                      <a:pt x="1691641" y="1113834"/>
                    </a:lnTo>
                    <a:lnTo>
                      <a:pt x="1734127" y="1109585"/>
                    </a:lnTo>
                    <a:lnTo>
                      <a:pt x="1734127" y="1109585"/>
                    </a:lnTo>
                    <a:lnTo>
                      <a:pt x="1735543" y="857503"/>
                    </a:lnTo>
                    <a:lnTo>
                      <a:pt x="1735543" y="857503"/>
                    </a:lnTo>
                    <a:lnTo>
                      <a:pt x="1734127" y="857503"/>
                    </a:lnTo>
                    <a:lnTo>
                      <a:pt x="1690225" y="1112418"/>
                    </a:lnTo>
                    <a:lnTo>
                      <a:pt x="1616583" y="1119499"/>
                    </a:lnTo>
                    <a:lnTo>
                      <a:pt x="1667565" y="1101088"/>
                    </a:lnTo>
                    <a:lnTo>
                      <a:pt x="1667565" y="1101088"/>
                    </a:lnTo>
                    <a:lnTo>
                      <a:pt x="1567016" y="1052938"/>
                    </a:lnTo>
                    <a:lnTo>
                      <a:pt x="1610918" y="1003371"/>
                    </a:lnTo>
                    <a:lnTo>
                      <a:pt x="1610918" y="1003371"/>
                    </a:lnTo>
                    <a:lnTo>
                      <a:pt x="1564184" y="837677"/>
                    </a:lnTo>
                    <a:lnTo>
                      <a:pt x="1690225" y="707387"/>
                    </a:lnTo>
                    <a:lnTo>
                      <a:pt x="1690225" y="707387"/>
                    </a:lnTo>
                    <a:lnTo>
                      <a:pt x="1582594" y="720133"/>
                    </a:lnTo>
                    <a:lnTo>
                      <a:pt x="1650571" y="643659"/>
                    </a:lnTo>
                    <a:lnTo>
                      <a:pt x="1650571" y="643659"/>
                    </a:lnTo>
                    <a:lnTo>
                      <a:pt x="1406986" y="670566"/>
                    </a:lnTo>
                    <a:lnTo>
                      <a:pt x="1436726" y="625248"/>
                    </a:lnTo>
                    <a:lnTo>
                      <a:pt x="1450888" y="477964"/>
                    </a:lnTo>
                    <a:lnTo>
                      <a:pt x="1593924" y="509121"/>
                    </a:lnTo>
                    <a:lnTo>
                      <a:pt x="1620831" y="585595"/>
                    </a:lnTo>
                    <a:lnTo>
                      <a:pt x="1620831" y="585595"/>
                    </a:lnTo>
                    <a:lnTo>
                      <a:pt x="1622248" y="585595"/>
                    </a:lnTo>
                    <a:lnTo>
                      <a:pt x="1593924" y="507704"/>
                    </a:lnTo>
                    <a:lnTo>
                      <a:pt x="1593924" y="507704"/>
                    </a:lnTo>
                    <a:lnTo>
                      <a:pt x="1449472" y="476548"/>
                    </a:lnTo>
                    <a:lnTo>
                      <a:pt x="1473547" y="215969"/>
                    </a:lnTo>
                    <a:lnTo>
                      <a:pt x="1473547" y="215969"/>
                    </a:lnTo>
                    <a:lnTo>
                      <a:pt x="1472131" y="215969"/>
                    </a:lnTo>
                    <a:lnTo>
                      <a:pt x="1472131" y="215969"/>
                    </a:lnTo>
                    <a:lnTo>
                      <a:pt x="1392824" y="465219"/>
                    </a:lnTo>
                    <a:lnTo>
                      <a:pt x="1339009" y="453889"/>
                    </a:lnTo>
                    <a:lnTo>
                      <a:pt x="1310685" y="208888"/>
                    </a:lnTo>
                    <a:lnTo>
                      <a:pt x="1310685" y="208888"/>
                    </a:lnTo>
                    <a:lnTo>
                      <a:pt x="1309269" y="208888"/>
                    </a:lnTo>
                    <a:lnTo>
                      <a:pt x="1302188" y="446808"/>
                    </a:lnTo>
                    <a:lnTo>
                      <a:pt x="1184644" y="421317"/>
                    </a:lnTo>
                    <a:lnTo>
                      <a:pt x="1203055" y="343426"/>
                    </a:lnTo>
                    <a:lnTo>
                      <a:pt x="1203055" y="343426"/>
                    </a:lnTo>
                    <a:lnTo>
                      <a:pt x="1021782" y="285362"/>
                    </a:lnTo>
                    <a:lnTo>
                      <a:pt x="1043025" y="274033"/>
                    </a:lnTo>
                    <a:lnTo>
                      <a:pt x="958054" y="264120"/>
                    </a:lnTo>
                    <a:lnTo>
                      <a:pt x="783862" y="207472"/>
                    </a:lnTo>
                    <a:lnTo>
                      <a:pt x="921233" y="206056"/>
                    </a:lnTo>
                    <a:lnTo>
                      <a:pt x="921233" y="206056"/>
                    </a:lnTo>
                    <a:lnTo>
                      <a:pt x="921233" y="204640"/>
                    </a:lnTo>
                    <a:lnTo>
                      <a:pt x="657821" y="146576"/>
                    </a:lnTo>
                    <a:lnTo>
                      <a:pt x="837678" y="12037"/>
                    </a:lnTo>
                    <a:lnTo>
                      <a:pt x="839093" y="12037"/>
                    </a:lnTo>
                    <a:lnTo>
                      <a:pt x="405739" y="92760"/>
                    </a:lnTo>
                    <a:lnTo>
                      <a:pt x="404323" y="92760"/>
                    </a:lnTo>
                    <a:lnTo>
                      <a:pt x="653573" y="147992"/>
                    </a:lnTo>
                    <a:lnTo>
                      <a:pt x="636578" y="160738"/>
                    </a:lnTo>
                    <a:lnTo>
                      <a:pt x="537445" y="128165"/>
                    </a:lnTo>
                    <a:lnTo>
                      <a:pt x="536029" y="128165"/>
                    </a:lnTo>
                    <a:lnTo>
                      <a:pt x="598341" y="189061"/>
                    </a:lnTo>
                    <a:lnTo>
                      <a:pt x="571433" y="208888"/>
                    </a:lnTo>
                    <a:lnTo>
                      <a:pt x="493543" y="210304"/>
                    </a:lnTo>
                    <a:lnTo>
                      <a:pt x="281114" y="184813"/>
                    </a:lnTo>
                    <a:lnTo>
                      <a:pt x="279698" y="184813"/>
                    </a:lnTo>
                    <a:lnTo>
                      <a:pt x="315103" y="211720"/>
                    </a:lnTo>
                    <a:lnTo>
                      <a:pt x="227299" y="213137"/>
                    </a:lnTo>
                    <a:lnTo>
                      <a:pt x="227299" y="213137"/>
                    </a:lnTo>
                    <a:lnTo>
                      <a:pt x="227299" y="214553"/>
                    </a:lnTo>
                    <a:lnTo>
                      <a:pt x="227299" y="214553"/>
                    </a:lnTo>
                    <a:lnTo>
                      <a:pt x="357588" y="242877"/>
                    </a:lnTo>
                    <a:lnTo>
                      <a:pt x="441144" y="306605"/>
                    </a:lnTo>
                    <a:lnTo>
                      <a:pt x="367502" y="361837"/>
                    </a:lnTo>
                    <a:lnTo>
                      <a:pt x="367502" y="361837"/>
                    </a:lnTo>
                    <a:lnTo>
                      <a:pt x="446809" y="534612"/>
                    </a:lnTo>
                    <a:lnTo>
                      <a:pt x="381664" y="509121"/>
                    </a:lnTo>
                    <a:lnTo>
                      <a:pt x="381664" y="509121"/>
                    </a:lnTo>
                    <a:lnTo>
                      <a:pt x="310854" y="656404"/>
                    </a:lnTo>
                    <a:lnTo>
                      <a:pt x="298109" y="653572"/>
                    </a:lnTo>
                    <a:lnTo>
                      <a:pt x="262704" y="596924"/>
                    </a:lnTo>
                    <a:lnTo>
                      <a:pt x="296692" y="557271"/>
                    </a:lnTo>
                    <a:lnTo>
                      <a:pt x="298109" y="555855"/>
                    </a:lnTo>
                    <a:lnTo>
                      <a:pt x="254207" y="582762"/>
                    </a:lnTo>
                    <a:lnTo>
                      <a:pt x="191894" y="485045"/>
                    </a:lnTo>
                    <a:lnTo>
                      <a:pt x="223050" y="308022"/>
                    </a:lnTo>
                    <a:lnTo>
                      <a:pt x="223050" y="308022"/>
                    </a:lnTo>
                    <a:lnTo>
                      <a:pt x="221634" y="308022"/>
                    </a:lnTo>
                    <a:lnTo>
                      <a:pt x="156489" y="520450"/>
                    </a:lnTo>
                    <a:lnTo>
                      <a:pt x="115420" y="594092"/>
                    </a:lnTo>
                    <a:lnTo>
                      <a:pt x="54523" y="487878"/>
                    </a:lnTo>
                    <a:lnTo>
                      <a:pt x="53107" y="486461"/>
                    </a:lnTo>
                    <a:lnTo>
                      <a:pt x="99842" y="676231"/>
                    </a:lnTo>
                    <a:lnTo>
                      <a:pt x="99842" y="676231"/>
                    </a:lnTo>
                    <a:lnTo>
                      <a:pt x="109755" y="670566"/>
                    </a:lnTo>
                    <a:lnTo>
                      <a:pt x="10621" y="993458"/>
                    </a:lnTo>
                    <a:lnTo>
                      <a:pt x="10621" y="993458"/>
                    </a:lnTo>
                    <a:lnTo>
                      <a:pt x="84264" y="1081262"/>
                    </a:lnTo>
                    <a:lnTo>
                      <a:pt x="82847" y="1091175"/>
                    </a:lnTo>
                    <a:lnTo>
                      <a:pt x="82847" y="1091175"/>
                    </a:lnTo>
                    <a:lnTo>
                      <a:pt x="97009" y="1095424"/>
                    </a:lnTo>
                    <a:lnTo>
                      <a:pt x="268368" y="1299355"/>
                    </a:lnTo>
                    <a:lnTo>
                      <a:pt x="268368" y="1299355"/>
                    </a:lnTo>
                    <a:lnTo>
                      <a:pt x="305190" y="1157736"/>
                    </a:lnTo>
                    <a:lnTo>
                      <a:pt x="390161" y="1183227"/>
                    </a:lnTo>
                    <a:lnTo>
                      <a:pt x="354756" y="1278112"/>
                    </a:lnTo>
                    <a:lnTo>
                      <a:pt x="354756" y="1278112"/>
                    </a:lnTo>
                    <a:lnTo>
                      <a:pt x="536029" y="1225713"/>
                    </a:lnTo>
                    <a:lnTo>
                      <a:pt x="536029" y="1225713"/>
                    </a:lnTo>
                    <a:lnTo>
                      <a:pt x="392993" y="1181811"/>
                    </a:lnTo>
                    <a:lnTo>
                      <a:pt x="421317" y="1106753"/>
                    </a:lnTo>
                    <a:lnTo>
                      <a:pt x="565769" y="1140742"/>
                    </a:lnTo>
                    <a:lnTo>
                      <a:pt x="671983" y="1256869"/>
                    </a:lnTo>
                    <a:lnTo>
                      <a:pt x="943892" y="1336176"/>
                    </a:lnTo>
                    <a:lnTo>
                      <a:pt x="943892" y="1367332"/>
                    </a:lnTo>
                    <a:lnTo>
                      <a:pt x="943892" y="1367332"/>
                    </a:lnTo>
                    <a:lnTo>
                      <a:pt x="959470" y="1344673"/>
                    </a:lnTo>
                    <a:lnTo>
                      <a:pt x="982129" y="1371581"/>
                    </a:lnTo>
                    <a:lnTo>
                      <a:pt x="958054" y="1439558"/>
                    </a:lnTo>
                    <a:lnTo>
                      <a:pt x="847591" y="1525946"/>
                    </a:lnTo>
                    <a:lnTo>
                      <a:pt x="847591" y="1525946"/>
                    </a:lnTo>
                    <a:lnTo>
                      <a:pt x="914152" y="1528778"/>
                    </a:lnTo>
                    <a:lnTo>
                      <a:pt x="925481" y="1530194"/>
                    </a:lnTo>
                    <a:lnTo>
                      <a:pt x="853255" y="1735542"/>
                    </a:lnTo>
                    <a:lnTo>
                      <a:pt x="853255" y="1735542"/>
                    </a:lnTo>
                    <a:lnTo>
                      <a:pt x="977880" y="1756785"/>
                    </a:lnTo>
                    <a:lnTo>
                      <a:pt x="982129" y="1797854"/>
                    </a:lnTo>
                    <a:cubicBezTo>
                      <a:pt x="950973" y="1855918"/>
                      <a:pt x="932562" y="1889906"/>
                      <a:pt x="929730" y="1891323"/>
                    </a:cubicBezTo>
                    <a:cubicBezTo>
                      <a:pt x="929730" y="1891323"/>
                      <a:pt x="929730" y="1891323"/>
                      <a:pt x="929730" y="1891323"/>
                    </a:cubicBezTo>
                    <a:cubicBezTo>
                      <a:pt x="928314" y="1892739"/>
                      <a:pt x="932562" y="1899820"/>
                      <a:pt x="935395" y="1904068"/>
                    </a:cubicBezTo>
                    <a:cubicBezTo>
                      <a:pt x="935395" y="1904068"/>
                      <a:pt x="935395" y="1905485"/>
                      <a:pt x="935395" y="1905485"/>
                    </a:cubicBezTo>
                    <a:cubicBezTo>
                      <a:pt x="941059" y="1916814"/>
                      <a:pt x="946724" y="1928144"/>
                      <a:pt x="953805" y="1939473"/>
                    </a:cubicBezTo>
                    <a:cubicBezTo>
                      <a:pt x="972216" y="1973462"/>
                      <a:pt x="992042" y="2008867"/>
                      <a:pt x="1010453" y="2041439"/>
                    </a:cubicBezTo>
                    <a:lnTo>
                      <a:pt x="1040193" y="2303434"/>
                    </a:lnTo>
                    <a:lnTo>
                      <a:pt x="1040193" y="2303434"/>
                    </a:lnTo>
                    <a:lnTo>
                      <a:pt x="1113835" y="2185891"/>
                    </a:lnTo>
                    <a:lnTo>
                      <a:pt x="1174731" y="2174561"/>
                    </a:lnTo>
                    <a:lnTo>
                      <a:pt x="1136494" y="2316180"/>
                    </a:lnTo>
                    <a:lnTo>
                      <a:pt x="1048690" y="2302018"/>
                    </a:lnTo>
                    <a:lnTo>
                      <a:pt x="1047274" y="2302018"/>
                    </a:lnTo>
                    <a:lnTo>
                      <a:pt x="1129413" y="2344504"/>
                    </a:lnTo>
                    <a:lnTo>
                      <a:pt x="1102505" y="2446470"/>
                    </a:lnTo>
                    <a:lnTo>
                      <a:pt x="1102505" y="2446470"/>
                    </a:lnTo>
                    <a:lnTo>
                      <a:pt x="1224298" y="2391238"/>
                    </a:lnTo>
                    <a:lnTo>
                      <a:pt x="1307853" y="2433724"/>
                    </a:lnTo>
                    <a:lnTo>
                      <a:pt x="1163402" y="2564013"/>
                    </a:lnTo>
                    <a:lnTo>
                      <a:pt x="1163402" y="2564013"/>
                    </a:lnTo>
                    <a:lnTo>
                      <a:pt x="1164817" y="2565430"/>
                    </a:lnTo>
                    <a:lnTo>
                      <a:pt x="1310685" y="2433724"/>
                    </a:lnTo>
                    <a:lnTo>
                      <a:pt x="1310685" y="2433724"/>
                    </a:lnTo>
                    <a:lnTo>
                      <a:pt x="1225714" y="2389822"/>
                    </a:lnTo>
                    <a:lnTo>
                      <a:pt x="1319183" y="2347336"/>
                    </a:lnTo>
                    <a:lnTo>
                      <a:pt x="1387160" y="2358666"/>
                    </a:lnTo>
                    <a:lnTo>
                      <a:pt x="1387160" y="2358666"/>
                    </a:lnTo>
                    <a:lnTo>
                      <a:pt x="1414067" y="2304851"/>
                    </a:lnTo>
                    <a:lnTo>
                      <a:pt x="1525946" y="2253868"/>
                    </a:lnTo>
                    <a:lnTo>
                      <a:pt x="1525946" y="2253868"/>
                    </a:lnTo>
                    <a:lnTo>
                      <a:pt x="1525946" y="2252451"/>
                    </a:lnTo>
                    <a:lnTo>
                      <a:pt x="1525946" y="2252451"/>
                    </a:lnTo>
                    <a:lnTo>
                      <a:pt x="1432478" y="2269446"/>
                    </a:lnTo>
                    <a:lnTo>
                      <a:pt x="1490541" y="2154734"/>
                    </a:lnTo>
                    <a:lnTo>
                      <a:pt x="1595340" y="2079676"/>
                    </a:lnTo>
                    <a:lnTo>
                      <a:pt x="1595340" y="2079676"/>
                    </a:lnTo>
                    <a:lnTo>
                      <a:pt x="1540108" y="2055601"/>
                    </a:lnTo>
                    <a:lnTo>
                      <a:pt x="1660484" y="1816265"/>
                    </a:lnTo>
                    <a:lnTo>
                      <a:pt x="1670398" y="1823346"/>
                    </a:lnTo>
                    <a:lnTo>
                      <a:pt x="1853087" y="2194388"/>
                    </a:lnTo>
                    <a:lnTo>
                      <a:pt x="1853087" y="2194388"/>
                    </a:lnTo>
                    <a:lnTo>
                      <a:pt x="1906902" y="2007451"/>
                    </a:lnTo>
                    <a:lnTo>
                      <a:pt x="1915399" y="2137740"/>
                    </a:lnTo>
                    <a:lnTo>
                      <a:pt x="1894156" y="2194388"/>
                    </a:lnTo>
                    <a:lnTo>
                      <a:pt x="1894156" y="2195804"/>
                    </a:lnTo>
                    <a:lnTo>
                      <a:pt x="1918231" y="2167480"/>
                    </a:lnTo>
                    <a:lnTo>
                      <a:pt x="1923896" y="2260949"/>
                    </a:lnTo>
                    <a:lnTo>
                      <a:pt x="1923896" y="2262365"/>
                    </a:lnTo>
                    <a:lnTo>
                      <a:pt x="1987625" y="2081092"/>
                    </a:lnTo>
                    <a:lnTo>
                      <a:pt x="1987625" y="2079676"/>
                    </a:lnTo>
                    <a:lnTo>
                      <a:pt x="1919648" y="2161815"/>
                    </a:lnTo>
                    <a:lnTo>
                      <a:pt x="1918231" y="2139156"/>
                    </a:lnTo>
                    <a:lnTo>
                      <a:pt x="2021613" y="1872912"/>
                    </a:lnTo>
                    <a:lnTo>
                      <a:pt x="2021613" y="1871496"/>
                    </a:lnTo>
                    <a:lnTo>
                      <a:pt x="1908318" y="1991872"/>
                    </a:lnTo>
                    <a:lnTo>
                      <a:pt x="1673231" y="1821929"/>
                    </a:lnTo>
                    <a:lnTo>
                      <a:pt x="1664733" y="1803519"/>
                    </a:lnTo>
                    <a:lnTo>
                      <a:pt x="1684560" y="1678894"/>
                    </a:lnTo>
                    <a:lnTo>
                      <a:pt x="1684560" y="1678894"/>
                    </a:lnTo>
                    <a:lnTo>
                      <a:pt x="1472131" y="1804935"/>
                    </a:lnTo>
                    <a:lnTo>
                      <a:pt x="1443807" y="1702970"/>
                    </a:lnTo>
                    <a:lnTo>
                      <a:pt x="1637826" y="1592506"/>
                    </a:lnTo>
                    <a:lnTo>
                      <a:pt x="1637826" y="1592506"/>
                    </a:lnTo>
                    <a:lnTo>
                      <a:pt x="1643490" y="1537275"/>
                    </a:lnTo>
                    <a:lnTo>
                      <a:pt x="1724213" y="1561350"/>
                    </a:lnTo>
                    <a:lnTo>
                      <a:pt x="1724213" y="1561350"/>
                    </a:lnTo>
                    <a:lnTo>
                      <a:pt x="1908318" y="1348922"/>
                    </a:lnTo>
                    <a:lnTo>
                      <a:pt x="1953636" y="1331927"/>
                    </a:lnTo>
                    <a:lnTo>
                      <a:pt x="1953636" y="1331927"/>
                    </a:lnTo>
                    <a:lnTo>
                      <a:pt x="1977712" y="1269615"/>
                    </a:lnTo>
                    <a:lnTo>
                      <a:pt x="2011700" y="1231378"/>
                    </a:lnTo>
                    <a:lnTo>
                      <a:pt x="2011700" y="1231378"/>
                    </a:lnTo>
                    <a:lnTo>
                      <a:pt x="1998955" y="1217216"/>
                    </a:lnTo>
                    <a:lnTo>
                      <a:pt x="2072596" y="1026030"/>
                    </a:lnTo>
                    <a:lnTo>
                      <a:pt x="2072596" y="1026030"/>
                    </a:lnTo>
                    <a:lnTo>
                      <a:pt x="1861584" y="1065684"/>
                    </a:lnTo>
                    <a:lnTo>
                      <a:pt x="1861584" y="1065684"/>
                    </a:lnTo>
                    <a:close/>
                    <a:moveTo>
                      <a:pt x="2008868" y="1227129"/>
                    </a:moveTo>
                    <a:lnTo>
                      <a:pt x="1980544" y="1261118"/>
                    </a:lnTo>
                    <a:lnTo>
                      <a:pt x="1997538" y="1215800"/>
                    </a:lnTo>
                    <a:lnTo>
                      <a:pt x="2008868" y="1227129"/>
                    </a:lnTo>
                    <a:close/>
                    <a:moveTo>
                      <a:pt x="2068348" y="1024614"/>
                    </a:moveTo>
                    <a:lnTo>
                      <a:pt x="1996122" y="1211551"/>
                    </a:lnTo>
                    <a:lnTo>
                      <a:pt x="1864416" y="1067100"/>
                    </a:lnTo>
                    <a:lnTo>
                      <a:pt x="2068348" y="1024614"/>
                    </a:lnTo>
                    <a:close/>
                    <a:moveTo>
                      <a:pt x="1973463" y="1271031"/>
                    </a:moveTo>
                    <a:lnTo>
                      <a:pt x="1952220" y="1327679"/>
                    </a:lnTo>
                    <a:lnTo>
                      <a:pt x="1911150" y="1343257"/>
                    </a:lnTo>
                    <a:lnTo>
                      <a:pt x="1973463" y="1271031"/>
                    </a:lnTo>
                    <a:close/>
                    <a:moveTo>
                      <a:pt x="1324847" y="2343088"/>
                    </a:moveTo>
                    <a:lnTo>
                      <a:pt x="1414067" y="2303434"/>
                    </a:lnTo>
                    <a:lnTo>
                      <a:pt x="1388576" y="2354417"/>
                    </a:lnTo>
                    <a:lnTo>
                      <a:pt x="1324847" y="2343088"/>
                    </a:lnTo>
                    <a:close/>
                    <a:moveTo>
                      <a:pt x="99842" y="1091175"/>
                    </a:moveTo>
                    <a:lnTo>
                      <a:pt x="302357" y="1152071"/>
                    </a:lnTo>
                    <a:lnTo>
                      <a:pt x="266952" y="1289442"/>
                    </a:lnTo>
                    <a:lnTo>
                      <a:pt x="99842" y="1091175"/>
                    </a:lnTo>
                    <a:close/>
                    <a:moveTo>
                      <a:pt x="1395657" y="462386"/>
                    </a:moveTo>
                    <a:lnTo>
                      <a:pt x="1472131" y="224466"/>
                    </a:lnTo>
                    <a:lnTo>
                      <a:pt x="1448056" y="475132"/>
                    </a:lnTo>
                    <a:lnTo>
                      <a:pt x="1395657" y="462386"/>
                    </a:lnTo>
                    <a:close/>
                    <a:moveTo>
                      <a:pt x="1317766" y="2343088"/>
                    </a:moveTo>
                    <a:lnTo>
                      <a:pt x="1225714" y="2384157"/>
                    </a:lnTo>
                    <a:lnTo>
                      <a:pt x="1133662" y="2337423"/>
                    </a:lnTo>
                    <a:lnTo>
                      <a:pt x="1139326" y="2313348"/>
                    </a:lnTo>
                    <a:lnTo>
                      <a:pt x="1317766" y="2343088"/>
                    </a:lnTo>
                    <a:close/>
                    <a:moveTo>
                      <a:pt x="1095424" y="2184474"/>
                    </a:moveTo>
                    <a:lnTo>
                      <a:pt x="1095424" y="2184474"/>
                    </a:lnTo>
                    <a:lnTo>
                      <a:pt x="1112419" y="2181642"/>
                    </a:lnTo>
                    <a:lnTo>
                      <a:pt x="1043025" y="2292105"/>
                    </a:lnTo>
                    <a:lnTo>
                      <a:pt x="1014701" y="2040023"/>
                    </a:lnTo>
                    <a:cubicBezTo>
                      <a:pt x="1038776" y="2083925"/>
                      <a:pt x="1064268" y="2132075"/>
                      <a:pt x="1095424" y="2184474"/>
                    </a:cubicBezTo>
                    <a:close/>
                    <a:moveTo>
                      <a:pt x="418485" y="1102504"/>
                    </a:moveTo>
                    <a:lnTo>
                      <a:pt x="390161" y="1177563"/>
                    </a:lnTo>
                    <a:lnTo>
                      <a:pt x="305190" y="1152071"/>
                    </a:lnTo>
                    <a:lnTo>
                      <a:pt x="323600" y="1079846"/>
                    </a:lnTo>
                    <a:lnTo>
                      <a:pt x="418485" y="1102504"/>
                    </a:lnTo>
                    <a:close/>
                    <a:moveTo>
                      <a:pt x="357588" y="1269615"/>
                    </a:moveTo>
                    <a:lnTo>
                      <a:pt x="391577" y="1178979"/>
                    </a:lnTo>
                    <a:lnTo>
                      <a:pt x="528948" y="1220048"/>
                    </a:lnTo>
                    <a:lnTo>
                      <a:pt x="357588" y="1269615"/>
                    </a:lnTo>
                    <a:close/>
                    <a:moveTo>
                      <a:pt x="94177" y="1086927"/>
                    </a:moveTo>
                    <a:lnTo>
                      <a:pt x="85680" y="1084094"/>
                    </a:lnTo>
                    <a:lnTo>
                      <a:pt x="87096" y="1077013"/>
                    </a:lnTo>
                    <a:lnTo>
                      <a:pt x="94177" y="1086927"/>
                    </a:lnTo>
                    <a:close/>
                    <a:moveTo>
                      <a:pt x="108339" y="605422"/>
                    </a:moveTo>
                    <a:lnTo>
                      <a:pt x="115420" y="592676"/>
                    </a:lnTo>
                    <a:lnTo>
                      <a:pt x="125333" y="609670"/>
                    </a:lnTo>
                    <a:lnTo>
                      <a:pt x="108339" y="605422"/>
                    </a:lnTo>
                    <a:close/>
                    <a:moveTo>
                      <a:pt x="1303604" y="530363"/>
                    </a:moveTo>
                    <a:lnTo>
                      <a:pt x="1306437" y="445392"/>
                    </a:lnTo>
                    <a:lnTo>
                      <a:pt x="1339009" y="452473"/>
                    </a:lnTo>
                    <a:lnTo>
                      <a:pt x="1346090" y="511953"/>
                    </a:lnTo>
                    <a:lnTo>
                      <a:pt x="1303604" y="530363"/>
                    </a:lnTo>
                    <a:close/>
                    <a:moveTo>
                      <a:pt x="1664733" y="1800687"/>
                    </a:moveTo>
                    <a:lnTo>
                      <a:pt x="1664733" y="1800687"/>
                    </a:lnTo>
                    <a:lnTo>
                      <a:pt x="1671814" y="1816265"/>
                    </a:lnTo>
                    <a:lnTo>
                      <a:pt x="1663317" y="1809184"/>
                    </a:lnTo>
                    <a:lnTo>
                      <a:pt x="1663317" y="1809184"/>
                    </a:lnTo>
                    <a:lnTo>
                      <a:pt x="1541524" y="2051353"/>
                    </a:lnTo>
                    <a:lnTo>
                      <a:pt x="1446640" y="2010283"/>
                    </a:lnTo>
                    <a:lnTo>
                      <a:pt x="1496207" y="1898404"/>
                    </a:lnTo>
                    <a:lnTo>
                      <a:pt x="1496207" y="1898404"/>
                    </a:lnTo>
                    <a:lnTo>
                      <a:pt x="1487709" y="1898404"/>
                    </a:lnTo>
                    <a:lnTo>
                      <a:pt x="1499039" y="1889906"/>
                    </a:lnTo>
                    <a:lnTo>
                      <a:pt x="1499039" y="1889906"/>
                    </a:lnTo>
                    <a:lnTo>
                      <a:pt x="1474964" y="1804935"/>
                    </a:lnTo>
                    <a:lnTo>
                      <a:pt x="1684560" y="1680310"/>
                    </a:lnTo>
                    <a:lnTo>
                      <a:pt x="1664733" y="1800687"/>
                    </a:lnTo>
                    <a:close/>
                    <a:moveTo>
                      <a:pt x="1292275" y="2292105"/>
                    </a:moveTo>
                    <a:lnTo>
                      <a:pt x="1292275" y="2292105"/>
                    </a:lnTo>
                    <a:lnTo>
                      <a:pt x="1431062" y="2268030"/>
                    </a:lnTo>
                    <a:lnTo>
                      <a:pt x="1415484" y="2299186"/>
                    </a:lnTo>
                    <a:lnTo>
                      <a:pt x="1320599" y="2341672"/>
                    </a:lnTo>
                    <a:lnTo>
                      <a:pt x="1139326" y="2311932"/>
                    </a:lnTo>
                    <a:lnTo>
                      <a:pt x="1177564" y="2167480"/>
                    </a:lnTo>
                    <a:lnTo>
                      <a:pt x="1177564" y="2167480"/>
                    </a:lnTo>
                    <a:lnTo>
                      <a:pt x="1115251" y="2178810"/>
                    </a:lnTo>
                    <a:lnTo>
                      <a:pt x="1163402" y="2102335"/>
                    </a:lnTo>
                    <a:lnTo>
                      <a:pt x="1170483" y="2124994"/>
                    </a:lnTo>
                    <a:lnTo>
                      <a:pt x="1166234" y="2160399"/>
                    </a:lnTo>
                    <a:lnTo>
                      <a:pt x="1166234" y="2160399"/>
                    </a:lnTo>
                    <a:lnTo>
                      <a:pt x="1178979" y="2150486"/>
                    </a:lnTo>
                    <a:lnTo>
                      <a:pt x="1181812" y="2158983"/>
                    </a:lnTo>
                    <a:lnTo>
                      <a:pt x="1181812" y="2158983"/>
                    </a:lnTo>
                    <a:lnTo>
                      <a:pt x="1323431" y="2130659"/>
                    </a:lnTo>
                    <a:lnTo>
                      <a:pt x="1323431" y="2130659"/>
                    </a:lnTo>
                    <a:lnTo>
                      <a:pt x="1255454" y="2086757"/>
                    </a:lnTo>
                    <a:lnTo>
                      <a:pt x="1483461" y="1898404"/>
                    </a:lnTo>
                    <a:lnTo>
                      <a:pt x="1490541" y="1898404"/>
                    </a:lnTo>
                    <a:lnTo>
                      <a:pt x="1442391" y="2010283"/>
                    </a:lnTo>
                    <a:lnTo>
                      <a:pt x="1442391" y="2010283"/>
                    </a:lnTo>
                    <a:lnTo>
                      <a:pt x="1540108" y="2051353"/>
                    </a:lnTo>
                    <a:lnTo>
                      <a:pt x="1490541" y="2149070"/>
                    </a:lnTo>
                    <a:lnTo>
                      <a:pt x="1292275" y="2292105"/>
                    </a:lnTo>
                    <a:close/>
                    <a:moveTo>
                      <a:pt x="1096840" y="2183058"/>
                    </a:moveTo>
                    <a:cubicBezTo>
                      <a:pt x="1069933" y="2134908"/>
                      <a:pt x="1041609" y="2085341"/>
                      <a:pt x="1013285" y="2035774"/>
                    </a:cubicBezTo>
                    <a:lnTo>
                      <a:pt x="1013285" y="2035774"/>
                    </a:lnTo>
                    <a:lnTo>
                      <a:pt x="984961" y="1793606"/>
                    </a:lnTo>
                    <a:cubicBezTo>
                      <a:pt x="994874" y="1775195"/>
                      <a:pt x="1003372" y="1759617"/>
                      <a:pt x="1004788" y="1755368"/>
                    </a:cubicBezTo>
                    <a:lnTo>
                      <a:pt x="1004788" y="1753952"/>
                    </a:lnTo>
                    <a:lnTo>
                      <a:pt x="979297" y="1749704"/>
                    </a:lnTo>
                    <a:lnTo>
                      <a:pt x="973632" y="1701553"/>
                    </a:lnTo>
                    <a:lnTo>
                      <a:pt x="1044441" y="1674646"/>
                    </a:lnTo>
                    <a:lnTo>
                      <a:pt x="1218633" y="1663316"/>
                    </a:lnTo>
                    <a:lnTo>
                      <a:pt x="1210136" y="1751120"/>
                    </a:lnTo>
                    <a:lnTo>
                      <a:pt x="1055771" y="1770946"/>
                    </a:lnTo>
                    <a:lnTo>
                      <a:pt x="1055771" y="1770946"/>
                    </a:lnTo>
                    <a:lnTo>
                      <a:pt x="1106754" y="1925311"/>
                    </a:lnTo>
                    <a:lnTo>
                      <a:pt x="1010453" y="1932392"/>
                    </a:lnTo>
                    <a:lnTo>
                      <a:pt x="1010453" y="1932392"/>
                    </a:lnTo>
                    <a:lnTo>
                      <a:pt x="1136494" y="2013115"/>
                    </a:lnTo>
                    <a:lnTo>
                      <a:pt x="1164817" y="2100919"/>
                    </a:lnTo>
                    <a:lnTo>
                      <a:pt x="1115251" y="2180226"/>
                    </a:lnTo>
                    <a:lnTo>
                      <a:pt x="1096840" y="2183058"/>
                    </a:lnTo>
                    <a:close/>
                    <a:moveTo>
                      <a:pt x="114004" y="589843"/>
                    </a:moveTo>
                    <a:lnTo>
                      <a:pt x="104090" y="606838"/>
                    </a:lnTo>
                    <a:lnTo>
                      <a:pt x="125333" y="611086"/>
                    </a:lnTo>
                    <a:lnTo>
                      <a:pt x="109755" y="662069"/>
                    </a:lnTo>
                    <a:lnTo>
                      <a:pt x="101258" y="667734"/>
                    </a:lnTo>
                    <a:lnTo>
                      <a:pt x="58772" y="493542"/>
                    </a:lnTo>
                    <a:lnTo>
                      <a:pt x="114004" y="589843"/>
                    </a:lnTo>
                    <a:close/>
                    <a:moveTo>
                      <a:pt x="225883" y="632329"/>
                    </a:moveTo>
                    <a:lnTo>
                      <a:pt x="181981" y="622416"/>
                    </a:lnTo>
                    <a:lnTo>
                      <a:pt x="252790" y="579930"/>
                    </a:lnTo>
                    <a:lnTo>
                      <a:pt x="259871" y="591260"/>
                    </a:lnTo>
                    <a:lnTo>
                      <a:pt x="225883" y="632329"/>
                    </a:lnTo>
                    <a:close/>
                    <a:moveTo>
                      <a:pt x="640827" y="156489"/>
                    </a:moveTo>
                    <a:lnTo>
                      <a:pt x="657821" y="143743"/>
                    </a:lnTo>
                    <a:lnTo>
                      <a:pt x="914152" y="200391"/>
                    </a:lnTo>
                    <a:lnTo>
                      <a:pt x="781030" y="201807"/>
                    </a:lnTo>
                    <a:lnTo>
                      <a:pt x="640827" y="156489"/>
                    </a:lnTo>
                    <a:close/>
                    <a:moveTo>
                      <a:pt x="884412" y="351923"/>
                    </a:moveTo>
                    <a:lnTo>
                      <a:pt x="1020366" y="282530"/>
                    </a:lnTo>
                    <a:lnTo>
                      <a:pt x="1201639" y="340594"/>
                    </a:lnTo>
                    <a:lnTo>
                      <a:pt x="1184644" y="417068"/>
                    </a:lnTo>
                    <a:lnTo>
                      <a:pt x="884412" y="351923"/>
                    </a:lnTo>
                    <a:close/>
                    <a:moveTo>
                      <a:pt x="1493374" y="1130828"/>
                    </a:moveTo>
                    <a:lnTo>
                      <a:pt x="1562767" y="1054354"/>
                    </a:lnTo>
                    <a:lnTo>
                      <a:pt x="1659069" y="1101088"/>
                    </a:lnTo>
                    <a:lnTo>
                      <a:pt x="1605253" y="1120915"/>
                    </a:lnTo>
                    <a:lnTo>
                      <a:pt x="1493374" y="1130828"/>
                    </a:lnTo>
                    <a:close/>
                    <a:moveTo>
                      <a:pt x="1513201" y="1494789"/>
                    </a:moveTo>
                    <a:lnTo>
                      <a:pt x="1501871" y="1491957"/>
                    </a:lnTo>
                    <a:lnTo>
                      <a:pt x="1659069" y="1360251"/>
                    </a:lnTo>
                    <a:lnTo>
                      <a:pt x="1650571" y="1442390"/>
                    </a:lnTo>
                    <a:lnTo>
                      <a:pt x="1513201" y="1494789"/>
                    </a:lnTo>
                    <a:close/>
                    <a:moveTo>
                      <a:pt x="960886" y="1336176"/>
                    </a:moveTo>
                    <a:lnTo>
                      <a:pt x="989210" y="1344673"/>
                    </a:lnTo>
                    <a:lnTo>
                      <a:pt x="982129" y="1364500"/>
                    </a:lnTo>
                    <a:lnTo>
                      <a:pt x="959470" y="1337592"/>
                    </a:lnTo>
                    <a:lnTo>
                      <a:pt x="960886" y="1336176"/>
                    </a:lnTo>
                    <a:close/>
                    <a:moveTo>
                      <a:pt x="945308" y="1329095"/>
                    </a:moveTo>
                    <a:lnTo>
                      <a:pt x="945308" y="1323430"/>
                    </a:lnTo>
                    <a:lnTo>
                      <a:pt x="950973" y="1330511"/>
                    </a:lnTo>
                    <a:lnTo>
                      <a:pt x="945308" y="1329095"/>
                    </a:lnTo>
                    <a:close/>
                    <a:moveTo>
                      <a:pt x="114004" y="660653"/>
                    </a:moveTo>
                    <a:lnTo>
                      <a:pt x="128166" y="613919"/>
                    </a:lnTo>
                    <a:lnTo>
                      <a:pt x="145160" y="642242"/>
                    </a:lnTo>
                    <a:lnTo>
                      <a:pt x="114004" y="660653"/>
                    </a:lnTo>
                    <a:close/>
                    <a:moveTo>
                      <a:pt x="180564" y="621000"/>
                    </a:moveTo>
                    <a:lnTo>
                      <a:pt x="167819" y="618167"/>
                    </a:lnTo>
                    <a:lnTo>
                      <a:pt x="191894" y="482213"/>
                    </a:lnTo>
                    <a:lnTo>
                      <a:pt x="252790" y="578514"/>
                    </a:lnTo>
                    <a:lnTo>
                      <a:pt x="180564" y="621000"/>
                    </a:lnTo>
                    <a:close/>
                    <a:moveTo>
                      <a:pt x="507705" y="660653"/>
                    </a:moveTo>
                    <a:lnTo>
                      <a:pt x="524699" y="698890"/>
                    </a:lnTo>
                    <a:lnTo>
                      <a:pt x="516202" y="697474"/>
                    </a:lnTo>
                    <a:lnTo>
                      <a:pt x="492127" y="664902"/>
                    </a:lnTo>
                    <a:lnTo>
                      <a:pt x="507705" y="660653"/>
                    </a:lnTo>
                    <a:close/>
                    <a:moveTo>
                      <a:pt x="489294" y="266952"/>
                    </a:moveTo>
                    <a:lnTo>
                      <a:pt x="443976" y="300941"/>
                    </a:lnTo>
                    <a:lnTo>
                      <a:pt x="363253" y="240044"/>
                    </a:lnTo>
                    <a:lnTo>
                      <a:pt x="489294" y="266952"/>
                    </a:lnTo>
                    <a:close/>
                    <a:moveTo>
                      <a:pt x="643659" y="223050"/>
                    </a:moveTo>
                    <a:lnTo>
                      <a:pt x="626665" y="206056"/>
                    </a:lnTo>
                    <a:lnTo>
                      <a:pt x="781030" y="204640"/>
                    </a:lnTo>
                    <a:lnTo>
                      <a:pt x="950973" y="259871"/>
                    </a:lnTo>
                    <a:lnTo>
                      <a:pt x="643659" y="223050"/>
                    </a:lnTo>
                    <a:close/>
                    <a:moveTo>
                      <a:pt x="642243" y="224466"/>
                    </a:moveTo>
                    <a:lnTo>
                      <a:pt x="739960" y="319351"/>
                    </a:lnTo>
                    <a:lnTo>
                      <a:pt x="493543" y="265536"/>
                    </a:lnTo>
                    <a:lnTo>
                      <a:pt x="561520" y="214553"/>
                    </a:lnTo>
                    <a:lnTo>
                      <a:pt x="642243" y="224466"/>
                    </a:lnTo>
                    <a:close/>
                    <a:moveTo>
                      <a:pt x="1453721" y="1174730"/>
                    </a:moveTo>
                    <a:lnTo>
                      <a:pt x="1491958" y="1132245"/>
                    </a:lnTo>
                    <a:lnTo>
                      <a:pt x="1598172" y="1122331"/>
                    </a:lnTo>
                    <a:lnTo>
                      <a:pt x="1453721" y="1174730"/>
                    </a:lnTo>
                    <a:close/>
                    <a:moveTo>
                      <a:pt x="1484877" y="1504703"/>
                    </a:moveTo>
                    <a:lnTo>
                      <a:pt x="1499039" y="1491957"/>
                    </a:lnTo>
                    <a:lnTo>
                      <a:pt x="1508952" y="1494789"/>
                    </a:lnTo>
                    <a:lnTo>
                      <a:pt x="1484877" y="1504703"/>
                    </a:lnTo>
                    <a:close/>
                    <a:moveTo>
                      <a:pt x="1397073" y="1727044"/>
                    </a:moveTo>
                    <a:lnTo>
                      <a:pt x="1320599" y="1848837"/>
                    </a:lnTo>
                    <a:lnTo>
                      <a:pt x="1282362" y="1744039"/>
                    </a:lnTo>
                    <a:lnTo>
                      <a:pt x="1391408" y="1729877"/>
                    </a:lnTo>
                    <a:lnTo>
                      <a:pt x="1397073" y="1727044"/>
                    </a:lnTo>
                    <a:close/>
                    <a:moveTo>
                      <a:pt x="1191725" y="1921063"/>
                    </a:moveTo>
                    <a:lnTo>
                      <a:pt x="1178979" y="2038606"/>
                    </a:lnTo>
                    <a:lnTo>
                      <a:pt x="1135078" y="2010283"/>
                    </a:lnTo>
                    <a:lnTo>
                      <a:pt x="1108170" y="1926727"/>
                    </a:lnTo>
                    <a:lnTo>
                      <a:pt x="1191725" y="1921063"/>
                    </a:lnTo>
                    <a:close/>
                    <a:moveTo>
                      <a:pt x="1224298" y="1606668"/>
                    </a:moveTo>
                    <a:lnTo>
                      <a:pt x="1218633" y="1661900"/>
                    </a:lnTo>
                    <a:lnTo>
                      <a:pt x="1051522" y="1673229"/>
                    </a:lnTo>
                    <a:lnTo>
                      <a:pt x="1224298" y="1606668"/>
                    </a:lnTo>
                    <a:close/>
                    <a:moveTo>
                      <a:pt x="1215800" y="1565599"/>
                    </a:moveTo>
                    <a:lnTo>
                      <a:pt x="1225714" y="1593923"/>
                    </a:lnTo>
                    <a:lnTo>
                      <a:pt x="1224298" y="1603836"/>
                    </a:lnTo>
                    <a:lnTo>
                      <a:pt x="1044441" y="1671813"/>
                    </a:lnTo>
                    <a:lnTo>
                      <a:pt x="999123" y="1674646"/>
                    </a:lnTo>
                    <a:lnTo>
                      <a:pt x="1112419" y="1550021"/>
                    </a:lnTo>
                    <a:lnTo>
                      <a:pt x="1215800" y="1565599"/>
                    </a:lnTo>
                    <a:close/>
                    <a:moveTo>
                      <a:pt x="166402" y="956637"/>
                    </a:moveTo>
                    <a:lnTo>
                      <a:pt x="220218" y="844758"/>
                    </a:lnTo>
                    <a:lnTo>
                      <a:pt x="434063" y="915567"/>
                    </a:lnTo>
                    <a:lnTo>
                      <a:pt x="456722" y="931145"/>
                    </a:lnTo>
                    <a:lnTo>
                      <a:pt x="166402" y="956637"/>
                    </a:lnTo>
                    <a:close/>
                    <a:moveTo>
                      <a:pt x="659237" y="463803"/>
                    </a:moveTo>
                    <a:lnTo>
                      <a:pt x="445392" y="302357"/>
                    </a:lnTo>
                    <a:lnTo>
                      <a:pt x="490711" y="268368"/>
                    </a:lnTo>
                    <a:lnTo>
                      <a:pt x="741376" y="323599"/>
                    </a:lnTo>
                    <a:lnTo>
                      <a:pt x="807937" y="388744"/>
                    </a:lnTo>
                    <a:lnTo>
                      <a:pt x="659237" y="463803"/>
                    </a:lnTo>
                    <a:close/>
                    <a:moveTo>
                      <a:pt x="878747" y="351923"/>
                    </a:moveTo>
                    <a:lnTo>
                      <a:pt x="812186" y="385912"/>
                    </a:lnTo>
                    <a:lnTo>
                      <a:pt x="747041" y="322183"/>
                    </a:lnTo>
                    <a:lnTo>
                      <a:pt x="878747" y="351923"/>
                    </a:lnTo>
                    <a:close/>
                    <a:moveTo>
                      <a:pt x="1197390" y="2049936"/>
                    </a:moveTo>
                    <a:lnTo>
                      <a:pt x="1282362" y="1913982"/>
                    </a:lnTo>
                    <a:lnTo>
                      <a:pt x="1480628" y="1899820"/>
                    </a:lnTo>
                    <a:lnTo>
                      <a:pt x="1254038" y="2086757"/>
                    </a:lnTo>
                    <a:lnTo>
                      <a:pt x="1197390" y="2049936"/>
                    </a:lnTo>
                    <a:close/>
                    <a:moveTo>
                      <a:pt x="1183228" y="2156151"/>
                    </a:moveTo>
                    <a:lnTo>
                      <a:pt x="1180396" y="2149070"/>
                    </a:lnTo>
                    <a:lnTo>
                      <a:pt x="1254038" y="2088173"/>
                    </a:lnTo>
                    <a:lnTo>
                      <a:pt x="1317766" y="2129243"/>
                    </a:lnTo>
                    <a:lnTo>
                      <a:pt x="1183228" y="2156151"/>
                    </a:lnTo>
                    <a:close/>
                    <a:moveTo>
                      <a:pt x="1178979" y="2149070"/>
                    </a:moveTo>
                    <a:lnTo>
                      <a:pt x="1170483" y="2156151"/>
                    </a:lnTo>
                    <a:lnTo>
                      <a:pt x="1173315" y="2130659"/>
                    </a:lnTo>
                    <a:lnTo>
                      <a:pt x="1178979" y="2149070"/>
                    </a:lnTo>
                    <a:close/>
                    <a:moveTo>
                      <a:pt x="1194558" y="1918230"/>
                    </a:moveTo>
                    <a:lnTo>
                      <a:pt x="1211552" y="1751120"/>
                    </a:lnTo>
                    <a:lnTo>
                      <a:pt x="1279529" y="1742623"/>
                    </a:lnTo>
                    <a:lnTo>
                      <a:pt x="1317766" y="1848837"/>
                    </a:lnTo>
                    <a:lnTo>
                      <a:pt x="1279529" y="1911149"/>
                    </a:lnTo>
                    <a:lnTo>
                      <a:pt x="1194558" y="1918230"/>
                    </a:lnTo>
                    <a:close/>
                    <a:moveTo>
                      <a:pt x="1252622" y="2088173"/>
                    </a:moveTo>
                    <a:lnTo>
                      <a:pt x="1180396" y="2147653"/>
                    </a:lnTo>
                    <a:lnTo>
                      <a:pt x="1173315" y="2124994"/>
                    </a:lnTo>
                    <a:lnTo>
                      <a:pt x="1177564" y="2081092"/>
                    </a:lnTo>
                    <a:lnTo>
                      <a:pt x="1195974" y="2052768"/>
                    </a:lnTo>
                    <a:lnTo>
                      <a:pt x="1252622" y="2088173"/>
                    </a:lnTo>
                    <a:close/>
                    <a:moveTo>
                      <a:pt x="1279529" y="1915398"/>
                    </a:moveTo>
                    <a:lnTo>
                      <a:pt x="1195974" y="2049936"/>
                    </a:lnTo>
                    <a:lnTo>
                      <a:pt x="1183228" y="2041439"/>
                    </a:lnTo>
                    <a:lnTo>
                      <a:pt x="1195974" y="1922479"/>
                    </a:lnTo>
                    <a:lnTo>
                      <a:pt x="1279529" y="1915398"/>
                    </a:lnTo>
                    <a:close/>
                    <a:moveTo>
                      <a:pt x="1194558" y="2049936"/>
                    </a:moveTo>
                    <a:lnTo>
                      <a:pt x="1178979" y="2075428"/>
                    </a:lnTo>
                    <a:lnTo>
                      <a:pt x="1181812" y="2042855"/>
                    </a:lnTo>
                    <a:lnTo>
                      <a:pt x="1194558" y="2049936"/>
                    </a:lnTo>
                    <a:close/>
                    <a:moveTo>
                      <a:pt x="1174731" y="2083925"/>
                    </a:moveTo>
                    <a:lnTo>
                      <a:pt x="1170483" y="2119330"/>
                    </a:lnTo>
                    <a:lnTo>
                      <a:pt x="1163402" y="2099503"/>
                    </a:lnTo>
                    <a:lnTo>
                      <a:pt x="1174731" y="2083925"/>
                    </a:lnTo>
                    <a:close/>
                    <a:moveTo>
                      <a:pt x="1229962" y="1603836"/>
                    </a:moveTo>
                    <a:lnTo>
                      <a:pt x="1249789" y="1659068"/>
                    </a:lnTo>
                    <a:lnTo>
                      <a:pt x="1221465" y="1660484"/>
                    </a:lnTo>
                    <a:lnTo>
                      <a:pt x="1227130" y="1605252"/>
                    </a:lnTo>
                    <a:lnTo>
                      <a:pt x="1229962" y="1603836"/>
                    </a:lnTo>
                    <a:close/>
                    <a:moveTo>
                      <a:pt x="945308" y="888660"/>
                    </a:moveTo>
                    <a:lnTo>
                      <a:pt x="945308" y="925481"/>
                    </a:lnTo>
                    <a:lnTo>
                      <a:pt x="789527" y="902822"/>
                    </a:lnTo>
                    <a:lnTo>
                      <a:pt x="945308" y="888660"/>
                    </a:lnTo>
                    <a:close/>
                    <a:moveTo>
                      <a:pt x="633746" y="936810"/>
                    </a:moveTo>
                    <a:lnTo>
                      <a:pt x="704555" y="1092591"/>
                    </a:lnTo>
                    <a:lnTo>
                      <a:pt x="690393" y="1091175"/>
                    </a:lnTo>
                    <a:lnTo>
                      <a:pt x="460971" y="931145"/>
                    </a:lnTo>
                    <a:lnTo>
                      <a:pt x="479381" y="929729"/>
                    </a:lnTo>
                    <a:lnTo>
                      <a:pt x="528948" y="946723"/>
                    </a:lnTo>
                    <a:lnTo>
                      <a:pt x="528948" y="946723"/>
                    </a:lnTo>
                    <a:lnTo>
                      <a:pt x="633746" y="936810"/>
                    </a:lnTo>
                    <a:close/>
                    <a:moveTo>
                      <a:pt x="633746" y="856087"/>
                    </a:moveTo>
                    <a:lnTo>
                      <a:pt x="602590" y="861752"/>
                    </a:lnTo>
                    <a:lnTo>
                      <a:pt x="547358" y="739960"/>
                    </a:lnTo>
                    <a:lnTo>
                      <a:pt x="633746" y="856087"/>
                    </a:lnTo>
                    <a:close/>
                    <a:moveTo>
                      <a:pt x="637995" y="622416"/>
                    </a:moveTo>
                    <a:lnTo>
                      <a:pt x="656405" y="728630"/>
                    </a:lnTo>
                    <a:lnTo>
                      <a:pt x="527531" y="698890"/>
                    </a:lnTo>
                    <a:lnTo>
                      <a:pt x="509121" y="659237"/>
                    </a:lnTo>
                    <a:lnTo>
                      <a:pt x="637995" y="622416"/>
                    </a:lnTo>
                    <a:close/>
                    <a:moveTo>
                      <a:pt x="1173315" y="591260"/>
                    </a:moveTo>
                    <a:lnTo>
                      <a:pt x="1204471" y="577098"/>
                    </a:lnTo>
                    <a:lnTo>
                      <a:pt x="1224298" y="594092"/>
                    </a:lnTo>
                    <a:lnTo>
                      <a:pt x="1173315" y="591260"/>
                    </a:lnTo>
                    <a:close/>
                    <a:moveTo>
                      <a:pt x="1227130" y="594092"/>
                    </a:moveTo>
                    <a:lnTo>
                      <a:pt x="1205887" y="575682"/>
                    </a:lnTo>
                    <a:lnTo>
                      <a:pt x="1300772" y="533196"/>
                    </a:lnTo>
                    <a:lnTo>
                      <a:pt x="1299356" y="598341"/>
                    </a:lnTo>
                    <a:lnTo>
                      <a:pt x="1227130" y="594092"/>
                    </a:lnTo>
                    <a:close/>
                    <a:moveTo>
                      <a:pt x="1229962" y="596924"/>
                    </a:moveTo>
                    <a:lnTo>
                      <a:pt x="1299356" y="601173"/>
                    </a:lnTo>
                    <a:lnTo>
                      <a:pt x="1297940" y="653572"/>
                    </a:lnTo>
                    <a:lnTo>
                      <a:pt x="1229962" y="596924"/>
                    </a:lnTo>
                    <a:close/>
                    <a:moveTo>
                      <a:pt x="1299356" y="680480"/>
                    </a:moveTo>
                    <a:lnTo>
                      <a:pt x="1299356" y="657821"/>
                    </a:lnTo>
                    <a:lnTo>
                      <a:pt x="1323431" y="677647"/>
                    </a:lnTo>
                    <a:lnTo>
                      <a:pt x="1299356" y="680480"/>
                    </a:lnTo>
                    <a:close/>
                    <a:moveTo>
                      <a:pt x="1350339" y="748457"/>
                    </a:moveTo>
                    <a:lnTo>
                      <a:pt x="1348922" y="749873"/>
                    </a:lnTo>
                    <a:lnTo>
                      <a:pt x="1350339" y="748457"/>
                    </a:lnTo>
                    <a:lnTo>
                      <a:pt x="1350339" y="748457"/>
                    </a:lnTo>
                    <a:close/>
                    <a:moveTo>
                      <a:pt x="1350339" y="745624"/>
                    </a:moveTo>
                    <a:lnTo>
                      <a:pt x="1357420" y="703139"/>
                    </a:lnTo>
                    <a:lnTo>
                      <a:pt x="1357420" y="703139"/>
                    </a:lnTo>
                    <a:lnTo>
                      <a:pt x="1327679" y="679063"/>
                    </a:lnTo>
                    <a:lnTo>
                      <a:pt x="1401322" y="670566"/>
                    </a:lnTo>
                    <a:lnTo>
                      <a:pt x="1350339" y="745624"/>
                    </a:lnTo>
                    <a:lnTo>
                      <a:pt x="1350339" y="745624"/>
                    </a:lnTo>
                    <a:close/>
                    <a:moveTo>
                      <a:pt x="1561351" y="837677"/>
                    </a:moveTo>
                    <a:lnTo>
                      <a:pt x="1496207" y="905654"/>
                    </a:lnTo>
                    <a:lnTo>
                      <a:pt x="1339009" y="941059"/>
                    </a:lnTo>
                    <a:lnTo>
                      <a:pt x="1319183" y="931145"/>
                    </a:lnTo>
                    <a:lnTo>
                      <a:pt x="1350339" y="752705"/>
                    </a:lnTo>
                    <a:lnTo>
                      <a:pt x="1354587" y="747041"/>
                    </a:lnTo>
                    <a:lnTo>
                      <a:pt x="1578346" y="721549"/>
                    </a:lnTo>
                    <a:lnTo>
                      <a:pt x="1541524" y="762619"/>
                    </a:lnTo>
                    <a:lnTo>
                      <a:pt x="1541524" y="762619"/>
                    </a:lnTo>
                    <a:lnTo>
                      <a:pt x="1561351" y="837677"/>
                    </a:lnTo>
                    <a:close/>
                    <a:moveTo>
                      <a:pt x="1392824" y="1306436"/>
                    </a:moveTo>
                    <a:lnTo>
                      <a:pt x="1421148" y="1341841"/>
                    </a:lnTo>
                    <a:lnTo>
                      <a:pt x="1322015" y="1423980"/>
                    </a:lnTo>
                    <a:lnTo>
                      <a:pt x="1367333" y="1293690"/>
                    </a:lnTo>
                    <a:lnTo>
                      <a:pt x="1392824" y="1306436"/>
                    </a:lnTo>
                    <a:close/>
                    <a:moveTo>
                      <a:pt x="1378662" y="1256869"/>
                    </a:moveTo>
                    <a:lnTo>
                      <a:pt x="1367333" y="1290858"/>
                    </a:lnTo>
                    <a:lnTo>
                      <a:pt x="1354587" y="1283777"/>
                    </a:lnTo>
                    <a:lnTo>
                      <a:pt x="1378662" y="1256869"/>
                    </a:lnTo>
                    <a:close/>
                    <a:moveTo>
                      <a:pt x="1391408" y="1541524"/>
                    </a:moveTo>
                    <a:lnTo>
                      <a:pt x="1450888" y="1479211"/>
                    </a:lnTo>
                    <a:lnTo>
                      <a:pt x="1497622" y="1493373"/>
                    </a:lnTo>
                    <a:lnTo>
                      <a:pt x="1479212" y="1508951"/>
                    </a:lnTo>
                    <a:lnTo>
                      <a:pt x="1391408" y="1541524"/>
                    </a:lnTo>
                    <a:close/>
                    <a:moveTo>
                      <a:pt x="1382911" y="1545772"/>
                    </a:moveTo>
                    <a:lnTo>
                      <a:pt x="1348922" y="1581177"/>
                    </a:lnTo>
                    <a:lnTo>
                      <a:pt x="1306437" y="1575512"/>
                    </a:lnTo>
                    <a:lnTo>
                      <a:pt x="1382911" y="1545772"/>
                    </a:lnTo>
                    <a:close/>
                    <a:moveTo>
                      <a:pt x="1224298" y="1423980"/>
                    </a:moveTo>
                    <a:lnTo>
                      <a:pt x="1183228" y="1469298"/>
                    </a:lnTo>
                    <a:lnTo>
                      <a:pt x="1163402" y="1416899"/>
                    </a:lnTo>
                    <a:lnTo>
                      <a:pt x="1224298" y="1423980"/>
                    </a:lnTo>
                    <a:close/>
                    <a:moveTo>
                      <a:pt x="1237043" y="1414067"/>
                    </a:moveTo>
                    <a:lnTo>
                      <a:pt x="1246957" y="1404153"/>
                    </a:lnTo>
                    <a:lnTo>
                      <a:pt x="1245541" y="1416899"/>
                    </a:lnTo>
                    <a:lnTo>
                      <a:pt x="1237043" y="1414067"/>
                    </a:lnTo>
                    <a:close/>
                    <a:moveTo>
                      <a:pt x="1245541" y="1425396"/>
                    </a:moveTo>
                    <a:lnTo>
                      <a:pt x="1245541" y="1419731"/>
                    </a:lnTo>
                    <a:lnTo>
                      <a:pt x="1285194" y="1431061"/>
                    </a:lnTo>
                    <a:lnTo>
                      <a:pt x="1245541" y="1425396"/>
                    </a:lnTo>
                    <a:close/>
                    <a:moveTo>
                      <a:pt x="1347507" y="1582593"/>
                    </a:moveTo>
                    <a:lnTo>
                      <a:pt x="1275281" y="1657651"/>
                    </a:lnTo>
                    <a:lnTo>
                      <a:pt x="1251205" y="1659068"/>
                    </a:lnTo>
                    <a:lnTo>
                      <a:pt x="1231379" y="1603836"/>
                    </a:lnTo>
                    <a:lnTo>
                      <a:pt x="1302188" y="1576929"/>
                    </a:lnTo>
                    <a:lnTo>
                      <a:pt x="1347507" y="1582593"/>
                    </a:lnTo>
                    <a:close/>
                    <a:moveTo>
                      <a:pt x="1231379" y="1567015"/>
                    </a:moveTo>
                    <a:lnTo>
                      <a:pt x="1299356" y="1575512"/>
                    </a:lnTo>
                    <a:lnTo>
                      <a:pt x="1232795" y="1601004"/>
                    </a:lnTo>
                    <a:lnTo>
                      <a:pt x="1229962" y="1592506"/>
                    </a:lnTo>
                    <a:lnTo>
                      <a:pt x="1231379" y="1567015"/>
                    </a:lnTo>
                    <a:close/>
                    <a:moveTo>
                      <a:pt x="1231379" y="1565599"/>
                    </a:moveTo>
                    <a:lnTo>
                      <a:pt x="1245541" y="1428229"/>
                    </a:lnTo>
                    <a:lnTo>
                      <a:pt x="1299356" y="1435310"/>
                    </a:lnTo>
                    <a:lnTo>
                      <a:pt x="1449472" y="1479211"/>
                    </a:lnTo>
                    <a:lnTo>
                      <a:pt x="1387160" y="1544356"/>
                    </a:lnTo>
                    <a:lnTo>
                      <a:pt x="1303604" y="1576929"/>
                    </a:lnTo>
                    <a:lnTo>
                      <a:pt x="1231379" y="1565599"/>
                    </a:lnTo>
                    <a:close/>
                    <a:moveTo>
                      <a:pt x="1228546" y="1422563"/>
                    </a:moveTo>
                    <a:lnTo>
                      <a:pt x="1235627" y="1415483"/>
                    </a:lnTo>
                    <a:lnTo>
                      <a:pt x="1245541" y="1418315"/>
                    </a:lnTo>
                    <a:lnTo>
                      <a:pt x="1245541" y="1425396"/>
                    </a:lnTo>
                    <a:lnTo>
                      <a:pt x="1228546" y="1422563"/>
                    </a:lnTo>
                    <a:close/>
                    <a:moveTo>
                      <a:pt x="1227130" y="1425396"/>
                    </a:moveTo>
                    <a:lnTo>
                      <a:pt x="1244124" y="1428229"/>
                    </a:lnTo>
                    <a:lnTo>
                      <a:pt x="1229962" y="1565599"/>
                    </a:lnTo>
                    <a:lnTo>
                      <a:pt x="1218633" y="1564183"/>
                    </a:lnTo>
                    <a:lnTo>
                      <a:pt x="1186060" y="1473546"/>
                    </a:lnTo>
                    <a:lnTo>
                      <a:pt x="1227130" y="1425396"/>
                    </a:lnTo>
                    <a:close/>
                    <a:moveTo>
                      <a:pt x="1232795" y="1415483"/>
                    </a:moveTo>
                    <a:lnTo>
                      <a:pt x="1225714" y="1422563"/>
                    </a:lnTo>
                    <a:lnTo>
                      <a:pt x="1163402" y="1414067"/>
                    </a:lnTo>
                    <a:lnTo>
                      <a:pt x="1154904" y="1392824"/>
                    </a:lnTo>
                    <a:lnTo>
                      <a:pt x="1232795" y="1415483"/>
                    </a:lnTo>
                    <a:close/>
                    <a:moveTo>
                      <a:pt x="1474964" y="1511784"/>
                    </a:moveTo>
                    <a:lnTo>
                      <a:pt x="1385743" y="1586842"/>
                    </a:lnTo>
                    <a:lnTo>
                      <a:pt x="1353171" y="1582593"/>
                    </a:lnTo>
                    <a:lnTo>
                      <a:pt x="1388576" y="1545772"/>
                    </a:lnTo>
                    <a:lnTo>
                      <a:pt x="1474964" y="1511784"/>
                    </a:lnTo>
                    <a:close/>
                    <a:moveTo>
                      <a:pt x="1312102" y="1436725"/>
                    </a:moveTo>
                    <a:lnTo>
                      <a:pt x="1469299" y="1457968"/>
                    </a:lnTo>
                    <a:lnTo>
                      <a:pt x="1450888" y="1477795"/>
                    </a:lnTo>
                    <a:lnTo>
                      <a:pt x="1312102" y="1436725"/>
                    </a:lnTo>
                    <a:close/>
                    <a:moveTo>
                      <a:pt x="676231" y="912735"/>
                    </a:moveTo>
                    <a:lnTo>
                      <a:pt x="688977" y="929729"/>
                    </a:lnTo>
                    <a:lnTo>
                      <a:pt x="636578" y="935394"/>
                    </a:lnTo>
                    <a:lnTo>
                      <a:pt x="628081" y="918400"/>
                    </a:lnTo>
                    <a:lnTo>
                      <a:pt x="676231" y="912735"/>
                    </a:lnTo>
                    <a:close/>
                    <a:moveTo>
                      <a:pt x="531780" y="945307"/>
                    </a:moveTo>
                    <a:lnTo>
                      <a:pt x="486462" y="929729"/>
                    </a:lnTo>
                    <a:lnTo>
                      <a:pt x="625249" y="916984"/>
                    </a:lnTo>
                    <a:lnTo>
                      <a:pt x="633746" y="933978"/>
                    </a:lnTo>
                    <a:lnTo>
                      <a:pt x="531780" y="945307"/>
                    </a:lnTo>
                    <a:close/>
                    <a:moveTo>
                      <a:pt x="626665" y="915567"/>
                    </a:moveTo>
                    <a:lnTo>
                      <a:pt x="602590" y="863168"/>
                    </a:lnTo>
                    <a:lnTo>
                      <a:pt x="633746" y="857503"/>
                    </a:lnTo>
                    <a:lnTo>
                      <a:pt x="673399" y="911319"/>
                    </a:lnTo>
                    <a:lnTo>
                      <a:pt x="626665" y="915567"/>
                    </a:lnTo>
                    <a:close/>
                    <a:moveTo>
                      <a:pt x="504873" y="553022"/>
                    </a:moveTo>
                    <a:lnTo>
                      <a:pt x="496375" y="550190"/>
                    </a:lnTo>
                    <a:lnTo>
                      <a:pt x="659237" y="466635"/>
                    </a:lnTo>
                    <a:lnTo>
                      <a:pt x="795192" y="570017"/>
                    </a:lnTo>
                    <a:lnTo>
                      <a:pt x="504873" y="553022"/>
                    </a:lnTo>
                    <a:close/>
                    <a:moveTo>
                      <a:pt x="1094008" y="485045"/>
                    </a:moveTo>
                    <a:lnTo>
                      <a:pt x="1157737" y="538860"/>
                    </a:lnTo>
                    <a:lnTo>
                      <a:pt x="1146407" y="591260"/>
                    </a:lnTo>
                    <a:lnTo>
                      <a:pt x="1035944" y="585595"/>
                    </a:lnTo>
                    <a:lnTo>
                      <a:pt x="996291" y="414236"/>
                    </a:lnTo>
                    <a:lnTo>
                      <a:pt x="1094008" y="485045"/>
                    </a:lnTo>
                    <a:close/>
                    <a:moveTo>
                      <a:pt x="1033112" y="585595"/>
                    </a:moveTo>
                    <a:lnTo>
                      <a:pt x="1037360" y="605422"/>
                    </a:lnTo>
                    <a:lnTo>
                      <a:pt x="1016117" y="584179"/>
                    </a:lnTo>
                    <a:lnTo>
                      <a:pt x="1033112" y="585595"/>
                    </a:lnTo>
                    <a:close/>
                    <a:moveTo>
                      <a:pt x="1297940" y="752705"/>
                    </a:moveTo>
                    <a:lnTo>
                      <a:pt x="1299356" y="681896"/>
                    </a:lnTo>
                    <a:lnTo>
                      <a:pt x="1326264" y="679063"/>
                    </a:lnTo>
                    <a:lnTo>
                      <a:pt x="1356003" y="704555"/>
                    </a:lnTo>
                    <a:lnTo>
                      <a:pt x="1348922" y="747041"/>
                    </a:lnTo>
                    <a:lnTo>
                      <a:pt x="1297940" y="752705"/>
                    </a:lnTo>
                    <a:close/>
                    <a:moveTo>
                      <a:pt x="1314934" y="946723"/>
                    </a:moveTo>
                    <a:lnTo>
                      <a:pt x="1317766" y="933978"/>
                    </a:lnTo>
                    <a:lnTo>
                      <a:pt x="1334760" y="942475"/>
                    </a:lnTo>
                    <a:lnTo>
                      <a:pt x="1314934" y="946723"/>
                    </a:lnTo>
                    <a:close/>
                    <a:moveTo>
                      <a:pt x="1327679" y="1146406"/>
                    </a:moveTo>
                    <a:lnTo>
                      <a:pt x="1450888" y="1048689"/>
                    </a:lnTo>
                    <a:lnTo>
                      <a:pt x="1419732" y="1136493"/>
                    </a:lnTo>
                    <a:lnTo>
                      <a:pt x="1327679" y="1146406"/>
                    </a:lnTo>
                    <a:close/>
                    <a:moveTo>
                      <a:pt x="1271032" y="1190308"/>
                    </a:moveTo>
                    <a:lnTo>
                      <a:pt x="1262535" y="1235627"/>
                    </a:lnTo>
                    <a:lnTo>
                      <a:pt x="1245541" y="1401321"/>
                    </a:lnTo>
                    <a:lnTo>
                      <a:pt x="1234211" y="1414067"/>
                    </a:lnTo>
                    <a:lnTo>
                      <a:pt x="1154904" y="1391408"/>
                    </a:lnTo>
                    <a:lnTo>
                      <a:pt x="1123748" y="1306436"/>
                    </a:lnTo>
                    <a:lnTo>
                      <a:pt x="1271032" y="1190308"/>
                    </a:lnTo>
                    <a:close/>
                    <a:moveTo>
                      <a:pt x="781030" y="901405"/>
                    </a:moveTo>
                    <a:lnTo>
                      <a:pt x="687561" y="887243"/>
                    </a:lnTo>
                    <a:lnTo>
                      <a:pt x="680480" y="850422"/>
                    </a:lnTo>
                    <a:lnTo>
                      <a:pt x="1102505" y="781029"/>
                    </a:lnTo>
                    <a:lnTo>
                      <a:pt x="1102505" y="781029"/>
                    </a:lnTo>
                    <a:lnTo>
                      <a:pt x="1120916" y="701722"/>
                    </a:lnTo>
                    <a:lnTo>
                      <a:pt x="1130829" y="700306"/>
                    </a:lnTo>
                    <a:lnTo>
                      <a:pt x="1198806" y="765451"/>
                    </a:lnTo>
                    <a:lnTo>
                      <a:pt x="1198806" y="765451"/>
                    </a:lnTo>
                    <a:lnTo>
                      <a:pt x="1293691" y="754122"/>
                    </a:lnTo>
                    <a:lnTo>
                      <a:pt x="1290859" y="833428"/>
                    </a:lnTo>
                    <a:lnTo>
                      <a:pt x="1242708" y="907070"/>
                    </a:lnTo>
                    <a:lnTo>
                      <a:pt x="1132245" y="911319"/>
                    </a:lnTo>
                    <a:lnTo>
                      <a:pt x="1132245" y="911319"/>
                    </a:lnTo>
                    <a:lnTo>
                      <a:pt x="1112419" y="950972"/>
                    </a:lnTo>
                    <a:lnTo>
                      <a:pt x="946724" y="925481"/>
                    </a:lnTo>
                    <a:lnTo>
                      <a:pt x="946724" y="885827"/>
                    </a:lnTo>
                    <a:lnTo>
                      <a:pt x="946724" y="885827"/>
                    </a:lnTo>
                    <a:lnTo>
                      <a:pt x="781030" y="901405"/>
                    </a:lnTo>
                    <a:close/>
                    <a:moveTo>
                      <a:pt x="1292275" y="919816"/>
                    </a:moveTo>
                    <a:lnTo>
                      <a:pt x="1295107" y="834844"/>
                    </a:lnTo>
                    <a:lnTo>
                      <a:pt x="1346090" y="758370"/>
                    </a:lnTo>
                    <a:lnTo>
                      <a:pt x="1316350" y="931145"/>
                    </a:lnTo>
                    <a:lnTo>
                      <a:pt x="1292275" y="919816"/>
                    </a:lnTo>
                    <a:close/>
                    <a:moveTo>
                      <a:pt x="1320599" y="1150655"/>
                    </a:moveTo>
                    <a:lnTo>
                      <a:pt x="1324847" y="1147823"/>
                    </a:lnTo>
                    <a:lnTo>
                      <a:pt x="1419732" y="1139326"/>
                    </a:lnTo>
                    <a:lnTo>
                      <a:pt x="1409819" y="1169065"/>
                    </a:lnTo>
                    <a:lnTo>
                      <a:pt x="1320599" y="1150655"/>
                    </a:lnTo>
                    <a:close/>
                    <a:moveTo>
                      <a:pt x="1278113" y="1152071"/>
                    </a:moveTo>
                    <a:lnTo>
                      <a:pt x="1272448" y="1187476"/>
                    </a:lnTo>
                    <a:lnTo>
                      <a:pt x="1123748" y="1303604"/>
                    </a:lnTo>
                    <a:lnTo>
                      <a:pt x="1075598" y="1170482"/>
                    </a:lnTo>
                    <a:lnTo>
                      <a:pt x="1278113" y="1152071"/>
                    </a:lnTo>
                    <a:close/>
                    <a:moveTo>
                      <a:pt x="1273864" y="1186060"/>
                    </a:moveTo>
                    <a:lnTo>
                      <a:pt x="1279529" y="1153487"/>
                    </a:lnTo>
                    <a:lnTo>
                      <a:pt x="1305021" y="1150655"/>
                    </a:lnTo>
                    <a:lnTo>
                      <a:pt x="1316350" y="1153487"/>
                    </a:lnTo>
                    <a:lnTo>
                      <a:pt x="1273864" y="1186060"/>
                    </a:lnTo>
                    <a:close/>
                    <a:moveTo>
                      <a:pt x="1273864" y="1188892"/>
                    </a:moveTo>
                    <a:lnTo>
                      <a:pt x="1319183" y="1153487"/>
                    </a:lnTo>
                    <a:lnTo>
                      <a:pt x="1409819" y="1171898"/>
                    </a:lnTo>
                    <a:lnTo>
                      <a:pt x="1401322" y="1194557"/>
                    </a:lnTo>
                    <a:lnTo>
                      <a:pt x="1265367" y="1242707"/>
                    </a:lnTo>
                    <a:lnTo>
                      <a:pt x="1266783" y="1235627"/>
                    </a:lnTo>
                    <a:lnTo>
                      <a:pt x="1273864" y="1188892"/>
                    </a:lnTo>
                    <a:close/>
                    <a:moveTo>
                      <a:pt x="1263951" y="1242707"/>
                    </a:moveTo>
                    <a:lnTo>
                      <a:pt x="1348922" y="1285193"/>
                    </a:lnTo>
                    <a:lnTo>
                      <a:pt x="1246957" y="1397072"/>
                    </a:lnTo>
                    <a:lnTo>
                      <a:pt x="1263951" y="1242707"/>
                    </a:lnTo>
                    <a:close/>
                    <a:moveTo>
                      <a:pt x="1067100" y="636578"/>
                    </a:moveTo>
                    <a:lnTo>
                      <a:pt x="1048690" y="645075"/>
                    </a:lnTo>
                    <a:lnTo>
                      <a:pt x="1040193" y="611086"/>
                    </a:lnTo>
                    <a:lnTo>
                      <a:pt x="1067100" y="636578"/>
                    </a:lnTo>
                    <a:close/>
                    <a:moveTo>
                      <a:pt x="1200222" y="764035"/>
                    </a:moveTo>
                    <a:lnTo>
                      <a:pt x="1135078" y="700306"/>
                    </a:lnTo>
                    <a:lnTo>
                      <a:pt x="1297940" y="683312"/>
                    </a:lnTo>
                    <a:lnTo>
                      <a:pt x="1296524" y="754122"/>
                    </a:lnTo>
                    <a:lnTo>
                      <a:pt x="1200222" y="764035"/>
                    </a:lnTo>
                    <a:close/>
                    <a:moveTo>
                      <a:pt x="1129413" y="698890"/>
                    </a:moveTo>
                    <a:lnTo>
                      <a:pt x="1120916" y="700306"/>
                    </a:lnTo>
                    <a:lnTo>
                      <a:pt x="1122332" y="693225"/>
                    </a:lnTo>
                    <a:lnTo>
                      <a:pt x="1129413" y="698890"/>
                    </a:lnTo>
                    <a:close/>
                    <a:moveTo>
                      <a:pt x="1140742" y="605422"/>
                    </a:moveTo>
                    <a:lnTo>
                      <a:pt x="1122332" y="687560"/>
                    </a:lnTo>
                    <a:lnTo>
                      <a:pt x="1069933" y="637994"/>
                    </a:lnTo>
                    <a:lnTo>
                      <a:pt x="1140742" y="605422"/>
                    </a:lnTo>
                    <a:close/>
                    <a:moveTo>
                      <a:pt x="1119500" y="698890"/>
                    </a:moveTo>
                    <a:lnTo>
                      <a:pt x="1062852" y="704555"/>
                    </a:lnTo>
                    <a:lnTo>
                      <a:pt x="1048690" y="646491"/>
                    </a:lnTo>
                    <a:lnTo>
                      <a:pt x="1068517" y="637994"/>
                    </a:lnTo>
                    <a:lnTo>
                      <a:pt x="1122332" y="688977"/>
                    </a:lnTo>
                    <a:lnTo>
                      <a:pt x="1119500" y="698890"/>
                    </a:lnTo>
                    <a:close/>
                    <a:moveTo>
                      <a:pt x="1101089" y="778197"/>
                    </a:moveTo>
                    <a:lnTo>
                      <a:pt x="679064" y="847590"/>
                    </a:lnTo>
                    <a:lnTo>
                      <a:pt x="659237" y="731462"/>
                    </a:lnTo>
                    <a:lnTo>
                      <a:pt x="681897" y="737127"/>
                    </a:lnTo>
                    <a:lnTo>
                      <a:pt x="681897" y="737127"/>
                    </a:lnTo>
                    <a:lnTo>
                      <a:pt x="764035" y="659237"/>
                    </a:lnTo>
                    <a:lnTo>
                      <a:pt x="901406" y="714468"/>
                    </a:lnTo>
                    <a:lnTo>
                      <a:pt x="901406" y="714468"/>
                    </a:lnTo>
                    <a:lnTo>
                      <a:pt x="1045857" y="649323"/>
                    </a:lnTo>
                    <a:lnTo>
                      <a:pt x="1060019" y="708803"/>
                    </a:lnTo>
                    <a:lnTo>
                      <a:pt x="1060019" y="708803"/>
                    </a:lnTo>
                    <a:lnTo>
                      <a:pt x="1118083" y="703139"/>
                    </a:lnTo>
                    <a:lnTo>
                      <a:pt x="1101089" y="778197"/>
                    </a:lnTo>
                    <a:close/>
                    <a:moveTo>
                      <a:pt x="1292275" y="952388"/>
                    </a:moveTo>
                    <a:lnTo>
                      <a:pt x="1293691" y="922648"/>
                    </a:lnTo>
                    <a:lnTo>
                      <a:pt x="1316350" y="933978"/>
                    </a:lnTo>
                    <a:lnTo>
                      <a:pt x="1313518" y="948140"/>
                    </a:lnTo>
                    <a:lnTo>
                      <a:pt x="1292275" y="952388"/>
                    </a:lnTo>
                    <a:close/>
                    <a:moveTo>
                      <a:pt x="1279529" y="1150655"/>
                    </a:moveTo>
                    <a:lnTo>
                      <a:pt x="1280945" y="1146406"/>
                    </a:lnTo>
                    <a:lnTo>
                      <a:pt x="1297940" y="1149239"/>
                    </a:lnTo>
                    <a:lnTo>
                      <a:pt x="1279529" y="1150655"/>
                    </a:lnTo>
                    <a:close/>
                    <a:moveTo>
                      <a:pt x="1204471" y="966550"/>
                    </a:moveTo>
                    <a:lnTo>
                      <a:pt x="1200222" y="973631"/>
                    </a:lnTo>
                    <a:lnTo>
                      <a:pt x="1091176" y="999122"/>
                    </a:lnTo>
                    <a:lnTo>
                      <a:pt x="1113835" y="953804"/>
                    </a:lnTo>
                    <a:lnTo>
                      <a:pt x="1204471" y="966550"/>
                    </a:lnTo>
                    <a:close/>
                    <a:moveTo>
                      <a:pt x="1265367" y="905654"/>
                    </a:moveTo>
                    <a:lnTo>
                      <a:pt x="1265367" y="905654"/>
                    </a:lnTo>
                    <a:lnTo>
                      <a:pt x="1246957" y="905654"/>
                    </a:lnTo>
                    <a:lnTo>
                      <a:pt x="1293691" y="836261"/>
                    </a:lnTo>
                    <a:lnTo>
                      <a:pt x="1290859" y="916984"/>
                    </a:lnTo>
                    <a:lnTo>
                      <a:pt x="1265367" y="905654"/>
                    </a:lnTo>
                    <a:close/>
                    <a:moveTo>
                      <a:pt x="1220049" y="969383"/>
                    </a:moveTo>
                    <a:lnTo>
                      <a:pt x="1203055" y="972215"/>
                    </a:lnTo>
                    <a:lnTo>
                      <a:pt x="1207303" y="966550"/>
                    </a:lnTo>
                    <a:lnTo>
                      <a:pt x="1220049" y="969383"/>
                    </a:lnTo>
                    <a:close/>
                    <a:moveTo>
                      <a:pt x="1289443" y="955221"/>
                    </a:moveTo>
                    <a:lnTo>
                      <a:pt x="1289443" y="977880"/>
                    </a:lnTo>
                    <a:lnTo>
                      <a:pt x="1231379" y="969383"/>
                    </a:lnTo>
                    <a:lnTo>
                      <a:pt x="1289443" y="955221"/>
                    </a:lnTo>
                    <a:close/>
                    <a:moveTo>
                      <a:pt x="1289443" y="952388"/>
                    </a:moveTo>
                    <a:lnTo>
                      <a:pt x="1224298" y="966550"/>
                    </a:lnTo>
                    <a:lnTo>
                      <a:pt x="1207303" y="963718"/>
                    </a:lnTo>
                    <a:lnTo>
                      <a:pt x="1244124" y="907070"/>
                    </a:lnTo>
                    <a:lnTo>
                      <a:pt x="1262535" y="907070"/>
                    </a:lnTo>
                    <a:lnTo>
                      <a:pt x="1289443" y="919816"/>
                    </a:lnTo>
                    <a:lnTo>
                      <a:pt x="1289443" y="952388"/>
                    </a:lnTo>
                    <a:close/>
                    <a:moveTo>
                      <a:pt x="1242708" y="908486"/>
                    </a:moveTo>
                    <a:lnTo>
                      <a:pt x="1205887" y="963718"/>
                    </a:lnTo>
                    <a:lnTo>
                      <a:pt x="1115251" y="949556"/>
                    </a:lnTo>
                    <a:lnTo>
                      <a:pt x="1135078" y="911319"/>
                    </a:lnTo>
                    <a:lnTo>
                      <a:pt x="1242708" y="908486"/>
                    </a:lnTo>
                    <a:close/>
                    <a:moveTo>
                      <a:pt x="1195974" y="1126580"/>
                    </a:moveTo>
                    <a:lnTo>
                      <a:pt x="1103921" y="1120915"/>
                    </a:lnTo>
                    <a:lnTo>
                      <a:pt x="1200222" y="976464"/>
                    </a:lnTo>
                    <a:lnTo>
                      <a:pt x="1224298" y="970799"/>
                    </a:lnTo>
                    <a:lnTo>
                      <a:pt x="1289443" y="980712"/>
                    </a:lnTo>
                    <a:lnTo>
                      <a:pt x="1289443" y="980712"/>
                    </a:lnTo>
                    <a:lnTo>
                      <a:pt x="1289443" y="955221"/>
                    </a:lnTo>
                    <a:lnTo>
                      <a:pt x="1310685" y="950972"/>
                    </a:lnTo>
                    <a:lnTo>
                      <a:pt x="1276697" y="1144990"/>
                    </a:lnTo>
                    <a:lnTo>
                      <a:pt x="1195974" y="1126580"/>
                    </a:lnTo>
                    <a:close/>
                    <a:moveTo>
                      <a:pt x="1054355" y="1119499"/>
                    </a:moveTo>
                    <a:lnTo>
                      <a:pt x="1071349" y="1166233"/>
                    </a:lnTo>
                    <a:lnTo>
                      <a:pt x="1068517" y="1170482"/>
                    </a:lnTo>
                    <a:lnTo>
                      <a:pt x="1000540" y="1176146"/>
                    </a:lnTo>
                    <a:lnTo>
                      <a:pt x="1030279" y="1116666"/>
                    </a:lnTo>
                    <a:lnTo>
                      <a:pt x="1054355" y="1119499"/>
                    </a:lnTo>
                    <a:close/>
                    <a:moveTo>
                      <a:pt x="1198806" y="976464"/>
                    </a:moveTo>
                    <a:lnTo>
                      <a:pt x="1102505" y="1120915"/>
                    </a:lnTo>
                    <a:lnTo>
                      <a:pt x="1055771" y="1118083"/>
                    </a:lnTo>
                    <a:lnTo>
                      <a:pt x="1045857" y="1089759"/>
                    </a:lnTo>
                    <a:lnTo>
                      <a:pt x="1091176" y="1001955"/>
                    </a:lnTo>
                    <a:lnTo>
                      <a:pt x="1198806" y="976464"/>
                    </a:lnTo>
                    <a:close/>
                    <a:moveTo>
                      <a:pt x="1031696" y="1115250"/>
                    </a:moveTo>
                    <a:lnTo>
                      <a:pt x="1044441" y="1091175"/>
                    </a:lnTo>
                    <a:lnTo>
                      <a:pt x="1052938" y="1116666"/>
                    </a:lnTo>
                    <a:lnTo>
                      <a:pt x="1031696" y="1115250"/>
                    </a:lnTo>
                    <a:close/>
                    <a:moveTo>
                      <a:pt x="1088343" y="1000539"/>
                    </a:moveTo>
                    <a:lnTo>
                      <a:pt x="1045857" y="1085510"/>
                    </a:lnTo>
                    <a:lnTo>
                      <a:pt x="1020366" y="1016117"/>
                    </a:lnTo>
                    <a:lnTo>
                      <a:pt x="1088343" y="1000539"/>
                    </a:lnTo>
                    <a:close/>
                    <a:moveTo>
                      <a:pt x="1088343" y="999122"/>
                    </a:moveTo>
                    <a:lnTo>
                      <a:pt x="1016117" y="1016117"/>
                    </a:lnTo>
                    <a:lnTo>
                      <a:pt x="1016117" y="1016117"/>
                    </a:lnTo>
                    <a:lnTo>
                      <a:pt x="1043025" y="1089759"/>
                    </a:lnTo>
                    <a:lnTo>
                      <a:pt x="1030279" y="1116666"/>
                    </a:lnTo>
                    <a:lnTo>
                      <a:pt x="946724" y="1111002"/>
                    </a:lnTo>
                    <a:lnTo>
                      <a:pt x="948140" y="929729"/>
                    </a:lnTo>
                    <a:lnTo>
                      <a:pt x="1113835" y="953804"/>
                    </a:lnTo>
                    <a:lnTo>
                      <a:pt x="1088343" y="999122"/>
                    </a:lnTo>
                    <a:close/>
                    <a:moveTo>
                      <a:pt x="1101089" y="1122331"/>
                    </a:moveTo>
                    <a:lnTo>
                      <a:pt x="1072765" y="1164817"/>
                    </a:lnTo>
                    <a:lnTo>
                      <a:pt x="1055771" y="1119499"/>
                    </a:lnTo>
                    <a:lnTo>
                      <a:pt x="1101089" y="1122331"/>
                    </a:lnTo>
                    <a:close/>
                    <a:moveTo>
                      <a:pt x="1102505" y="1122331"/>
                    </a:moveTo>
                    <a:lnTo>
                      <a:pt x="1195974" y="1129412"/>
                    </a:lnTo>
                    <a:lnTo>
                      <a:pt x="1279529" y="1146406"/>
                    </a:lnTo>
                    <a:lnTo>
                      <a:pt x="1278113" y="1152071"/>
                    </a:lnTo>
                    <a:lnTo>
                      <a:pt x="1074181" y="1170482"/>
                    </a:lnTo>
                    <a:lnTo>
                      <a:pt x="1072765" y="1167649"/>
                    </a:lnTo>
                    <a:lnTo>
                      <a:pt x="1102505" y="1122331"/>
                    </a:lnTo>
                    <a:close/>
                    <a:moveTo>
                      <a:pt x="1296524" y="680480"/>
                    </a:moveTo>
                    <a:lnTo>
                      <a:pt x="1132245" y="697474"/>
                    </a:lnTo>
                    <a:lnTo>
                      <a:pt x="1123748" y="688977"/>
                    </a:lnTo>
                    <a:lnTo>
                      <a:pt x="1143575" y="604005"/>
                    </a:lnTo>
                    <a:lnTo>
                      <a:pt x="1169066" y="592676"/>
                    </a:lnTo>
                    <a:lnTo>
                      <a:pt x="1227130" y="595508"/>
                    </a:lnTo>
                    <a:lnTo>
                      <a:pt x="1297940" y="654988"/>
                    </a:lnTo>
                    <a:lnTo>
                      <a:pt x="1296524" y="680480"/>
                    </a:lnTo>
                    <a:close/>
                    <a:moveTo>
                      <a:pt x="1144991" y="591260"/>
                    </a:moveTo>
                    <a:lnTo>
                      <a:pt x="1142159" y="602589"/>
                    </a:lnTo>
                    <a:lnTo>
                      <a:pt x="1069933" y="635161"/>
                    </a:lnTo>
                    <a:lnTo>
                      <a:pt x="1040193" y="606838"/>
                    </a:lnTo>
                    <a:lnTo>
                      <a:pt x="1034528" y="584179"/>
                    </a:lnTo>
                    <a:lnTo>
                      <a:pt x="1144991" y="591260"/>
                    </a:lnTo>
                    <a:close/>
                    <a:moveTo>
                      <a:pt x="510537" y="555855"/>
                    </a:moveTo>
                    <a:lnTo>
                      <a:pt x="798024" y="572849"/>
                    </a:lnTo>
                    <a:lnTo>
                      <a:pt x="827764" y="595508"/>
                    </a:lnTo>
                    <a:lnTo>
                      <a:pt x="762619" y="657821"/>
                    </a:lnTo>
                    <a:lnTo>
                      <a:pt x="510537" y="555855"/>
                    </a:lnTo>
                    <a:close/>
                    <a:moveTo>
                      <a:pt x="679064" y="850422"/>
                    </a:moveTo>
                    <a:lnTo>
                      <a:pt x="686145" y="888660"/>
                    </a:lnTo>
                    <a:lnTo>
                      <a:pt x="686145" y="888660"/>
                    </a:lnTo>
                    <a:lnTo>
                      <a:pt x="772533" y="901405"/>
                    </a:lnTo>
                    <a:lnTo>
                      <a:pt x="677648" y="909903"/>
                    </a:lnTo>
                    <a:lnTo>
                      <a:pt x="637995" y="856087"/>
                    </a:lnTo>
                    <a:lnTo>
                      <a:pt x="679064" y="850422"/>
                    </a:lnTo>
                    <a:close/>
                    <a:moveTo>
                      <a:pt x="1071349" y="1170482"/>
                    </a:moveTo>
                    <a:lnTo>
                      <a:pt x="1072765" y="1169065"/>
                    </a:lnTo>
                    <a:lnTo>
                      <a:pt x="1072765" y="1170482"/>
                    </a:lnTo>
                    <a:lnTo>
                      <a:pt x="1071349" y="1170482"/>
                    </a:lnTo>
                    <a:close/>
                    <a:moveTo>
                      <a:pt x="1402738" y="1193141"/>
                    </a:moveTo>
                    <a:lnTo>
                      <a:pt x="1409819" y="1171898"/>
                    </a:lnTo>
                    <a:lnTo>
                      <a:pt x="1443807" y="1178979"/>
                    </a:lnTo>
                    <a:lnTo>
                      <a:pt x="1402738" y="1193141"/>
                    </a:lnTo>
                    <a:close/>
                    <a:moveTo>
                      <a:pt x="1347507" y="748457"/>
                    </a:moveTo>
                    <a:lnTo>
                      <a:pt x="1346090" y="752705"/>
                    </a:lnTo>
                    <a:lnTo>
                      <a:pt x="1293691" y="830596"/>
                    </a:lnTo>
                    <a:lnTo>
                      <a:pt x="1295107" y="754122"/>
                    </a:lnTo>
                    <a:lnTo>
                      <a:pt x="1347507" y="748457"/>
                    </a:lnTo>
                    <a:close/>
                    <a:moveTo>
                      <a:pt x="1144991" y="602589"/>
                    </a:moveTo>
                    <a:lnTo>
                      <a:pt x="1147823" y="592676"/>
                    </a:lnTo>
                    <a:lnTo>
                      <a:pt x="1166234" y="594092"/>
                    </a:lnTo>
                    <a:lnTo>
                      <a:pt x="1144991" y="602589"/>
                    </a:lnTo>
                    <a:close/>
                    <a:moveTo>
                      <a:pt x="901406" y="711636"/>
                    </a:moveTo>
                    <a:lnTo>
                      <a:pt x="765452" y="657821"/>
                    </a:lnTo>
                    <a:lnTo>
                      <a:pt x="832012" y="595508"/>
                    </a:lnTo>
                    <a:lnTo>
                      <a:pt x="832012" y="595508"/>
                    </a:lnTo>
                    <a:lnTo>
                      <a:pt x="802273" y="572849"/>
                    </a:lnTo>
                    <a:lnTo>
                      <a:pt x="1011869" y="584179"/>
                    </a:lnTo>
                    <a:lnTo>
                      <a:pt x="1037360" y="608254"/>
                    </a:lnTo>
                    <a:lnTo>
                      <a:pt x="1045857" y="645075"/>
                    </a:lnTo>
                    <a:lnTo>
                      <a:pt x="901406" y="711636"/>
                    </a:lnTo>
                    <a:close/>
                    <a:moveTo>
                      <a:pt x="1000540" y="1317765"/>
                    </a:moveTo>
                    <a:lnTo>
                      <a:pt x="1000540" y="1317765"/>
                    </a:lnTo>
                    <a:lnTo>
                      <a:pt x="992042" y="1289442"/>
                    </a:lnTo>
                    <a:lnTo>
                      <a:pt x="1069933" y="1171898"/>
                    </a:lnTo>
                    <a:lnTo>
                      <a:pt x="1072765" y="1171898"/>
                    </a:lnTo>
                    <a:lnTo>
                      <a:pt x="1120916" y="1305020"/>
                    </a:lnTo>
                    <a:lnTo>
                      <a:pt x="1050106" y="1360251"/>
                    </a:lnTo>
                    <a:lnTo>
                      <a:pt x="990626" y="1343257"/>
                    </a:lnTo>
                    <a:lnTo>
                      <a:pt x="1000540" y="1317765"/>
                    </a:lnTo>
                    <a:close/>
                    <a:moveTo>
                      <a:pt x="1054355" y="1361667"/>
                    </a:moveTo>
                    <a:lnTo>
                      <a:pt x="1122332" y="1307852"/>
                    </a:lnTo>
                    <a:lnTo>
                      <a:pt x="1152072" y="1389991"/>
                    </a:lnTo>
                    <a:lnTo>
                      <a:pt x="1054355" y="1361667"/>
                    </a:lnTo>
                    <a:close/>
                    <a:moveTo>
                      <a:pt x="1351755" y="1283777"/>
                    </a:moveTo>
                    <a:lnTo>
                      <a:pt x="1269616" y="1242707"/>
                    </a:lnTo>
                    <a:lnTo>
                      <a:pt x="1399905" y="1195973"/>
                    </a:lnTo>
                    <a:lnTo>
                      <a:pt x="1380079" y="1252621"/>
                    </a:lnTo>
                    <a:lnTo>
                      <a:pt x="1351755" y="1283777"/>
                    </a:lnTo>
                    <a:close/>
                    <a:moveTo>
                      <a:pt x="1446640" y="1178979"/>
                    </a:moveTo>
                    <a:lnTo>
                      <a:pt x="1384327" y="1248372"/>
                    </a:lnTo>
                    <a:lnTo>
                      <a:pt x="1402738" y="1194557"/>
                    </a:lnTo>
                    <a:lnTo>
                      <a:pt x="1446640" y="1178979"/>
                    </a:lnTo>
                    <a:close/>
                    <a:moveTo>
                      <a:pt x="1146407" y="589843"/>
                    </a:moveTo>
                    <a:lnTo>
                      <a:pt x="1157737" y="538860"/>
                    </a:lnTo>
                    <a:lnTo>
                      <a:pt x="1201639" y="575682"/>
                    </a:lnTo>
                    <a:lnTo>
                      <a:pt x="1167650" y="591260"/>
                    </a:lnTo>
                    <a:lnTo>
                      <a:pt x="1146407" y="589843"/>
                    </a:lnTo>
                    <a:close/>
                    <a:moveTo>
                      <a:pt x="799440" y="570017"/>
                    </a:moveTo>
                    <a:lnTo>
                      <a:pt x="662069" y="465219"/>
                    </a:lnTo>
                    <a:lnTo>
                      <a:pt x="812186" y="388744"/>
                    </a:lnTo>
                    <a:lnTo>
                      <a:pt x="1010453" y="581346"/>
                    </a:lnTo>
                    <a:lnTo>
                      <a:pt x="799440" y="570017"/>
                    </a:lnTo>
                    <a:close/>
                    <a:moveTo>
                      <a:pt x="492127" y="550190"/>
                    </a:moveTo>
                    <a:lnTo>
                      <a:pt x="483630" y="554439"/>
                    </a:lnTo>
                    <a:lnTo>
                      <a:pt x="504873" y="555855"/>
                    </a:lnTo>
                    <a:lnTo>
                      <a:pt x="762619" y="659237"/>
                    </a:lnTo>
                    <a:lnTo>
                      <a:pt x="681897" y="735711"/>
                    </a:lnTo>
                    <a:lnTo>
                      <a:pt x="659237" y="730046"/>
                    </a:lnTo>
                    <a:lnTo>
                      <a:pt x="639411" y="621000"/>
                    </a:lnTo>
                    <a:lnTo>
                      <a:pt x="639411" y="621000"/>
                    </a:lnTo>
                    <a:lnTo>
                      <a:pt x="509121" y="659237"/>
                    </a:lnTo>
                    <a:lnTo>
                      <a:pt x="452473" y="534612"/>
                    </a:lnTo>
                    <a:lnTo>
                      <a:pt x="492127" y="550190"/>
                    </a:lnTo>
                    <a:close/>
                    <a:moveTo>
                      <a:pt x="657821" y="731462"/>
                    </a:moveTo>
                    <a:lnTo>
                      <a:pt x="679064" y="847590"/>
                    </a:lnTo>
                    <a:lnTo>
                      <a:pt x="636578" y="854671"/>
                    </a:lnTo>
                    <a:lnTo>
                      <a:pt x="543110" y="730046"/>
                    </a:lnTo>
                    <a:lnTo>
                      <a:pt x="530364" y="701722"/>
                    </a:lnTo>
                    <a:lnTo>
                      <a:pt x="657821" y="731462"/>
                    </a:lnTo>
                    <a:close/>
                    <a:moveTo>
                      <a:pt x="691810" y="931145"/>
                    </a:moveTo>
                    <a:lnTo>
                      <a:pt x="691810" y="931145"/>
                    </a:lnTo>
                    <a:lnTo>
                      <a:pt x="677648" y="912735"/>
                    </a:lnTo>
                    <a:lnTo>
                      <a:pt x="779614" y="902822"/>
                    </a:lnTo>
                    <a:lnTo>
                      <a:pt x="943892" y="926897"/>
                    </a:lnTo>
                    <a:lnTo>
                      <a:pt x="942476" y="1108169"/>
                    </a:lnTo>
                    <a:lnTo>
                      <a:pt x="705972" y="1091175"/>
                    </a:lnTo>
                    <a:lnTo>
                      <a:pt x="633746" y="935394"/>
                    </a:lnTo>
                    <a:lnTo>
                      <a:pt x="691810" y="931145"/>
                    </a:lnTo>
                    <a:close/>
                    <a:moveTo>
                      <a:pt x="946724" y="1111002"/>
                    </a:moveTo>
                    <a:lnTo>
                      <a:pt x="1028863" y="1116666"/>
                    </a:lnTo>
                    <a:lnTo>
                      <a:pt x="997707" y="1177563"/>
                    </a:lnTo>
                    <a:lnTo>
                      <a:pt x="997707" y="1177563"/>
                    </a:lnTo>
                    <a:lnTo>
                      <a:pt x="1067100" y="1170482"/>
                    </a:lnTo>
                    <a:lnTo>
                      <a:pt x="990626" y="1285193"/>
                    </a:lnTo>
                    <a:lnTo>
                      <a:pt x="962302" y="1188892"/>
                    </a:lnTo>
                    <a:lnTo>
                      <a:pt x="962302" y="1188892"/>
                    </a:lnTo>
                    <a:lnTo>
                      <a:pt x="945308" y="1188892"/>
                    </a:lnTo>
                    <a:lnTo>
                      <a:pt x="946724" y="1111002"/>
                    </a:lnTo>
                    <a:close/>
                    <a:moveTo>
                      <a:pt x="1153488" y="1392824"/>
                    </a:moveTo>
                    <a:lnTo>
                      <a:pt x="1161985" y="1414067"/>
                    </a:lnTo>
                    <a:lnTo>
                      <a:pt x="1011869" y="1394240"/>
                    </a:lnTo>
                    <a:lnTo>
                      <a:pt x="1051522" y="1363084"/>
                    </a:lnTo>
                    <a:lnTo>
                      <a:pt x="1153488" y="1392824"/>
                    </a:lnTo>
                    <a:close/>
                    <a:moveTo>
                      <a:pt x="1113835" y="1548605"/>
                    </a:moveTo>
                    <a:lnTo>
                      <a:pt x="1181812" y="1473546"/>
                    </a:lnTo>
                    <a:lnTo>
                      <a:pt x="1214384" y="1562767"/>
                    </a:lnTo>
                    <a:lnTo>
                      <a:pt x="1113835" y="1548605"/>
                    </a:lnTo>
                    <a:close/>
                    <a:moveTo>
                      <a:pt x="1228546" y="1567015"/>
                    </a:moveTo>
                    <a:lnTo>
                      <a:pt x="1225714" y="1589674"/>
                    </a:lnTo>
                    <a:lnTo>
                      <a:pt x="1217217" y="1565599"/>
                    </a:lnTo>
                    <a:lnTo>
                      <a:pt x="1228546" y="1567015"/>
                    </a:lnTo>
                    <a:close/>
                    <a:moveTo>
                      <a:pt x="1251205" y="1661900"/>
                    </a:moveTo>
                    <a:lnTo>
                      <a:pt x="1280945" y="1742623"/>
                    </a:lnTo>
                    <a:lnTo>
                      <a:pt x="1212968" y="1751120"/>
                    </a:lnTo>
                    <a:lnTo>
                      <a:pt x="1221465" y="1664732"/>
                    </a:lnTo>
                    <a:lnTo>
                      <a:pt x="1251205" y="1661900"/>
                    </a:lnTo>
                    <a:close/>
                    <a:moveTo>
                      <a:pt x="1368749" y="1292274"/>
                    </a:moveTo>
                    <a:lnTo>
                      <a:pt x="1382911" y="1252621"/>
                    </a:lnTo>
                    <a:lnTo>
                      <a:pt x="1450888" y="1177563"/>
                    </a:lnTo>
                    <a:lnTo>
                      <a:pt x="1586843" y="1204470"/>
                    </a:lnTo>
                    <a:lnTo>
                      <a:pt x="1423981" y="1340425"/>
                    </a:lnTo>
                    <a:lnTo>
                      <a:pt x="1394241" y="1303604"/>
                    </a:lnTo>
                    <a:lnTo>
                      <a:pt x="1368749" y="1292274"/>
                    </a:lnTo>
                    <a:close/>
                    <a:moveTo>
                      <a:pt x="1449472" y="1176146"/>
                    </a:moveTo>
                    <a:lnTo>
                      <a:pt x="1411235" y="1169065"/>
                    </a:lnTo>
                    <a:lnTo>
                      <a:pt x="1421148" y="1139326"/>
                    </a:lnTo>
                    <a:lnTo>
                      <a:pt x="1487709" y="1133661"/>
                    </a:lnTo>
                    <a:lnTo>
                      <a:pt x="1449472" y="1176146"/>
                    </a:lnTo>
                    <a:lnTo>
                      <a:pt x="1449472" y="1176146"/>
                    </a:lnTo>
                    <a:close/>
                    <a:moveTo>
                      <a:pt x="1422564" y="1136493"/>
                    </a:moveTo>
                    <a:lnTo>
                      <a:pt x="1455137" y="1043024"/>
                    </a:lnTo>
                    <a:lnTo>
                      <a:pt x="1455137" y="1043024"/>
                    </a:lnTo>
                    <a:lnTo>
                      <a:pt x="1323431" y="1146406"/>
                    </a:lnTo>
                    <a:lnTo>
                      <a:pt x="1305021" y="1147823"/>
                    </a:lnTo>
                    <a:lnTo>
                      <a:pt x="1280945" y="1143574"/>
                    </a:lnTo>
                    <a:lnTo>
                      <a:pt x="1314934" y="949556"/>
                    </a:lnTo>
                    <a:lnTo>
                      <a:pt x="1337593" y="943891"/>
                    </a:lnTo>
                    <a:lnTo>
                      <a:pt x="1561351" y="1052938"/>
                    </a:lnTo>
                    <a:lnTo>
                      <a:pt x="1490541" y="1130828"/>
                    </a:lnTo>
                    <a:lnTo>
                      <a:pt x="1422564" y="1136493"/>
                    </a:lnTo>
                    <a:close/>
                    <a:moveTo>
                      <a:pt x="1157737" y="536028"/>
                    </a:moveTo>
                    <a:lnTo>
                      <a:pt x="1095424" y="483629"/>
                    </a:lnTo>
                    <a:lnTo>
                      <a:pt x="992042" y="408571"/>
                    </a:lnTo>
                    <a:lnTo>
                      <a:pt x="992042" y="408571"/>
                    </a:lnTo>
                    <a:lnTo>
                      <a:pt x="1033112" y="584179"/>
                    </a:lnTo>
                    <a:lnTo>
                      <a:pt x="1014701" y="582762"/>
                    </a:lnTo>
                    <a:lnTo>
                      <a:pt x="815018" y="388744"/>
                    </a:lnTo>
                    <a:lnTo>
                      <a:pt x="884412" y="353340"/>
                    </a:lnTo>
                    <a:lnTo>
                      <a:pt x="1186060" y="419901"/>
                    </a:lnTo>
                    <a:lnTo>
                      <a:pt x="1157737" y="536028"/>
                    </a:lnTo>
                    <a:close/>
                    <a:moveTo>
                      <a:pt x="527531" y="701722"/>
                    </a:moveTo>
                    <a:lnTo>
                      <a:pt x="537445" y="722965"/>
                    </a:lnTo>
                    <a:lnTo>
                      <a:pt x="520450" y="700306"/>
                    </a:lnTo>
                    <a:lnTo>
                      <a:pt x="527531" y="701722"/>
                    </a:lnTo>
                    <a:close/>
                    <a:moveTo>
                      <a:pt x="476549" y="928313"/>
                    </a:moveTo>
                    <a:lnTo>
                      <a:pt x="460971" y="929729"/>
                    </a:lnTo>
                    <a:lnTo>
                      <a:pt x="442560" y="916984"/>
                    </a:lnTo>
                    <a:lnTo>
                      <a:pt x="476549" y="928313"/>
                    </a:lnTo>
                    <a:close/>
                    <a:moveTo>
                      <a:pt x="962302" y="1334760"/>
                    </a:moveTo>
                    <a:lnTo>
                      <a:pt x="990626" y="1292274"/>
                    </a:lnTo>
                    <a:lnTo>
                      <a:pt x="997707" y="1317765"/>
                    </a:lnTo>
                    <a:lnTo>
                      <a:pt x="989210" y="1343257"/>
                    </a:lnTo>
                    <a:lnTo>
                      <a:pt x="962302" y="1334760"/>
                    </a:lnTo>
                    <a:close/>
                    <a:moveTo>
                      <a:pt x="1014701" y="1933808"/>
                    </a:moveTo>
                    <a:lnTo>
                      <a:pt x="1106754" y="1926727"/>
                    </a:lnTo>
                    <a:lnTo>
                      <a:pt x="1133662" y="2008867"/>
                    </a:lnTo>
                    <a:lnTo>
                      <a:pt x="1014701" y="1933808"/>
                    </a:lnTo>
                    <a:close/>
                    <a:moveTo>
                      <a:pt x="1210136" y="1752536"/>
                    </a:moveTo>
                    <a:lnTo>
                      <a:pt x="1193141" y="1918230"/>
                    </a:lnTo>
                    <a:lnTo>
                      <a:pt x="1108170" y="1923895"/>
                    </a:lnTo>
                    <a:lnTo>
                      <a:pt x="1058603" y="1770946"/>
                    </a:lnTo>
                    <a:lnTo>
                      <a:pt x="1210136" y="1752536"/>
                    </a:lnTo>
                    <a:close/>
                    <a:moveTo>
                      <a:pt x="1180396" y="2041439"/>
                    </a:moveTo>
                    <a:lnTo>
                      <a:pt x="1176147" y="2079676"/>
                    </a:lnTo>
                    <a:lnTo>
                      <a:pt x="1164817" y="2098087"/>
                    </a:lnTo>
                    <a:lnTo>
                      <a:pt x="1137910" y="2014531"/>
                    </a:lnTo>
                    <a:lnTo>
                      <a:pt x="1180396" y="2041439"/>
                    </a:lnTo>
                    <a:close/>
                    <a:moveTo>
                      <a:pt x="1340426" y="943891"/>
                    </a:moveTo>
                    <a:lnTo>
                      <a:pt x="1496207" y="908486"/>
                    </a:lnTo>
                    <a:lnTo>
                      <a:pt x="1496207" y="908486"/>
                    </a:lnTo>
                    <a:lnTo>
                      <a:pt x="1561351" y="840509"/>
                    </a:lnTo>
                    <a:lnTo>
                      <a:pt x="1606669" y="1003371"/>
                    </a:lnTo>
                    <a:lnTo>
                      <a:pt x="1562767" y="1051522"/>
                    </a:lnTo>
                    <a:lnTo>
                      <a:pt x="1340426" y="943891"/>
                    </a:lnTo>
                    <a:close/>
                    <a:moveTo>
                      <a:pt x="451057" y="531780"/>
                    </a:moveTo>
                    <a:lnTo>
                      <a:pt x="371750" y="357588"/>
                    </a:lnTo>
                    <a:lnTo>
                      <a:pt x="443976" y="303773"/>
                    </a:lnTo>
                    <a:lnTo>
                      <a:pt x="657821" y="465219"/>
                    </a:lnTo>
                    <a:lnTo>
                      <a:pt x="493543" y="548774"/>
                    </a:lnTo>
                    <a:lnTo>
                      <a:pt x="451057" y="531780"/>
                    </a:lnTo>
                    <a:close/>
                    <a:moveTo>
                      <a:pt x="448225" y="888660"/>
                    </a:moveTo>
                    <a:lnTo>
                      <a:pt x="448225" y="888660"/>
                    </a:lnTo>
                    <a:lnTo>
                      <a:pt x="601173" y="863168"/>
                    </a:lnTo>
                    <a:lnTo>
                      <a:pt x="625249" y="915567"/>
                    </a:lnTo>
                    <a:lnTo>
                      <a:pt x="482213" y="928313"/>
                    </a:lnTo>
                    <a:lnTo>
                      <a:pt x="436895" y="912735"/>
                    </a:lnTo>
                    <a:lnTo>
                      <a:pt x="251374" y="783862"/>
                    </a:lnTo>
                    <a:lnTo>
                      <a:pt x="308022" y="666318"/>
                    </a:lnTo>
                    <a:lnTo>
                      <a:pt x="448225" y="888660"/>
                    </a:lnTo>
                    <a:close/>
                    <a:moveTo>
                      <a:pt x="174900" y="696058"/>
                    </a:moveTo>
                    <a:lnTo>
                      <a:pt x="211721" y="759786"/>
                    </a:lnTo>
                    <a:lnTo>
                      <a:pt x="248542" y="785278"/>
                    </a:lnTo>
                    <a:lnTo>
                      <a:pt x="220218" y="843341"/>
                    </a:lnTo>
                    <a:lnTo>
                      <a:pt x="133830" y="815018"/>
                    </a:lnTo>
                    <a:lnTo>
                      <a:pt x="149408" y="728630"/>
                    </a:lnTo>
                    <a:lnTo>
                      <a:pt x="174900" y="696058"/>
                    </a:lnTo>
                    <a:close/>
                    <a:moveTo>
                      <a:pt x="173483" y="693225"/>
                    </a:moveTo>
                    <a:lnTo>
                      <a:pt x="147992" y="722965"/>
                    </a:lnTo>
                    <a:lnTo>
                      <a:pt x="157906" y="667734"/>
                    </a:lnTo>
                    <a:lnTo>
                      <a:pt x="173483" y="693225"/>
                    </a:lnTo>
                    <a:close/>
                    <a:moveTo>
                      <a:pt x="162154" y="633745"/>
                    </a:moveTo>
                    <a:lnTo>
                      <a:pt x="157906" y="660653"/>
                    </a:lnTo>
                    <a:lnTo>
                      <a:pt x="147992" y="642242"/>
                    </a:lnTo>
                    <a:lnTo>
                      <a:pt x="162154" y="633745"/>
                    </a:lnTo>
                    <a:close/>
                    <a:moveTo>
                      <a:pt x="159322" y="664902"/>
                    </a:moveTo>
                    <a:lnTo>
                      <a:pt x="164987" y="633745"/>
                    </a:lnTo>
                    <a:lnTo>
                      <a:pt x="180564" y="625248"/>
                    </a:lnTo>
                    <a:lnTo>
                      <a:pt x="225883" y="635161"/>
                    </a:lnTo>
                    <a:lnTo>
                      <a:pt x="176316" y="693225"/>
                    </a:lnTo>
                    <a:lnTo>
                      <a:pt x="159322" y="664902"/>
                    </a:lnTo>
                    <a:close/>
                    <a:moveTo>
                      <a:pt x="163570" y="630913"/>
                    </a:moveTo>
                    <a:lnTo>
                      <a:pt x="146576" y="640826"/>
                    </a:lnTo>
                    <a:lnTo>
                      <a:pt x="129582" y="611086"/>
                    </a:lnTo>
                    <a:lnTo>
                      <a:pt x="164987" y="619584"/>
                    </a:lnTo>
                    <a:lnTo>
                      <a:pt x="163570" y="630913"/>
                    </a:lnTo>
                    <a:close/>
                    <a:moveTo>
                      <a:pt x="177732" y="622416"/>
                    </a:moveTo>
                    <a:lnTo>
                      <a:pt x="166402" y="629497"/>
                    </a:lnTo>
                    <a:lnTo>
                      <a:pt x="167819" y="619584"/>
                    </a:lnTo>
                    <a:lnTo>
                      <a:pt x="177732" y="622416"/>
                    </a:lnTo>
                    <a:close/>
                    <a:moveTo>
                      <a:pt x="145160" y="643659"/>
                    </a:moveTo>
                    <a:lnTo>
                      <a:pt x="156489" y="663485"/>
                    </a:lnTo>
                    <a:lnTo>
                      <a:pt x="145160" y="724382"/>
                    </a:lnTo>
                    <a:lnTo>
                      <a:pt x="82847" y="798023"/>
                    </a:lnTo>
                    <a:lnTo>
                      <a:pt x="82847" y="798023"/>
                    </a:lnTo>
                    <a:lnTo>
                      <a:pt x="129582" y="813602"/>
                    </a:lnTo>
                    <a:lnTo>
                      <a:pt x="82847" y="1071348"/>
                    </a:lnTo>
                    <a:lnTo>
                      <a:pt x="12038" y="986377"/>
                    </a:lnTo>
                    <a:lnTo>
                      <a:pt x="111171" y="662069"/>
                    </a:lnTo>
                    <a:lnTo>
                      <a:pt x="145160" y="643659"/>
                    </a:lnTo>
                    <a:close/>
                    <a:moveTo>
                      <a:pt x="145160" y="730046"/>
                    </a:moveTo>
                    <a:lnTo>
                      <a:pt x="130998" y="812185"/>
                    </a:lnTo>
                    <a:lnTo>
                      <a:pt x="87096" y="798023"/>
                    </a:lnTo>
                    <a:lnTo>
                      <a:pt x="145160" y="730046"/>
                    </a:lnTo>
                    <a:close/>
                    <a:moveTo>
                      <a:pt x="945308" y="1191725"/>
                    </a:moveTo>
                    <a:lnTo>
                      <a:pt x="960886" y="1191725"/>
                    </a:lnTo>
                    <a:lnTo>
                      <a:pt x="989210" y="1288025"/>
                    </a:lnTo>
                    <a:lnTo>
                      <a:pt x="959470" y="1333344"/>
                    </a:lnTo>
                    <a:lnTo>
                      <a:pt x="955221" y="1331927"/>
                    </a:lnTo>
                    <a:lnTo>
                      <a:pt x="945308" y="1320598"/>
                    </a:lnTo>
                    <a:lnTo>
                      <a:pt x="945308" y="1191725"/>
                    </a:lnTo>
                    <a:close/>
                    <a:moveTo>
                      <a:pt x="1048690" y="1361667"/>
                    </a:moveTo>
                    <a:lnTo>
                      <a:pt x="1007621" y="1392824"/>
                    </a:lnTo>
                    <a:lnTo>
                      <a:pt x="1003372" y="1392824"/>
                    </a:lnTo>
                    <a:lnTo>
                      <a:pt x="980713" y="1365916"/>
                    </a:lnTo>
                    <a:lnTo>
                      <a:pt x="987794" y="1344673"/>
                    </a:lnTo>
                    <a:lnTo>
                      <a:pt x="1048690" y="1361667"/>
                    </a:lnTo>
                    <a:close/>
                    <a:moveTo>
                      <a:pt x="1003372" y="1395656"/>
                    </a:moveTo>
                    <a:lnTo>
                      <a:pt x="1003372" y="1395656"/>
                    </a:lnTo>
                    <a:lnTo>
                      <a:pt x="1006204" y="1395656"/>
                    </a:lnTo>
                    <a:lnTo>
                      <a:pt x="959470" y="1432477"/>
                    </a:lnTo>
                    <a:lnTo>
                      <a:pt x="982129" y="1368748"/>
                    </a:lnTo>
                    <a:lnTo>
                      <a:pt x="1003372" y="1395656"/>
                    </a:lnTo>
                    <a:close/>
                    <a:moveTo>
                      <a:pt x="1333345" y="1884242"/>
                    </a:moveTo>
                    <a:lnTo>
                      <a:pt x="1322015" y="1851670"/>
                    </a:lnTo>
                    <a:lnTo>
                      <a:pt x="1401322" y="1725629"/>
                    </a:lnTo>
                    <a:lnTo>
                      <a:pt x="1443807" y="1701553"/>
                    </a:lnTo>
                    <a:lnTo>
                      <a:pt x="1472131" y="1803519"/>
                    </a:lnTo>
                    <a:lnTo>
                      <a:pt x="1333345" y="1884242"/>
                    </a:lnTo>
                    <a:close/>
                    <a:moveTo>
                      <a:pt x="1402738" y="1721380"/>
                    </a:moveTo>
                    <a:lnTo>
                      <a:pt x="1433894" y="1670397"/>
                    </a:lnTo>
                    <a:lnTo>
                      <a:pt x="1442391" y="1698721"/>
                    </a:lnTo>
                    <a:lnTo>
                      <a:pt x="1402738" y="1721380"/>
                    </a:lnTo>
                    <a:close/>
                    <a:moveTo>
                      <a:pt x="1499039" y="1490541"/>
                    </a:moveTo>
                    <a:lnTo>
                      <a:pt x="1452305" y="1476379"/>
                    </a:lnTo>
                    <a:lnTo>
                      <a:pt x="1472131" y="1455136"/>
                    </a:lnTo>
                    <a:lnTo>
                      <a:pt x="1472131" y="1455136"/>
                    </a:lnTo>
                    <a:lnTo>
                      <a:pt x="1297940" y="1432477"/>
                    </a:lnTo>
                    <a:lnTo>
                      <a:pt x="1245541" y="1416899"/>
                    </a:lnTo>
                    <a:lnTo>
                      <a:pt x="1246957" y="1401321"/>
                    </a:lnTo>
                    <a:lnTo>
                      <a:pt x="1350339" y="1286609"/>
                    </a:lnTo>
                    <a:lnTo>
                      <a:pt x="1364501" y="1293690"/>
                    </a:lnTo>
                    <a:lnTo>
                      <a:pt x="1316350" y="1431061"/>
                    </a:lnTo>
                    <a:lnTo>
                      <a:pt x="1316350" y="1432477"/>
                    </a:lnTo>
                    <a:lnTo>
                      <a:pt x="1421148" y="1346089"/>
                    </a:lnTo>
                    <a:lnTo>
                      <a:pt x="1507536" y="1453720"/>
                    </a:lnTo>
                    <a:lnTo>
                      <a:pt x="1507536" y="1453720"/>
                    </a:lnTo>
                    <a:lnTo>
                      <a:pt x="1659069" y="1346089"/>
                    </a:lnTo>
                    <a:lnTo>
                      <a:pt x="1657652" y="1358835"/>
                    </a:lnTo>
                    <a:lnTo>
                      <a:pt x="1499039" y="1490541"/>
                    </a:lnTo>
                    <a:close/>
                    <a:moveTo>
                      <a:pt x="1660484" y="1341841"/>
                    </a:moveTo>
                    <a:lnTo>
                      <a:pt x="1508952" y="1449471"/>
                    </a:lnTo>
                    <a:lnTo>
                      <a:pt x="1423981" y="1343257"/>
                    </a:lnTo>
                    <a:lnTo>
                      <a:pt x="1591091" y="1204470"/>
                    </a:lnTo>
                    <a:lnTo>
                      <a:pt x="1591091" y="1204470"/>
                    </a:lnTo>
                    <a:lnTo>
                      <a:pt x="1453721" y="1177563"/>
                    </a:lnTo>
                    <a:lnTo>
                      <a:pt x="1606669" y="1122331"/>
                    </a:lnTo>
                    <a:lnTo>
                      <a:pt x="1688808" y="1115250"/>
                    </a:lnTo>
                    <a:lnTo>
                      <a:pt x="1678895" y="1176146"/>
                    </a:lnTo>
                    <a:lnTo>
                      <a:pt x="1660484" y="1341841"/>
                    </a:lnTo>
                    <a:close/>
                    <a:moveTo>
                      <a:pt x="1542941" y="764035"/>
                    </a:moveTo>
                    <a:lnTo>
                      <a:pt x="1579762" y="721549"/>
                    </a:lnTo>
                    <a:lnTo>
                      <a:pt x="1684560" y="708803"/>
                    </a:lnTo>
                    <a:lnTo>
                      <a:pt x="1562767" y="834844"/>
                    </a:lnTo>
                    <a:lnTo>
                      <a:pt x="1542941" y="764035"/>
                    </a:lnTo>
                    <a:close/>
                    <a:moveTo>
                      <a:pt x="1354587" y="745624"/>
                    </a:moveTo>
                    <a:lnTo>
                      <a:pt x="1404154" y="670566"/>
                    </a:lnTo>
                    <a:lnTo>
                      <a:pt x="1644907" y="645075"/>
                    </a:lnTo>
                    <a:lnTo>
                      <a:pt x="1578346" y="720133"/>
                    </a:lnTo>
                    <a:lnTo>
                      <a:pt x="1354587" y="745624"/>
                    </a:lnTo>
                    <a:close/>
                    <a:moveTo>
                      <a:pt x="1402738" y="669150"/>
                    </a:moveTo>
                    <a:lnTo>
                      <a:pt x="1326264" y="677647"/>
                    </a:lnTo>
                    <a:lnTo>
                      <a:pt x="1299356" y="654988"/>
                    </a:lnTo>
                    <a:lnTo>
                      <a:pt x="1300772" y="601173"/>
                    </a:lnTo>
                    <a:lnTo>
                      <a:pt x="1348922" y="604005"/>
                    </a:lnTo>
                    <a:lnTo>
                      <a:pt x="1348922" y="604005"/>
                    </a:lnTo>
                    <a:lnTo>
                      <a:pt x="1392824" y="465219"/>
                    </a:lnTo>
                    <a:lnTo>
                      <a:pt x="1446640" y="476548"/>
                    </a:lnTo>
                    <a:lnTo>
                      <a:pt x="1432478" y="623832"/>
                    </a:lnTo>
                    <a:lnTo>
                      <a:pt x="1402738" y="669150"/>
                    </a:lnTo>
                    <a:close/>
                    <a:moveTo>
                      <a:pt x="1348922" y="601173"/>
                    </a:moveTo>
                    <a:lnTo>
                      <a:pt x="1302188" y="598341"/>
                    </a:lnTo>
                    <a:lnTo>
                      <a:pt x="1303604" y="531780"/>
                    </a:lnTo>
                    <a:lnTo>
                      <a:pt x="1347507" y="511953"/>
                    </a:lnTo>
                    <a:lnTo>
                      <a:pt x="1347507" y="511953"/>
                    </a:lnTo>
                    <a:lnTo>
                      <a:pt x="1340426" y="452473"/>
                    </a:lnTo>
                    <a:lnTo>
                      <a:pt x="1392824" y="463803"/>
                    </a:lnTo>
                    <a:lnTo>
                      <a:pt x="1348922" y="601173"/>
                    </a:lnTo>
                    <a:close/>
                    <a:moveTo>
                      <a:pt x="1300772" y="530363"/>
                    </a:moveTo>
                    <a:lnTo>
                      <a:pt x="1204471" y="574265"/>
                    </a:lnTo>
                    <a:lnTo>
                      <a:pt x="1159153" y="536028"/>
                    </a:lnTo>
                    <a:lnTo>
                      <a:pt x="1186060" y="418484"/>
                    </a:lnTo>
                    <a:lnTo>
                      <a:pt x="1303604" y="443976"/>
                    </a:lnTo>
                    <a:lnTo>
                      <a:pt x="1300772" y="530363"/>
                    </a:lnTo>
                    <a:close/>
                    <a:moveTo>
                      <a:pt x="881579" y="350507"/>
                    </a:moveTo>
                    <a:lnTo>
                      <a:pt x="744209" y="320767"/>
                    </a:lnTo>
                    <a:lnTo>
                      <a:pt x="645075" y="225882"/>
                    </a:lnTo>
                    <a:lnTo>
                      <a:pt x="959470" y="262703"/>
                    </a:lnTo>
                    <a:lnTo>
                      <a:pt x="1017534" y="281114"/>
                    </a:lnTo>
                    <a:lnTo>
                      <a:pt x="881579" y="350507"/>
                    </a:lnTo>
                    <a:close/>
                    <a:moveTo>
                      <a:pt x="773949" y="201807"/>
                    </a:moveTo>
                    <a:lnTo>
                      <a:pt x="623833" y="203223"/>
                    </a:lnTo>
                    <a:lnTo>
                      <a:pt x="604006" y="183397"/>
                    </a:lnTo>
                    <a:lnTo>
                      <a:pt x="639411" y="157905"/>
                    </a:lnTo>
                    <a:lnTo>
                      <a:pt x="773949" y="201807"/>
                    </a:lnTo>
                    <a:close/>
                    <a:moveTo>
                      <a:pt x="622416" y="206056"/>
                    </a:moveTo>
                    <a:lnTo>
                      <a:pt x="639411" y="223050"/>
                    </a:lnTo>
                    <a:lnTo>
                      <a:pt x="564352" y="214553"/>
                    </a:lnTo>
                    <a:lnTo>
                      <a:pt x="574266" y="207472"/>
                    </a:lnTo>
                    <a:lnTo>
                      <a:pt x="622416" y="206056"/>
                    </a:lnTo>
                    <a:close/>
                    <a:moveTo>
                      <a:pt x="449641" y="533196"/>
                    </a:moveTo>
                    <a:lnTo>
                      <a:pt x="507705" y="659237"/>
                    </a:lnTo>
                    <a:lnTo>
                      <a:pt x="490711" y="664902"/>
                    </a:lnTo>
                    <a:lnTo>
                      <a:pt x="490711" y="664902"/>
                    </a:lnTo>
                    <a:lnTo>
                      <a:pt x="514786" y="697474"/>
                    </a:lnTo>
                    <a:lnTo>
                      <a:pt x="313687" y="652156"/>
                    </a:lnTo>
                    <a:lnTo>
                      <a:pt x="383080" y="507704"/>
                    </a:lnTo>
                    <a:lnTo>
                      <a:pt x="449641" y="533196"/>
                    </a:lnTo>
                    <a:close/>
                    <a:moveTo>
                      <a:pt x="448225" y="885827"/>
                    </a:moveTo>
                    <a:lnTo>
                      <a:pt x="308022" y="663485"/>
                    </a:lnTo>
                    <a:lnTo>
                      <a:pt x="312270" y="653572"/>
                    </a:lnTo>
                    <a:lnTo>
                      <a:pt x="516202" y="698890"/>
                    </a:lnTo>
                    <a:lnTo>
                      <a:pt x="540277" y="731462"/>
                    </a:lnTo>
                    <a:lnTo>
                      <a:pt x="599757" y="860336"/>
                    </a:lnTo>
                    <a:lnTo>
                      <a:pt x="448225" y="885827"/>
                    </a:lnTo>
                    <a:close/>
                    <a:moveTo>
                      <a:pt x="221634" y="841925"/>
                    </a:moveTo>
                    <a:lnTo>
                      <a:pt x="248542" y="785278"/>
                    </a:lnTo>
                    <a:lnTo>
                      <a:pt x="428398" y="911319"/>
                    </a:lnTo>
                    <a:lnTo>
                      <a:pt x="221634" y="841925"/>
                    </a:lnTo>
                    <a:close/>
                    <a:moveTo>
                      <a:pt x="248542" y="782445"/>
                    </a:moveTo>
                    <a:lnTo>
                      <a:pt x="213137" y="756954"/>
                    </a:lnTo>
                    <a:lnTo>
                      <a:pt x="176316" y="693225"/>
                    </a:lnTo>
                    <a:lnTo>
                      <a:pt x="227299" y="633745"/>
                    </a:lnTo>
                    <a:lnTo>
                      <a:pt x="298109" y="649323"/>
                    </a:lnTo>
                    <a:lnTo>
                      <a:pt x="306606" y="662069"/>
                    </a:lnTo>
                    <a:lnTo>
                      <a:pt x="248542" y="782445"/>
                    </a:lnTo>
                    <a:close/>
                    <a:moveTo>
                      <a:pt x="190478" y="479380"/>
                    </a:moveTo>
                    <a:lnTo>
                      <a:pt x="166402" y="618167"/>
                    </a:lnTo>
                    <a:lnTo>
                      <a:pt x="129582" y="609670"/>
                    </a:lnTo>
                    <a:lnTo>
                      <a:pt x="159322" y="514785"/>
                    </a:lnTo>
                    <a:lnTo>
                      <a:pt x="184813" y="469467"/>
                    </a:lnTo>
                    <a:lnTo>
                      <a:pt x="190478" y="479380"/>
                    </a:lnTo>
                    <a:close/>
                    <a:moveTo>
                      <a:pt x="132414" y="815018"/>
                    </a:moveTo>
                    <a:lnTo>
                      <a:pt x="218802" y="843341"/>
                    </a:lnTo>
                    <a:lnTo>
                      <a:pt x="163570" y="958053"/>
                    </a:lnTo>
                    <a:lnTo>
                      <a:pt x="163570" y="958053"/>
                    </a:lnTo>
                    <a:lnTo>
                      <a:pt x="459554" y="931145"/>
                    </a:lnTo>
                    <a:lnTo>
                      <a:pt x="690393" y="1092591"/>
                    </a:lnTo>
                    <a:lnTo>
                      <a:pt x="705972" y="1094007"/>
                    </a:lnTo>
                    <a:lnTo>
                      <a:pt x="742793" y="1176146"/>
                    </a:lnTo>
                    <a:lnTo>
                      <a:pt x="564352" y="1133661"/>
                    </a:lnTo>
                    <a:lnTo>
                      <a:pt x="452473" y="1010452"/>
                    </a:lnTo>
                    <a:lnTo>
                      <a:pt x="452473" y="1010452"/>
                    </a:lnTo>
                    <a:lnTo>
                      <a:pt x="418485" y="1098256"/>
                    </a:lnTo>
                    <a:lnTo>
                      <a:pt x="320768" y="1075597"/>
                    </a:lnTo>
                    <a:lnTo>
                      <a:pt x="320768" y="1075597"/>
                    </a:lnTo>
                    <a:lnTo>
                      <a:pt x="300941" y="1149239"/>
                    </a:lnTo>
                    <a:lnTo>
                      <a:pt x="95593" y="1086927"/>
                    </a:lnTo>
                    <a:lnTo>
                      <a:pt x="84264" y="1074181"/>
                    </a:lnTo>
                    <a:lnTo>
                      <a:pt x="132414" y="815018"/>
                    </a:lnTo>
                    <a:close/>
                    <a:moveTo>
                      <a:pt x="747041" y="1178979"/>
                    </a:moveTo>
                    <a:lnTo>
                      <a:pt x="747041" y="1178979"/>
                    </a:lnTo>
                    <a:lnTo>
                      <a:pt x="708804" y="1094007"/>
                    </a:lnTo>
                    <a:lnTo>
                      <a:pt x="943892" y="1109585"/>
                    </a:lnTo>
                    <a:lnTo>
                      <a:pt x="943892" y="1188892"/>
                    </a:lnTo>
                    <a:lnTo>
                      <a:pt x="833429" y="1186060"/>
                    </a:lnTo>
                    <a:lnTo>
                      <a:pt x="833429" y="1186060"/>
                    </a:lnTo>
                    <a:lnTo>
                      <a:pt x="943892" y="1320598"/>
                    </a:lnTo>
                    <a:lnTo>
                      <a:pt x="943892" y="1327679"/>
                    </a:lnTo>
                    <a:lnTo>
                      <a:pt x="673399" y="1248372"/>
                    </a:lnTo>
                    <a:lnTo>
                      <a:pt x="570017" y="1135077"/>
                    </a:lnTo>
                    <a:lnTo>
                      <a:pt x="747041" y="1178979"/>
                    </a:lnTo>
                    <a:close/>
                    <a:moveTo>
                      <a:pt x="837678" y="1190308"/>
                    </a:moveTo>
                    <a:lnTo>
                      <a:pt x="943892" y="1193141"/>
                    </a:lnTo>
                    <a:lnTo>
                      <a:pt x="943892" y="1319182"/>
                    </a:lnTo>
                    <a:lnTo>
                      <a:pt x="837678" y="1190308"/>
                    </a:lnTo>
                    <a:close/>
                    <a:moveTo>
                      <a:pt x="953805" y="1334760"/>
                    </a:moveTo>
                    <a:lnTo>
                      <a:pt x="956638" y="1339008"/>
                    </a:lnTo>
                    <a:lnTo>
                      <a:pt x="945308" y="1356003"/>
                    </a:lnTo>
                    <a:lnTo>
                      <a:pt x="945308" y="1331927"/>
                    </a:lnTo>
                    <a:lnTo>
                      <a:pt x="953805" y="1334760"/>
                    </a:lnTo>
                    <a:close/>
                    <a:moveTo>
                      <a:pt x="1009036" y="1395656"/>
                    </a:moveTo>
                    <a:lnTo>
                      <a:pt x="1161985" y="1415483"/>
                    </a:lnTo>
                    <a:lnTo>
                      <a:pt x="1181812" y="1470714"/>
                    </a:lnTo>
                    <a:lnTo>
                      <a:pt x="1111002" y="1548605"/>
                    </a:lnTo>
                    <a:lnTo>
                      <a:pt x="926897" y="1523113"/>
                    </a:lnTo>
                    <a:lnTo>
                      <a:pt x="958054" y="1435310"/>
                    </a:lnTo>
                    <a:lnTo>
                      <a:pt x="1009036" y="1395656"/>
                    </a:lnTo>
                    <a:close/>
                    <a:moveTo>
                      <a:pt x="926897" y="1525946"/>
                    </a:moveTo>
                    <a:lnTo>
                      <a:pt x="1109586" y="1551437"/>
                    </a:lnTo>
                    <a:lnTo>
                      <a:pt x="994874" y="1678894"/>
                    </a:lnTo>
                    <a:lnTo>
                      <a:pt x="994874" y="1678894"/>
                    </a:lnTo>
                    <a:lnTo>
                      <a:pt x="1038776" y="1676062"/>
                    </a:lnTo>
                    <a:lnTo>
                      <a:pt x="973632" y="1701553"/>
                    </a:lnTo>
                    <a:lnTo>
                      <a:pt x="973632" y="1701553"/>
                    </a:lnTo>
                    <a:lnTo>
                      <a:pt x="979297" y="1751120"/>
                    </a:lnTo>
                    <a:lnTo>
                      <a:pt x="857504" y="1731293"/>
                    </a:lnTo>
                    <a:lnTo>
                      <a:pt x="926897" y="1525946"/>
                    </a:lnTo>
                    <a:close/>
                    <a:moveTo>
                      <a:pt x="1483461" y="1898404"/>
                    </a:moveTo>
                    <a:lnTo>
                      <a:pt x="1283778" y="1912566"/>
                    </a:lnTo>
                    <a:lnTo>
                      <a:pt x="1320599" y="1853086"/>
                    </a:lnTo>
                    <a:lnTo>
                      <a:pt x="1333345" y="1887074"/>
                    </a:lnTo>
                    <a:lnTo>
                      <a:pt x="1333345" y="1887074"/>
                    </a:lnTo>
                    <a:lnTo>
                      <a:pt x="1472131" y="1804935"/>
                    </a:lnTo>
                    <a:lnTo>
                      <a:pt x="1496207" y="1888491"/>
                    </a:lnTo>
                    <a:lnTo>
                      <a:pt x="1483461" y="1898404"/>
                    </a:lnTo>
                    <a:close/>
                    <a:moveTo>
                      <a:pt x="1443807" y="1697305"/>
                    </a:moveTo>
                    <a:lnTo>
                      <a:pt x="1435310" y="1666148"/>
                    </a:lnTo>
                    <a:lnTo>
                      <a:pt x="1435310" y="1666148"/>
                    </a:lnTo>
                    <a:lnTo>
                      <a:pt x="1399905" y="1724212"/>
                    </a:lnTo>
                    <a:lnTo>
                      <a:pt x="1392824" y="1728461"/>
                    </a:lnTo>
                    <a:lnTo>
                      <a:pt x="1283778" y="1742623"/>
                    </a:lnTo>
                    <a:lnTo>
                      <a:pt x="1254038" y="1661900"/>
                    </a:lnTo>
                    <a:lnTo>
                      <a:pt x="1278113" y="1660484"/>
                    </a:lnTo>
                    <a:lnTo>
                      <a:pt x="1278113" y="1660484"/>
                    </a:lnTo>
                    <a:lnTo>
                      <a:pt x="1351755" y="1584010"/>
                    </a:lnTo>
                    <a:lnTo>
                      <a:pt x="1387160" y="1588258"/>
                    </a:lnTo>
                    <a:lnTo>
                      <a:pt x="1387160" y="1588258"/>
                    </a:lnTo>
                    <a:lnTo>
                      <a:pt x="1482045" y="1508951"/>
                    </a:lnTo>
                    <a:lnTo>
                      <a:pt x="1514617" y="1496206"/>
                    </a:lnTo>
                    <a:lnTo>
                      <a:pt x="1643490" y="1533027"/>
                    </a:lnTo>
                    <a:lnTo>
                      <a:pt x="1637826" y="1586842"/>
                    </a:lnTo>
                    <a:lnTo>
                      <a:pt x="1443807" y="1697305"/>
                    </a:lnTo>
                    <a:close/>
                    <a:moveTo>
                      <a:pt x="1755369" y="1276696"/>
                    </a:moveTo>
                    <a:lnTo>
                      <a:pt x="1661901" y="1354586"/>
                    </a:lnTo>
                    <a:lnTo>
                      <a:pt x="1663317" y="1341841"/>
                    </a:lnTo>
                    <a:lnTo>
                      <a:pt x="1755369" y="1276696"/>
                    </a:lnTo>
                    <a:close/>
                    <a:moveTo>
                      <a:pt x="970799" y="264120"/>
                    </a:moveTo>
                    <a:lnTo>
                      <a:pt x="1038776" y="272617"/>
                    </a:lnTo>
                    <a:lnTo>
                      <a:pt x="1021782" y="281114"/>
                    </a:lnTo>
                    <a:lnTo>
                      <a:pt x="970799" y="264120"/>
                    </a:lnTo>
                    <a:close/>
                    <a:moveTo>
                      <a:pt x="833429" y="10621"/>
                    </a:moveTo>
                    <a:lnTo>
                      <a:pt x="657821" y="142327"/>
                    </a:lnTo>
                    <a:lnTo>
                      <a:pt x="417069" y="88512"/>
                    </a:lnTo>
                    <a:lnTo>
                      <a:pt x="833429" y="10621"/>
                    </a:lnTo>
                    <a:close/>
                    <a:moveTo>
                      <a:pt x="577098" y="204640"/>
                    </a:moveTo>
                    <a:lnTo>
                      <a:pt x="602590" y="186229"/>
                    </a:lnTo>
                    <a:lnTo>
                      <a:pt x="621000" y="204640"/>
                    </a:lnTo>
                    <a:lnTo>
                      <a:pt x="577098" y="204640"/>
                    </a:lnTo>
                    <a:close/>
                    <a:moveTo>
                      <a:pt x="636578" y="157905"/>
                    </a:moveTo>
                    <a:lnTo>
                      <a:pt x="602590" y="183397"/>
                    </a:lnTo>
                    <a:lnTo>
                      <a:pt x="545942" y="129581"/>
                    </a:lnTo>
                    <a:lnTo>
                      <a:pt x="636578" y="157905"/>
                    </a:lnTo>
                    <a:close/>
                    <a:moveTo>
                      <a:pt x="511954" y="207472"/>
                    </a:moveTo>
                    <a:lnTo>
                      <a:pt x="571433" y="206056"/>
                    </a:lnTo>
                    <a:lnTo>
                      <a:pt x="562936" y="213137"/>
                    </a:lnTo>
                    <a:lnTo>
                      <a:pt x="511954" y="207472"/>
                    </a:lnTo>
                    <a:close/>
                    <a:moveTo>
                      <a:pt x="494959" y="207472"/>
                    </a:moveTo>
                    <a:lnTo>
                      <a:pt x="558688" y="214553"/>
                    </a:lnTo>
                    <a:lnTo>
                      <a:pt x="490711" y="265536"/>
                    </a:lnTo>
                    <a:lnTo>
                      <a:pt x="359005" y="237212"/>
                    </a:lnTo>
                    <a:lnTo>
                      <a:pt x="323600" y="210304"/>
                    </a:lnTo>
                    <a:lnTo>
                      <a:pt x="494959" y="207472"/>
                    </a:lnTo>
                    <a:close/>
                    <a:moveTo>
                      <a:pt x="479381" y="206056"/>
                    </a:moveTo>
                    <a:lnTo>
                      <a:pt x="320768" y="207472"/>
                    </a:lnTo>
                    <a:lnTo>
                      <a:pt x="288195" y="183397"/>
                    </a:lnTo>
                    <a:lnTo>
                      <a:pt x="479381" y="206056"/>
                    </a:lnTo>
                    <a:close/>
                    <a:moveTo>
                      <a:pt x="320768" y="210304"/>
                    </a:moveTo>
                    <a:lnTo>
                      <a:pt x="354756" y="237212"/>
                    </a:lnTo>
                    <a:lnTo>
                      <a:pt x="238628" y="211720"/>
                    </a:lnTo>
                    <a:lnTo>
                      <a:pt x="320768" y="210304"/>
                    </a:lnTo>
                    <a:close/>
                    <a:moveTo>
                      <a:pt x="300941" y="650740"/>
                    </a:moveTo>
                    <a:lnTo>
                      <a:pt x="310854" y="653572"/>
                    </a:lnTo>
                    <a:lnTo>
                      <a:pt x="306606" y="662069"/>
                    </a:lnTo>
                    <a:lnTo>
                      <a:pt x="300941" y="650740"/>
                    </a:lnTo>
                    <a:close/>
                    <a:moveTo>
                      <a:pt x="228715" y="632329"/>
                    </a:moveTo>
                    <a:lnTo>
                      <a:pt x="262704" y="592676"/>
                    </a:lnTo>
                    <a:lnTo>
                      <a:pt x="296692" y="646491"/>
                    </a:lnTo>
                    <a:lnTo>
                      <a:pt x="228715" y="632329"/>
                    </a:lnTo>
                    <a:close/>
                    <a:moveTo>
                      <a:pt x="262704" y="589843"/>
                    </a:moveTo>
                    <a:lnTo>
                      <a:pt x="255623" y="578514"/>
                    </a:lnTo>
                    <a:lnTo>
                      <a:pt x="289611" y="558687"/>
                    </a:lnTo>
                    <a:lnTo>
                      <a:pt x="262704" y="589843"/>
                    </a:lnTo>
                    <a:close/>
                    <a:moveTo>
                      <a:pt x="162154" y="506288"/>
                    </a:moveTo>
                    <a:lnTo>
                      <a:pt x="218802" y="320767"/>
                    </a:lnTo>
                    <a:lnTo>
                      <a:pt x="190478" y="477964"/>
                    </a:lnTo>
                    <a:lnTo>
                      <a:pt x="183397" y="466635"/>
                    </a:lnTo>
                    <a:lnTo>
                      <a:pt x="183397" y="466635"/>
                    </a:lnTo>
                    <a:lnTo>
                      <a:pt x="162154" y="506288"/>
                    </a:lnTo>
                    <a:close/>
                    <a:moveTo>
                      <a:pt x="116836" y="589843"/>
                    </a:moveTo>
                    <a:lnTo>
                      <a:pt x="153657" y="523282"/>
                    </a:lnTo>
                    <a:lnTo>
                      <a:pt x="128166" y="608254"/>
                    </a:lnTo>
                    <a:lnTo>
                      <a:pt x="116836" y="589843"/>
                    </a:lnTo>
                    <a:close/>
                    <a:moveTo>
                      <a:pt x="914152" y="1521697"/>
                    </a:moveTo>
                    <a:lnTo>
                      <a:pt x="853255" y="1518865"/>
                    </a:lnTo>
                    <a:lnTo>
                      <a:pt x="956638" y="1438142"/>
                    </a:lnTo>
                    <a:lnTo>
                      <a:pt x="926897" y="1523113"/>
                    </a:lnTo>
                    <a:lnTo>
                      <a:pt x="914152" y="1521697"/>
                    </a:lnTo>
                    <a:close/>
                    <a:moveTo>
                      <a:pt x="1003372" y="1755368"/>
                    </a:moveTo>
                    <a:lnTo>
                      <a:pt x="1000540" y="1761033"/>
                    </a:lnTo>
                    <a:cubicBezTo>
                      <a:pt x="996291" y="1768114"/>
                      <a:pt x="992042" y="1778027"/>
                      <a:pt x="984961" y="1789357"/>
                    </a:cubicBezTo>
                    <a:lnTo>
                      <a:pt x="980713" y="1751120"/>
                    </a:lnTo>
                    <a:lnTo>
                      <a:pt x="1003372" y="1755368"/>
                    </a:lnTo>
                    <a:close/>
                    <a:moveTo>
                      <a:pt x="983545" y="1796438"/>
                    </a:moveTo>
                    <a:lnTo>
                      <a:pt x="1010453" y="2031526"/>
                    </a:lnTo>
                    <a:cubicBezTo>
                      <a:pt x="992042" y="1997537"/>
                      <a:pt x="932562" y="1894155"/>
                      <a:pt x="932562" y="1887074"/>
                    </a:cubicBezTo>
                    <a:cubicBezTo>
                      <a:pt x="935395" y="1884242"/>
                      <a:pt x="965135" y="1829010"/>
                      <a:pt x="983545" y="1796438"/>
                    </a:cubicBezTo>
                    <a:close/>
                    <a:moveTo>
                      <a:pt x="1299356" y="2289272"/>
                    </a:moveTo>
                    <a:lnTo>
                      <a:pt x="1489126" y="2153318"/>
                    </a:lnTo>
                    <a:lnTo>
                      <a:pt x="1432478" y="2265197"/>
                    </a:lnTo>
                    <a:lnTo>
                      <a:pt x="1299356" y="2289272"/>
                    </a:lnTo>
                    <a:close/>
                    <a:moveTo>
                      <a:pt x="1520282" y="2252451"/>
                    </a:moveTo>
                    <a:lnTo>
                      <a:pt x="1418316" y="2297770"/>
                    </a:lnTo>
                    <a:lnTo>
                      <a:pt x="1433894" y="2266613"/>
                    </a:lnTo>
                    <a:lnTo>
                      <a:pt x="1520282" y="2252451"/>
                    </a:lnTo>
                    <a:close/>
                    <a:moveTo>
                      <a:pt x="1593924" y="2075428"/>
                    </a:moveTo>
                    <a:lnTo>
                      <a:pt x="1494790" y="2146237"/>
                    </a:lnTo>
                    <a:lnTo>
                      <a:pt x="1541524" y="2052768"/>
                    </a:lnTo>
                    <a:lnTo>
                      <a:pt x="1593924" y="2075428"/>
                    </a:lnTo>
                    <a:close/>
                    <a:moveTo>
                      <a:pt x="1650571" y="1443806"/>
                    </a:moveTo>
                    <a:lnTo>
                      <a:pt x="1642074" y="1531610"/>
                    </a:lnTo>
                    <a:lnTo>
                      <a:pt x="1516033" y="1494789"/>
                    </a:lnTo>
                    <a:lnTo>
                      <a:pt x="1650571" y="1443806"/>
                    </a:lnTo>
                    <a:close/>
                    <a:moveTo>
                      <a:pt x="1904070" y="1347506"/>
                    </a:moveTo>
                    <a:lnTo>
                      <a:pt x="1724213" y="1555686"/>
                    </a:lnTo>
                    <a:lnTo>
                      <a:pt x="1643490" y="1533027"/>
                    </a:lnTo>
                    <a:lnTo>
                      <a:pt x="1651988" y="1443806"/>
                    </a:lnTo>
                    <a:lnTo>
                      <a:pt x="1904070" y="1347506"/>
                    </a:lnTo>
                    <a:close/>
                    <a:moveTo>
                      <a:pt x="1305021" y="442560"/>
                    </a:moveTo>
                    <a:lnTo>
                      <a:pt x="1310685" y="220218"/>
                    </a:lnTo>
                    <a:lnTo>
                      <a:pt x="1336177" y="449641"/>
                    </a:lnTo>
                    <a:lnTo>
                      <a:pt x="1305021" y="442560"/>
                    </a:lnTo>
                    <a:close/>
                    <a:moveTo>
                      <a:pt x="562936" y="1133661"/>
                    </a:moveTo>
                    <a:lnTo>
                      <a:pt x="422733" y="1099672"/>
                    </a:lnTo>
                    <a:lnTo>
                      <a:pt x="455306" y="1014701"/>
                    </a:lnTo>
                    <a:lnTo>
                      <a:pt x="562936" y="1133661"/>
                    </a:lnTo>
                    <a:close/>
                    <a:moveTo>
                      <a:pt x="956638" y="1334760"/>
                    </a:moveTo>
                    <a:lnTo>
                      <a:pt x="959470" y="1334760"/>
                    </a:lnTo>
                    <a:lnTo>
                      <a:pt x="958054" y="1336176"/>
                    </a:lnTo>
                    <a:lnTo>
                      <a:pt x="956638" y="1334760"/>
                    </a:lnTo>
                    <a:close/>
                    <a:moveTo>
                      <a:pt x="1136494" y="2314764"/>
                    </a:moveTo>
                    <a:lnTo>
                      <a:pt x="1130829" y="2337423"/>
                    </a:lnTo>
                    <a:lnTo>
                      <a:pt x="1061436" y="2302018"/>
                    </a:lnTo>
                    <a:lnTo>
                      <a:pt x="1136494" y="2314764"/>
                    </a:lnTo>
                    <a:close/>
                    <a:moveTo>
                      <a:pt x="1221465" y="2386990"/>
                    </a:moveTo>
                    <a:lnTo>
                      <a:pt x="1105338" y="2439389"/>
                    </a:lnTo>
                    <a:lnTo>
                      <a:pt x="1130829" y="2341672"/>
                    </a:lnTo>
                    <a:lnTo>
                      <a:pt x="1221465" y="2386990"/>
                    </a:lnTo>
                    <a:close/>
                    <a:moveTo>
                      <a:pt x="1690225" y="1112418"/>
                    </a:moveTo>
                    <a:lnTo>
                      <a:pt x="1731294" y="871665"/>
                    </a:lnTo>
                    <a:lnTo>
                      <a:pt x="1729878" y="1109585"/>
                    </a:lnTo>
                    <a:lnTo>
                      <a:pt x="1690225" y="1112418"/>
                    </a:lnTo>
                    <a:close/>
                    <a:moveTo>
                      <a:pt x="2017365" y="1875745"/>
                    </a:moveTo>
                    <a:lnTo>
                      <a:pt x="1918231" y="2129243"/>
                    </a:lnTo>
                    <a:lnTo>
                      <a:pt x="1911150" y="1991872"/>
                    </a:lnTo>
                    <a:lnTo>
                      <a:pt x="1911150" y="1990456"/>
                    </a:lnTo>
                    <a:lnTo>
                      <a:pt x="1855919" y="2184474"/>
                    </a:lnTo>
                    <a:lnTo>
                      <a:pt x="1677479" y="1821929"/>
                    </a:lnTo>
                    <a:lnTo>
                      <a:pt x="1909734" y="1990456"/>
                    </a:lnTo>
                    <a:lnTo>
                      <a:pt x="1909734" y="1990456"/>
                    </a:lnTo>
                    <a:lnTo>
                      <a:pt x="2017365" y="1875745"/>
                    </a:lnTo>
                    <a:close/>
                    <a:moveTo>
                      <a:pt x="1916815" y="2139156"/>
                    </a:moveTo>
                    <a:lnTo>
                      <a:pt x="1918231" y="2158983"/>
                    </a:lnTo>
                    <a:lnTo>
                      <a:pt x="1901237" y="2180226"/>
                    </a:lnTo>
                    <a:lnTo>
                      <a:pt x="1916815" y="2139156"/>
                    </a:lnTo>
                    <a:close/>
                    <a:moveTo>
                      <a:pt x="1925312" y="2246787"/>
                    </a:moveTo>
                    <a:lnTo>
                      <a:pt x="1919648" y="2160399"/>
                    </a:lnTo>
                    <a:lnTo>
                      <a:pt x="1981960" y="2085341"/>
                    </a:lnTo>
                    <a:lnTo>
                      <a:pt x="1925312" y="2246787"/>
                    </a:lnTo>
                    <a:close/>
                  </a:path>
                </a:pathLst>
              </a:custGeom>
              <a:grpFill/>
              <a:ln w="6350" cap="flat">
                <a:solidFill>
                  <a:schemeClr val="tx1">
                    <a:lumMod val="25000"/>
                    <a:lumOff val="75000"/>
                  </a:schemeClr>
                </a:solidFill>
                <a:prstDash val="solid"/>
                <a:miter/>
              </a:ln>
            </p:spPr>
            <p:txBody>
              <a:bodyPr rtlCol="0" anchor="ctr"/>
              <a:lstStyle/>
              <a:p>
                <a:pPr defTabSz="932384">
                  <a:defRPr/>
                </a:pPr>
                <a:endParaRPr lang="en-US" dirty="0">
                  <a:solidFill>
                    <a:srgbClr val="1A1A1A"/>
                  </a:solidFill>
                  <a:latin typeface="Segoe UI"/>
                </a:endParaRPr>
              </a:p>
            </p:txBody>
          </p:sp>
          <p:sp>
            <p:nvSpPr>
              <p:cNvPr id="950" name="Freeform: Shape 949">
                <a:extLst>
                  <a:ext uri="{FF2B5EF4-FFF2-40B4-BE49-F238E27FC236}">
                    <a16:creationId xmlns:a16="http://schemas.microsoft.com/office/drawing/2014/main" id="{5AE1C5AE-5749-4E14-91E7-AF097A978D37}"/>
                  </a:ext>
                </a:extLst>
              </p:cNvPr>
              <p:cNvSpPr/>
              <p:nvPr/>
            </p:nvSpPr>
            <p:spPr>
              <a:xfrm>
                <a:off x="3308227" y="3786588"/>
                <a:ext cx="1416191" cy="2719086"/>
              </a:xfrm>
              <a:custGeom>
                <a:avLst/>
                <a:gdLst>
                  <a:gd name="connsiteX0" fmla="*/ 1330512 w 1416191"/>
                  <a:gd name="connsiteY0" fmla="*/ 660653 h 2719086"/>
                  <a:gd name="connsiteX1" fmla="*/ 1330512 w 1416191"/>
                  <a:gd name="connsiteY1" fmla="*/ 660653 h 2719086"/>
                  <a:gd name="connsiteX2" fmla="*/ 1125164 w 1416191"/>
                  <a:gd name="connsiteY2" fmla="*/ 676231 h 2719086"/>
                  <a:gd name="connsiteX3" fmla="*/ 1123748 w 1416191"/>
                  <a:gd name="connsiteY3" fmla="*/ 653572 h 2719086"/>
                  <a:gd name="connsiteX4" fmla="*/ 1157737 w 1416191"/>
                  <a:gd name="connsiteY4" fmla="*/ 643659 h 2719086"/>
                  <a:gd name="connsiteX5" fmla="*/ 1115251 w 1416191"/>
                  <a:gd name="connsiteY5" fmla="*/ 543109 h 2719086"/>
                  <a:gd name="connsiteX6" fmla="*/ 1115251 w 1416191"/>
                  <a:gd name="connsiteY6" fmla="*/ 541693 h 2719086"/>
                  <a:gd name="connsiteX7" fmla="*/ 1122332 w 1416191"/>
                  <a:gd name="connsiteY7" fmla="*/ 650740 h 2719086"/>
                  <a:gd name="connsiteX8" fmla="*/ 1081262 w 1416191"/>
                  <a:gd name="connsiteY8" fmla="*/ 663486 h 2719086"/>
                  <a:gd name="connsiteX9" fmla="*/ 1081262 w 1416191"/>
                  <a:gd name="connsiteY9" fmla="*/ 618167 h 2719086"/>
                  <a:gd name="connsiteX10" fmla="*/ 1081262 w 1416191"/>
                  <a:gd name="connsiteY10" fmla="*/ 616751 h 2719086"/>
                  <a:gd name="connsiteX11" fmla="*/ 1067100 w 1416191"/>
                  <a:gd name="connsiteY11" fmla="*/ 667734 h 2719086"/>
                  <a:gd name="connsiteX12" fmla="*/ 1014701 w 1416191"/>
                  <a:gd name="connsiteY12" fmla="*/ 683312 h 2719086"/>
                  <a:gd name="connsiteX13" fmla="*/ 963718 w 1416191"/>
                  <a:gd name="connsiteY13" fmla="*/ 687560 h 2719086"/>
                  <a:gd name="connsiteX14" fmla="*/ 766868 w 1416191"/>
                  <a:gd name="connsiteY14" fmla="*/ 632329 h 2719086"/>
                  <a:gd name="connsiteX15" fmla="*/ 888660 w 1416191"/>
                  <a:gd name="connsiteY15" fmla="*/ 453889 h 2719086"/>
                  <a:gd name="connsiteX16" fmla="*/ 953805 w 1416191"/>
                  <a:gd name="connsiteY16" fmla="*/ 486462 h 2719086"/>
                  <a:gd name="connsiteX17" fmla="*/ 953805 w 1416191"/>
                  <a:gd name="connsiteY17" fmla="*/ 486462 h 2719086"/>
                  <a:gd name="connsiteX18" fmla="*/ 942475 w 1416191"/>
                  <a:gd name="connsiteY18" fmla="*/ 371750 h 2719086"/>
                  <a:gd name="connsiteX19" fmla="*/ 942475 w 1416191"/>
                  <a:gd name="connsiteY19" fmla="*/ 371750 h 2719086"/>
                  <a:gd name="connsiteX20" fmla="*/ 887244 w 1416191"/>
                  <a:gd name="connsiteY20" fmla="*/ 451057 h 2719086"/>
                  <a:gd name="connsiteX21" fmla="*/ 795192 w 1416191"/>
                  <a:gd name="connsiteY21" fmla="*/ 404322 h 2719086"/>
                  <a:gd name="connsiteX22" fmla="*/ 793775 w 1416191"/>
                  <a:gd name="connsiteY22" fmla="*/ 356172 h 2719086"/>
                  <a:gd name="connsiteX23" fmla="*/ 907071 w 1416191"/>
                  <a:gd name="connsiteY23" fmla="*/ 289611 h 2719086"/>
                  <a:gd name="connsiteX24" fmla="*/ 907071 w 1416191"/>
                  <a:gd name="connsiteY24" fmla="*/ 289611 h 2719086"/>
                  <a:gd name="connsiteX25" fmla="*/ 660653 w 1416191"/>
                  <a:gd name="connsiteY25" fmla="*/ 149408 h 2719086"/>
                  <a:gd name="connsiteX26" fmla="*/ 659237 w 1416191"/>
                  <a:gd name="connsiteY26" fmla="*/ 149408 h 2719086"/>
                  <a:gd name="connsiteX27" fmla="*/ 735712 w 1416191"/>
                  <a:gd name="connsiteY27" fmla="*/ 241460 h 2719086"/>
                  <a:gd name="connsiteX28" fmla="*/ 514786 w 1416191"/>
                  <a:gd name="connsiteY28" fmla="*/ 167819 h 2719086"/>
                  <a:gd name="connsiteX29" fmla="*/ 570017 w 1416191"/>
                  <a:gd name="connsiteY29" fmla="*/ 63020 h 2719086"/>
                  <a:gd name="connsiteX30" fmla="*/ 570017 w 1416191"/>
                  <a:gd name="connsiteY30" fmla="*/ 61604 h 2719086"/>
                  <a:gd name="connsiteX31" fmla="*/ 475132 w 1416191"/>
                  <a:gd name="connsiteY31" fmla="*/ 155073 h 2719086"/>
                  <a:gd name="connsiteX32" fmla="*/ 343426 w 1416191"/>
                  <a:gd name="connsiteY32" fmla="*/ 111171 h 2719086"/>
                  <a:gd name="connsiteX33" fmla="*/ 303773 w 1416191"/>
                  <a:gd name="connsiteY33" fmla="*/ 98425 h 2719086"/>
                  <a:gd name="connsiteX34" fmla="*/ 350507 w 1416191"/>
                  <a:gd name="connsiteY34" fmla="*/ 10621 h 2719086"/>
                  <a:gd name="connsiteX35" fmla="*/ 350507 w 1416191"/>
                  <a:gd name="connsiteY35" fmla="*/ 10621 h 2719086"/>
                  <a:gd name="connsiteX36" fmla="*/ 262704 w 1416191"/>
                  <a:gd name="connsiteY36" fmla="*/ 57356 h 2719086"/>
                  <a:gd name="connsiteX37" fmla="*/ 262704 w 1416191"/>
                  <a:gd name="connsiteY37" fmla="*/ 57356 h 2719086"/>
                  <a:gd name="connsiteX38" fmla="*/ 264120 w 1416191"/>
                  <a:gd name="connsiteY38" fmla="*/ 87096 h 2719086"/>
                  <a:gd name="connsiteX39" fmla="*/ 204640 w 1416191"/>
                  <a:gd name="connsiteY39" fmla="*/ 67269 h 2719086"/>
                  <a:gd name="connsiteX40" fmla="*/ 204640 w 1416191"/>
                  <a:gd name="connsiteY40" fmla="*/ 67269 h 2719086"/>
                  <a:gd name="connsiteX41" fmla="*/ 40362 w 1416191"/>
                  <a:gd name="connsiteY41" fmla="*/ 147992 h 2719086"/>
                  <a:gd name="connsiteX42" fmla="*/ 40362 w 1416191"/>
                  <a:gd name="connsiteY42" fmla="*/ 147992 h 2719086"/>
                  <a:gd name="connsiteX43" fmla="*/ 41778 w 1416191"/>
                  <a:gd name="connsiteY43" fmla="*/ 149408 h 2719086"/>
                  <a:gd name="connsiteX44" fmla="*/ 206056 w 1416191"/>
                  <a:gd name="connsiteY44" fmla="*/ 68685 h 2719086"/>
                  <a:gd name="connsiteX45" fmla="*/ 265536 w 1416191"/>
                  <a:gd name="connsiteY45" fmla="*/ 88512 h 2719086"/>
                  <a:gd name="connsiteX46" fmla="*/ 266952 w 1416191"/>
                  <a:gd name="connsiteY46" fmla="*/ 167819 h 2719086"/>
                  <a:gd name="connsiteX47" fmla="*/ 201807 w 1416191"/>
                  <a:gd name="connsiteY47" fmla="*/ 292443 h 2719086"/>
                  <a:gd name="connsiteX48" fmla="*/ 121084 w 1416191"/>
                  <a:gd name="connsiteY48" fmla="*/ 266952 h 2719086"/>
                  <a:gd name="connsiteX49" fmla="*/ 186229 w 1416191"/>
                  <a:gd name="connsiteY49" fmla="*/ 320767 h 2719086"/>
                  <a:gd name="connsiteX50" fmla="*/ 130998 w 1416191"/>
                  <a:gd name="connsiteY50" fmla="*/ 425565 h 2719086"/>
                  <a:gd name="connsiteX51" fmla="*/ 101258 w 1416191"/>
                  <a:gd name="connsiteY51" fmla="*/ 383079 h 2719086"/>
                  <a:gd name="connsiteX52" fmla="*/ 101258 w 1416191"/>
                  <a:gd name="connsiteY52" fmla="*/ 383079 h 2719086"/>
                  <a:gd name="connsiteX53" fmla="*/ 10621 w 1416191"/>
                  <a:gd name="connsiteY53" fmla="*/ 630913 h 2719086"/>
                  <a:gd name="connsiteX54" fmla="*/ 10621 w 1416191"/>
                  <a:gd name="connsiteY54" fmla="*/ 630913 h 2719086"/>
                  <a:gd name="connsiteX55" fmla="*/ 189062 w 1416191"/>
                  <a:gd name="connsiteY55" fmla="*/ 510537 h 2719086"/>
                  <a:gd name="connsiteX56" fmla="*/ 288195 w 1416191"/>
                  <a:gd name="connsiteY56" fmla="*/ 653572 h 2719086"/>
                  <a:gd name="connsiteX57" fmla="*/ 225883 w 1416191"/>
                  <a:gd name="connsiteY57" fmla="*/ 690393 h 2719086"/>
                  <a:gd name="connsiteX58" fmla="*/ 143744 w 1416191"/>
                  <a:gd name="connsiteY58" fmla="*/ 647907 h 2719086"/>
                  <a:gd name="connsiteX59" fmla="*/ 143744 w 1416191"/>
                  <a:gd name="connsiteY59" fmla="*/ 647907 h 2719086"/>
                  <a:gd name="connsiteX60" fmla="*/ 160738 w 1416191"/>
                  <a:gd name="connsiteY60" fmla="*/ 728630 h 2719086"/>
                  <a:gd name="connsiteX61" fmla="*/ 89928 w 1416191"/>
                  <a:gd name="connsiteY61" fmla="*/ 771116 h 2719086"/>
                  <a:gd name="connsiteX62" fmla="*/ 172067 w 1416191"/>
                  <a:gd name="connsiteY62" fmla="*/ 782445 h 2719086"/>
                  <a:gd name="connsiteX63" fmla="*/ 198975 w 1416191"/>
                  <a:gd name="connsiteY63" fmla="*/ 909903 h 2719086"/>
                  <a:gd name="connsiteX64" fmla="*/ 198975 w 1416191"/>
                  <a:gd name="connsiteY64" fmla="*/ 909903 h 2719086"/>
                  <a:gd name="connsiteX65" fmla="*/ 289611 w 1416191"/>
                  <a:gd name="connsiteY65" fmla="*/ 798024 h 2719086"/>
                  <a:gd name="connsiteX66" fmla="*/ 349091 w 1416191"/>
                  <a:gd name="connsiteY66" fmla="*/ 806521 h 2719086"/>
                  <a:gd name="connsiteX67" fmla="*/ 344843 w 1416191"/>
                  <a:gd name="connsiteY67" fmla="*/ 986377 h 2719086"/>
                  <a:gd name="connsiteX68" fmla="*/ 344843 w 1416191"/>
                  <a:gd name="connsiteY68" fmla="*/ 986377 h 2719086"/>
                  <a:gd name="connsiteX69" fmla="*/ 584179 w 1416191"/>
                  <a:gd name="connsiteY69" fmla="*/ 880163 h 2719086"/>
                  <a:gd name="connsiteX70" fmla="*/ 598341 w 1416191"/>
                  <a:gd name="connsiteY70" fmla="*/ 986377 h 2719086"/>
                  <a:gd name="connsiteX71" fmla="*/ 561520 w 1416191"/>
                  <a:gd name="connsiteY71" fmla="*/ 1020365 h 2719086"/>
                  <a:gd name="connsiteX72" fmla="*/ 241461 w 1416191"/>
                  <a:gd name="connsiteY72" fmla="*/ 1033111 h 2719086"/>
                  <a:gd name="connsiteX73" fmla="*/ 241461 w 1416191"/>
                  <a:gd name="connsiteY73" fmla="*/ 1033111 h 2719086"/>
                  <a:gd name="connsiteX74" fmla="*/ 353340 w 1416191"/>
                  <a:gd name="connsiteY74" fmla="*/ 1126580 h 2719086"/>
                  <a:gd name="connsiteX75" fmla="*/ 422733 w 1416191"/>
                  <a:gd name="connsiteY75" fmla="*/ 1147823 h 2719086"/>
                  <a:gd name="connsiteX76" fmla="*/ 361837 w 1416191"/>
                  <a:gd name="connsiteY76" fmla="*/ 1204470 h 2719086"/>
                  <a:gd name="connsiteX77" fmla="*/ 361837 w 1416191"/>
                  <a:gd name="connsiteY77" fmla="*/ 1204470 h 2719086"/>
                  <a:gd name="connsiteX78" fmla="*/ 363253 w 1416191"/>
                  <a:gd name="connsiteY78" fmla="*/ 1205886 h 2719086"/>
                  <a:gd name="connsiteX79" fmla="*/ 449641 w 1416191"/>
                  <a:gd name="connsiteY79" fmla="*/ 1156320 h 2719086"/>
                  <a:gd name="connsiteX80" fmla="*/ 572850 w 1416191"/>
                  <a:gd name="connsiteY80" fmla="*/ 1193141 h 2719086"/>
                  <a:gd name="connsiteX81" fmla="*/ 553023 w 1416191"/>
                  <a:gd name="connsiteY81" fmla="*/ 1238459 h 2719086"/>
                  <a:gd name="connsiteX82" fmla="*/ 449641 w 1416191"/>
                  <a:gd name="connsiteY82" fmla="*/ 1288026 h 2719086"/>
                  <a:gd name="connsiteX83" fmla="*/ 368918 w 1416191"/>
                  <a:gd name="connsiteY83" fmla="*/ 1330511 h 2719086"/>
                  <a:gd name="connsiteX84" fmla="*/ 368918 w 1416191"/>
                  <a:gd name="connsiteY84" fmla="*/ 1330511 h 2719086"/>
                  <a:gd name="connsiteX85" fmla="*/ 336345 w 1416191"/>
                  <a:gd name="connsiteY85" fmla="*/ 1463633 h 2719086"/>
                  <a:gd name="connsiteX86" fmla="*/ 336345 w 1416191"/>
                  <a:gd name="connsiteY86" fmla="*/ 1463633 h 2719086"/>
                  <a:gd name="connsiteX87" fmla="*/ 435479 w 1416191"/>
                  <a:gd name="connsiteY87" fmla="*/ 1497622 h 2719086"/>
                  <a:gd name="connsiteX88" fmla="*/ 385912 w 1416191"/>
                  <a:gd name="connsiteY88" fmla="*/ 1605252 h 2719086"/>
                  <a:gd name="connsiteX89" fmla="*/ 333513 w 1416191"/>
                  <a:gd name="connsiteY89" fmla="*/ 1584010 h 2719086"/>
                  <a:gd name="connsiteX90" fmla="*/ 333513 w 1416191"/>
                  <a:gd name="connsiteY90" fmla="*/ 1584010 h 2719086"/>
                  <a:gd name="connsiteX91" fmla="*/ 332097 w 1416191"/>
                  <a:gd name="connsiteY91" fmla="*/ 1585426 h 2719086"/>
                  <a:gd name="connsiteX92" fmla="*/ 381664 w 1416191"/>
                  <a:gd name="connsiteY92" fmla="*/ 1612333 h 2719086"/>
                  <a:gd name="connsiteX93" fmla="*/ 342010 w 1416191"/>
                  <a:gd name="connsiteY93" fmla="*/ 1698721 h 2719086"/>
                  <a:gd name="connsiteX94" fmla="*/ 342010 w 1416191"/>
                  <a:gd name="connsiteY94" fmla="*/ 1698721 h 2719086"/>
                  <a:gd name="connsiteX95" fmla="*/ 448225 w 1416191"/>
                  <a:gd name="connsiteY95" fmla="*/ 1646322 h 2719086"/>
                  <a:gd name="connsiteX96" fmla="*/ 509121 w 1416191"/>
                  <a:gd name="connsiteY96" fmla="*/ 1678894 h 2719086"/>
                  <a:gd name="connsiteX97" fmla="*/ 509121 w 1416191"/>
                  <a:gd name="connsiteY97" fmla="*/ 1678894 h 2719086"/>
                  <a:gd name="connsiteX98" fmla="*/ 544526 w 1416191"/>
                  <a:gd name="connsiteY98" fmla="*/ 1663316 h 2719086"/>
                  <a:gd name="connsiteX99" fmla="*/ 534612 w 1416191"/>
                  <a:gd name="connsiteY99" fmla="*/ 1719964 h 2719086"/>
                  <a:gd name="connsiteX100" fmla="*/ 350507 w 1416191"/>
                  <a:gd name="connsiteY100" fmla="*/ 1751120 h 2719086"/>
                  <a:gd name="connsiteX101" fmla="*/ 350507 w 1416191"/>
                  <a:gd name="connsiteY101" fmla="*/ 1751120 h 2719086"/>
                  <a:gd name="connsiteX102" fmla="*/ 351924 w 1416191"/>
                  <a:gd name="connsiteY102" fmla="*/ 1916814 h 2719086"/>
                  <a:gd name="connsiteX103" fmla="*/ 268368 w 1416191"/>
                  <a:gd name="connsiteY103" fmla="*/ 1912566 h 2719086"/>
                  <a:gd name="connsiteX104" fmla="*/ 268368 w 1416191"/>
                  <a:gd name="connsiteY104" fmla="*/ 1912566 h 2719086"/>
                  <a:gd name="connsiteX105" fmla="*/ 295276 w 1416191"/>
                  <a:gd name="connsiteY105" fmla="*/ 1991872 h 2719086"/>
                  <a:gd name="connsiteX106" fmla="*/ 240045 w 1416191"/>
                  <a:gd name="connsiteY106" fmla="*/ 1984791 h 2719086"/>
                  <a:gd name="connsiteX107" fmla="*/ 240045 w 1416191"/>
                  <a:gd name="connsiteY107" fmla="*/ 1984791 h 2719086"/>
                  <a:gd name="connsiteX108" fmla="*/ 308022 w 1416191"/>
                  <a:gd name="connsiteY108" fmla="*/ 2054185 h 2719086"/>
                  <a:gd name="connsiteX109" fmla="*/ 264120 w 1416191"/>
                  <a:gd name="connsiteY109" fmla="*/ 2228376 h 2719086"/>
                  <a:gd name="connsiteX110" fmla="*/ 264120 w 1416191"/>
                  <a:gd name="connsiteY110" fmla="*/ 2228376 h 2719086"/>
                  <a:gd name="connsiteX111" fmla="*/ 317935 w 1416191"/>
                  <a:gd name="connsiteY111" fmla="*/ 2252451 h 2719086"/>
                  <a:gd name="connsiteX112" fmla="*/ 249958 w 1416191"/>
                  <a:gd name="connsiteY112" fmla="*/ 2319013 h 2719086"/>
                  <a:gd name="connsiteX113" fmla="*/ 249958 w 1416191"/>
                  <a:gd name="connsiteY113" fmla="*/ 2319013 h 2719086"/>
                  <a:gd name="connsiteX114" fmla="*/ 285363 w 1416191"/>
                  <a:gd name="connsiteY114" fmla="*/ 2429475 h 2719086"/>
                  <a:gd name="connsiteX115" fmla="*/ 164986 w 1416191"/>
                  <a:gd name="connsiteY115" fmla="*/ 2432308 h 2719086"/>
                  <a:gd name="connsiteX116" fmla="*/ 164986 w 1416191"/>
                  <a:gd name="connsiteY116" fmla="*/ 2432308 h 2719086"/>
                  <a:gd name="connsiteX117" fmla="*/ 218802 w 1416191"/>
                  <a:gd name="connsiteY117" fmla="*/ 2498869 h 2719086"/>
                  <a:gd name="connsiteX118" fmla="*/ 218802 w 1416191"/>
                  <a:gd name="connsiteY118" fmla="*/ 2498869 h 2719086"/>
                  <a:gd name="connsiteX119" fmla="*/ 288195 w 1416191"/>
                  <a:gd name="connsiteY119" fmla="*/ 2433724 h 2719086"/>
                  <a:gd name="connsiteX120" fmla="*/ 306606 w 1416191"/>
                  <a:gd name="connsiteY120" fmla="*/ 2490372 h 2719086"/>
                  <a:gd name="connsiteX121" fmla="*/ 228715 w 1416191"/>
                  <a:gd name="connsiteY121" fmla="*/ 2633407 h 2719086"/>
                  <a:gd name="connsiteX122" fmla="*/ 228715 w 1416191"/>
                  <a:gd name="connsiteY122" fmla="*/ 2633407 h 2719086"/>
                  <a:gd name="connsiteX123" fmla="*/ 344843 w 1416191"/>
                  <a:gd name="connsiteY123" fmla="*/ 2610748 h 2719086"/>
                  <a:gd name="connsiteX124" fmla="*/ 356172 w 1416191"/>
                  <a:gd name="connsiteY124" fmla="*/ 2648985 h 2719086"/>
                  <a:gd name="connsiteX125" fmla="*/ 325016 w 1416191"/>
                  <a:gd name="connsiteY125" fmla="*/ 2639072 h 2719086"/>
                  <a:gd name="connsiteX126" fmla="*/ 223050 w 1416191"/>
                  <a:gd name="connsiteY126" fmla="*/ 2637655 h 2719086"/>
                  <a:gd name="connsiteX127" fmla="*/ 221634 w 1416191"/>
                  <a:gd name="connsiteY127" fmla="*/ 2637655 h 2719086"/>
                  <a:gd name="connsiteX128" fmla="*/ 366086 w 1416191"/>
                  <a:gd name="connsiteY128" fmla="*/ 2708465 h 2719086"/>
                  <a:gd name="connsiteX129" fmla="*/ 366086 w 1416191"/>
                  <a:gd name="connsiteY129" fmla="*/ 2708465 h 2719086"/>
                  <a:gd name="connsiteX130" fmla="*/ 350507 w 1416191"/>
                  <a:gd name="connsiteY130" fmla="*/ 2657482 h 2719086"/>
                  <a:gd name="connsiteX131" fmla="*/ 452473 w 1416191"/>
                  <a:gd name="connsiteY131" fmla="*/ 2690055 h 2719086"/>
                  <a:gd name="connsiteX132" fmla="*/ 452473 w 1416191"/>
                  <a:gd name="connsiteY132" fmla="*/ 2690055 h 2719086"/>
                  <a:gd name="connsiteX133" fmla="*/ 390161 w 1416191"/>
                  <a:gd name="connsiteY133" fmla="*/ 2603667 h 2719086"/>
                  <a:gd name="connsiteX134" fmla="*/ 390161 w 1416191"/>
                  <a:gd name="connsiteY134" fmla="*/ 2603667 h 2719086"/>
                  <a:gd name="connsiteX135" fmla="*/ 336345 w 1416191"/>
                  <a:gd name="connsiteY135" fmla="*/ 2613580 h 2719086"/>
                  <a:gd name="connsiteX136" fmla="*/ 299525 w 1416191"/>
                  <a:gd name="connsiteY136" fmla="*/ 2494620 h 2719086"/>
                  <a:gd name="connsiteX137" fmla="*/ 303773 w 1416191"/>
                  <a:gd name="connsiteY137" fmla="*/ 2486123 h 2719086"/>
                  <a:gd name="connsiteX138" fmla="*/ 330681 w 1416191"/>
                  <a:gd name="connsiteY138" fmla="*/ 2573927 h 2719086"/>
                  <a:gd name="connsiteX139" fmla="*/ 330681 w 1416191"/>
                  <a:gd name="connsiteY139" fmla="*/ 2575343 h 2719086"/>
                  <a:gd name="connsiteX140" fmla="*/ 337762 w 1416191"/>
                  <a:gd name="connsiteY140" fmla="*/ 2449302 h 2719086"/>
                  <a:gd name="connsiteX141" fmla="*/ 373167 w 1416191"/>
                  <a:gd name="connsiteY141" fmla="*/ 2432308 h 2719086"/>
                  <a:gd name="connsiteX142" fmla="*/ 401490 w 1416191"/>
                  <a:gd name="connsiteY142" fmla="*/ 2430892 h 2719086"/>
                  <a:gd name="connsiteX143" fmla="*/ 490710 w 1416191"/>
                  <a:gd name="connsiteY143" fmla="*/ 2374244 h 2719086"/>
                  <a:gd name="connsiteX144" fmla="*/ 490710 w 1416191"/>
                  <a:gd name="connsiteY144" fmla="*/ 2374244 h 2719086"/>
                  <a:gd name="connsiteX145" fmla="*/ 489294 w 1416191"/>
                  <a:gd name="connsiteY145" fmla="*/ 2372828 h 2719086"/>
                  <a:gd name="connsiteX146" fmla="*/ 371750 w 1416191"/>
                  <a:gd name="connsiteY146" fmla="*/ 2430892 h 2719086"/>
                  <a:gd name="connsiteX147" fmla="*/ 337762 w 1416191"/>
                  <a:gd name="connsiteY147" fmla="*/ 2432308 h 2719086"/>
                  <a:gd name="connsiteX148" fmla="*/ 340594 w 1416191"/>
                  <a:gd name="connsiteY148" fmla="*/ 2381325 h 2719086"/>
                  <a:gd name="connsiteX149" fmla="*/ 421317 w 1416191"/>
                  <a:gd name="connsiteY149" fmla="*/ 2304851 h 2719086"/>
                  <a:gd name="connsiteX150" fmla="*/ 421317 w 1416191"/>
                  <a:gd name="connsiteY150" fmla="*/ 2304851 h 2719086"/>
                  <a:gd name="connsiteX151" fmla="*/ 343426 w 1416191"/>
                  <a:gd name="connsiteY151" fmla="*/ 2313348 h 2719086"/>
                  <a:gd name="connsiteX152" fmla="*/ 346259 w 1416191"/>
                  <a:gd name="connsiteY152" fmla="*/ 2272278 h 2719086"/>
                  <a:gd name="connsiteX153" fmla="*/ 414236 w 1416191"/>
                  <a:gd name="connsiteY153" fmla="*/ 2302018 h 2719086"/>
                  <a:gd name="connsiteX154" fmla="*/ 414236 w 1416191"/>
                  <a:gd name="connsiteY154" fmla="*/ 2302018 h 2719086"/>
                  <a:gd name="connsiteX155" fmla="*/ 409988 w 1416191"/>
                  <a:gd name="connsiteY155" fmla="*/ 2184474 h 2719086"/>
                  <a:gd name="connsiteX156" fmla="*/ 421317 w 1416191"/>
                  <a:gd name="connsiteY156" fmla="*/ 2178810 h 2719086"/>
                  <a:gd name="connsiteX157" fmla="*/ 462387 w 1416191"/>
                  <a:gd name="connsiteY157" fmla="*/ 2219879 h 2719086"/>
                  <a:gd name="connsiteX158" fmla="*/ 462387 w 1416191"/>
                  <a:gd name="connsiteY158" fmla="*/ 2219879 h 2719086"/>
                  <a:gd name="connsiteX159" fmla="*/ 494959 w 1416191"/>
                  <a:gd name="connsiteY159" fmla="*/ 2140572 h 2719086"/>
                  <a:gd name="connsiteX160" fmla="*/ 494959 w 1416191"/>
                  <a:gd name="connsiteY160" fmla="*/ 2140572 h 2719086"/>
                  <a:gd name="connsiteX161" fmla="*/ 421317 w 1416191"/>
                  <a:gd name="connsiteY161" fmla="*/ 2175977 h 2719086"/>
                  <a:gd name="connsiteX162" fmla="*/ 408571 w 1416191"/>
                  <a:gd name="connsiteY162" fmla="*/ 2163232 h 2719086"/>
                  <a:gd name="connsiteX163" fmla="*/ 408571 w 1416191"/>
                  <a:gd name="connsiteY163" fmla="*/ 2158983 h 2719086"/>
                  <a:gd name="connsiteX164" fmla="*/ 533196 w 1416191"/>
                  <a:gd name="connsiteY164" fmla="*/ 2035774 h 2719086"/>
                  <a:gd name="connsiteX165" fmla="*/ 533196 w 1416191"/>
                  <a:gd name="connsiteY165" fmla="*/ 2035774 h 2719086"/>
                  <a:gd name="connsiteX166" fmla="*/ 534612 w 1416191"/>
                  <a:gd name="connsiteY166" fmla="*/ 2027277 h 2719086"/>
                  <a:gd name="connsiteX167" fmla="*/ 543110 w 1416191"/>
                  <a:gd name="connsiteY167" fmla="*/ 2028693 h 2719086"/>
                  <a:gd name="connsiteX168" fmla="*/ 544526 w 1416191"/>
                  <a:gd name="connsiteY168" fmla="*/ 2028693 h 2719086"/>
                  <a:gd name="connsiteX169" fmla="*/ 536029 w 1416191"/>
                  <a:gd name="connsiteY169" fmla="*/ 2023029 h 2719086"/>
                  <a:gd name="connsiteX170" fmla="*/ 550190 w 1416191"/>
                  <a:gd name="connsiteY170" fmla="*/ 1930976 h 2719086"/>
                  <a:gd name="connsiteX171" fmla="*/ 626665 w 1416191"/>
                  <a:gd name="connsiteY171" fmla="*/ 1935225 h 2719086"/>
                  <a:gd name="connsiteX172" fmla="*/ 626665 w 1416191"/>
                  <a:gd name="connsiteY172" fmla="*/ 1935225 h 2719086"/>
                  <a:gd name="connsiteX173" fmla="*/ 628081 w 1416191"/>
                  <a:gd name="connsiteY173" fmla="*/ 1844589 h 2719086"/>
                  <a:gd name="connsiteX174" fmla="*/ 660653 w 1416191"/>
                  <a:gd name="connsiteY174" fmla="*/ 1844589 h 2719086"/>
                  <a:gd name="connsiteX175" fmla="*/ 691810 w 1416191"/>
                  <a:gd name="connsiteY175" fmla="*/ 1952219 h 2719086"/>
                  <a:gd name="connsiteX176" fmla="*/ 691810 w 1416191"/>
                  <a:gd name="connsiteY176" fmla="*/ 1953635 h 2719086"/>
                  <a:gd name="connsiteX177" fmla="*/ 704555 w 1416191"/>
                  <a:gd name="connsiteY177" fmla="*/ 1860167 h 2719086"/>
                  <a:gd name="connsiteX178" fmla="*/ 660653 w 1416191"/>
                  <a:gd name="connsiteY178" fmla="*/ 2555517 h 2719086"/>
                  <a:gd name="connsiteX179" fmla="*/ 660653 w 1416191"/>
                  <a:gd name="connsiteY179" fmla="*/ 2555517 h 2719086"/>
                  <a:gd name="connsiteX180" fmla="*/ 662069 w 1416191"/>
                  <a:gd name="connsiteY180" fmla="*/ 2555517 h 2719086"/>
                  <a:gd name="connsiteX181" fmla="*/ 662069 w 1416191"/>
                  <a:gd name="connsiteY181" fmla="*/ 2555517 h 2719086"/>
                  <a:gd name="connsiteX182" fmla="*/ 720133 w 1416191"/>
                  <a:gd name="connsiteY182" fmla="*/ 1626495 h 2719086"/>
                  <a:gd name="connsiteX183" fmla="*/ 754122 w 1416191"/>
                  <a:gd name="connsiteY183" fmla="*/ 1744039 h 2719086"/>
                  <a:gd name="connsiteX184" fmla="*/ 713052 w 1416191"/>
                  <a:gd name="connsiteY184" fmla="*/ 1789357 h 2719086"/>
                  <a:gd name="connsiteX185" fmla="*/ 713052 w 1416191"/>
                  <a:gd name="connsiteY185" fmla="*/ 1789357 h 2719086"/>
                  <a:gd name="connsiteX186" fmla="*/ 772532 w 1416191"/>
                  <a:gd name="connsiteY186" fmla="*/ 1800687 h 2719086"/>
                  <a:gd name="connsiteX187" fmla="*/ 772532 w 1416191"/>
                  <a:gd name="connsiteY187" fmla="*/ 1800687 h 2719086"/>
                  <a:gd name="connsiteX188" fmla="*/ 756954 w 1416191"/>
                  <a:gd name="connsiteY188" fmla="*/ 1744039 h 2719086"/>
                  <a:gd name="connsiteX189" fmla="*/ 850423 w 1416191"/>
                  <a:gd name="connsiteY189" fmla="*/ 1642073 h 2719086"/>
                  <a:gd name="connsiteX190" fmla="*/ 880163 w 1416191"/>
                  <a:gd name="connsiteY190" fmla="*/ 1651987 h 2719086"/>
                  <a:gd name="connsiteX191" fmla="*/ 880163 w 1416191"/>
                  <a:gd name="connsiteY191" fmla="*/ 1651987 h 2719086"/>
                  <a:gd name="connsiteX192" fmla="*/ 966551 w 1416191"/>
                  <a:gd name="connsiteY192" fmla="*/ 1513200 h 2719086"/>
                  <a:gd name="connsiteX193" fmla="*/ 1119499 w 1416191"/>
                  <a:gd name="connsiteY193" fmla="*/ 1346089 h 2719086"/>
                  <a:gd name="connsiteX194" fmla="*/ 1119499 w 1416191"/>
                  <a:gd name="connsiteY194" fmla="*/ 1346089 h 2719086"/>
                  <a:gd name="connsiteX195" fmla="*/ 1118083 w 1416191"/>
                  <a:gd name="connsiteY195" fmla="*/ 1344673 h 2719086"/>
                  <a:gd name="connsiteX196" fmla="*/ 1027447 w 1416191"/>
                  <a:gd name="connsiteY196" fmla="*/ 1412650 h 2719086"/>
                  <a:gd name="connsiteX197" fmla="*/ 965135 w 1416191"/>
                  <a:gd name="connsiteY197" fmla="*/ 1511784 h 2719086"/>
                  <a:gd name="connsiteX198" fmla="*/ 849007 w 1416191"/>
                  <a:gd name="connsiteY198" fmla="*/ 1639241 h 2719086"/>
                  <a:gd name="connsiteX199" fmla="*/ 713052 w 1416191"/>
                  <a:gd name="connsiteY199" fmla="*/ 1592507 h 2719086"/>
                  <a:gd name="connsiteX200" fmla="*/ 713052 w 1416191"/>
                  <a:gd name="connsiteY200" fmla="*/ 1592507 h 2719086"/>
                  <a:gd name="connsiteX201" fmla="*/ 705972 w 1416191"/>
                  <a:gd name="connsiteY201" fmla="*/ 1589674 h 2719086"/>
                  <a:gd name="connsiteX202" fmla="*/ 756954 w 1416191"/>
                  <a:gd name="connsiteY202" fmla="*/ 1567015 h 2719086"/>
                  <a:gd name="connsiteX203" fmla="*/ 812186 w 1416191"/>
                  <a:gd name="connsiteY203" fmla="*/ 1591091 h 2719086"/>
                  <a:gd name="connsiteX204" fmla="*/ 812186 w 1416191"/>
                  <a:gd name="connsiteY204" fmla="*/ 1591091 h 2719086"/>
                  <a:gd name="connsiteX205" fmla="*/ 796608 w 1416191"/>
                  <a:gd name="connsiteY205" fmla="*/ 1548605 h 2719086"/>
                  <a:gd name="connsiteX206" fmla="*/ 853255 w 1416191"/>
                  <a:gd name="connsiteY206" fmla="*/ 1588258 h 2719086"/>
                  <a:gd name="connsiteX207" fmla="*/ 853255 w 1416191"/>
                  <a:gd name="connsiteY207" fmla="*/ 1588258 h 2719086"/>
                  <a:gd name="connsiteX208" fmla="*/ 943892 w 1416191"/>
                  <a:gd name="connsiteY208" fmla="*/ 1479212 h 2719086"/>
                  <a:gd name="connsiteX209" fmla="*/ 943892 w 1416191"/>
                  <a:gd name="connsiteY209" fmla="*/ 1477795 h 2719086"/>
                  <a:gd name="connsiteX210" fmla="*/ 796608 w 1416191"/>
                  <a:gd name="connsiteY210" fmla="*/ 1545772 h 2719086"/>
                  <a:gd name="connsiteX211" fmla="*/ 795192 w 1416191"/>
                  <a:gd name="connsiteY211" fmla="*/ 1544356 h 2719086"/>
                  <a:gd name="connsiteX212" fmla="*/ 773949 w 1416191"/>
                  <a:gd name="connsiteY212" fmla="*/ 1486292 h 2719086"/>
                  <a:gd name="connsiteX213" fmla="*/ 1201639 w 1416191"/>
                  <a:gd name="connsiteY213" fmla="*/ 1275280 h 2719086"/>
                  <a:gd name="connsiteX214" fmla="*/ 1201639 w 1416191"/>
                  <a:gd name="connsiteY214" fmla="*/ 1275280 h 2719086"/>
                  <a:gd name="connsiteX215" fmla="*/ 1061436 w 1416191"/>
                  <a:gd name="connsiteY215" fmla="*/ 1142158 h 2719086"/>
                  <a:gd name="connsiteX216" fmla="*/ 1256870 w 1416191"/>
                  <a:gd name="connsiteY216" fmla="*/ 1154903 h 2719086"/>
                  <a:gd name="connsiteX217" fmla="*/ 1256870 w 1416191"/>
                  <a:gd name="connsiteY217" fmla="*/ 1154903 h 2719086"/>
                  <a:gd name="connsiteX218" fmla="*/ 1288026 w 1416191"/>
                  <a:gd name="connsiteY218" fmla="*/ 994874 h 2719086"/>
                  <a:gd name="connsiteX219" fmla="*/ 1324847 w 1416191"/>
                  <a:gd name="connsiteY219" fmla="*/ 993458 h 2719086"/>
                  <a:gd name="connsiteX220" fmla="*/ 1324847 w 1416191"/>
                  <a:gd name="connsiteY220" fmla="*/ 993458 h 2719086"/>
                  <a:gd name="connsiteX221" fmla="*/ 1324847 w 1416191"/>
                  <a:gd name="connsiteY221" fmla="*/ 992042 h 2719086"/>
                  <a:gd name="connsiteX222" fmla="*/ 1288026 w 1416191"/>
                  <a:gd name="connsiteY222" fmla="*/ 987793 h 2719086"/>
                  <a:gd name="connsiteX223" fmla="*/ 1314934 w 1416191"/>
                  <a:gd name="connsiteY223" fmla="*/ 843341 h 2719086"/>
                  <a:gd name="connsiteX224" fmla="*/ 1416900 w 1416191"/>
                  <a:gd name="connsiteY224" fmla="*/ 761203 h 2719086"/>
                  <a:gd name="connsiteX225" fmla="*/ 1416900 w 1416191"/>
                  <a:gd name="connsiteY225" fmla="*/ 761203 h 2719086"/>
                  <a:gd name="connsiteX226" fmla="*/ 1238460 w 1416191"/>
                  <a:gd name="connsiteY226" fmla="*/ 790943 h 2719086"/>
                  <a:gd name="connsiteX227" fmla="*/ 1330512 w 1416191"/>
                  <a:gd name="connsiteY227" fmla="*/ 660653 h 2719086"/>
                  <a:gd name="connsiteX228" fmla="*/ 799440 w 1416191"/>
                  <a:gd name="connsiteY228" fmla="*/ 1547189 h 2719086"/>
                  <a:gd name="connsiteX229" fmla="*/ 938227 w 1416191"/>
                  <a:gd name="connsiteY229" fmla="*/ 1483460 h 2719086"/>
                  <a:gd name="connsiteX230" fmla="*/ 854672 w 1416191"/>
                  <a:gd name="connsiteY230" fmla="*/ 1585426 h 2719086"/>
                  <a:gd name="connsiteX231" fmla="*/ 799440 w 1416191"/>
                  <a:gd name="connsiteY231" fmla="*/ 1547189 h 2719086"/>
                  <a:gd name="connsiteX232" fmla="*/ 425566 w 1416191"/>
                  <a:gd name="connsiteY232" fmla="*/ 2178810 h 2719086"/>
                  <a:gd name="connsiteX233" fmla="*/ 493543 w 1416191"/>
                  <a:gd name="connsiteY233" fmla="*/ 2146237 h 2719086"/>
                  <a:gd name="connsiteX234" fmla="*/ 463803 w 1416191"/>
                  <a:gd name="connsiteY234" fmla="*/ 2218463 h 2719086"/>
                  <a:gd name="connsiteX235" fmla="*/ 425566 w 1416191"/>
                  <a:gd name="connsiteY235" fmla="*/ 2178810 h 2719086"/>
                  <a:gd name="connsiteX236" fmla="*/ 337762 w 1416191"/>
                  <a:gd name="connsiteY236" fmla="*/ 2449302 h 2719086"/>
                  <a:gd name="connsiteX237" fmla="*/ 339178 w 1416191"/>
                  <a:gd name="connsiteY237" fmla="*/ 2435140 h 2719086"/>
                  <a:gd name="connsiteX238" fmla="*/ 368918 w 1416191"/>
                  <a:gd name="connsiteY238" fmla="*/ 2433724 h 2719086"/>
                  <a:gd name="connsiteX239" fmla="*/ 337762 w 1416191"/>
                  <a:gd name="connsiteY239" fmla="*/ 2449302 h 2719086"/>
                  <a:gd name="connsiteX240" fmla="*/ 223050 w 1416191"/>
                  <a:gd name="connsiteY240" fmla="*/ 2646153 h 2719086"/>
                  <a:gd name="connsiteX241" fmla="*/ 315103 w 1416191"/>
                  <a:gd name="connsiteY241" fmla="*/ 2647569 h 2719086"/>
                  <a:gd name="connsiteX242" fmla="*/ 347675 w 1416191"/>
                  <a:gd name="connsiteY242" fmla="*/ 2657482 h 2719086"/>
                  <a:gd name="connsiteX243" fmla="*/ 363253 w 1416191"/>
                  <a:gd name="connsiteY243" fmla="*/ 2705632 h 2719086"/>
                  <a:gd name="connsiteX244" fmla="*/ 223050 w 1416191"/>
                  <a:gd name="connsiteY244" fmla="*/ 2646153 h 2719086"/>
                  <a:gd name="connsiteX245" fmla="*/ 350507 w 1416191"/>
                  <a:gd name="connsiteY245" fmla="*/ 2656066 h 2719086"/>
                  <a:gd name="connsiteX246" fmla="*/ 337762 w 1416191"/>
                  <a:gd name="connsiteY246" fmla="*/ 2616413 h 2719086"/>
                  <a:gd name="connsiteX247" fmla="*/ 390161 w 1416191"/>
                  <a:gd name="connsiteY247" fmla="*/ 2606499 h 2719086"/>
                  <a:gd name="connsiteX248" fmla="*/ 448225 w 1416191"/>
                  <a:gd name="connsiteY248" fmla="*/ 2685806 h 2719086"/>
                  <a:gd name="connsiteX249" fmla="*/ 350507 w 1416191"/>
                  <a:gd name="connsiteY249" fmla="*/ 2656066 h 2719086"/>
                  <a:gd name="connsiteX250" fmla="*/ 278282 w 1416191"/>
                  <a:gd name="connsiteY250" fmla="*/ 2437973 h 2719086"/>
                  <a:gd name="connsiteX251" fmla="*/ 210305 w 1416191"/>
                  <a:gd name="connsiteY251" fmla="*/ 2501701 h 2719086"/>
                  <a:gd name="connsiteX252" fmla="*/ 160738 w 1416191"/>
                  <a:gd name="connsiteY252" fmla="*/ 2439389 h 2719086"/>
                  <a:gd name="connsiteX253" fmla="*/ 278282 w 1416191"/>
                  <a:gd name="connsiteY253" fmla="*/ 2437973 h 2719086"/>
                  <a:gd name="connsiteX254" fmla="*/ 278282 w 1416191"/>
                  <a:gd name="connsiteY254" fmla="*/ 2437973 h 2719086"/>
                  <a:gd name="connsiteX255" fmla="*/ 759787 w 1416191"/>
                  <a:gd name="connsiteY255" fmla="*/ 1564183 h 2719086"/>
                  <a:gd name="connsiteX256" fmla="*/ 795192 w 1416191"/>
                  <a:gd name="connsiteY256" fmla="*/ 1547189 h 2719086"/>
                  <a:gd name="connsiteX257" fmla="*/ 809354 w 1416191"/>
                  <a:gd name="connsiteY257" fmla="*/ 1585426 h 2719086"/>
                  <a:gd name="connsiteX258" fmla="*/ 759787 w 1416191"/>
                  <a:gd name="connsiteY258" fmla="*/ 1564183 h 2719086"/>
                  <a:gd name="connsiteX259" fmla="*/ 717301 w 1416191"/>
                  <a:gd name="connsiteY259" fmla="*/ 1789357 h 2719086"/>
                  <a:gd name="connsiteX260" fmla="*/ 755538 w 1416191"/>
                  <a:gd name="connsiteY260" fmla="*/ 1748288 h 2719086"/>
                  <a:gd name="connsiteX261" fmla="*/ 771116 w 1416191"/>
                  <a:gd name="connsiteY261" fmla="*/ 1799270 h 2719086"/>
                  <a:gd name="connsiteX262" fmla="*/ 717301 w 1416191"/>
                  <a:gd name="connsiteY262" fmla="*/ 1789357 h 2719086"/>
                  <a:gd name="connsiteX263" fmla="*/ 626665 w 1416191"/>
                  <a:gd name="connsiteY263" fmla="*/ 1708634 h 2719086"/>
                  <a:gd name="connsiteX264" fmla="*/ 626665 w 1416191"/>
                  <a:gd name="connsiteY264" fmla="*/ 1728461 h 2719086"/>
                  <a:gd name="connsiteX265" fmla="*/ 621000 w 1416191"/>
                  <a:gd name="connsiteY265" fmla="*/ 1710050 h 2719086"/>
                  <a:gd name="connsiteX266" fmla="*/ 626665 w 1416191"/>
                  <a:gd name="connsiteY266" fmla="*/ 1708634 h 2719086"/>
                  <a:gd name="connsiteX267" fmla="*/ 659237 w 1416191"/>
                  <a:gd name="connsiteY267" fmla="*/ 1844589 h 2719086"/>
                  <a:gd name="connsiteX268" fmla="*/ 628081 w 1416191"/>
                  <a:gd name="connsiteY268" fmla="*/ 1844589 h 2719086"/>
                  <a:gd name="connsiteX269" fmla="*/ 629497 w 1416191"/>
                  <a:gd name="connsiteY269" fmla="*/ 1742623 h 2719086"/>
                  <a:gd name="connsiteX270" fmla="*/ 659237 w 1416191"/>
                  <a:gd name="connsiteY270" fmla="*/ 1844589 h 2719086"/>
                  <a:gd name="connsiteX271" fmla="*/ 562936 w 1416191"/>
                  <a:gd name="connsiteY271" fmla="*/ 1846005 h 2719086"/>
                  <a:gd name="connsiteX272" fmla="*/ 626665 w 1416191"/>
                  <a:gd name="connsiteY272" fmla="*/ 1846005 h 2719086"/>
                  <a:gd name="connsiteX273" fmla="*/ 625249 w 1416191"/>
                  <a:gd name="connsiteY273" fmla="*/ 1935225 h 2719086"/>
                  <a:gd name="connsiteX274" fmla="*/ 550190 w 1416191"/>
                  <a:gd name="connsiteY274" fmla="*/ 1930976 h 2719086"/>
                  <a:gd name="connsiteX275" fmla="*/ 562936 w 1416191"/>
                  <a:gd name="connsiteY275" fmla="*/ 1846005 h 2719086"/>
                  <a:gd name="connsiteX276" fmla="*/ 421317 w 1416191"/>
                  <a:gd name="connsiteY276" fmla="*/ 2178810 h 2719086"/>
                  <a:gd name="connsiteX277" fmla="*/ 411404 w 1416191"/>
                  <a:gd name="connsiteY277" fmla="*/ 2184474 h 2719086"/>
                  <a:gd name="connsiteX278" fmla="*/ 411404 w 1416191"/>
                  <a:gd name="connsiteY278" fmla="*/ 2167480 h 2719086"/>
                  <a:gd name="connsiteX279" fmla="*/ 421317 w 1416191"/>
                  <a:gd name="connsiteY279" fmla="*/ 2178810 h 2719086"/>
                  <a:gd name="connsiteX280" fmla="*/ 317935 w 1416191"/>
                  <a:gd name="connsiteY280" fmla="*/ 2459215 h 2719086"/>
                  <a:gd name="connsiteX281" fmla="*/ 305189 w 1416191"/>
                  <a:gd name="connsiteY281" fmla="*/ 2483291 h 2719086"/>
                  <a:gd name="connsiteX282" fmla="*/ 291027 w 1416191"/>
                  <a:gd name="connsiteY282" fmla="*/ 2436556 h 2719086"/>
                  <a:gd name="connsiteX283" fmla="*/ 336345 w 1416191"/>
                  <a:gd name="connsiteY283" fmla="*/ 2435140 h 2719086"/>
                  <a:gd name="connsiteX284" fmla="*/ 334929 w 1416191"/>
                  <a:gd name="connsiteY284" fmla="*/ 2450718 h 2719086"/>
                  <a:gd name="connsiteX285" fmla="*/ 317935 w 1416191"/>
                  <a:gd name="connsiteY285" fmla="*/ 2459215 h 2719086"/>
                  <a:gd name="connsiteX286" fmla="*/ 305189 w 1416191"/>
                  <a:gd name="connsiteY286" fmla="*/ 2486123 h 2719086"/>
                  <a:gd name="connsiteX287" fmla="*/ 319351 w 1416191"/>
                  <a:gd name="connsiteY287" fmla="*/ 2460632 h 2719086"/>
                  <a:gd name="connsiteX288" fmla="*/ 336345 w 1416191"/>
                  <a:gd name="connsiteY288" fmla="*/ 2452134 h 2719086"/>
                  <a:gd name="connsiteX289" fmla="*/ 330681 w 1416191"/>
                  <a:gd name="connsiteY289" fmla="*/ 2565430 h 2719086"/>
                  <a:gd name="connsiteX290" fmla="*/ 305189 w 1416191"/>
                  <a:gd name="connsiteY290" fmla="*/ 2486123 h 2719086"/>
                  <a:gd name="connsiteX291" fmla="*/ 453889 w 1416191"/>
                  <a:gd name="connsiteY291" fmla="*/ 1640657 h 2719086"/>
                  <a:gd name="connsiteX292" fmla="*/ 439727 w 1416191"/>
                  <a:gd name="connsiteY292" fmla="*/ 1647738 h 2719086"/>
                  <a:gd name="connsiteX293" fmla="*/ 375999 w 1416191"/>
                  <a:gd name="connsiteY293" fmla="*/ 1613750 h 2719086"/>
                  <a:gd name="connsiteX294" fmla="*/ 377415 w 1416191"/>
                  <a:gd name="connsiteY294" fmla="*/ 1609501 h 2719086"/>
                  <a:gd name="connsiteX295" fmla="*/ 453889 w 1416191"/>
                  <a:gd name="connsiteY295" fmla="*/ 1640657 h 2719086"/>
                  <a:gd name="connsiteX296" fmla="*/ 438311 w 1416191"/>
                  <a:gd name="connsiteY296" fmla="*/ 1157736 h 2719086"/>
                  <a:gd name="connsiteX297" fmla="*/ 363253 w 1416191"/>
                  <a:gd name="connsiteY297" fmla="*/ 1201638 h 2719086"/>
                  <a:gd name="connsiteX298" fmla="*/ 418485 w 1416191"/>
                  <a:gd name="connsiteY298" fmla="*/ 1152071 h 2719086"/>
                  <a:gd name="connsiteX299" fmla="*/ 438311 w 1416191"/>
                  <a:gd name="connsiteY299" fmla="*/ 1157736 h 2719086"/>
                  <a:gd name="connsiteX300" fmla="*/ 347675 w 1416191"/>
                  <a:gd name="connsiteY300" fmla="*/ 1127996 h 2719086"/>
                  <a:gd name="connsiteX301" fmla="*/ 240045 w 1416191"/>
                  <a:gd name="connsiteY301" fmla="*/ 1037360 h 2719086"/>
                  <a:gd name="connsiteX302" fmla="*/ 553023 w 1416191"/>
                  <a:gd name="connsiteY302" fmla="*/ 1024614 h 2719086"/>
                  <a:gd name="connsiteX303" fmla="*/ 418485 w 1416191"/>
                  <a:gd name="connsiteY303" fmla="*/ 1149239 h 2719086"/>
                  <a:gd name="connsiteX304" fmla="*/ 347675 w 1416191"/>
                  <a:gd name="connsiteY304" fmla="*/ 1127996 h 2719086"/>
                  <a:gd name="connsiteX305" fmla="*/ 419901 w 1416191"/>
                  <a:gd name="connsiteY305" fmla="*/ 1149239 h 2719086"/>
                  <a:gd name="connsiteX306" fmla="*/ 555855 w 1416191"/>
                  <a:gd name="connsiteY306" fmla="*/ 1024614 h 2719086"/>
                  <a:gd name="connsiteX307" fmla="*/ 674815 w 1416191"/>
                  <a:gd name="connsiteY307" fmla="*/ 1018949 h 2719086"/>
                  <a:gd name="connsiteX308" fmla="*/ 441144 w 1416191"/>
                  <a:gd name="connsiteY308" fmla="*/ 1154903 h 2719086"/>
                  <a:gd name="connsiteX309" fmla="*/ 419901 w 1416191"/>
                  <a:gd name="connsiteY309" fmla="*/ 1149239 h 2719086"/>
                  <a:gd name="connsiteX310" fmla="*/ 326432 w 1416191"/>
                  <a:gd name="connsiteY310" fmla="*/ 747041 h 2719086"/>
                  <a:gd name="connsiteX311" fmla="*/ 283946 w 1416191"/>
                  <a:gd name="connsiteY311" fmla="*/ 799440 h 2719086"/>
                  <a:gd name="connsiteX312" fmla="*/ 169235 w 1416191"/>
                  <a:gd name="connsiteY312" fmla="*/ 782445 h 2719086"/>
                  <a:gd name="connsiteX313" fmla="*/ 159322 w 1416191"/>
                  <a:gd name="connsiteY313" fmla="*/ 731462 h 2719086"/>
                  <a:gd name="connsiteX314" fmla="*/ 223050 w 1416191"/>
                  <a:gd name="connsiteY314" fmla="*/ 694641 h 2719086"/>
                  <a:gd name="connsiteX315" fmla="*/ 326432 w 1416191"/>
                  <a:gd name="connsiteY315" fmla="*/ 747041 h 2719086"/>
                  <a:gd name="connsiteX316" fmla="*/ 1069933 w 1416191"/>
                  <a:gd name="connsiteY316" fmla="*/ 667734 h 2719086"/>
                  <a:gd name="connsiteX317" fmla="*/ 1079846 w 1416191"/>
                  <a:gd name="connsiteY317" fmla="*/ 632329 h 2719086"/>
                  <a:gd name="connsiteX318" fmla="*/ 1079846 w 1416191"/>
                  <a:gd name="connsiteY318" fmla="*/ 664902 h 2719086"/>
                  <a:gd name="connsiteX319" fmla="*/ 1069933 w 1416191"/>
                  <a:gd name="connsiteY319" fmla="*/ 667734 h 2719086"/>
                  <a:gd name="connsiteX320" fmla="*/ 1135078 w 1416191"/>
                  <a:gd name="connsiteY320" fmla="*/ 809353 h 2719086"/>
                  <a:gd name="connsiteX321" fmla="*/ 1126580 w 1416191"/>
                  <a:gd name="connsiteY321" fmla="*/ 679064 h 2719086"/>
                  <a:gd name="connsiteX322" fmla="*/ 1327679 w 1416191"/>
                  <a:gd name="connsiteY322" fmla="*/ 663486 h 2719086"/>
                  <a:gd name="connsiteX323" fmla="*/ 1239876 w 1416191"/>
                  <a:gd name="connsiteY323" fmla="*/ 790943 h 2719086"/>
                  <a:gd name="connsiteX324" fmla="*/ 1135078 w 1416191"/>
                  <a:gd name="connsiteY324" fmla="*/ 809353 h 2719086"/>
                  <a:gd name="connsiteX325" fmla="*/ 1082679 w 1416191"/>
                  <a:gd name="connsiteY325" fmla="*/ 965134 h 2719086"/>
                  <a:gd name="connsiteX326" fmla="*/ 1082679 w 1416191"/>
                  <a:gd name="connsiteY326" fmla="*/ 680480 h 2719086"/>
                  <a:gd name="connsiteX327" fmla="*/ 1125164 w 1416191"/>
                  <a:gd name="connsiteY327" fmla="*/ 677647 h 2719086"/>
                  <a:gd name="connsiteX328" fmla="*/ 1133661 w 1416191"/>
                  <a:gd name="connsiteY328" fmla="*/ 810769 h 2719086"/>
                  <a:gd name="connsiteX329" fmla="*/ 1133661 w 1416191"/>
                  <a:gd name="connsiteY329" fmla="*/ 810769 h 2719086"/>
                  <a:gd name="connsiteX330" fmla="*/ 1238460 w 1416191"/>
                  <a:gd name="connsiteY330" fmla="*/ 793775 h 2719086"/>
                  <a:gd name="connsiteX331" fmla="*/ 1118083 w 1416191"/>
                  <a:gd name="connsiteY331" fmla="*/ 969383 h 2719086"/>
                  <a:gd name="connsiteX332" fmla="*/ 1082679 w 1416191"/>
                  <a:gd name="connsiteY332" fmla="*/ 965134 h 2719086"/>
                  <a:gd name="connsiteX333" fmla="*/ 1082679 w 1416191"/>
                  <a:gd name="connsiteY333" fmla="*/ 1000539 h 2719086"/>
                  <a:gd name="connsiteX334" fmla="*/ 1082679 w 1416191"/>
                  <a:gd name="connsiteY334" fmla="*/ 967967 h 2719086"/>
                  <a:gd name="connsiteX335" fmla="*/ 1115251 w 1416191"/>
                  <a:gd name="connsiteY335" fmla="*/ 970799 h 2719086"/>
                  <a:gd name="connsiteX336" fmla="*/ 1095424 w 1416191"/>
                  <a:gd name="connsiteY336" fmla="*/ 1000539 h 2719086"/>
                  <a:gd name="connsiteX337" fmla="*/ 1082679 w 1416191"/>
                  <a:gd name="connsiteY337" fmla="*/ 1000539 h 2719086"/>
                  <a:gd name="connsiteX338" fmla="*/ 1094008 w 1416191"/>
                  <a:gd name="connsiteY338" fmla="*/ 1001955 h 2719086"/>
                  <a:gd name="connsiteX339" fmla="*/ 1082679 w 1416191"/>
                  <a:gd name="connsiteY339" fmla="*/ 1018949 h 2719086"/>
                  <a:gd name="connsiteX340" fmla="*/ 1082679 w 1416191"/>
                  <a:gd name="connsiteY340" fmla="*/ 1003371 h 2719086"/>
                  <a:gd name="connsiteX341" fmla="*/ 1094008 w 1416191"/>
                  <a:gd name="connsiteY341" fmla="*/ 1001955 h 2719086"/>
                  <a:gd name="connsiteX342" fmla="*/ 1156320 w 1416191"/>
                  <a:gd name="connsiteY342" fmla="*/ 642243 h 2719086"/>
                  <a:gd name="connsiteX343" fmla="*/ 1125164 w 1416191"/>
                  <a:gd name="connsiteY343" fmla="*/ 652156 h 2719086"/>
                  <a:gd name="connsiteX344" fmla="*/ 1119499 w 1416191"/>
                  <a:gd name="connsiteY344" fmla="*/ 554439 h 2719086"/>
                  <a:gd name="connsiteX345" fmla="*/ 1156320 w 1416191"/>
                  <a:gd name="connsiteY345" fmla="*/ 642243 h 2719086"/>
                  <a:gd name="connsiteX346" fmla="*/ 1081262 w 1416191"/>
                  <a:gd name="connsiteY346" fmla="*/ 666318 h 2719086"/>
                  <a:gd name="connsiteX347" fmla="*/ 1122332 w 1416191"/>
                  <a:gd name="connsiteY347" fmla="*/ 653572 h 2719086"/>
                  <a:gd name="connsiteX348" fmla="*/ 1123748 w 1416191"/>
                  <a:gd name="connsiteY348" fmla="*/ 676231 h 2719086"/>
                  <a:gd name="connsiteX349" fmla="*/ 1081262 w 1416191"/>
                  <a:gd name="connsiteY349" fmla="*/ 679064 h 2719086"/>
                  <a:gd name="connsiteX350" fmla="*/ 1081262 w 1416191"/>
                  <a:gd name="connsiteY350" fmla="*/ 666318 h 2719086"/>
                  <a:gd name="connsiteX351" fmla="*/ 735712 w 1416191"/>
                  <a:gd name="connsiteY351" fmla="*/ 1504703 h 2719086"/>
                  <a:gd name="connsiteX352" fmla="*/ 793775 w 1416191"/>
                  <a:gd name="connsiteY352" fmla="*/ 1545772 h 2719086"/>
                  <a:gd name="connsiteX353" fmla="*/ 793775 w 1416191"/>
                  <a:gd name="connsiteY353" fmla="*/ 1547189 h 2719086"/>
                  <a:gd name="connsiteX354" fmla="*/ 755538 w 1416191"/>
                  <a:gd name="connsiteY354" fmla="*/ 1564183 h 2719086"/>
                  <a:gd name="connsiteX355" fmla="*/ 680480 w 1416191"/>
                  <a:gd name="connsiteY355" fmla="*/ 1531610 h 2719086"/>
                  <a:gd name="connsiteX356" fmla="*/ 735712 w 1416191"/>
                  <a:gd name="connsiteY356" fmla="*/ 1504703 h 2719086"/>
                  <a:gd name="connsiteX357" fmla="*/ 231547 w 1416191"/>
                  <a:gd name="connsiteY357" fmla="*/ 361837 h 2719086"/>
                  <a:gd name="connsiteX358" fmla="*/ 309438 w 1416191"/>
                  <a:gd name="connsiteY358" fmla="*/ 425565 h 2719086"/>
                  <a:gd name="connsiteX359" fmla="*/ 186229 w 1416191"/>
                  <a:gd name="connsiteY359" fmla="*/ 509121 h 2719086"/>
                  <a:gd name="connsiteX360" fmla="*/ 142327 w 1416191"/>
                  <a:gd name="connsiteY360" fmla="*/ 445392 h 2719086"/>
                  <a:gd name="connsiteX361" fmla="*/ 231547 w 1416191"/>
                  <a:gd name="connsiteY361" fmla="*/ 361837 h 2719086"/>
                  <a:gd name="connsiteX362" fmla="*/ 275449 w 1416191"/>
                  <a:gd name="connsiteY362" fmla="*/ 317935 h 2719086"/>
                  <a:gd name="connsiteX363" fmla="*/ 232964 w 1416191"/>
                  <a:gd name="connsiteY363" fmla="*/ 357588 h 2719086"/>
                  <a:gd name="connsiteX364" fmla="*/ 186229 w 1416191"/>
                  <a:gd name="connsiteY364" fmla="*/ 319351 h 2719086"/>
                  <a:gd name="connsiteX365" fmla="*/ 200391 w 1416191"/>
                  <a:gd name="connsiteY365" fmla="*/ 293860 h 2719086"/>
                  <a:gd name="connsiteX366" fmla="*/ 275449 w 1416191"/>
                  <a:gd name="connsiteY366" fmla="*/ 317935 h 2719086"/>
                  <a:gd name="connsiteX367" fmla="*/ 476549 w 1416191"/>
                  <a:gd name="connsiteY367" fmla="*/ 157905 h 2719086"/>
                  <a:gd name="connsiteX368" fmla="*/ 561520 w 1416191"/>
                  <a:gd name="connsiteY368" fmla="*/ 74350 h 2719086"/>
                  <a:gd name="connsiteX369" fmla="*/ 511953 w 1416191"/>
                  <a:gd name="connsiteY369" fmla="*/ 169235 h 2719086"/>
                  <a:gd name="connsiteX370" fmla="*/ 476549 w 1416191"/>
                  <a:gd name="connsiteY370" fmla="*/ 157905 h 2719086"/>
                  <a:gd name="connsiteX371" fmla="*/ 487878 w 1416191"/>
                  <a:gd name="connsiteY371" fmla="*/ 220218 h 2719086"/>
                  <a:gd name="connsiteX372" fmla="*/ 513369 w 1416191"/>
                  <a:gd name="connsiteY372" fmla="*/ 172067 h 2719086"/>
                  <a:gd name="connsiteX373" fmla="*/ 732879 w 1416191"/>
                  <a:gd name="connsiteY373" fmla="*/ 244293 h 2719086"/>
                  <a:gd name="connsiteX374" fmla="*/ 487878 w 1416191"/>
                  <a:gd name="connsiteY374" fmla="*/ 220218 h 2719086"/>
                  <a:gd name="connsiteX375" fmla="*/ 762619 w 1416191"/>
                  <a:gd name="connsiteY375" fmla="*/ 633745 h 2719086"/>
                  <a:gd name="connsiteX376" fmla="*/ 762619 w 1416191"/>
                  <a:gd name="connsiteY376" fmla="*/ 633745 h 2719086"/>
                  <a:gd name="connsiteX377" fmla="*/ 962302 w 1416191"/>
                  <a:gd name="connsiteY377" fmla="*/ 690393 h 2719086"/>
                  <a:gd name="connsiteX378" fmla="*/ 962302 w 1416191"/>
                  <a:gd name="connsiteY378" fmla="*/ 690393 h 2719086"/>
                  <a:gd name="connsiteX379" fmla="*/ 1004788 w 1416191"/>
                  <a:gd name="connsiteY379" fmla="*/ 687560 h 2719086"/>
                  <a:gd name="connsiteX380" fmla="*/ 727214 w 1416191"/>
                  <a:gd name="connsiteY380" fmla="*/ 771116 h 2719086"/>
                  <a:gd name="connsiteX381" fmla="*/ 571433 w 1416191"/>
                  <a:gd name="connsiteY381" fmla="*/ 640826 h 2719086"/>
                  <a:gd name="connsiteX382" fmla="*/ 735712 w 1416191"/>
                  <a:gd name="connsiteY382" fmla="*/ 662069 h 2719086"/>
                  <a:gd name="connsiteX383" fmla="*/ 737128 w 1416191"/>
                  <a:gd name="connsiteY383" fmla="*/ 662069 h 2719086"/>
                  <a:gd name="connsiteX384" fmla="*/ 536029 w 1416191"/>
                  <a:gd name="connsiteY384" fmla="*/ 541693 h 2719086"/>
                  <a:gd name="connsiteX385" fmla="*/ 536029 w 1416191"/>
                  <a:gd name="connsiteY385" fmla="*/ 541693 h 2719086"/>
                  <a:gd name="connsiteX386" fmla="*/ 545942 w 1416191"/>
                  <a:gd name="connsiteY386" fmla="*/ 618167 h 2719086"/>
                  <a:gd name="connsiteX387" fmla="*/ 465219 w 1416191"/>
                  <a:gd name="connsiteY387" fmla="*/ 551607 h 2719086"/>
                  <a:gd name="connsiteX388" fmla="*/ 621000 w 1416191"/>
                  <a:gd name="connsiteY388" fmla="*/ 459554 h 2719086"/>
                  <a:gd name="connsiteX389" fmla="*/ 662069 w 1416191"/>
                  <a:gd name="connsiteY389" fmla="*/ 490710 h 2719086"/>
                  <a:gd name="connsiteX390" fmla="*/ 662069 w 1416191"/>
                  <a:gd name="connsiteY390" fmla="*/ 490710 h 2719086"/>
                  <a:gd name="connsiteX391" fmla="*/ 669150 w 1416191"/>
                  <a:gd name="connsiteY391" fmla="*/ 431230 h 2719086"/>
                  <a:gd name="connsiteX392" fmla="*/ 725798 w 1416191"/>
                  <a:gd name="connsiteY392" fmla="*/ 397241 h 2719086"/>
                  <a:gd name="connsiteX393" fmla="*/ 795192 w 1416191"/>
                  <a:gd name="connsiteY393" fmla="*/ 418484 h 2719086"/>
                  <a:gd name="connsiteX394" fmla="*/ 795192 w 1416191"/>
                  <a:gd name="connsiteY394" fmla="*/ 418484 h 2719086"/>
                  <a:gd name="connsiteX395" fmla="*/ 795192 w 1416191"/>
                  <a:gd name="connsiteY395" fmla="*/ 407155 h 2719086"/>
                  <a:gd name="connsiteX396" fmla="*/ 887244 w 1416191"/>
                  <a:gd name="connsiteY396" fmla="*/ 452473 h 2719086"/>
                  <a:gd name="connsiteX397" fmla="*/ 762619 w 1416191"/>
                  <a:gd name="connsiteY397" fmla="*/ 633745 h 2719086"/>
                  <a:gd name="connsiteX398" fmla="*/ 987794 w 1416191"/>
                  <a:gd name="connsiteY398" fmla="*/ 956637 h 2719086"/>
                  <a:gd name="connsiteX399" fmla="*/ 1064268 w 1416191"/>
                  <a:gd name="connsiteY399" fmla="*/ 683312 h 2719086"/>
                  <a:gd name="connsiteX400" fmla="*/ 1078430 w 1416191"/>
                  <a:gd name="connsiteY400" fmla="*/ 681896 h 2719086"/>
                  <a:gd name="connsiteX401" fmla="*/ 1078430 w 1416191"/>
                  <a:gd name="connsiteY401" fmla="*/ 965134 h 2719086"/>
                  <a:gd name="connsiteX402" fmla="*/ 987794 w 1416191"/>
                  <a:gd name="connsiteY402" fmla="*/ 956637 h 2719086"/>
                  <a:gd name="connsiteX403" fmla="*/ 738544 w 1416191"/>
                  <a:gd name="connsiteY403" fmla="*/ 1503287 h 2719086"/>
                  <a:gd name="connsiteX404" fmla="*/ 772532 w 1416191"/>
                  <a:gd name="connsiteY404" fmla="*/ 1486292 h 2719086"/>
                  <a:gd name="connsiteX405" fmla="*/ 793775 w 1416191"/>
                  <a:gd name="connsiteY405" fmla="*/ 1541524 h 2719086"/>
                  <a:gd name="connsiteX406" fmla="*/ 738544 w 1416191"/>
                  <a:gd name="connsiteY406" fmla="*/ 1503287 h 2719086"/>
                  <a:gd name="connsiteX407" fmla="*/ 754122 w 1416191"/>
                  <a:gd name="connsiteY407" fmla="*/ 1564183 h 2719086"/>
                  <a:gd name="connsiteX408" fmla="*/ 703139 w 1416191"/>
                  <a:gd name="connsiteY408" fmla="*/ 1586842 h 2719086"/>
                  <a:gd name="connsiteX409" fmla="*/ 649324 w 1416191"/>
                  <a:gd name="connsiteY409" fmla="*/ 1547189 h 2719086"/>
                  <a:gd name="connsiteX410" fmla="*/ 679064 w 1416191"/>
                  <a:gd name="connsiteY410" fmla="*/ 1533027 h 2719086"/>
                  <a:gd name="connsiteX411" fmla="*/ 754122 w 1416191"/>
                  <a:gd name="connsiteY411" fmla="*/ 1564183 h 2719086"/>
                  <a:gd name="connsiteX412" fmla="*/ 558688 w 1416191"/>
                  <a:gd name="connsiteY412" fmla="*/ 1544356 h 2719086"/>
                  <a:gd name="connsiteX413" fmla="*/ 550190 w 1416191"/>
                  <a:gd name="connsiteY413" fmla="*/ 1593923 h 2719086"/>
                  <a:gd name="connsiteX414" fmla="*/ 458138 w 1416191"/>
                  <a:gd name="connsiteY414" fmla="*/ 1639241 h 2719086"/>
                  <a:gd name="connsiteX415" fmla="*/ 380247 w 1416191"/>
                  <a:gd name="connsiteY415" fmla="*/ 1608085 h 2719086"/>
                  <a:gd name="connsiteX416" fmla="*/ 429814 w 1416191"/>
                  <a:gd name="connsiteY416" fmla="*/ 1500454 h 2719086"/>
                  <a:gd name="connsiteX417" fmla="*/ 558688 w 1416191"/>
                  <a:gd name="connsiteY417" fmla="*/ 1544356 h 2719086"/>
                  <a:gd name="connsiteX418" fmla="*/ 299525 w 1416191"/>
                  <a:gd name="connsiteY418" fmla="*/ 101258 h 2719086"/>
                  <a:gd name="connsiteX419" fmla="*/ 265536 w 1416191"/>
                  <a:gd name="connsiteY419" fmla="*/ 164986 h 2719086"/>
                  <a:gd name="connsiteX420" fmla="*/ 264120 w 1416191"/>
                  <a:gd name="connsiteY420" fmla="*/ 89928 h 2719086"/>
                  <a:gd name="connsiteX421" fmla="*/ 299525 w 1416191"/>
                  <a:gd name="connsiteY421" fmla="*/ 101258 h 2719086"/>
                  <a:gd name="connsiteX422" fmla="*/ 346259 w 1416191"/>
                  <a:gd name="connsiteY422" fmla="*/ 724382 h 2719086"/>
                  <a:gd name="connsiteX423" fmla="*/ 346259 w 1416191"/>
                  <a:gd name="connsiteY423" fmla="*/ 738543 h 2719086"/>
                  <a:gd name="connsiteX424" fmla="*/ 340594 w 1416191"/>
                  <a:gd name="connsiteY424" fmla="*/ 731462 h 2719086"/>
                  <a:gd name="connsiteX425" fmla="*/ 346259 w 1416191"/>
                  <a:gd name="connsiteY425" fmla="*/ 724382 h 2719086"/>
                  <a:gd name="connsiteX426" fmla="*/ 329265 w 1416191"/>
                  <a:gd name="connsiteY426" fmla="*/ 745624 h 2719086"/>
                  <a:gd name="connsiteX427" fmla="*/ 339178 w 1416191"/>
                  <a:gd name="connsiteY427" fmla="*/ 732879 h 2719086"/>
                  <a:gd name="connsiteX428" fmla="*/ 346259 w 1416191"/>
                  <a:gd name="connsiteY428" fmla="*/ 742792 h 2719086"/>
                  <a:gd name="connsiteX429" fmla="*/ 346259 w 1416191"/>
                  <a:gd name="connsiteY429" fmla="*/ 754122 h 2719086"/>
                  <a:gd name="connsiteX430" fmla="*/ 329265 w 1416191"/>
                  <a:gd name="connsiteY430" fmla="*/ 745624 h 2719086"/>
                  <a:gd name="connsiteX431" fmla="*/ 568601 w 1416191"/>
                  <a:gd name="connsiteY431" fmla="*/ 640826 h 2719086"/>
                  <a:gd name="connsiteX432" fmla="*/ 725798 w 1416191"/>
                  <a:gd name="connsiteY432" fmla="*/ 772532 h 2719086"/>
                  <a:gd name="connsiteX433" fmla="*/ 571433 w 1416191"/>
                  <a:gd name="connsiteY433" fmla="*/ 819266 h 2719086"/>
                  <a:gd name="connsiteX434" fmla="*/ 548774 w 1416191"/>
                  <a:gd name="connsiteY434" fmla="*/ 639410 h 2719086"/>
                  <a:gd name="connsiteX435" fmla="*/ 568601 w 1416191"/>
                  <a:gd name="connsiteY435" fmla="*/ 640826 h 2719086"/>
                  <a:gd name="connsiteX436" fmla="*/ 528948 w 1416191"/>
                  <a:gd name="connsiteY436" fmla="*/ 833428 h 2719086"/>
                  <a:gd name="connsiteX437" fmla="*/ 570017 w 1416191"/>
                  <a:gd name="connsiteY437" fmla="*/ 820683 h 2719086"/>
                  <a:gd name="connsiteX438" fmla="*/ 572850 w 1416191"/>
                  <a:gd name="connsiteY438" fmla="*/ 839093 h 2719086"/>
                  <a:gd name="connsiteX439" fmla="*/ 528948 w 1416191"/>
                  <a:gd name="connsiteY439" fmla="*/ 833428 h 2719086"/>
                  <a:gd name="connsiteX440" fmla="*/ 360421 w 1416191"/>
                  <a:gd name="connsiteY440" fmla="*/ 764035 h 2719086"/>
                  <a:gd name="connsiteX441" fmla="*/ 394409 w 1416191"/>
                  <a:gd name="connsiteY441" fmla="*/ 813602 h 2719086"/>
                  <a:gd name="connsiteX442" fmla="*/ 344843 w 1416191"/>
                  <a:gd name="connsiteY442" fmla="*/ 806521 h 2719086"/>
                  <a:gd name="connsiteX443" fmla="*/ 346259 w 1416191"/>
                  <a:gd name="connsiteY443" fmla="*/ 756954 h 2719086"/>
                  <a:gd name="connsiteX444" fmla="*/ 360421 w 1416191"/>
                  <a:gd name="connsiteY444" fmla="*/ 764035 h 2719086"/>
                  <a:gd name="connsiteX445" fmla="*/ 357588 w 1416191"/>
                  <a:gd name="connsiteY445" fmla="*/ 761203 h 2719086"/>
                  <a:gd name="connsiteX446" fmla="*/ 346259 w 1416191"/>
                  <a:gd name="connsiteY446" fmla="*/ 755538 h 2719086"/>
                  <a:gd name="connsiteX447" fmla="*/ 346259 w 1416191"/>
                  <a:gd name="connsiteY447" fmla="*/ 745624 h 2719086"/>
                  <a:gd name="connsiteX448" fmla="*/ 357588 w 1416191"/>
                  <a:gd name="connsiteY448" fmla="*/ 761203 h 2719086"/>
                  <a:gd name="connsiteX449" fmla="*/ 356172 w 1416191"/>
                  <a:gd name="connsiteY449" fmla="*/ 462386 h 2719086"/>
                  <a:gd name="connsiteX450" fmla="*/ 500624 w 1416191"/>
                  <a:gd name="connsiteY450" fmla="*/ 370334 h 2719086"/>
                  <a:gd name="connsiteX451" fmla="*/ 540277 w 1416191"/>
                  <a:gd name="connsiteY451" fmla="*/ 400074 h 2719086"/>
                  <a:gd name="connsiteX452" fmla="*/ 421317 w 1416191"/>
                  <a:gd name="connsiteY452" fmla="*/ 516202 h 2719086"/>
                  <a:gd name="connsiteX453" fmla="*/ 356172 w 1416191"/>
                  <a:gd name="connsiteY453" fmla="*/ 462386 h 2719086"/>
                  <a:gd name="connsiteX454" fmla="*/ 623832 w 1416191"/>
                  <a:gd name="connsiteY454" fmla="*/ 320767 h 2719086"/>
                  <a:gd name="connsiteX455" fmla="*/ 684729 w 1416191"/>
                  <a:gd name="connsiteY455" fmla="*/ 261287 h 2719086"/>
                  <a:gd name="connsiteX456" fmla="*/ 676231 w 1416191"/>
                  <a:gd name="connsiteY456" fmla="*/ 346259 h 2719086"/>
                  <a:gd name="connsiteX457" fmla="*/ 623832 w 1416191"/>
                  <a:gd name="connsiteY457" fmla="*/ 320767 h 2719086"/>
                  <a:gd name="connsiteX458" fmla="*/ 666318 w 1416191"/>
                  <a:gd name="connsiteY458" fmla="*/ 432646 h 2719086"/>
                  <a:gd name="connsiteX459" fmla="*/ 660653 w 1416191"/>
                  <a:gd name="connsiteY459" fmla="*/ 487878 h 2719086"/>
                  <a:gd name="connsiteX460" fmla="*/ 622416 w 1416191"/>
                  <a:gd name="connsiteY460" fmla="*/ 458138 h 2719086"/>
                  <a:gd name="connsiteX461" fmla="*/ 666318 w 1416191"/>
                  <a:gd name="connsiteY461" fmla="*/ 432646 h 2719086"/>
                  <a:gd name="connsiteX462" fmla="*/ 727214 w 1416191"/>
                  <a:gd name="connsiteY462" fmla="*/ 659237 h 2719086"/>
                  <a:gd name="connsiteX463" fmla="*/ 568601 w 1416191"/>
                  <a:gd name="connsiteY463" fmla="*/ 637994 h 2719086"/>
                  <a:gd name="connsiteX464" fmla="*/ 545942 w 1416191"/>
                  <a:gd name="connsiteY464" fmla="*/ 619584 h 2719086"/>
                  <a:gd name="connsiteX465" fmla="*/ 536029 w 1416191"/>
                  <a:gd name="connsiteY465" fmla="*/ 544526 h 2719086"/>
                  <a:gd name="connsiteX466" fmla="*/ 727214 w 1416191"/>
                  <a:gd name="connsiteY466" fmla="*/ 659237 h 2719086"/>
                  <a:gd name="connsiteX467" fmla="*/ 353340 w 1416191"/>
                  <a:gd name="connsiteY467" fmla="*/ 538860 h 2719086"/>
                  <a:gd name="connsiteX468" fmla="*/ 354756 w 1416191"/>
                  <a:gd name="connsiteY468" fmla="*/ 463803 h 2719086"/>
                  <a:gd name="connsiteX469" fmla="*/ 421317 w 1416191"/>
                  <a:gd name="connsiteY469" fmla="*/ 519034 h 2719086"/>
                  <a:gd name="connsiteX470" fmla="*/ 388745 w 1416191"/>
                  <a:gd name="connsiteY470" fmla="*/ 551607 h 2719086"/>
                  <a:gd name="connsiteX471" fmla="*/ 353340 w 1416191"/>
                  <a:gd name="connsiteY471" fmla="*/ 538860 h 2719086"/>
                  <a:gd name="connsiteX472" fmla="*/ 548774 w 1416191"/>
                  <a:gd name="connsiteY472" fmla="*/ 340594 h 2719086"/>
                  <a:gd name="connsiteX473" fmla="*/ 596925 w 1416191"/>
                  <a:gd name="connsiteY473" fmla="*/ 309438 h 2719086"/>
                  <a:gd name="connsiteX474" fmla="*/ 621000 w 1416191"/>
                  <a:gd name="connsiteY474" fmla="*/ 322183 h 2719086"/>
                  <a:gd name="connsiteX475" fmla="*/ 589844 w 1416191"/>
                  <a:gd name="connsiteY475" fmla="*/ 353340 h 2719086"/>
                  <a:gd name="connsiteX476" fmla="*/ 548774 w 1416191"/>
                  <a:gd name="connsiteY476" fmla="*/ 340594 h 2719086"/>
                  <a:gd name="connsiteX477" fmla="*/ 618168 w 1416191"/>
                  <a:gd name="connsiteY477" fmla="*/ 458138 h 2719086"/>
                  <a:gd name="connsiteX478" fmla="*/ 462387 w 1416191"/>
                  <a:gd name="connsiteY478" fmla="*/ 550190 h 2719086"/>
                  <a:gd name="connsiteX479" fmla="*/ 424150 w 1416191"/>
                  <a:gd name="connsiteY479" fmla="*/ 517618 h 2719086"/>
                  <a:gd name="connsiteX480" fmla="*/ 543110 w 1416191"/>
                  <a:gd name="connsiteY480" fmla="*/ 401490 h 2719086"/>
                  <a:gd name="connsiteX481" fmla="*/ 618168 w 1416191"/>
                  <a:gd name="connsiteY481" fmla="*/ 458138 h 2719086"/>
                  <a:gd name="connsiteX482" fmla="*/ 462387 w 1416191"/>
                  <a:gd name="connsiteY482" fmla="*/ 553022 h 2719086"/>
                  <a:gd name="connsiteX483" fmla="*/ 544526 w 1416191"/>
                  <a:gd name="connsiteY483" fmla="*/ 622416 h 2719086"/>
                  <a:gd name="connsiteX484" fmla="*/ 545942 w 1416191"/>
                  <a:gd name="connsiteY484" fmla="*/ 636578 h 2719086"/>
                  <a:gd name="connsiteX485" fmla="*/ 428398 w 1416191"/>
                  <a:gd name="connsiteY485" fmla="*/ 621000 h 2719086"/>
                  <a:gd name="connsiteX486" fmla="*/ 428398 w 1416191"/>
                  <a:gd name="connsiteY486" fmla="*/ 621000 h 2719086"/>
                  <a:gd name="connsiteX487" fmla="*/ 347675 w 1416191"/>
                  <a:gd name="connsiteY487" fmla="*/ 720133 h 2719086"/>
                  <a:gd name="connsiteX488" fmla="*/ 350507 w 1416191"/>
                  <a:gd name="connsiteY488" fmla="*/ 619584 h 2719086"/>
                  <a:gd name="connsiteX489" fmla="*/ 462387 w 1416191"/>
                  <a:gd name="connsiteY489" fmla="*/ 553022 h 2719086"/>
                  <a:gd name="connsiteX490" fmla="*/ 460970 w 1416191"/>
                  <a:gd name="connsiteY490" fmla="*/ 551607 h 2719086"/>
                  <a:gd name="connsiteX491" fmla="*/ 351924 w 1416191"/>
                  <a:gd name="connsiteY491" fmla="*/ 615335 h 2719086"/>
                  <a:gd name="connsiteX492" fmla="*/ 353340 w 1416191"/>
                  <a:gd name="connsiteY492" fmla="*/ 540277 h 2719086"/>
                  <a:gd name="connsiteX493" fmla="*/ 388745 w 1416191"/>
                  <a:gd name="connsiteY493" fmla="*/ 553022 h 2719086"/>
                  <a:gd name="connsiteX494" fmla="*/ 388745 w 1416191"/>
                  <a:gd name="connsiteY494" fmla="*/ 553022 h 2719086"/>
                  <a:gd name="connsiteX495" fmla="*/ 422733 w 1416191"/>
                  <a:gd name="connsiteY495" fmla="*/ 519034 h 2719086"/>
                  <a:gd name="connsiteX496" fmla="*/ 460970 w 1416191"/>
                  <a:gd name="connsiteY496" fmla="*/ 551607 h 2719086"/>
                  <a:gd name="connsiteX497" fmla="*/ 278282 w 1416191"/>
                  <a:gd name="connsiteY497" fmla="*/ 511953 h 2719086"/>
                  <a:gd name="connsiteX498" fmla="*/ 351924 w 1416191"/>
                  <a:gd name="connsiteY498" fmla="*/ 465219 h 2719086"/>
                  <a:gd name="connsiteX499" fmla="*/ 350507 w 1416191"/>
                  <a:gd name="connsiteY499" fmla="*/ 538860 h 2719086"/>
                  <a:gd name="connsiteX500" fmla="*/ 278282 w 1416191"/>
                  <a:gd name="connsiteY500" fmla="*/ 511953 h 2719086"/>
                  <a:gd name="connsiteX501" fmla="*/ 565769 w 1416191"/>
                  <a:gd name="connsiteY501" fmla="*/ 637994 h 2719086"/>
                  <a:gd name="connsiteX502" fmla="*/ 550190 w 1416191"/>
                  <a:gd name="connsiteY502" fmla="*/ 635162 h 2719086"/>
                  <a:gd name="connsiteX503" fmla="*/ 548774 w 1416191"/>
                  <a:gd name="connsiteY503" fmla="*/ 622416 h 2719086"/>
                  <a:gd name="connsiteX504" fmla="*/ 565769 w 1416191"/>
                  <a:gd name="connsiteY504" fmla="*/ 637994 h 2719086"/>
                  <a:gd name="connsiteX505" fmla="*/ 621000 w 1416191"/>
                  <a:gd name="connsiteY505" fmla="*/ 458138 h 2719086"/>
                  <a:gd name="connsiteX506" fmla="*/ 544526 w 1416191"/>
                  <a:gd name="connsiteY506" fmla="*/ 400074 h 2719086"/>
                  <a:gd name="connsiteX507" fmla="*/ 589844 w 1416191"/>
                  <a:gd name="connsiteY507" fmla="*/ 356172 h 2719086"/>
                  <a:gd name="connsiteX508" fmla="*/ 671983 w 1416191"/>
                  <a:gd name="connsiteY508" fmla="*/ 381664 h 2719086"/>
                  <a:gd name="connsiteX509" fmla="*/ 666318 w 1416191"/>
                  <a:gd name="connsiteY509" fmla="*/ 431230 h 2719086"/>
                  <a:gd name="connsiteX510" fmla="*/ 621000 w 1416191"/>
                  <a:gd name="connsiteY510" fmla="*/ 458138 h 2719086"/>
                  <a:gd name="connsiteX511" fmla="*/ 591260 w 1416191"/>
                  <a:gd name="connsiteY511" fmla="*/ 353340 h 2719086"/>
                  <a:gd name="connsiteX512" fmla="*/ 622416 w 1416191"/>
                  <a:gd name="connsiteY512" fmla="*/ 322183 h 2719086"/>
                  <a:gd name="connsiteX513" fmla="*/ 674815 w 1416191"/>
                  <a:gd name="connsiteY513" fmla="*/ 347675 h 2719086"/>
                  <a:gd name="connsiteX514" fmla="*/ 671983 w 1416191"/>
                  <a:gd name="connsiteY514" fmla="*/ 377415 h 2719086"/>
                  <a:gd name="connsiteX515" fmla="*/ 591260 w 1416191"/>
                  <a:gd name="connsiteY515" fmla="*/ 353340 h 2719086"/>
                  <a:gd name="connsiteX516" fmla="*/ 587012 w 1416191"/>
                  <a:gd name="connsiteY516" fmla="*/ 354756 h 2719086"/>
                  <a:gd name="connsiteX517" fmla="*/ 541693 w 1416191"/>
                  <a:gd name="connsiteY517" fmla="*/ 398658 h 2719086"/>
                  <a:gd name="connsiteX518" fmla="*/ 502040 w 1416191"/>
                  <a:gd name="connsiteY518" fmla="*/ 368918 h 2719086"/>
                  <a:gd name="connsiteX519" fmla="*/ 544526 w 1416191"/>
                  <a:gd name="connsiteY519" fmla="*/ 342010 h 2719086"/>
                  <a:gd name="connsiteX520" fmla="*/ 587012 w 1416191"/>
                  <a:gd name="connsiteY520" fmla="*/ 354756 h 2719086"/>
                  <a:gd name="connsiteX521" fmla="*/ 349091 w 1416191"/>
                  <a:gd name="connsiteY521" fmla="*/ 722965 h 2719086"/>
                  <a:gd name="connsiteX522" fmla="*/ 429814 w 1416191"/>
                  <a:gd name="connsiteY522" fmla="*/ 622416 h 2719086"/>
                  <a:gd name="connsiteX523" fmla="*/ 547358 w 1416191"/>
                  <a:gd name="connsiteY523" fmla="*/ 637994 h 2719086"/>
                  <a:gd name="connsiteX524" fmla="*/ 570017 w 1416191"/>
                  <a:gd name="connsiteY524" fmla="*/ 819266 h 2719086"/>
                  <a:gd name="connsiteX525" fmla="*/ 524699 w 1416191"/>
                  <a:gd name="connsiteY525" fmla="*/ 833428 h 2719086"/>
                  <a:gd name="connsiteX526" fmla="*/ 489294 w 1416191"/>
                  <a:gd name="connsiteY526" fmla="*/ 827764 h 2719086"/>
                  <a:gd name="connsiteX527" fmla="*/ 361837 w 1416191"/>
                  <a:gd name="connsiteY527" fmla="*/ 762619 h 2719086"/>
                  <a:gd name="connsiteX528" fmla="*/ 347675 w 1416191"/>
                  <a:gd name="connsiteY528" fmla="*/ 742792 h 2719086"/>
                  <a:gd name="connsiteX529" fmla="*/ 349091 w 1416191"/>
                  <a:gd name="connsiteY529" fmla="*/ 722965 h 2719086"/>
                  <a:gd name="connsiteX530" fmla="*/ 722966 w 1416191"/>
                  <a:gd name="connsiteY530" fmla="*/ 397241 h 2719086"/>
                  <a:gd name="connsiteX531" fmla="*/ 669150 w 1416191"/>
                  <a:gd name="connsiteY531" fmla="*/ 429814 h 2719086"/>
                  <a:gd name="connsiteX532" fmla="*/ 674815 w 1416191"/>
                  <a:gd name="connsiteY532" fmla="*/ 383079 h 2719086"/>
                  <a:gd name="connsiteX533" fmla="*/ 722966 w 1416191"/>
                  <a:gd name="connsiteY533" fmla="*/ 397241 h 2719086"/>
                  <a:gd name="connsiteX534" fmla="*/ 543110 w 1416191"/>
                  <a:gd name="connsiteY534" fmla="*/ 340594 h 2719086"/>
                  <a:gd name="connsiteX535" fmla="*/ 500624 w 1416191"/>
                  <a:gd name="connsiteY535" fmla="*/ 367502 h 2719086"/>
                  <a:gd name="connsiteX536" fmla="*/ 411404 w 1416191"/>
                  <a:gd name="connsiteY536" fmla="*/ 299524 h 2719086"/>
                  <a:gd name="connsiteX537" fmla="*/ 543110 w 1416191"/>
                  <a:gd name="connsiteY537" fmla="*/ 340594 h 2719086"/>
                  <a:gd name="connsiteX538" fmla="*/ 327848 w 1416191"/>
                  <a:gd name="connsiteY538" fmla="*/ 271200 h 2719086"/>
                  <a:gd name="connsiteX539" fmla="*/ 357588 w 1416191"/>
                  <a:gd name="connsiteY539" fmla="*/ 242877 h 2719086"/>
                  <a:gd name="connsiteX540" fmla="*/ 356172 w 1416191"/>
                  <a:gd name="connsiteY540" fmla="*/ 279698 h 2719086"/>
                  <a:gd name="connsiteX541" fmla="*/ 327848 w 1416191"/>
                  <a:gd name="connsiteY541" fmla="*/ 271200 h 2719086"/>
                  <a:gd name="connsiteX542" fmla="*/ 407155 w 1416191"/>
                  <a:gd name="connsiteY542" fmla="*/ 360421 h 2719086"/>
                  <a:gd name="connsiteX543" fmla="*/ 356172 w 1416191"/>
                  <a:gd name="connsiteY543" fmla="*/ 394409 h 2719086"/>
                  <a:gd name="connsiteX544" fmla="*/ 357588 w 1416191"/>
                  <a:gd name="connsiteY544" fmla="*/ 344843 h 2719086"/>
                  <a:gd name="connsiteX545" fmla="*/ 407155 w 1416191"/>
                  <a:gd name="connsiteY545" fmla="*/ 360421 h 2719086"/>
                  <a:gd name="connsiteX546" fmla="*/ 357588 w 1416191"/>
                  <a:gd name="connsiteY546" fmla="*/ 282530 h 2719086"/>
                  <a:gd name="connsiteX547" fmla="*/ 356172 w 1416191"/>
                  <a:gd name="connsiteY547" fmla="*/ 342010 h 2719086"/>
                  <a:gd name="connsiteX548" fmla="*/ 279698 w 1416191"/>
                  <a:gd name="connsiteY548" fmla="*/ 317935 h 2719086"/>
                  <a:gd name="connsiteX549" fmla="*/ 326432 w 1416191"/>
                  <a:gd name="connsiteY549" fmla="*/ 274033 h 2719086"/>
                  <a:gd name="connsiteX550" fmla="*/ 357588 w 1416191"/>
                  <a:gd name="connsiteY550" fmla="*/ 282530 h 2719086"/>
                  <a:gd name="connsiteX551" fmla="*/ 354756 w 1416191"/>
                  <a:gd name="connsiteY551" fmla="*/ 397241 h 2719086"/>
                  <a:gd name="connsiteX552" fmla="*/ 353340 w 1416191"/>
                  <a:gd name="connsiteY552" fmla="*/ 458138 h 2719086"/>
                  <a:gd name="connsiteX553" fmla="*/ 313687 w 1416191"/>
                  <a:gd name="connsiteY553" fmla="*/ 425565 h 2719086"/>
                  <a:gd name="connsiteX554" fmla="*/ 354756 w 1416191"/>
                  <a:gd name="connsiteY554" fmla="*/ 397241 h 2719086"/>
                  <a:gd name="connsiteX555" fmla="*/ 354756 w 1416191"/>
                  <a:gd name="connsiteY555" fmla="*/ 460970 h 2719086"/>
                  <a:gd name="connsiteX556" fmla="*/ 356172 w 1416191"/>
                  <a:gd name="connsiteY556" fmla="*/ 397241 h 2719086"/>
                  <a:gd name="connsiteX557" fmla="*/ 411404 w 1416191"/>
                  <a:gd name="connsiteY557" fmla="*/ 360421 h 2719086"/>
                  <a:gd name="connsiteX558" fmla="*/ 411404 w 1416191"/>
                  <a:gd name="connsiteY558" fmla="*/ 360421 h 2719086"/>
                  <a:gd name="connsiteX559" fmla="*/ 357588 w 1416191"/>
                  <a:gd name="connsiteY559" fmla="*/ 343426 h 2719086"/>
                  <a:gd name="connsiteX560" fmla="*/ 359005 w 1416191"/>
                  <a:gd name="connsiteY560" fmla="*/ 283946 h 2719086"/>
                  <a:gd name="connsiteX561" fmla="*/ 405739 w 1416191"/>
                  <a:gd name="connsiteY561" fmla="*/ 298108 h 2719086"/>
                  <a:gd name="connsiteX562" fmla="*/ 499207 w 1416191"/>
                  <a:gd name="connsiteY562" fmla="*/ 368918 h 2719086"/>
                  <a:gd name="connsiteX563" fmla="*/ 354756 w 1416191"/>
                  <a:gd name="connsiteY563" fmla="*/ 460970 h 2719086"/>
                  <a:gd name="connsiteX564" fmla="*/ 356172 w 1416191"/>
                  <a:gd name="connsiteY564" fmla="*/ 343426 h 2719086"/>
                  <a:gd name="connsiteX565" fmla="*/ 354756 w 1416191"/>
                  <a:gd name="connsiteY565" fmla="*/ 394409 h 2719086"/>
                  <a:gd name="connsiteX566" fmla="*/ 310854 w 1416191"/>
                  <a:gd name="connsiteY566" fmla="*/ 424149 h 2719086"/>
                  <a:gd name="connsiteX567" fmla="*/ 232964 w 1416191"/>
                  <a:gd name="connsiteY567" fmla="*/ 359004 h 2719086"/>
                  <a:gd name="connsiteX568" fmla="*/ 276865 w 1416191"/>
                  <a:gd name="connsiteY568" fmla="*/ 317935 h 2719086"/>
                  <a:gd name="connsiteX569" fmla="*/ 356172 w 1416191"/>
                  <a:gd name="connsiteY569" fmla="*/ 343426 h 2719086"/>
                  <a:gd name="connsiteX570" fmla="*/ 349091 w 1416191"/>
                  <a:gd name="connsiteY570" fmla="*/ 619584 h 2719086"/>
                  <a:gd name="connsiteX571" fmla="*/ 346259 w 1416191"/>
                  <a:gd name="connsiteY571" fmla="*/ 721549 h 2719086"/>
                  <a:gd name="connsiteX572" fmla="*/ 339178 w 1416191"/>
                  <a:gd name="connsiteY572" fmla="*/ 730046 h 2719086"/>
                  <a:gd name="connsiteX573" fmla="*/ 286779 w 1416191"/>
                  <a:gd name="connsiteY573" fmla="*/ 654988 h 2719086"/>
                  <a:gd name="connsiteX574" fmla="*/ 349091 w 1416191"/>
                  <a:gd name="connsiteY574" fmla="*/ 619584 h 2719086"/>
                  <a:gd name="connsiteX575" fmla="*/ 398658 w 1416191"/>
                  <a:gd name="connsiteY575" fmla="*/ 815018 h 2719086"/>
                  <a:gd name="connsiteX576" fmla="*/ 364669 w 1416191"/>
                  <a:gd name="connsiteY576" fmla="*/ 766867 h 2719086"/>
                  <a:gd name="connsiteX577" fmla="*/ 482213 w 1416191"/>
                  <a:gd name="connsiteY577" fmla="*/ 827764 h 2719086"/>
                  <a:gd name="connsiteX578" fmla="*/ 398658 w 1416191"/>
                  <a:gd name="connsiteY578" fmla="*/ 815018 h 2719086"/>
                  <a:gd name="connsiteX579" fmla="*/ 426982 w 1416191"/>
                  <a:gd name="connsiteY579" fmla="*/ 856088 h 2719086"/>
                  <a:gd name="connsiteX580" fmla="*/ 400074 w 1416191"/>
                  <a:gd name="connsiteY580" fmla="*/ 817850 h 2719086"/>
                  <a:gd name="connsiteX581" fmla="*/ 489294 w 1416191"/>
                  <a:gd name="connsiteY581" fmla="*/ 830596 h 2719086"/>
                  <a:gd name="connsiteX582" fmla="*/ 506288 w 1416191"/>
                  <a:gd name="connsiteY582" fmla="*/ 839093 h 2719086"/>
                  <a:gd name="connsiteX583" fmla="*/ 465219 w 1416191"/>
                  <a:gd name="connsiteY583" fmla="*/ 851839 h 2719086"/>
                  <a:gd name="connsiteX584" fmla="*/ 426982 w 1416191"/>
                  <a:gd name="connsiteY584" fmla="*/ 856088 h 2719086"/>
                  <a:gd name="connsiteX585" fmla="*/ 674815 w 1416191"/>
                  <a:gd name="connsiteY585" fmla="*/ 380247 h 2719086"/>
                  <a:gd name="connsiteX586" fmla="*/ 677648 w 1416191"/>
                  <a:gd name="connsiteY586" fmla="*/ 350507 h 2719086"/>
                  <a:gd name="connsiteX587" fmla="*/ 745625 w 1416191"/>
                  <a:gd name="connsiteY587" fmla="*/ 384496 h 2719086"/>
                  <a:gd name="connsiteX588" fmla="*/ 725798 w 1416191"/>
                  <a:gd name="connsiteY588" fmla="*/ 395826 h 2719086"/>
                  <a:gd name="connsiteX589" fmla="*/ 674815 w 1416191"/>
                  <a:gd name="connsiteY589" fmla="*/ 380247 h 2719086"/>
                  <a:gd name="connsiteX590" fmla="*/ 200391 w 1416191"/>
                  <a:gd name="connsiteY590" fmla="*/ 292443 h 2719086"/>
                  <a:gd name="connsiteX591" fmla="*/ 264120 w 1416191"/>
                  <a:gd name="connsiteY591" fmla="*/ 172067 h 2719086"/>
                  <a:gd name="connsiteX592" fmla="*/ 266952 w 1416191"/>
                  <a:gd name="connsiteY592" fmla="*/ 254206 h 2719086"/>
                  <a:gd name="connsiteX593" fmla="*/ 266952 w 1416191"/>
                  <a:gd name="connsiteY593" fmla="*/ 254206 h 2719086"/>
                  <a:gd name="connsiteX594" fmla="*/ 325016 w 1416191"/>
                  <a:gd name="connsiteY594" fmla="*/ 272617 h 2719086"/>
                  <a:gd name="connsiteX595" fmla="*/ 278282 w 1416191"/>
                  <a:gd name="connsiteY595" fmla="*/ 316519 h 2719086"/>
                  <a:gd name="connsiteX596" fmla="*/ 200391 w 1416191"/>
                  <a:gd name="connsiteY596" fmla="*/ 292443 h 2719086"/>
                  <a:gd name="connsiteX597" fmla="*/ 310854 w 1416191"/>
                  <a:gd name="connsiteY597" fmla="*/ 426981 h 2719086"/>
                  <a:gd name="connsiteX598" fmla="*/ 353340 w 1416191"/>
                  <a:gd name="connsiteY598" fmla="*/ 462386 h 2719086"/>
                  <a:gd name="connsiteX599" fmla="*/ 275449 w 1416191"/>
                  <a:gd name="connsiteY599" fmla="*/ 511953 h 2719086"/>
                  <a:gd name="connsiteX600" fmla="*/ 275449 w 1416191"/>
                  <a:gd name="connsiteY600" fmla="*/ 511953 h 2719086"/>
                  <a:gd name="connsiteX601" fmla="*/ 351924 w 1416191"/>
                  <a:gd name="connsiteY601" fmla="*/ 540277 h 2719086"/>
                  <a:gd name="connsiteX602" fmla="*/ 350507 w 1416191"/>
                  <a:gd name="connsiteY602" fmla="*/ 618167 h 2719086"/>
                  <a:gd name="connsiteX603" fmla="*/ 288195 w 1416191"/>
                  <a:gd name="connsiteY603" fmla="*/ 654988 h 2719086"/>
                  <a:gd name="connsiteX604" fmla="*/ 189062 w 1416191"/>
                  <a:gd name="connsiteY604" fmla="*/ 511953 h 2719086"/>
                  <a:gd name="connsiteX605" fmla="*/ 310854 w 1416191"/>
                  <a:gd name="connsiteY605" fmla="*/ 426981 h 2719086"/>
                  <a:gd name="connsiteX606" fmla="*/ 519034 w 1416191"/>
                  <a:gd name="connsiteY606" fmla="*/ 834845 h 2719086"/>
                  <a:gd name="connsiteX607" fmla="*/ 507705 w 1416191"/>
                  <a:gd name="connsiteY607" fmla="*/ 837677 h 2719086"/>
                  <a:gd name="connsiteX608" fmla="*/ 493543 w 1416191"/>
                  <a:gd name="connsiteY608" fmla="*/ 830596 h 2719086"/>
                  <a:gd name="connsiteX609" fmla="*/ 519034 w 1416191"/>
                  <a:gd name="connsiteY609" fmla="*/ 834845 h 2719086"/>
                  <a:gd name="connsiteX610" fmla="*/ 510537 w 1416191"/>
                  <a:gd name="connsiteY610" fmla="*/ 839093 h 2719086"/>
                  <a:gd name="connsiteX611" fmla="*/ 524699 w 1416191"/>
                  <a:gd name="connsiteY611" fmla="*/ 834845 h 2719086"/>
                  <a:gd name="connsiteX612" fmla="*/ 572850 w 1416191"/>
                  <a:gd name="connsiteY612" fmla="*/ 841926 h 2719086"/>
                  <a:gd name="connsiteX613" fmla="*/ 577098 w 1416191"/>
                  <a:gd name="connsiteY613" fmla="*/ 873082 h 2719086"/>
                  <a:gd name="connsiteX614" fmla="*/ 510537 w 1416191"/>
                  <a:gd name="connsiteY614" fmla="*/ 839093 h 2719086"/>
                  <a:gd name="connsiteX615" fmla="*/ 1016117 w 1416191"/>
                  <a:gd name="connsiteY615" fmla="*/ 1001955 h 2719086"/>
                  <a:gd name="connsiteX616" fmla="*/ 1016117 w 1416191"/>
                  <a:gd name="connsiteY616" fmla="*/ 1001955 h 2719086"/>
                  <a:gd name="connsiteX617" fmla="*/ 975048 w 1416191"/>
                  <a:gd name="connsiteY617" fmla="*/ 1004788 h 2719086"/>
                  <a:gd name="connsiteX618" fmla="*/ 980713 w 1416191"/>
                  <a:gd name="connsiteY618" fmla="*/ 982128 h 2719086"/>
                  <a:gd name="connsiteX619" fmla="*/ 1016117 w 1416191"/>
                  <a:gd name="connsiteY619" fmla="*/ 1001955 h 2719086"/>
                  <a:gd name="connsiteX620" fmla="*/ 962302 w 1416191"/>
                  <a:gd name="connsiteY620" fmla="*/ 1048689 h 2719086"/>
                  <a:gd name="connsiteX621" fmla="*/ 973632 w 1416191"/>
                  <a:gd name="connsiteY621" fmla="*/ 1007620 h 2719086"/>
                  <a:gd name="connsiteX622" fmla="*/ 1011869 w 1416191"/>
                  <a:gd name="connsiteY622" fmla="*/ 1006203 h 2719086"/>
                  <a:gd name="connsiteX623" fmla="*/ 966551 w 1416191"/>
                  <a:gd name="connsiteY623" fmla="*/ 1052938 h 2719086"/>
                  <a:gd name="connsiteX624" fmla="*/ 962302 w 1416191"/>
                  <a:gd name="connsiteY624" fmla="*/ 1048689 h 2719086"/>
                  <a:gd name="connsiteX625" fmla="*/ 938227 w 1416191"/>
                  <a:gd name="connsiteY625" fmla="*/ 1132245 h 2719086"/>
                  <a:gd name="connsiteX626" fmla="*/ 958054 w 1416191"/>
                  <a:gd name="connsiteY626" fmla="*/ 1064267 h 2719086"/>
                  <a:gd name="connsiteX627" fmla="*/ 966551 w 1416191"/>
                  <a:gd name="connsiteY627" fmla="*/ 1055770 h 2719086"/>
                  <a:gd name="connsiteX628" fmla="*/ 1055771 w 1416191"/>
                  <a:gd name="connsiteY628" fmla="*/ 1140742 h 2719086"/>
                  <a:gd name="connsiteX629" fmla="*/ 938227 w 1416191"/>
                  <a:gd name="connsiteY629" fmla="*/ 1132245 h 2719086"/>
                  <a:gd name="connsiteX630" fmla="*/ 686145 w 1416191"/>
                  <a:gd name="connsiteY630" fmla="*/ 1258286 h 2719086"/>
                  <a:gd name="connsiteX631" fmla="*/ 697474 w 1416191"/>
                  <a:gd name="connsiteY631" fmla="*/ 1288026 h 2719086"/>
                  <a:gd name="connsiteX632" fmla="*/ 630913 w 1416191"/>
                  <a:gd name="connsiteY632" fmla="*/ 1290858 h 2719086"/>
                  <a:gd name="connsiteX633" fmla="*/ 686145 w 1416191"/>
                  <a:gd name="connsiteY633" fmla="*/ 1258286 h 2719086"/>
                  <a:gd name="connsiteX634" fmla="*/ 745625 w 1416191"/>
                  <a:gd name="connsiteY634" fmla="*/ 1014701 h 2719086"/>
                  <a:gd name="connsiteX635" fmla="*/ 738544 w 1416191"/>
                  <a:gd name="connsiteY635" fmla="*/ 994874 h 2719086"/>
                  <a:gd name="connsiteX636" fmla="*/ 738544 w 1416191"/>
                  <a:gd name="connsiteY636" fmla="*/ 994874 h 2719086"/>
                  <a:gd name="connsiteX637" fmla="*/ 725798 w 1416191"/>
                  <a:gd name="connsiteY637" fmla="*/ 1016117 h 2719086"/>
                  <a:gd name="connsiteX638" fmla="*/ 680480 w 1416191"/>
                  <a:gd name="connsiteY638" fmla="*/ 1017533 h 2719086"/>
                  <a:gd name="connsiteX639" fmla="*/ 832012 w 1416191"/>
                  <a:gd name="connsiteY639" fmla="*/ 928313 h 2719086"/>
                  <a:gd name="connsiteX640" fmla="*/ 915568 w 1416191"/>
                  <a:gd name="connsiteY640" fmla="*/ 1007620 h 2719086"/>
                  <a:gd name="connsiteX641" fmla="*/ 745625 w 1416191"/>
                  <a:gd name="connsiteY641" fmla="*/ 1014701 h 2719086"/>
                  <a:gd name="connsiteX642" fmla="*/ 959470 w 1416191"/>
                  <a:gd name="connsiteY642" fmla="*/ 1060019 h 2719086"/>
                  <a:gd name="connsiteX643" fmla="*/ 962302 w 1416191"/>
                  <a:gd name="connsiteY643" fmla="*/ 1050105 h 2719086"/>
                  <a:gd name="connsiteX644" fmla="*/ 965135 w 1416191"/>
                  <a:gd name="connsiteY644" fmla="*/ 1052938 h 2719086"/>
                  <a:gd name="connsiteX645" fmla="*/ 959470 w 1416191"/>
                  <a:gd name="connsiteY645" fmla="*/ 1060019 h 2719086"/>
                  <a:gd name="connsiteX646" fmla="*/ 894325 w 1416191"/>
                  <a:gd name="connsiteY646" fmla="*/ 1129412 h 2719086"/>
                  <a:gd name="connsiteX647" fmla="*/ 955221 w 1416191"/>
                  <a:gd name="connsiteY647" fmla="*/ 1067100 h 2719086"/>
                  <a:gd name="connsiteX648" fmla="*/ 936811 w 1416191"/>
                  <a:gd name="connsiteY648" fmla="*/ 1132245 h 2719086"/>
                  <a:gd name="connsiteX649" fmla="*/ 894325 w 1416191"/>
                  <a:gd name="connsiteY649" fmla="*/ 1129412 h 2719086"/>
                  <a:gd name="connsiteX650" fmla="*/ 894325 w 1416191"/>
                  <a:gd name="connsiteY650" fmla="*/ 1282361 h 2719086"/>
                  <a:gd name="connsiteX651" fmla="*/ 864585 w 1416191"/>
                  <a:gd name="connsiteY651" fmla="*/ 1385743 h 2719086"/>
                  <a:gd name="connsiteX652" fmla="*/ 832012 w 1416191"/>
                  <a:gd name="connsiteY652" fmla="*/ 1283777 h 2719086"/>
                  <a:gd name="connsiteX653" fmla="*/ 894325 w 1416191"/>
                  <a:gd name="connsiteY653" fmla="*/ 1282361 h 2719086"/>
                  <a:gd name="connsiteX654" fmla="*/ 897157 w 1416191"/>
                  <a:gd name="connsiteY654" fmla="*/ 1279529 h 2719086"/>
                  <a:gd name="connsiteX655" fmla="*/ 904238 w 1416191"/>
                  <a:gd name="connsiteY655" fmla="*/ 1252621 h 2719086"/>
                  <a:gd name="connsiteX656" fmla="*/ 1040193 w 1416191"/>
                  <a:gd name="connsiteY656" fmla="*/ 1273864 h 2719086"/>
                  <a:gd name="connsiteX657" fmla="*/ 897157 w 1416191"/>
                  <a:gd name="connsiteY657" fmla="*/ 1279529 h 2719086"/>
                  <a:gd name="connsiteX658" fmla="*/ 902822 w 1416191"/>
                  <a:gd name="connsiteY658" fmla="*/ 1252621 h 2719086"/>
                  <a:gd name="connsiteX659" fmla="*/ 895741 w 1416191"/>
                  <a:gd name="connsiteY659" fmla="*/ 1279529 h 2719086"/>
                  <a:gd name="connsiteX660" fmla="*/ 833429 w 1416191"/>
                  <a:gd name="connsiteY660" fmla="*/ 1282361 h 2719086"/>
                  <a:gd name="connsiteX661" fmla="*/ 819267 w 1416191"/>
                  <a:gd name="connsiteY661" fmla="*/ 1238459 h 2719086"/>
                  <a:gd name="connsiteX662" fmla="*/ 902822 w 1416191"/>
                  <a:gd name="connsiteY662" fmla="*/ 1252621 h 2719086"/>
                  <a:gd name="connsiteX663" fmla="*/ 890076 w 1416191"/>
                  <a:gd name="connsiteY663" fmla="*/ 1130829 h 2719086"/>
                  <a:gd name="connsiteX664" fmla="*/ 890076 w 1416191"/>
                  <a:gd name="connsiteY664" fmla="*/ 1130829 h 2719086"/>
                  <a:gd name="connsiteX665" fmla="*/ 936811 w 1416191"/>
                  <a:gd name="connsiteY665" fmla="*/ 1133661 h 2719086"/>
                  <a:gd name="connsiteX666" fmla="*/ 904238 w 1416191"/>
                  <a:gd name="connsiteY666" fmla="*/ 1249788 h 2719086"/>
                  <a:gd name="connsiteX667" fmla="*/ 817851 w 1416191"/>
                  <a:gd name="connsiteY667" fmla="*/ 1235627 h 2719086"/>
                  <a:gd name="connsiteX668" fmla="*/ 747041 w 1416191"/>
                  <a:gd name="connsiteY668" fmla="*/ 1016117 h 2719086"/>
                  <a:gd name="connsiteX669" fmla="*/ 919817 w 1416191"/>
                  <a:gd name="connsiteY669" fmla="*/ 1009036 h 2719086"/>
                  <a:gd name="connsiteX670" fmla="*/ 960886 w 1416191"/>
                  <a:gd name="connsiteY670" fmla="*/ 1047273 h 2719086"/>
                  <a:gd name="connsiteX671" fmla="*/ 956637 w 1416191"/>
                  <a:gd name="connsiteY671" fmla="*/ 1061435 h 2719086"/>
                  <a:gd name="connsiteX672" fmla="*/ 890076 w 1416191"/>
                  <a:gd name="connsiteY672" fmla="*/ 1130829 h 2719086"/>
                  <a:gd name="connsiteX673" fmla="*/ 922649 w 1416191"/>
                  <a:gd name="connsiteY673" fmla="*/ 1009036 h 2719086"/>
                  <a:gd name="connsiteX674" fmla="*/ 972216 w 1416191"/>
                  <a:gd name="connsiteY674" fmla="*/ 1007620 h 2719086"/>
                  <a:gd name="connsiteX675" fmla="*/ 960886 w 1416191"/>
                  <a:gd name="connsiteY675" fmla="*/ 1045857 h 2719086"/>
                  <a:gd name="connsiteX676" fmla="*/ 922649 w 1416191"/>
                  <a:gd name="connsiteY676" fmla="*/ 1009036 h 2719086"/>
                  <a:gd name="connsiteX677" fmla="*/ 856088 w 1416191"/>
                  <a:gd name="connsiteY677" fmla="*/ 915567 h 2719086"/>
                  <a:gd name="connsiteX678" fmla="*/ 977880 w 1416191"/>
                  <a:gd name="connsiteY678" fmla="*/ 982128 h 2719086"/>
                  <a:gd name="connsiteX679" fmla="*/ 970799 w 1416191"/>
                  <a:gd name="connsiteY679" fmla="*/ 1004788 h 2719086"/>
                  <a:gd name="connsiteX680" fmla="*/ 918400 w 1416191"/>
                  <a:gd name="connsiteY680" fmla="*/ 1007620 h 2719086"/>
                  <a:gd name="connsiteX681" fmla="*/ 834845 w 1416191"/>
                  <a:gd name="connsiteY681" fmla="*/ 928313 h 2719086"/>
                  <a:gd name="connsiteX682" fmla="*/ 856088 w 1416191"/>
                  <a:gd name="connsiteY682" fmla="*/ 915567 h 2719086"/>
                  <a:gd name="connsiteX683" fmla="*/ 730047 w 1416191"/>
                  <a:gd name="connsiteY683" fmla="*/ 1016117 h 2719086"/>
                  <a:gd name="connsiteX684" fmla="*/ 738544 w 1416191"/>
                  <a:gd name="connsiteY684" fmla="*/ 1000539 h 2719086"/>
                  <a:gd name="connsiteX685" fmla="*/ 744209 w 1416191"/>
                  <a:gd name="connsiteY685" fmla="*/ 1016117 h 2719086"/>
                  <a:gd name="connsiteX686" fmla="*/ 730047 w 1416191"/>
                  <a:gd name="connsiteY686" fmla="*/ 1016117 h 2719086"/>
                  <a:gd name="connsiteX687" fmla="*/ 744209 w 1416191"/>
                  <a:gd name="connsiteY687" fmla="*/ 1017533 h 2719086"/>
                  <a:gd name="connsiteX688" fmla="*/ 815018 w 1416191"/>
                  <a:gd name="connsiteY688" fmla="*/ 1237043 h 2719086"/>
                  <a:gd name="connsiteX689" fmla="*/ 741376 w 1416191"/>
                  <a:gd name="connsiteY689" fmla="*/ 1225713 h 2719086"/>
                  <a:gd name="connsiteX690" fmla="*/ 741376 w 1416191"/>
                  <a:gd name="connsiteY690" fmla="*/ 1225713 h 2719086"/>
                  <a:gd name="connsiteX691" fmla="*/ 687561 w 1416191"/>
                  <a:gd name="connsiteY691" fmla="*/ 1256869 h 2719086"/>
                  <a:gd name="connsiteX692" fmla="*/ 650740 w 1416191"/>
                  <a:gd name="connsiteY692" fmla="*/ 1157736 h 2719086"/>
                  <a:gd name="connsiteX693" fmla="*/ 728631 w 1416191"/>
                  <a:gd name="connsiteY693" fmla="*/ 1018949 h 2719086"/>
                  <a:gd name="connsiteX694" fmla="*/ 744209 w 1416191"/>
                  <a:gd name="connsiteY694" fmla="*/ 1017533 h 2719086"/>
                  <a:gd name="connsiteX695" fmla="*/ 742793 w 1416191"/>
                  <a:gd name="connsiteY695" fmla="*/ 1227129 h 2719086"/>
                  <a:gd name="connsiteX696" fmla="*/ 816434 w 1416191"/>
                  <a:gd name="connsiteY696" fmla="*/ 1238459 h 2719086"/>
                  <a:gd name="connsiteX697" fmla="*/ 830596 w 1416191"/>
                  <a:gd name="connsiteY697" fmla="*/ 1282361 h 2719086"/>
                  <a:gd name="connsiteX698" fmla="*/ 700307 w 1416191"/>
                  <a:gd name="connsiteY698" fmla="*/ 1288026 h 2719086"/>
                  <a:gd name="connsiteX699" fmla="*/ 688977 w 1416191"/>
                  <a:gd name="connsiteY699" fmla="*/ 1258286 h 2719086"/>
                  <a:gd name="connsiteX700" fmla="*/ 742793 w 1416191"/>
                  <a:gd name="connsiteY700" fmla="*/ 1227129 h 2719086"/>
                  <a:gd name="connsiteX701" fmla="*/ 686145 w 1416191"/>
                  <a:gd name="connsiteY701" fmla="*/ 1256869 h 2719086"/>
                  <a:gd name="connsiteX702" fmla="*/ 626665 w 1416191"/>
                  <a:gd name="connsiteY702" fmla="*/ 1290858 h 2719086"/>
                  <a:gd name="connsiteX703" fmla="*/ 605422 w 1416191"/>
                  <a:gd name="connsiteY703" fmla="*/ 1292274 h 2719086"/>
                  <a:gd name="connsiteX704" fmla="*/ 619584 w 1416191"/>
                  <a:gd name="connsiteY704" fmla="*/ 1211551 h 2719086"/>
                  <a:gd name="connsiteX705" fmla="*/ 649324 w 1416191"/>
                  <a:gd name="connsiteY705" fmla="*/ 1159152 h 2719086"/>
                  <a:gd name="connsiteX706" fmla="*/ 686145 w 1416191"/>
                  <a:gd name="connsiteY706" fmla="*/ 1256869 h 2719086"/>
                  <a:gd name="connsiteX707" fmla="*/ 602590 w 1416191"/>
                  <a:gd name="connsiteY707" fmla="*/ 1306436 h 2719086"/>
                  <a:gd name="connsiteX708" fmla="*/ 626665 w 1416191"/>
                  <a:gd name="connsiteY708" fmla="*/ 1292274 h 2719086"/>
                  <a:gd name="connsiteX709" fmla="*/ 698891 w 1416191"/>
                  <a:gd name="connsiteY709" fmla="*/ 1289442 h 2719086"/>
                  <a:gd name="connsiteX710" fmla="*/ 771116 w 1416191"/>
                  <a:gd name="connsiteY710" fmla="*/ 1484876 h 2719086"/>
                  <a:gd name="connsiteX711" fmla="*/ 735712 w 1416191"/>
                  <a:gd name="connsiteY711" fmla="*/ 1501870 h 2719086"/>
                  <a:gd name="connsiteX712" fmla="*/ 585595 w 1416191"/>
                  <a:gd name="connsiteY712" fmla="*/ 1395656 h 2719086"/>
                  <a:gd name="connsiteX713" fmla="*/ 602590 w 1416191"/>
                  <a:gd name="connsiteY713" fmla="*/ 1306436 h 2719086"/>
                  <a:gd name="connsiteX714" fmla="*/ 1017534 w 1416191"/>
                  <a:gd name="connsiteY714" fmla="*/ 1003371 h 2719086"/>
                  <a:gd name="connsiteX715" fmla="*/ 1018950 w 1416191"/>
                  <a:gd name="connsiteY715" fmla="*/ 1001955 h 2719086"/>
                  <a:gd name="connsiteX716" fmla="*/ 980713 w 1416191"/>
                  <a:gd name="connsiteY716" fmla="*/ 982128 h 2719086"/>
                  <a:gd name="connsiteX717" fmla="*/ 987794 w 1416191"/>
                  <a:gd name="connsiteY717" fmla="*/ 958053 h 2719086"/>
                  <a:gd name="connsiteX718" fmla="*/ 1079846 w 1416191"/>
                  <a:gd name="connsiteY718" fmla="*/ 967967 h 2719086"/>
                  <a:gd name="connsiteX719" fmla="*/ 1079846 w 1416191"/>
                  <a:gd name="connsiteY719" fmla="*/ 1001955 h 2719086"/>
                  <a:gd name="connsiteX720" fmla="*/ 1017534 w 1416191"/>
                  <a:gd name="connsiteY720" fmla="*/ 1003371 h 2719086"/>
                  <a:gd name="connsiteX721" fmla="*/ 728631 w 1416191"/>
                  <a:gd name="connsiteY721" fmla="*/ 773948 h 2719086"/>
                  <a:gd name="connsiteX722" fmla="*/ 945308 w 1416191"/>
                  <a:gd name="connsiteY722" fmla="*/ 953805 h 2719086"/>
                  <a:gd name="connsiteX723" fmla="*/ 945308 w 1416191"/>
                  <a:gd name="connsiteY723" fmla="*/ 953805 h 2719086"/>
                  <a:gd name="connsiteX724" fmla="*/ 986377 w 1416191"/>
                  <a:gd name="connsiteY724" fmla="*/ 958053 h 2719086"/>
                  <a:gd name="connsiteX725" fmla="*/ 979296 w 1416191"/>
                  <a:gd name="connsiteY725" fmla="*/ 980712 h 2719086"/>
                  <a:gd name="connsiteX726" fmla="*/ 856088 w 1416191"/>
                  <a:gd name="connsiteY726" fmla="*/ 914151 h 2719086"/>
                  <a:gd name="connsiteX727" fmla="*/ 856088 w 1416191"/>
                  <a:gd name="connsiteY727" fmla="*/ 914151 h 2719086"/>
                  <a:gd name="connsiteX728" fmla="*/ 833429 w 1416191"/>
                  <a:gd name="connsiteY728" fmla="*/ 926897 h 2719086"/>
                  <a:gd name="connsiteX729" fmla="*/ 772532 w 1416191"/>
                  <a:gd name="connsiteY729" fmla="*/ 868833 h 2719086"/>
                  <a:gd name="connsiteX730" fmla="*/ 772532 w 1416191"/>
                  <a:gd name="connsiteY730" fmla="*/ 868833 h 2719086"/>
                  <a:gd name="connsiteX731" fmla="*/ 574266 w 1416191"/>
                  <a:gd name="connsiteY731" fmla="*/ 840509 h 2719086"/>
                  <a:gd name="connsiteX732" fmla="*/ 571433 w 1416191"/>
                  <a:gd name="connsiteY732" fmla="*/ 820683 h 2719086"/>
                  <a:gd name="connsiteX733" fmla="*/ 728631 w 1416191"/>
                  <a:gd name="connsiteY733" fmla="*/ 773948 h 2719086"/>
                  <a:gd name="connsiteX734" fmla="*/ 725798 w 1416191"/>
                  <a:gd name="connsiteY734" fmla="*/ 1017533 h 2719086"/>
                  <a:gd name="connsiteX735" fmla="*/ 649324 w 1416191"/>
                  <a:gd name="connsiteY735" fmla="*/ 1153488 h 2719086"/>
                  <a:gd name="connsiteX736" fmla="*/ 619584 w 1416191"/>
                  <a:gd name="connsiteY736" fmla="*/ 1075597 h 2719086"/>
                  <a:gd name="connsiteX737" fmla="*/ 619584 w 1416191"/>
                  <a:gd name="connsiteY737" fmla="*/ 1075597 h 2719086"/>
                  <a:gd name="connsiteX738" fmla="*/ 565769 w 1416191"/>
                  <a:gd name="connsiteY738" fmla="*/ 1194557 h 2719086"/>
                  <a:gd name="connsiteX739" fmla="*/ 443976 w 1416191"/>
                  <a:gd name="connsiteY739" fmla="*/ 1157736 h 2719086"/>
                  <a:gd name="connsiteX740" fmla="*/ 679064 w 1416191"/>
                  <a:gd name="connsiteY740" fmla="*/ 1020365 h 2719086"/>
                  <a:gd name="connsiteX741" fmla="*/ 725798 w 1416191"/>
                  <a:gd name="connsiteY741" fmla="*/ 1017533 h 2719086"/>
                  <a:gd name="connsiteX742" fmla="*/ 622416 w 1416191"/>
                  <a:gd name="connsiteY742" fmla="*/ 1293690 h 2719086"/>
                  <a:gd name="connsiteX743" fmla="*/ 602590 w 1416191"/>
                  <a:gd name="connsiteY743" fmla="*/ 1305020 h 2719086"/>
                  <a:gd name="connsiteX744" fmla="*/ 604006 w 1416191"/>
                  <a:gd name="connsiteY744" fmla="*/ 1295107 h 2719086"/>
                  <a:gd name="connsiteX745" fmla="*/ 622416 w 1416191"/>
                  <a:gd name="connsiteY745" fmla="*/ 1293690 h 2719086"/>
                  <a:gd name="connsiteX746" fmla="*/ 657821 w 1416191"/>
                  <a:gd name="connsiteY746" fmla="*/ 1608085 h 2719086"/>
                  <a:gd name="connsiteX747" fmla="*/ 599757 w 1416191"/>
                  <a:gd name="connsiteY747" fmla="*/ 1634993 h 2719086"/>
                  <a:gd name="connsiteX748" fmla="*/ 596925 w 1416191"/>
                  <a:gd name="connsiteY748" fmla="*/ 1623663 h 2719086"/>
                  <a:gd name="connsiteX749" fmla="*/ 657821 w 1416191"/>
                  <a:gd name="connsiteY749" fmla="*/ 1608085 h 2719086"/>
                  <a:gd name="connsiteX750" fmla="*/ 459554 w 1416191"/>
                  <a:gd name="connsiteY750" fmla="*/ 1640657 h 2719086"/>
                  <a:gd name="connsiteX751" fmla="*/ 548774 w 1416191"/>
                  <a:gd name="connsiteY751" fmla="*/ 1596755 h 2719086"/>
                  <a:gd name="connsiteX752" fmla="*/ 541693 w 1416191"/>
                  <a:gd name="connsiteY752" fmla="*/ 1634993 h 2719086"/>
                  <a:gd name="connsiteX753" fmla="*/ 482213 w 1416191"/>
                  <a:gd name="connsiteY753" fmla="*/ 1649154 h 2719086"/>
                  <a:gd name="connsiteX754" fmla="*/ 459554 w 1416191"/>
                  <a:gd name="connsiteY754" fmla="*/ 1640657 h 2719086"/>
                  <a:gd name="connsiteX755" fmla="*/ 451057 w 1416191"/>
                  <a:gd name="connsiteY755" fmla="*/ 1300771 h 2719086"/>
                  <a:gd name="connsiteX756" fmla="*/ 519034 w 1416191"/>
                  <a:gd name="connsiteY756" fmla="*/ 1297939 h 2719086"/>
                  <a:gd name="connsiteX757" fmla="*/ 502040 w 1416191"/>
                  <a:gd name="connsiteY757" fmla="*/ 1336176 h 2719086"/>
                  <a:gd name="connsiteX758" fmla="*/ 451057 w 1416191"/>
                  <a:gd name="connsiteY758" fmla="*/ 1300771 h 2719086"/>
                  <a:gd name="connsiteX759" fmla="*/ 594092 w 1416191"/>
                  <a:gd name="connsiteY759" fmla="*/ 1625079 h 2719086"/>
                  <a:gd name="connsiteX760" fmla="*/ 596925 w 1416191"/>
                  <a:gd name="connsiteY760" fmla="*/ 1636408 h 2719086"/>
                  <a:gd name="connsiteX761" fmla="*/ 538861 w 1416191"/>
                  <a:gd name="connsiteY761" fmla="*/ 1663316 h 2719086"/>
                  <a:gd name="connsiteX762" fmla="*/ 543110 w 1416191"/>
                  <a:gd name="connsiteY762" fmla="*/ 1637825 h 2719086"/>
                  <a:gd name="connsiteX763" fmla="*/ 594092 w 1416191"/>
                  <a:gd name="connsiteY763" fmla="*/ 1625079 h 2719086"/>
                  <a:gd name="connsiteX764" fmla="*/ 483629 w 1416191"/>
                  <a:gd name="connsiteY764" fmla="*/ 1374413 h 2719086"/>
                  <a:gd name="connsiteX765" fmla="*/ 456722 w 1416191"/>
                  <a:gd name="connsiteY765" fmla="*/ 1433893 h 2719086"/>
                  <a:gd name="connsiteX766" fmla="*/ 412820 w 1416191"/>
                  <a:gd name="connsiteY766" fmla="*/ 1415483 h 2719086"/>
                  <a:gd name="connsiteX767" fmla="*/ 483629 w 1416191"/>
                  <a:gd name="connsiteY767" fmla="*/ 1374413 h 2719086"/>
                  <a:gd name="connsiteX768" fmla="*/ 523283 w 1416191"/>
                  <a:gd name="connsiteY768" fmla="*/ 1351754 h 2719086"/>
                  <a:gd name="connsiteX769" fmla="*/ 599757 w 1416191"/>
                  <a:gd name="connsiteY769" fmla="*/ 1307852 h 2719086"/>
                  <a:gd name="connsiteX770" fmla="*/ 584179 w 1416191"/>
                  <a:gd name="connsiteY770" fmla="*/ 1394240 h 2719086"/>
                  <a:gd name="connsiteX771" fmla="*/ 523283 w 1416191"/>
                  <a:gd name="connsiteY771" fmla="*/ 1351754 h 2719086"/>
                  <a:gd name="connsiteX772" fmla="*/ 571433 w 1416191"/>
                  <a:gd name="connsiteY772" fmla="*/ 1547189 h 2719086"/>
                  <a:gd name="connsiteX773" fmla="*/ 561520 w 1416191"/>
                  <a:gd name="connsiteY773" fmla="*/ 1542940 h 2719086"/>
                  <a:gd name="connsiteX774" fmla="*/ 565769 w 1416191"/>
                  <a:gd name="connsiteY774" fmla="*/ 1523113 h 2719086"/>
                  <a:gd name="connsiteX775" fmla="*/ 571433 w 1416191"/>
                  <a:gd name="connsiteY775" fmla="*/ 1547189 h 2719086"/>
                  <a:gd name="connsiteX776" fmla="*/ 568601 w 1416191"/>
                  <a:gd name="connsiteY776" fmla="*/ 1487708 h 2719086"/>
                  <a:gd name="connsiteX777" fmla="*/ 564352 w 1416191"/>
                  <a:gd name="connsiteY777" fmla="*/ 1513200 h 2719086"/>
                  <a:gd name="connsiteX778" fmla="*/ 553023 w 1416191"/>
                  <a:gd name="connsiteY778" fmla="*/ 1476379 h 2719086"/>
                  <a:gd name="connsiteX779" fmla="*/ 555855 w 1416191"/>
                  <a:gd name="connsiteY779" fmla="*/ 1477795 h 2719086"/>
                  <a:gd name="connsiteX780" fmla="*/ 568601 w 1416191"/>
                  <a:gd name="connsiteY780" fmla="*/ 1487708 h 2719086"/>
                  <a:gd name="connsiteX781" fmla="*/ 557271 w 1416191"/>
                  <a:gd name="connsiteY781" fmla="*/ 1477795 h 2719086"/>
                  <a:gd name="connsiteX782" fmla="*/ 548774 w 1416191"/>
                  <a:gd name="connsiteY782" fmla="*/ 1472131 h 2719086"/>
                  <a:gd name="connsiteX783" fmla="*/ 548774 w 1416191"/>
                  <a:gd name="connsiteY783" fmla="*/ 1472131 h 2719086"/>
                  <a:gd name="connsiteX784" fmla="*/ 550190 w 1416191"/>
                  <a:gd name="connsiteY784" fmla="*/ 1474963 h 2719086"/>
                  <a:gd name="connsiteX785" fmla="*/ 458138 w 1416191"/>
                  <a:gd name="connsiteY785" fmla="*/ 1435310 h 2719086"/>
                  <a:gd name="connsiteX786" fmla="*/ 486462 w 1416191"/>
                  <a:gd name="connsiteY786" fmla="*/ 1372997 h 2719086"/>
                  <a:gd name="connsiteX787" fmla="*/ 521867 w 1416191"/>
                  <a:gd name="connsiteY787" fmla="*/ 1353170 h 2719086"/>
                  <a:gd name="connsiteX788" fmla="*/ 584179 w 1416191"/>
                  <a:gd name="connsiteY788" fmla="*/ 1397072 h 2719086"/>
                  <a:gd name="connsiteX789" fmla="*/ 568601 w 1416191"/>
                  <a:gd name="connsiteY789" fmla="*/ 1483460 h 2719086"/>
                  <a:gd name="connsiteX790" fmla="*/ 557271 w 1416191"/>
                  <a:gd name="connsiteY790" fmla="*/ 1477795 h 2719086"/>
                  <a:gd name="connsiteX791" fmla="*/ 571433 w 1416191"/>
                  <a:gd name="connsiteY791" fmla="*/ 1548605 h 2719086"/>
                  <a:gd name="connsiteX792" fmla="*/ 579931 w 1416191"/>
                  <a:gd name="connsiteY792" fmla="*/ 1578345 h 2719086"/>
                  <a:gd name="connsiteX793" fmla="*/ 551607 w 1416191"/>
                  <a:gd name="connsiteY793" fmla="*/ 1592507 h 2719086"/>
                  <a:gd name="connsiteX794" fmla="*/ 560104 w 1416191"/>
                  <a:gd name="connsiteY794" fmla="*/ 1544356 h 2719086"/>
                  <a:gd name="connsiteX795" fmla="*/ 571433 w 1416191"/>
                  <a:gd name="connsiteY795" fmla="*/ 1548605 h 2719086"/>
                  <a:gd name="connsiteX796" fmla="*/ 612503 w 1416191"/>
                  <a:gd name="connsiteY796" fmla="*/ 1562767 h 2719086"/>
                  <a:gd name="connsiteX797" fmla="*/ 582763 w 1416191"/>
                  <a:gd name="connsiteY797" fmla="*/ 1576929 h 2719086"/>
                  <a:gd name="connsiteX798" fmla="*/ 574266 w 1416191"/>
                  <a:gd name="connsiteY798" fmla="*/ 1548605 h 2719086"/>
                  <a:gd name="connsiteX799" fmla="*/ 612503 w 1416191"/>
                  <a:gd name="connsiteY799" fmla="*/ 1562767 h 2719086"/>
                  <a:gd name="connsiteX800" fmla="*/ 572850 w 1416191"/>
                  <a:gd name="connsiteY800" fmla="*/ 1547189 h 2719086"/>
                  <a:gd name="connsiteX801" fmla="*/ 564352 w 1416191"/>
                  <a:gd name="connsiteY801" fmla="*/ 1518865 h 2719086"/>
                  <a:gd name="connsiteX802" fmla="*/ 570017 w 1416191"/>
                  <a:gd name="connsiteY802" fmla="*/ 1490541 h 2719086"/>
                  <a:gd name="connsiteX803" fmla="*/ 645075 w 1416191"/>
                  <a:gd name="connsiteY803" fmla="*/ 1547189 h 2719086"/>
                  <a:gd name="connsiteX804" fmla="*/ 613919 w 1416191"/>
                  <a:gd name="connsiteY804" fmla="*/ 1562767 h 2719086"/>
                  <a:gd name="connsiteX805" fmla="*/ 572850 w 1416191"/>
                  <a:gd name="connsiteY805" fmla="*/ 1547189 h 2719086"/>
                  <a:gd name="connsiteX806" fmla="*/ 550190 w 1416191"/>
                  <a:gd name="connsiteY806" fmla="*/ 1476379 h 2719086"/>
                  <a:gd name="connsiteX807" fmla="*/ 562936 w 1416191"/>
                  <a:gd name="connsiteY807" fmla="*/ 1518865 h 2719086"/>
                  <a:gd name="connsiteX808" fmla="*/ 558688 w 1416191"/>
                  <a:gd name="connsiteY808" fmla="*/ 1542940 h 2719086"/>
                  <a:gd name="connsiteX809" fmla="*/ 429814 w 1416191"/>
                  <a:gd name="connsiteY809" fmla="*/ 1499038 h 2719086"/>
                  <a:gd name="connsiteX810" fmla="*/ 458138 w 1416191"/>
                  <a:gd name="connsiteY810" fmla="*/ 1436726 h 2719086"/>
                  <a:gd name="connsiteX811" fmla="*/ 550190 w 1416191"/>
                  <a:gd name="connsiteY811" fmla="*/ 1476379 h 2719086"/>
                  <a:gd name="connsiteX812" fmla="*/ 581347 w 1416191"/>
                  <a:gd name="connsiteY812" fmla="*/ 1581177 h 2719086"/>
                  <a:gd name="connsiteX813" fmla="*/ 594092 w 1416191"/>
                  <a:gd name="connsiteY813" fmla="*/ 1623663 h 2719086"/>
                  <a:gd name="connsiteX814" fmla="*/ 544526 w 1416191"/>
                  <a:gd name="connsiteY814" fmla="*/ 1636408 h 2719086"/>
                  <a:gd name="connsiteX815" fmla="*/ 551607 w 1416191"/>
                  <a:gd name="connsiteY815" fmla="*/ 1596755 h 2719086"/>
                  <a:gd name="connsiteX816" fmla="*/ 581347 w 1416191"/>
                  <a:gd name="connsiteY816" fmla="*/ 1581177 h 2719086"/>
                  <a:gd name="connsiteX817" fmla="*/ 676231 w 1416191"/>
                  <a:gd name="connsiteY817" fmla="*/ 1531610 h 2719086"/>
                  <a:gd name="connsiteX818" fmla="*/ 647908 w 1416191"/>
                  <a:gd name="connsiteY818" fmla="*/ 1545772 h 2719086"/>
                  <a:gd name="connsiteX819" fmla="*/ 570017 w 1416191"/>
                  <a:gd name="connsiteY819" fmla="*/ 1487708 h 2719086"/>
                  <a:gd name="connsiteX820" fmla="*/ 570017 w 1416191"/>
                  <a:gd name="connsiteY820" fmla="*/ 1486292 h 2719086"/>
                  <a:gd name="connsiteX821" fmla="*/ 676231 w 1416191"/>
                  <a:gd name="connsiteY821" fmla="*/ 1531610 h 2719086"/>
                  <a:gd name="connsiteX822" fmla="*/ 487878 w 1416191"/>
                  <a:gd name="connsiteY822" fmla="*/ 1370165 h 2719086"/>
                  <a:gd name="connsiteX823" fmla="*/ 502040 w 1416191"/>
                  <a:gd name="connsiteY823" fmla="*/ 1339008 h 2719086"/>
                  <a:gd name="connsiteX824" fmla="*/ 520450 w 1416191"/>
                  <a:gd name="connsiteY824" fmla="*/ 1351754 h 2719086"/>
                  <a:gd name="connsiteX825" fmla="*/ 487878 w 1416191"/>
                  <a:gd name="connsiteY825" fmla="*/ 1370165 h 2719086"/>
                  <a:gd name="connsiteX826" fmla="*/ 595509 w 1416191"/>
                  <a:gd name="connsiteY826" fmla="*/ 1622246 h 2719086"/>
                  <a:gd name="connsiteX827" fmla="*/ 582763 w 1416191"/>
                  <a:gd name="connsiteY827" fmla="*/ 1579761 h 2719086"/>
                  <a:gd name="connsiteX828" fmla="*/ 615335 w 1416191"/>
                  <a:gd name="connsiteY828" fmla="*/ 1564183 h 2719086"/>
                  <a:gd name="connsiteX829" fmla="*/ 696058 w 1416191"/>
                  <a:gd name="connsiteY829" fmla="*/ 1591091 h 2719086"/>
                  <a:gd name="connsiteX830" fmla="*/ 667734 w 1416191"/>
                  <a:gd name="connsiteY830" fmla="*/ 1603836 h 2719086"/>
                  <a:gd name="connsiteX831" fmla="*/ 595509 w 1416191"/>
                  <a:gd name="connsiteY831" fmla="*/ 1622246 h 2719086"/>
                  <a:gd name="connsiteX832" fmla="*/ 647908 w 1416191"/>
                  <a:gd name="connsiteY832" fmla="*/ 1548605 h 2719086"/>
                  <a:gd name="connsiteX833" fmla="*/ 701723 w 1416191"/>
                  <a:gd name="connsiteY833" fmla="*/ 1589674 h 2719086"/>
                  <a:gd name="connsiteX834" fmla="*/ 698891 w 1416191"/>
                  <a:gd name="connsiteY834" fmla="*/ 1591091 h 2719086"/>
                  <a:gd name="connsiteX835" fmla="*/ 618168 w 1416191"/>
                  <a:gd name="connsiteY835" fmla="*/ 1564183 h 2719086"/>
                  <a:gd name="connsiteX836" fmla="*/ 647908 w 1416191"/>
                  <a:gd name="connsiteY836" fmla="*/ 1548605 h 2719086"/>
                  <a:gd name="connsiteX837" fmla="*/ 571433 w 1416191"/>
                  <a:gd name="connsiteY837" fmla="*/ 1483460 h 2719086"/>
                  <a:gd name="connsiteX838" fmla="*/ 587012 w 1416191"/>
                  <a:gd name="connsiteY838" fmla="*/ 1398488 h 2719086"/>
                  <a:gd name="connsiteX839" fmla="*/ 734295 w 1416191"/>
                  <a:gd name="connsiteY839" fmla="*/ 1503287 h 2719086"/>
                  <a:gd name="connsiteX840" fmla="*/ 679064 w 1416191"/>
                  <a:gd name="connsiteY840" fmla="*/ 1530194 h 2719086"/>
                  <a:gd name="connsiteX841" fmla="*/ 571433 w 1416191"/>
                  <a:gd name="connsiteY841" fmla="*/ 1483460 h 2719086"/>
                  <a:gd name="connsiteX842" fmla="*/ 599757 w 1416191"/>
                  <a:gd name="connsiteY842" fmla="*/ 1305020 h 2719086"/>
                  <a:gd name="connsiteX843" fmla="*/ 521867 w 1416191"/>
                  <a:gd name="connsiteY843" fmla="*/ 1350338 h 2719086"/>
                  <a:gd name="connsiteX844" fmla="*/ 503456 w 1416191"/>
                  <a:gd name="connsiteY844" fmla="*/ 1336176 h 2719086"/>
                  <a:gd name="connsiteX845" fmla="*/ 521867 w 1416191"/>
                  <a:gd name="connsiteY845" fmla="*/ 1296523 h 2719086"/>
                  <a:gd name="connsiteX846" fmla="*/ 604006 w 1416191"/>
                  <a:gd name="connsiteY846" fmla="*/ 1293690 h 2719086"/>
                  <a:gd name="connsiteX847" fmla="*/ 599757 w 1416191"/>
                  <a:gd name="connsiteY847" fmla="*/ 1305020 h 2719086"/>
                  <a:gd name="connsiteX848" fmla="*/ 598341 w 1416191"/>
                  <a:gd name="connsiteY848" fmla="*/ 1637825 h 2719086"/>
                  <a:gd name="connsiteX849" fmla="*/ 619584 w 1416191"/>
                  <a:gd name="connsiteY849" fmla="*/ 1707218 h 2719086"/>
                  <a:gd name="connsiteX850" fmla="*/ 528948 w 1416191"/>
                  <a:gd name="connsiteY850" fmla="*/ 1722796 h 2719086"/>
                  <a:gd name="connsiteX851" fmla="*/ 538861 w 1416191"/>
                  <a:gd name="connsiteY851" fmla="*/ 1664732 h 2719086"/>
                  <a:gd name="connsiteX852" fmla="*/ 598341 w 1416191"/>
                  <a:gd name="connsiteY852" fmla="*/ 1637825 h 2719086"/>
                  <a:gd name="connsiteX853" fmla="*/ 705972 w 1416191"/>
                  <a:gd name="connsiteY853" fmla="*/ 1595339 h 2719086"/>
                  <a:gd name="connsiteX854" fmla="*/ 679064 w 1416191"/>
                  <a:gd name="connsiteY854" fmla="*/ 1602420 h 2719086"/>
                  <a:gd name="connsiteX855" fmla="*/ 698891 w 1416191"/>
                  <a:gd name="connsiteY855" fmla="*/ 1593923 h 2719086"/>
                  <a:gd name="connsiteX856" fmla="*/ 705972 w 1416191"/>
                  <a:gd name="connsiteY856" fmla="*/ 1595339 h 2719086"/>
                  <a:gd name="connsiteX857" fmla="*/ 830596 w 1416191"/>
                  <a:gd name="connsiteY857" fmla="*/ 1285193 h 2719086"/>
                  <a:gd name="connsiteX858" fmla="*/ 864585 w 1416191"/>
                  <a:gd name="connsiteY858" fmla="*/ 1392824 h 2719086"/>
                  <a:gd name="connsiteX859" fmla="*/ 864585 w 1416191"/>
                  <a:gd name="connsiteY859" fmla="*/ 1392824 h 2719086"/>
                  <a:gd name="connsiteX860" fmla="*/ 895741 w 1416191"/>
                  <a:gd name="connsiteY860" fmla="*/ 1282361 h 2719086"/>
                  <a:gd name="connsiteX861" fmla="*/ 1051522 w 1416191"/>
                  <a:gd name="connsiteY861" fmla="*/ 1276696 h 2719086"/>
                  <a:gd name="connsiteX862" fmla="*/ 1051522 w 1416191"/>
                  <a:gd name="connsiteY862" fmla="*/ 1276696 h 2719086"/>
                  <a:gd name="connsiteX863" fmla="*/ 1051522 w 1416191"/>
                  <a:gd name="connsiteY863" fmla="*/ 1275280 h 2719086"/>
                  <a:gd name="connsiteX864" fmla="*/ 1051522 w 1416191"/>
                  <a:gd name="connsiteY864" fmla="*/ 1275280 h 2719086"/>
                  <a:gd name="connsiteX865" fmla="*/ 904238 w 1416191"/>
                  <a:gd name="connsiteY865" fmla="*/ 1252621 h 2719086"/>
                  <a:gd name="connsiteX866" fmla="*/ 936811 w 1416191"/>
                  <a:gd name="connsiteY866" fmla="*/ 1136493 h 2719086"/>
                  <a:gd name="connsiteX867" fmla="*/ 1057187 w 1416191"/>
                  <a:gd name="connsiteY867" fmla="*/ 1143574 h 2719086"/>
                  <a:gd name="connsiteX868" fmla="*/ 1197390 w 1416191"/>
                  <a:gd name="connsiteY868" fmla="*/ 1276696 h 2719086"/>
                  <a:gd name="connsiteX869" fmla="*/ 772532 w 1416191"/>
                  <a:gd name="connsiteY869" fmla="*/ 1486292 h 2719086"/>
                  <a:gd name="connsiteX870" fmla="*/ 700307 w 1416191"/>
                  <a:gd name="connsiteY870" fmla="*/ 1292274 h 2719086"/>
                  <a:gd name="connsiteX871" fmla="*/ 830596 w 1416191"/>
                  <a:gd name="connsiteY871" fmla="*/ 1285193 h 2719086"/>
                  <a:gd name="connsiteX872" fmla="*/ 986377 w 1416191"/>
                  <a:gd name="connsiteY872" fmla="*/ 955221 h 2719086"/>
                  <a:gd name="connsiteX873" fmla="*/ 945308 w 1416191"/>
                  <a:gd name="connsiteY873" fmla="*/ 950972 h 2719086"/>
                  <a:gd name="connsiteX874" fmla="*/ 730047 w 1416191"/>
                  <a:gd name="connsiteY874" fmla="*/ 772532 h 2719086"/>
                  <a:gd name="connsiteX875" fmla="*/ 1014701 w 1416191"/>
                  <a:gd name="connsiteY875" fmla="*/ 686145 h 2719086"/>
                  <a:gd name="connsiteX876" fmla="*/ 1062852 w 1416191"/>
                  <a:gd name="connsiteY876" fmla="*/ 681896 h 2719086"/>
                  <a:gd name="connsiteX877" fmla="*/ 986377 w 1416191"/>
                  <a:gd name="connsiteY877" fmla="*/ 955221 h 2719086"/>
                  <a:gd name="connsiteX878" fmla="*/ 728631 w 1416191"/>
                  <a:gd name="connsiteY878" fmla="*/ 397241 h 2719086"/>
                  <a:gd name="connsiteX879" fmla="*/ 748457 w 1416191"/>
                  <a:gd name="connsiteY879" fmla="*/ 385912 h 2719086"/>
                  <a:gd name="connsiteX880" fmla="*/ 793775 w 1416191"/>
                  <a:gd name="connsiteY880" fmla="*/ 408571 h 2719086"/>
                  <a:gd name="connsiteX881" fmla="*/ 793775 w 1416191"/>
                  <a:gd name="connsiteY881" fmla="*/ 418484 h 2719086"/>
                  <a:gd name="connsiteX882" fmla="*/ 728631 w 1416191"/>
                  <a:gd name="connsiteY882" fmla="*/ 397241 h 2719086"/>
                  <a:gd name="connsiteX883" fmla="*/ 749874 w 1416191"/>
                  <a:gd name="connsiteY883" fmla="*/ 384496 h 2719086"/>
                  <a:gd name="connsiteX884" fmla="*/ 790943 w 1416191"/>
                  <a:gd name="connsiteY884" fmla="*/ 360421 h 2719086"/>
                  <a:gd name="connsiteX885" fmla="*/ 792359 w 1416191"/>
                  <a:gd name="connsiteY885" fmla="*/ 405739 h 2719086"/>
                  <a:gd name="connsiteX886" fmla="*/ 749874 w 1416191"/>
                  <a:gd name="connsiteY886" fmla="*/ 384496 h 2719086"/>
                  <a:gd name="connsiteX887" fmla="*/ 902822 w 1416191"/>
                  <a:gd name="connsiteY887" fmla="*/ 292443 h 2719086"/>
                  <a:gd name="connsiteX888" fmla="*/ 793775 w 1416191"/>
                  <a:gd name="connsiteY888" fmla="*/ 356172 h 2719086"/>
                  <a:gd name="connsiteX889" fmla="*/ 792359 w 1416191"/>
                  <a:gd name="connsiteY889" fmla="*/ 306605 h 2719086"/>
                  <a:gd name="connsiteX890" fmla="*/ 792359 w 1416191"/>
                  <a:gd name="connsiteY890" fmla="*/ 306605 h 2719086"/>
                  <a:gd name="connsiteX891" fmla="*/ 742793 w 1416191"/>
                  <a:gd name="connsiteY891" fmla="*/ 247125 h 2719086"/>
                  <a:gd name="connsiteX892" fmla="*/ 744209 w 1416191"/>
                  <a:gd name="connsiteY892" fmla="*/ 247125 h 2719086"/>
                  <a:gd name="connsiteX893" fmla="*/ 744209 w 1416191"/>
                  <a:gd name="connsiteY893" fmla="*/ 245709 h 2719086"/>
                  <a:gd name="connsiteX894" fmla="*/ 739960 w 1416191"/>
                  <a:gd name="connsiteY894" fmla="*/ 244293 h 2719086"/>
                  <a:gd name="connsiteX895" fmla="*/ 669150 w 1416191"/>
                  <a:gd name="connsiteY895" fmla="*/ 159321 h 2719086"/>
                  <a:gd name="connsiteX896" fmla="*/ 902822 w 1416191"/>
                  <a:gd name="connsiteY896" fmla="*/ 292443 h 2719086"/>
                  <a:gd name="connsiteX897" fmla="*/ 511953 w 1416191"/>
                  <a:gd name="connsiteY897" fmla="*/ 170651 h 2719086"/>
                  <a:gd name="connsiteX898" fmla="*/ 485046 w 1416191"/>
                  <a:gd name="connsiteY898" fmla="*/ 221634 h 2719086"/>
                  <a:gd name="connsiteX899" fmla="*/ 738544 w 1416191"/>
                  <a:gd name="connsiteY899" fmla="*/ 247125 h 2719086"/>
                  <a:gd name="connsiteX900" fmla="*/ 788111 w 1416191"/>
                  <a:gd name="connsiteY900" fmla="*/ 308022 h 2719086"/>
                  <a:gd name="connsiteX901" fmla="*/ 789527 w 1416191"/>
                  <a:gd name="connsiteY901" fmla="*/ 359004 h 2719086"/>
                  <a:gd name="connsiteX902" fmla="*/ 747041 w 1416191"/>
                  <a:gd name="connsiteY902" fmla="*/ 384496 h 2719086"/>
                  <a:gd name="connsiteX903" fmla="*/ 676231 w 1416191"/>
                  <a:gd name="connsiteY903" fmla="*/ 349091 h 2719086"/>
                  <a:gd name="connsiteX904" fmla="*/ 686145 w 1416191"/>
                  <a:gd name="connsiteY904" fmla="*/ 258455 h 2719086"/>
                  <a:gd name="connsiteX905" fmla="*/ 686145 w 1416191"/>
                  <a:gd name="connsiteY905" fmla="*/ 258455 h 2719086"/>
                  <a:gd name="connsiteX906" fmla="*/ 621000 w 1416191"/>
                  <a:gd name="connsiteY906" fmla="*/ 322183 h 2719086"/>
                  <a:gd name="connsiteX907" fmla="*/ 595509 w 1416191"/>
                  <a:gd name="connsiteY907" fmla="*/ 309438 h 2719086"/>
                  <a:gd name="connsiteX908" fmla="*/ 595509 w 1416191"/>
                  <a:gd name="connsiteY908" fmla="*/ 309438 h 2719086"/>
                  <a:gd name="connsiteX909" fmla="*/ 544526 w 1416191"/>
                  <a:gd name="connsiteY909" fmla="*/ 342010 h 2719086"/>
                  <a:gd name="connsiteX910" fmla="*/ 407155 w 1416191"/>
                  <a:gd name="connsiteY910" fmla="*/ 299524 h 2719086"/>
                  <a:gd name="connsiteX911" fmla="*/ 366086 w 1416191"/>
                  <a:gd name="connsiteY911" fmla="*/ 268368 h 2719086"/>
                  <a:gd name="connsiteX912" fmla="*/ 475132 w 1416191"/>
                  <a:gd name="connsiteY912" fmla="*/ 162154 h 2719086"/>
                  <a:gd name="connsiteX913" fmla="*/ 511953 w 1416191"/>
                  <a:gd name="connsiteY913" fmla="*/ 170651 h 2719086"/>
                  <a:gd name="connsiteX914" fmla="*/ 363253 w 1416191"/>
                  <a:gd name="connsiteY914" fmla="*/ 265536 h 2719086"/>
                  <a:gd name="connsiteX915" fmla="*/ 363253 w 1416191"/>
                  <a:gd name="connsiteY915" fmla="*/ 265536 h 2719086"/>
                  <a:gd name="connsiteX916" fmla="*/ 401490 w 1416191"/>
                  <a:gd name="connsiteY916" fmla="*/ 295276 h 2719086"/>
                  <a:gd name="connsiteX917" fmla="*/ 359005 w 1416191"/>
                  <a:gd name="connsiteY917" fmla="*/ 282530 h 2719086"/>
                  <a:gd name="connsiteX918" fmla="*/ 360421 w 1416191"/>
                  <a:gd name="connsiteY918" fmla="*/ 240045 h 2719086"/>
                  <a:gd name="connsiteX919" fmla="*/ 360421 w 1416191"/>
                  <a:gd name="connsiteY919" fmla="*/ 240045 h 2719086"/>
                  <a:gd name="connsiteX920" fmla="*/ 326432 w 1416191"/>
                  <a:gd name="connsiteY920" fmla="*/ 272617 h 2719086"/>
                  <a:gd name="connsiteX921" fmla="*/ 269785 w 1416191"/>
                  <a:gd name="connsiteY921" fmla="*/ 254206 h 2719086"/>
                  <a:gd name="connsiteX922" fmla="*/ 266952 w 1416191"/>
                  <a:gd name="connsiteY922" fmla="*/ 169235 h 2719086"/>
                  <a:gd name="connsiteX923" fmla="*/ 302357 w 1416191"/>
                  <a:gd name="connsiteY923" fmla="*/ 102674 h 2719086"/>
                  <a:gd name="connsiteX924" fmla="*/ 343426 w 1416191"/>
                  <a:gd name="connsiteY924" fmla="*/ 115419 h 2719086"/>
                  <a:gd name="connsiteX925" fmla="*/ 475132 w 1416191"/>
                  <a:gd name="connsiteY925" fmla="*/ 159321 h 2719086"/>
                  <a:gd name="connsiteX926" fmla="*/ 363253 w 1416191"/>
                  <a:gd name="connsiteY926" fmla="*/ 265536 h 2719086"/>
                  <a:gd name="connsiteX927" fmla="*/ 224466 w 1416191"/>
                  <a:gd name="connsiteY927" fmla="*/ 693226 h 2719086"/>
                  <a:gd name="connsiteX928" fmla="*/ 285363 w 1416191"/>
                  <a:gd name="connsiteY928" fmla="*/ 657821 h 2719086"/>
                  <a:gd name="connsiteX929" fmla="*/ 337762 w 1416191"/>
                  <a:gd name="connsiteY929" fmla="*/ 732879 h 2719086"/>
                  <a:gd name="connsiteX930" fmla="*/ 326432 w 1416191"/>
                  <a:gd name="connsiteY930" fmla="*/ 745624 h 2719086"/>
                  <a:gd name="connsiteX931" fmla="*/ 224466 w 1416191"/>
                  <a:gd name="connsiteY931" fmla="*/ 693226 h 2719086"/>
                  <a:gd name="connsiteX932" fmla="*/ 344843 w 1416191"/>
                  <a:gd name="connsiteY932" fmla="*/ 756954 h 2719086"/>
                  <a:gd name="connsiteX933" fmla="*/ 343426 w 1416191"/>
                  <a:gd name="connsiteY933" fmla="*/ 807937 h 2719086"/>
                  <a:gd name="connsiteX934" fmla="*/ 285363 w 1416191"/>
                  <a:gd name="connsiteY934" fmla="*/ 799440 h 2719086"/>
                  <a:gd name="connsiteX935" fmla="*/ 326432 w 1416191"/>
                  <a:gd name="connsiteY935" fmla="*/ 748457 h 2719086"/>
                  <a:gd name="connsiteX936" fmla="*/ 344843 w 1416191"/>
                  <a:gd name="connsiteY936" fmla="*/ 756954 h 2719086"/>
                  <a:gd name="connsiteX937" fmla="*/ 346259 w 1416191"/>
                  <a:gd name="connsiteY937" fmla="*/ 809353 h 2719086"/>
                  <a:gd name="connsiteX938" fmla="*/ 397242 w 1416191"/>
                  <a:gd name="connsiteY938" fmla="*/ 816434 h 2719086"/>
                  <a:gd name="connsiteX939" fmla="*/ 425566 w 1416191"/>
                  <a:gd name="connsiteY939" fmla="*/ 857503 h 2719086"/>
                  <a:gd name="connsiteX940" fmla="*/ 425566 w 1416191"/>
                  <a:gd name="connsiteY940" fmla="*/ 857503 h 2719086"/>
                  <a:gd name="connsiteX941" fmla="*/ 465219 w 1416191"/>
                  <a:gd name="connsiteY941" fmla="*/ 851839 h 2719086"/>
                  <a:gd name="connsiteX942" fmla="*/ 507705 w 1416191"/>
                  <a:gd name="connsiteY942" fmla="*/ 839093 h 2719086"/>
                  <a:gd name="connsiteX943" fmla="*/ 577098 w 1416191"/>
                  <a:gd name="connsiteY943" fmla="*/ 874498 h 2719086"/>
                  <a:gd name="connsiteX944" fmla="*/ 577098 w 1416191"/>
                  <a:gd name="connsiteY944" fmla="*/ 880163 h 2719086"/>
                  <a:gd name="connsiteX945" fmla="*/ 340594 w 1416191"/>
                  <a:gd name="connsiteY945" fmla="*/ 986377 h 2719086"/>
                  <a:gd name="connsiteX946" fmla="*/ 346259 w 1416191"/>
                  <a:gd name="connsiteY946" fmla="*/ 809353 h 2719086"/>
                  <a:gd name="connsiteX947" fmla="*/ 772532 w 1416191"/>
                  <a:gd name="connsiteY947" fmla="*/ 870249 h 2719086"/>
                  <a:gd name="connsiteX948" fmla="*/ 832012 w 1416191"/>
                  <a:gd name="connsiteY948" fmla="*/ 926897 h 2719086"/>
                  <a:gd name="connsiteX949" fmla="*/ 677648 w 1416191"/>
                  <a:gd name="connsiteY949" fmla="*/ 1017533 h 2719086"/>
                  <a:gd name="connsiteX950" fmla="*/ 557271 w 1416191"/>
                  <a:gd name="connsiteY950" fmla="*/ 1023198 h 2719086"/>
                  <a:gd name="connsiteX951" fmla="*/ 592676 w 1416191"/>
                  <a:gd name="connsiteY951" fmla="*/ 990626 h 2719086"/>
                  <a:gd name="connsiteX952" fmla="*/ 592676 w 1416191"/>
                  <a:gd name="connsiteY952" fmla="*/ 990626 h 2719086"/>
                  <a:gd name="connsiteX953" fmla="*/ 578514 w 1416191"/>
                  <a:gd name="connsiteY953" fmla="*/ 882995 h 2719086"/>
                  <a:gd name="connsiteX954" fmla="*/ 585595 w 1416191"/>
                  <a:gd name="connsiteY954" fmla="*/ 880163 h 2719086"/>
                  <a:gd name="connsiteX955" fmla="*/ 577098 w 1416191"/>
                  <a:gd name="connsiteY955" fmla="*/ 875914 h 2719086"/>
                  <a:gd name="connsiteX956" fmla="*/ 572850 w 1416191"/>
                  <a:gd name="connsiteY956" fmla="*/ 844758 h 2719086"/>
                  <a:gd name="connsiteX957" fmla="*/ 772532 w 1416191"/>
                  <a:gd name="connsiteY957" fmla="*/ 870249 h 2719086"/>
                  <a:gd name="connsiteX958" fmla="*/ 609670 w 1416191"/>
                  <a:gd name="connsiteY958" fmla="*/ 1208719 h 2719086"/>
                  <a:gd name="connsiteX959" fmla="*/ 547358 w 1416191"/>
                  <a:gd name="connsiteY959" fmla="*/ 1238459 h 2719086"/>
                  <a:gd name="connsiteX960" fmla="*/ 567185 w 1416191"/>
                  <a:gd name="connsiteY960" fmla="*/ 1195973 h 2719086"/>
                  <a:gd name="connsiteX961" fmla="*/ 609670 w 1416191"/>
                  <a:gd name="connsiteY961" fmla="*/ 1208719 h 2719086"/>
                  <a:gd name="connsiteX962" fmla="*/ 615335 w 1416191"/>
                  <a:gd name="connsiteY962" fmla="*/ 1208719 h 2719086"/>
                  <a:gd name="connsiteX963" fmla="*/ 615335 w 1416191"/>
                  <a:gd name="connsiteY963" fmla="*/ 1208719 h 2719086"/>
                  <a:gd name="connsiteX964" fmla="*/ 568601 w 1416191"/>
                  <a:gd name="connsiteY964" fmla="*/ 1194557 h 2719086"/>
                  <a:gd name="connsiteX965" fmla="*/ 621000 w 1416191"/>
                  <a:gd name="connsiteY965" fmla="*/ 1081262 h 2719086"/>
                  <a:gd name="connsiteX966" fmla="*/ 649324 w 1416191"/>
                  <a:gd name="connsiteY966" fmla="*/ 1156320 h 2719086"/>
                  <a:gd name="connsiteX967" fmla="*/ 618168 w 1416191"/>
                  <a:gd name="connsiteY967" fmla="*/ 1211551 h 2719086"/>
                  <a:gd name="connsiteX968" fmla="*/ 604006 w 1416191"/>
                  <a:gd name="connsiteY968" fmla="*/ 1292274 h 2719086"/>
                  <a:gd name="connsiteX969" fmla="*/ 523283 w 1416191"/>
                  <a:gd name="connsiteY969" fmla="*/ 1295107 h 2719086"/>
                  <a:gd name="connsiteX970" fmla="*/ 547358 w 1416191"/>
                  <a:gd name="connsiteY970" fmla="*/ 1241291 h 2719086"/>
                  <a:gd name="connsiteX971" fmla="*/ 615335 w 1416191"/>
                  <a:gd name="connsiteY971" fmla="*/ 1208719 h 2719086"/>
                  <a:gd name="connsiteX972" fmla="*/ 519034 w 1416191"/>
                  <a:gd name="connsiteY972" fmla="*/ 1295107 h 2719086"/>
                  <a:gd name="connsiteX973" fmla="*/ 445392 w 1416191"/>
                  <a:gd name="connsiteY973" fmla="*/ 1297939 h 2719086"/>
                  <a:gd name="connsiteX974" fmla="*/ 445392 w 1416191"/>
                  <a:gd name="connsiteY974" fmla="*/ 1297939 h 2719086"/>
                  <a:gd name="connsiteX975" fmla="*/ 500624 w 1416191"/>
                  <a:gd name="connsiteY975" fmla="*/ 1337592 h 2719086"/>
                  <a:gd name="connsiteX976" fmla="*/ 485046 w 1416191"/>
                  <a:gd name="connsiteY976" fmla="*/ 1371581 h 2719086"/>
                  <a:gd name="connsiteX977" fmla="*/ 408571 w 1416191"/>
                  <a:gd name="connsiteY977" fmla="*/ 1415483 h 2719086"/>
                  <a:gd name="connsiteX978" fmla="*/ 408571 w 1416191"/>
                  <a:gd name="connsiteY978" fmla="*/ 1415483 h 2719086"/>
                  <a:gd name="connsiteX979" fmla="*/ 456722 w 1416191"/>
                  <a:gd name="connsiteY979" fmla="*/ 1436726 h 2719086"/>
                  <a:gd name="connsiteX980" fmla="*/ 428398 w 1416191"/>
                  <a:gd name="connsiteY980" fmla="*/ 1499038 h 2719086"/>
                  <a:gd name="connsiteX981" fmla="*/ 330681 w 1416191"/>
                  <a:gd name="connsiteY981" fmla="*/ 1466465 h 2719086"/>
                  <a:gd name="connsiteX982" fmla="*/ 363253 w 1416191"/>
                  <a:gd name="connsiteY982" fmla="*/ 1334760 h 2719086"/>
                  <a:gd name="connsiteX983" fmla="*/ 443976 w 1416191"/>
                  <a:gd name="connsiteY983" fmla="*/ 1293690 h 2719086"/>
                  <a:gd name="connsiteX984" fmla="*/ 544526 w 1416191"/>
                  <a:gd name="connsiteY984" fmla="*/ 1244124 h 2719086"/>
                  <a:gd name="connsiteX985" fmla="*/ 519034 w 1416191"/>
                  <a:gd name="connsiteY985" fmla="*/ 1295107 h 2719086"/>
                  <a:gd name="connsiteX986" fmla="*/ 456722 w 1416191"/>
                  <a:gd name="connsiteY986" fmla="*/ 1642073 h 2719086"/>
                  <a:gd name="connsiteX987" fmla="*/ 482213 w 1416191"/>
                  <a:gd name="connsiteY987" fmla="*/ 1651987 h 2719086"/>
                  <a:gd name="connsiteX988" fmla="*/ 482213 w 1416191"/>
                  <a:gd name="connsiteY988" fmla="*/ 1651987 h 2719086"/>
                  <a:gd name="connsiteX989" fmla="*/ 541693 w 1416191"/>
                  <a:gd name="connsiteY989" fmla="*/ 1637825 h 2719086"/>
                  <a:gd name="connsiteX990" fmla="*/ 537445 w 1416191"/>
                  <a:gd name="connsiteY990" fmla="*/ 1664732 h 2719086"/>
                  <a:gd name="connsiteX991" fmla="*/ 502040 w 1416191"/>
                  <a:gd name="connsiteY991" fmla="*/ 1681727 h 2719086"/>
                  <a:gd name="connsiteX992" fmla="*/ 442560 w 1416191"/>
                  <a:gd name="connsiteY992" fmla="*/ 1650570 h 2719086"/>
                  <a:gd name="connsiteX993" fmla="*/ 456722 w 1416191"/>
                  <a:gd name="connsiteY993" fmla="*/ 1642073 h 2719086"/>
                  <a:gd name="connsiteX994" fmla="*/ 629497 w 1416191"/>
                  <a:gd name="connsiteY994" fmla="*/ 1707218 h 2719086"/>
                  <a:gd name="connsiteX995" fmla="*/ 629497 w 1416191"/>
                  <a:gd name="connsiteY995" fmla="*/ 1707218 h 2719086"/>
                  <a:gd name="connsiteX996" fmla="*/ 621000 w 1416191"/>
                  <a:gd name="connsiteY996" fmla="*/ 1708634 h 2719086"/>
                  <a:gd name="connsiteX997" fmla="*/ 599757 w 1416191"/>
                  <a:gd name="connsiteY997" fmla="*/ 1637825 h 2719086"/>
                  <a:gd name="connsiteX998" fmla="*/ 669150 w 1416191"/>
                  <a:gd name="connsiteY998" fmla="*/ 1606669 h 2719086"/>
                  <a:gd name="connsiteX999" fmla="*/ 710220 w 1416191"/>
                  <a:gd name="connsiteY999" fmla="*/ 1596755 h 2719086"/>
                  <a:gd name="connsiteX1000" fmla="*/ 849007 w 1416191"/>
                  <a:gd name="connsiteY1000" fmla="*/ 1643489 h 2719086"/>
                  <a:gd name="connsiteX1001" fmla="*/ 756954 w 1416191"/>
                  <a:gd name="connsiteY1001" fmla="*/ 1744039 h 2719086"/>
                  <a:gd name="connsiteX1002" fmla="*/ 720133 w 1416191"/>
                  <a:gd name="connsiteY1002" fmla="*/ 1617998 h 2719086"/>
                  <a:gd name="connsiteX1003" fmla="*/ 720133 w 1416191"/>
                  <a:gd name="connsiteY1003" fmla="*/ 1616582 h 2719086"/>
                  <a:gd name="connsiteX1004" fmla="*/ 705972 w 1416191"/>
                  <a:gd name="connsiteY1004" fmla="*/ 1846005 h 2719086"/>
                  <a:gd name="connsiteX1005" fmla="*/ 662069 w 1416191"/>
                  <a:gd name="connsiteY1005" fmla="*/ 1846005 h 2719086"/>
                  <a:gd name="connsiteX1006" fmla="*/ 629497 w 1416191"/>
                  <a:gd name="connsiteY1006" fmla="*/ 1736958 h 2719086"/>
                  <a:gd name="connsiteX1007" fmla="*/ 629497 w 1416191"/>
                  <a:gd name="connsiteY1007" fmla="*/ 1707218 h 2719086"/>
                  <a:gd name="connsiteX1008" fmla="*/ 1060019 w 1416191"/>
                  <a:gd name="connsiteY1008" fmla="*/ 1140742 h 2719086"/>
                  <a:gd name="connsiteX1009" fmla="*/ 969383 w 1416191"/>
                  <a:gd name="connsiteY1009" fmla="*/ 1054354 h 2719086"/>
                  <a:gd name="connsiteX1010" fmla="*/ 1016117 w 1416191"/>
                  <a:gd name="connsiteY1010" fmla="*/ 1006203 h 2719086"/>
                  <a:gd name="connsiteX1011" fmla="*/ 1081262 w 1416191"/>
                  <a:gd name="connsiteY1011" fmla="*/ 1003371 h 2719086"/>
                  <a:gd name="connsiteX1012" fmla="*/ 1081262 w 1416191"/>
                  <a:gd name="connsiteY1012" fmla="*/ 1024614 h 2719086"/>
                  <a:gd name="connsiteX1013" fmla="*/ 1081262 w 1416191"/>
                  <a:gd name="connsiteY1013" fmla="*/ 1024614 h 2719086"/>
                  <a:gd name="connsiteX1014" fmla="*/ 1096840 w 1416191"/>
                  <a:gd name="connsiteY1014" fmla="*/ 1001955 h 2719086"/>
                  <a:gd name="connsiteX1015" fmla="*/ 1286610 w 1416191"/>
                  <a:gd name="connsiteY1015" fmla="*/ 994874 h 2719086"/>
                  <a:gd name="connsiteX1016" fmla="*/ 1256870 w 1416191"/>
                  <a:gd name="connsiteY1016" fmla="*/ 1153488 h 2719086"/>
                  <a:gd name="connsiteX1017" fmla="*/ 1060019 w 1416191"/>
                  <a:gd name="connsiteY1017" fmla="*/ 1140742 h 2719086"/>
                  <a:gd name="connsiteX1018" fmla="*/ 1079846 w 1416191"/>
                  <a:gd name="connsiteY1018" fmla="*/ 667734 h 2719086"/>
                  <a:gd name="connsiteX1019" fmla="*/ 1079846 w 1416191"/>
                  <a:gd name="connsiteY1019" fmla="*/ 680480 h 2719086"/>
                  <a:gd name="connsiteX1020" fmla="*/ 1065684 w 1416191"/>
                  <a:gd name="connsiteY1020" fmla="*/ 681896 h 2719086"/>
                  <a:gd name="connsiteX1021" fmla="*/ 1068517 w 1416191"/>
                  <a:gd name="connsiteY1021" fmla="*/ 671983 h 2719086"/>
                  <a:gd name="connsiteX1022" fmla="*/ 1079846 w 1416191"/>
                  <a:gd name="connsiteY1022" fmla="*/ 667734 h 2719086"/>
                  <a:gd name="connsiteX1023" fmla="*/ 1023198 w 1416191"/>
                  <a:gd name="connsiteY1023" fmla="*/ 683312 h 2719086"/>
                  <a:gd name="connsiteX1024" fmla="*/ 1065684 w 1416191"/>
                  <a:gd name="connsiteY1024" fmla="*/ 670566 h 2719086"/>
                  <a:gd name="connsiteX1025" fmla="*/ 1062852 w 1416191"/>
                  <a:gd name="connsiteY1025" fmla="*/ 680480 h 2719086"/>
                  <a:gd name="connsiteX1026" fmla="*/ 1023198 w 1416191"/>
                  <a:gd name="connsiteY1026" fmla="*/ 683312 h 2719086"/>
                  <a:gd name="connsiteX1027" fmla="*/ 344843 w 1416191"/>
                  <a:gd name="connsiteY1027" fmla="*/ 16286 h 2719086"/>
                  <a:gd name="connsiteX1028" fmla="*/ 300941 w 1416191"/>
                  <a:gd name="connsiteY1028" fmla="*/ 99841 h 2719086"/>
                  <a:gd name="connsiteX1029" fmla="*/ 264120 w 1416191"/>
                  <a:gd name="connsiteY1029" fmla="*/ 88512 h 2719086"/>
                  <a:gd name="connsiteX1030" fmla="*/ 262704 w 1416191"/>
                  <a:gd name="connsiteY1030" fmla="*/ 60188 h 2719086"/>
                  <a:gd name="connsiteX1031" fmla="*/ 344843 w 1416191"/>
                  <a:gd name="connsiteY1031" fmla="*/ 16286 h 2719086"/>
                  <a:gd name="connsiteX1032" fmla="*/ 126749 w 1416191"/>
                  <a:gd name="connsiteY1032" fmla="*/ 426981 h 2719086"/>
                  <a:gd name="connsiteX1033" fmla="*/ 92761 w 1416191"/>
                  <a:gd name="connsiteY1033" fmla="*/ 492126 h 2719086"/>
                  <a:gd name="connsiteX1034" fmla="*/ 140911 w 1416191"/>
                  <a:gd name="connsiteY1034" fmla="*/ 446808 h 2719086"/>
                  <a:gd name="connsiteX1035" fmla="*/ 184813 w 1416191"/>
                  <a:gd name="connsiteY1035" fmla="*/ 509121 h 2719086"/>
                  <a:gd name="connsiteX1036" fmla="*/ 12038 w 1416191"/>
                  <a:gd name="connsiteY1036" fmla="*/ 625248 h 2719086"/>
                  <a:gd name="connsiteX1037" fmla="*/ 99842 w 1416191"/>
                  <a:gd name="connsiteY1037" fmla="*/ 385912 h 2719086"/>
                  <a:gd name="connsiteX1038" fmla="*/ 126749 w 1416191"/>
                  <a:gd name="connsiteY1038" fmla="*/ 426981 h 2719086"/>
                  <a:gd name="connsiteX1039" fmla="*/ 230131 w 1416191"/>
                  <a:gd name="connsiteY1039" fmla="*/ 360421 h 2719086"/>
                  <a:gd name="connsiteX1040" fmla="*/ 139495 w 1416191"/>
                  <a:gd name="connsiteY1040" fmla="*/ 443976 h 2719086"/>
                  <a:gd name="connsiteX1041" fmla="*/ 128165 w 1416191"/>
                  <a:gd name="connsiteY1041" fmla="*/ 426981 h 2719086"/>
                  <a:gd name="connsiteX1042" fmla="*/ 183397 w 1416191"/>
                  <a:gd name="connsiteY1042" fmla="*/ 322183 h 2719086"/>
                  <a:gd name="connsiteX1043" fmla="*/ 230131 w 1416191"/>
                  <a:gd name="connsiteY1043" fmla="*/ 360421 h 2719086"/>
                  <a:gd name="connsiteX1044" fmla="*/ 197559 w 1416191"/>
                  <a:gd name="connsiteY1044" fmla="*/ 293860 h 2719086"/>
                  <a:gd name="connsiteX1045" fmla="*/ 184813 w 1416191"/>
                  <a:gd name="connsiteY1045" fmla="*/ 319351 h 2719086"/>
                  <a:gd name="connsiteX1046" fmla="*/ 128165 w 1416191"/>
                  <a:gd name="connsiteY1046" fmla="*/ 272617 h 2719086"/>
                  <a:gd name="connsiteX1047" fmla="*/ 197559 w 1416191"/>
                  <a:gd name="connsiteY1047" fmla="*/ 293860 h 2719086"/>
                  <a:gd name="connsiteX1048" fmla="*/ 139495 w 1416191"/>
                  <a:gd name="connsiteY1048" fmla="*/ 445392 h 2719086"/>
                  <a:gd name="connsiteX1049" fmla="*/ 99842 w 1416191"/>
                  <a:gd name="connsiteY1049" fmla="*/ 482213 h 2719086"/>
                  <a:gd name="connsiteX1050" fmla="*/ 128165 w 1416191"/>
                  <a:gd name="connsiteY1050" fmla="*/ 429814 h 2719086"/>
                  <a:gd name="connsiteX1051" fmla="*/ 139495 w 1416191"/>
                  <a:gd name="connsiteY1051" fmla="*/ 445392 h 2719086"/>
                  <a:gd name="connsiteX1052" fmla="*/ 469468 w 1416191"/>
                  <a:gd name="connsiteY1052" fmla="*/ 1926727 h 2719086"/>
                  <a:gd name="connsiteX1053" fmla="*/ 509121 w 1416191"/>
                  <a:gd name="connsiteY1053" fmla="*/ 1829010 h 2719086"/>
                  <a:gd name="connsiteX1054" fmla="*/ 527531 w 1416191"/>
                  <a:gd name="connsiteY1054" fmla="*/ 1724212 h 2719086"/>
                  <a:gd name="connsiteX1055" fmla="*/ 618168 w 1416191"/>
                  <a:gd name="connsiteY1055" fmla="*/ 1708634 h 2719086"/>
                  <a:gd name="connsiteX1056" fmla="*/ 625249 w 1416191"/>
                  <a:gd name="connsiteY1056" fmla="*/ 1734126 h 2719086"/>
                  <a:gd name="connsiteX1057" fmla="*/ 623832 w 1416191"/>
                  <a:gd name="connsiteY1057" fmla="*/ 1843172 h 2719086"/>
                  <a:gd name="connsiteX1058" fmla="*/ 558688 w 1416191"/>
                  <a:gd name="connsiteY1058" fmla="*/ 1843172 h 2719086"/>
                  <a:gd name="connsiteX1059" fmla="*/ 558688 w 1416191"/>
                  <a:gd name="connsiteY1059" fmla="*/ 1843172 h 2719086"/>
                  <a:gd name="connsiteX1060" fmla="*/ 545942 w 1416191"/>
                  <a:gd name="connsiteY1060" fmla="*/ 1930976 h 2719086"/>
                  <a:gd name="connsiteX1061" fmla="*/ 469468 w 1416191"/>
                  <a:gd name="connsiteY1061" fmla="*/ 1926727 h 2719086"/>
                  <a:gd name="connsiteX1062" fmla="*/ 547358 w 1416191"/>
                  <a:gd name="connsiteY1062" fmla="*/ 1933808 h 2719086"/>
                  <a:gd name="connsiteX1063" fmla="*/ 533196 w 1416191"/>
                  <a:gd name="connsiteY1063" fmla="*/ 2025861 h 2719086"/>
                  <a:gd name="connsiteX1064" fmla="*/ 448225 w 1416191"/>
                  <a:gd name="connsiteY1064" fmla="*/ 1974878 h 2719086"/>
                  <a:gd name="connsiteX1065" fmla="*/ 466635 w 1416191"/>
                  <a:gd name="connsiteY1065" fmla="*/ 1929560 h 2719086"/>
                  <a:gd name="connsiteX1066" fmla="*/ 547358 w 1416191"/>
                  <a:gd name="connsiteY1066" fmla="*/ 1933808 h 2719086"/>
                  <a:gd name="connsiteX1067" fmla="*/ 533196 w 1416191"/>
                  <a:gd name="connsiteY1067" fmla="*/ 2027277 h 2719086"/>
                  <a:gd name="connsiteX1068" fmla="*/ 533196 w 1416191"/>
                  <a:gd name="connsiteY1068" fmla="*/ 2027277 h 2719086"/>
                  <a:gd name="connsiteX1069" fmla="*/ 432647 w 1416191"/>
                  <a:gd name="connsiteY1069" fmla="*/ 2014531 h 2719086"/>
                  <a:gd name="connsiteX1070" fmla="*/ 448225 w 1416191"/>
                  <a:gd name="connsiteY1070" fmla="*/ 1976294 h 2719086"/>
                  <a:gd name="connsiteX1071" fmla="*/ 533196 w 1416191"/>
                  <a:gd name="connsiteY1071" fmla="*/ 2027277 h 2719086"/>
                  <a:gd name="connsiteX1072" fmla="*/ 313687 w 1416191"/>
                  <a:gd name="connsiteY1072" fmla="*/ 2255284 h 2719086"/>
                  <a:gd name="connsiteX1073" fmla="*/ 347675 w 1416191"/>
                  <a:gd name="connsiteY1073" fmla="*/ 2221295 h 2719086"/>
                  <a:gd name="connsiteX1074" fmla="*/ 344843 w 1416191"/>
                  <a:gd name="connsiteY1074" fmla="*/ 2269446 h 2719086"/>
                  <a:gd name="connsiteX1075" fmla="*/ 313687 w 1416191"/>
                  <a:gd name="connsiteY1075" fmla="*/ 2255284 h 2719086"/>
                  <a:gd name="connsiteX1076" fmla="*/ 288195 w 1416191"/>
                  <a:gd name="connsiteY1076" fmla="*/ 2428059 h 2719086"/>
                  <a:gd name="connsiteX1077" fmla="*/ 257039 w 1416191"/>
                  <a:gd name="connsiteY1077" fmla="*/ 2323261 h 2719086"/>
                  <a:gd name="connsiteX1078" fmla="*/ 343426 w 1416191"/>
                  <a:gd name="connsiteY1078" fmla="*/ 2314764 h 2719086"/>
                  <a:gd name="connsiteX1079" fmla="*/ 339178 w 1416191"/>
                  <a:gd name="connsiteY1079" fmla="*/ 2379909 h 2719086"/>
                  <a:gd name="connsiteX1080" fmla="*/ 288195 w 1416191"/>
                  <a:gd name="connsiteY1080" fmla="*/ 2428059 h 2719086"/>
                  <a:gd name="connsiteX1081" fmla="*/ 289611 w 1416191"/>
                  <a:gd name="connsiteY1081" fmla="*/ 2433724 h 2719086"/>
                  <a:gd name="connsiteX1082" fmla="*/ 288195 w 1416191"/>
                  <a:gd name="connsiteY1082" fmla="*/ 2430892 h 2719086"/>
                  <a:gd name="connsiteX1083" fmla="*/ 339178 w 1416191"/>
                  <a:gd name="connsiteY1083" fmla="*/ 2384157 h 2719086"/>
                  <a:gd name="connsiteX1084" fmla="*/ 336345 w 1416191"/>
                  <a:gd name="connsiteY1084" fmla="*/ 2433724 h 2719086"/>
                  <a:gd name="connsiteX1085" fmla="*/ 289611 w 1416191"/>
                  <a:gd name="connsiteY1085" fmla="*/ 2433724 h 2719086"/>
                  <a:gd name="connsiteX1086" fmla="*/ 282530 w 1416191"/>
                  <a:gd name="connsiteY1086" fmla="*/ 2436556 h 2719086"/>
                  <a:gd name="connsiteX1087" fmla="*/ 288195 w 1416191"/>
                  <a:gd name="connsiteY1087" fmla="*/ 2436556 h 2719086"/>
                  <a:gd name="connsiteX1088" fmla="*/ 302357 w 1416191"/>
                  <a:gd name="connsiteY1088" fmla="*/ 2486123 h 2719086"/>
                  <a:gd name="connsiteX1089" fmla="*/ 298108 w 1416191"/>
                  <a:gd name="connsiteY1089" fmla="*/ 2494620 h 2719086"/>
                  <a:gd name="connsiteX1090" fmla="*/ 281114 w 1416191"/>
                  <a:gd name="connsiteY1090" fmla="*/ 2439389 h 2719086"/>
                  <a:gd name="connsiteX1091" fmla="*/ 282530 w 1416191"/>
                  <a:gd name="connsiteY1091" fmla="*/ 2436556 h 2719086"/>
                  <a:gd name="connsiteX1092" fmla="*/ 285363 w 1416191"/>
                  <a:gd name="connsiteY1092" fmla="*/ 2435140 h 2719086"/>
                  <a:gd name="connsiteX1093" fmla="*/ 288195 w 1416191"/>
                  <a:gd name="connsiteY1093" fmla="*/ 2432308 h 2719086"/>
                  <a:gd name="connsiteX1094" fmla="*/ 289611 w 1416191"/>
                  <a:gd name="connsiteY1094" fmla="*/ 2435140 h 2719086"/>
                  <a:gd name="connsiteX1095" fmla="*/ 285363 w 1416191"/>
                  <a:gd name="connsiteY1095" fmla="*/ 2435140 h 2719086"/>
                  <a:gd name="connsiteX1096" fmla="*/ 312270 w 1416191"/>
                  <a:gd name="connsiteY1096" fmla="*/ 2256700 h 2719086"/>
                  <a:gd name="connsiteX1097" fmla="*/ 344843 w 1416191"/>
                  <a:gd name="connsiteY1097" fmla="*/ 2270862 h 2719086"/>
                  <a:gd name="connsiteX1098" fmla="*/ 342010 w 1416191"/>
                  <a:gd name="connsiteY1098" fmla="*/ 2311932 h 2719086"/>
                  <a:gd name="connsiteX1099" fmla="*/ 252790 w 1416191"/>
                  <a:gd name="connsiteY1099" fmla="*/ 2320429 h 2719086"/>
                  <a:gd name="connsiteX1100" fmla="*/ 252790 w 1416191"/>
                  <a:gd name="connsiteY1100" fmla="*/ 2320429 h 2719086"/>
                  <a:gd name="connsiteX1101" fmla="*/ 285363 w 1416191"/>
                  <a:gd name="connsiteY1101" fmla="*/ 2428059 h 2719086"/>
                  <a:gd name="connsiteX1102" fmla="*/ 281114 w 1416191"/>
                  <a:gd name="connsiteY1102" fmla="*/ 2432308 h 2719086"/>
                  <a:gd name="connsiteX1103" fmla="*/ 278282 w 1416191"/>
                  <a:gd name="connsiteY1103" fmla="*/ 2432308 h 2719086"/>
                  <a:gd name="connsiteX1104" fmla="*/ 242877 w 1416191"/>
                  <a:gd name="connsiteY1104" fmla="*/ 2321845 h 2719086"/>
                  <a:gd name="connsiteX1105" fmla="*/ 312270 w 1416191"/>
                  <a:gd name="connsiteY1105" fmla="*/ 2256700 h 2719086"/>
                  <a:gd name="connsiteX1106" fmla="*/ 350507 w 1416191"/>
                  <a:gd name="connsiteY1106" fmla="*/ 2217047 h 2719086"/>
                  <a:gd name="connsiteX1107" fmla="*/ 350507 w 1416191"/>
                  <a:gd name="connsiteY1107" fmla="*/ 2215631 h 2719086"/>
                  <a:gd name="connsiteX1108" fmla="*/ 353340 w 1416191"/>
                  <a:gd name="connsiteY1108" fmla="*/ 2214215 h 2719086"/>
                  <a:gd name="connsiteX1109" fmla="*/ 350507 w 1416191"/>
                  <a:gd name="connsiteY1109" fmla="*/ 2217047 h 2719086"/>
                  <a:gd name="connsiteX1110" fmla="*/ 303773 w 1416191"/>
                  <a:gd name="connsiteY1110" fmla="*/ 2057017 h 2719086"/>
                  <a:gd name="connsiteX1111" fmla="*/ 308022 w 1416191"/>
                  <a:gd name="connsiteY1111" fmla="*/ 2042855 h 2719086"/>
                  <a:gd name="connsiteX1112" fmla="*/ 308022 w 1416191"/>
                  <a:gd name="connsiteY1112" fmla="*/ 2042855 h 2719086"/>
                  <a:gd name="connsiteX1113" fmla="*/ 292444 w 1416191"/>
                  <a:gd name="connsiteY1113" fmla="*/ 1998953 h 2719086"/>
                  <a:gd name="connsiteX1114" fmla="*/ 346259 w 1416191"/>
                  <a:gd name="connsiteY1114" fmla="*/ 2006034 h 2719086"/>
                  <a:gd name="connsiteX1115" fmla="*/ 347675 w 1416191"/>
                  <a:gd name="connsiteY1115" fmla="*/ 2102336 h 2719086"/>
                  <a:gd name="connsiteX1116" fmla="*/ 303773 w 1416191"/>
                  <a:gd name="connsiteY1116" fmla="*/ 2057017 h 2719086"/>
                  <a:gd name="connsiteX1117" fmla="*/ 404323 w 1416191"/>
                  <a:gd name="connsiteY1117" fmla="*/ 2010283 h 2719086"/>
                  <a:gd name="connsiteX1118" fmla="*/ 401490 w 1416191"/>
                  <a:gd name="connsiteY1118" fmla="*/ 1947970 h 2719086"/>
                  <a:gd name="connsiteX1119" fmla="*/ 446808 w 1416191"/>
                  <a:gd name="connsiteY1119" fmla="*/ 1974878 h 2719086"/>
                  <a:gd name="connsiteX1120" fmla="*/ 431230 w 1416191"/>
                  <a:gd name="connsiteY1120" fmla="*/ 2014531 h 2719086"/>
                  <a:gd name="connsiteX1121" fmla="*/ 404323 w 1416191"/>
                  <a:gd name="connsiteY1121" fmla="*/ 2010283 h 2719086"/>
                  <a:gd name="connsiteX1122" fmla="*/ 408571 w 1416191"/>
                  <a:gd name="connsiteY1122" fmla="*/ 2163232 h 2719086"/>
                  <a:gd name="connsiteX1123" fmla="*/ 408571 w 1416191"/>
                  <a:gd name="connsiteY1123" fmla="*/ 2163232 h 2719086"/>
                  <a:gd name="connsiteX1124" fmla="*/ 408571 w 1416191"/>
                  <a:gd name="connsiteY1124" fmla="*/ 2163232 h 2719086"/>
                  <a:gd name="connsiteX1125" fmla="*/ 408571 w 1416191"/>
                  <a:gd name="connsiteY1125" fmla="*/ 2163232 h 2719086"/>
                  <a:gd name="connsiteX1126" fmla="*/ 363253 w 1416191"/>
                  <a:gd name="connsiteY1126" fmla="*/ 2207134 h 2719086"/>
                  <a:gd name="connsiteX1127" fmla="*/ 407155 w 1416191"/>
                  <a:gd name="connsiteY1127" fmla="*/ 2163232 h 2719086"/>
                  <a:gd name="connsiteX1128" fmla="*/ 408571 w 1416191"/>
                  <a:gd name="connsiteY1128" fmla="*/ 2164648 h 2719086"/>
                  <a:gd name="connsiteX1129" fmla="*/ 409988 w 1416191"/>
                  <a:gd name="connsiteY1129" fmla="*/ 2184474 h 2719086"/>
                  <a:gd name="connsiteX1130" fmla="*/ 363253 w 1416191"/>
                  <a:gd name="connsiteY1130" fmla="*/ 2207134 h 2719086"/>
                  <a:gd name="connsiteX1131" fmla="*/ 405739 w 1416191"/>
                  <a:gd name="connsiteY1131" fmla="*/ 2163232 h 2719086"/>
                  <a:gd name="connsiteX1132" fmla="*/ 357588 w 1416191"/>
                  <a:gd name="connsiteY1132" fmla="*/ 2211382 h 2719086"/>
                  <a:gd name="connsiteX1133" fmla="*/ 350507 w 1416191"/>
                  <a:gd name="connsiteY1133" fmla="*/ 2214215 h 2719086"/>
                  <a:gd name="connsiteX1134" fmla="*/ 381664 w 1416191"/>
                  <a:gd name="connsiteY1134" fmla="*/ 2139156 h 2719086"/>
                  <a:gd name="connsiteX1135" fmla="*/ 405739 w 1416191"/>
                  <a:gd name="connsiteY1135" fmla="*/ 2163232 h 2719086"/>
                  <a:gd name="connsiteX1136" fmla="*/ 402907 w 1416191"/>
                  <a:gd name="connsiteY1136" fmla="*/ 2013115 h 2719086"/>
                  <a:gd name="connsiteX1137" fmla="*/ 405739 w 1416191"/>
                  <a:gd name="connsiteY1137" fmla="*/ 2078260 h 2719086"/>
                  <a:gd name="connsiteX1138" fmla="*/ 381664 w 1416191"/>
                  <a:gd name="connsiteY1138" fmla="*/ 2134908 h 2719086"/>
                  <a:gd name="connsiteX1139" fmla="*/ 350507 w 1416191"/>
                  <a:gd name="connsiteY1139" fmla="*/ 2103751 h 2719086"/>
                  <a:gd name="connsiteX1140" fmla="*/ 349091 w 1416191"/>
                  <a:gd name="connsiteY1140" fmla="*/ 2006034 h 2719086"/>
                  <a:gd name="connsiteX1141" fmla="*/ 402907 w 1416191"/>
                  <a:gd name="connsiteY1141" fmla="*/ 2013115 h 2719086"/>
                  <a:gd name="connsiteX1142" fmla="*/ 407155 w 1416191"/>
                  <a:gd name="connsiteY1142" fmla="*/ 2160399 h 2719086"/>
                  <a:gd name="connsiteX1143" fmla="*/ 383080 w 1416191"/>
                  <a:gd name="connsiteY1143" fmla="*/ 2136324 h 2719086"/>
                  <a:gd name="connsiteX1144" fmla="*/ 405739 w 1416191"/>
                  <a:gd name="connsiteY1144" fmla="*/ 2082508 h 2719086"/>
                  <a:gd name="connsiteX1145" fmla="*/ 407155 w 1416191"/>
                  <a:gd name="connsiteY1145" fmla="*/ 2160399 h 2719086"/>
                  <a:gd name="connsiteX1146" fmla="*/ 407155 w 1416191"/>
                  <a:gd name="connsiteY1146" fmla="*/ 2160399 h 2719086"/>
                  <a:gd name="connsiteX1147" fmla="*/ 429814 w 1416191"/>
                  <a:gd name="connsiteY1147" fmla="*/ 2015948 h 2719086"/>
                  <a:gd name="connsiteX1148" fmla="*/ 405739 w 1416191"/>
                  <a:gd name="connsiteY1148" fmla="*/ 2072595 h 2719086"/>
                  <a:gd name="connsiteX1149" fmla="*/ 402907 w 1416191"/>
                  <a:gd name="connsiteY1149" fmla="*/ 2011699 h 2719086"/>
                  <a:gd name="connsiteX1150" fmla="*/ 429814 w 1416191"/>
                  <a:gd name="connsiteY1150" fmla="*/ 2015948 h 2719086"/>
                  <a:gd name="connsiteX1151" fmla="*/ 400074 w 1416191"/>
                  <a:gd name="connsiteY1151" fmla="*/ 1945138 h 2719086"/>
                  <a:gd name="connsiteX1152" fmla="*/ 400074 w 1416191"/>
                  <a:gd name="connsiteY1152" fmla="*/ 1945138 h 2719086"/>
                  <a:gd name="connsiteX1153" fmla="*/ 402907 w 1416191"/>
                  <a:gd name="connsiteY1153" fmla="*/ 2011699 h 2719086"/>
                  <a:gd name="connsiteX1154" fmla="*/ 349091 w 1416191"/>
                  <a:gd name="connsiteY1154" fmla="*/ 2004618 h 2719086"/>
                  <a:gd name="connsiteX1155" fmla="*/ 347675 w 1416191"/>
                  <a:gd name="connsiteY1155" fmla="*/ 1923895 h 2719086"/>
                  <a:gd name="connsiteX1156" fmla="*/ 466635 w 1416191"/>
                  <a:gd name="connsiteY1156" fmla="*/ 1929560 h 2719086"/>
                  <a:gd name="connsiteX1157" fmla="*/ 448225 w 1416191"/>
                  <a:gd name="connsiteY1157" fmla="*/ 1973462 h 2719086"/>
                  <a:gd name="connsiteX1158" fmla="*/ 400074 w 1416191"/>
                  <a:gd name="connsiteY1158" fmla="*/ 1945138 h 2719086"/>
                  <a:gd name="connsiteX1159" fmla="*/ 347675 w 1416191"/>
                  <a:gd name="connsiteY1159" fmla="*/ 2103751 h 2719086"/>
                  <a:gd name="connsiteX1160" fmla="*/ 349091 w 1416191"/>
                  <a:gd name="connsiteY1160" fmla="*/ 2214215 h 2719086"/>
                  <a:gd name="connsiteX1161" fmla="*/ 349091 w 1416191"/>
                  <a:gd name="connsiteY1161" fmla="*/ 2214215 h 2719086"/>
                  <a:gd name="connsiteX1162" fmla="*/ 349091 w 1416191"/>
                  <a:gd name="connsiteY1162" fmla="*/ 2218463 h 2719086"/>
                  <a:gd name="connsiteX1163" fmla="*/ 312270 w 1416191"/>
                  <a:gd name="connsiteY1163" fmla="*/ 2253868 h 2719086"/>
                  <a:gd name="connsiteX1164" fmla="*/ 259871 w 1416191"/>
                  <a:gd name="connsiteY1164" fmla="*/ 2229793 h 2719086"/>
                  <a:gd name="connsiteX1165" fmla="*/ 303773 w 1416191"/>
                  <a:gd name="connsiteY1165" fmla="*/ 2058433 h 2719086"/>
                  <a:gd name="connsiteX1166" fmla="*/ 347675 w 1416191"/>
                  <a:gd name="connsiteY1166" fmla="*/ 2103751 h 2719086"/>
                  <a:gd name="connsiteX1167" fmla="*/ 380247 w 1416191"/>
                  <a:gd name="connsiteY1167" fmla="*/ 2137740 h 2719086"/>
                  <a:gd name="connsiteX1168" fmla="*/ 350507 w 1416191"/>
                  <a:gd name="connsiteY1168" fmla="*/ 2208550 h 2719086"/>
                  <a:gd name="connsiteX1169" fmla="*/ 349091 w 1416191"/>
                  <a:gd name="connsiteY1169" fmla="*/ 2106584 h 2719086"/>
                  <a:gd name="connsiteX1170" fmla="*/ 380247 w 1416191"/>
                  <a:gd name="connsiteY1170" fmla="*/ 2137740 h 2719086"/>
                  <a:gd name="connsiteX1171" fmla="*/ 507705 w 1416191"/>
                  <a:gd name="connsiteY1171" fmla="*/ 1829010 h 2719086"/>
                  <a:gd name="connsiteX1172" fmla="*/ 466635 w 1416191"/>
                  <a:gd name="connsiteY1172" fmla="*/ 1926727 h 2719086"/>
                  <a:gd name="connsiteX1173" fmla="*/ 346259 w 1416191"/>
                  <a:gd name="connsiteY1173" fmla="*/ 1921063 h 2719086"/>
                  <a:gd name="connsiteX1174" fmla="*/ 344843 w 1416191"/>
                  <a:gd name="connsiteY1174" fmla="*/ 1756785 h 2719086"/>
                  <a:gd name="connsiteX1175" fmla="*/ 526115 w 1416191"/>
                  <a:gd name="connsiteY1175" fmla="*/ 1727045 h 2719086"/>
                  <a:gd name="connsiteX1176" fmla="*/ 507705 w 1416191"/>
                  <a:gd name="connsiteY1176" fmla="*/ 1829010 h 2719086"/>
                  <a:gd name="connsiteX1177" fmla="*/ 344843 w 1416191"/>
                  <a:gd name="connsiteY1177" fmla="*/ 1922479 h 2719086"/>
                  <a:gd name="connsiteX1178" fmla="*/ 346259 w 1416191"/>
                  <a:gd name="connsiteY1178" fmla="*/ 2003202 h 2719086"/>
                  <a:gd name="connsiteX1179" fmla="*/ 291027 w 1416191"/>
                  <a:gd name="connsiteY1179" fmla="*/ 1996121 h 2719086"/>
                  <a:gd name="connsiteX1180" fmla="*/ 264120 w 1416191"/>
                  <a:gd name="connsiteY1180" fmla="*/ 1918231 h 2719086"/>
                  <a:gd name="connsiteX1181" fmla="*/ 344843 w 1416191"/>
                  <a:gd name="connsiteY1181" fmla="*/ 1922479 h 2719086"/>
                  <a:gd name="connsiteX1182" fmla="*/ 289611 w 1416191"/>
                  <a:gd name="connsiteY1182" fmla="*/ 1997537 h 2719086"/>
                  <a:gd name="connsiteX1183" fmla="*/ 305189 w 1416191"/>
                  <a:gd name="connsiteY1183" fmla="*/ 2042855 h 2719086"/>
                  <a:gd name="connsiteX1184" fmla="*/ 302357 w 1416191"/>
                  <a:gd name="connsiteY1184" fmla="*/ 2055601 h 2719086"/>
                  <a:gd name="connsiteX1185" fmla="*/ 238628 w 1416191"/>
                  <a:gd name="connsiteY1185" fmla="*/ 1991872 h 2719086"/>
                  <a:gd name="connsiteX1186" fmla="*/ 289611 w 1416191"/>
                  <a:gd name="connsiteY1186" fmla="*/ 1997537 h 2719086"/>
                  <a:gd name="connsiteX1187" fmla="*/ 350507 w 1416191"/>
                  <a:gd name="connsiteY1187" fmla="*/ 2219879 h 2719086"/>
                  <a:gd name="connsiteX1188" fmla="*/ 359005 w 1416191"/>
                  <a:gd name="connsiteY1188" fmla="*/ 2211382 h 2719086"/>
                  <a:gd name="connsiteX1189" fmla="*/ 409988 w 1416191"/>
                  <a:gd name="connsiteY1189" fmla="*/ 2185891 h 2719086"/>
                  <a:gd name="connsiteX1190" fmla="*/ 414236 w 1416191"/>
                  <a:gd name="connsiteY1190" fmla="*/ 2299186 h 2719086"/>
                  <a:gd name="connsiteX1191" fmla="*/ 349091 w 1416191"/>
                  <a:gd name="connsiteY1191" fmla="*/ 2269446 h 2719086"/>
                  <a:gd name="connsiteX1192" fmla="*/ 350507 w 1416191"/>
                  <a:gd name="connsiteY1192" fmla="*/ 2219879 h 2719086"/>
                  <a:gd name="connsiteX1193" fmla="*/ 531780 w 1416191"/>
                  <a:gd name="connsiteY1193" fmla="*/ 2037191 h 2719086"/>
                  <a:gd name="connsiteX1194" fmla="*/ 409988 w 1416191"/>
                  <a:gd name="connsiteY1194" fmla="*/ 2158983 h 2719086"/>
                  <a:gd name="connsiteX1195" fmla="*/ 407155 w 1416191"/>
                  <a:gd name="connsiteY1195" fmla="*/ 2079676 h 2719086"/>
                  <a:gd name="connsiteX1196" fmla="*/ 432647 w 1416191"/>
                  <a:gd name="connsiteY1196" fmla="*/ 2018780 h 2719086"/>
                  <a:gd name="connsiteX1197" fmla="*/ 533196 w 1416191"/>
                  <a:gd name="connsiteY1197" fmla="*/ 2031526 h 2719086"/>
                  <a:gd name="connsiteX1198" fmla="*/ 531780 w 1416191"/>
                  <a:gd name="connsiteY1198" fmla="*/ 2037191 h 2719086"/>
                  <a:gd name="connsiteX1199" fmla="*/ 298108 w 1416191"/>
                  <a:gd name="connsiteY1199" fmla="*/ 2498869 h 2719086"/>
                  <a:gd name="connsiteX1200" fmla="*/ 334929 w 1416191"/>
                  <a:gd name="connsiteY1200" fmla="*/ 2614996 h 2719086"/>
                  <a:gd name="connsiteX1201" fmla="*/ 223050 w 1416191"/>
                  <a:gd name="connsiteY1201" fmla="*/ 2636239 h 2719086"/>
                  <a:gd name="connsiteX1202" fmla="*/ 298108 w 1416191"/>
                  <a:gd name="connsiteY1202" fmla="*/ 2498869 h 2719086"/>
                  <a:gd name="connsiteX1203" fmla="*/ 417069 w 1416191"/>
                  <a:gd name="connsiteY1203" fmla="*/ 2307683 h 2719086"/>
                  <a:gd name="connsiteX1204" fmla="*/ 342010 w 1416191"/>
                  <a:gd name="connsiteY1204" fmla="*/ 2378493 h 2719086"/>
                  <a:gd name="connsiteX1205" fmla="*/ 344843 w 1416191"/>
                  <a:gd name="connsiteY1205" fmla="*/ 2314764 h 2719086"/>
                  <a:gd name="connsiteX1206" fmla="*/ 417069 w 1416191"/>
                  <a:gd name="connsiteY1206" fmla="*/ 2307683 h 2719086"/>
                  <a:gd name="connsiteX1207" fmla="*/ 1286610 w 1416191"/>
                  <a:gd name="connsiteY1207" fmla="*/ 989209 h 2719086"/>
                  <a:gd name="connsiteX1208" fmla="*/ 1286610 w 1416191"/>
                  <a:gd name="connsiteY1208" fmla="*/ 992042 h 2719086"/>
                  <a:gd name="connsiteX1209" fmla="*/ 1098257 w 1416191"/>
                  <a:gd name="connsiteY1209" fmla="*/ 1000539 h 2719086"/>
                  <a:gd name="connsiteX1210" fmla="*/ 1118083 w 1416191"/>
                  <a:gd name="connsiteY1210" fmla="*/ 972215 h 2719086"/>
                  <a:gd name="connsiteX1211" fmla="*/ 1286610 w 1416191"/>
                  <a:gd name="connsiteY1211" fmla="*/ 989209 h 2719086"/>
                  <a:gd name="connsiteX1212" fmla="*/ 1412651 w 1416191"/>
                  <a:gd name="connsiteY1212" fmla="*/ 764035 h 2719086"/>
                  <a:gd name="connsiteX1213" fmla="*/ 1314934 w 1416191"/>
                  <a:gd name="connsiteY1213" fmla="*/ 841926 h 2719086"/>
                  <a:gd name="connsiteX1214" fmla="*/ 1314934 w 1416191"/>
                  <a:gd name="connsiteY1214" fmla="*/ 841926 h 2719086"/>
                  <a:gd name="connsiteX1215" fmla="*/ 1286610 w 1416191"/>
                  <a:gd name="connsiteY1215" fmla="*/ 986377 h 2719086"/>
                  <a:gd name="connsiteX1216" fmla="*/ 1118083 w 1416191"/>
                  <a:gd name="connsiteY1216" fmla="*/ 969383 h 2719086"/>
                  <a:gd name="connsiteX1217" fmla="*/ 1239876 w 1416191"/>
                  <a:gd name="connsiteY1217" fmla="*/ 792359 h 2719086"/>
                  <a:gd name="connsiteX1218" fmla="*/ 1412651 w 1416191"/>
                  <a:gd name="connsiteY1218" fmla="*/ 764035 h 2719086"/>
                  <a:gd name="connsiteX1219" fmla="*/ 220218 w 1416191"/>
                  <a:gd name="connsiteY1219" fmla="*/ 693226 h 2719086"/>
                  <a:gd name="connsiteX1220" fmla="*/ 157905 w 1416191"/>
                  <a:gd name="connsiteY1220" fmla="*/ 730046 h 2719086"/>
                  <a:gd name="connsiteX1221" fmla="*/ 142327 w 1416191"/>
                  <a:gd name="connsiteY1221" fmla="*/ 653572 h 2719086"/>
                  <a:gd name="connsiteX1222" fmla="*/ 220218 w 1416191"/>
                  <a:gd name="connsiteY1222" fmla="*/ 693226 h 2719086"/>
                  <a:gd name="connsiteX1223" fmla="*/ 156489 w 1416191"/>
                  <a:gd name="connsiteY1223" fmla="*/ 732879 h 2719086"/>
                  <a:gd name="connsiteX1224" fmla="*/ 166402 w 1416191"/>
                  <a:gd name="connsiteY1224" fmla="*/ 782445 h 2719086"/>
                  <a:gd name="connsiteX1225" fmla="*/ 91345 w 1416191"/>
                  <a:gd name="connsiteY1225" fmla="*/ 771116 h 2719086"/>
                  <a:gd name="connsiteX1226" fmla="*/ 156489 w 1416191"/>
                  <a:gd name="connsiteY1226" fmla="*/ 732879 h 2719086"/>
                  <a:gd name="connsiteX1227" fmla="*/ 282530 w 1416191"/>
                  <a:gd name="connsiteY1227" fmla="*/ 800856 h 2719086"/>
                  <a:gd name="connsiteX1228" fmla="*/ 194726 w 1416191"/>
                  <a:gd name="connsiteY1228" fmla="*/ 908486 h 2719086"/>
                  <a:gd name="connsiteX1229" fmla="*/ 169235 w 1416191"/>
                  <a:gd name="connsiteY1229" fmla="*/ 785278 h 2719086"/>
                  <a:gd name="connsiteX1230" fmla="*/ 282530 w 1416191"/>
                  <a:gd name="connsiteY1230" fmla="*/ 800856 h 2719086"/>
                  <a:gd name="connsiteX1231" fmla="*/ 375999 w 1416191"/>
                  <a:gd name="connsiteY1231" fmla="*/ 1609501 h 2719086"/>
                  <a:gd name="connsiteX1232" fmla="*/ 374583 w 1416191"/>
                  <a:gd name="connsiteY1232" fmla="*/ 1613750 h 2719086"/>
                  <a:gd name="connsiteX1233" fmla="*/ 342010 w 1416191"/>
                  <a:gd name="connsiteY1233" fmla="*/ 1596755 h 2719086"/>
                  <a:gd name="connsiteX1234" fmla="*/ 375999 w 1416191"/>
                  <a:gd name="connsiteY1234" fmla="*/ 1609501 h 2719086"/>
                  <a:gd name="connsiteX1235" fmla="*/ 438311 w 1416191"/>
                  <a:gd name="connsiteY1235" fmla="*/ 1649154 h 2719086"/>
                  <a:gd name="connsiteX1236" fmla="*/ 339178 w 1416191"/>
                  <a:gd name="connsiteY1236" fmla="*/ 1697305 h 2719086"/>
                  <a:gd name="connsiteX1237" fmla="*/ 375999 w 1416191"/>
                  <a:gd name="connsiteY1237" fmla="*/ 1615166 h 2719086"/>
                  <a:gd name="connsiteX1238" fmla="*/ 438311 w 1416191"/>
                  <a:gd name="connsiteY1238" fmla="*/ 1649154 h 2719086"/>
                  <a:gd name="connsiteX1239" fmla="*/ 281114 w 1416191"/>
                  <a:gd name="connsiteY1239" fmla="*/ 2436556 h 2719086"/>
                  <a:gd name="connsiteX1240" fmla="*/ 281114 w 1416191"/>
                  <a:gd name="connsiteY1240" fmla="*/ 2436556 h 2719086"/>
                  <a:gd name="connsiteX1241" fmla="*/ 281114 w 1416191"/>
                  <a:gd name="connsiteY1241" fmla="*/ 2436556 h 2719086"/>
                  <a:gd name="connsiteX1242" fmla="*/ 281114 w 1416191"/>
                  <a:gd name="connsiteY1242" fmla="*/ 2436556 h 2719086"/>
                  <a:gd name="connsiteX1243" fmla="*/ 536029 w 1416191"/>
                  <a:gd name="connsiteY1243" fmla="*/ 2027277 h 2719086"/>
                  <a:gd name="connsiteX1244" fmla="*/ 536029 w 1416191"/>
                  <a:gd name="connsiteY1244" fmla="*/ 2027277 h 2719086"/>
                  <a:gd name="connsiteX1245" fmla="*/ 536029 w 1416191"/>
                  <a:gd name="connsiteY1245" fmla="*/ 2027277 h 2719086"/>
                  <a:gd name="connsiteX1246" fmla="*/ 536029 w 1416191"/>
                  <a:gd name="connsiteY1246" fmla="*/ 2027277 h 2719086"/>
                  <a:gd name="connsiteX1247" fmla="*/ 662069 w 1416191"/>
                  <a:gd name="connsiteY1247" fmla="*/ 1847421 h 2719086"/>
                  <a:gd name="connsiteX1248" fmla="*/ 704555 w 1416191"/>
                  <a:gd name="connsiteY1248" fmla="*/ 1847421 h 2719086"/>
                  <a:gd name="connsiteX1249" fmla="*/ 690393 w 1416191"/>
                  <a:gd name="connsiteY1249" fmla="*/ 1946554 h 2719086"/>
                  <a:gd name="connsiteX1250" fmla="*/ 662069 w 1416191"/>
                  <a:gd name="connsiteY1250" fmla="*/ 1847421 h 2719086"/>
                  <a:gd name="connsiteX1251" fmla="*/ 1310685 w 1416191"/>
                  <a:gd name="connsiteY1251" fmla="*/ 992042 h 2719086"/>
                  <a:gd name="connsiteX1252" fmla="*/ 1288026 w 1416191"/>
                  <a:gd name="connsiteY1252" fmla="*/ 993458 h 2719086"/>
                  <a:gd name="connsiteX1253" fmla="*/ 1288026 w 1416191"/>
                  <a:gd name="connsiteY1253" fmla="*/ 990626 h 2719086"/>
                  <a:gd name="connsiteX1254" fmla="*/ 1310685 w 1416191"/>
                  <a:gd name="connsiteY1254" fmla="*/ 992042 h 2719086"/>
                  <a:gd name="connsiteX1255" fmla="*/ 890076 w 1416191"/>
                  <a:gd name="connsiteY1255" fmla="*/ 452473 h 2719086"/>
                  <a:gd name="connsiteX1256" fmla="*/ 941059 w 1416191"/>
                  <a:gd name="connsiteY1256" fmla="*/ 377415 h 2719086"/>
                  <a:gd name="connsiteX1257" fmla="*/ 950973 w 1416191"/>
                  <a:gd name="connsiteY1257" fmla="*/ 483629 h 2719086"/>
                  <a:gd name="connsiteX1258" fmla="*/ 890076 w 1416191"/>
                  <a:gd name="connsiteY1258" fmla="*/ 452473 h 2719086"/>
                  <a:gd name="connsiteX1259" fmla="*/ 473716 w 1416191"/>
                  <a:gd name="connsiteY1259" fmla="*/ 2384157 h 2719086"/>
                  <a:gd name="connsiteX1260" fmla="*/ 401490 w 1416191"/>
                  <a:gd name="connsiteY1260" fmla="*/ 2430892 h 2719086"/>
                  <a:gd name="connsiteX1261" fmla="*/ 377415 w 1416191"/>
                  <a:gd name="connsiteY1261" fmla="*/ 2430892 h 2719086"/>
                  <a:gd name="connsiteX1262" fmla="*/ 473716 w 1416191"/>
                  <a:gd name="connsiteY1262" fmla="*/ 2384157 h 2719086"/>
                  <a:gd name="connsiteX1263" fmla="*/ 851839 w 1416191"/>
                  <a:gd name="connsiteY1263" fmla="*/ 1642073 h 2719086"/>
                  <a:gd name="connsiteX1264" fmla="*/ 959470 w 1416191"/>
                  <a:gd name="connsiteY1264" fmla="*/ 1524529 h 2719086"/>
                  <a:gd name="connsiteX1265" fmla="*/ 880163 w 1416191"/>
                  <a:gd name="connsiteY1265" fmla="*/ 1651987 h 2719086"/>
                  <a:gd name="connsiteX1266" fmla="*/ 851839 w 1416191"/>
                  <a:gd name="connsiteY1266" fmla="*/ 1642073 h 2719086"/>
                  <a:gd name="connsiteX1267" fmla="*/ 1111002 w 1416191"/>
                  <a:gd name="connsiteY1267" fmla="*/ 1356003 h 2719086"/>
                  <a:gd name="connsiteX1268" fmla="*/ 973632 w 1416191"/>
                  <a:gd name="connsiteY1268" fmla="*/ 1506119 h 2719086"/>
                  <a:gd name="connsiteX1269" fmla="*/ 1028863 w 1416191"/>
                  <a:gd name="connsiteY1269" fmla="*/ 1416899 h 2719086"/>
                  <a:gd name="connsiteX1270" fmla="*/ 1111002 w 1416191"/>
                  <a:gd name="connsiteY1270" fmla="*/ 1356003 h 271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Lst>
                <a:rect l="l" t="t" r="r" b="b"/>
                <a:pathLst>
                  <a:path w="1416191" h="2719086">
                    <a:moveTo>
                      <a:pt x="1330512" y="660653"/>
                    </a:moveTo>
                    <a:lnTo>
                      <a:pt x="1330512" y="660653"/>
                    </a:lnTo>
                    <a:lnTo>
                      <a:pt x="1125164" y="676231"/>
                    </a:lnTo>
                    <a:lnTo>
                      <a:pt x="1123748" y="653572"/>
                    </a:lnTo>
                    <a:lnTo>
                      <a:pt x="1157737" y="643659"/>
                    </a:lnTo>
                    <a:lnTo>
                      <a:pt x="1115251" y="543109"/>
                    </a:lnTo>
                    <a:lnTo>
                      <a:pt x="1115251" y="541693"/>
                    </a:lnTo>
                    <a:lnTo>
                      <a:pt x="1122332" y="650740"/>
                    </a:lnTo>
                    <a:lnTo>
                      <a:pt x="1081262" y="663486"/>
                    </a:lnTo>
                    <a:lnTo>
                      <a:pt x="1081262" y="618167"/>
                    </a:lnTo>
                    <a:lnTo>
                      <a:pt x="1081262" y="616751"/>
                    </a:lnTo>
                    <a:lnTo>
                      <a:pt x="1067100" y="667734"/>
                    </a:lnTo>
                    <a:lnTo>
                      <a:pt x="1014701" y="683312"/>
                    </a:lnTo>
                    <a:lnTo>
                      <a:pt x="963718" y="687560"/>
                    </a:lnTo>
                    <a:lnTo>
                      <a:pt x="766868" y="632329"/>
                    </a:lnTo>
                    <a:lnTo>
                      <a:pt x="888660" y="453889"/>
                    </a:lnTo>
                    <a:lnTo>
                      <a:pt x="953805" y="486462"/>
                    </a:lnTo>
                    <a:lnTo>
                      <a:pt x="953805" y="486462"/>
                    </a:lnTo>
                    <a:lnTo>
                      <a:pt x="942475" y="371750"/>
                    </a:lnTo>
                    <a:lnTo>
                      <a:pt x="942475" y="371750"/>
                    </a:lnTo>
                    <a:lnTo>
                      <a:pt x="887244" y="451057"/>
                    </a:lnTo>
                    <a:lnTo>
                      <a:pt x="795192" y="404322"/>
                    </a:lnTo>
                    <a:lnTo>
                      <a:pt x="793775" y="356172"/>
                    </a:lnTo>
                    <a:lnTo>
                      <a:pt x="907071" y="289611"/>
                    </a:lnTo>
                    <a:lnTo>
                      <a:pt x="907071" y="289611"/>
                    </a:lnTo>
                    <a:lnTo>
                      <a:pt x="660653" y="149408"/>
                    </a:lnTo>
                    <a:lnTo>
                      <a:pt x="659237" y="149408"/>
                    </a:lnTo>
                    <a:lnTo>
                      <a:pt x="735712" y="241460"/>
                    </a:lnTo>
                    <a:lnTo>
                      <a:pt x="514786" y="167819"/>
                    </a:lnTo>
                    <a:lnTo>
                      <a:pt x="570017" y="63020"/>
                    </a:lnTo>
                    <a:lnTo>
                      <a:pt x="570017" y="61604"/>
                    </a:lnTo>
                    <a:lnTo>
                      <a:pt x="475132" y="155073"/>
                    </a:lnTo>
                    <a:lnTo>
                      <a:pt x="343426" y="111171"/>
                    </a:lnTo>
                    <a:lnTo>
                      <a:pt x="303773" y="98425"/>
                    </a:lnTo>
                    <a:lnTo>
                      <a:pt x="350507" y="10621"/>
                    </a:lnTo>
                    <a:lnTo>
                      <a:pt x="350507" y="10621"/>
                    </a:lnTo>
                    <a:lnTo>
                      <a:pt x="262704" y="57356"/>
                    </a:lnTo>
                    <a:lnTo>
                      <a:pt x="262704" y="57356"/>
                    </a:lnTo>
                    <a:lnTo>
                      <a:pt x="264120" y="87096"/>
                    </a:lnTo>
                    <a:lnTo>
                      <a:pt x="204640" y="67269"/>
                    </a:lnTo>
                    <a:lnTo>
                      <a:pt x="204640" y="67269"/>
                    </a:lnTo>
                    <a:lnTo>
                      <a:pt x="40362" y="147992"/>
                    </a:lnTo>
                    <a:lnTo>
                      <a:pt x="40362" y="147992"/>
                    </a:lnTo>
                    <a:lnTo>
                      <a:pt x="41778" y="149408"/>
                    </a:lnTo>
                    <a:lnTo>
                      <a:pt x="206056" y="68685"/>
                    </a:lnTo>
                    <a:lnTo>
                      <a:pt x="265536" y="88512"/>
                    </a:lnTo>
                    <a:lnTo>
                      <a:pt x="266952" y="167819"/>
                    </a:lnTo>
                    <a:lnTo>
                      <a:pt x="201807" y="292443"/>
                    </a:lnTo>
                    <a:lnTo>
                      <a:pt x="121084" y="266952"/>
                    </a:lnTo>
                    <a:lnTo>
                      <a:pt x="186229" y="320767"/>
                    </a:lnTo>
                    <a:lnTo>
                      <a:pt x="130998" y="425565"/>
                    </a:lnTo>
                    <a:lnTo>
                      <a:pt x="101258" y="383079"/>
                    </a:lnTo>
                    <a:lnTo>
                      <a:pt x="101258" y="383079"/>
                    </a:lnTo>
                    <a:lnTo>
                      <a:pt x="10621" y="630913"/>
                    </a:lnTo>
                    <a:lnTo>
                      <a:pt x="10621" y="630913"/>
                    </a:lnTo>
                    <a:lnTo>
                      <a:pt x="189062" y="510537"/>
                    </a:lnTo>
                    <a:lnTo>
                      <a:pt x="288195" y="653572"/>
                    </a:lnTo>
                    <a:lnTo>
                      <a:pt x="225883" y="690393"/>
                    </a:lnTo>
                    <a:lnTo>
                      <a:pt x="143744" y="647907"/>
                    </a:lnTo>
                    <a:lnTo>
                      <a:pt x="143744" y="647907"/>
                    </a:lnTo>
                    <a:lnTo>
                      <a:pt x="160738" y="728630"/>
                    </a:lnTo>
                    <a:lnTo>
                      <a:pt x="89928" y="771116"/>
                    </a:lnTo>
                    <a:lnTo>
                      <a:pt x="172067" y="782445"/>
                    </a:lnTo>
                    <a:lnTo>
                      <a:pt x="198975" y="909903"/>
                    </a:lnTo>
                    <a:lnTo>
                      <a:pt x="198975" y="909903"/>
                    </a:lnTo>
                    <a:lnTo>
                      <a:pt x="289611" y="798024"/>
                    </a:lnTo>
                    <a:lnTo>
                      <a:pt x="349091" y="806521"/>
                    </a:lnTo>
                    <a:lnTo>
                      <a:pt x="344843" y="986377"/>
                    </a:lnTo>
                    <a:lnTo>
                      <a:pt x="344843" y="986377"/>
                    </a:lnTo>
                    <a:lnTo>
                      <a:pt x="584179" y="880163"/>
                    </a:lnTo>
                    <a:lnTo>
                      <a:pt x="598341" y="986377"/>
                    </a:lnTo>
                    <a:lnTo>
                      <a:pt x="561520" y="1020365"/>
                    </a:lnTo>
                    <a:lnTo>
                      <a:pt x="241461" y="1033111"/>
                    </a:lnTo>
                    <a:lnTo>
                      <a:pt x="241461" y="1033111"/>
                    </a:lnTo>
                    <a:lnTo>
                      <a:pt x="353340" y="1126580"/>
                    </a:lnTo>
                    <a:lnTo>
                      <a:pt x="422733" y="1147823"/>
                    </a:lnTo>
                    <a:lnTo>
                      <a:pt x="361837" y="1204470"/>
                    </a:lnTo>
                    <a:lnTo>
                      <a:pt x="361837" y="1204470"/>
                    </a:lnTo>
                    <a:lnTo>
                      <a:pt x="363253" y="1205886"/>
                    </a:lnTo>
                    <a:lnTo>
                      <a:pt x="449641" y="1156320"/>
                    </a:lnTo>
                    <a:lnTo>
                      <a:pt x="572850" y="1193141"/>
                    </a:lnTo>
                    <a:lnTo>
                      <a:pt x="553023" y="1238459"/>
                    </a:lnTo>
                    <a:lnTo>
                      <a:pt x="449641" y="1288026"/>
                    </a:lnTo>
                    <a:lnTo>
                      <a:pt x="368918" y="1330511"/>
                    </a:lnTo>
                    <a:lnTo>
                      <a:pt x="368918" y="1330511"/>
                    </a:lnTo>
                    <a:lnTo>
                      <a:pt x="336345" y="1463633"/>
                    </a:lnTo>
                    <a:lnTo>
                      <a:pt x="336345" y="1463633"/>
                    </a:lnTo>
                    <a:lnTo>
                      <a:pt x="435479" y="1497622"/>
                    </a:lnTo>
                    <a:lnTo>
                      <a:pt x="385912" y="1605252"/>
                    </a:lnTo>
                    <a:lnTo>
                      <a:pt x="333513" y="1584010"/>
                    </a:lnTo>
                    <a:lnTo>
                      <a:pt x="333513" y="1584010"/>
                    </a:lnTo>
                    <a:lnTo>
                      <a:pt x="332097" y="1585426"/>
                    </a:lnTo>
                    <a:lnTo>
                      <a:pt x="381664" y="1612333"/>
                    </a:lnTo>
                    <a:lnTo>
                      <a:pt x="342010" y="1698721"/>
                    </a:lnTo>
                    <a:lnTo>
                      <a:pt x="342010" y="1698721"/>
                    </a:lnTo>
                    <a:lnTo>
                      <a:pt x="448225" y="1646322"/>
                    </a:lnTo>
                    <a:lnTo>
                      <a:pt x="509121" y="1678894"/>
                    </a:lnTo>
                    <a:lnTo>
                      <a:pt x="509121" y="1678894"/>
                    </a:lnTo>
                    <a:lnTo>
                      <a:pt x="544526" y="1663316"/>
                    </a:lnTo>
                    <a:lnTo>
                      <a:pt x="534612" y="1719964"/>
                    </a:lnTo>
                    <a:lnTo>
                      <a:pt x="350507" y="1751120"/>
                    </a:lnTo>
                    <a:lnTo>
                      <a:pt x="350507" y="1751120"/>
                    </a:lnTo>
                    <a:lnTo>
                      <a:pt x="351924" y="1916814"/>
                    </a:lnTo>
                    <a:lnTo>
                      <a:pt x="268368" y="1912566"/>
                    </a:lnTo>
                    <a:lnTo>
                      <a:pt x="268368" y="1912566"/>
                    </a:lnTo>
                    <a:lnTo>
                      <a:pt x="295276" y="1991872"/>
                    </a:lnTo>
                    <a:lnTo>
                      <a:pt x="240045" y="1984791"/>
                    </a:lnTo>
                    <a:lnTo>
                      <a:pt x="240045" y="1984791"/>
                    </a:lnTo>
                    <a:lnTo>
                      <a:pt x="308022" y="2054185"/>
                    </a:lnTo>
                    <a:lnTo>
                      <a:pt x="264120" y="2228376"/>
                    </a:lnTo>
                    <a:lnTo>
                      <a:pt x="264120" y="2228376"/>
                    </a:lnTo>
                    <a:lnTo>
                      <a:pt x="317935" y="2252451"/>
                    </a:lnTo>
                    <a:lnTo>
                      <a:pt x="249958" y="2319013"/>
                    </a:lnTo>
                    <a:lnTo>
                      <a:pt x="249958" y="2319013"/>
                    </a:lnTo>
                    <a:lnTo>
                      <a:pt x="285363" y="2429475"/>
                    </a:lnTo>
                    <a:lnTo>
                      <a:pt x="164986" y="2432308"/>
                    </a:lnTo>
                    <a:lnTo>
                      <a:pt x="164986" y="2432308"/>
                    </a:lnTo>
                    <a:lnTo>
                      <a:pt x="218802" y="2498869"/>
                    </a:lnTo>
                    <a:lnTo>
                      <a:pt x="218802" y="2498869"/>
                    </a:lnTo>
                    <a:lnTo>
                      <a:pt x="288195" y="2433724"/>
                    </a:lnTo>
                    <a:lnTo>
                      <a:pt x="306606" y="2490372"/>
                    </a:lnTo>
                    <a:lnTo>
                      <a:pt x="228715" y="2633407"/>
                    </a:lnTo>
                    <a:lnTo>
                      <a:pt x="228715" y="2633407"/>
                    </a:lnTo>
                    <a:lnTo>
                      <a:pt x="344843" y="2610748"/>
                    </a:lnTo>
                    <a:lnTo>
                      <a:pt x="356172" y="2648985"/>
                    </a:lnTo>
                    <a:lnTo>
                      <a:pt x="325016" y="2639072"/>
                    </a:lnTo>
                    <a:lnTo>
                      <a:pt x="223050" y="2637655"/>
                    </a:lnTo>
                    <a:lnTo>
                      <a:pt x="221634" y="2637655"/>
                    </a:lnTo>
                    <a:lnTo>
                      <a:pt x="366086" y="2708465"/>
                    </a:lnTo>
                    <a:lnTo>
                      <a:pt x="366086" y="2708465"/>
                    </a:lnTo>
                    <a:lnTo>
                      <a:pt x="350507" y="2657482"/>
                    </a:lnTo>
                    <a:lnTo>
                      <a:pt x="452473" y="2690055"/>
                    </a:lnTo>
                    <a:lnTo>
                      <a:pt x="452473" y="2690055"/>
                    </a:lnTo>
                    <a:lnTo>
                      <a:pt x="390161" y="2603667"/>
                    </a:lnTo>
                    <a:lnTo>
                      <a:pt x="390161" y="2603667"/>
                    </a:lnTo>
                    <a:lnTo>
                      <a:pt x="336345" y="2613580"/>
                    </a:lnTo>
                    <a:lnTo>
                      <a:pt x="299525" y="2494620"/>
                    </a:lnTo>
                    <a:lnTo>
                      <a:pt x="303773" y="2486123"/>
                    </a:lnTo>
                    <a:lnTo>
                      <a:pt x="330681" y="2573927"/>
                    </a:lnTo>
                    <a:lnTo>
                      <a:pt x="330681" y="2575343"/>
                    </a:lnTo>
                    <a:lnTo>
                      <a:pt x="337762" y="2449302"/>
                    </a:lnTo>
                    <a:lnTo>
                      <a:pt x="373167" y="2432308"/>
                    </a:lnTo>
                    <a:lnTo>
                      <a:pt x="401490" y="2430892"/>
                    </a:lnTo>
                    <a:lnTo>
                      <a:pt x="490710" y="2374244"/>
                    </a:lnTo>
                    <a:lnTo>
                      <a:pt x="490710" y="2374244"/>
                    </a:lnTo>
                    <a:lnTo>
                      <a:pt x="489294" y="2372828"/>
                    </a:lnTo>
                    <a:lnTo>
                      <a:pt x="371750" y="2430892"/>
                    </a:lnTo>
                    <a:lnTo>
                      <a:pt x="337762" y="2432308"/>
                    </a:lnTo>
                    <a:lnTo>
                      <a:pt x="340594" y="2381325"/>
                    </a:lnTo>
                    <a:lnTo>
                      <a:pt x="421317" y="2304851"/>
                    </a:lnTo>
                    <a:lnTo>
                      <a:pt x="421317" y="2304851"/>
                    </a:lnTo>
                    <a:lnTo>
                      <a:pt x="343426" y="2313348"/>
                    </a:lnTo>
                    <a:lnTo>
                      <a:pt x="346259" y="2272278"/>
                    </a:lnTo>
                    <a:lnTo>
                      <a:pt x="414236" y="2302018"/>
                    </a:lnTo>
                    <a:lnTo>
                      <a:pt x="414236" y="2302018"/>
                    </a:lnTo>
                    <a:lnTo>
                      <a:pt x="409988" y="2184474"/>
                    </a:lnTo>
                    <a:lnTo>
                      <a:pt x="421317" y="2178810"/>
                    </a:lnTo>
                    <a:lnTo>
                      <a:pt x="462387" y="2219879"/>
                    </a:lnTo>
                    <a:lnTo>
                      <a:pt x="462387" y="2219879"/>
                    </a:lnTo>
                    <a:lnTo>
                      <a:pt x="494959" y="2140572"/>
                    </a:lnTo>
                    <a:lnTo>
                      <a:pt x="494959" y="2140572"/>
                    </a:lnTo>
                    <a:lnTo>
                      <a:pt x="421317" y="2175977"/>
                    </a:lnTo>
                    <a:lnTo>
                      <a:pt x="408571" y="2163232"/>
                    </a:lnTo>
                    <a:lnTo>
                      <a:pt x="408571" y="2158983"/>
                    </a:lnTo>
                    <a:lnTo>
                      <a:pt x="533196" y="2035774"/>
                    </a:lnTo>
                    <a:lnTo>
                      <a:pt x="533196" y="2035774"/>
                    </a:lnTo>
                    <a:lnTo>
                      <a:pt x="534612" y="2027277"/>
                    </a:lnTo>
                    <a:lnTo>
                      <a:pt x="543110" y="2028693"/>
                    </a:lnTo>
                    <a:lnTo>
                      <a:pt x="544526" y="2028693"/>
                    </a:lnTo>
                    <a:lnTo>
                      <a:pt x="536029" y="2023029"/>
                    </a:lnTo>
                    <a:lnTo>
                      <a:pt x="550190" y="1930976"/>
                    </a:lnTo>
                    <a:lnTo>
                      <a:pt x="626665" y="1935225"/>
                    </a:lnTo>
                    <a:lnTo>
                      <a:pt x="626665" y="1935225"/>
                    </a:lnTo>
                    <a:lnTo>
                      <a:pt x="628081" y="1844589"/>
                    </a:lnTo>
                    <a:lnTo>
                      <a:pt x="660653" y="1844589"/>
                    </a:lnTo>
                    <a:lnTo>
                      <a:pt x="691810" y="1952219"/>
                    </a:lnTo>
                    <a:lnTo>
                      <a:pt x="691810" y="1953635"/>
                    </a:lnTo>
                    <a:lnTo>
                      <a:pt x="704555" y="1860167"/>
                    </a:lnTo>
                    <a:lnTo>
                      <a:pt x="660653" y="2555517"/>
                    </a:lnTo>
                    <a:lnTo>
                      <a:pt x="660653" y="2555517"/>
                    </a:lnTo>
                    <a:lnTo>
                      <a:pt x="662069" y="2555517"/>
                    </a:lnTo>
                    <a:lnTo>
                      <a:pt x="662069" y="2555517"/>
                    </a:lnTo>
                    <a:lnTo>
                      <a:pt x="720133" y="1626495"/>
                    </a:lnTo>
                    <a:lnTo>
                      <a:pt x="754122" y="1744039"/>
                    </a:lnTo>
                    <a:lnTo>
                      <a:pt x="713052" y="1789357"/>
                    </a:lnTo>
                    <a:lnTo>
                      <a:pt x="713052" y="1789357"/>
                    </a:lnTo>
                    <a:lnTo>
                      <a:pt x="772532" y="1800687"/>
                    </a:lnTo>
                    <a:lnTo>
                      <a:pt x="772532" y="1800687"/>
                    </a:lnTo>
                    <a:lnTo>
                      <a:pt x="756954" y="1744039"/>
                    </a:lnTo>
                    <a:lnTo>
                      <a:pt x="850423" y="1642073"/>
                    </a:lnTo>
                    <a:lnTo>
                      <a:pt x="880163" y="1651987"/>
                    </a:lnTo>
                    <a:lnTo>
                      <a:pt x="880163" y="1651987"/>
                    </a:lnTo>
                    <a:lnTo>
                      <a:pt x="966551" y="1513200"/>
                    </a:lnTo>
                    <a:lnTo>
                      <a:pt x="1119499" y="1346089"/>
                    </a:lnTo>
                    <a:lnTo>
                      <a:pt x="1119499" y="1346089"/>
                    </a:lnTo>
                    <a:lnTo>
                      <a:pt x="1118083" y="1344673"/>
                    </a:lnTo>
                    <a:lnTo>
                      <a:pt x="1027447" y="1412650"/>
                    </a:lnTo>
                    <a:lnTo>
                      <a:pt x="965135" y="1511784"/>
                    </a:lnTo>
                    <a:lnTo>
                      <a:pt x="849007" y="1639241"/>
                    </a:lnTo>
                    <a:lnTo>
                      <a:pt x="713052" y="1592507"/>
                    </a:lnTo>
                    <a:lnTo>
                      <a:pt x="713052" y="1592507"/>
                    </a:lnTo>
                    <a:lnTo>
                      <a:pt x="705972" y="1589674"/>
                    </a:lnTo>
                    <a:lnTo>
                      <a:pt x="756954" y="1567015"/>
                    </a:lnTo>
                    <a:lnTo>
                      <a:pt x="812186" y="1591091"/>
                    </a:lnTo>
                    <a:lnTo>
                      <a:pt x="812186" y="1591091"/>
                    </a:lnTo>
                    <a:lnTo>
                      <a:pt x="796608" y="1548605"/>
                    </a:lnTo>
                    <a:lnTo>
                      <a:pt x="853255" y="1588258"/>
                    </a:lnTo>
                    <a:lnTo>
                      <a:pt x="853255" y="1588258"/>
                    </a:lnTo>
                    <a:lnTo>
                      <a:pt x="943892" y="1479212"/>
                    </a:lnTo>
                    <a:lnTo>
                      <a:pt x="943892" y="1477795"/>
                    </a:lnTo>
                    <a:lnTo>
                      <a:pt x="796608" y="1545772"/>
                    </a:lnTo>
                    <a:lnTo>
                      <a:pt x="795192" y="1544356"/>
                    </a:lnTo>
                    <a:lnTo>
                      <a:pt x="773949" y="1486292"/>
                    </a:lnTo>
                    <a:lnTo>
                      <a:pt x="1201639" y="1275280"/>
                    </a:lnTo>
                    <a:lnTo>
                      <a:pt x="1201639" y="1275280"/>
                    </a:lnTo>
                    <a:lnTo>
                      <a:pt x="1061436" y="1142158"/>
                    </a:lnTo>
                    <a:lnTo>
                      <a:pt x="1256870" y="1154903"/>
                    </a:lnTo>
                    <a:lnTo>
                      <a:pt x="1256870" y="1154903"/>
                    </a:lnTo>
                    <a:lnTo>
                      <a:pt x="1288026" y="994874"/>
                    </a:lnTo>
                    <a:lnTo>
                      <a:pt x="1324847" y="993458"/>
                    </a:lnTo>
                    <a:lnTo>
                      <a:pt x="1324847" y="993458"/>
                    </a:lnTo>
                    <a:lnTo>
                      <a:pt x="1324847" y="992042"/>
                    </a:lnTo>
                    <a:lnTo>
                      <a:pt x="1288026" y="987793"/>
                    </a:lnTo>
                    <a:lnTo>
                      <a:pt x="1314934" y="843341"/>
                    </a:lnTo>
                    <a:lnTo>
                      <a:pt x="1416900" y="761203"/>
                    </a:lnTo>
                    <a:lnTo>
                      <a:pt x="1416900" y="761203"/>
                    </a:lnTo>
                    <a:lnTo>
                      <a:pt x="1238460" y="790943"/>
                    </a:lnTo>
                    <a:lnTo>
                      <a:pt x="1330512" y="660653"/>
                    </a:lnTo>
                    <a:close/>
                    <a:moveTo>
                      <a:pt x="799440" y="1547189"/>
                    </a:moveTo>
                    <a:lnTo>
                      <a:pt x="938227" y="1483460"/>
                    </a:lnTo>
                    <a:lnTo>
                      <a:pt x="854672" y="1585426"/>
                    </a:lnTo>
                    <a:lnTo>
                      <a:pt x="799440" y="1547189"/>
                    </a:lnTo>
                    <a:close/>
                    <a:moveTo>
                      <a:pt x="425566" y="2178810"/>
                    </a:moveTo>
                    <a:lnTo>
                      <a:pt x="493543" y="2146237"/>
                    </a:lnTo>
                    <a:lnTo>
                      <a:pt x="463803" y="2218463"/>
                    </a:lnTo>
                    <a:lnTo>
                      <a:pt x="425566" y="2178810"/>
                    </a:lnTo>
                    <a:close/>
                    <a:moveTo>
                      <a:pt x="337762" y="2449302"/>
                    </a:moveTo>
                    <a:lnTo>
                      <a:pt x="339178" y="2435140"/>
                    </a:lnTo>
                    <a:lnTo>
                      <a:pt x="368918" y="2433724"/>
                    </a:lnTo>
                    <a:lnTo>
                      <a:pt x="337762" y="2449302"/>
                    </a:lnTo>
                    <a:close/>
                    <a:moveTo>
                      <a:pt x="223050" y="2646153"/>
                    </a:moveTo>
                    <a:lnTo>
                      <a:pt x="315103" y="2647569"/>
                    </a:lnTo>
                    <a:lnTo>
                      <a:pt x="347675" y="2657482"/>
                    </a:lnTo>
                    <a:lnTo>
                      <a:pt x="363253" y="2705632"/>
                    </a:lnTo>
                    <a:lnTo>
                      <a:pt x="223050" y="2646153"/>
                    </a:lnTo>
                    <a:close/>
                    <a:moveTo>
                      <a:pt x="350507" y="2656066"/>
                    </a:moveTo>
                    <a:lnTo>
                      <a:pt x="337762" y="2616413"/>
                    </a:lnTo>
                    <a:lnTo>
                      <a:pt x="390161" y="2606499"/>
                    </a:lnTo>
                    <a:lnTo>
                      <a:pt x="448225" y="2685806"/>
                    </a:lnTo>
                    <a:lnTo>
                      <a:pt x="350507" y="2656066"/>
                    </a:lnTo>
                    <a:close/>
                    <a:moveTo>
                      <a:pt x="278282" y="2437973"/>
                    </a:moveTo>
                    <a:lnTo>
                      <a:pt x="210305" y="2501701"/>
                    </a:lnTo>
                    <a:lnTo>
                      <a:pt x="160738" y="2439389"/>
                    </a:lnTo>
                    <a:lnTo>
                      <a:pt x="278282" y="2437973"/>
                    </a:lnTo>
                    <a:lnTo>
                      <a:pt x="278282" y="2437973"/>
                    </a:lnTo>
                    <a:close/>
                    <a:moveTo>
                      <a:pt x="759787" y="1564183"/>
                    </a:moveTo>
                    <a:lnTo>
                      <a:pt x="795192" y="1547189"/>
                    </a:lnTo>
                    <a:lnTo>
                      <a:pt x="809354" y="1585426"/>
                    </a:lnTo>
                    <a:lnTo>
                      <a:pt x="759787" y="1564183"/>
                    </a:lnTo>
                    <a:close/>
                    <a:moveTo>
                      <a:pt x="717301" y="1789357"/>
                    </a:moveTo>
                    <a:lnTo>
                      <a:pt x="755538" y="1748288"/>
                    </a:lnTo>
                    <a:lnTo>
                      <a:pt x="771116" y="1799270"/>
                    </a:lnTo>
                    <a:lnTo>
                      <a:pt x="717301" y="1789357"/>
                    </a:lnTo>
                    <a:close/>
                    <a:moveTo>
                      <a:pt x="626665" y="1708634"/>
                    </a:moveTo>
                    <a:lnTo>
                      <a:pt x="626665" y="1728461"/>
                    </a:lnTo>
                    <a:lnTo>
                      <a:pt x="621000" y="1710050"/>
                    </a:lnTo>
                    <a:lnTo>
                      <a:pt x="626665" y="1708634"/>
                    </a:lnTo>
                    <a:close/>
                    <a:moveTo>
                      <a:pt x="659237" y="1844589"/>
                    </a:moveTo>
                    <a:lnTo>
                      <a:pt x="628081" y="1844589"/>
                    </a:lnTo>
                    <a:lnTo>
                      <a:pt x="629497" y="1742623"/>
                    </a:lnTo>
                    <a:lnTo>
                      <a:pt x="659237" y="1844589"/>
                    </a:lnTo>
                    <a:close/>
                    <a:moveTo>
                      <a:pt x="562936" y="1846005"/>
                    </a:moveTo>
                    <a:lnTo>
                      <a:pt x="626665" y="1846005"/>
                    </a:lnTo>
                    <a:lnTo>
                      <a:pt x="625249" y="1935225"/>
                    </a:lnTo>
                    <a:lnTo>
                      <a:pt x="550190" y="1930976"/>
                    </a:lnTo>
                    <a:lnTo>
                      <a:pt x="562936" y="1846005"/>
                    </a:lnTo>
                    <a:close/>
                    <a:moveTo>
                      <a:pt x="421317" y="2178810"/>
                    </a:moveTo>
                    <a:lnTo>
                      <a:pt x="411404" y="2184474"/>
                    </a:lnTo>
                    <a:lnTo>
                      <a:pt x="411404" y="2167480"/>
                    </a:lnTo>
                    <a:lnTo>
                      <a:pt x="421317" y="2178810"/>
                    </a:lnTo>
                    <a:close/>
                    <a:moveTo>
                      <a:pt x="317935" y="2459215"/>
                    </a:moveTo>
                    <a:lnTo>
                      <a:pt x="305189" y="2483291"/>
                    </a:lnTo>
                    <a:lnTo>
                      <a:pt x="291027" y="2436556"/>
                    </a:lnTo>
                    <a:lnTo>
                      <a:pt x="336345" y="2435140"/>
                    </a:lnTo>
                    <a:lnTo>
                      <a:pt x="334929" y="2450718"/>
                    </a:lnTo>
                    <a:lnTo>
                      <a:pt x="317935" y="2459215"/>
                    </a:lnTo>
                    <a:close/>
                    <a:moveTo>
                      <a:pt x="305189" y="2486123"/>
                    </a:moveTo>
                    <a:lnTo>
                      <a:pt x="319351" y="2460632"/>
                    </a:lnTo>
                    <a:lnTo>
                      <a:pt x="336345" y="2452134"/>
                    </a:lnTo>
                    <a:lnTo>
                      <a:pt x="330681" y="2565430"/>
                    </a:lnTo>
                    <a:lnTo>
                      <a:pt x="305189" y="2486123"/>
                    </a:lnTo>
                    <a:close/>
                    <a:moveTo>
                      <a:pt x="453889" y="1640657"/>
                    </a:moveTo>
                    <a:lnTo>
                      <a:pt x="439727" y="1647738"/>
                    </a:lnTo>
                    <a:lnTo>
                      <a:pt x="375999" y="1613750"/>
                    </a:lnTo>
                    <a:lnTo>
                      <a:pt x="377415" y="1609501"/>
                    </a:lnTo>
                    <a:lnTo>
                      <a:pt x="453889" y="1640657"/>
                    </a:lnTo>
                    <a:close/>
                    <a:moveTo>
                      <a:pt x="438311" y="1157736"/>
                    </a:moveTo>
                    <a:lnTo>
                      <a:pt x="363253" y="1201638"/>
                    </a:lnTo>
                    <a:lnTo>
                      <a:pt x="418485" y="1152071"/>
                    </a:lnTo>
                    <a:lnTo>
                      <a:pt x="438311" y="1157736"/>
                    </a:lnTo>
                    <a:close/>
                    <a:moveTo>
                      <a:pt x="347675" y="1127996"/>
                    </a:moveTo>
                    <a:lnTo>
                      <a:pt x="240045" y="1037360"/>
                    </a:lnTo>
                    <a:lnTo>
                      <a:pt x="553023" y="1024614"/>
                    </a:lnTo>
                    <a:lnTo>
                      <a:pt x="418485" y="1149239"/>
                    </a:lnTo>
                    <a:lnTo>
                      <a:pt x="347675" y="1127996"/>
                    </a:lnTo>
                    <a:close/>
                    <a:moveTo>
                      <a:pt x="419901" y="1149239"/>
                    </a:moveTo>
                    <a:lnTo>
                      <a:pt x="555855" y="1024614"/>
                    </a:lnTo>
                    <a:lnTo>
                      <a:pt x="674815" y="1018949"/>
                    </a:lnTo>
                    <a:lnTo>
                      <a:pt x="441144" y="1154903"/>
                    </a:lnTo>
                    <a:lnTo>
                      <a:pt x="419901" y="1149239"/>
                    </a:lnTo>
                    <a:close/>
                    <a:moveTo>
                      <a:pt x="326432" y="747041"/>
                    </a:moveTo>
                    <a:lnTo>
                      <a:pt x="283946" y="799440"/>
                    </a:lnTo>
                    <a:lnTo>
                      <a:pt x="169235" y="782445"/>
                    </a:lnTo>
                    <a:lnTo>
                      <a:pt x="159322" y="731462"/>
                    </a:lnTo>
                    <a:lnTo>
                      <a:pt x="223050" y="694641"/>
                    </a:lnTo>
                    <a:lnTo>
                      <a:pt x="326432" y="747041"/>
                    </a:lnTo>
                    <a:close/>
                    <a:moveTo>
                      <a:pt x="1069933" y="667734"/>
                    </a:moveTo>
                    <a:lnTo>
                      <a:pt x="1079846" y="632329"/>
                    </a:lnTo>
                    <a:lnTo>
                      <a:pt x="1079846" y="664902"/>
                    </a:lnTo>
                    <a:lnTo>
                      <a:pt x="1069933" y="667734"/>
                    </a:lnTo>
                    <a:close/>
                    <a:moveTo>
                      <a:pt x="1135078" y="809353"/>
                    </a:moveTo>
                    <a:lnTo>
                      <a:pt x="1126580" y="679064"/>
                    </a:lnTo>
                    <a:lnTo>
                      <a:pt x="1327679" y="663486"/>
                    </a:lnTo>
                    <a:lnTo>
                      <a:pt x="1239876" y="790943"/>
                    </a:lnTo>
                    <a:lnTo>
                      <a:pt x="1135078" y="809353"/>
                    </a:lnTo>
                    <a:close/>
                    <a:moveTo>
                      <a:pt x="1082679" y="965134"/>
                    </a:moveTo>
                    <a:lnTo>
                      <a:pt x="1082679" y="680480"/>
                    </a:lnTo>
                    <a:lnTo>
                      <a:pt x="1125164" y="677647"/>
                    </a:lnTo>
                    <a:lnTo>
                      <a:pt x="1133661" y="810769"/>
                    </a:lnTo>
                    <a:lnTo>
                      <a:pt x="1133661" y="810769"/>
                    </a:lnTo>
                    <a:lnTo>
                      <a:pt x="1238460" y="793775"/>
                    </a:lnTo>
                    <a:lnTo>
                      <a:pt x="1118083" y="969383"/>
                    </a:lnTo>
                    <a:lnTo>
                      <a:pt x="1082679" y="965134"/>
                    </a:lnTo>
                    <a:close/>
                    <a:moveTo>
                      <a:pt x="1082679" y="1000539"/>
                    </a:moveTo>
                    <a:lnTo>
                      <a:pt x="1082679" y="967967"/>
                    </a:lnTo>
                    <a:lnTo>
                      <a:pt x="1115251" y="970799"/>
                    </a:lnTo>
                    <a:lnTo>
                      <a:pt x="1095424" y="1000539"/>
                    </a:lnTo>
                    <a:lnTo>
                      <a:pt x="1082679" y="1000539"/>
                    </a:lnTo>
                    <a:close/>
                    <a:moveTo>
                      <a:pt x="1094008" y="1001955"/>
                    </a:moveTo>
                    <a:lnTo>
                      <a:pt x="1082679" y="1018949"/>
                    </a:lnTo>
                    <a:lnTo>
                      <a:pt x="1082679" y="1003371"/>
                    </a:lnTo>
                    <a:lnTo>
                      <a:pt x="1094008" y="1001955"/>
                    </a:lnTo>
                    <a:close/>
                    <a:moveTo>
                      <a:pt x="1156320" y="642243"/>
                    </a:moveTo>
                    <a:lnTo>
                      <a:pt x="1125164" y="652156"/>
                    </a:lnTo>
                    <a:lnTo>
                      <a:pt x="1119499" y="554439"/>
                    </a:lnTo>
                    <a:lnTo>
                      <a:pt x="1156320" y="642243"/>
                    </a:lnTo>
                    <a:close/>
                    <a:moveTo>
                      <a:pt x="1081262" y="666318"/>
                    </a:moveTo>
                    <a:lnTo>
                      <a:pt x="1122332" y="653572"/>
                    </a:lnTo>
                    <a:lnTo>
                      <a:pt x="1123748" y="676231"/>
                    </a:lnTo>
                    <a:lnTo>
                      <a:pt x="1081262" y="679064"/>
                    </a:lnTo>
                    <a:lnTo>
                      <a:pt x="1081262" y="666318"/>
                    </a:lnTo>
                    <a:close/>
                    <a:moveTo>
                      <a:pt x="735712" y="1504703"/>
                    </a:moveTo>
                    <a:lnTo>
                      <a:pt x="793775" y="1545772"/>
                    </a:lnTo>
                    <a:lnTo>
                      <a:pt x="793775" y="1547189"/>
                    </a:lnTo>
                    <a:lnTo>
                      <a:pt x="755538" y="1564183"/>
                    </a:lnTo>
                    <a:lnTo>
                      <a:pt x="680480" y="1531610"/>
                    </a:lnTo>
                    <a:lnTo>
                      <a:pt x="735712" y="1504703"/>
                    </a:lnTo>
                    <a:close/>
                    <a:moveTo>
                      <a:pt x="231547" y="361837"/>
                    </a:moveTo>
                    <a:lnTo>
                      <a:pt x="309438" y="425565"/>
                    </a:lnTo>
                    <a:lnTo>
                      <a:pt x="186229" y="509121"/>
                    </a:lnTo>
                    <a:lnTo>
                      <a:pt x="142327" y="445392"/>
                    </a:lnTo>
                    <a:lnTo>
                      <a:pt x="231547" y="361837"/>
                    </a:lnTo>
                    <a:close/>
                    <a:moveTo>
                      <a:pt x="275449" y="317935"/>
                    </a:moveTo>
                    <a:lnTo>
                      <a:pt x="232964" y="357588"/>
                    </a:lnTo>
                    <a:lnTo>
                      <a:pt x="186229" y="319351"/>
                    </a:lnTo>
                    <a:lnTo>
                      <a:pt x="200391" y="293860"/>
                    </a:lnTo>
                    <a:lnTo>
                      <a:pt x="275449" y="317935"/>
                    </a:lnTo>
                    <a:close/>
                    <a:moveTo>
                      <a:pt x="476549" y="157905"/>
                    </a:moveTo>
                    <a:lnTo>
                      <a:pt x="561520" y="74350"/>
                    </a:lnTo>
                    <a:lnTo>
                      <a:pt x="511953" y="169235"/>
                    </a:lnTo>
                    <a:lnTo>
                      <a:pt x="476549" y="157905"/>
                    </a:lnTo>
                    <a:close/>
                    <a:moveTo>
                      <a:pt x="487878" y="220218"/>
                    </a:moveTo>
                    <a:lnTo>
                      <a:pt x="513369" y="172067"/>
                    </a:lnTo>
                    <a:lnTo>
                      <a:pt x="732879" y="244293"/>
                    </a:lnTo>
                    <a:lnTo>
                      <a:pt x="487878" y="220218"/>
                    </a:lnTo>
                    <a:close/>
                    <a:moveTo>
                      <a:pt x="762619" y="633745"/>
                    </a:moveTo>
                    <a:lnTo>
                      <a:pt x="762619" y="633745"/>
                    </a:lnTo>
                    <a:lnTo>
                      <a:pt x="962302" y="690393"/>
                    </a:lnTo>
                    <a:lnTo>
                      <a:pt x="962302" y="690393"/>
                    </a:lnTo>
                    <a:lnTo>
                      <a:pt x="1004788" y="687560"/>
                    </a:lnTo>
                    <a:lnTo>
                      <a:pt x="727214" y="771116"/>
                    </a:lnTo>
                    <a:lnTo>
                      <a:pt x="571433" y="640826"/>
                    </a:lnTo>
                    <a:lnTo>
                      <a:pt x="735712" y="662069"/>
                    </a:lnTo>
                    <a:lnTo>
                      <a:pt x="737128" y="662069"/>
                    </a:lnTo>
                    <a:lnTo>
                      <a:pt x="536029" y="541693"/>
                    </a:lnTo>
                    <a:lnTo>
                      <a:pt x="536029" y="541693"/>
                    </a:lnTo>
                    <a:lnTo>
                      <a:pt x="545942" y="618167"/>
                    </a:lnTo>
                    <a:lnTo>
                      <a:pt x="465219" y="551607"/>
                    </a:lnTo>
                    <a:lnTo>
                      <a:pt x="621000" y="459554"/>
                    </a:lnTo>
                    <a:lnTo>
                      <a:pt x="662069" y="490710"/>
                    </a:lnTo>
                    <a:lnTo>
                      <a:pt x="662069" y="490710"/>
                    </a:lnTo>
                    <a:lnTo>
                      <a:pt x="669150" y="431230"/>
                    </a:lnTo>
                    <a:lnTo>
                      <a:pt x="725798" y="397241"/>
                    </a:lnTo>
                    <a:lnTo>
                      <a:pt x="795192" y="418484"/>
                    </a:lnTo>
                    <a:lnTo>
                      <a:pt x="795192" y="418484"/>
                    </a:lnTo>
                    <a:lnTo>
                      <a:pt x="795192" y="407155"/>
                    </a:lnTo>
                    <a:lnTo>
                      <a:pt x="887244" y="452473"/>
                    </a:lnTo>
                    <a:lnTo>
                      <a:pt x="762619" y="633745"/>
                    </a:lnTo>
                    <a:close/>
                    <a:moveTo>
                      <a:pt x="987794" y="956637"/>
                    </a:moveTo>
                    <a:lnTo>
                      <a:pt x="1064268" y="683312"/>
                    </a:lnTo>
                    <a:lnTo>
                      <a:pt x="1078430" y="681896"/>
                    </a:lnTo>
                    <a:lnTo>
                      <a:pt x="1078430" y="965134"/>
                    </a:lnTo>
                    <a:lnTo>
                      <a:pt x="987794" y="956637"/>
                    </a:lnTo>
                    <a:close/>
                    <a:moveTo>
                      <a:pt x="738544" y="1503287"/>
                    </a:moveTo>
                    <a:lnTo>
                      <a:pt x="772532" y="1486292"/>
                    </a:lnTo>
                    <a:lnTo>
                      <a:pt x="793775" y="1541524"/>
                    </a:lnTo>
                    <a:lnTo>
                      <a:pt x="738544" y="1503287"/>
                    </a:lnTo>
                    <a:close/>
                    <a:moveTo>
                      <a:pt x="754122" y="1564183"/>
                    </a:moveTo>
                    <a:lnTo>
                      <a:pt x="703139" y="1586842"/>
                    </a:lnTo>
                    <a:lnTo>
                      <a:pt x="649324" y="1547189"/>
                    </a:lnTo>
                    <a:lnTo>
                      <a:pt x="679064" y="1533027"/>
                    </a:lnTo>
                    <a:lnTo>
                      <a:pt x="754122" y="1564183"/>
                    </a:lnTo>
                    <a:close/>
                    <a:moveTo>
                      <a:pt x="558688" y="1544356"/>
                    </a:moveTo>
                    <a:lnTo>
                      <a:pt x="550190" y="1593923"/>
                    </a:lnTo>
                    <a:lnTo>
                      <a:pt x="458138" y="1639241"/>
                    </a:lnTo>
                    <a:lnTo>
                      <a:pt x="380247" y="1608085"/>
                    </a:lnTo>
                    <a:lnTo>
                      <a:pt x="429814" y="1500454"/>
                    </a:lnTo>
                    <a:lnTo>
                      <a:pt x="558688" y="1544356"/>
                    </a:lnTo>
                    <a:close/>
                    <a:moveTo>
                      <a:pt x="299525" y="101258"/>
                    </a:moveTo>
                    <a:lnTo>
                      <a:pt x="265536" y="164986"/>
                    </a:lnTo>
                    <a:lnTo>
                      <a:pt x="264120" y="89928"/>
                    </a:lnTo>
                    <a:lnTo>
                      <a:pt x="299525" y="101258"/>
                    </a:lnTo>
                    <a:close/>
                    <a:moveTo>
                      <a:pt x="346259" y="724382"/>
                    </a:moveTo>
                    <a:lnTo>
                      <a:pt x="346259" y="738543"/>
                    </a:lnTo>
                    <a:lnTo>
                      <a:pt x="340594" y="731462"/>
                    </a:lnTo>
                    <a:lnTo>
                      <a:pt x="346259" y="724382"/>
                    </a:lnTo>
                    <a:close/>
                    <a:moveTo>
                      <a:pt x="329265" y="745624"/>
                    </a:moveTo>
                    <a:lnTo>
                      <a:pt x="339178" y="732879"/>
                    </a:lnTo>
                    <a:lnTo>
                      <a:pt x="346259" y="742792"/>
                    </a:lnTo>
                    <a:lnTo>
                      <a:pt x="346259" y="754122"/>
                    </a:lnTo>
                    <a:lnTo>
                      <a:pt x="329265" y="745624"/>
                    </a:lnTo>
                    <a:close/>
                    <a:moveTo>
                      <a:pt x="568601" y="640826"/>
                    </a:moveTo>
                    <a:lnTo>
                      <a:pt x="725798" y="772532"/>
                    </a:lnTo>
                    <a:lnTo>
                      <a:pt x="571433" y="819266"/>
                    </a:lnTo>
                    <a:lnTo>
                      <a:pt x="548774" y="639410"/>
                    </a:lnTo>
                    <a:lnTo>
                      <a:pt x="568601" y="640826"/>
                    </a:lnTo>
                    <a:close/>
                    <a:moveTo>
                      <a:pt x="528948" y="833428"/>
                    </a:moveTo>
                    <a:lnTo>
                      <a:pt x="570017" y="820683"/>
                    </a:lnTo>
                    <a:lnTo>
                      <a:pt x="572850" y="839093"/>
                    </a:lnTo>
                    <a:lnTo>
                      <a:pt x="528948" y="833428"/>
                    </a:lnTo>
                    <a:close/>
                    <a:moveTo>
                      <a:pt x="360421" y="764035"/>
                    </a:moveTo>
                    <a:lnTo>
                      <a:pt x="394409" y="813602"/>
                    </a:lnTo>
                    <a:lnTo>
                      <a:pt x="344843" y="806521"/>
                    </a:lnTo>
                    <a:lnTo>
                      <a:pt x="346259" y="756954"/>
                    </a:lnTo>
                    <a:lnTo>
                      <a:pt x="360421" y="764035"/>
                    </a:lnTo>
                    <a:close/>
                    <a:moveTo>
                      <a:pt x="357588" y="761203"/>
                    </a:moveTo>
                    <a:lnTo>
                      <a:pt x="346259" y="755538"/>
                    </a:lnTo>
                    <a:lnTo>
                      <a:pt x="346259" y="745624"/>
                    </a:lnTo>
                    <a:lnTo>
                      <a:pt x="357588" y="761203"/>
                    </a:lnTo>
                    <a:close/>
                    <a:moveTo>
                      <a:pt x="356172" y="462386"/>
                    </a:moveTo>
                    <a:lnTo>
                      <a:pt x="500624" y="370334"/>
                    </a:lnTo>
                    <a:lnTo>
                      <a:pt x="540277" y="400074"/>
                    </a:lnTo>
                    <a:lnTo>
                      <a:pt x="421317" y="516202"/>
                    </a:lnTo>
                    <a:lnTo>
                      <a:pt x="356172" y="462386"/>
                    </a:lnTo>
                    <a:close/>
                    <a:moveTo>
                      <a:pt x="623832" y="320767"/>
                    </a:moveTo>
                    <a:lnTo>
                      <a:pt x="684729" y="261287"/>
                    </a:lnTo>
                    <a:lnTo>
                      <a:pt x="676231" y="346259"/>
                    </a:lnTo>
                    <a:lnTo>
                      <a:pt x="623832" y="320767"/>
                    </a:lnTo>
                    <a:close/>
                    <a:moveTo>
                      <a:pt x="666318" y="432646"/>
                    </a:moveTo>
                    <a:lnTo>
                      <a:pt x="660653" y="487878"/>
                    </a:lnTo>
                    <a:lnTo>
                      <a:pt x="622416" y="458138"/>
                    </a:lnTo>
                    <a:lnTo>
                      <a:pt x="666318" y="432646"/>
                    </a:lnTo>
                    <a:close/>
                    <a:moveTo>
                      <a:pt x="727214" y="659237"/>
                    </a:moveTo>
                    <a:lnTo>
                      <a:pt x="568601" y="637994"/>
                    </a:lnTo>
                    <a:lnTo>
                      <a:pt x="545942" y="619584"/>
                    </a:lnTo>
                    <a:lnTo>
                      <a:pt x="536029" y="544526"/>
                    </a:lnTo>
                    <a:lnTo>
                      <a:pt x="727214" y="659237"/>
                    </a:lnTo>
                    <a:close/>
                    <a:moveTo>
                      <a:pt x="353340" y="538860"/>
                    </a:moveTo>
                    <a:lnTo>
                      <a:pt x="354756" y="463803"/>
                    </a:lnTo>
                    <a:lnTo>
                      <a:pt x="421317" y="519034"/>
                    </a:lnTo>
                    <a:lnTo>
                      <a:pt x="388745" y="551607"/>
                    </a:lnTo>
                    <a:lnTo>
                      <a:pt x="353340" y="538860"/>
                    </a:lnTo>
                    <a:close/>
                    <a:moveTo>
                      <a:pt x="548774" y="340594"/>
                    </a:moveTo>
                    <a:lnTo>
                      <a:pt x="596925" y="309438"/>
                    </a:lnTo>
                    <a:lnTo>
                      <a:pt x="621000" y="322183"/>
                    </a:lnTo>
                    <a:lnTo>
                      <a:pt x="589844" y="353340"/>
                    </a:lnTo>
                    <a:lnTo>
                      <a:pt x="548774" y="340594"/>
                    </a:lnTo>
                    <a:close/>
                    <a:moveTo>
                      <a:pt x="618168" y="458138"/>
                    </a:moveTo>
                    <a:lnTo>
                      <a:pt x="462387" y="550190"/>
                    </a:lnTo>
                    <a:lnTo>
                      <a:pt x="424150" y="517618"/>
                    </a:lnTo>
                    <a:lnTo>
                      <a:pt x="543110" y="401490"/>
                    </a:lnTo>
                    <a:lnTo>
                      <a:pt x="618168" y="458138"/>
                    </a:lnTo>
                    <a:close/>
                    <a:moveTo>
                      <a:pt x="462387" y="553022"/>
                    </a:moveTo>
                    <a:lnTo>
                      <a:pt x="544526" y="622416"/>
                    </a:lnTo>
                    <a:lnTo>
                      <a:pt x="545942" y="636578"/>
                    </a:lnTo>
                    <a:lnTo>
                      <a:pt x="428398" y="621000"/>
                    </a:lnTo>
                    <a:lnTo>
                      <a:pt x="428398" y="621000"/>
                    </a:lnTo>
                    <a:lnTo>
                      <a:pt x="347675" y="720133"/>
                    </a:lnTo>
                    <a:lnTo>
                      <a:pt x="350507" y="619584"/>
                    </a:lnTo>
                    <a:lnTo>
                      <a:pt x="462387" y="553022"/>
                    </a:lnTo>
                    <a:close/>
                    <a:moveTo>
                      <a:pt x="460970" y="551607"/>
                    </a:moveTo>
                    <a:lnTo>
                      <a:pt x="351924" y="615335"/>
                    </a:lnTo>
                    <a:lnTo>
                      <a:pt x="353340" y="540277"/>
                    </a:lnTo>
                    <a:lnTo>
                      <a:pt x="388745" y="553022"/>
                    </a:lnTo>
                    <a:lnTo>
                      <a:pt x="388745" y="553022"/>
                    </a:lnTo>
                    <a:lnTo>
                      <a:pt x="422733" y="519034"/>
                    </a:lnTo>
                    <a:lnTo>
                      <a:pt x="460970" y="551607"/>
                    </a:lnTo>
                    <a:close/>
                    <a:moveTo>
                      <a:pt x="278282" y="511953"/>
                    </a:moveTo>
                    <a:lnTo>
                      <a:pt x="351924" y="465219"/>
                    </a:lnTo>
                    <a:lnTo>
                      <a:pt x="350507" y="538860"/>
                    </a:lnTo>
                    <a:lnTo>
                      <a:pt x="278282" y="511953"/>
                    </a:lnTo>
                    <a:close/>
                    <a:moveTo>
                      <a:pt x="565769" y="637994"/>
                    </a:moveTo>
                    <a:lnTo>
                      <a:pt x="550190" y="635162"/>
                    </a:lnTo>
                    <a:lnTo>
                      <a:pt x="548774" y="622416"/>
                    </a:lnTo>
                    <a:lnTo>
                      <a:pt x="565769" y="637994"/>
                    </a:lnTo>
                    <a:close/>
                    <a:moveTo>
                      <a:pt x="621000" y="458138"/>
                    </a:moveTo>
                    <a:lnTo>
                      <a:pt x="544526" y="400074"/>
                    </a:lnTo>
                    <a:lnTo>
                      <a:pt x="589844" y="356172"/>
                    </a:lnTo>
                    <a:lnTo>
                      <a:pt x="671983" y="381664"/>
                    </a:lnTo>
                    <a:lnTo>
                      <a:pt x="666318" y="431230"/>
                    </a:lnTo>
                    <a:lnTo>
                      <a:pt x="621000" y="458138"/>
                    </a:lnTo>
                    <a:close/>
                    <a:moveTo>
                      <a:pt x="591260" y="353340"/>
                    </a:moveTo>
                    <a:lnTo>
                      <a:pt x="622416" y="322183"/>
                    </a:lnTo>
                    <a:lnTo>
                      <a:pt x="674815" y="347675"/>
                    </a:lnTo>
                    <a:lnTo>
                      <a:pt x="671983" y="377415"/>
                    </a:lnTo>
                    <a:lnTo>
                      <a:pt x="591260" y="353340"/>
                    </a:lnTo>
                    <a:close/>
                    <a:moveTo>
                      <a:pt x="587012" y="354756"/>
                    </a:moveTo>
                    <a:lnTo>
                      <a:pt x="541693" y="398658"/>
                    </a:lnTo>
                    <a:lnTo>
                      <a:pt x="502040" y="368918"/>
                    </a:lnTo>
                    <a:lnTo>
                      <a:pt x="544526" y="342010"/>
                    </a:lnTo>
                    <a:lnTo>
                      <a:pt x="587012" y="354756"/>
                    </a:lnTo>
                    <a:close/>
                    <a:moveTo>
                      <a:pt x="349091" y="722965"/>
                    </a:moveTo>
                    <a:lnTo>
                      <a:pt x="429814" y="622416"/>
                    </a:lnTo>
                    <a:lnTo>
                      <a:pt x="547358" y="637994"/>
                    </a:lnTo>
                    <a:lnTo>
                      <a:pt x="570017" y="819266"/>
                    </a:lnTo>
                    <a:lnTo>
                      <a:pt x="524699" y="833428"/>
                    </a:lnTo>
                    <a:lnTo>
                      <a:pt x="489294" y="827764"/>
                    </a:lnTo>
                    <a:lnTo>
                      <a:pt x="361837" y="762619"/>
                    </a:lnTo>
                    <a:lnTo>
                      <a:pt x="347675" y="742792"/>
                    </a:lnTo>
                    <a:lnTo>
                      <a:pt x="349091" y="722965"/>
                    </a:lnTo>
                    <a:close/>
                    <a:moveTo>
                      <a:pt x="722966" y="397241"/>
                    </a:moveTo>
                    <a:lnTo>
                      <a:pt x="669150" y="429814"/>
                    </a:lnTo>
                    <a:lnTo>
                      <a:pt x="674815" y="383079"/>
                    </a:lnTo>
                    <a:lnTo>
                      <a:pt x="722966" y="397241"/>
                    </a:lnTo>
                    <a:close/>
                    <a:moveTo>
                      <a:pt x="543110" y="340594"/>
                    </a:moveTo>
                    <a:lnTo>
                      <a:pt x="500624" y="367502"/>
                    </a:lnTo>
                    <a:lnTo>
                      <a:pt x="411404" y="299524"/>
                    </a:lnTo>
                    <a:lnTo>
                      <a:pt x="543110" y="340594"/>
                    </a:lnTo>
                    <a:close/>
                    <a:moveTo>
                      <a:pt x="327848" y="271200"/>
                    </a:moveTo>
                    <a:lnTo>
                      <a:pt x="357588" y="242877"/>
                    </a:lnTo>
                    <a:lnTo>
                      <a:pt x="356172" y="279698"/>
                    </a:lnTo>
                    <a:lnTo>
                      <a:pt x="327848" y="271200"/>
                    </a:lnTo>
                    <a:close/>
                    <a:moveTo>
                      <a:pt x="407155" y="360421"/>
                    </a:moveTo>
                    <a:lnTo>
                      <a:pt x="356172" y="394409"/>
                    </a:lnTo>
                    <a:lnTo>
                      <a:pt x="357588" y="344843"/>
                    </a:lnTo>
                    <a:lnTo>
                      <a:pt x="407155" y="360421"/>
                    </a:lnTo>
                    <a:close/>
                    <a:moveTo>
                      <a:pt x="357588" y="282530"/>
                    </a:moveTo>
                    <a:lnTo>
                      <a:pt x="356172" y="342010"/>
                    </a:lnTo>
                    <a:lnTo>
                      <a:pt x="279698" y="317935"/>
                    </a:lnTo>
                    <a:lnTo>
                      <a:pt x="326432" y="274033"/>
                    </a:lnTo>
                    <a:lnTo>
                      <a:pt x="357588" y="282530"/>
                    </a:lnTo>
                    <a:close/>
                    <a:moveTo>
                      <a:pt x="354756" y="397241"/>
                    </a:moveTo>
                    <a:lnTo>
                      <a:pt x="353340" y="458138"/>
                    </a:lnTo>
                    <a:lnTo>
                      <a:pt x="313687" y="425565"/>
                    </a:lnTo>
                    <a:lnTo>
                      <a:pt x="354756" y="397241"/>
                    </a:lnTo>
                    <a:close/>
                    <a:moveTo>
                      <a:pt x="354756" y="460970"/>
                    </a:moveTo>
                    <a:lnTo>
                      <a:pt x="356172" y="397241"/>
                    </a:lnTo>
                    <a:lnTo>
                      <a:pt x="411404" y="360421"/>
                    </a:lnTo>
                    <a:lnTo>
                      <a:pt x="411404" y="360421"/>
                    </a:lnTo>
                    <a:lnTo>
                      <a:pt x="357588" y="343426"/>
                    </a:lnTo>
                    <a:lnTo>
                      <a:pt x="359005" y="283946"/>
                    </a:lnTo>
                    <a:lnTo>
                      <a:pt x="405739" y="298108"/>
                    </a:lnTo>
                    <a:lnTo>
                      <a:pt x="499207" y="368918"/>
                    </a:lnTo>
                    <a:lnTo>
                      <a:pt x="354756" y="460970"/>
                    </a:lnTo>
                    <a:close/>
                    <a:moveTo>
                      <a:pt x="356172" y="343426"/>
                    </a:moveTo>
                    <a:lnTo>
                      <a:pt x="354756" y="394409"/>
                    </a:lnTo>
                    <a:lnTo>
                      <a:pt x="310854" y="424149"/>
                    </a:lnTo>
                    <a:lnTo>
                      <a:pt x="232964" y="359004"/>
                    </a:lnTo>
                    <a:lnTo>
                      <a:pt x="276865" y="317935"/>
                    </a:lnTo>
                    <a:lnTo>
                      <a:pt x="356172" y="343426"/>
                    </a:lnTo>
                    <a:close/>
                    <a:moveTo>
                      <a:pt x="349091" y="619584"/>
                    </a:moveTo>
                    <a:lnTo>
                      <a:pt x="346259" y="721549"/>
                    </a:lnTo>
                    <a:lnTo>
                      <a:pt x="339178" y="730046"/>
                    </a:lnTo>
                    <a:lnTo>
                      <a:pt x="286779" y="654988"/>
                    </a:lnTo>
                    <a:lnTo>
                      <a:pt x="349091" y="619584"/>
                    </a:lnTo>
                    <a:close/>
                    <a:moveTo>
                      <a:pt x="398658" y="815018"/>
                    </a:moveTo>
                    <a:lnTo>
                      <a:pt x="364669" y="766867"/>
                    </a:lnTo>
                    <a:lnTo>
                      <a:pt x="482213" y="827764"/>
                    </a:lnTo>
                    <a:lnTo>
                      <a:pt x="398658" y="815018"/>
                    </a:lnTo>
                    <a:close/>
                    <a:moveTo>
                      <a:pt x="426982" y="856088"/>
                    </a:moveTo>
                    <a:lnTo>
                      <a:pt x="400074" y="817850"/>
                    </a:lnTo>
                    <a:lnTo>
                      <a:pt x="489294" y="830596"/>
                    </a:lnTo>
                    <a:lnTo>
                      <a:pt x="506288" y="839093"/>
                    </a:lnTo>
                    <a:lnTo>
                      <a:pt x="465219" y="851839"/>
                    </a:lnTo>
                    <a:lnTo>
                      <a:pt x="426982" y="856088"/>
                    </a:lnTo>
                    <a:close/>
                    <a:moveTo>
                      <a:pt x="674815" y="380247"/>
                    </a:moveTo>
                    <a:lnTo>
                      <a:pt x="677648" y="350507"/>
                    </a:lnTo>
                    <a:lnTo>
                      <a:pt x="745625" y="384496"/>
                    </a:lnTo>
                    <a:lnTo>
                      <a:pt x="725798" y="395826"/>
                    </a:lnTo>
                    <a:lnTo>
                      <a:pt x="674815" y="380247"/>
                    </a:lnTo>
                    <a:close/>
                    <a:moveTo>
                      <a:pt x="200391" y="292443"/>
                    </a:moveTo>
                    <a:lnTo>
                      <a:pt x="264120" y="172067"/>
                    </a:lnTo>
                    <a:lnTo>
                      <a:pt x="266952" y="254206"/>
                    </a:lnTo>
                    <a:lnTo>
                      <a:pt x="266952" y="254206"/>
                    </a:lnTo>
                    <a:lnTo>
                      <a:pt x="325016" y="272617"/>
                    </a:lnTo>
                    <a:lnTo>
                      <a:pt x="278282" y="316519"/>
                    </a:lnTo>
                    <a:lnTo>
                      <a:pt x="200391" y="292443"/>
                    </a:lnTo>
                    <a:close/>
                    <a:moveTo>
                      <a:pt x="310854" y="426981"/>
                    </a:moveTo>
                    <a:lnTo>
                      <a:pt x="353340" y="462386"/>
                    </a:lnTo>
                    <a:lnTo>
                      <a:pt x="275449" y="511953"/>
                    </a:lnTo>
                    <a:lnTo>
                      <a:pt x="275449" y="511953"/>
                    </a:lnTo>
                    <a:lnTo>
                      <a:pt x="351924" y="540277"/>
                    </a:lnTo>
                    <a:lnTo>
                      <a:pt x="350507" y="618167"/>
                    </a:lnTo>
                    <a:lnTo>
                      <a:pt x="288195" y="654988"/>
                    </a:lnTo>
                    <a:lnTo>
                      <a:pt x="189062" y="511953"/>
                    </a:lnTo>
                    <a:lnTo>
                      <a:pt x="310854" y="426981"/>
                    </a:lnTo>
                    <a:close/>
                    <a:moveTo>
                      <a:pt x="519034" y="834845"/>
                    </a:moveTo>
                    <a:lnTo>
                      <a:pt x="507705" y="837677"/>
                    </a:lnTo>
                    <a:lnTo>
                      <a:pt x="493543" y="830596"/>
                    </a:lnTo>
                    <a:lnTo>
                      <a:pt x="519034" y="834845"/>
                    </a:lnTo>
                    <a:close/>
                    <a:moveTo>
                      <a:pt x="510537" y="839093"/>
                    </a:moveTo>
                    <a:lnTo>
                      <a:pt x="524699" y="834845"/>
                    </a:lnTo>
                    <a:lnTo>
                      <a:pt x="572850" y="841926"/>
                    </a:lnTo>
                    <a:lnTo>
                      <a:pt x="577098" y="873082"/>
                    </a:lnTo>
                    <a:lnTo>
                      <a:pt x="510537" y="839093"/>
                    </a:lnTo>
                    <a:close/>
                    <a:moveTo>
                      <a:pt x="1016117" y="1001955"/>
                    </a:moveTo>
                    <a:lnTo>
                      <a:pt x="1016117" y="1001955"/>
                    </a:lnTo>
                    <a:lnTo>
                      <a:pt x="975048" y="1004788"/>
                    </a:lnTo>
                    <a:lnTo>
                      <a:pt x="980713" y="982128"/>
                    </a:lnTo>
                    <a:lnTo>
                      <a:pt x="1016117" y="1001955"/>
                    </a:lnTo>
                    <a:close/>
                    <a:moveTo>
                      <a:pt x="962302" y="1048689"/>
                    </a:moveTo>
                    <a:lnTo>
                      <a:pt x="973632" y="1007620"/>
                    </a:lnTo>
                    <a:lnTo>
                      <a:pt x="1011869" y="1006203"/>
                    </a:lnTo>
                    <a:lnTo>
                      <a:pt x="966551" y="1052938"/>
                    </a:lnTo>
                    <a:lnTo>
                      <a:pt x="962302" y="1048689"/>
                    </a:lnTo>
                    <a:close/>
                    <a:moveTo>
                      <a:pt x="938227" y="1132245"/>
                    </a:moveTo>
                    <a:lnTo>
                      <a:pt x="958054" y="1064267"/>
                    </a:lnTo>
                    <a:lnTo>
                      <a:pt x="966551" y="1055770"/>
                    </a:lnTo>
                    <a:lnTo>
                      <a:pt x="1055771" y="1140742"/>
                    </a:lnTo>
                    <a:lnTo>
                      <a:pt x="938227" y="1132245"/>
                    </a:lnTo>
                    <a:close/>
                    <a:moveTo>
                      <a:pt x="686145" y="1258286"/>
                    </a:moveTo>
                    <a:lnTo>
                      <a:pt x="697474" y="1288026"/>
                    </a:lnTo>
                    <a:lnTo>
                      <a:pt x="630913" y="1290858"/>
                    </a:lnTo>
                    <a:lnTo>
                      <a:pt x="686145" y="1258286"/>
                    </a:lnTo>
                    <a:close/>
                    <a:moveTo>
                      <a:pt x="745625" y="1014701"/>
                    </a:moveTo>
                    <a:lnTo>
                      <a:pt x="738544" y="994874"/>
                    </a:lnTo>
                    <a:lnTo>
                      <a:pt x="738544" y="994874"/>
                    </a:lnTo>
                    <a:lnTo>
                      <a:pt x="725798" y="1016117"/>
                    </a:lnTo>
                    <a:lnTo>
                      <a:pt x="680480" y="1017533"/>
                    </a:lnTo>
                    <a:lnTo>
                      <a:pt x="832012" y="928313"/>
                    </a:lnTo>
                    <a:lnTo>
                      <a:pt x="915568" y="1007620"/>
                    </a:lnTo>
                    <a:lnTo>
                      <a:pt x="745625" y="1014701"/>
                    </a:lnTo>
                    <a:close/>
                    <a:moveTo>
                      <a:pt x="959470" y="1060019"/>
                    </a:moveTo>
                    <a:lnTo>
                      <a:pt x="962302" y="1050105"/>
                    </a:lnTo>
                    <a:lnTo>
                      <a:pt x="965135" y="1052938"/>
                    </a:lnTo>
                    <a:lnTo>
                      <a:pt x="959470" y="1060019"/>
                    </a:lnTo>
                    <a:close/>
                    <a:moveTo>
                      <a:pt x="894325" y="1129412"/>
                    </a:moveTo>
                    <a:lnTo>
                      <a:pt x="955221" y="1067100"/>
                    </a:lnTo>
                    <a:lnTo>
                      <a:pt x="936811" y="1132245"/>
                    </a:lnTo>
                    <a:lnTo>
                      <a:pt x="894325" y="1129412"/>
                    </a:lnTo>
                    <a:close/>
                    <a:moveTo>
                      <a:pt x="894325" y="1282361"/>
                    </a:moveTo>
                    <a:lnTo>
                      <a:pt x="864585" y="1385743"/>
                    </a:lnTo>
                    <a:lnTo>
                      <a:pt x="832012" y="1283777"/>
                    </a:lnTo>
                    <a:lnTo>
                      <a:pt x="894325" y="1282361"/>
                    </a:lnTo>
                    <a:close/>
                    <a:moveTo>
                      <a:pt x="897157" y="1279529"/>
                    </a:moveTo>
                    <a:lnTo>
                      <a:pt x="904238" y="1252621"/>
                    </a:lnTo>
                    <a:lnTo>
                      <a:pt x="1040193" y="1273864"/>
                    </a:lnTo>
                    <a:lnTo>
                      <a:pt x="897157" y="1279529"/>
                    </a:lnTo>
                    <a:close/>
                    <a:moveTo>
                      <a:pt x="902822" y="1252621"/>
                    </a:moveTo>
                    <a:lnTo>
                      <a:pt x="895741" y="1279529"/>
                    </a:lnTo>
                    <a:lnTo>
                      <a:pt x="833429" y="1282361"/>
                    </a:lnTo>
                    <a:lnTo>
                      <a:pt x="819267" y="1238459"/>
                    </a:lnTo>
                    <a:lnTo>
                      <a:pt x="902822" y="1252621"/>
                    </a:lnTo>
                    <a:close/>
                    <a:moveTo>
                      <a:pt x="890076" y="1130829"/>
                    </a:moveTo>
                    <a:lnTo>
                      <a:pt x="890076" y="1130829"/>
                    </a:lnTo>
                    <a:lnTo>
                      <a:pt x="936811" y="1133661"/>
                    </a:lnTo>
                    <a:lnTo>
                      <a:pt x="904238" y="1249788"/>
                    </a:lnTo>
                    <a:lnTo>
                      <a:pt x="817851" y="1235627"/>
                    </a:lnTo>
                    <a:lnTo>
                      <a:pt x="747041" y="1016117"/>
                    </a:lnTo>
                    <a:lnTo>
                      <a:pt x="919817" y="1009036"/>
                    </a:lnTo>
                    <a:lnTo>
                      <a:pt x="960886" y="1047273"/>
                    </a:lnTo>
                    <a:lnTo>
                      <a:pt x="956637" y="1061435"/>
                    </a:lnTo>
                    <a:lnTo>
                      <a:pt x="890076" y="1130829"/>
                    </a:lnTo>
                    <a:close/>
                    <a:moveTo>
                      <a:pt x="922649" y="1009036"/>
                    </a:moveTo>
                    <a:lnTo>
                      <a:pt x="972216" y="1007620"/>
                    </a:lnTo>
                    <a:lnTo>
                      <a:pt x="960886" y="1045857"/>
                    </a:lnTo>
                    <a:lnTo>
                      <a:pt x="922649" y="1009036"/>
                    </a:lnTo>
                    <a:close/>
                    <a:moveTo>
                      <a:pt x="856088" y="915567"/>
                    </a:moveTo>
                    <a:lnTo>
                      <a:pt x="977880" y="982128"/>
                    </a:lnTo>
                    <a:lnTo>
                      <a:pt x="970799" y="1004788"/>
                    </a:lnTo>
                    <a:lnTo>
                      <a:pt x="918400" y="1007620"/>
                    </a:lnTo>
                    <a:lnTo>
                      <a:pt x="834845" y="928313"/>
                    </a:lnTo>
                    <a:lnTo>
                      <a:pt x="856088" y="915567"/>
                    </a:lnTo>
                    <a:close/>
                    <a:moveTo>
                      <a:pt x="730047" y="1016117"/>
                    </a:moveTo>
                    <a:lnTo>
                      <a:pt x="738544" y="1000539"/>
                    </a:lnTo>
                    <a:lnTo>
                      <a:pt x="744209" y="1016117"/>
                    </a:lnTo>
                    <a:lnTo>
                      <a:pt x="730047" y="1016117"/>
                    </a:lnTo>
                    <a:close/>
                    <a:moveTo>
                      <a:pt x="744209" y="1017533"/>
                    </a:moveTo>
                    <a:lnTo>
                      <a:pt x="815018" y="1237043"/>
                    </a:lnTo>
                    <a:lnTo>
                      <a:pt x="741376" y="1225713"/>
                    </a:lnTo>
                    <a:lnTo>
                      <a:pt x="741376" y="1225713"/>
                    </a:lnTo>
                    <a:lnTo>
                      <a:pt x="687561" y="1256869"/>
                    </a:lnTo>
                    <a:lnTo>
                      <a:pt x="650740" y="1157736"/>
                    </a:lnTo>
                    <a:lnTo>
                      <a:pt x="728631" y="1018949"/>
                    </a:lnTo>
                    <a:lnTo>
                      <a:pt x="744209" y="1017533"/>
                    </a:lnTo>
                    <a:close/>
                    <a:moveTo>
                      <a:pt x="742793" y="1227129"/>
                    </a:moveTo>
                    <a:lnTo>
                      <a:pt x="816434" y="1238459"/>
                    </a:lnTo>
                    <a:lnTo>
                      <a:pt x="830596" y="1282361"/>
                    </a:lnTo>
                    <a:lnTo>
                      <a:pt x="700307" y="1288026"/>
                    </a:lnTo>
                    <a:lnTo>
                      <a:pt x="688977" y="1258286"/>
                    </a:lnTo>
                    <a:lnTo>
                      <a:pt x="742793" y="1227129"/>
                    </a:lnTo>
                    <a:close/>
                    <a:moveTo>
                      <a:pt x="686145" y="1256869"/>
                    </a:moveTo>
                    <a:lnTo>
                      <a:pt x="626665" y="1290858"/>
                    </a:lnTo>
                    <a:lnTo>
                      <a:pt x="605422" y="1292274"/>
                    </a:lnTo>
                    <a:lnTo>
                      <a:pt x="619584" y="1211551"/>
                    </a:lnTo>
                    <a:lnTo>
                      <a:pt x="649324" y="1159152"/>
                    </a:lnTo>
                    <a:lnTo>
                      <a:pt x="686145" y="1256869"/>
                    </a:lnTo>
                    <a:close/>
                    <a:moveTo>
                      <a:pt x="602590" y="1306436"/>
                    </a:moveTo>
                    <a:lnTo>
                      <a:pt x="626665" y="1292274"/>
                    </a:lnTo>
                    <a:lnTo>
                      <a:pt x="698891" y="1289442"/>
                    </a:lnTo>
                    <a:lnTo>
                      <a:pt x="771116" y="1484876"/>
                    </a:lnTo>
                    <a:lnTo>
                      <a:pt x="735712" y="1501870"/>
                    </a:lnTo>
                    <a:lnTo>
                      <a:pt x="585595" y="1395656"/>
                    </a:lnTo>
                    <a:lnTo>
                      <a:pt x="602590" y="1306436"/>
                    </a:lnTo>
                    <a:close/>
                    <a:moveTo>
                      <a:pt x="1017534" y="1003371"/>
                    </a:moveTo>
                    <a:lnTo>
                      <a:pt x="1018950" y="1001955"/>
                    </a:lnTo>
                    <a:lnTo>
                      <a:pt x="980713" y="982128"/>
                    </a:lnTo>
                    <a:lnTo>
                      <a:pt x="987794" y="958053"/>
                    </a:lnTo>
                    <a:lnTo>
                      <a:pt x="1079846" y="967967"/>
                    </a:lnTo>
                    <a:lnTo>
                      <a:pt x="1079846" y="1001955"/>
                    </a:lnTo>
                    <a:lnTo>
                      <a:pt x="1017534" y="1003371"/>
                    </a:lnTo>
                    <a:close/>
                    <a:moveTo>
                      <a:pt x="728631" y="773948"/>
                    </a:moveTo>
                    <a:lnTo>
                      <a:pt x="945308" y="953805"/>
                    </a:lnTo>
                    <a:lnTo>
                      <a:pt x="945308" y="953805"/>
                    </a:lnTo>
                    <a:lnTo>
                      <a:pt x="986377" y="958053"/>
                    </a:lnTo>
                    <a:lnTo>
                      <a:pt x="979296" y="980712"/>
                    </a:lnTo>
                    <a:lnTo>
                      <a:pt x="856088" y="914151"/>
                    </a:lnTo>
                    <a:lnTo>
                      <a:pt x="856088" y="914151"/>
                    </a:lnTo>
                    <a:lnTo>
                      <a:pt x="833429" y="926897"/>
                    </a:lnTo>
                    <a:lnTo>
                      <a:pt x="772532" y="868833"/>
                    </a:lnTo>
                    <a:lnTo>
                      <a:pt x="772532" y="868833"/>
                    </a:lnTo>
                    <a:lnTo>
                      <a:pt x="574266" y="840509"/>
                    </a:lnTo>
                    <a:lnTo>
                      <a:pt x="571433" y="820683"/>
                    </a:lnTo>
                    <a:lnTo>
                      <a:pt x="728631" y="773948"/>
                    </a:lnTo>
                    <a:close/>
                    <a:moveTo>
                      <a:pt x="725798" y="1017533"/>
                    </a:moveTo>
                    <a:lnTo>
                      <a:pt x="649324" y="1153488"/>
                    </a:lnTo>
                    <a:lnTo>
                      <a:pt x="619584" y="1075597"/>
                    </a:lnTo>
                    <a:lnTo>
                      <a:pt x="619584" y="1075597"/>
                    </a:lnTo>
                    <a:lnTo>
                      <a:pt x="565769" y="1194557"/>
                    </a:lnTo>
                    <a:lnTo>
                      <a:pt x="443976" y="1157736"/>
                    </a:lnTo>
                    <a:lnTo>
                      <a:pt x="679064" y="1020365"/>
                    </a:lnTo>
                    <a:lnTo>
                      <a:pt x="725798" y="1017533"/>
                    </a:lnTo>
                    <a:close/>
                    <a:moveTo>
                      <a:pt x="622416" y="1293690"/>
                    </a:moveTo>
                    <a:lnTo>
                      <a:pt x="602590" y="1305020"/>
                    </a:lnTo>
                    <a:lnTo>
                      <a:pt x="604006" y="1295107"/>
                    </a:lnTo>
                    <a:lnTo>
                      <a:pt x="622416" y="1293690"/>
                    </a:lnTo>
                    <a:close/>
                    <a:moveTo>
                      <a:pt x="657821" y="1608085"/>
                    </a:moveTo>
                    <a:lnTo>
                      <a:pt x="599757" y="1634993"/>
                    </a:lnTo>
                    <a:lnTo>
                      <a:pt x="596925" y="1623663"/>
                    </a:lnTo>
                    <a:lnTo>
                      <a:pt x="657821" y="1608085"/>
                    </a:lnTo>
                    <a:close/>
                    <a:moveTo>
                      <a:pt x="459554" y="1640657"/>
                    </a:moveTo>
                    <a:lnTo>
                      <a:pt x="548774" y="1596755"/>
                    </a:lnTo>
                    <a:lnTo>
                      <a:pt x="541693" y="1634993"/>
                    </a:lnTo>
                    <a:lnTo>
                      <a:pt x="482213" y="1649154"/>
                    </a:lnTo>
                    <a:lnTo>
                      <a:pt x="459554" y="1640657"/>
                    </a:lnTo>
                    <a:close/>
                    <a:moveTo>
                      <a:pt x="451057" y="1300771"/>
                    </a:moveTo>
                    <a:lnTo>
                      <a:pt x="519034" y="1297939"/>
                    </a:lnTo>
                    <a:lnTo>
                      <a:pt x="502040" y="1336176"/>
                    </a:lnTo>
                    <a:lnTo>
                      <a:pt x="451057" y="1300771"/>
                    </a:lnTo>
                    <a:close/>
                    <a:moveTo>
                      <a:pt x="594092" y="1625079"/>
                    </a:moveTo>
                    <a:lnTo>
                      <a:pt x="596925" y="1636408"/>
                    </a:lnTo>
                    <a:lnTo>
                      <a:pt x="538861" y="1663316"/>
                    </a:lnTo>
                    <a:lnTo>
                      <a:pt x="543110" y="1637825"/>
                    </a:lnTo>
                    <a:lnTo>
                      <a:pt x="594092" y="1625079"/>
                    </a:lnTo>
                    <a:close/>
                    <a:moveTo>
                      <a:pt x="483629" y="1374413"/>
                    </a:moveTo>
                    <a:lnTo>
                      <a:pt x="456722" y="1433893"/>
                    </a:lnTo>
                    <a:lnTo>
                      <a:pt x="412820" y="1415483"/>
                    </a:lnTo>
                    <a:lnTo>
                      <a:pt x="483629" y="1374413"/>
                    </a:lnTo>
                    <a:close/>
                    <a:moveTo>
                      <a:pt x="523283" y="1351754"/>
                    </a:moveTo>
                    <a:lnTo>
                      <a:pt x="599757" y="1307852"/>
                    </a:lnTo>
                    <a:lnTo>
                      <a:pt x="584179" y="1394240"/>
                    </a:lnTo>
                    <a:lnTo>
                      <a:pt x="523283" y="1351754"/>
                    </a:lnTo>
                    <a:close/>
                    <a:moveTo>
                      <a:pt x="571433" y="1547189"/>
                    </a:moveTo>
                    <a:lnTo>
                      <a:pt x="561520" y="1542940"/>
                    </a:lnTo>
                    <a:lnTo>
                      <a:pt x="565769" y="1523113"/>
                    </a:lnTo>
                    <a:lnTo>
                      <a:pt x="571433" y="1547189"/>
                    </a:lnTo>
                    <a:close/>
                    <a:moveTo>
                      <a:pt x="568601" y="1487708"/>
                    </a:moveTo>
                    <a:lnTo>
                      <a:pt x="564352" y="1513200"/>
                    </a:lnTo>
                    <a:lnTo>
                      <a:pt x="553023" y="1476379"/>
                    </a:lnTo>
                    <a:lnTo>
                      <a:pt x="555855" y="1477795"/>
                    </a:lnTo>
                    <a:lnTo>
                      <a:pt x="568601" y="1487708"/>
                    </a:lnTo>
                    <a:close/>
                    <a:moveTo>
                      <a:pt x="557271" y="1477795"/>
                    </a:moveTo>
                    <a:lnTo>
                      <a:pt x="548774" y="1472131"/>
                    </a:lnTo>
                    <a:lnTo>
                      <a:pt x="548774" y="1472131"/>
                    </a:lnTo>
                    <a:lnTo>
                      <a:pt x="550190" y="1474963"/>
                    </a:lnTo>
                    <a:lnTo>
                      <a:pt x="458138" y="1435310"/>
                    </a:lnTo>
                    <a:lnTo>
                      <a:pt x="486462" y="1372997"/>
                    </a:lnTo>
                    <a:lnTo>
                      <a:pt x="521867" y="1353170"/>
                    </a:lnTo>
                    <a:lnTo>
                      <a:pt x="584179" y="1397072"/>
                    </a:lnTo>
                    <a:lnTo>
                      <a:pt x="568601" y="1483460"/>
                    </a:lnTo>
                    <a:lnTo>
                      <a:pt x="557271" y="1477795"/>
                    </a:lnTo>
                    <a:close/>
                    <a:moveTo>
                      <a:pt x="571433" y="1548605"/>
                    </a:moveTo>
                    <a:lnTo>
                      <a:pt x="579931" y="1578345"/>
                    </a:lnTo>
                    <a:lnTo>
                      <a:pt x="551607" y="1592507"/>
                    </a:lnTo>
                    <a:lnTo>
                      <a:pt x="560104" y="1544356"/>
                    </a:lnTo>
                    <a:lnTo>
                      <a:pt x="571433" y="1548605"/>
                    </a:lnTo>
                    <a:close/>
                    <a:moveTo>
                      <a:pt x="612503" y="1562767"/>
                    </a:moveTo>
                    <a:lnTo>
                      <a:pt x="582763" y="1576929"/>
                    </a:lnTo>
                    <a:lnTo>
                      <a:pt x="574266" y="1548605"/>
                    </a:lnTo>
                    <a:lnTo>
                      <a:pt x="612503" y="1562767"/>
                    </a:lnTo>
                    <a:close/>
                    <a:moveTo>
                      <a:pt x="572850" y="1547189"/>
                    </a:moveTo>
                    <a:lnTo>
                      <a:pt x="564352" y="1518865"/>
                    </a:lnTo>
                    <a:lnTo>
                      <a:pt x="570017" y="1490541"/>
                    </a:lnTo>
                    <a:lnTo>
                      <a:pt x="645075" y="1547189"/>
                    </a:lnTo>
                    <a:lnTo>
                      <a:pt x="613919" y="1562767"/>
                    </a:lnTo>
                    <a:lnTo>
                      <a:pt x="572850" y="1547189"/>
                    </a:lnTo>
                    <a:close/>
                    <a:moveTo>
                      <a:pt x="550190" y="1476379"/>
                    </a:moveTo>
                    <a:lnTo>
                      <a:pt x="562936" y="1518865"/>
                    </a:lnTo>
                    <a:lnTo>
                      <a:pt x="558688" y="1542940"/>
                    </a:lnTo>
                    <a:lnTo>
                      <a:pt x="429814" y="1499038"/>
                    </a:lnTo>
                    <a:lnTo>
                      <a:pt x="458138" y="1436726"/>
                    </a:lnTo>
                    <a:lnTo>
                      <a:pt x="550190" y="1476379"/>
                    </a:lnTo>
                    <a:close/>
                    <a:moveTo>
                      <a:pt x="581347" y="1581177"/>
                    </a:moveTo>
                    <a:lnTo>
                      <a:pt x="594092" y="1623663"/>
                    </a:lnTo>
                    <a:lnTo>
                      <a:pt x="544526" y="1636408"/>
                    </a:lnTo>
                    <a:lnTo>
                      <a:pt x="551607" y="1596755"/>
                    </a:lnTo>
                    <a:lnTo>
                      <a:pt x="581347" y="1581177"/>
                    </a:lnTo>
                    <a:close/>
                    <a:moveTo>
                      <a:pt x="676231" y="1531610"/>
                    </a:moveTo>
                    <a:lnTo>
                      <a:pt x="647908" y="1545772"/>
                    </a:lnTo>
                    <a:lnTo>
                      <a:pt x="570017" y="1487708"/>
                    </a:lnTo>
                    <a:lnTo>
                      <a:pt x="570017" y="1486292"/>
                    </a:lnTo>
                    <a:lnTo>
                      <a:pt x="676231" y="1531610"/>
                    </a:lnTo>
                    <a:close/>
                    <a:moveTo>
                      <a:pt x="487878" y="1370165"/>
                    </a:moveTo>
                    <a:lnTo>
                      <a:pt x="502040" y="1339008"/>
                    </a:lnTo>
                    <a:lnTo>
                      <a:pt x="520450" y="1351754"/>
                    </a:lnTo>
                    <a:lnTo>
                      <a:pt x="487878" y="1370165"/>
                    </a:lnTo>
                    <a:close/>
                    <a:moveTo>
                      <a:pt x="595509" y="1622246"/>
                    </a:moveTo>
                    <a:lnTo>
                      <a:pt x="582763" y="1579761"/>
                    </a:lnTo>
                    <a:lnTo>
                      <a:pt x="615335" y="1564183"/>
                    </a:lnTo>
                    <a:lnTo>
                      <a:pt x="696058" y="1591091"/>
                    </a:lnTo>
                    <a:lnTo>
                      <a:pt x="667734" y="1603836"/>
                    </a:lnTo>
                    <a:lnTo>
                      <a:pt x="595509" y="1622246"/>
                    </a:lnTo>
                    <a:close/>
                    <a:moveTo>
                      <a:pt x="647908" y="1548605"/>
                    </a:moveTo>
                    <a:lnTo>
                      <a:pt x="701723" y="1589674"/>
                    </a:lnTo>
                    <a:lnTo>
                      <a:pt x="698891" y="1591091"/>
                    </a:lnTo>
                    <a:lnTo>
                      <a:pt x="618168" y="1564183"/>
                    </a:lnTo>
                    <a:lnTo>
                      <a:pt x="647908" y="1548605"/>
                    </a:lnTo>
                    <a:close/>
                    <a:moveTo>
                      <a:pt x="571433" y="1483460"/>
                    </a:moveTo>
                    <a:lnTo>
                      <a:pt x="587012" y="1398488"/>
                    </a:lnTo>
                    <a:lnTo>
                      <a:pt x="734295" y="1503287"/>
                    </a:lnTo>
                    <a:lnTo>
                      <a:pt x="679064" y="1530194"/>
                    </a:lnTo>
                    <a:lnTo>
                      <a:pt x="571433" y="1483460"/>
                    </a:lnTo>
                    <a:close/>
                    <a:moveTo>
                      <a:pt x="599757" y="1305020"/>
                    </a:moveTo>
                    <a:lnTo>
                      <a:pt x="521867" y="1350338"/>
                    </a:lnTo>
                    <a:lnTo>
                      <a:pt x="503456" y="1336176"/>
                    </a:lnTo>
                    <a:lnTo>
                      <a:pt x="521867" y="1296523"/>
                    </a:lnTo>
                    <a:lnTo>
                      <a:pt x="604006" y="1293690"/>
                    </a:lnTo>
                    <a:lnTo>
                      <a:pt x="599757" y="1305020"/>
                    </a:lnTo>
                    <a:close/>
                    <a:moveTo>
                      <a:pt x="598341" y="1637825"/>
                    </a:moveTo>
                    <a:lnTo>
                      <a:pt x="619584" y="1707218"/>
                    </a:lnTo>
                    <a:lnTo>
                      <a:pt x="528948" y="1722796"/>
                    </a:lnTo>
                    <a:lnTo>
                      <a:pt x="538861" y="1664732"/>
                    </a:lnTo>
                    <a:lnTo>
                      <a:pt x="598341" y="1637825"/>
                    </a:lnTo>
                    <a:close/>
                    <a:moveTo>
                      <a:pt x="705972" y="1595339"/>
                    </a:moveTo>
                    <a:lnTo>
                      <a:pt x="679064" y="1602420"/>
                    </a:lnTo>
                    <a:lnTo>
                      <a:pt x="698891" y="1593923"/>
                    </a:lnTo>
                    <a:lnTo>
                      <a:pt x="705972" y="1595339"/>
                    </a:lnTo>
                    <a:close/>
                    <a:moveTo>
                      <a:pt x="830596" y="1285193"/>
                    </a:moveTo>
                    <a:lnTo>
                      <a:pt x="864585" y="1392824"/>
                    </a:lnTo>
                    <a:lnTo>
                      <a:pt x="864585" y="1392824"/>
                    </a:lnTo>
                    <a:lnTo>
                      <a:pt x="895741" y="1282361"/>
                    </a:lnTo>
                    <a:lnTo>
                      <a:pt x="1051522" y="1276696"/>
                    </a:lnTo>
                    <a:lnTo>
                      <a:pt x="1051522" y="1276696"/>
                    </a:lnTo>
                    <a:lnTo>
                      <a:pt x="1051522" y="1275280"/>
                    </a:lnTo>
                    <a:lnTo>
                      <a:pt x="1051522" y="1275280"/>
                    </a:lnTo>
                    <a:lnTo>
                      <a:pt x="904238" y="1252621"/>
                    </a:lnTo>
                    <a:lnTo>
                      <a:pt x="936811" y="1136493"/>
                    </a:lnTo>
                    <a:lnTo>
                      <a:pt x="1057187" y="1143574"/>
                    </a:lnTo>
                    <a:lnTo>
                      <a:pt x="1197390" y="1276696"/>
                    </a:lnTo>
                    <a:lnTo>
                      <a:pt x="772532" y="1486292"/>
                    </a:lnTo>
                    <a:lnTo>
                      <a:pt x="700307" y="1292274"/>
                    </a:lnTo>
                    <a:lnTo>
                      <a:pt x="830596" y="1285193"/>
                    </a:lnTo>
                    <a:close/>
                    <a:moveTo>
                      <a:pt x="986377" y="955221"/>
                    </a:moveTo>
                    <a:lnTo>
                      <a:pt x="945308" y="950972"/>
                    </a:lnTo>
                    <a:lnTo>
                      <a:pt x="730047" y="772532"/>
                    </a:lnTo>
                    <a:lnTo>
                      <a:pt x="1014701" y="686145"/>
                    </a:lnTo>
                    <a:lnTo>
                      <a:pt x="1062852" y="681896"/>
                    </a:lnTo>
                    <a:lnTo>
                      <a:pt x="986377" y="955221"/>
                    </a:lnTo>
                    <a:close/>
                    <a:moveTo>
                      <a:pt x="728631" y="397241"/>
                    </a:moveTo>
                    <a:lnTo>
                      <a:pt x="748457" y="385912"/>
                    </a:lnTo>
                    <a:lnTo>
                      <a:pt x="793775" y="408571"/>
                    </a:lnTo>
                    <a:lnTo>
                      <a:pt x="793775" y="418484"/>
                    </a:lnTo>
                    <a:lnTo>
                      <a:pt x="728631" y="397241"/>
                    </a:lnTo>
                    <a:close/>
                    <a:moveTo>
                      <a:pt x="749874" y="384496"/>
                    </a:moveTo>
                    <a:lnTo>
                      <a:pt x="790943" y="360421"/>
                    </a:lnTo>
                    <a:lnTo>
                      <a:pt x="792359" y="405739"/>
                    </a:lnTo>
                    <a:lnTo>
                      <a:pt x="749874" y="384496"/>
                    </a:lnTo>
                    <a:close/>
                    <a:moveTo>
                      <a:pt x="902822" y="292443"/>
                    </a:moveTo>
                    <a:lnTo>
                      <a:pt x="793775" y="356172"/>
                    </a:lnTo>
                    <a:lnTo>
                      <a:pt x="792359" y="306605"/>
                    </a:lnTo>
                    <a:lnTo>
                      <a:pt x="792359" y="306605"/>
                    </a:lnTo>
                    <a:lnTo>
                      <a:pt x="742793" y="247125"/>
                    </a:lnTo>
                    <a:lnTo>
                      <a:pt x="744209" y="247125"/>
                    </a:lnTo>
                    <a:lnTo>
                      <a:pt x="744209" y="245709"/>
                    </a:lnTo>
                    <a:lnTo>
                      <a:pt x="739960" y="244293"/>
                    </a:lnTo>
                    <a:lnTo>
                      <a:pt x="669150" y="159321"/>
                    </a:lnTo>
                    <a:lnTo>
                      <a:pt x="902822" y="292443"/>
                    </a:lnTo>
                    <a:close/>
                    <a:moveTo>
                      <a:pt x="511953" y="170651"/>
                    </a:moveTo>
                    <a:lnTo>
                      <a:pt x="485046" y="221634"/>
                    </a:lnTo>
                    <a:lnTo>
                      <a:pt x="738544" y="247125"/>
                    </a:lnTo>
                    <a:lnTo>
                      <a:pt x="788111" y="308022"/>
                    </a:lnTo>
                    <a:lnTo>
                      <a:pt x="789527" y="359004"/>
                    </a:lnTo>
                    <a:lnTo>
                      <a:pt x="747041" y="384496"/>
                    </a:lnTo>
                    <a:lnTo>
                      <a:pt x="676231" y="349091"/>
                    </a:lnTo>
                    <a:lnTo>
                      <a:pt x="686145" y="258455"/>
                    </a:lnTo>
                    <a:lnTo>
                      <a:pt x="686145" y="258455"/>
                    </a:lnTo>
                    <a:lnTo>
                      <a:pt x="621000" y="322183"/>
                    </a:lnTo>
                    <a:lnTo>
                      <a:pt x="595509" y="309438"/>
                    </a:lnTo>
                    <a:lnTo>
                      <a:pt x="595509" y="309438"/>
                    </a:lnTo>
                    <a:lnTo>
                      <a:pt x="544526" y="342010"/>
                    </a:lnTo>
                    <a:lnTo>
                      <a:pt x="407155" y="299524"/>
                    </a:lnTo>
                    <a:lnTo>
                      <a:pt x="366086" y="268368"/>
                    </a:lnTo>
                    <a:lnTo>
                      <a:pt x="475132" y="162154"/>
                    </a:lnTo>
                    <a:lnTo>
                      <a:pt x="511953" y="170651"/>
                    </a:lnTo>
                    <a:close/>
                    <a:moveTo>
                      <a:pt x="363253" y="265536"/>
                    </a:moveTo>
                    <a:lnTo>
                      <a:pt x="363253" y="265536"/>
                    </a:lnTo>
                    <a:lnTo>
                      <a:pt x="401490" y="295276"/>
                    </a:lnTo>
                    <a:lnTo>
                      <a:pt x="359005" y="282530"/>
                    </a:lnTo>
                    <a:lnTo>
                      <a:pt x="360421" y="240045"/>
                    </a:lnTo>
                    <a:lnTo>
                      <a:pt x="360421" y="240045"/>
                    </a:lnTo>
                    <a:lnTo>
                      <a:pt x="326432" y="272617"/>
                    </a:lnTo>
                    <a:lnTo>
                      <a:pt x="269785" y="254206"/>
                    </a:lnTo>
                    <a:lnTo>
                      <a:pt x="266952" y="169235"/>
                    </a:lnTo>
                    <a:lnTo>
                      <a:pt x="302357" y="102674"/>
                    </a:lnTo>
                    <a:lnTo>
                      <a:pt x="343426" y="115419"/>
                    </a:lnTo>
                    <a:lnTo>
                      <a:pt x="475132" y="159321"/>
                    </a:lnTo>
                    <a:lnTo>
                      <a:pt x="363253" y="265536"/>
                    </a:lnTo>
                    <a:close/>
                    <a:moveTo>
                      <a:pt x="224466" y="693226"/>
                    </a:moveTo>
                    <a:lnTo>
                      <a:pt x="285363" y="657821"/>
                    </a:lnTo>
                    <a:lnTo>
                      <a:pt x="337762" y="732879"/>
                    </a:lnTo>
                    <a:lnTo>
                      <a:pt x="326432" y="745624"/>
                    </a:lnTo>
                    <a:lnTo>
                      <a:pt x="224466" y="693226"/>
                    </a:lnTo>
                    <a:close/>
                    <a:moveTo>
                      <a:pt x="344843" y="756954"/>
                    </a:moveTo>
                    <a:lnTo>
                      <a:pt x="343426" y="807937"/>
                    </a:lnTo>
                    <a:lnTo>
                      <a:pt x="285363" y="799440"/>
                    </a:lnTo>
                    <a:lnTo>
                      <a:pt x="326432" y="748457"/>
                    </a:lnTo>
                    <a:lnTo>
                      <a:pt x="344843" y="756954"/>
                    </a:lnTo>
                    <a:close/>
                    <a:moveTo>
                      <a:pt x="346259" y="809353"/>
                    </a:moveTo>
                    <a:lnTo>
                      <a:pt x="397242" y="816434"/>
                    </a:lnTo>
                    <a:lnTo>
                      <a:pt x="425566" y="857503"/>
                    </a:lnTo>
                    <a:lnTo>
                      <a:pt x="425566" y="857503"/>
                    </a:lnTo>
                    <a:lnTo>
                      <a:pt x="465219" y="851839"/>
                    </a:lnTo>
                    <a:lnTo>
                      <a:pt x="507705" y="839093"/>
                    </a:lnTo>
                    <a:lnTo>
                      <a:pt x="577098" y="874498"/>
                    </a:lnTo>
                    <a:lnTo>
                      <a:pt x="577098" y="880163"/>
                    </a:lnTo>
                    <a:lnTo>
                      <a:pt x="340594" y="986377"/>
                    </a:lnTo>
                    <a:lnTo>
                      <a:pt x="346259" y="809353"/>
                    </a:lnTo>
                    <a:close/>
                    <a:moveTo>
                      <a:pt x="772532" y="870249"/>
                    </a:moveTo>
                    <a:lnTo>
                      <a:pt x="832012" y="926897"/>
                    </a:lnTo>
                    <a:lnTo>
                      <a:pt x="677648" y="1017533"/>
                    </a:lnTo>
                    <a:lnTo>
                      <a:pt x="557271" y="1023198"/>
                    </a:lnTo>
                    <a:lnTo>
                      <a:pt x="592676" y="990626"/>
                    </a:lnTo>
                    <a:lnTo>
                      <a:pt x="592676" y="990626"/>
                    </a:lnTo>
                    <a:lnTo>
                      <a:pt x="578514" y="882995"/>
                    </a:lnTo>
                    <a:lnTo>
                      <a:pt x="585595" y="880163"/>
                    </a:lnTo>
                    <a:lnTo>
                      <a:pt x="577098" y="875914"/>
                    </a:lnTo>
                    <a:lnTo>
                      <a:pt x="572850" y="844758"/>
                    </a:lnTo>
                    <a:lnTo>
                      <a:pt x="772532" y="870249"/>
                    </a:lnTo>
                    <a:close/>
                    <a:moveTo>
                      <a:pt x="609670" y="1208719"/>
                    </a:moveTo>
                    <a:lnTo>
                      <a:pt x="547358" y="1238459"/>
                    </a:lnTo>
                    <a:lnTo>
                      <a:pt x="567185" y="1195973"/>
                    </a:lnTo>
                    <a:lnTo>
                      <a:pt x="609670" y="1208719"/>
                    </a:lnTo>
                    <a:close/>
                    <a:moveTo>
                      <a:pt x="615335" y="1208719"/>
                    </a:moveTo>
                    <a:lnTo>
                      <a:pt x="615335" y="1208719"/>
                    </a:lnTo>
                    <a:lnTo>
                      <a:pt x="568601" y="1194557"/>
                    </a:lnTo>
                    <a:lnTo>
                      <a:pt x="621000" y="1081262"/>
                    </a:lnTo>
                    <a:lnTo>
                      <a:pt x="649324" y="1156320"/>
                    </a:lnTo>
                    <a:lnTo>
                      <a:pt x="618168" y="1211551"/>
                    </a:lnTo>
                    <a:lnTo>
                      <a:pt x="604006" y="1292274"/>
                    </a:lnTo>
                    <a:lnTo>
                      <a:pt x="523283" y="1295107"/>
                    </a:lnTo>
                    <a:lnTo>
                      <a:pt x="547358" y="1241291"/>
                    </a:lnTo>
                    <a:lnTo>
                      <a:pt x="615335" y="1208719"/>
                    </a:lnTo>
                    <a:close/>
                    <a:moveTo>
                      <a:pt x="519034" y="1295107"/>
                    </a:moveTo>
                    <a:lnTo>
                      <a:pt x="445392" y="1297939"/>
                    </a:lnTo>
                    <a:lnTo>
                      <a:pt x="445392" y="1297939"/>
                    </a:lnTo>
                    <a:lnTo>
                      <a:pt x="500624" y="1337592"/>
                    </a:lnTo>
                    <a:lnTo>
                      <a:pt x="485046" y="1371581"/>
                    </a:lnTo>
                    <a:lnTo>
                      <a:pt x="408571" y="1415483"/>
                    </a:lnTo>
                    <a:lnTo>
                      <a:pt x="408571" y="1415483"/>
                    </a:lnTo>
                    <a:lnTo>
                      <a:pt x="456722" y="1436726"/>
                    </a:lnTo>
                    <a:lnTo>
                      <a:pt x="428398" y="1499038"/>
                    </a:lnTo>
                    <a:lnTo>
                      <a:pt x="330681" y="1466465"/>
                    </a:lnTo>
                    <a:lnTo>
                      <a:pt x="363253" y="1334760"/>
                    </a:lnTo>
                    <a:lnTo>
                      <a:pt x="443976" y="1293690"/>
                    </a:lnTo>
                    <a:lnTo>
                      <a:pt x="544526" y="1244124"/>
                    </a:lnTo>
                    <a:lnTo>
                      <a:pt x="519034" y="1295107"/>
                    </a:lnTo>
                    <a:close/>
                    <a:moveTo>
                      <a:pt x="456722" y="1642073"/>
                    </a:moveTo>
                    <a:lnTo>
                      <a:pt x="482213" y="1651987"/>
                    </a:lnTo>
                    <a:lnTo>
                      <a:pt x="482213" y="1651987"/>
                    </a:lnTo>
                    <a:lnTo>
                      <a:pt x="541693" y="1637825"/>
                    </a:lnTo>
                    <a:lnTo>
                      <a:pt x="537445" y="1664732"/>
                    </a:lnTo>
                    <a:lnTo>
                      <a:pt x="502040" y="1681727"/>
                    </a:lnTo>
                    <a:lnTo>
                      <a:pt x="442560" y="1650570"/>
                    </a:lnTo>
                    <a:lnTo>
                      <a:pt x="456722" y="1642073"/>
                    </a:lnTo>
                    <a:close/>
                    <a:moveTo>
                      <a:pt x="629497" y="1707218"/>
                    </a:moveTo>
                    <a:lnTo>
                      <a:pt x="629497" y="1707218"/>
                    </a:lnTo>
                    <a:lnTo>
                      <a:pt x="621000" y="1708634"/>
                    </a:lnTo>
                    <a:lnTo>
                      <a:pt x="599757" y="1637825"/>
                    </a:lnTo>
                    <a:lnTo>
                      <a:pt x="669150" y="1606669"/>
                    </a:lnTo>
                    <a:lnTo>
                      <a:pt x="710220" y="1596755"/>
                    </a:lnTo>
                    <a:lnTo>
                      <a:pt x="849007" y="1643489"/>
                    </a:lnTo>
                    <a:lnTo>
                      <a:pt x="756954" y="1744039"/>
                    </a:lnTo>
                    <a:lnTo>
                      <a:pt x="720133" y="1617998"/>
                    </a:lnTo>
                    <a:lnTo>
                      <a:pt x="720133" y="1616582"/>
                    </a:lnTo>
                    <a:lnTo>
                      <a:pt x="705972" y="1846005"/>
                    </a:lnTo>
                    <a:lnTo>
                      <a:pt x="662069" y="1846005"/>
                    </a:lnTo>
                    <a:lnTo>
                      <a:pt x="629497" y="1736958"/>
                    </a:lnTo>
                    <a:lnTo>
                      <a:pt x="629497" y="1707218"/>
                    </a:lnTo>
                    <a:close/>
                    <a:moveTo>
                      <a:pt x="1060019" y="1140742"/>
                    </a:moveTo>
                    <a:lnTo>
                      <a:pt x="969383" y="1054354"/>
                    </a:lnTo>
                    <a:lnTo>
                      <a:pt x="1016117" y="1006203"/>
                    </a:lnTo>
                    <a:lnTo>
                      <a:pt x="1081262" y="1003371"/>
                    </a:lnTo>
                    <a:lnTo>
                      <a:pt x="1081262" y="1024614"/>
                    </a:lnTo>
                    <a:lnTo>
                      <a:pt x="1081262" y="1024614"/>
                    </a:lnTo>
                    <a:lnTo>
                      <a:pt x="1096840" y="1001955"/>
                    </a:lnTo>
                    <a:lnTo>
                      <a:pt x="1286610" y="994874"/>
                    </a:lnTo>
                    <a:lnTo>
                      <a:pt x="1256870" y="1153488"/>
                    </a:lnTo>
                    <a:lnTo>
                      <a:pt x="1060019" y="1140742"/>
                    </a:lnTo>
                    <a:close/>
                    <a:moveTo>
                      <a:pt x="1079846" y="667734"/>
                    </a:moveTo>
                    <a:lnTo>
                      <a:pt x="1079846" y="680480"/>
                    </a:lnTo>
                    <a:lnTo>
                      <a:pt x="1065684" y="681896"/>
                    </a:lnTo>
                    <a:lnTo>
                      <a:pt x="1068517" y="671983"/>
                    </a:lnTo>
                    <a:lnTo>
                      <a:pt x="1079846" y="667734"/>
                    </a:lnTo>
                    <a:close/>
                    <a:moveTo>
                      <a:pt x="1023198" y="683312"/>
                    </a:moveTo>
                    <a:lnTo>
                      <a:pt x="1065684" y="670566"/>
                    </a:lnTo>
                    <a:lnTo>
                      <a:pt x="1062852" y="680480"/>
                    </a:lnTo>
                    <a:lnTo>
                      <a:pt x="1023198" y="683312"/>
                    </a:lnTo>
                    <a:close/>
                    <a:moveTo>
                      <a:pt x="344843" y="16286"/>
                    </a:moveTo>
                    <a:lnTo>
                      <a:pt x="300941" y="99841"/>
                    </a:lnTo>
                    <a:lnTo>
                      <a:pt x="264120" y="88512"/>
                    </a:lnTo>
                    <a:lnTo>
                      <a:pt x="262704" y="60188"/>
                    </a:lnTo>
                    <a:lnTo>
                      <a:pt x="344843" y="16286"/>
                    </a:lnTo>
                    <a:close/>
                    <a:moveTo>
                      <a:pt x="126749" y="426981"/>
                    </a:moveTo>
                    <a:lnTo>
                      <a:pt x="92761" y="492126"/>
                    </a:lnTo>
                    <a:lnTo>
                      <a:pt x="140911" y="446808"/>
                    </a:lnTo>
                    <a:lnTo>
                      <a:pt x="184813" y="509121"/>
                    </a:lnTo>
                    <a:lnTo>
                      <a:pt x="12038" y="625248"/>
                    </a:lnTo>
                    <a:lnTo>
                      <a:pt x="99842" y="385912"/>
                    </a:lnTo>
                    <a:lnTo>
                      <a:pt x="126749" y="426981"/>
                    </a:lnTo>
                    <a:close/>
                    <a:moveTo>
                      <a:pt x="230131" y="360421"/>
                    </a:moveTo>
                    <a:lnTo>
                      <a:pt x="139495" y="443976"/>
                    </a:lnTo>
                    <a:lnTo>
                      <a:pt x="128165" y="426981"/>
                    </a:lnTo>
                    <a:lnTo>
                      <a:pt x="183397" y="322183"/>
                    </a:lnTo>
                    <a:lnTo>
                      <a:pt x="230131" y="360421"/>
                    </a:lnTo>
                    <a:close/>
                    <a:moveTo>
                      <a:pt x="197559" y="293860"/>
                    </a:moveTo>
                    <a:lnTo>
                      <a:pt x="184813" y="319351"/>
                    </a:lnTo>
                    <a:lnTo>
                      <a:pt x="128165" y="272617"/>
                    </a:lnTo>
                    <a:lnTo>
                      <a:pt x="197559" y="293860"/>
                    </a:lnTo>
                    <a:close/>
                    <a:moveTo>
                      <a:pt x="139495" y="445392"/>
                    </a:moveTo>
                    <a:lnTo>
                      <a:pt x="99842" y="482213"/>
                    </a:lnTo>
                    <a:lnTo>
                      <a:pt x="128165" y="429814"/>
                    </a:lnTo>
                    <a:lnTo>
                      <a:pt x="139495" y="445392"/>
                    </a:lnTo>
                    <a:close/>
                    <a:moveTo>
                      <a:pt x="469468" y="1926727"/>
                    </a:moveTo>
                    <a:lnTo>
                      <a:pt x="509121" y="1829010"/>
                    </a:lnTo>
                    <a:lnTo>
                      <a:pt x="527531" y="1724212"/>
                    </a:lnTo>
                    <a:lnTo>
                      <a:pt x="618168" y="1708634"/>
                    </a:lnTo>
                    <a:lnTo>
                      <a:pt x="625249" y="1734126"/>
                    </a:lnTo>
                    <a:lnTo>
                      <a:pt x="623832" y="1843172"/>
                    </a:lnTo>
                    <a:lnTo>
                      <a:pt x="558688" y="1843172"/>
                    </a:lnTo>
                    <a:lnTo>
                      <a:pt x="558688" y="1843172"/>
                    </a:lnTo>
                    <a:lnTo>
                      <a:pt x="545942" y="1930976"/>
                    </a:lnTo>
                    <a:lnTo>
                      <a:pt x="469468" y="1926727"/>
                    </a:lnTo>
                    <a:close/>
                    <a:moveTo>
                      <a:pt x="547358" y="1933808"/>
                    </a:moveTo>
                    <a:lnTo>
                      <a:pt x="533196" y="2025861"/>
                    </a:lnTo>
                    <a:lnTo>
                      <a:pt x="448225" y="1974878"/>
                    </a:lnTo>
                    <a:lnTo>
                      <a:pt x="466635" y="1929560"/>
                    </a:lnTo>
                    <a:lnTo>
                      <a:pt x="547358" y="1933808"/>
                    </a:lnTo>
                    <a:close/>
                    <a:moveTo>
                      <a:pt x="533196" y="2027277"/>
                    </a:moveTo>
                    <a:lnTo>
                      <a:pt x="533196" y="2027277"/>
                    </a:lnTo>
                    <a:lnTo>
                      <a:pt x="432647" y="2014531"/>
                    </a:lnTo>
                    <a:lnTo>
                      <a:pt x="448225" y="1976294"/>
                    </a:lnTo>
                    <a:lnTo>
                      <a:pt x="533196" y="2027277"/>
                    </a:lnTo>
                    <a:close/>
                    <a:moveTo>
                      <a:pt x="313687" y="2255284"/>
                    </a:moveTo>
                    <a:lnTo>
                      <a:pt x="347675" y="2221295"/>
                    </a:lnTo>
                    <a:lnTo>
                      <a:pt x="344843" y="2269446"/>
                    </a:lnTo>
                    <a:lnTo>
                      <a:pt x="313687" y="2255284"/>
                    </a:lnTo>
                    <a:close/>
                    <a:moveTo>
                      <a:pt x="288195" y="2428059"/>
                    </a:moveTo>
                    <a:lnTo>
                      <a:pt x="257039" y="2323261"/>
                    </a:lnTo>
                    <a:lnTo>
                      <a:pt x="343426" y="2314764"/>
                    </a:lnTo>
                    <a:lnTo>
                      <a:pt x="339178" y="2379909"/>
                    </a:lnTo>
                    <a:lnTo>
                      <a:pt x="288195" y="2428059"/>
                    </a:lnTo>
                    <a:close/>
                    <a:moveTo>
                      <a:pt x="289611" y="2433724"/>
                    </a:moveTo>
                    <a:lnTo>
                      <a:pt x="288195" y="2430892"/>
                    </a:lnTo>
                    <a:lnTo>
                      <a:pt x="339178" y="2384157"/>
                    </a:lnTo>
                    <a:lnTo>
                      <a:pt x="336345" y="2433724"/>
                    </a:lnTo>
                    <a:lnTo>
                      <a:pt x="289611" y="2433724"/>
                    </a:lnTo>
                    <a:close/>
                    <a:moveTo>
                      <a:pt x="282530" y="2436556"/>
                    </a:moveTo>
                    <a:lnTo>
                      <a:pt x="288195" y="2436556"/>
                    </a:lnTo>
                    <a:lnTo>
                      <a:pt x="302357" y="2486123"/>
                    </a:lnTo>
                    <a:lnTo>
                      <a:pt x="298108" y="2494620"/>
                    </a:lnTo>
                    <a:lnTo>
                      <a:pt x="281114" y="2439389"/>
                    </a:lnTo>
                    <a:lnTo>
                      <a:pt x="282530" y="2436556"/>
                    </a:lnTo>
                    <a:close/>
                    <a:moveTo>
                      <a:pt x="285363" y="2435140"/>
                    </a:moveTo>
                    <a:lnTo>
                      <a:pt x="288195" y="2432308"/>
                    </a:lnTo>
                    <a:lnTo>
                      <a:pt x="289611" y="2435140"/>
                    </a:lnTo>
                    <a:lnTo>
                      <a:pt x="285363" y="2435140"/>
                    </a:lnTo>
                    <a:close/>
                    <a:moveTo>
                      <a:pt x="312270" y="2256700"/>
                    </a:moveTo>
                    <a:lnTo>
                      <a:pt x="344843" y="2270862"/>
                    </a:lnTo>
                    <a:lnTo>
                      <a:pt x="342010" y="2311932"/>
                    </a:lnTo>
                    <a:lnTo>
                      <a:pt x="252790" y="2320429"/>
                    </a:lnTo>
                    <a:lnTo>
                      <a:pt x="252790" y="2320429"/>
                    </a:lnTo>
                    <a:lnTo>
                      <a:pt x="285363" y="2428059"/>
                    </a:lnTo>
                    <a:lnTo>
                      <a:pt x="281114" y="2432308"/>
                    </a:lnTo>
                    <a:lnTo>
                      <a:pt x="278282" y="2432308"/>
                    </a:lnTo>
                    <a:lnTo>
                      <a:pt x="242877" y="2321845"/>
                    </a:lnTo>
                    <a:lnTo>
                      <a:pt x="312270" y="2256700"/>
                    </a:lnTo>
                    <a:close/>
                    <a:moveTo>
                      <a:pt x="350507" y="2217047"/>
                    </a:moveTo>
                    <a:lnTo>
                      <a:pt x="350507" y="2215631"/>
                    </a:lnTo>
                    <a:lnTo>
                      <a:pt x="353340" y="2214215"/>
                    </a:lnTo>
                    <a:lnTo>
                      <a:pt x="350507" y="2217047"/>
                    </a:lnTo>
                    <a:close/>
                    <a:moveTo>
                      <a:pt x="303773" y="2057017"/>
                    </a:moveTo>
                    <a:lnTo>
                      <a:pt x="308022" y="2042855"/>
                    </a:lnTo>
                    <a:lnTo>
                      <a:pt x="308022" y="2042855"/>
                    </a:lnTo>
                    <a:lnTo>
                      <a:pt x="292444" y="1998953"/>
                    </a:lnTo>
                    <a:lnTo>
                      <a:pt x="346259" y="2006034"/>
                    </a:lnTo>
                    <a:lnTo>
                      <a:pt x="347675" y="2102336"/>
                    </a:lnTo>
                    <a:lnTo>
                      <a:pt x="303773" y="2057017"/>
                    </a:lnTo>
                    <a:close/>
                    <a:moveTo>
                      <a:pt x="404323" y="2010283"/>
                    </a:moveTo>
                    <a:lnTo>
                      <a:pt x="401490" y="1947970"/>
                    </a:lnTo>
                    <a:lnTo>
                      <a:pt x="446808" y="1974878"/>
                    </a:lnTo>
                    <a:lnTo>
                      <a:pt x="431230" y="2014531"/>
                    </a:lnTo>
                    <a:lnTo>
                      <a:pt x="404323" y="2010283"/>
                    </a:lnTo>
                    <a:close/>
                    <a:moveTo>
                      <a:pt x="408571" y="2163232"/>
                    </a:moveTo>
                    <a:lnTo>
                      <a:pt x="408571" y="2163232"/>
                    </a:lnTo>
                    <a:lnTo>
                      <a:pt x="408571" y="2163232"/>
                    </a:lnTo>
                    <a:lnTo>
                      <a:pt x="408571" y="2163232"/>
                    </a:lnTo>
                    <a:close/>
                    <a:moveTo>
                      <a:pt x="363253" y="2207134"/>
                    </a:moveTo>
                    <a:lnTo>
                      <a:pt x="407155" y="2163232"/>
                    </a:lnTo>
                    <a:lnTo>
                      <a:pt x="408571" y="2164648"/>
                    </a:lnTo>
                    <a:lnTo>
                      <a:pt x="409988" y="2184474"/>
                    </a:lnTo>
                    <a:lnTo>
                      <a:pt x="363253" y="2207134"/>
                    </a:lnTo>
                    <a:close/>
                    <a:moveTo>
                      <a:pt x="405739" y="2163232"/>
                    </a:moveTo>
                    <a:lnTo>
                      <a:pt x="357588" y="2211382"/>
                    </a:lnTo>
                    <a:lnTo>
                      <a:pt x="350507" y="2214215"/>
                    </a:lnTo>
                    <a:lnTo>
                      <a:pt x="381664" y="2139156"/>
                    </a:lnTo>
                    <a:lnTo>
                      <a:pt x="405739" y="2163232"/>
                    </a:lnTo>
                    <a:close/>
                    <a:moveTo>
                      <a:pt x="402907" y="2013115"/>
                    </a:moveTo>
                    <a:lnTo>
                      <a:pt x="405739" y="2078260"/>
                    </a:lnTo>
                    <a:lnTo>
                      <a:pt x="381664" y="2134908"/>
                    </a:lnTo>
                    <a:lnTo>
                      <a:pt x="350507" y="2103751"/>
                    </a:lnTo>
                    <a:lnTo>
                      <a:pt x="349091" y="2006034"/>
                    </a:lnTo>
                    <a:lnTo>
                      <a:pt x="402907" y="2013115"/>
                    </a:lnTo>
                    <a:close/>
                    <a:moveTo>
                      <a:pt x="407155" y="2160399"/>
                    </a:moveTo>
                    <a:lnTo>
                      <a:pt x="383080" y="2136324"/>
                    </a:lnTo>
                    <a:lnTo>
                      <a:pt x="405739" y="2082508"/>
                    </a:lnTo>
                    <a:lnTo>
                      <a:pt x="407155" y="2160399"/>
                    </a:lnTo>
                    <a:lnTo>
                      <a:pt x="407155" y="2160399"/>
                    </a:lnTo>
                    <a:close/>
                    <a:moveTo>
                      <a:pt x="429814" y="2015948"/>
                    </a:moveTo>
                    <a:lnTo>
                      <a:pt x="405739" y="2072595"/>
                    </a:lnTo>
                    <a:lnTo>
                      <a:pt x="402907" y="2011699"/>
                    </a:lnTo>
                    <a:lnTo>
                      <a:pt x="429814" y="2015948"/>
                    </a:lnTo>
                    <a:close/>
                    <a:moveTo>
                      <a:pt x="400074" y="1945138"/>
                    </a:moveTo>
                    <a:lnTo>
                      <a:pt x="400074" y="1945138"/>
                    </a:lnTo>
                    <a:lnTo>
                      <a:pt x="402907" y="2011699"/>
                    </a:lnTo>
                    <a:lnTo>
                      <a:pt x="349091" y="2004618"/>
                    </a:lnTo>
                    <a:lnTo>
                      <a:pt x="347675" y="1923895"/>
                    </a:lnTo>
                    <a:lnTo>
                      <a:pt x="466635" y="1929560"/>
                    </a:lnTo>
                    <a:lnTo>
                      <a:pt x="448225" y="1973462"/>
                    </a:lnTo>
                    <a:lnTo>
                      <a:pt x="400074" y="1945138"/>
                    </a:lnTo>
                    <a:close/>
                    <a:moveTo>
                      <a:pt x="347675" y="2103751"/>
                    </a:moveTo>
                    <a:lnTo>
                      <a:pt x="349091" y="2214215"/>
                    </a:lnTo>
                    <a:lnTo>
                      <a:pt x="349091" y="2214215"/>
                    </a:lnTo>
                    <a:lnTo>
                      <a:pt x="349091" y="2218463"/>
                    </a:lnTo>
                    <a:lnTo>
                      <a:pt x="312270" y="2253868"/>
                    </a:lnTo>
                    <a:lnTo>
                      <a:pt x="259871" y="2229793"/>
                    </a:lnTo>
                    <a:lnTo>
                      <a:pt x="303773" y="2058433"/>
                    </a:lnTo>
                    <a:lnTo>
                      <a:pt x="347675" y="2103751"/>
                    </a:lnTo>
                    <a:close/>
                    <a:moveTo>
                      <a:pt x="380247" y="2137740"/>
                    </a:moveTo>
                    <a:lnTo>
                      <a:pt x="350507" y="2208550"/>
                    </a:lnTo>
                    <a:lnTo>
                      <a:pt x="349091" y="2106584"/>
                    </a:lnTo>
                    <a:lnTo>
                      <a:pt x="380247" y="2137740"/>
                    </a:lnTo>
                    <a:close/>
                    <a:moveTo>
                      <a:pt x="507705" y="1829010"/>
                    </a:moveTo>
                    <a:lnTo>
                      <a:pt x="466635" y="1926727"/>
                    </a:lnTo>
                    <a:lnTo>
                      <a:pt x="346259" y="1921063"/>
                    </a:lnTo>
                    <a:lnTo>
                      <a:pt x="344843" y="1756785"/>
                    </a:lnTo>
                    <a:lnTo>
                      <a:pt x="526115" y="1727045"/>
                    </a:lnTo>
                    <a:lnTo>
                      <a:pt x="507705" y="1829010"/>
                    </a:lnTo>
                    <a:close/>
                    <a:moveTo>
                      <a:pt x="344843" y="1922479"/>
                    </a:moveTo>
                    <a:lnTo>
                      <a:pt x="346259" y="2003202"/>
                    </a:lnTo>
                    <a:lnTo>
                      <a:pt x="291027" y="1996121"/>
                    </a:lnTo>
                    <a:lnTo>
                      <a:pt x="264120" y="1918231"/>
                    </a:lnTo>
                    <a:lnTo>
                      <a:pt x="344843" y="1922479"/>
                    </a:lnTo>
                    <a:close/>
                    <a:moveTo>
                      <a:pt x="289611" y="1997537"/>
                    </a:moveTo>
                    <a:lnTo>
                      <a:pt x="305189" y="2042855"/>
                    </a:lnTo>
                    <a:lnTo>
                      <a:pt x="302357" y="2055601"/>
                    </a:lnTo>
                    <a:lnTo>
                      <a:pt x="238628" y="1991872"/>
                    </a:lnTo>
                    <a:lnTo>
                      <a:pt x="289611" y="1997537"/>
                    </a:lnTo>
                    <a:close/>
                    <a:moveTo>
                      <a:pt x="350507" y="2219879"/>
                    </a:moveTo>
                    <a:lnTo>
                      <a:pt x="359005" y="2211382"/>
                    </a:lnTo>
                    <a:lnTo>
                      <a:pt x="409988" y="2185891"/>
                    </a:lnTo>
                    <a:lnTo>
                      <a:pt x="414236" y="2299186"/>
                    </a:lnTo>
                    <a:lnTo>
                      <a:pt x="349091" y="2269446"/>
                    </a:lnTo>
                    <a:lnTo>
                      <a:pt x="350507" y="2219879"/>
                    </a:lnTo>
                    <a:close/>
                    <a:moveTo>
                      <a:pt x="531780" y="2037191"/>
                    </a:moveTo>
                    <a:lnTo>
                      <a:pt x="409988" y="2158983"/>
                    </a:lnTo>
                    <a:lnTo>
                      <a:pt x="407155" y="2079676"/>
                    </a:lnTo>
                    <a:lnTo>
                      <a:pt x="432647" y="2018780"/>
                    </a:lnTo>
                    <a:lnTo>
                      <a:pt x="533196" y="2031526"/>
                    </a:lnTo>
                    <a:lnTo>
                      <a:pt x="531780" y="2037191"/>
                    </a:lnTo>
                    <a:close/>
                    <a:moveTo>
                      <a:pt x="298108" y="2498869"/>
                    </a:moveTo>
                    <a:lnTo>
                      <a:pt x="334929" y="2614996"/>
                    </a:lnTo>
                    <a:lnTo>
                      <a:pt x="223050" y="2636239"/>
                    </a:lnTo>
                    <a:lnTo>
                      <a:pt x="298108" y="2498869"/>
                    </a:lnTo>
                    <a:close/>
                    <a:moveTo>
                      <a:pt x="417069" y="2307683"/>
                    </a:moveTo>
                    <a:lnTo>
                      <a:pt x="342010" y="2378493"/>
                    </a:lnTo>
                    <a:lnTo>
                      <a:pt x="344843" y="2314764"/>
                    </a:lnTo>
                    <a:lnTo>
                      <a:pt x="417069" y="2307683"/>
                    </a:lnTo>
                    <a:close/>
                    <a:moveTo>
                      <a:pt x="1286610" y="989209"/>
                    </a:moveTo>
                    <a:lnTo>
                      <a:pt x="1286610" y="992042"/>
                    </a:lnTo>
                    <a:lnTo>
                      <a:pt x="1098257" y="1000539"/>
                    </a:lnTo>
                    <a:lnTo>
                      <a:pt x="1118083" y="972215"/>
                    </a:lnTo>
                    <a:lnTo>
                      <a:pt x="1286610" y="989209"/>
                    </a:lnTo>
                    <a:close/>
                    <a:moveTo>
                      <a:pt x="1412651" y="764035"/>
                    </a:moveTo>
                    <a:lnTo>
                      <a:pt x="1314934" y="841926"/>
                    </a:lnTo>
                    <a:lnTo>
                      <a:pt x="1314934" y="841926"/>
                    </a:lnTo>
                    <a:lnTo>
                      <a:pt x="1286610" y="986377"/>
                    </a:lnTo>
                    <a:lnTo>
                      <a:pt x="1118083" y="969383"/>
                    </a:lnTo>
                    <a:lnTo>
                      <a:pt x="1239876" y="792359"/>
                    </a:lnTo>
                    <a:lnTo>
                      <a:pt x="1412651" y="764035"/>
                    </a:lnTo>
                    <a:close/>
                    <a:moveTo>
                      <a:pt x="220218" y="693226"/>
                    </a:moveTo>
                    <a:lnTo>
                      <a:pt x="157905" y="730046"/>
                    </a:lnTo>
                    <a:lnTo>
                      <a:pt x="142327" y="653572"/>
                    </a:lnTo>
                    <a:lnTo>
                      <a:pt x="220218" y="693226"/>
                    </a:lnTo>
                    <a:close/>
                    <a:moveTo>
                      <a:pt x="156489" y="732879"/>
                    </a:moveTo>
                    <a:lnTo>
                      <a:pt x="166402" y="782445"/>
                    </a:lnTo>
                    <a:lnTo>
                      <a:pt x="91345" y="771116"/>
                    </a:lnTo>
                    <a:lnTo>
                      <a:pt x="156489" y="732879"/>
                    </a:lnTo>
                    <a:close/>
                    <a:moveTo>
                      <a:pt x="282530" y="800856"/>
                    </a:moveTo>
                    <a:lnTo>
                      <a:pt x="194726" y="908486"/>
                    </a:lnTo>
                    <a:lnTo>
                      <a:pt x="169235" y="785278"/>
                    </a:lnTo>
                    <a:lnTo>
                      <a:pt x="282530" y="800856"/>
                    </a:lnTo>
                    <a:close/>
                    <a:moveTo>
                      <a:pt x="375999" y="1609501"/>
                    </a:moveTo>
                    <a:lnTo>
                      <a:pt x="374583" y="1613750"/>
                    </a:lnTo>
                    <a:lnTo>
                      <a:pt x="342010" y="1596755"/>
                    </a:lnTo>
                    <a:lnTo>
                      <a:pt x="375999" y="1609501"/>
                    </a:lnTo>
                    <a:close/>
                    <a:moveTo>
                      <a:pt x="438311" y="1649154"/>
                    </a:moveTo>
                    <a:lnTo>
                      <a:pt x="339178" y="1697305"/>
                    </a:lnTo>
                    <a:lnTo>
                      <a:pt x="375999" y="1615166"/>
                    </a:lnTo>
                    <a:lnTo>
                      <a:pt x="438311" y="1649154"/>
                    </a:lnTo>
                    <a:close/>
                    <a:moveTo>
                      <a:pt x="281114" y="2436556"/>
                    </a:moveTo>
                    <a:lnTo>
                      <a:pt x="281114" y="2436556"/>
                    </a:lnTo>
                    <a:lnTo>
                      <a:pt x="281114" y="2436556"/>
                    </a:lnTo>
                    <a:lnTo>
                      <a:pt x="281114" y="2436556"/>
                    </a:lnTo>
                    <a:close/>
                    <a:moveTo>
                      <a:pt x="536029" y="2027277"/>
                    </a:moveTo>
                    <a:lnTo>
                      <a:pt x="536029" y="2027277"/>
                    </a:lnTo>
                    <a:lnTo>
                      <a:pt x="536029" y="2027277"/>
                    </a:lnTo>
                    <a:lnTo>
                      <a:pt x="536029" y="2027277"/>
                    </a:lnTo>
                    <a:close/>
                    <a:moveTo>
                      <a:pt x="662069" y="1847421"/>
                    </a:moveTo>
                    <a:lnTo>
                      <a:pt x="704555" y="1847421"/>
                    </a:lnTo>
                    <a:lnTo>
                      <a:pt x="690393" y="1946554"/>
                    </a:lnTo>
                    <a:lnTo>
                      <a:pt x="662069" y="1847421"/>
                    </a:lnTo>
                    <a:close/>
                    <a:moveTo>
                      <a:pt x="1310685" y="992042"/>
                    </a:moveTo>
                    <a:lnTo>
                      <a:pt x="1288026" y="993458"/>
                    </a:lnTo>
                    <a:lnTo>
                      <a:pt x="1288026" y="990626"/>
                    </a:lnTo>
                    <a:lnTo>
                      <a:pt x="1310685" y="992042"/>
                    </a:lnTo>
                    <a:close/>
                    <a:moveTo>
                      <a:pt x="890076" y="452473"/>
                    </a:moveTo>
                    <a:lnTo>
                      <a:pt x="941059" y="377415"/>
                    </a:lnTo>
                    <a:lnTo>
                      <a:pt x="950973" y="483629"/>
                    </a:lnTo>
                    <a:lnTo>
                      <a:pt x="890076" y="452473"/>
                    </a:lnTo>
                    <a:close/>
                    <a:moveTo>
                      <a:pt x="473716" y="2384157"/>
                    </a:moveTo>
                    <a:lnTo>
                      <a:pt x="401490" y="2430892"/>
                    </a:lnTo>
                    <a:lnTo>
                      <a:pt x="377415" y="2430892"/>
                    </a:lnTo>
                    <a:lnTo>
                      <a:pt x="473716" y="2384157"/>
                    </a:lnTo>
                    <a:close/>
                    <a:moveTo>
                      <a:pt x="851839" y="1642073"/>
                    </a:moveTo>
                    <a:lnTo>
                      <a:pt x="959470" y="1524529"/>
                    </a:lnTo>
                    <a:lnTo>
                      <a:pt x="880163" y="1651987"/>
                    </a:lnTo>
                    <a:lnTo>
                      <a:pt x="851839" y="1642073"/>
                    </a:lnTo>
                    <a:close/>
                    <a:moveTo>
                      <a:pt x="1111002" y="1356003"/>
                    </a:moveTo>
                    <a:lnTo>
                      <a:pt x="973632" y="1506119"/>
                    </a:lnTo>
                    <a:lnTo>
                      <a:pt x="1028863" y="1416899"/>
                    </a:lnTo>
                    <a:lnTo>
                      <a:pt x="1111002" y="1356003"/>
                    </a:lnTo>
                    <a:close/>
                  </a:path>
                </a:pathLst>
              </a:custGeom>
              <a:grpFill/>
              <a:ln w="6350" cap="flat">
                <a:solidFill>
                  <a:schemeClr val="tx1">
                    <a:lumMod val="25000"/>
                    <a:lumOff val="75000"/>
                  </a:schemeClr>
                </a:solidFill>
                <a:prstDash val="solid"/>
                <a:miter/>
              </a:ln>
            </p:spPr>
            <p:txBody>
              <a:bodyPr rtlCol="0" anchor="ctr"/>
              <a:lstStyle/>
              <a:p>
                <a:pPr defTabSz="932384">
                  <a:defRPr/>
                </a:pPr>
                <a:endParaRPr lang="en-US" dirty="0">
                  <a:solidFill>
                    <a:srgbClr val="1A1A1A"/>
                  </a:solidFill>
                  <a:latin typeface="Segoe UI"/>
                </a:endParaRPr>
              </a:p>
            </p:txBody>
          </p:sp>
          <p:sp>
            <p:nvSpPr>
              <p:cNvPr id="951" name="Freeform: Shape 950">
                <a:extLst>
                  <a:ext uri="{FF2B5EF4-FFF2-40B4-BE49-F238E27FC236}">
                    <a16:creationId xmlns:a16="http://schemas.microsoft.com/office/drawing/2014/main" id="{C19D641B-D791-4205-8C3C-1DAEBDA847A3}"/>
                  </a:ext>
                </a:extLst>
              </p:cNvPr>
              <p:cNvSpPr/>
              <p:nvPr/>
            </p:nvSpPr>
            <p:spPr>
              <a:xfrm>
                <a:off x="3238834" y="3227193"/>
                <a:ext cx="538153" cy="339886"/>
              </a:xfrm>
              <a:custGeom>
                <a:avLst/>
                <a:gdLst>
                  <a:gd name="connsiteX0" fmla="*/ 102674 w 538152"/>
                  <a:gd name="connsiteY0" fmla="*/ 153657 h 339885"/>
                  <a:gd name="connsiteX1" fmla="*/ 197559 w 538152"/>
                  <a:gd name="connsiteY1" fmla="*/ 240044 h 339885"/>
                  <a:gd name="connsiteX2" fmla="*/ 189062 w 538152"/>
                  <a:gd name="connsiteY2" fmla="*/ 306605 h 339885"/>
                  <a:gd name="connsiteX3" fmla="*/ 191894 w 538152"/>
                  <a:gd name="connsiteY3" fmla="*/ 340594 h 339885"/>
                  <a:gd name="connsiteX4" fmla="*/ 191894 w 538152"/>
                  <a:gd name="connsiteY4" fmla="*/ 340594 h 339885"/>
                  <a:gd name="connsiteX5" fmla="*/ 303773 w 538152"/>
                  <a:gd name="connsiteY5" fmla="*/ 306605 h 339885"/>
                  <a:gd name="connsiteX6" fmla="*/ 303773 w 538152"/>
                  <a:gd name="connsiteY6" fmla="*/ 306605 h 339885"/>
                  <a:gd name="connsiteX7" fmla="*/ 308022 w 538152"/>
                  <a:gd name="connsiteY7" fmla="*/ 305189 h 339885"/>
                  <a:gd name="connsiteX8" fmla="*/ 402906 w 538152"/>
                  <a:gd name="connsiteY8" fmla="*/ 276865 h 339885"/>
                  <a:gd name="connsiteX9" fmla="*/ 451057 w 538152"/>
                  <a:gd name="connsiteY9" fmla="*/ 302357 h 339885"/>
                  <a:gd name="connsiteX10" fmla="*/ 530364 w 538152"/>
                  <a:gd name="connsiteY10" fmla="*/ 317935 h 339885"/>
                  <a:gd name="connsiteX11" fmla="*/ 530364 w 538152"/>
                  <a:gd name="connsiteY11" fmla="*/ 317935 h 339885"/>
                  <a:gd name="connsiteX12" fmla="*/ 530364 w 538152"/>
                  <a:gd name="connsiteY12" fmla="*/ 316519 h 339885"/>
                  <a:gd name="connsiteX13" fmla="*/ 530364 w 538152"/>
                  <a:gd name="connsiteY13" fmla="*/ 316519 h 339885"/>
                  <a:gd name="connsiteX14" fmla="*/ 417068 w 538152"/>
                  <a:gd name="connsiteY14" fmla="*/ 269784 h 339885"/>
                  <a:gd name="connsiteX15" fmla="*/ 417068 w 538152"/>
                  <a:gd name="connsiteY15" fmla="*/ 269784 h 339885"/>
                  <a:gd name="connsiteX16" fmla="*/ 401490 w 538152"/>
                  <a:gd name="connsiteY16" fmla="*/ 274033 h 339885"/>
                  <a:gd name="connsiteX17" fmla="*/ 401490 w 538152"/>
                  <a:gd name="connsiteY17" fmla="*/ 274033 h 339885"/>
                  <a:gd name="connsiteX18" fmla="*/ 414236 w 538152"/>
                  <a:gd name="connsiteY18" fmla="*/ 269784 h 339885"/>
                  <a:gd name="connsiteX19" fmla="*/ 414236 w 538152"/>
                  <a:gd name="connsiteY19" fmla="*/ 269784 h 339885"/>
                  <a:gd name="connsiteX20" fmla="*/ 337762 w 538152"/>
                  <a:gd name="connsiteY20" fmla="*/ 241461 h 339885"/>
                  <a:gd name="connsiteX21" fmla="*/ 181981 w 538152"/>
                  <a:gd name="connsiteY21" fmla="*/ 159321 h 339885"/>
                  <a:gd name="connsiteX22" fmla="*/ 87096 w 538152"/>
                  <a:gd name="connsiteY22" fmla="*/ 10621 h 339885"/>
                  <a:gd name="connsiteX23" fmla="*/ 87096 w 538152"/>
                  <a:gd name="connsiteY23" fmla="*/ 10621 h 339885"/>
                  <a:gd name="connsiteX24" fmla="*/ 85680 w 538152"/>
                  <a:gd name="connsiteY24" fmla="*/ 12038 h 339885"/>
                  <a:gd name="connsiteX25" fmla="*/ 85680 w 538152"/>
                  <a:gd name="connsiteY25" fmla="*/ 12038 h 339885"/>
                  <a:gd name="connsiteX26" fmla="*/ 179148 w 538152"/>
                  <a:gd name="connsiteY26" fmla="*/ 157905 h 339885"/>
                  <a:gd name="connsiteX27" fmla="*/ 155073 w 538152"/>
                  <a:gd name="connsiteY27" fmla="*/ 145160 h 339885"/>
                  <a:gd name="connsiteX28" fmla="*/ 97009 w 538152"/>
                  <a:gd name="connsiteY28" fmla="*/ 142327 h 339885"/>
                  <a:gd name="connsiteX29" fmla="*/ 10621 w 538152"/>
                  <a:gd name="connsiteY29" fmla="*/ 163570 h 339885"/>
                  <a:gd name="connsiteX30" fmla="*/ 10621 w 538152"/>
                  <a:gd name="connsiteY30" fmla="*/ 163570 h 339885"/>
                  <a:gd name="connsiteX31" fmla="*/ 10621 w 538152"/>
                  <a:gd name="connsiteY31" fmla="*/ 164986 h 339885"/>
                  <a:gd name="connsiteX32" fmla="*/ 94177 w 538152"/>
                  <a:gd name="connsiteY32" fmla="*/ 150824 h 339885"/>
                  <a:gd name="connsiteX33" fmla="*/ 102674 w 538152"/>
                  <a:gd name="connsiteY33" fmla="*/ 153657 h 339885"/>
                  <a:gd name="connsiteX34" fmla="*/ 302357 w 538152"/>
                  <a:gd name="connsiteY34" fmla="*/ 303773 h 339885"/>
                  <a:gd name="connsiteX35" fmla="*/ 213137 w 538152"/>
                  <a:gd name="connsiteY35" fmla="*/ 251374 h 339885"/>
                  <a:gd name="connsiteX36" fmla="*/ 198975 w 538152"/>
                  <a:gd name="connsiteY36" fmla="*/ 238628 h 339885"/>
                  <a:gd name="connsiteX37" fmla="*/ 204640 w 538152"/>
                  <a:gd name="connsiteY37" fmla="*/ 200391 h 339885"/>
                  <a:gd name="connsiteX38" fmla="*/ 204640 w 538152"/>
                  <a:gd name="connsiteY38" fmla="*/ 200391 h 339885"/>
                  <a:gd name="connsiteX39" fmla="*/ 203224 w 538152"/>
                  <a:gd name="connsiteY39" fmla="*/ 200391 h 339885"/>
                  <a:gd name="connsiteX40" fmla="*/ 203224 w 538152"/>
                  <a:gd name="connsiteY40" fmla="*/ 200391 h 339885"/>
                  <a:gd name="connsiteX41" fmla="*/ 197559 w 538152"/>
                  <a:gd name="connsiteY41" fmla="*/ 238628 h 339885"/>
                  <a:gd name="connsiteX42" fmla="*/ 106922 w 538152"/>
                  <a:gd name="connsiteY42" fmla="*/ 156489 h 339885"/>
                  <a:gd name="connsiteX43" fmla="*/ 193310 w 538152"/>
                  <a:gd name="connsiteY43" fmla="*/ 189062 h 339885"/>
                  <a:gd name="connsiteX44" fmla="*/ 204640 w 538152"/>
                  <a:gd name="connsiteY44" fmla="*/ 198975 h 339885"/>
                  <a:gd name="connsiteX45" fmla="*/ 206056 w 538152"/>
                  <a:gd name="connsiteY45" fmla="*/ 200391 h 339885"/>
                  <a:gd name="connsiteX46" fmla="*/ 200391 w 538152"/>
                  <a:gd name="connsiteY46" fmla="*/ 191894 h 339885"/>
                  <a:gd name="connsiteX47" fmla="*/ 334929 w 538152"/>
                  <a:gd name="connsiteY47" fmla="*/ 242877 h 339885"/>
                  <a:gd name="connsiteX48" fmla="*/ 394409 w 538152"/>
                  <a:gd name="connsiteY48" fmla="*/ 274033 h 339885"/>
                  <a:gd name="connsiteX49" fmla="*/ 305189 w 538152"/>
                  <a:gd name="connsiteY49" fmla="*/ 303773 h 339885"/>
                  <a:gd name="connsiteX50" fmla="*/ 302357 w 538152"/>
                  <a:gd name="connsiteY50" fmla="*/ 303773 h 339885"/>
                  <a:gd name="connsiteX51" fmla="*/ 150824 w 538152"/>
                  <a:gd name="connsiteY51" fmla="*/ 150824 h 339885"/>
                  <a:gd name="connsiteX52" fmla="*/ 190478 w 538152"/>
                  <a:gd name="connsiteY52" fmla="*/ 184813 h 339885"/>
                  <a:gd name="connsiteX53" fmla="*/ 104090 w 538152"/>
                  <a:gd name="connsiteY53" fmla="*/ 152241 h 339885"/>
                  <a:gd name="connsiteX54" fmla="*/ 99842 w 538152"/>
                  <a:gd name="connsiteY54" fmla="*/ 147992 h 339885"/>
                  <a:gd name="connsiteX55" fmla="*/ 150824 w 538152"/>
                  <a:gd name="connsiteY55" fmla="*/ 150824 h 339885"/>
                  <a:gd name="connsiteX56" fmla="*/ 196143 w 538152"/>
                  <a:gd name="connsiteY56" fmla="*/ 186229 h 339885"/>
                  <a:gd name="connsiteX57" fmla="*/ 152241 w 538152"/>
                  <a:gd name="connsiteY57" fmla="*/ 147992 h 339885"/>
                  <a:gd name="connsiteX58" fmla="*/ 152241 w 538152"/>
                  <a:gd name="connsiteY58" fmla="*/ 147992 h 339885"/>
                  <a:gd name="connsiteX59" fmla="*/ 94177 w 538152"/>
                  <a:gd name="connsiteY59" fmla="*/ 143743 h 339885"/>
                  <a:gd name="connsiteX60" fmla="*/ 94177 w 538152"/>
                  <a:gd name="connsiteY60" fmla="*/ 143743 h 339885"/>
                  <a:gd name="connsiteX61" fmla="*/ 99842 w 538152"/>
                  <a:gd name="connsiteY61" fmla="*/ 147992 h 339885"/>
                  <a:gd name="connsiteX62" fmla="*/ 94177 w 538152"/>
                  <a:gd name="connsiteY62" fmla="*/ 146576 h 339885"/>
                  <a:gd name="connsiteX63" fmla="*/ 36113 w 538152"/>
                  <a:gd name="connsiteY63" fmla="*/ 156489 h 339885"/>
                  <a:gd name="connsiteX64" fmla="*/ 95593 w 538152"/>
                  <a:gd name="connsiteY64" fmla="*/ 140911 h 339885"/>
                  <a:gd name="connsiteX65" fmla="*/ 153657 w 538152"/>
                  <a:gd name="connsiteY65" fmla="*/ 143743 h 339885"/>
                  <a:gd name="connsiteX66" fmla="*/ 180564 w 538152"/>
                  <a:gd name="connsiteY66" fmla="*/ 157905 h 339885"/>
                  <a:gd name="connsiteX67" fmla="*/ 197559 w 538152"/>
                  <a:gd name="connsiteY67" fmla="*/ 184813 h 339885"/>
                  <a:gd name="connsiteX68" fmla="*/ 196143 w 538152"/>
                  <a:gd name="connsiteY68" fmla="*/ 186229 h 339885"/>
                  <a:gd name="connsiteX69" fmla="*/ 198975 w 538152"/>
                  <a:gd name="connsiteY69" fmla="*/ 241461 h 339885"/>
                  <a:gd name="connsiteX70" fmla="*/ 213137 w 538152"/>
                  <a:gd name="connsiteY70" fmla="*/ 254206 h 339885"/>
                  <a:gd name="connsiteX71" fmla="*/ 300941 w 538152"/>
                  <a:gd name="connsiteY71" fmla="*/ 305189 h 339885"/>
                  <a:gd name="connsiteX72" fmla="*/ 193310 w 538152"/>
                  <a:gd name="connsiteY72" fmla="*/ 337762 h 339885"/>
                  <a:gd name="connsiteX73" fmla="*/ 190478 w 538152"/>
                  <a:gd name="connsiteY73" fmla="*/ 305189 h 339885"/>
                  <a:gd name="connsiteX74" fmla="*/ 198975 w 538152"/>
                  <a:gd name="connsiteY74" fmla="*/ 241461 h 339885"/>
                  <a:gd name="connsiteX75" fmla="*/ 200391 w 538152"/>
                  <a:gd name="connsiteY75" fmla="*/ 187645 h 339885"/>
                  <a:gd name="connsiteX76" fmla="*/ 183397 w 538152"/>
                  <a:gd name="connsiteY76" fmla="*/ 160738 h 339885"/>
                  <a:gd name="connsiteX77" fmla="*/ 320767 w 538152"/>
                  <a:gd name="connsiteY77" fmla="*/ 232963 h 339885"/>
                  <a:gd name="connsiteX78" fmla="*/ 200391 w 538152"/>
                  <a:gd name="connsiteY78" fmla="*/ 187645 h 339885"/>
                  <a:gd name="connsiteX79" fmla="*/ 198975 w 538152"/>
                  <a:gd name="connsiteY79" fmla="*/ 189062 h 339885"/>
                  <a:gd name="connsiteX80" fmla="*/ 198975 w 538152"/>
                  <a:gd name="connsiteY80" fmla="*/ 189062 h 339885"/>
                  <a:gd name="connsiteX81" fmla="*/ 198975 w 538152"/>
                  <a:gd name="connsiteY81" fmla="*/ 189062 h 339885"/>
                  <a:gd name="connsiteX82" fmla="*/ 198975 w 538152"/>
                  <a:gd name="connsiteY82" fmla="*/ 189062 h 339885"/>
                  <a:gd name="connsiteX83" fmla="*/ 398658 w 538152"/>
                  <a:gd name="connsiteY83" fmla="*/ 274033 h 339885"/>
                  <a:gd name="connsiteX84" fmla="*/ 381664 w 538152"/>
                  <a:gd name="connsiteY84" fmla="*/ 279698 h 339885"/>
                  <a:gd name="connsiteX85" fmla="*/ 398658 w 538152"/>
                  <a:gd name="connsiteY85" fmla="*/ 274033 h 339885"/>
                  <a:gd name="connsiteX86" fmla="*/ 398658 w 538152"/>
                  <a:gd name="connsiteY86" fmla="*/ 274033 h 339885"/>
                  <a:gd name="connsiteX87" fmla="*/ 398658 w 538152"/>
                  <a:gd name="connsiteY87" fmla="*/ 271200 h 339885"/>
                  <a:gd name="connsiteX88" fmla="*/ 351924 w 538152"/>
                  <a:gd name="connsiteY88" fmla="*/ 247125 h 339885"/>
                  <a:gd name="connsiteX89" fmla="*/ 407155 w 538152"/>
                  <a:gd name="connsiteY89" fmla="*/ 268368 h 339885"/>
                  <a:gd name="connsiteX90" fmla="*/ 398658 w 538152"/>
                  <a:gd name="connsiteY90" fmla="*/ 271200 h 339885"/>
                  <a:gd name="connsiteX91" fmla="*/ 449641 w 538152"/>
                  <a:gd name="connsiteY91" fmla="*/ 299524 h 339885"/>
                  <a:gd name="connsiteX92" fmla="*/ 404323 w 538152"/>
                  <a:gd name="connsiteY92" fmla="*/ 275449 h 339885"/>
                  <a:gd name="connsiteX93" fmla="*/ 417068 w 538152"/>
                  <a:gd name="connsiteY93" fmla="*/ 271200 h 339885"/>
                  <a:gd name="connsiteX94" fmla="*/ 519034 w 538152"/>
                  <a:gd name="connsiteY94" fmla="*/ 312270 h 339885"/>
                  <a:gd name="connsiteX95" fmla="*/ 449641 w 538152"/>
                  <a:gd name="connsiteY95" fmla="*/ 299524 h 3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538152" h="339885">
                    <a:moveTo>
                      <a:pt x="102674" y="153657"/>
                    </a:moveTo>
                    <a:lnTo>
                      <a:pt x="197559" y="240044"/>
                    </a:lnTo>
                    <a:lnTo>
                      <a:pt x="189062" y="306605"/>
                    </a:lnTo>
                    <a:lnTo>
                      <a:pt x="191894" y="340594"/>
                    </a:lnTo>
                    <a:lnTo>
                      <a:pt x="191894" y="340594"/>
                    </a:lnTo>
                    <a:lnTo>
                      <a:pt x="303773" y="306605"/>
                    </a:lnTo>
                    <a:lnTo>
                      <a:pt x="303773" y="306605"/>
                    </a:lnTo>
                    <a:lnTo>
                      <a:pt x="308022" y="305189"/>
                    </a:lnTo>
                    <a:lnTo>
                      <a:pt x="402906" y="276865"/>
                    </a:lnTo>
                    <a:lnTo>
                      <a:pt x="451057" y="302357"/>
                    </a:lnTo>
                    <a:lnTo>
                      <a:pt x="530364" y="317935"/>
                    </a:lnTo>
                    <a:lnTo>
                      <a:pt x="530364" y="317935"/>
                    </a:lnTo>
                    <a:lnTo>
                      <a:pt x="530364" y="316519"/>
                    </a:lnTo>
                    <a:lnTo>
                      <a:pt x="530364" y="316519"/>
                    </a:lnTo>
                    <a:lnTo>
                      <a:pt x="417068" y="269784"/>
                    </a:lnTo>
                    <a:lnTo>
                      <a:pt x="417068" y="269784"/>
                    </a:lnTo>
                    <a:lnTo>
                      <a:pt x="401490" y="274033"/>
                    </a:lnTo>
                    <a:lnTo>
                      <a:pt x="401490" y="274033"/>
                    </a:lnTo>
                    <a:lnTo>
                      <a:pt x="414236" y="269784"/>
                    </a:lnTo>
                    <a:lnTo>
                      <a:pt x="414236" y="269784"/>
                    </a:lnTo>
                    <a:lnTo>
                      <a:pt x="337762" y="241461"/>
                    </a:lnTo>
                    <a:lnTo>
                      <a:pt x="181981" y="159321"/>
                    </a:lnTo>
                    <a:lnTo>
                      <a:pt x="87096" y="10621"/>
                    </a:lnTo>
                    <a:lnTo>
                      <a:pt x="87096" y="10621"/>
                    </a:lnTo>
                    <a:lnTo>
                      <a:pt x="85680" y="12038"/>
                    </a:lnTo>
                    <a:lnTo>
                      <a:pt x="85680" y="12038"/>
                    </a:lnTo>
                    <a:lnTo>
                      <a:pt x="179148" y="157905"/>
                    </a:lnTo>
                    <a:lnTo>
                      <a:pt x="155073" y="145160"/>
                    </a:lnTo>
                    <a:lnTo>
                      <a:pt x="97009" y="142327"/>
                    </a:lnTo>
                    <a:lnTo>
                      <a:pt x="10621" y="163570"/>
                    </a:lnTo>
                    <a:lnTo>
                      <a:pt x="10621" y="163570"/>
                    </a:lnTo>
                    <a:lnTo>
                      <a:pt x="10621" y="164986"/>
                    </a:lnTo>
                    <a:lnTo>
                      <a:pt x="94177" y="150824"/>
                    </a:lnTo>
                    <a:lnTo>
                      <a:pt x="102674" y="153657"/>
                    </a:lnTo>
                    <a:close/>
                    <a:moveTo>
                      <a:pt x="302357" y="303773"/>
                    </a:moveTo>
                    <a:lnTo>
                      <a:pt x="213137" y="251374"/>
                    </a:lnTo>
                    <a:lnTo>
                      <a:pt x="198975" y="238628"/>
                    </a:lnTo>
                    <a:lnTo>
                      <a:pt x="204640" y="200391"/>
                    </a:lnTo>
                    <a:lnTo>
                      <a:pt x="204640" y="200391"/>
                    </a:lnTo>
                    <a:lnTo>
                      <a:pt x="203224" y="200391"/>
                    </a:lnTo>
                    <a:lnTo>
                      <a:pt x="203224" y="200391"/>
                    </a:lnTo>
                    <a:lnTo>
                      <a:pt x="197559" y="238628"/>
                    </a:lnTo>
                    <a:lnTo>
                      <a:pt x="106922" y="156489"/>
                    </a:lnTo>
                    <a:lnTo>
                      <a:pt x="193310" y="189062"/>
                    </a:lnTo>
                    <a:lnTo>
                      <a:pt x="204640" y="198975"/>
                    </a:lnTo>
                    <a:lnTo>
                      <a:pt x="206056" y="200391"/>
                    </a:lnTo>
                    <a:lnTo>
                      <a:pt x="200391" y="191894"/>
                    </a:lnTo>
                    <a:lnTo>
                      <a:pt x="334929" y="242877"/>
                    </a:lnTo>
                    <a:lnTo>
                      <a:pt x="394409" y="274033"/>
                    </a:lnTo>
                    <a:lnTo>
                      <a:pt x="305189" y="303773"/>
                    </a:lnTo>
                    <a:lnTo>
                      <a:pt x="302357" y="303773"/>
                    </a:lnTo>
                    <a:close/>
                    <a:moveTo>
                      <a:pt x="150824" y="150824"/>
                    </a:moveTo>
                    <a:lnTo>
                      <a:pt x="190478" y="184813"/>
                    </a:lnTo>
                    <a:lnTo>
                      <a:pt x="104090" y="152241"/>
                    </a:lnTo>
                    <a:lnTo>
                      <a:pt x="99842" y="147992"/>
                    </a:lnTo>
                    <a:lnTo>
                      <a:pt x="150824" y="150824"/>
                    </a:lnTo>
                    <a:close/>
                    <a:moveTo>
                      <a:pt x="196143" y="186229"/>
                    </a:moveTo>
                    <a:lnTo>
                      <a:pt x="152241" y="147992"/>
                    </a:lnTo>
                    <a:lnTo>
                      <a:pt x="152241" y="147992"/>
                    </a:lnTo>
                    <a:lnTo>
                      <a:pt x="94177" y="143743"/>
                    </a:lnTo>
                    <a:lnTo>
                      <a:pt x="94177" y="143743"/>
                    </a:lnTo>
                    <a:lnTo>
                      <a:pt x="99842" y="147992"/>
                    </a:lnTo>
                    <a:lnTo>
                      <a:pt x="94177" y="146576"/>
                    </a:lnTo>
                    <a:lnTo>
                      <a:pt x="36113" y="156489"/>
                    </a:lnTo>
                    <a:lnTo>
                      <a:pt x="95593" y="140911"/>
                    </a:lnTo>
                    <a:lnTo>
                      <a:pt x="153657" y="143743"/>
                    </a:lnTo>
                    <a:lnTo>
                      <a:pt x="180564" y="157905"/>
                    </a:lnTo>
                    <a:lnTo>
                      <a:pt x="197559" y="184813"/>
                    </a:lnTo>
                    <a:lnTo>
                      <a:pt x="196143" y="186229"/>
                    </a:lnTo>
                    <a:close/>
                    <a:moveTo>
                      <a:pt x="198975" y="241461"/>
                    </a:moveTo>
                    <a:lnTo>
                      <a:pt x="213137" y="254206"/>
                    </a:lnTo>
                    <a:lnTo>
                      <a:pt x="300941" y="305189"/>
                    </a:lnTo>
                    <a:lnTo>
                      <a:pt x="193310" y="337762"/>
                    </a:lnTo>
                    <a:lnTo>
                      <a:pt x="190478" y="305189"/>
                    </a:lnTo>
                    <a:lnTo>
                      <a:pt x="198975" y="241461"/>
                    </a:lnTo>
                    <a:close/>
                    <a:moveTo>
                      <a:pt x="200391" y="187645"/>
                    </a:moveTo>
                    <a:lnTo>
                      <a:pt x="183397" y="160738"/>
                    </a:lnTo>
                    <a:lnTo>
                      <a:pt x="320767" y="232963"/>
                    </a:lnTo>
                    <a:lnTo>
                      <a:pt x="200391" y="187645"/>
                    </a:lnTo>
                    <a:close/>
                    <a:moveTo>
                      <a:pt x="198975" y="189062"/>
                    </a:moveTo>
                    <a:lnTo>
                      <a:pt x="198975" y="189062"/>
                    </a:lnTo>
                    <a:lnTo>
                      <a:pt x="198975" y="189062"/>
                    </a:lnTo>
                    <a:lnTo>
                      <a:pt x="198975" y="189062"/>
                    </a:lnTo>
                    <a:close/>
                    <a:moveTo>
                      <a:pt x="398658" y="274033"/>
                    </a:moveTo>
                    <a:lnTo>
                      <a:pt x="381664" y="279698"/>
                    </a:lnTo>
                    <a:lnTo>
                      <a:pt x="398658" y="274033"/>
                    </a:lnTo>
                    <a:lnTo>
                      <a:pt x="398658" y="274033"/>
                    </a:lnTo>
                    <a:close/>
                    <a:moveTo>
                      <a:pt x="398658" y="271200"/>
                    </a:moveTo>
                    <a:lnTo>
                      <a:pt x="351924" y="247125"/>
                    </a:lnTo>
                    <a:lnTo>
                      <a:pt x="407155" y="268368"/>
                    </a:lnTo>
                    <a:lnTo>
                      <a:pt x="398658" y="271200"/>
                    </a:lnTo>
                    <a:close/>
                    <a:moveTo>
                      <a:pt x="449641" y="299524"/>
                    </a:moveTo>
                    <a:lnTo>
                      <a:pt x="404323" y="275449"/>
                    </a:lnTo>
                    <a:lnTo>
                      <a:pt x="417068" y="271200"/>
                    </a:lnTo>
                    <a:lnTo>
                      <a:pt x="519034" y="312270"/>
                    </a:lnTo>
                    <a:lnTo>
                      <a:pt x="449641" y="299524"/>
                    </a:lnTo>
                    <a:close/>
                  </a:path>
                </a:pathLst>
              </a:custGeom>
              <a:grpFill/>
              <a:ln w="6350" cap="flat">
                <a:solidFill>
                  <a:schemeClr val="tx1">
                    <a:lumMod val="25000"/>
                    <a:lumOff val="75000"/>
                  </a:schemeClr>
                </a:solidFill>
                <a:prstDash val="solid"/>
                <a:miter/>
              </a:ln>
            </p:spPr>
            <p:txBody>
              <a:bodyPr rtlCol="0" anchor="ctr"/>
              <a:lstStyle/>
              <a:p>
                <a:pPr defTabSz="932384">
                  <a:defRPr/>
                </a:pPr>
                <a:endParaRPr lang="en-US" dirty="0">
                  <a:solidFill>
                    <a:srgbClr val="1A1A1A"/>
                  </a:solidFill>
                  <a:latin typeface="Segoe UI"/>
                </a:endParaRPr>
              </a:p>
            </p:txBody>
          </p:sp>
          <p:sp>
            <p:nvSpPr>
              <p:cNvPr id="952" name="Freeform: Shape 951">
                <a:extLst>
                  <a:ext uri="{FF2B5EF4-FFF2-40B4-BE49-F238E27FC236}">
                    <a16:creationId xmlns:a16="http://schemas.microsoft.com/office/drawing/2014/main" id="{211BE2F0-E403-46AB-825C-5324306A658F}"/>
                  </a:ext>
                </a:extLst>
              </p:cNvPr>
              <p:cNvSpPr/>
              <p:nvPr/>
            </p:nvSpPr>
            <p:spPr>
              <a:xfrm>
                <a:off x="9201000" y="4709945"/>
                <a:ext cx="1189601" cy="1260410"/>
              </a:xfrm>
              <a:custGeom>
                <a:avLst/>
                <a:gdLst>
                  <a:gd name="connsiteX0" fmla="*/ 1147823 w 1189600"/>
                  <a:gd name="connsiteY0" fmla="*/ 557271 h 1260409"/>
                  <a:gd name="connsiteX1" fmla="*/ 1147823 w 1189600"/>
                  <a:gd name="connsiteY1" fmla="*/ 555855 h 1260409"/>
                  <a:gd name="connsiteX2" fmla="*/ 1147823 w 1189600"/>
                  <a:gd name="connsiteY2" fmla="*/ 555855 h 1260409"/>
                  <a:gd name="connsiteX3" fmla="*/ 1135078 w 1189600"/>
                  <a:gd name="connsiteY3" fmla="*/ 554439 h 1260409"/>
                  <a:gd name="connsiteX4" fmla="*/ 1109586 w 1189600"/>
                  <a:gd name="connsiteY4" fmla="*/ 545941 h 1260409"/>
                  <a:gd name="connsiteX5" fmla="*/ 1120916 w 1189600"/>
                  <a:gd name="connsiteY5" fmla="*/ 441143 h 1260409"/>
                  <a:gd name="connsiteX6" fmla="*/ 1120916 w 1189600"/>
                  <a:gd name="connsiteY6" fmla="*/ 441143 h 1260409"/>
                  <a:gd name="connsiteX7" fmla="*/ 958054 w 1189600"/>
                  <a:gd name="connsiteY7" fmla="*/ 526115 h 1260409"/>
                  <a:gd name="connsiteX8" fmla="*/ 938227 w 1189600"/>
                  <a:gd name="connsiteY8" fmla="*/ 526115 h 1260409"/>
                  <a:gd name="connsiteX9" fmla="*/ 843342 w 1189600"/>
                  <a:gd name="connsiteY9" fmla="*/ 511953 h 1260409"/>
                  <a:gd name="connsiteX10" fmla="*/ 820683 w 1189600"/>
                  <a:gd name="connsiteY10" fmla="*/ 431230 h 1260409"/>
                  <a:gd name="connsiteX11" fmla="*/ 948140 w 1189600"/>
                  <a:gd name="connsiteY11" fmla="*/ 375999 h 1260409"/>
                  <a:gd name="connsiteX12" fmla="*/ 1084094 w 1189600"/>
                  <a:gd name="connsiteY12" fmla="*/ 364669 h 1260409"/>
                  <a:gd name="connsiteX13" fmla="*/ 1084094 w 1189600"/>
                  <a:gd name="connsiteY13" fmla="*/ 364669 h 1260409"/>
                  <a:gd name="connsiteX14" fmla="*/ 960886 w 1189600"/>
                  <a:gd name="connsiteY14" fmla="*/ 211720 h 1260409"/>
                  <a:gd name="connsiteX15" fmla="*/ 965135 w 1189600"/>
                  <a:gd name="connsiteY15" fmla="*/ 211720 h 1260409"/>
                  <a:gd name="connsiteX16" fmla="*/ 959470 w 1189600"/>
                  <a:gd name="connsiteY16" fmla="*/ 208888 h 1260409"/>
                  <a:gd name="connsiteX17" fmla="*/ 959470 w 1189600"/>
                  <a:gd name="connsiteY17" fmla="*/ 208888 h 1260409"/>
                  <a:gd name="connsiteX18" fmla="*/ 958054 w 1189600"/>
                  <a:gd name="connsiteY18" fmla="*/ 208888 h 1260409"/>
                  <a:gd name="connsiteX19" fmla="*/ 882995 w 1189600"/>
                  <a:gd name="connsiteY19" fmla="*/ 172067 h 1260409"/>
                  <a:gd name="connsiteX20" fmla="*/ 887244 w 1189600"/>
                  <a:gd name="connsiteY20" fmla="*/ 21951 h 1260409"/>
                  <a:gd name="connsiteX21" fmla="*/ 928313 w 1189600"/>
                  <a:gd name="connsiteY21" fmla="*/ 126749 h 1260409"/>
                  <a:gd name="connsiteX22" fmla="*/ 928313 w 1189600"/>
                  <a:gd name="connsiteY22" fmla="*/ 126749 h 1260409"/>
                  <a:gd name="connsiteX23" fmla="*/ 929730 w 1189600"/>
                  <a:gd name="connsiteY23" fmla="*/ 125333 h 1260409"/>
                  <a:gd name="connsiteX24" fmla="*/ 885828 w 1189600"/>
                  <a:gd name="connsiteY24" fmla="*/ 12037 h 1260409"/>
                  <a:gd name="connsiteX25" fmla="*/ 885828 w 1189600"/>
                  <a:gd name="connsiteY25" fmla="*/ 10621 h 1260409"/>
                  <a:gd name="connsiteX26" fmla="*/ 881579 w 1189600"/>
                  <a:gd name="connsiteY26" fmla="*/ 172067 h 1260409"/>
                  <a:gd name="connsiteX27" fmla="*/ 881579 w 1189600"/>
                  <a:gd name="connsiteY27" fmla="*/ 172067 h 1260409"/>
                  <a:gd name="connsiteX28" fmla="*/ 952389 w 1189600"/>
                  <a:gd name="connsiteY28" fmla="*/ 206056 h 1260409"/>
                  <a:gd name="connsiteX29" fmla="*/ 673399 w 1189600"/>
                  <a:gd name="connsiteY29" fmla="*/ 163570 h 1260409"/>
                  <a:gd name="connsiteX30" fmla="*/ 721550 w 1189600"/>
                  <a:gd name="connsiteY30" fmla="*/ 160737 h 1260409"/>
                  <a:gd name="connsiteX31" fmla="*/ 721550 w 1189600"/>
                  <a:gd name="connsiteY31" fmla="*/ 160737 h 1260409"/>
                  <a:gd name="connsiteX32" fmla="*/ 608254 w 1189600"/>
                  <a:gd name="connsiteY32" fmla="*/ 41777 h 1260409"/>
                  <a:gd name="connsiteX33" fmla="*/ 608254 w 1189600"/>
                  <a:gd name="connsiteY33" fmla="*/ 41777 h 1260409"/>
                  <a:gd name="connsiteX34" fmla="*/ 608254 w 1189600"/>
                  <a:gd name="connsiteY34" fmla="*/ 38945 h 1260409"/>
                  <a:gd name="connsiteX35" fmla="*/ 608254 w 1189600"/>
                  <a:gd name="connsiteY35" fmla="*/ 37529 h 1260409"/>
                  <a:gd name="connsiteX36" fmla="*/ 511954 w 1189600"/>
                  <a:gd name="connsiteY36" fmla="*/ 138079 h 1260409"/>
                  <a:gd name="connsiteX37" fmla="*/ 402907 w 1189600"/>
                  <a:gd name="connsiteY37" fmla="*/ 121084 h 1260409"/>
                  <a:gd name="connsiteX38" fmla="*/ 400074 w 1189600"/>
                  <a:gd name="connsiteY38" fmla="*/ 118252 h 1260409"/>
                  <a:gd name="connsiteX39" fmla="*/ 400074 w 1189600"/>
                  <a:gd name="connsiteY39" fmla="*/ 118252 h 1260409"/>
                  <a:gd name="connsiteX40" fmla="*/ 392993 w 1189600"/>
                  <a:gd name="connsiteY40" fmla="*/ 126749 h 1260409"/>
                  <a:gd name="connsiteX41" fmla="*/ 283946 w 1189600"/>
                  <a:gd name="connsiteY41" fmla="*/ 200391 h 1260409"/>
                  <a:gd name="connsiteX42" fmla="*/ 232964 w 1189600"/>
                  <a:gd name="connsiteY42" fmla="*/ 295275 h 1260409"/>
                  <a:gd name="connsiteX43" fmla="*/ 95593 w 1189600"/>
                  <a:gd name="connsiteY43" fmla="*/ 367501 h 1260409"/>
                  <a:gd name="connsiteX44" fmla="*/ 85679 w 1189600"/>
                  <a:gd name="connsiteY44" fmla="*/ 368918 h 1260409"/>
                  <a:gd name="connsiteX45" fmla="*/ 85679 w 1189600"/>
                  <a:gd name="connsiteY45" fmla="*/ 368918 h 1260409"/>
                  <a:gd name="connsiteX46" fmla="*/ 88512 w 1189600"/>
                  <a:gd name="connsiteY46" fmla="*/ 371750 h 1260409"/>
                  <a:gd name="connsiteX47" fmla="*/ 41778 w 1189600"/>
                  <a:gd name="connsiteY47" fmla="*/ 392993 h 1260409"/>
                  <a:gd name="connsiteX48" fmla="*/ 36113 w 1189600"/>
                  <a:gd name="connsiteY48" fmla="*/ 391577 h 1260409"/>
                  <a:gd name="connsiteX49" fmla="*/ 36113 w 1189600"/>
                  <a:gd name="connsiteY49" fmla="*/ 391577 h 1260409"/>
                  <a:gd name="connsiteX50" fmla="*/ 36113 w 1189600"/>
                  <a:gd name="connsiteY50" fmla="*/ 392993 h 1260409"/>
                  <a:gd name="connsiteX51" fmla="*/ 38945 w 1189600"/>
                  <a:gd name="connsiteY51" fmla="*/ 392993 h 1260409"/>
                  <a:gd name="connsiteX52" fmla="*/ 37529 w 1189600"/>
                  <a:gd name="connsiteY52" fmla="*/ 392993 h 1260409"/>
                  <a:gd name="connsiteX53" fmla="*/ 37529 w 1189600"/>
                  <a:gd name="connsiteY53" fmla="*/ 392993 h 1260409"/>
                  <a:gd name="connsiteX54" fmla="*/ 70102 w 1189600"/>
                  <a:gd name="connsiteY54" fmla="*/ 438311 h 1260409"/>
                  <a:gd name="connsiteX55" fmla="*/ 10621 w 1189600"/>
                  <a:gd name="connsiteY55" fmla="*/ 469467 h 1260409"/>
                  <a:gd name="connsiteX56" fmla="*/ 10621 w 1189600"/>
                  <a:gd name="connsiteY56" fmla="*/ 469467 h 1260409"/>
                  <a:gd name="connsiteX57" fmla="*/ 10621 w 1189600"/>
                  <a:gd name="connsiteY57" fmla="*/ 470883 h 1260409"/>
                  <a:gd name="connsiteX58" fmla="*/ 126749 w 1189600"/>
                  <a:gd name="connsiteY58" fmla="*/ 438311 h 1260409"/>
                  <a:gd name="connsiteX59" fmla="*/ 132414 w 1189600"/>
                  <a:gd name="connsiteY59" fmla="*/ 438311 h 1260409"/>
                  <a:gd name="connsiteX60" fmla="*/ 92760 w 1189600"/>
                  <a:gd name="connsiteY60" fmla="*/ 523282 h 1260409"/>
                  <a:gd name="connsiteX61" fmla="*/ 53107 w 1189600"/>
                  <a:gd name="connsiteY61" fmla="*/ 534612 h 1260409"/>
                  <a:gd name="connsiteX62" fmla="*/ 38945 w 1189600"/>
                  <a:gd name="connsiteY62" fmla="*/ 534612 h 1260409"/>
                  <a:gd name="connsiteX63" fmla="*/ 37529 w 1189600"/>
                  <a:gd name="connsiteY63" fmla="*/ 534612 h 1260409"/>
                  <a:gd name="connsiteX64" fmla="*/ 41778 w 1189600"/>
                  <a:gd name="connsiteY64" fmla="*/ 537444 h 1260409"/>
                  <a:gd name="connsiteX65" fmla="*/ 41778 w 1189600"/>
                  <a:gd name="connsiteY65" fmla="*/ 537444 h 1260409"/>
                  <a:gd name="connsiteX66" fmla="*/ 41778 w 1189600"/>
                  <a:gd name="connsiteY66" fmla="*/ 537444 h 1260409"/>
                  <a:gd name="connsiteX67" fmla="*/ 41778 w 1189600"/>
                  <a:gd name="connsiteY67" fmla="*/ 538860 h 1260409"/>
                  <a:gd name="connsiteX68" fmla="*/ 44610 w 1189600"/>
                  <a:gd name="connsiteY68" fmla="*/ 538860 h 1260409"/>
                  <a:gd name="connsiteX69" fmla="*/ 75766 w 1189600"/>
                  <a:gd name="connsiteY69" fmla="*/ 557271 h 1260409"/>
                  <a:gd name="connsiteX70" fmla="*/ 41778 w 1189600"/>
                  <a:gd name="connsiteY70" fmla="*/ 629497 h 1260409"/>
                  <a:gd name="connsiteX71" fmla="*/ 41778 w 1189600"/>
                  <a:gd name="connsiteY71" fmla="*/ 630913 h 1260409"/>
                  <a:gd name="connsiteX72" fmla="*/ 109755 w 1189600"/>
                  <a:gd name="connsiteY72" fmla="*/ 578514 h 1260409"/>
                  <a:gd name="connsiteX73" fmla="*/ 172068 w 1189600"/>
                  <a:gd name="connsiteY73" fmla="*/ 615335 h 1260409"/>
                  <a:gd name="connsiteX74" fmla="*/ 153656 w 1189600"/>
                  <a:gd name="connsiteY74" fmla="*/ 659237 h 1260409"/>
                  <a:gd name="connsiteX75" fmla="*/ 70102 w 1189600"/>
                  <a:gd name="connsiteY75" fmla="*/ 697474 h 1260409"/>
                  <a:gd name="connsiteX76" fmla="*/ 70102 w 1189600"/>
                  <a:gd name="connsiteY76" fmla="*/ 697474 h 1260409"/>
                  <a:gd name="connsiteX77" fmla="*/ 97009 w 1189600"/>
                  <a:gd name="connsiteY77" fmla="*/ 790942 h 1260409"/>
                  <a:gd name="connsiteX78" fmla="*/ 84264 w 1189600"/>
                  <a:gd name="connsiteY78" fmla="*/ 819266 h 1260409"/>
                  <a:gd name="connsiteX79" fmla="*/ 84264 w 1189600"/>
                  <a:gd name="connsiteY79" fmla="*/ 819266 h 1260409"/>
                  <a:gd name="connsiteX80" fmla="*/ 85679 w 1189600"/>
                  <a:gd name="connsiteY80" fmla="*/ 820682 h 1260409"/>
                  <a:gd name="connsiteX81" fmla="*/ 99841 w 1189600"/>
                  <a:gd name="connsiteY81" fmla="*/ 802272 h 1260409"/>
                  <a:gd name="connsiteX82" fmla="*/ 118252 w 1189600"/>
                  <a:gd name="connsiteY82" fmla="*/ 863168 h 1260409"/>
                  <a:gd name="connsiteX83" fmla="*/ 118252 w 1189600"/>
                  <a:gd name="connsiteY83" fmla="*/ 863168 h 1260409"/>
                  <a:gd name="connsiteX84" fmla="*/ 257039 w 1189600"/>
                  <a:gd name="connsiteY84" fmla="*/ 796607 h 1260409"/>
                  <a:gd name="connsiteX85" fmla="*/ 257039 w 1189600"/>
                  <a:gd name="connsiteY85" fmla="*/ 796607 h 1260409"/>
                  <a:gd name="connsiteX86" fmla="*/ 180564 w 1189600"/>
                  <a:gd name="connsiteY86" fmla="*/ 739960 h 1260409"/>
                  <a:gd name="connsiteX87" fmla="*/ 272617 w 1189600"/>
                  <a:gd name="connsiteY87" fmla="*/ 766867 h 1260409"/>
                  <a:gd name="connsiteX88" fmla="*/ 296692 w 1189600"/>
                  <a:gd name="connsiteY88" fmla="*/ 846174 h 1260409"/>
                  <a:gd name="connsiteX89" fmla="*/ 296692 w 1189600"/>
                  <a:gd name="connsiteY89" fmla="*/ 846174 h 1260409"/>
                  <a:gd name="connsiteX90" fmla="*/ 466635 w 1189600"/>
                  <a:gd name="connsiteY90" fmla="*/ 772532 h 1260409"/>
                  <a:gd name="connsiteX91" fmla="*/ 466635 w 1189600"/>
                  <a:gd name="connsiteY91" fmla="*/ 772532 h 1260409"/>
                  <a:gd name="connsiteX92" fmla="*/ 436895 w 1189600"/>
                  <a:gd name="connsiteY92" fmla="*/ 745624 h 1260409"/>
                  <a:gd name="connsiteX93" fmla="*/ 551607 w 1189600"/>
                  <a:gd name="connsiteY93" fmla="*/ 722965 h 1260409"/>
                  <a:gd name="connsiteX94" fmla="*/ 554439 w 1189600"/>
                  <a:gd name="connsiteY94" fmla="*/ 728630 h 1260409"/>
                  <a:gd name="connsiteX95" fmla="*/ 554439 w 1189600"/>
                  <a:gd name="connsiteY95" fmla="*/ 730046 h 1260409"/>
                  <a:gd name="connsiteX96" fmla="*/ 554439 w 1189600"/>
                  <a:gd name="connsiteY96" fmla="*/ 721549 h 1260409"/>
                  <a:gd name="connsiteX97" fmla="*/ 561520 w 1189600"/>
                  <a:gd name="connsiteY97" fmla="*/ 711636 h 1260409"/>
                  <a:gd name="connsiteX98" fmla="*/ 674816 w 1189600"/>
                  <a:gd name="connsiteY98" fmla="*/ 792359 h 1260409"/>
                  <a:gd name="connsiteX99" fmla="*/ 670566 w 1189600"/>
                  <a:gd name="connsiteY99" fmla="*/ 849006 h 1260409"/>
                  <a:gd name="connsiteX100" fmla="*/ 670566 w 1189600"/>
                  <a:gd name="connsiteY100" fmla="*/ 849006 h 1260409"/>
                  <a:gd name="connsiteX101" fmla="*/ 816435 w 1189600"/>
                  <a:gd name="connsiteY101" fmla="*/ 1034527 h 1260409"/>
                  <a:gd name="connsiteX102" fmla="*/ 1040193 w 1189600"/>
                  <a:gd name="connsiteY102" fmla="*/ 1173314 h 1260409"/>
                  <a:gd name="connsiteX103" fmla="*/ 994874 w 1189600"/>
                  <a:gd name="connsiteY103" fmla="*/ 1255453 h 1260409"/>
                  <a:gd name="connsiteX104" fmla="*/ 994874 w 1189600"/>
                  <a:gd name="connsiteY104" fmla="*/ 1255453 h 1260409"/>
                  <a:gd name="connsiteX105" fmla="*/ 996290 w 1189600"/>
                  <a:gd name="connsiteY105" fmla="*/ 1256869 h 1260409"/>
                  <a:gd name="connsiteX106" fmla="*/ 1043025 w 1189600"/>
                  <a:gd name="connsiteY106" fmla="*/ 1173314 h 1260409"/>
                  <a:gd name="connsiteX107" fmla="*/ 1043025 w 1189600"/>
                  <a:gd name="connsiteY107" fmla="*/ 1173314 h 1260409"/>
                  <a:gd name="connsiteX108" fmla="*/ 817851 w 1189600"/>
                  <a:gd name="connsiteY108" fmla="*/ 1033111 h 1260409"/>
                  <a:gd name="connsiteX109" fmla="*/ 671983 w 1189600"/>
                  <a:gd name="connsiteY109" fmla="*/ 849006 h 1260409"/>
                  <a:gd name="connsiteX110" fmla="*/ 676231 w 1189600"/>
                  <a:gd name="connsiteY110" fmla="*/ 793775 h 1260409"/>
                  <a:gd name="connsiteX111" fmla="*/ 816435 w 1189600"/>
                  <a:gd name="connsiteY111" fmla="*/ 892908 h 1260409"/>
                  <a:gd name="connsiteX112" fmla="*/ 816435 w 1189600"/>
                  <a:gd name="connsiteY112" fmla="*/ 892908 h 1260409"/>
                  <a:gd name="connsiteX113" fmla="*/ 817851 w 1189600"/>
                  <a:gd name="connsiteY113" fmla="*/ 891492 h 1260409"/>
                  <a:gd name="connsiteX114" fmla="*/ 677647 w 1189600"/>
                  <a:gd name="connsiteY114" fmla="*/ 766867 h 1260409"/>
                  <a:gd name="connsiteX115" fmla="*/ 684728 w 1189600"/>
                  <a:gd name="connsiteY115" fmla="*/ 669150 h 1260409"/>
                  <a:gd name="connsiteX116" fmla="*/ 793775 w 1189600"/>
                  <a:gd name="connsiteY116" fmla="*/ 664901 h 1260409"/>
                  <a:gd name="connsiteX117" fmla="*/ 817851 w 1189600"/>
                  <a:gd name="connsiteY117" fmla="*/ 877330 h 1260409"/>
                  <a:gd name="connsiteX118" fmla="*/ 817851 w 1189600"/>
                  <a:gd name="connsiteY118" fmla="*/ 877330 h 1260409"/>
                  <a:gd name="connsiteX119" fmla="*/ 824932 w 1189600"/>
                  <a:gd name="connsiteY119" fmla="*/ 878746 h 1260409"/>
                  <a:gd name="connsiteX120" fmla="*/ 815018 w 1189600"/>
                  <a:gd name="connsiteY120" fmla="*/ 894324 h 1260409"/>
                  <a:gd name="connsiteX121" fmla="*/ 815018 w 1189600"/>
                  <a:gd name="connsiteY121" fmla="*/ 894324 h 1260409"/>
                  <a:gd name="connsiteX122" fmla="*/ 867417 w 1189600"/>
                  <a:gd name="connsiteY122" fmla="*/ 890076 h 1260409"/>
                  <a:gd name="connsiteX123" fmla="*/ 949556 w 1189600"/>
                  <a:gd name="connsiteY123" fmla="*/ 912735 h 1260409"/>
                  <a:gd name="connsiteX124" fmla="*/ 976464 w 1189600"/>
                  <a:gd name="connsiteY124" fmla="*/ 1006203 h 1260409"/>
                  <a:gd name="connsiteX125" fmla="*/ 885828 w 1189600"/>
                  <a:gd name="connsiteY125" fmla="*/ 1060019 h 1260409"/>
                  <a:gd name="connsiteX126" fmla="*/ 885828 w 1189600"/>
                  <a:gd name="connsiteY126" fmla="*/ 1060019 h 1260409"/>
                  <a:gd name="connsiteX127" fmla="*/ 993459 w 1189600"/>
                  <a:gd name="connsiteY127" fmla="*/ 1057186 h 1260409"/>
                  <a:gd name="connsiteX128" fmla="*/ 993459 w 1189600"/>
                  <a:gd name="connsiteY128" fmla="*/ 1057186 h 1260409"/>
                  <a:gd name="connsiteX129" fmla="*/ 979297 w 1189600"/>
                  <a:gd name="connsiteY129" fmla="*/ 1007620 h 1260409"/>
                  <a:gd name="connsiteX130" fmla="*/ 1078430 w 1189600"/>
                  <a:gd name="connsiteY130" fmla="*/ 949556 h 1260409"/>
                  <a:gd name="connsiteX131" fmla="*/ 1137909 w 1189600"/>
                  <a:gd name="connsiteY131" fmla="*/ 841925 h 1260409"/>
                  <a:gd name="connsiteX132" fmla="*/ 1137909 w 1189600"/>
                  <a:gd name="connsiteY132" fmla="*/ 841925 h 1260409"/>
                  <a:gd name="connsiteX133" fmla="*/ 1118083 w 1189600"/>
                  <a:gd name="connsiteY133" fmla="*/ 700306 h 1260409"/>
                  <a:gd name="connsiteX134" fmla="*/ 1119499 w 1189600"/>
                  <a:gd name="connsiteY134" fmla="*/ 687560 h 1260409"/>
                  <a:gd name="connsiteX135" fmla="*/ 1181812 w 1189600"/>
                  <a:gd name="connsiteY135" fmla="*/ 752705 h 1260409"/>
                  <a:gd name="connsiteX136" fmla="*/ 1181812 w 1189600"/>
                  <a:gd name="connsiteY136" fmla="*/ 752705 h 1260409"/>
                  <a:gd name="connsiteX137" fmla="*/ 1184644 w 1189600"/>
                  <a:gd name="connsiteY137" fmla="*/ 554439 h 1260409"/>
                  <a:gd name="connsiteX138" fmla="*/ 1184644 w 1189600"/>
                  <a:gd name="connsiteY138" fmla="*/ 554439 h 1260409"/>
                  <a:gd name="connsiteX139" fmla="*/ 1147823 w 1189600"/>
                  <a:gd name="connsiteY139" fmla="*/ 557271 h 1260409"/>
                  <a:gd name="connsiteX140" fmla="*/ 1147823 w 1189600"/>
                  <a:gd name="connsiteY140" fmla="*/ 557271 h 1260409"/>
                  <a:gd name="connsiteX141" fmla="*/ 901406 w 1189600"/>
                  <a:gd name="connsiteY141" fmla="*/ 1057186 h 1260409"/>
                  <a:gd name="connsiteX142" fmla="*/ 984961 w 1189600"/>
                  <a:gd name="connsiteY142" fmla="*/ 1007620 h 1260409"/>
                  <a:gd name="connsiteX143" fmla="*/ 997707 w 1189600"/>
                  <a:gd name="connsiteY143" fmla="*/ 1054354 h 1260409"/>
                  <a:gd name="connsiteX144" fmla="*/ 901406 w 1189600"/>
                  <a:gd name="connsiteY144" fmla="*/ 1057186 h 1260409"/>
                  <a:gd name="connsiteX145" fmla="*/ 809354 w 1189600"/>
                  <a:gd name="connsiteY145" fmla="*/ 878746 h 1260409"/>
                  <a:gd name="connsiteX146" fmla="*/ 683312 w 1189600"/>
                  <a:gd name="connsiteY146" fmla="*/ 789526 h 1260409"/>
                  <a:gd name="connsiteX147" fmla="*/ 684728 w 1189600"/>
                  <a:gd name="connsiteY147" fmla="*/ 768284 h 1260409"/>
                  <a:gd name="connsiteX148" fmla="*/ 809354 w 1189600"/>
                  <a:gd name="connsiteY148" fmla="*/ 878746 h 1260409"/>
                  <a:gd name="connsiteX149" fmla="*/ 984961 w 1189600"/>
                  <a:gd name="connsiteY149" fmla="*/ 1004787 h 1260409"/>
                  <a:gd name="connsiteX150" fmla="*/ 958054 w 1189600"/>
                  <a:gd name="connsiteY150" fmla="*/ 912735 h 1260409"/>
                  <a:gd name="connsiteX151" fmla="*/ 1081262 w 1189600"/>
                  <a:gd name="connsiteY151" fmla="*/ 946723 h 1260409"/>
                  <a:gd name="connsiteX152" fmla="*/ 1081262 w 1189600"/>
                  <a:gd name="connsiteY152" fmla="*/ 946723 h 1260409"/>
                  <a:gd name="connsiteX153" fmla="*/ 1120916 w 1189600"/>
                  <a:gd name="connsiteY153" fmla="*/ 705971 h 1260409"/>
                  <a:gd name="connsiteX154" fmla="*/ 1139326 w 1189600"/>
                  <a:gd name="connsiteY154" fmla="*/ 840509 h 1260409"/>
                  <a:gd name="connsiteX155" fmla="*/ 1079846 w 1189600"/>
                  <a:gd name="connsiteY155" fmla="*/ 948140 h 1260409"/>
                  <a:gd name="connsiteX156" fmla="*/ 984961 w 1189600"/>
                  <a:gd name="connsiteY156" fmla="*/ 1004787 h 1260409"/>
                  <a:gd name="connsiteX157" fmla="*/ 123917 w 1189600"/>
                  <a:gd name="connsiteY157" fmla="*/ 861752 h 1260409"/>
                  <a:gd name="connsiteX158" fmla="*/ 105506 w 1189600"/>
                  <a:gd name="connsiteY158" fmla="*/ 800856 h 1260409"/>
                  <a:gd name="connsiteX159" fmla="*/ 220218 w 1189600"/>
                  <a:gd name="connsiteY159" fmla="*/ 645075 h 1260409"/>
                  <a:gd name="connsiteX160" fmla="*/ 244293 w 1189600"/>
                  <a:gd name="connsiteY160" fmla="*/ 660653 h 1260409"/>
                  <a:gd name="connsiteX161" fmla="*/ 275449 w 1189600"/>
                  <a:gd name="connsiteY161" fmla="*/ 766867 h 1260409"/>
                  <a:gd name="connsiteX162" fmla="*/ 174899 w 1189600"/>
                  <a:gd name="connsiteY162" fmla="*/ 737127 h 1260409"/>
                  <a:gd name="connsiteX163" fmla="*/ 173483 w 1189600"/>
                  <a:gd name="connsiteY163" fmla="*/ 737127 h 1260409"/>
                  <a:gd name="connsiteX164" fmla="*/ 255622 w 1189600"/>
                  <a:gd name="connsiteY164" fmla="*/ 799439 h 1260409"/>
                  <a:gd name="connsiteX165" fmla="*/ 123917 w 1189600"/>
                  <a:gd name="connsiteY165" fmla="*/ 861752 h 1260409"/>
                  <a:gd name="connsiteX166" fmla="*/ 210304 w 1189600"/>
                  <a:gd name="connsiteY166" fmla="*/ 536028 h 1260409"/>
                  <a:gd name="connsiteX167" fmla="*/ 176316 w 1189600"/>
                  <a:gd name="connsiteY167" fmla="*/ 615335 h 1260409"/>
                  <a:gd name="connsiteX168" fmla="*/ 115420 w 1189600"/>
                  <a:gd name="connsiteY168" fmla="*/ 578514 h 1260409"/>
                  <a:gd name="connsiteX169" fmla="*/ 169235 w 1189600"/>
                  <a:gd name="connsiteY169" fmla="*/ 536028 h 1260409"/>
                  <a:gd name="connsiteX170" fmla="*/ 210304 w 1189600"/>
                  <a:gd name="connsiteY170" fmla="*/ 536028 h 1260409"/>
                  <a:gd name="connsiteX171" fmla="*/ 82847 w 1189600"/>
                  <a:gd name="connsiteY171" fmla="*/ 558687 h 1260409"/>
                  <a:gd name="connsiteX172" fmla="*/ 92760 w 1189600"/>
                  <a:gd name="connsiteY172" fmla="*/ 537444 h 1260409"/>
                  <a:gd name="connsiteX173" fmla="*/ 166402 w 1189600"/>
                  <a:gd name="connsiteY173" fmla="*/ 536028 h 1260409"/>
                  <a:gd name="connsiteX174" fmla="*/ 114003 w 1189600"/>
                  <a:gd name="connsiteY174" fmla="*/ 577098 h 1260409"/>
                  <a:gd name="connsiteX175" fmla="*/ 82847 w 1189600"/>
                  <a:gd name="connsiteY175" fmla="*/ 558687 h 1260409"/>
                  <a:gd name="connsiteX176" fmla="*/ 57356 w 1189600"/>
                  <a:gd name="connsiteY176" fmla="*/ 538860 h 1260409"/>
                  <a:gd name="connsiteX177" fmla="*/ 91345 w 1189600"/>
                  <a:gd name="connsiteY177" fmla="*/ 538860 h 1260409"/>
                  <a:gd name="connsiteX178" fmla="*/ 81431 w 1189600"/>
                  <a:gd name="connsiteY178" fmla="*/ 558687 h 1260409"/>
                  <a:gd name="connsiteX179" fmla="*/ 51691 w 1189600"/>
                  <a:gd name="connsiteY179" fmla="*/ 540277 h 1260409"/>
                  <a:gd name="connsiteX180" fmla="*/ 57356 w 1189600"/>
                  <a:gd name="connsiteY180" fmla="*/ 538860 h 1260409"/>
                  <a:gd name="connsiteX181" fmla="*/ 91345 w 1189600"/>
                  <a:gd name="connsiteY181" fmla="*/ 536028 h 1260409"/>
                  <a:gd name="connsiteX182" fmla="*/ 64437 w 1189600"/>
                  <a:gd name="connsiteY182" fmla="*/ 536028 h 1260409"/>
                  <a:gd name="connsiteX183" fmla="*/ 94177 w 1189600"/>
                  <a:gd name="connsiteY183" fmla="*/ 527531 h 1260409"/>
                  <a:gd name="connsiteX184" fmla="*/ 91345 w 1189600"/>
                  <a:gd name="connsiteY184" fmla="*/ 536028 h 1260409"/>
                  <a:gd name="connsiteX185" fmla="*/ 94177 w 1189600"/>
                  <a:gd name="connsiteY185" fmla="*/ 371750 h 1260409"/>
                  <a:gd name="connsiteX186" fmla="*/ 94177 w 1189600"/>
                  <a:gd name="connsiteY186" fmla="*/ 371750 h 1260409"/>
                  <a:gd name="connsiteX187" fmla="*/ 94177 w 1189600"/>
                  <a:gd name="connsiteY187" fmla="*/ 371750 h 1260409"/>
                  <a:gd name="connsiteX188" fmla="*/ 94177 w 1189600"/>
                  <a:gd name="connsiteY188" fmla="*/ 371750 h 1260409"/>
                  <a:gd name="connsiteX189" fmla="*/ 601173 w 1189600"/>
                  <a:gd name="connsiteY189" fmla="*/ 166402 h 1260409"/>
                  <a:gd name="connsiteX190" fmla="*/ 602589 w 1189600"/>
                  <a:gd name="connsiteY190" fmla="*/ 155073 h 1260409"/>
                  <a:gd name="connsiteX191" fmla="*/ 656404 w 1189600"/>
                  <a:gd name="connsiteY191" fmla="*/ 163570 h 1260409"/>
                  <a:gd name="connsiteX192" fmla="*/ 601173 w 1189600"/>
                  <a:gd name="connsiteY192" fmla="*/ 166402 h 1260409"/>
                  <a:gd name="connsiteX193" fmla="*/ 602589 w 1189600"/>
                  <a:gd name="connsiteY193" fmla="*/ 153656 h 1260409"/>
                  <a:gd name="connsiteX194" fmla="*/ 612503 w 1189600"/>
                  <a:gd name="connsiteY194" fmla="*/ 47442 h 1260409"/>
                  <a:gd name="connsiteX195" fmla="*/ 720133 w 1189600"/>
                  <a:gd name="connsiteY195" fmla="*/ 160737 h 1260409"/>
                  <a:gd name="connsiteX196" fmla="*/ 666318 w 1189600"/>
                  <a:gd name="connsiteY196" fmla="*/ 163570 h 1260409"/>
                  <a:gd name="connsiteX197" fmla="*/ 602589 w 1189600"/>
                  <a:gd name="connsiteY197" fmla="*/ 153656 h 1260409"/>
                  <a:gd name="connsiteX198" fmla="*/ 781030 w 1189600"/>
                  <a:gd name="connsiteY198" fmla="*/ 385912 h 1260409"/>
                  <a:gd name="connsiteX199" fmla="*/ 857504 w 1189600"/>
                  <a:gd name="connsiteY199" fmla="*/ 272617 h 1260409"/>
                  <a:gd name="connsiteX200" fmla="*/ 955221 w 1189600"/>
                  <a:gd name="connsiteY200" fmla="*/ 370334 h 1260409"/>
                  <a:gd name="connsiteX201" fmla="*/ 949556 w 1189600"/>
                  <a:gd name="connsiteY201" fmla="*/ 373166 h 1260409"/>
                  <a:gd name="connsiteX202" fmla="*/ 781030 w 1189600"/>
                  <a:gd name="connsiteY202" fmla="*/ 385912 h 1260409"/>
                  <a:gd name="connsiteX203" fmla="*/ 841926 w 1189600"/>
                  <a:gd name="connsiteY203" fmla="*/ 509120 h 1260409"/>
                  <a:gd name="connsiteX204" fmla="*/ 783862 w 1189600"/>
                  <a:gd name="connsiteY204" fmla="*/ 500623 h 1260409"/>
                  <a:gd name="connsiteX205" fmla="*/ 772532 w 1189600"/>
                  <a:gd name="connsiteY205" fmla="*/ 397241 h 1260409"/>
                  <a:gd name="connsiteX206" fmla="*/ 772532 w 1189600"/>
                  <a:gd name="connsiteY206" fmla="*/ 397241 h 1260409"/>
                  <a:gd name="connsiteX207" fmla="*/ 779613 w 1189600"/>
                  <a:gd name="connsiteY207" fmla="*/ 387328 h 1260409"/>
                  <a:gd name="connsiteX208" fmla="*/ 942475 w 1189600"/>
                  <a:gd name="connsiteY208" fmla="*/ 374582 h 1260409"/>
                  <a:gd name="connsiteX209" fmla="*/ 819266 w 1189600"/>
                  <a:gd name="connsiteY209" fmla="*/ 428398 h 1260409"/>
                  <a:gd name="connsiteX210" fmla="*/ 819266 w 1189600"/>
                  <a:gd name="connsiteY210" fmla="*/ 428398 h 1260409"/>
                  <a:gd name="connsiteX211" fmla="*/ 841926 w 1189600"/>
                  <a:gd name="connsiteY211" fmla="*/ 509120 h 1260409"/>
                  <a:gd name="connsiteX212" fmla="*/ 1119499 w 1189600"/>
                  <a:gd name="connsiteY212" fmla="*/ 676231 h 1260409"/>
                  <a:gd name="connsiteX213" fmla="*/ 1122332 w 1189600"/>
                  <a:gd name="connsiteY213" fmla="*/ 698890 h 1260409"/>
                  <a:gd name="connsiteX214" fmla="*/ 1081262 w 1189600"/>
                  <a:gd name="connsiteY214" fmla="*/ 943891 h 1260409"/>
                  <a:gd name="connsiteX215" fmla="*/ 958054 w 1189600"/>
                  <a:gd name="connsiteY215" fmla="*/ 909903 h 1260409"/>
                  <a:gd name="connsiteX216" fmla="*/ 949556 w 1189600"/>
                  <a:gd name="connsiteY216" fmla="*/ 881579 h 1260409"/>
                  <a:gd name="connsiteX217" fmla="*/ 1017533 w 1189600"/>
                  <a:gd name="connsiteY217" fmla="*/ 809353 h 1260409"/>
                  <a:gd name="connsiteX218" fmla="*/ 1017533 w 1189600"/>
                  <a:gd name="connsiteY218" fmla="*/ 809353 h 1260409"/>
                  <a:gd name="connsiteX219" fmla="*/ 1017533 w 1189600"/>
                  <a:gd name="connsiteY219" fmla="*/ 809353 h 1260409"/>
                  <a:gd name="connsiteX220" fmla="*/ 1077013 w 1189600"/>
                  <a:gd name="connsiteY220" fmla="*/ 858920 h 1260409"/>
                  <a:gd name="connsiteX221" fmla="*/ 1077013 w 1189600"/>
                  <a:gd name="connsiteY221" fmla="*/ 858920 h 1260409"/>
                  <a:gd name="connsiteX222" fmla="*/ 1109586 w 1189600"/>
                  <a:gd name="connsiteY222" fmla="*/ 553022 h 1260409"/>
                  <a:gd name="connsiteX223" fmla="*/ 1135078 w 1189600"/>
                  <a:gd name="connsiteY223" fmla="*/ 557271 h 1260409"/>
                  <a:gd name="connsiteX224" fmla="*/ 1144990 w 1189600"/>
                  <a:gd name="connsiteY224" fmla="*/ 560103 h 1260409"/>
                  <a:gd name="connsiteX225" fmla="*/ 1123748 w 1189600"/>
                  <a:gd name="connsiteY225" fmla="*/ 684728 h 1260409"/>
                  <a:gd name="connsiteX226" fmla="*/ 1119499 w 1189600"/>
                  <a:gd name="connsiteY226" fmla="*/ 676231 h 1260409"/>
                  <a:gd name="connsiteX227" fmla="*/ 1119499 w 1189600"/>
                  <a:gd name="connsiteY227" fmla="*/ 676231 h 1260409"/>
                  <a:gd name="connsiteX228" fmla="*/ 833428 w 1189600"/>
                  <a:gd name="connsiteY228" fmla="*/ 659237 h 1260409"/>
                  <a:gd name="connsiteX229" fmla="*/ 833428 w 1189600"/>
                  <a:gd name="connsiteY229" fmla="*/ 659237 h 1260409"/>
                  <a:gd name="connsiteX230" fmla="*/ 802273 w 1189600"/>
                  <a:gd name="connsiteY230" fmla="*/ 660653 h 1260409"/>
                  <a:gd name="connsiteX231" fmla="*/ 798024 w 1189600"/>
                  <a:gd name="connsiteY231" fmla="*/ 628080 h 1260409"/>
                  <a:gd name="connsiteX232" fmla="*/ 898574 w 1189600"/>
                  <a:gd name="connsiteY232" fmla="*/ 710220 h 1260409"/>
                  <a:gd name="connsiteX233" fmla="*/ 946724 w 1189600"/>
                  <a:gd name="connsiteY233" fmla="*/ 880163 h 1260409"/>
                  <a:gd name="connsiteX234" fmla="*/ 946724 w 1189600"/>
                  <a:gd name="connsiteY234" fmla="*/ 881579 h 1260409"/>
                  <a:gd name="connsiteX235" fmla="*/ 874498 w 1189600"/>
                  <a:gd name="connsiteY235" fmla="*/ 887243 h 1260409"/>
                  <a:gd name="connsiteX236" fmla="*/ 834845 w 1189600"/>
                  <a:gd name="connsiteY236" fmla="*/ 875914 h 1260409"/>
                  <a:gd name="connsiteX237" fmla="*/ 905655 w 1189600"/>
                  <a:gd name="connsiteY237" fmla="*/ 761203 h 1260409"/>
                  <a:gd name="connsiteX238" fmla="*/ 905655 w 1189600"/>
                  <a:gd name="connsiteY238" fmla="*/ 761203 h 1260409"/>
                  <a:gd name="connsiteX239" fmla="*/ 833428 w 1189600"/>
                  <a:gd name="connsiteY239" fmla="*/ 659237 h 1260409"/>
                  <a:gd name="connsiteX240" fmla="*/ 75766 w 1189600"/>
                  <a:gd name="connsiteY240" fmla="*/ 441143 h 1260409"/>
                  <a:gd name="connsiteX241" fmla="*/ 138079 w 1189600"/>
                  <a:gd name="connsiteY241" fmla="*/ 408571 h 1260409"/>
                  <a:gd name="connsiteX242" fmla="*/ 143744 w 1189600"/>
                  <a:gd name="connsiteY242" fmla="*/ 409987 h 1260409"/>
                  <a:gd name="connsiteX243" fmla="*/ 147992 w 1189600"/>
                  <a:gd name="connsiteY243" fmla="*/ 412820 h 1260409"/>
                  <a:gd name="connsiteX244" fmla="*/ 136663 w 1189600"/>
                  <a:gd name="connsiteY244" fmla="*/ 436895 h 1260409"/>
                  <a:gd name="connsiteX245" fmla="*/ 129582 w 1189600"/>
                  <a:gd name="connsiteY245" fmla="*/ 438311 h 1260409"/>
                  <a:gd name="connsiteX246" fmla="*/ 75766 w 1189600"/>
                  <a:gd name="connsiteY246" fmla="*/ 442560 h 1260409"/>
                  <a:gd name="connsiteX247" fmla="*/ 75766 w 1189600"/>
                  <a:gd name="connsiteY247" fmla="*/ 441143 h 1260409"/>
                  <a:gd name="connsiteX248" fmla="*/ 459554 w 1189600"/>
                  <a:gd name="connsiteY248" fmla="*/ 198975 h 1260409"/>
                  <a:gd name="connsiteX249" fmla="*/ 459554 w 1189600"/>
                  <a:gd name="connsiteY249" fmla="*/ 198975 h 1260409"/>
                  <a:gd name="connsiteX250" fmla="*/ 514785 w 1189600"/>
                  <a:gd name="connsiteY250" fmla="*/ 140911 h 1260409"/>
                  <a:gd name="connsiteX251" fmla="*/ 582763 w 1189600"/>
                  <a:gd name="connsiteY251" fmla="*/ 150824 h 1260409"/>
                  <a:gd name="connsiteX252" fmla="*/ 579931 w 1189600"/>
                  <a:gd name="connsiteY252" fmla="*/ 166402 h 1260409"/>
                  <a:gd name="connsiteX253" fmla="*/ 526115 w 1189600"/>
                  <a:gd name="connsiteY253" fmla="*/ 169235 h 1260409"/>
                  <a:gd name="connsiteX254" fmla="*/ 460970 w 1189600"/>
                  <a:gd name="connsiteY254" fmla="*/ 200391 h 1260409"/>
                  <a:gd name="connsiteX255" fmla="*/ 443976 w 1189600"/>
                  <a:gd name="connsiteY255" fmla="*/ 215969 h 1260409"/>
                  <a:gd name="connsiteX256" fmla="*/ 323599 w 1189600"/>
                  <a:gd name="connsiteY256" fmla="*/ 218801 h 1260409"/>
                  <a:gd name="connsiteX257" fmla="*/ 395826 w 1189600"/>
                  <a:gd name="connsiteY257" fmla="*/ 128165 h 1260409"/>
                  <a:gd name="connsiteX258" fmla="*/ 402907 w 1189600"/>
                  <a:gd name="connsiteY258" fmla="*/ 123917 h 1260409"/>
                  <a:gd name="connsiteX259" fmla="*/ 459554 w 1189600"/>
                  <a:gd name="connsiteY259" fmla="*/ 198975 h 1260409"/>
                  <a:gd name="connsiteX260" fmla="*/ 558688 w 1189600"/>
                  <a:gd name="connsiteY260" fmla="*/ 669150 h 1260409"/>
                  <a:gd name="connsiteX261" fmla="*/ 558688 w 1189600"/>
                  <a:gd name="connsiteY261" fmla="*/ 700306 h 1260409"/>
                  <a:gd name="connsiteX262" fmla="*/ 544526 w 1189600"/>
                  <a:gd name="connsiteY262" fmla="*/ 690393 h 1260409"/>
                  <a:gd name="connsiteX263" fmla="*/ 502040 w 1189600"/>
                  <a:gd name="connsiteY263" fmla="*/ 604005 h 1260409"/>
                  <a:gd name="connsiteX264" fmla="*/ 574265 w 1189600"/>
                  <a:gd name="connsiteY264" fmla="*/ 667734 h 1260409"/>
                  <a:gd name="connsiteX265" fmla="*/ 558688 w 1189600"/>
                  <a:gd name="connsiteY265" fmla="*/ 669150 h 1260409"/>
                  <a:gd name="connsiteX266" fmla="*/ 558688 w 1189600"/>
                  <a:gd name="connsiteY266" fmla="*/ 669150 h 1260409"/>
                  <a:gd name="connsiteX267" fmla="*/ 230131 w 1189600"/>
                  <a:gd name="connsiteY267" fmla="*/ 492126 h 1260409"/>
                  <a:gd name="connsiteX268" fmla="*/ 211721 w 1189600"/>
                  <a:gd name="connsiteY268" fmla="*/ 534612 h 1260409"/>
                  <a:gd name="connsiteX269" fmla="*/ 173483 w 1189600"/>
                  <a:gd name="connsiteY269" fmla="*/ 534612 h 1260409"/>
                  <a:gd name="connsiteX270" fmla="*/ 228715 w 1189600"/>
                  <a:gd name="connsiteY270" fmla="*/ 492126 h 1260409"/>
                  <a:gd name="connsiteX271" fmla="*/ 230131 w 1189600"/>
                  <a:gd name="connsiteY271" fmla="*/ 492126 h 1260409"/>
                  <a:gd name="connsiteX272" fmla="*/ 169235 w 1189600"/>
                  <a:gd name="connsiteY272" fmla="*/ 426981 h 1260409"/>
                  <a:gd name="connsiteX273" fmla="*/ 139495 w 1189600"/>
                  <a:gd name="connsiteY273" fmla="*/ 435479 h 1260409"/>
                  <a:gd name="connsiteX274" fmla="*/ 149408 w 1189600"/>
                  <a:gd name="connsiteY274" fmla="*/ 412820 h 1260409"/>
                  <a:gd name="connsiteX275" fmla="*/ 169235 w 1189600"/>
                  <a:gd name="connsiteY275" fmla="*/ 426981 h 1260409"/>
                  <a:gd name="connsiteX276" fmla="*/ 150825 w 1189600"/>
                  <a:gd name="connsiteY276" fmla="*/ 409987 h 1260409"/>
                  <a:gd name="connsiteX277" fmla="*/ 150825 w 1189600"/>
                  <a:gd name="connsiteY277" fmla="*/ 409987 h 1260409"/>
                  <a:gd name="connsiteX278" fmla="*/ 147992 w 1189600"/>
                  <a:gd name="connsiteY278" fmla="*/ 409987 h 1260409"/>
                  <a:gd name="connsiteX279" fmla="*/ 150825 w 1189600"/>
                  <a:gd name="connsiteY279" fmla="*/ 409987 h 1260409"/>
                  <a:gd name="connsiteX280" fmla="*/ 697474 w 1189600"/>
                  <a:gd name="connsiteY280" fmla="*/ 544525 h 1260409"/>
                  <a:gd name="connsiteX281" fmla="*/ 693226 w 1189600"/>
                  <a:gd name="connsiteY281" fmla="*/ 612503 h 1260409"/>
                  <a:gd name="connsiteX282" fmla="*/ 633746 w 1189600"/>
                  <a:gd name="connsiteY282" fmla="*/ 608254 h 1260409"/>
                  <a:gd name="connsiteX283" fmla="*/ 683312 w 1189600"/>
                  <a:gd name="connsiteY283" fmla="*/ 531780 h 1260409"/>
                  <a:gd name="connsiteX284" fmla="*/ 697474 w 1189600"/>
                  <a:gd name="connsiteY284" fmla="*/ 544525 h 1260409"/>
                  <a:gd name="connsiteX285" fmla="*/ 402907 w 1189600"/>
                  <a:gd name="connsiteY285" fmla="*/ 751289 h 1260409"/>
                  <a:gd name="connsiteX286" fmla="*/ 247126 w 1189600"/>
                  <a:gd name="connsiteY286" fmla="*/ 657820 h 1260409"/>
                  <a:gd name="connsiteX287" fmla="*/ 237212 w 1189600"/>
                  <a:gd name="connsiteY287" fmla="*/ 625248 h 1260409"/>
                  <a:gd name="connsiteX288" fmla="*/ 237212 w 1189600"/>
                  <a:gd name="connsiteY288" fmla="*/ 625248 h 1260409"/>
                  <a:gd name="connsiteX289" fmla="*/ 237212 w 1189600"/>
                  <a:gd name="connsiteY289" fmla="*/ 625248 h 1260409"/>
                  <a:gd name="connsiteX290" fmla="*/ 235796 w 1189600"/>
                  <a:gd name="connsiteY290" fmla="*/ 536028 h 1260409"/>
                  <a:gd name="connsiteX291" fmla="*/ 320768 w 1189600"/>
                  <a:gd name="connsiteY291" fmla="*/ 534612 h 1260409"/>
                  <a:gd name="connsiteX292" fmla="*/ 367502 w 1189600"/>
                  <a:gd name="connsiteY292" fmla="*/ 567184 h 1260409"/>
                  <a:gd name="connsiteX293" fmla="*/ 323599 w 1189600"/>
                  <a:gd name="connsiteY293" fmla="*/ 639410 h 1260409"/>
                  <a:gd name="connsiteX294" fmla="*/ 323599 w 1189600"/>
                  <a:gd name="connsiteY294" fmla="*/ 639410 h 1260409"/>
                  <a:gd name="connsiteX295" fmla="*/ 411403 w 1189600"/>
                  <a:gd name="connsiteY295" fmla="*/ 718717 h 1260409"/>
                  <a:gd name="connsiteX296" fmla="*/ 402907 w 1189600"/>
                  <a:gd name="connsiteY296" fmla="*/ 751289 h 1260409"/>
                  <a:gd name="connsiteX297" fmla="*/ 402907 w 1189600"/>
                  <a:gd name="connsiteY297" fmla="*/ 751289 h 1260409"/>
                  <a:gd name="connsiteX298" fmla="*/ 228715 w 1189600"/>
                  <a:gd name="connsiteY298" fmla="*/ 629497 h 1260409"/>
                  <a:gd name="connsiteX299" fmla="*/ 220218 w 1189600"/>
                  <a:gd name="connsiteY299" fmla="*/ 640826 h 1260409"/>
                  <a:gd name="connsiteX300" fmla="*/ 213137 w 1189600"/>
                  <a:gd name="connsiteY300" fmla="*/ 636578 h 1260409"/>
                  <a:gd name="connsiteX301" fmla="*/ 228715 w 1189600"/>
                  <a:gd name="connsiteY301" fmla="*/ 629497 h 1260409"/>
                  <a:gd name="connsiteX302" fmla="*/ 153656 w 1189600"/>
                  <a:gd name="connsiteY302" fmla="*/ 400074 h 1260409"/>
                  <a:gd name="connsiteX303" fmla="*/ 150825 w 1189600"/>
                  <a:gd name="connsiteY303" fmla="*/ 407155 h 1260409"/>
                  <a:gd name="connsiteX304" fmla="*/ 145160 w 1189600"/>
                  <a:gd name="connsiteY304" fmla="*/ 405739 h 1260409"/>
                  <a:gd name="connsiteX305" fmla="*/ 143744 w 1189600"/>
                  <a:gd name="connsiteY305" fmla="*/ 404322 h 1260409"/>
                  <a:gd name="connsiteX306" fmla="*/ 153656 w 1189600"/>
                  <a:gd name="connsiteY306" fmla="*/ 400074 h 1260409"/>
                  <a:gd name="connsiteX307" fmla="*/ 152241 w 1189600"/>
                  <a:gd name="connsiteY307" fmla="*/ 409987 h 1260409"/>
                  <a:gd name="connsiteX308" fmla="*/ 203223 w 1189600"/>
                  <a:gd name="connsiteY308" fmla="*/ 417068 h 1260409"/>
                  <a:gd name="connsiteX309" fmla="*/ 172068 w 1189600"/>
                  <a:gd name="connsiteY309" fmla="*/ 425565 h 1260409"/>
                  <a:gd name="connsiteX310" fmla="*/ 152241 w 1189600"/>
                  <a:gd name="connsiteY310" fmla="*/ 409987 h 1260409"/>
                  <a:gd name="connsiteX311" fmla="*/ 152241 w 1189600"/>
                  <a:gd name="connsiteY311" fmla="*/ 409987 h 1260409"/>
                  <a:gd name="connsiteX312" fmla="*/ 771116 w 1189600"/>
                  <a:gd name="connsiteY312" fmla="*/ 391577 h 1260409"/>
                  <a:gd name="connsiteX313" fmla="*/ 771116 w 1189600"/>
                  <a:gd name="connsiteY313" fmla="*/ 391577 h 1260409"/>
                  <a:gd name="connsiteX314" fmla="*/ 771116 w 1189600"/>
                  <a:gd name="connsiteY314" fmla="*/ 391577 h 1260409"/>
                  <a:gd name="connsiteX315" fmla="*/ 768284 w 1189600"/>
                  <a:gd name="connsiteY315" fmla="*/ 388744 h 1260409"/>
                  <a:gd name="connsiteX316" fmla="*/ 776781 w 1189600"/>
                  <a:gd name="connsiteY316" fmla="*/ 388744 h 1260409"/>
                  <a:gd name="connsiteX317" fmla="*/ 772532 w 1189600"/>
                  <a:gd name="connsiteY317" fmla="*/ 395825 h 1260409"/>
                  <a:gd name="connsiteX318" fmla="*/ 772532 w 1189600"/>
                  <a:gd name="connsiteY318" fmla="*/ 394409 h 1260409"/>
                  <a:gd name="connsiteX319" fmla="*/ 771116 w 1189600"/>
                  <a:gd name="connsiteY319" fmla="*/ 391577 h 1260409"/>
                  <a:gd name="connsiteX320" fmla="*/ 710220 w 1189600"/>
                  <a:gd name="connsiteY320" fmla="*/ 490710 h 1260409"/>
                  <a:gd name="connsiteX321" fmla="*/ 771116 w 1189600"/>
                  <a:gd name="connsiteY321" fmla="*/ 397241 h 1260409"/>
                  <a:gd name="connsiteX322" fmla="*/ 783862 w 1189600"/>
                  <a:gd name="connsiteY322" fmla="*/ 500623 h 1260409"/>
                  <a:gd name="connsiteX323" fmla="*/ 710220 w 1189600"/>
                  <a:gd name="connsiteY323" fmla="*/ 490710 h 1260409"/>
                  <a:gd name="connsiteX324" fmla="*/ 739960 w 1189600"/>
                  <a:gd name="connsiteY324" fmla="*/ 528947 h 1260409"/>
                  <a:gd name="connsiteX325" fmla="*/ 785278 w 1189600"/>
                  <a:gd name="connsiteY325" fmla="*/ 528947 h 1260409"/>
                  <a:gd name="connsiteX326" fmla="*/ 789527 w 1189600"/>
                  <a:gd name="connsiteY326" fmla="*/ 564352 h 1260409"/>
                  <a:gd name="connsiteX327" fmla="*/ 739960 w 1189600"/>
                  <a:gd name="connsiteY327" fmla="*/ 528947 h 1260409"/>
                  <a:gd name="connsiteX328" fmla="*/ 698890 w 1189600"/>
                  <a:gd name="connsiteY328" fmla="*/ 528947 h 1260409"/>
                  <a:gd name="connsiteX329" fmla="*/ 697474 w 1189600"/>
                  <a:gd name="connsiteY329" fmla="*/ 541693 h 1260409"/>
                  <a:gd name="connsiteX330" fmla="*/ 683312 w 1189600"/>
                  <a:gd name="connsiteY330" fmla="*/ 530363 h 1260409"/>
                  <a:gd name="connsiteX331" fmla="*/ 683312 w 1189600"/>
                  <a:gd name="connsiteY331" fmla="*/ 528947 h 1260409"/>
                  <a:gd name="connsiteX332" fmla="*/ 698890 w 1189600"/>
                  <a:gd name="connsiteY332" fmla="*/ 528947 h 1260409"/>
                  <a:gd name="connsiteX333" fmla="*/ 686145 w 1189600"/>
                  <a:gd name="connsiteY333" fmla="*/ 527531 h 1260409"/>
                  <a:gd name="connsiteX334" fmla="*/ 700307 w 1189600"/>
                  <a:gd name="connsiteY334" fmla="*/ 504872 h 1260409"/>
                  <a:gd name="connsiteX335" fmla="*/ 698890 w 1189600"/>
                  <a:gd name="connsiteY335" fmla="*/ 527531 h 1260409"/>
                  <a:gd name="connsiteX336" fmla="*/ 686145 w 1189600"/>
                  <a:gd name="connsiteY336" fmla="*/ 527531 h 1260409"/>
                  <a:gd name="connsiteX337" fmla="*/ 646492 w 1189600"/>
                  <a:gd name="connsiteY337" fmla="*/ 275449 h 1260409"/>
                  <a:gd name="connsiteX338" fmla="*/ 667735 w 1189600"/>
                  <a:gd name="connsiteY338" fmla="*/ 245709 h 1260409"/>
                  <a:gd name="connsiteX339" fmla="*/ 683312 w 1189600"/>
                  <a:gd name="connsiteY339" fmla="*/ 266952 h 1260409"/>
                  <a:gd name="connsiteX340" fmla="*/ 646492 w 1189600"/>
                  <a:gd name="connsiteY340" fmla="*/ 275449 h 1260409"/>
                  <a:gd name="connsiteX341" fmla="*/ 732879 w 1189600"/>
                  <a:gd name="connsiteY341" fmla="*/ 526115 h 1260409"/>
                  <a:gd name="connsiteX342" fmla="*/ 700307 w 1189600"/>
                  <a:gd name="connsiteY342" fmla="*/ 526115 h 1260409"/>
                  <a:gd name="connsiteX343" fmla="*/ 701723 w 1189600"/>
                  <a:gd name="connsiteY343" fmla="*/ 504872 h 1260409"/>
                  <a:gd name="connsiteX344" fmla="*/ 732879 w 1189600"/>
                  <a:gd name="connsiteY344" fmla="*/ 526115 h 1260409"/>
                  <a:gd name="connsiteX345" fmla="*/ 705971 w 1189600"/>
                  <a:gd name="connsiteY345" fmla="*/ 492126 h 1260409"/>
                  <a:gd name="connsiteX346" fmla="*/ 683312 w 1189600"/>
                  <a:gd name="connsiteY346" fmla="*/ 527531 h 1260409"/>
                  <a:gd name="connsiteX347" fmla="*/ 680480 w 1189600"/>
                  <a:gd name="connsiteY347" fmla="*/ 527531 h 1260409"/>
                  <a:gd name="connsiteX348" fmla="*/ 622416 w 1189600"/>
                  <a:gd name="connsiteY348" fmla="*/ 479380 h 1260409"/>
                  <a:gd name="connsiteX349" fmla="*/ 705971 w 1189600"/>
                  <a:gd name="connsiteY349" fmla="*/ 492126 h 1260409"/>
                  <a:gd name="connsiteX350" fmla="*/ 588427 w 1189600"/>
                  <a:gd name="connsiteY350" fmla="*/ 313686 h 1260409"/>
                  <a:gd name="connsiteX351" fmla="*/ 623832 w 1189600"/>
                  <a:gd name="connsiteY351" fmla="*/ 303773 h 1260409"/>
                  <a:gd name="connsiteX352" fmla="*/ 584179 w 1189600"/>
                  <a:gd name="connsiteY352" fmla="*/ 357588 h 1260409"/>
                  <a:gd name="connsiteX353" fmla="*/ 588427 w 1189600"/>
                  <a:gd name="connsiteY353" fmla="*/ 313686 h 1260409"/>
                  <a:gd name="connsiteX354" fmla="*/ 625249 w 1189600"/>
                  <a:gd name="connsiteY354" fmla="*/ 300941 h 1260409"/>
                  <a:gd name="connsiteX355" fmla="*/ 588427 w 1189600"/>
                  <a:gd name="connsiteY355" fmla="*/ 310854 h 1260409"/>
                  <a:gd name="connsiteX356" fmla="*/ 589844 w 1189600"/>
                  <a:gd name="connsiteY356" fmla="*/ 289611 h 1260409"/>
                  <a:gd name="connsiteX357" fmla="*/ 640827 w 1189600"/>
                  <a:gd name="connsiteY357" fmla="*/ 278281 h 1260409"/>
                  <a:gd name="connsiteX358" fmla="*/ 625249 w 1189600"/>
                  <a:gd name="connsiteY358" fmla="*/ 300941 h 1260409"/>
                  <a:gd name="connsiteX359" fmla="*/ 547358 w 1189600"/>
                  <a:gd name="connsiteY359" fmla="*/ 322183 h 1260409"/>
                  <a:gd name="connsiteX360" fmla="*/ 553023 w 1189600"/>
                  <a:gd name="connsiteY360" fmla="*/ 296692 h 1260409"/>
                  <a:gd name="connsiteX361" fmla="*/ 588427 w 1189600"/>
                  <a:gd name="connsiteY361" fmla="*/ 289611 h 1260409"/>
                  <a:gd name="connsiteX362" fmla="*/ 587012 w 1189600"/>
                  <a:gd name="connsiteY362" fmla="*/ 310854 h 1260409"/>
                  <a:gd name="connsiteX363" fmla="*/ 547358 w 1189600"/>
                  <a:gd name="connsiteY363" fmla="*/ 322183 h 1260409"/>
                  <a:gd name="connsiteX364" fmla="*/ 339178 w 1189600"/>
                  <a:gd name="connsiteY364" fmla="*/ 421317 h 1260409"/>
                  <a:gd name="connsiteX365" fmla="*/ 334930 w 1189600"/>
                  <a:gd name="connsiteY365" fmla="*/ 412820 h 1260409"/>
                  <a:gd name="connsiteX366" fmla="*/ 349092 w 1189600"/>
                  <a:gd name="connsiteY366" fmla="*/ 421317 h 1260409"/>
                  <a:gd name="connsiteX367" fmla="*/ 339178 w 1189600"/>
                  <a:gd name="connsiteY367" fmla="*/ 421317 h 1260409"/>
                  <a:gd name="connsiteX368" fmla="*/ 340594 w 1189600"/>
                  <a:gd name="connsiteY368" fmla="*/ 424149 h 1260409"/>
                  <a:gd name="connsiteX369" fmla="*/ 353340 w 1189600"/>
                  <a:gd name="connsiteY369" fmla="*/ 422733 h 1260409"/>
                  <a:gd name="connsiteX370" fmla="*/ 388745 w 1189600"/>
                  <a:gd name="connsiteY370" fmla="*/ 442560 h 1260409"/>
                  <a:gd name="connsiteX371" fmla="*/ 347675 w 1189600"/>
                  <a:gd name="connsiteY371" fmla="*/ 436895 h 1260409"/>
                  <a:gd name="connsiteX372" fmla="*/ 340594 w 1189600"/>
                  <a:gd name="connsiteY372" fmla="*/ 424149 h 1260409"/>
                  <a:gd name="connsiteX373" fmla="*/ 442560 w 1189600"/>
                  <a:gd name="connsiteY373" fmla="*/ 452473 h 1260409"/>
                  <a:gd name="connsiteX374" fmla="*/ 514785 w 1189600"/>
                  <a:gd name="connsiteY374" fmla="*/ 462386 h 1260409"/>
                  <a:gd name="connsiteX375" fmla="*/ 504873 w 1189600"/>
                  <a:gd name="connsiteY375" fmla="*/ 506288 h 1260409"/>
                  <a:gd name="connsiteX376" fmla="*/ 442560 w 1189600"/>
                  <a:gd name="connsiteY376" fmla="*/ 452473 h 1260409"/>
                  <a:gd name="connsiteX377" fmla="*/ 429814 w 1189600"/>
                  <a:gd name="connsiteY377" fmla="*/ 465218 h 1260409"/>
                  <a:gd name="connsiteX378" fmla="*/ 397242 w 1189600"/>
                  <a:gd name="connsiteY378" fmla="*/ 446808 h 1260409"/>
                  <a:gd name="connsiteX379" fmla="*/ 436895 w 1189600"/>
                  <a:gd name="connsiteY379" fmla="*/ 452473 h 1260409"/>
                  <a:gd name="connsiteX380" fmla="*/ 429814 w 1189600"/>
                  <a:gd name="connsiteY380" fmla="*/ 465218 h 1260409"/>
                  <a:gd name="connsiteX381" fmla="*/ 431230 w 1189600"/>
                  <a:gd name="connsiteY381" fmla="*/ 466635 h 1260409"/>
                  <a:gd name="connsiteX382" fmla="*/ 439727 w 1189600"/>
                  <a:gd name="connsiteY382" fmla="*/ 453889 h 1260409"/>
                  <a:gd name="connsiteX383" fmla="*/ 502040 w 1189600"/>
                  <a:gd name="connsiteY383" fmla="*/ 507704 h 1260409"/>
                  <a:gd name="connsiteX384" fmla="*/ 431230 w 1189600"/>
                  <a:gd name="connsiteY384" fmla="*/ 466635 h 1260409"/>
                  <a:gd name="connsiteX385" fmla="*/ 465219 w 1189600"/>
                  <a:gd name="connsiteY385" fmla="*/ 411403 h 1260409"/>
                  <a:gd name="connsiteX386" fmla="*/ 489294 w 1189600"/>
                  <a:gd name="connsiteY386" fmla="*/ 373166 h 1260409"/>
                  <a:gd name="connsiteX387" fmla="*/ 527531 w 1189600"/>
                  <a:gd name="connsiteY387" fmla="*/ 404322 h 1260409"/>
                  <a:gd name="connsiteX388" fmla="*/ 527531 w 1189600"/>
                  <a:gd name="connsiteY388" fmla="*/ 405739 h 1260409"/>
                  <a:gd name="connsiteX389" fmla="*/ 465219 w 1189600"/>
                  <a:gd name="connsiteY389" fmla="*/ 411403 h 1260409"/>
                  <a:gd name="connsiteX390" fmla="*/ 438311 w 1189600"/>
                  <a:gd name="connsiteY390" fmla="*/ 451056 h 1260409"/>
                  <a:gd name="connsiteX391" fmla="*/ 401490 w 1189600"/>
                  <a:gd name="connsiteY391" fmla="*/ 418484 h 1260409"/>
                  <a:gd name="connsiteX392" fmla="*/ 460970 w 1189600"/>
                  <a:gd name="connsiteY392" fmla="*/ 414236 h 1260409"/>
                  <a:gd name="connsiteX393" fmla="*/ 438311 w 1189600"/>
                  <a:gd name="connsiteY393" fmla="*/ 451056 h 1260409"/>
                  <a:gd name="connsiteX394" fmla="*/ 435479 w 1189600"/>
                  <a:gd name="connsiteY394" fmla="*/ 449641 h 1260409"/>
                  <a:gd name="connsiteX395" fmla="*/ 392993 w 1189600"/>
                  <a:gd name="connsiteY395" fmla="*/ 443975 h 1260409"/>
                  <a:gd name="connsiteX396" fmla="*/ 356172 w 1189600"/>
                  <a:gd name="connsiteY396" fmla="*/ 422733 h 1260409"/>
                  <a:gd name="connsiteX397" fmla="*/ 398658 w 1189600"/>
                  <a:gd name="connsiteY397" fmla="*/ 419901 h 1260409"/>
                  <a:gd name="connsiteX398" fmla="*/ 435479 w 1189600"/>
                  <a:gd name="connsiteY398" fmla="*/ 449641 h 1260409"/>
                  <a:gd name="connsiteX399" fmla="*/ 392993 w 1189600"/>
                  <a:gd name="connsiteY399" fmla="*/ 445392 h 1260409"/>
                  <a:gd name="connsiteX400" fmla="*/ 429814 w 1189600"/>
                  <a:gd name="connsiteY400" fmla="*/ 466635 h 1260409"/>
                  <a:gd name="connsiteX401" fmla="*/ 390161 w 1189600"/>
                  <a:gd name="connsiteY401" fmla="*/ 531780 h 1260409"/>
                  <a:gd name="connsiteX402" fmla="*/ 390161 w 1189600"/>
                  <a:gd name="connsiteY402" fmla="*/ 531780 h 1260409"/>
                  <a:gd name="connsiteX403" fmla="*/ 349092 w 1189600"/>
                  <a:gd name="connsiteY403" fmla="*/ 439727 h 1260409"/>
                  <a:gd name="connsiteX404" fmla="*/ 392993 w 1189600"/>
                  <a:gd name="connsiteY404" fmla="*/ 445392 h 1260409"/>
                  <a:gd name="connsiteX405" fmla="*/ 431230 w 1189600"/>
                  <a:gd name="connsiteY405" fmla="*/ 468051 h 1260409"/>
                  <a:gd name="connsiteX406" fmla="*/ 506288 w 1189600"/>
                  <a:gd name="connsiteY406" fmla="*/ 511953 h 1260409"/>
                  <a:gd name="connsiteX407" fmla="*/ 504873 w 1189600"/>
                  <a:gd name="connsiteY407" fmla="*/ 530363 h 1260409"/>
                  <a:gd name="connsiteX408" fmla="*/ 392993 w 1189600"/>
                  <a:gd name="connsiteY408" fmla="*/ 531780 h 1260409"/>
                  <a:gd name="connsiteX409" fmla="*/ 431230 w 1189600"/>
                  <a:gd name="connsiteY409" fmla="*/ 468051 h 1260409"/>
                  <a:gd name="connsiteX410" fmla="*/ 441144 w 1189600"/>
                  <a:gd name="connsiteY410" fmla="*/ 451056 h 1260409"/>
                  <a:gd name="connsiteX411" fmla="*/ 463803 w 1189600"/>
                  <a:gd name="connsiteY411" fmla="*/ 414236 h 1260409"/>
                  <a:gd name="connsiteX412" fmla="*/ 526115 w 1189600"/>
                  <a:gd name="connsiteY412" fmla="*/ 408571 h 1260409"/>
                  <a:gd name="connsiteX413" fmla="*/ 514785 w 1189600"/>
                  <a:gd name="connsiteY413" fmla="*/ 460970 h 1260409"/>
                  <a:gd name="connsiteX414" fmla="*/ 441144 w 1189600"/>
                  <a:gd name="connsiteY414" fmla="*/ 451056 h 1260409"/>
                  <a:gd name="connsiteX415" fmla="*/ 285363 w 1189600"/>
                  <a:gd name="connsiteY415" fmla="*/ 428398 h 1260409"/>
                  <a:gd name="connsiteX416" fmla="*/ 339178 w 1189600"/>
                  <a:gd name="connsiteY416" fmla="*/ 424149 h 1260409"/>
                  <a:gd name="connsiteX417" fmla="*/ 344842 w 1189600"/>
                  <a:gd name="connsiteY417" fmla="*/ 436895 h 1260409"/>
                  <a:gd name="connsiteX418" fmla="*/ 285363 w 1189600"/>
                  <a:gd name="connsiteY418" fmla="*/ 428398 h 1260409"/>
                  <a:gd name="connsiteX419" fmla="*/ 516202 w 1189600"/>
                  <a:gd name="connsiteY419" fmla="*/ 462386 h 1260409"/>
                  <a:gd name="connsiteX420" fmla="*/ 528947 w 1189600"/>
                  <a:gd name="connsiteY420" fmla="*/ 408571 h 1260409"/>
                  <a:gd name="connsiteX421" fmla="*/ 531780 w 1189600"/>
                  <a:gd name="connsiteY421" fmla="*/ 408571 h 1260409"/>
                  <a:gd name="connsiteX422" fmla="*/ 615335 w 1189600"/>
                  <a:gd name="connsiteY422" fmla="*/ 476548 h 1260409"/>
                  <a:gd name="connsiteX423" fmla="*/ 516202 w 1189600"/>
                  <a:gd name="connsiteY423" fmla="*/ 462386 h 1260409"/>
                  <a:gd name="connsiteX424" fmla="*/ 528947 w 1189600"/>
                  <a:gd name="connsiteY424" fmla="*/ 405739 h 1260409"/>
                  <a:gd name="connsiteX425" fmla="*/ 528947 w 1189600"/>
                  <a:gd name="connsiteY425" fmla="*/ 405739 h 1260409"/>
                  <a:gd name="connsiteX426" fmla="*/ 528947 w 1189600"/>
                  <a:gd name="connsiteY426" fmla="*/ 405739 h 1260409"/>
                  <a:gd name="connsiteX427" fmla="*/ 528947 w 1189600"/>
                  <a:gd name="connsiteY427" fmla="*/ 405739 h 1260409"/>
                  <a:gd name="connsiteX428" fmla="*/ 544526 w 1189600"/>
                  <a:gd name="connsiteY428" fmla="*/ 325016 h 1260409"/>
                  <a:gd name="connsiteX429" fmla="*/ 527531 w 1189600"/>
                  <a:gd name="connsiteY429" fmla="*/ 401490 h 1260409"/>
                  <a:gd name="connsiteX430" fmla="*/ 487878 w 1189600"/>
                  <a:gd name="connsiteY430" fmla="*/ 368918 h 1260409"/>
                  <a:gd name="connsiteX431" fmla="*/ 487878 w 1189600"/>
                  <a:gd name="connsiteY431" fmla="*/ 368918 h 1260409"/>
                  <a:gd name="connsiteX432" fmla="*/ 462387 w 1189600"/>
                  <a:gd name="connsiteY432" fmla="*/ 411403 h 1260409"/>
                  <a:gd name="connsiteX433" fmla="*/ 400074 w 1189600"/>
                  <a:gd name="connsiteY433" fmla="*/ 417068 h 1260409"/>
                  <a:gd name="connsiteX434" fmla="*/ 356172 w 1189600"/>
                  <a:gd name="connsiteY434" fmla="*/ 378831 h 1260409"/>
                  <a:gd name="connsiteX435" fmla="*/ 544526 w 1189600"/>
                  <a:gd name="connsiteY435" fmla="*/ 325016 h 1260409"/>
                  <a:gd name="connsiteX436" fmla="*/ 506288 w 1189600"/>
                  <a:gd name="connsiteY436" fmla="*/ 530363 h 1260409"/>
                  <a:gd name="connsiteX437" fmla="*/ 507704 w 1189600"/>
                  <a:gd name="connsiteY437" fmla="*/ 511953 h 1260409"/>
                  <a:gd name="connsiteX438" fmla="*/ 507704 w 1189600"/>
                  <a:gd name="connsiteY438" fmla="*/ 511953 h 1260409"/>
                  <a:gd name="connsiteX439" fmla="*/ 506288 w 1189600"/>
                  <a:gd name="connsiteY439" fmla="*/ 510537 h 1260409"/>
                  <a:gd name="connsiteX440" fmla="*/ 516202 w 1189600"/>
                  <a:gd name="connsiteY440" fmla="*/ 463803 h 1260409"/>
                  <a:gd name="connsiteX441" fmla="*/ 618168 w 1189600"/>
                  <a:gd name="connsiteY441" fmla="*/ 479380 h 1260409"/>
                  <a:gd name="connsiteX442" fmla="*/ 677647 w 1189600"/>
                  <a:gd name="connsiteY442" fmla="*/ 527531 h 1260409"/>
                  <a:gd name="connsiteX443" fmla="*/ 506288 w 1189600"/>
                  <a:gd name="connsiteY443" fmla="*/ 530363 h 1260409"/>
                  <a:gd name="connsiteX444" fmla="*/ 387328 w 1189600"/>
                  <a:gd name="connsiteY444" fmla="*/ 533196 h 1260409"/>
                  <a:gd name="connsiteX445" fmla="*/ 387328 w 1189600"/>
                  <a:gd name="connsiteY445" fmla="*/ 533196 h 1260409"/>
                  <a:gd name="connsiteX446" fmla="*/ 367502 w 1189600"/>
                  <a:gd name="connsiteY446" fmla="*/ 565768 h 1260409"/>
                  <a:gd name="connsiteX447" fmla="*/ 323599 w 1189600"/>
                  <a:gd name="connsiteY447" fmla="*/ 534612 h 1260409"/>
                  <a:gd name="connsiteX448" fmla="*/ 387328 w 1189600"/>
                  <a:gd name="connsiteY448" fmla="*/ 533196 h 1260409"/>
                  <a:gd name="connsiteX449" fmla="*/ 353340 w 1189600"/>
                  <a:gd name="connsiteY449" fmla="*/ 419901 h 1260409"/>
                  <a:gd name="connsiteX450" fmla="*/ 332097 w 1189600"/>
                  <a:gd name="connsiteY450" fmla="*/ 407155 h 1260409"/>
                  <a:gd name="connsiteX451" fmla="*/ 332097 w 1189600"/>
                  <a:gd name="connsiteY451" fmla="*/ 407155 h 1260409"/>
                  <a:gd name="connsiteX452" fmla="*/ 339178 w 1189600"/>
                  <a:gd name="connsiteY452" fmla="*/ 421317 h 1260409"/>
                  <a:gd name="connsiteX453" fmla="*/ 276865 w 1189600"/>
                  <a:gd name="connsiteY453" fmla="*/ 426981 h 1260409"/>
                  <a:gd name="connsiteX454" fmla="*/ 214553 w 1189600"/>
                  <a:gd name="connsiteY454" fmla="*/ 418484 h 1260409"/>
                  <a:gd name="connsiteX455" fmla="*/ 354756 w 1189600"/>
                  <a:gd name="connsiteY455" fmla="*/ 380247 h 1260409"/>
                  <a:gd name="connsiteX456" fmla="*/ 398658 w 1189600"/>
                  <a:gd name="connsiteY456" fmla="*/ 418484 h 1260409"/>
                  <a:gd name="connsiteX457" fmla="*/ 353340 w 1189600"/>
                  <a:gd name="connsiteY457" fmla="*/ 419901 h 1260409"/>
                  <a:gd name="connsiteX458" fmla="*/ 618168 w 1189600"/>
                  <a:gd name="connsiteY458" fmla="*/ 476548 h 1260409"/>
                  <a:gd name="connsiteX459" fmla="*/ 534612 w 1189600"/>
                  <a:gd name="connsiteY459" fmla="*/ 407155 h 1260409"/>
                  <a:gd name="connsiteX460" fmla="*/ 765451 w 1189600"/>
                  <a:gd name="connsiteY460" fmla="*/ 388744 h 1260409"/>
                  <a:gd name="connsiteX461" fmla="*/ 768284 w 1189600"/>
                  <a:gd name="connsiteY461" fmla="*/ 394409 h 1260409"/>
                  <a:gd name="connsiteX462" fmla="*/ 705971 w 1189600"/>
                  <a:gd name="connsiteY462" fmla="*/ 490710 h 1260409"/>
                  <a:gd name="connsiteX463" fmla="*/ 618168 w 1189600"/>
                  <a:gd name="connsiteY463" fmla="*/ 476548 h 1260409"/>
                  <a:gd name="connsiteX464" fmla="*/ 531780 w 1189600"/>
                  <a:gd name="connsiteY464" fmla="*/ 405739 h 1260409"/>
                  <a:gd name="connsiteX465" fmla="*/ 528947 w 1189600"/>
                  <a:gd name="connsiteY465" fmla="*/ 402906 h 1260409"/>
                  <a:gd name="connsiteX466" fmla="*/ 545942 w 1189600"/>
                  <a:gd name="connsiteY466" fmla="*/ 323599 h 1260409"/>
                  <a:gd name="connsiteX467" fmla="*/ 584179 w 1189600"/>
                  <a:gd name="connsiteY467" fmla="*/ 312270 h 1260409"/>
                  <a:gd name="connsiteX468" fmla="*/ 579931 w 1189600"/>
                  <a:gd name="connsiteY468" fmla="*/ 363253 h 1260409"/>
                  <a:gd name="connsiteX469" fmla="*/ 625249 w 1189600"/>
                  <a:gd name="connsiteY469" fmla="*/ 300941 h 1260409"/>
                  <a:gd name="connsiteX470" fmla="*/ 691809 w 1189600"/>
                  <a:gd name="connsiteY470" fmla="*/ 282530 h 1260409"/>
                  <a:gd name="connsiteX471" fmla="*/ 762619 w 1189600"/>
                  <a:gd name="connsiteY471" fmla="*/ 385912 h 1260409"/>
                  <a:gd name="connsiteX472" fmla="*/ 531780 w 1189600"/>
                  <a:gd name="connsiteY472" fmla="*/ 405739 h 1260409"/>
                  <a:gd name="connsiteX473" fmla="*/ 629497 w 1189600"/>
                  <a:gd name="connsiteY473" fmla="*/ 299524 h 1260409"/>
                  <a:gd name="connsiteX474" fmla="*/ 645075 w 1189600"/>
                  <a:gd name="connsiteY474" fmla="*/ 278281 h 1260409"/>
                  <a:gd name="connsiteX475" fmla="*/ 684728 w 1189600"/>
                  <a:gd name="connsiteY475" fmla="*/ 269784 h 1260409"/>
                  <a:gd name="connsiteX476" fmla="*/ 693226 w 1189600"/>
                  <a:gd name="connsiteY476" fmla="*/ 282530 h 1260409"/>
                  <a:gd name="connsiteX477" fmla="*/ 629497 w 1189600"/>
                  <a:gd name="connsiteY477" fmla="*/ 299524 h 1260409"/>
                  <a:gd name="connsiteX478" fmla="*/ 588427 w 1189600"/>
                  <a:gd name="connsiteY478" fmla="*/ 288194 h 1260409"/>
                  <a:gd name="connsiteX479" fmla="*/ 554439 w 1189600"/>
                  <a:gd name="connsiteY479" fmla="*/ 295275 h 1260409"/>
                  <a:gd name="connsiteX480" fmla="*/ 571433 w 1189600"/>
                  <a:gd name="connsiteY480" fmla="*/ 217385 h 1260409"/>
                  <a:gd name="connsiteX481" fmla="*/ 595508 w 1189600"/>
                  <a:gd name="connsiteY481" fmla="*/ 217385 h 1260409"/>
                  <a:gd name="connsiteX482" fmla="*/ 588427 w 1189600"/>
                  <a:gd name="connsiteY482" fmla="*/ 288194 h 1260409"/>
                  <a:gd name="connsiteX483" fmla="*/ 463803 w 1189600"/>
                  <a:gd name="connsiteY483" fmla="*/ 203223 h 1260409"/>
                  <a:gd name="connsiteX484" fmla="*/ 527531 w 1189600"/>
                  <a:gd name="connsiteY484" fmla="*/ 172067 h 1260409"/>
                  <a:gd name="connsiteX485" fmla="*/ 579931 w 1189600"/>
                  <a:gd name="connsiteY485" fmla="*/ 169235 h 1260409"/>
                  <a:gd name="connsiteX486" fmla="*/ 570017 w 1189600"/>
                  <a:gd name="connsiteY486" fmla="*/ 214553 h 1260409"/>
                  <a:gd name="connsiteX487" fmla="*/ 449641 w 1189600"/>
                  <a:gd name="connsiteY487" fmla="*/ 217385 h 1260409"/>
                  <a:gd name="connsiteX488" fmla="*/ 463803 w 1189600"/>
                  <a:gd name="connsiteY488" fmla="*/ 203223 h 1260409"/>
                  <a:gd name="connsiteX489" fmla="*/ 568601 w 1189600"/>
                  <a:gd name="connsiteY489" fmla="*/ 217385 h 1260409"/>
                  <a:gd name="connsiteX490" fmla="*/ 551607 w 1189600"/>
                  <a:gd name="connsiteY490" fmla="*/ 295275 h 1260409"/>
                  <a:gd name="connsiteX491" fmla="*/ 319351 w 1189600"/>
                  <a:gd name="connsiteY491" fmla="*/ 343426 h 1260409"/>
                  <a:gd name="connsiteX492" fmla="*/ 446808 w 1189600"/>
                  <a:gd name="connsiteY492" fmla="*/ 220218 h 1260409"/>
                  <a:gd name="connsiteX493" fmla="*/ 568601 w 1189600"/>
                  <a:gd name="connsiteY493" fmla="*/ 217385 h 1260409"/>
                  <a:gd name="connsiteX494" fmla="*/ 545942 w 1189600"/>
                  <a:gd name="connsiteY494" fmla="*/ 323599 h 1260409"/>
                  <a:gd name="connsiteX495" fmla="*/ 354756 w 1189600"/>
                  <a:gd name="connsiteY495" fmla="*/ 375999 h 1260409"/>
                  <a:gd name="connsiteX496" fmla="*/ 320768 w 1189600"/>
                  <a:gd name="connsiteY496" fmla="*/ 346258 h 1260409"/>
                  <a:gd name="connsiteX497" fmla="*/ 551607 w 1189600"/>
                  <a:gd name="connsiteY497" fmla="*/ 298108 h 1260409"/>
                  <a:gd name="connsiteX498" fmla="*/ 545942 w 1189600"/>
                  <a:gd name="connsiteY498" fmla="*/ 323599 h 1260409"/>
                  <a:gd name="connsiteX499" fmla="*/ 174899 w 1189600"/>
                  <a:gd name="connsiteY499" fmla="*/ 428398 h 1260409"/>
                  <a:gd name="connsiteX500" fmla="*/ 208888 w 1189600"/>
                  <a:gd name="connsiteY500" fmla="*/ 418484 h 1260409"/>
                  <a:gd name="connsiteX501" fmla="*/ 266952 w 1189600"/>
                  <a:gd name="connsiteY501" fmla="*/ 426981 h 1260409"/>
                  <a:gd name="connsiteX502" fmla="*/ 183397 w 1189600"/>
                  <a:gd name="connsiteY502" fmla="*/ 434062 h 1260409"/>
                  <a:gd name="connsiteX503" fmla="*/ 174899 w 1189600"/>
                  <a:gd name="connsiteY503" fmla="*/ 428398 h 1260409"/>
                  <a:gd name="connsiteX504" fmla="*/ 275449 w 1189600"/>
                  <a:gd name="connsiteY504" fmla="*/ 428398 h 1260409"/>
                  <a:gd name="connsiteX505" fmla="*/ 344842 w 1189600"/>
                  <a:gd name="connsiteY505" fmla="*/ 438311 h 1260409"/>
                  <a:gd name="connsiteX506" fmla="*/ 385912 w 1189600"/>
                  <a:gd name="connsiteY506" fmla="*/ 531780 h 1260409"/>
                  <a:gd name="connsiteX507" fmla="*/ 320768 w 1189600"/>
                  <a:gd name="connsiteY507" fmla="*/ 533196 h 1260409"/>
                  <a:gd name="connsiteX508" fmla="*/ 184813 w 1189600"/>
                  <a:gd name="connsiteY508" fmla="*/ 436895 h 1260409"/>
                  <a:gd name="connsiteX509" fmla="*/ 275449 w 1189600"/>
                  <a:gd name="connsiteY509" fmla="*/ 428398 h 1260409"/>
                  <a:gd name="connsiteX510" fmla="*/ 370334 w 1189600"/>
                  <a:gd name="connsiteY510" fmla="*/ 567184 h 1260409"/>
                  <a:gd name="connsiteX511" fmla="*/ 388745 w 1189600"/>
                  <a:gd name="connsiteY511" fmla="*/ 536028 h 1260409"/>
                  <a:gd name="connsiteX512" fmla="*/ 418484 w 1189600"/>
                  <a:gd name="connsiteY512" fmla="*/ 601173 h 1260409"/>
                  <a:gd name="connsiteX513" fmla="*/ 370334 w 1189600"/>
                  <a:gd name="connsiteY513" fmla="*/ 567184 h 1260409"/>
                  <a:gd name="connsiteX514" fmla="*/ 390161 w 1189600"/>
                  <a:gd name="connsiteY514" fmla="*/ 534612 h 1260409"/>
                  <a:gd name="connsiteX515" fmla="*/ 390161 w 1189600"/>
                  <a:gd name="connsiteY515" fmla="*/ 534612 h 1260409"/>
                  <a:gd name="connsiteX516" fmla="*/ 503456 w 1189600"/>
                  <a:gd name="connsiteY516" fmla="*/ 533196 h 1260409"/>
                  <a:gd name="connsiteX517" fmla="*/ 499207 w 1189600"/>
                  <a:gd name="connsiteY517" fmla="*/ 599756 h 1260409"/>
                  <a:gd name="connsiteX518" fmla="*/ 496375 w 1189600"/>
                  <a:gd name="connsiteY518" fmla="*/ 599756 h 1260409"/>
                  <a:gd name="connsiteX519" fmla="*/ 496375 w 1189600"/>
                  <a:gd name="connsiteY519" fmla="*/ 599756 h 1260409"/>
                  <a:gd name="connsiteX520" fmla="*/ 499207 w 1189600"/>
                  <a:gd name="connsiteY520" fmla="*/ 602589 h 1260409"/>
                  <a:gd name="connsiteX521" fmla="*/ 499207 w 1189600"/>
                  <a:gd name="connsiteY521" fmla="*/ 604005 h 1260409"/>
                  <a:gd name="connsiteX522" fmla="*/ 499207 w 1189600"/>
                  <a:gd name="connsiteY522" fmla="*/ 604005 h 1260409"/>
                  <a:gd name="connsiteX523" fmla="*/ 541693 w 1189600"/>
                  <a:gd name="connsiteY523" fmla="*/ 690393 h 1260409"/>
                  <a:gd name="connsiteX524" fmla="*/ 421317 w 1189600"/>
                  <a:gd name="connsiteY524" fmla="*/ 605422 h 1260409"/>
                  <a:gd name="connsiteX525" fmla="*/ 390161 w 1189600"/>
                  <a:gd name="connsiteY525" fmla="*/ 534612 h 1260409"/>
                  <a:gd name="connsiteX526" fmla="*/ 502040 w 1189600"/>
                  <a:gd name="connsiteY526" fmla="*/ 598341 h 1260409"/>
                  <a:gd name="connsiteX527" fmla="*/ 506288 w 1189600"/>
                  <a:gd name="connsiteY527" fmla="*/ 531780 h 1260409"/>
                  <a:gd name="connsiteX528" fmla="*/ 680480 w 1189600"/>
                  <a:gd name="connsiteY528" fmla="*/ 528947 h 1260409"/>
                  <a:gd name="connsiteX529" fmla="*/ 681897 w 1189600"/>
                  <a:gd name="connsiteY529" fmla="*/ 530363 h 1260409"/>
                  <a:gd name="connsiteX530" fmla="*/ 630913 w 1189600"/>
                  <a:gd name="connsiteY530" fmla="*/ 608254 h 1260409"/>
                  <a:gd name="connsiteX531" fmla="*/ 502040 w 1189600"/>
                  <a:gd name="connsiteY531" fmla="*/ 598341 h 1260409"/>
                  <a:gd name="connsiteX532" fmla="*/ 700307 w 1189600"/>
                  <a:gd name="connsiteY532" fmla="*/ 528947 h 1260409"/>
                  <a:gd name="connsiteX533" fmla="*/ 735712 w 1189600"/>
                  <a:gd name="connsiteY533" fmla="*/ 528947 h 1260409"/>
                  <a:gd name="connsiteX534" fmla="*/ 789527 w 1189600"/>
                  <a:gd name="connsiteY534" fmla="*/ 565768 h 1260409"/>
                  <a:gd name="connsiteX535" fmla="*/ 795192 w 1189600"/>
                  <a:gd name="connsiteY535" fmla="*/ 620999 h 1260409"/>
                  <a:gd name="connsiteX536" fmla="*/ 792359 w 1189600"/>
                  <a:gd name="connsiteY536" fmla="*/ 620999 h 1260409"/>
                  <a:gd name="connsiteX537" fmla="*/ 698890 w 1189600"/>
                  <a:gd name="connsiteY537" fmla="*/ 544525 h 1260409"/>
                  <a:gd name="connsiteX538" fmla="*/ 700307 w 1189600"/>
                  <a:gd name="connsiteY538" fmla="*/ 528947 h 1260409"/>
                  <a:gd name="connsiteX539" fmla="*/ 737127 w 1189600"/>
                  <a:gd name="connsiteY539" fmla="*/ 526115 h 1260409"/>
                  <a:gd name="connsiteX540" fmla="*/ 701723 w 1189600"/>
                  <a:gd name="connsiteY540" fmla="*/ 502039 h 1260409"/>
                  <a:gd name="connsiteX541" fmla="*/ 708804 w 1189600"/>
                  <a:gd name="connsiteY541" fmla="*/ 492126 h 1260409"/>
                  <a:gd name="connsiteX542" fmla="*/ 782446 w 1189600"/>
                  <a:gd name="connsiteY542" fmla="*/ 503456 h 1260409"/>
                  <a:gd name="connsiteX543" fmla="*/ 785278 w 1189600"/>
                  <a:gd name="connsiteY543" fmla="*/ 526115 h 1260409"/>
                  <a:gd name="connsiteX544" fmla="*/ 737127 w 1189600"/>
                  <a:gd name="connsiteY544" fmla="*/ 526115 h 1260409"/>
                  <a:gd name="connsiteX545" fmla="*/ 235796 w 1189600"/>
                  <a:gd name="connsiteY545" fmla="*/ 625248 h 1260409"/>
                  <a:gd name="connsiteX546" fmla="*/ 235796 w 1189600"/>
                  <a:gd name="connsiteY546" fmla="*/ 625248 h 1260409"/>
                  <a:gd name="connsiteX547" fmla="*/ 235796 w 1189600"/>
                  <a:gd name="connsiteY547" fmla="*/ 625248 h 1260409"/>
                  <a:gd name="connsiteX548" fmla="*/ 235796 w 1189600"/>
                  <a:gd name="connsiteY548" fmla="*/ 625248 h 1260409"/>
                  <a:gd name="connsiteX549" fmla="*/ 235796 w 1189600"/>
                  <a:gd name="connsiteY549" fmla="*/ 626664 h 1260409"/>
                  <a:gd name="connsiteX550" fmla="*/ 244293 w 1189600"/>
                  <a:gd name="connsiteY550" fmla="*/ 656404 h 1260409"/>
                  <a:gd name="connsiteX551" fmla="*/ 221634 w 1189600"/>
                  <a:gd name="connsiteY551" fmla="*/ 642242 h 1260409"/>
                  <a:gd name="connsiteX552" fmla="*/ 231547 w 1189600"/>
                  <a:gd name="connsiteY552" fmla="*/ 628080 h 1260409"/>
                  <a:gd name="connsiteX553" fmla="*/ 235796 w 1189600"/>
                  <a:gd name="connsiteY553" fmla="*/ 626664 h 1260409"/>
                  <a:gd name="connsiteX554" fmla="*/ 326432 w 1189600"/>
                  <a:gd name="connsiteY554" fmla="*/ 639410 h 1260409"/>
                  <a:gd name="connsiteX555" fmla="*/ 368918 w 1189600"/>
                  <a:gd name="connsiteY555" fmla="*/ 570017 h 1260409"/>
                  <a:gd name="connsiteX556" fmla="*/ 419901 w 1189600"/>
                  <a:gd name="connsiteY556" fmla="*/ 605422 h 1260409"/>
                  <a:gd name="connsiteX557" fmla="*/ 431230 w 1189600"/>
                  <a:gd name="connsiteY557" fmla="*/ 630913 h 1260409"/>
                  <a:gd name="connsiteX558" fmla="*/ 411403 w 1189600"/>
                  <a:gd name="connsiteY558" fmla="*/ 717301 h 1260409"/>
                  <a:gd name="connsiteX559" fmla="*/ 326432 w 1189600"/>
                  <a:gd name="connsiteY559" fmla="*/ 639410 h 1260409"/>
                  <a:gd name="connsiteX560" fmla="*/ 502040 w 1189600"/>
                  <a:gd name="connsiteY560" fmla="*/ 601173 h 1260409"/>
                  <a:gd name="connsiteX561" fmla="*/ 629497 w 1189600"/>
                  <a:gd name="connsiteY561" fmla="*/ 611086 h 1260409"/>
                  <a:gd name="connsiteX562" fmla="*/ 592676 w 1189600"/>
                  <a:gd name="connsiteY562" fmla="*/ 669150 h 1260409"/>
                  <a:gd name="connsiteX563" fmla="*/ 578514 w 1189600"/>
                  <a:gd name="connsiteY563" fmla="*/ 669150 h 1260409"/>
                  <a:gd name="connsiteX564" fmla="*/ 502040 w 1189600"/>
                  <a:gd name="connsiteY564" fmla="*/ 601173 h 1260409"/>
                  <a:gd name="connsiteX565" fmla="*/ 681897 w 1189600"/>
                  <a:gd name="connsiteY565" fmla="*/ 528947 h 1260409"/>
                  <a:gd name="connsiteX566" fmla="*/ 681897 w 1189600"/>
                  <a:gd name="connsiteY566" fmla="*/ 528947 h 1260409"/>
                  <a:gd name="connsiteX567" fmla="*/ 681897 w 1189600"/>
                  <a:gd name="connsiteY567" fmla="*/ 528947 h 1260409"/>
                  <a:gd name="connsiteX568" fmla="*/ 681897 w 1189600"/>
                  <a:gd name="connsiteY568" fmla="*/ 528947 h 1260409"/>
                  <a:gd name="connsiteX569" fmla="*/ 829180 w 1189600"/>
                  <a:gd name="connsiteY569" fmla="*/ 592676 h 1260409"/>
                  <a:gd name="connsiteX570" fmla="*/ 829180 w 1189600"/>
                  <a:gd name="connsiteY570" fmla="*/ 592676 h 1260409"/>
                  <a:gd name="connsiteX571" fmla="*/ 861752 w 1189600"/>
                  <a:gd name="connsiteY571" fmla="*/ 575682 h 1260409"/>
                  <a:gd name="connsiteX572" fmla="*/ 875914 w 1189600"/>
                  <a:gd name="connsiteY572" fmla="*/ 625248 h 1260409"/>
                  <a:gd name="connsiteX573" fmla="*/ 798024 w 1189600"/>
                  <a:gd name="connsiteY573" fmla="*/ 619584 h 1260409"/>
                  <a:gd name="connsiteX574" fmla="*/ 792359 w 1189600"/>
                  <a:gd name="connsiteY574" fmla="*/ 565768 h 1260409"/>
                  <a:gd name="connsiteX575" fmla="*/ 829180 w 1189600"/>
                  <a:gd name="connsiteY575" fmla="*/ 592676 h 1260409"/>
                  <a:gd name="connsiteX576" fmla="*/ 829180 w 1189600"/>
                  <a:gd name="connsiteY576" fmla="*/ 591260 h 1260409"/>
                  <a:gd name="connsiteX577" fmla="*/ 790943 w 1189600"/>
                  <a:gd name="connsiteY577" fmla="*/ 565768 h 1260409"/>
                  <a:gd name="connsiteX578" fmla="*/ 786694 w 1189600"/>
                  <a:gd name="connsiteY578" fmla="*/ 528947 h 1260409"/>
                  <a:gd name="connsiteX579" fmla="*/ 846174 w 1189600"/>
                  <a:gd name="connsiteY579" fmla="*/ 527531 h 1260409"/>
                  <a:gd name="connsiteX580" fmla="*/ 860336 w 1189600"/>
                  <a:gd name="connsiteY580" fmla="*/ 574265 h 1260409"/>
                  <a:gd name="connsiteX581" fmla="*/ 829180 w 1189600"/>
                  <a:gd name="connsiteY581" fmla="*/ 591260 h 1260409"/>
                  <a:gd name="connsiteX582" fmla="*/ 686145 w 1189600"/>
                  <a:gd name="connsiteY582" fmla="*/ 269784 h 1260409"/>
                  <a:gd name="connsiteX583" fmla="*/ 890076 w 1189600"/>
                  <a:gd name="connsiteY583" fmla="*/ 227298 h 1260409"/>
                  <a:gd name="connsiteX584" fmla="*/ 694642 w 1189600"/>
                  <a:gd name="connsiteY584" fmla="*/ 281114 h 1260409"/>
                  <a:gd name="connsiteX585" fmla="*/ 686145 w 1189600"/>
                  <a:gd name="connsiteY585" fmla="*/ 269784 h 1260409"/>
                  <a:gd name="connsiteX586" fmla="*/ 571433 w 1189600"/>
                  <a:gd name="connsiteY586" fmla="*/ 215969 h 1260409"/>
                  <a:gd name="connsiteX587" fmla="*/ 581346 w 1189600"/>
                  <a:gd name="connsiteY587" fmla="*/ 170651 h 1260409"/>
                  <a:gd name="connsiteX588" fmla="*/ 598341 w 1189600"/>
                  <a:gd name="connsiteY588" fmla="*/ 169235 h 1260409"/>
                  <a:gd name="connsiteX589" fmla="*/ 594092 w 1189600"/>
                  <a:gd name="connsiteY589" fmla="*/ 215969 h 1260409"/>
                  <a:gd name="connsiteX590" fmla="*/ 571433 w 1189600"/>
                  <a:gd name="connsiteY590" fmla="*/ 215969 h 1260409"/>
                  <a:gd name="connsiteX591" fmla="*/ 232964 w 1189600"/>
                  <a:gd name="connsiteY591" fmla="*/ 490710 h 1260409"/>
                  <a:gd name="connsiteX592" fmla="*/ 234380 w 1189600"/>
                  <a:gd name="connsiteY592" fmla="*/ 534612 h 1260409"/>
                  <a:gd name="connsiteX593" fmla="*/ 213137 w 1189600"/>
                  <a:gd name="connsiteY593" fmla="*/ 534612 h 1260409"/>
                  <a:gd name="connsiteX594" fmla="*/ 232964 w 1189600"/>
                  <a:gd name="connsiteY594" fmla="*/ 490710 h 1260409"/>
                  <a:gd name="connsiteX595" fmla="*/ 232964 w 1189600"/>
                  <a:gd name="connsiteY595" fmla="*/ 490710 h 1260409"/>
                  <a:gd name="connsiteX596" fmla="*/ 405739 w 1189600"/>
                  <a:gd name="connsiteY596" fmla="*/ 751289 h 1260409"/>
                  <a:gd name="connsiteX597" fmla="*/ 412820 w 1189600"/>
                  <a:gd name="connsiteY597" fmla="*/ 721549 h 1260409"/>
                  <a:gd name="connsiteX598" fmla="*/ 438311 w 1189600"/>
                  <a:gd name="connsiteY598" fmla="*/ 745624 h 1260409"/>
                  <a:gd name="connsiteX599" fmla="*/ 405739 w 1189600"/>
                  <a:gd name="connsiteY599" fmla="*/ 751289 h 1260409"/>
                  <a:gd name="connsiteX600" fmla="*/ 789527 w 1189600"/>
                  <a:gd name="connsiteY600" fmla="*/ 619584 h 1260409"/>
                  <a:gd name="connsiteX601" fmla="*/ 694642 w 1189600"/>
                  <a:gd name="connsiteY601" fmla="*/ 612503 h 1260409"/>
                  <a:gd name="connsiteX602" fmla="*/ 698890 w 1189600"/>
                  <a:gd name="connsiteY602" fmla="*/ 545941 h 1260409"/>
                  <a:gd name="connsiteX603" fmla="*/ 789527 w 1189600"/>
                  <a:gd name="connsiteY603" fmla="*/ 619584 h 1260409"/>
                  <a:gd name="connsiteX604" fmla="*/ 796608 w 1189600"/>
                  <a:gd name="connsiteY604" fmla="*/ 622416 h 1260409"/>
                  <a:gd name="connsiteX605" fmla="*/ 796608 w 1189600"/>
                  <a:gd name="connsiteY605" fmla="*/ 622416 h 1260409"/>
                  <a:gd name="connsiteX606" fmla="*/ 796608 w 1189600"/>
                  <a:gd name="connsiteY606" fmla="*/ 622416 h 1260409"/>
                  <a:gd name="connsiteX607" fmla="*/ 796608 w 1189600"/>
                  <a:gd name="connsiteY607" fmla="*/ 622416 h 1260409"/>
                  <a:gd name="connsiteX608" fmla="*/ 901406 w 1189600"/>
                  <a:gd name="connsiteY608" fmla="*/ 708803 h 1260409"/>
                  <a:gd name="connsiteX609" fmla="*/ 878747 w 1189600"/>
                  <a:gd name="connsiteY609" fmla="*/ 628080 h 1260409"/>
                  <a:gd name="connsiteX610" fmla="*/ 963718 w 1189600"/>
                  <a:gd name="connsiteY610" fmla="*/ 633745 h 1260409"/>
                  <a:gd name="connsiteX611" fmla="*/ 963718 w 1189600"/>
                  <a:gd name="connsiteY611" fmla="*/ 633745 h 1260409"/>
                  <a:gd name="connsiteX612" fmla="*/ 963718 w 1189600"/>
                  <a:gd name="connsiteY612" fmla="*/ 632329 h 1260409"/>
                  <a:gd name="connsiteX613" fmla="*/ 963718 w 1189600"/>
                  <a:gd name="connsiteY613" fmla="*/ 635161 h 1260409"/>
                  <a:gd name="connsiteX614" fmla="*/ 963718 w 1189600"/>
                  <a:gd name="connsiteY614" fmla="*/ 635161 h 1260409"/>
                  <a:gd name="connsiteX615" fmla="*/ 1013285 w 1189600"/>
                  <a:gd name="connsiteY615" fmla="*/ 800856 h 1260409"/>
                  <a:gd name="connsiteX616" fmla="*/ 901406 w 1189600"/>
                  <a:gd name="connsiteY616" fmla="*/ 708803 h 1260409"/>
                  <a:gd name="connsiteX617" fmla="*/ 1016117 w 1189600"/>
                  <a:gd name="connsiteY617" fmla="*/ 803688 h 1260409"/>
                  <a:gd name="connsiteX618" fmla="*/ 965135 w 1189600"/>
                  <a:gd name="connsiteY618" fmla="*/ 635161 h 1260409"/>
                  <a:gd name="connsiteX619" fmla="*/ 966551 w 1189600"/>
                  <a:gd name="connsiteY619" fmla="*/ 629497 h 1260409"/>
                  <a:gd name="connsiteX620" fmla="*/ 1035944 w 1189600"/>
                  <a:gd name="connsiteY620" fmla="*/ 540277 h 1260409"/>
                  <a:gd name="connsiteX621" fmla="*/ 1108170 w 1189600"/>
                  <a:gd name="connsiteY621" fmla="*/ 550190 h 1260409"/>
                  <a:gd name="connsiteX622" fmla="*/ 1075598 w 1189600"/>
                  <a:gd name="connsiteY622" fmla="*/ 853255 h 1260409"/>
                  <a:gd name="connsiteX623" fmla="*/ 1016117 w 1189600"/>
                  <a:gd name="connsiteY623" fmla="*/ 803688 h 1260409"/>
                  <a:gd name="connsiteX624" fmla="*/ 1035944 w 1189600"/>
                  <a:gd name="connsiteY624" fmla="*/ 537444 h 1260409"/>
                  <a:gd name="connsiteX625" fmla="*/ 1027447 w 1189600"/>
                  <a:gd name="connsiteY625" fmla="*/ 536028 h 1260409"/>
                  <a:gd name="connsiteX626" fmla="*/ 1041609 w 1189600"/>
                  <a:gd name="connsiteY626" fmla="*/ 530363 h 1260409"/>
                  <a:gd name="connsiteX627" fmla="*/ 1035944 w 1189600"/>
                  <a:gd name="connsiteY627" fmla="*/ 537444 h 1260409"/>
                  <a:gd name="connsiteX628" fmla="*/ 1034528 w 1189600"/>
                  <a:gd name="connsiteY628" fmla="*/ 540277 h 1260409"/>
                  <a:gd name="connsiteX629" fmla="*/ 969383 w 1189600"/>
                  <a:gd name="connsiteY629" fmla="*/ 625248 h 1260409"/>
                  <a:gd name="connsiteX630" fmla="*/ 987794 w 1189600"/>
                  <a:gd name="connsiteY630" fmla="*/ 555855 h 1260409"/>
                  <a:gd name="connsiteX631" fmla="*/ 1024614 w 1189600"/>
                  <a:gd name="connsiteY631" fmla="*/ 538860 h 1260409"/>
                  <a:gd name="connsiteX632" fmla="*/ 1034528 w 1189600"/>
                  <a:gd name="connsiteY632" fmla="*/ 540277 h 1260409"/>
                  <a:gd name="connsiteX633" fmla="*/ 875914 w 1189600"/>
                  <a:gd name="connsiteY633" fmla="*/ 628080 h 1260409"/>
                  <a:gd name="connsiteX634" fmla="*/ 898574 w 1189600"/>
                  <a:gd name="connsiteY634" fmla="*/ 707387 h 1260409"/>
                  <a:gd name="connsiteX635" fmla="*/ 798024 w 1189600"/>
                  <a:gd name="connsiteY635" fmla="*/ 625248 h 1260409"/>
                  <a:gd name="connsiteX636" fmla="*/ 798024 w 1189600"/>
                  <a:gd name="connsiteY636" fmla="*/ 622416 h 1260409"/>
                  <a:gd name="connsiteX637" fmla="*/ 875914 w 1189600"/>
                  <a:gd name="connsiteY637" fmla="*/ 628080 h 1260409"/>
                  <a:gd name="connsiteX638" fmla="*/ 1014701 w 1189600"/>
                  <a:gd name="connsiteY638" fmla="*/ 805104 h 1260409"/>
                  <a:gd name="connsiteX639" fmla="*/ 1016117 w 1189600"/>
                  <a:gd name="connsiteY639" fmla="*/ 807937 h 1260409"/>
                  <a:gd name="connsiteX640" fmla="*/ 949556 w 1189600"/>
                  <a:gd name="connsiteY640" fmla="*/ 878746 h 1260409"/>
                  <a:gd name="connsiteX641" fmla="*/ 902822 w 1189600"/>
                  <a:gd name="connsiteY641" fmla="*/ 713052 h 1260409"/>
                  <a:gd name="connsiteX642" fmla="*/ 1014701 w 1189600"/>
                  <a:gd name="connsiteY642" fmla="*/ 805104 h 1260409"/>
                  <a:gd name="connsiteX643" fmla="*/ 684728 w 1189600"/>
                  <a:gd name="connsiteY643" fmla="*/ 268368 h 1260409"/>
                  <a:gd name="connsiteX644" fmla="*/ 667735 w 1189600"/>
                  <a:gd name="connsiteY644" fmla="*/ 244293 h 1260409"/>
                  <a:gd name="connsiteX645" fmla="*/ 667735 w 1189600"/>
                  <a:gd name="connsiteY645" fmla="*/ 244293 h 1260409"/>
                  <a:gd name="connsiteX646" fmla="*/ 643659 w 1189600"/>
                  <a:gd name="connsiteY646" fmla="*/ 276865 h 1260409"/>
                  <a:gd name="connsiteX647" fmla="*/ 591260 w 1189600"/>
                  <a:gd name="connsiteY647" fmla="*/ 288194 h 1260409"/>
                  <a:gd name="connsiteX648" fmla="*/ 596925 w 1189600"/>
                  <a:gd name="connsiteY648" fmla="*/ 217385 h 1260409"/>
                  <a:gd name="connsiteX649" fmla="*/ 952389 w 1189600"/>
                  <a:gd name="connsiteY649" fmla="*/ 210304 h 1260409"/>
                  <a:gd name="connsiteX650" fmla="*/ 919817 w 1189600"/>
                  <a:gd name="connsiteY650" fmla="*/ 218801 h 1260409"/>
                  <a:gd name="connsiteX651" fmla="*/ 684728 w 1189600"/>
                  <a:gd name="connsiteY651" fmla="*/ 268368 h 1260409"/>
                  <a:gd name="connsiteX652" fmla="*/ 140911 w 1189600"/>
                  <a:gd name="connsiteY652" fmla="*/ 407155 h 1260409"/>
                  <a:gd name="connsiteX653" fmla="*/ 140911 w 1189600"/>
                  <a:gd name="connsiteY653" fmla="*/ 407155 h 1260409"/>
                  <a:gd name="connsiteX654" fmla="*/ 140911 w 1189600"/>
                  <a:gd name="connsiteY654" fmla="*/ 407155 h 1260409"/>
                  <a:gd name="connsiteX655" fmla="*/ 140911 w 1189600"/>
                  <a:gd name="connsiteY655" fmla="*/ 407155 h 1260409"/>
                  <a:gd name="connsiteX656" fmla="*/ 234380 w 1189600"/>
                  <a:gd name="connsiteY656" fmla="*/ 536028 h 1260409"/>
                  <a:gd name="connsiteX657" fmla="*/ 235796 w 1189600"/>
                  <a:gd name="connsiteY657" fmla="*/ 620999 h 1260409"/>
                  <a:gd name="connsiteX658" fmla="*/ 235796 w 1189600"/>
                  <a:gd name="connsiteY658" fmla="*/ 620999 h 1260409"/>
                  <a:gd name="connsiteX659" fmla="*/ 231547 w 1189600"/>
                  <a:gd name="connsiteY659" fmla="*/ 626664 h 1260409"/>
                  <a:gd name="connsiteX660" fmla="*/ 211721 w 1189600"/>
                  <a:gd name="connsiteY660" fmla="*/ 636578 h 1260409"/>
                  <a:gd name="connsiteX661" fmla="*/ 179149 w 1189600"/>
                  <a:gd name="connsiteY661" fmla="*/ 616751 h 1260409"/>
                  <a:gd name="connsiteX662" fmla="*/ 213137 w 1189600"/>
                  <a:gd name="connsiteY662" fmla="*/ 536028 h 1260409"/>
                  <a:gd name="connsiteX663" fmla="*/ 234380 w 1189600"/>
                  <a:gd name="connsiteY663" fmla="*/ 536028 h 1260409"/>
                  <a:gd name="connsiteX664" fmla="*/ 591260 w 1189600"/>
                  <a:gd name="connsiteY664" fmla="*/ 670566 h 1260409"/>
                  <a:gd name="connsiteX665" fmla="*/ 587012 w 1189600"/>
                  <a:gd name="connsiteY665" fmla="*/ 677647 h 1260409"/>
                  <a:gd name="connsiteX666" fmla="*/ 579931 w 1189600"/>
                  <a:gd name="connsiteY666" fmla="*/ 671982 h 1260409"/>
                  <a:gd name="connsiteX667" fmla="*/ 591260 w 1189600"/>
                  <a:gd name="connsiteY667" fmla="*/ 670566 h 1260409"/>
                  <a:gd name="connsiteX668" fmla="*/ 1109586 w 1189600"/>
                  <a:gd name="connsiteY668" fmla="*/ 548774 h 1260409"/>
                  <a:gd name="connsiteX669" fmla="*/ 1038776 w 1189600"/>
                  <a:gd name="connsiteY669" fmla="*/ 538860 h 1260409"/>
                  <a:gd name="connsiteX670" fmla="*/ 1045857 w 1189600"/>
                  <a:gd name="connsiteY670" fmla="*/ 528947 h 1260409"/>
                  <a:gd name="connsiteX671" fmla="*/ 1050106 w 1189600"/>
                  <a:gd name="connsiteY671" fmla="*/ 527531 h 1260409"/>
                  <a:gd name="connsiteX672" fmla="*/ 1109586 w 1189600"/>
                  <a:gd name="connsiteY672" fmla="*/ 547358 h 1260409"/>
                  <a:gd name="connsiteX673" fmla="*/ 1109586 w 1189600"/>
                  <a:gd name="connsiteY673" fmla="*/ 548774 h 1260409"/>
                  <a:gd name="connsiteX674" fmla="*/ 984961 w 1189600"/>
                  <a:gd name="connsiteY674" fmla="*/ 553022 h 1260409"/>
                  <a:gd name="connsiteX675" fmla="*/ 984961 w 1189600"/>
                  <a:gd name="connsiteY675" fmla="*/ 553022 h 1260409"/>
                  <a:gd name="connsiteX676" fmla="*/ 965135 w 1189600"/>
                  <a:gd name="connsiteY676" fmla="*/ 628080 h 1260409"/>
                  <a:gd name="connsiteX677" fmla="*/ 962302 w 1189600"/>
                  <a:gd name="connsiteY677" fmla="*/ 632329 h 1260409"/>
                  <a:gd name="connsiteX678" fmla="*/ 877331 w 1189600"/>
                  <a:gd name="connsiteY678" fmla="*/ 626664 h 1260409"/>
                  <a:gd name="connsiteX679" fmla="*/ 863169 w 1189600"/>
                  <a:gd name="connsiteY679" fmla="*/ 575682 h 1260409"/>
                  <a:gd name="connsiteX680" fmla="*/ 955221 w 1189600"/>
                  <a:gd name="connsiteY680" fmla="*/ 528947 h 1260409"/>
                  <a:gd name="connsiteX681" fmla="*/ 1020366 w 1189600"/>
                  <a:gd name="connsiteY681" fmla="*/ 538860 h 1260409"/>
                  <a:gd name="connsiteX682" fmla="*/ 984961 w 1189600"/>
                  <a:gd name="connsiteY682" fmla="*/ 553022 h 1260409"/>
                  <a:gd name="connsiteX683" fmla="*/ 786694 w 1189600"/>
                  <a:gd name="connsiteY683" fmla="*/ 526115 h 1260409"/>
                  <a:gd name="connsiteX684" fmla="*/ 783862 w 1189600"/>
                  <a:gd name="connsiteY684" fmla="*/ 503456 h 1260409"/>
                  <a:gd name="connsiteX685" fmla="*/ 841926 w 1189600"/>
                  <a:gd name="connsiteY685" fmla="*/ 511953 h 1260409"/>
                  <a:gd name="connsiteX686" fmla="*/ 846174 w 1189600"/>
                  <a:gd name="connsiteY686" fmla="*/ 524699 h 1260409"/>
                  <a:gd name="connsiteX687" fmla="*/ 786694 w 1189600"/>
                  <a:gd name="connsiteY687" fmla="*/ 526115 h 1260409"/>
                  <a:gd name="connsiteX688" fmla="*/ 599757 w 1189600"/>
                  <a:gd name="connsiteY688" fmla="*/ 166402 h 1260409"/>
                  <a:gd name="connsiteX689" fmla="*/ 582763 w 1189600"/>
                  <a:gd name="connsiteY689" fmla="*/ 167818 h 1260409"/>
                  <a:gd name="connsiteX690" fmla="*/ 585595 w 1189600"/>
                  <a:gd name="connsiteY690" fmla="*/ 152241 h 1260409"/>
                  <a:gd name="connsiteX691" fmla="*/ 599757 w 1189600"/>
                  <a:gd name="connsiteY691" fmla="*/ 155073 h 1260409"/>
                  <a:gd name="connsiteX692" fmla="*/ 599757 w 1189600"/>
                  <a:gd name="connsiteY692" fmla="*/ 166402 h 1260409"/>
                  <a:gd name="connsiteX693" fmla="*/ 315103 w 1189600"/>
                  <a:gd name="connsiteY693" fmla="*/ 344842 h 1260409"/>
                  <a:gd name="connsiteX694" fmla="*/ 313687 w 1189600"/>
                  <a:gd name="connsiteY694" fmla="*/ 346258 h 1260409"/>
                  <a:gd name="connsiteX695" fmla="*/ 313687 w 1189600"/>
                  <a:gd name="connsiteY695" fmla="*/ 346258 h 1260409"/>
                  <a:gd name="connsiteX696" fmla="*/ 317935 w 1189600"/>
                  <a:gd name="connsiteY696" fmla="*/ 344842 h 1260409"/>
                  <a:gd name="connsiteX697" fmla="*/ 351923 w 1189600"/>
                  <a:gd name="connsiteY697" fmla="*/ 374582 h 1260409"/>
                  <a:gd name="connsiteX698" fmla="*/ 208888 w 1189600"/>
                  <a:gd name="connsiteY698" fmla="*/ 414236 h 1260409"/>
                  <a:gd name="connsiteX699" fmla="*/ 153656 w 1189600"/>
                  <a:gd name="connsiteY699" fmla="*/ 405739 h 1260409"/>
                  <a:gd name="connsiteX700" fmla="*/ 159322 w 1189600"/>
                  <a:gd name="connsiteY700" fmla="*/ 392993 h 1260409"/>
                  <a:gd name="connsiteX701" fmla="*/ 142327 w 1189600"/>
                  <a:gd name="connsiteY701" fmla="*/ 401490 h 1260409"/>
                  <a:gd name="connsiteX702" fmla="*/ 97009 w 1189600"/>
                  <a:gd name="connsiteY702" fmla="*/ 368918 h 1260409"/>
                  <a:gd name="connsiteX703" fmla="*/ 101258 w 1189600"/>
                  <a:gd name="connsiteY703" fmla="*/ 367501 h 1260409"/>
                  <a:gd name="connsiteX704" fmla="*/ 315103 w 1189600"/>
                  <a:gd name="connsiteY704" fmla="*/ 344842 h 1260409"/>
                  <a:gd name="connsiteX705" fmla="*/ 315103 w 1189600"/>
                  <a:gd name="connsiteY705" fmla="*/ 344842 h 1260409"/>
                  <a:gd name="connsiteX706" fmla="*/ 172068 w 1189600"/>
                  <a:gd name="connsiteY706" fmla="*/ 428398 h 1260409"/>
                  <a:gd name="connsiteX707" fmla="*/ 179149 w 1189600"/>
                  <a:gd name="connsiteY707" fmla="*/ 434062 h 1260409"/>
                  <a:gd name="connsiteX708" fmla="*/ 140911 w 1189600"/>
                  <a:gd name="connsiteY708" fmla="*/ 436895 h 1260409"/>
                  <a:gd name="connsiteX709" fmla="*/ 172068 w 1189600"/>
                  <a:gd name="connsiteY709" fmla="*/ 428398 h 1260409"/>
                  <a:gd name="connsiteX710" fmla="*/ 94177 w 1189600"/>
                  <a:gd name="connsiteY710" fmla="*/ 536028 h 1260409"/>
                  <a:gd name="connsiteX711" fmla="*/ 98425 w 1189600"/>
                  <a:gd name="connsiteY711" fmla="*/ 527531 h 1260409"/>
                  <a:gd name="connsiteX712" fmla="*/ 223050 w 1189600"/>
                  <a:gd name="connsiteY712" fmla="*/ 493542 h 1260409"/>
                  <a:gd name="connsiteX713" fmla="*/ 170651 w 1189600"/>
                  <a:gd name="connsiteY713" fmla="*/ 534612 h 1260409"/>
                  <a:gd name="connsiteX714" fmla="*/ 94177 w 1189600"/>
                  <a:gd name="connsiteY714" fmla="*/ 536028 h 1260409"/>
                  <a:gd name="connsiteX715" fmla="*/ 218802 w 1189600"/>
                  <a:gd name="connsiteY715" fmla="*/ 643658 h 1260409"/>
                  <a:gd name="connsiteX716" fmla="*/ 105506 w 1189600"/>
                  <a:gd name="connsiteY716" fmla="*/ 798023 h 1260409"/>
                  <a:gd name="connsiteX717" fmla="*/ 104090 w 1189600"/>
                  <a:gd name="connsiteY717" fmla="*/ 792359 h 1260409"/>
                  <a:gd name="connsiteX718" fmla="*/ 159322 w 1189600"/>
                  <a:gd name="connsiteY718" fmla="*/ 662069 h 1260409"/>
                  <a:gd name="connsiteX719" fmla="*/ 210304 w 1189600"/>
                  <a:gd name="connsiteY719" fmla="*/ 637994 h 1260409"/>
                  <a:gd name="connsiteX720" fmla="*/ 218802 w 1189600"/>
                  <a:gd name="connsiteY720" fmla="*/ 643658 h 1260409"/>
                  <a:gd name="connsiteX721" fmla="*/ 402907 w 1189600"/>
                  <a:gd name="connsiteY721" fmla="*/ 754122 h 1260409"/>
                  <a:gd name="connsiteX722" fmla="*/ 402907 w 1189600"/>
                  <a:gd name="connsiteY722" fmla="*/ 754122 h 1260409"/>
                  <a:gd name="connsiteX723" fmla="*/ 402907 w 1189600"/>
                  <a:gd name="connsiteY723" fmla="*/ 754122 h 1260409"/>
                  <a:gd name="connsiteX724" fmla="*/ 402907 w 1189600"/>
                  <a:gd name="connsiteY724" fmla="*/ 754122 h 1260409"/>
                  <a:gd name="connsiteX725" fmla="*/ 357588 w 1189600"/>
                  <a:gd name="connsiteY725" fmla="*/ 788110 h 1260409"/>
                  <a:gd name="connsiteX726" fmla="*/ 279698 w 1189600"/>
                  <a:gd name="connsiteY726" fmla="*/ 765451 h 1260409"/>
                  <a:gd name="connsiteX727" fmla="*/ 248541 w 1189600"/>
                  <a:gd name="connsiteY727" fmla="*/ 660653 h 1260409"/>
                  <a:gd name="connsiteX728" fmla="*/ 402907 w 1189600"/>
                  <a:gd name="connsiteY728" fmla="*/ 754122 h 1260409"/>
                  <a:gd name="connsiteX729" fmla="*/ 547358 w 1189600"/>
                  <a:gd name="connsiteY729" fmla="*/ 694641 h 1260409"/>
                  <a:gd name="connsiteX730" fmla="*/ 560104 w 1189600"/>
                  <a:gd name="connsiteY730" fmla="*/ 703139 h 1260409"/>
                  <a:gd name="connsiteX731" fmla="*/ 560104 w 1189600"/>
                  <a:gd name="connsiteY731" fmla="*/ 718717 h 1260409"/>
                  <a:gd name="connsiteX732" fmla="*/ 560104 w 1189600"/>
                  <a:gd name="connsiteY732" fmla="*/ 718717 h 1260409"/>
                  <a:gd name="connsiteX733" fmla="*/ 547358 w 1189600"/>
                  <a:gd name="connsiteY733" fmla="*/ 694641 h 1260409"/>
                  <a:gd name="connsiteX734" fmla="*/ 632330 w 1189600"/>
                  <a:gd name="connsiteY734" fmla="*/ 611086 h 1260409"/>
                  <a:gd name="connsiteX735" fmla="*/ 693226 w 1189600"/>
                  <a:gd name="connsiteY735" fmla="*/ 615335 h 1260409"/>
                  <a:gd name="connsiteX736" fmla="*/ 690393 w 1189600"/>
                  <a:gd name="connsiteY736" fmla="*/ 664901 h 1260409"/>
                  <a:gd name="connsiteX737" fmla="*/ 595508 w 1189600"/>
                  <a:gd name="connsiteY737" fmla="*/ 667734 h 1260409"/>
                  <a:gd name="connsiteX738" fmla="*/ 632330 w 1189600"/>
                  <a:gd name="connsiteY738" fmla="*/ 611086 h 1260409"/>
                  <a:gd name="connsiteX739" fmla="*/ 1111002 w 1189600"/>
                  <a:gd name="connsiteY739" fmla="*/ 548774 h 1260409"/>
                  <a:gd name="connsiteX740" fmla="*/ 1111002 w 1189600"/>
                  <a:gd name="connsiteY740" fmla="*/ 545941 h 1260409"/>
                  <a:gd name="connsiteX741" fmla="*/ 1123748 w 1189600"/>
                  <a:gd name="connsiteY741" fmla="*/ 550190 h 1260409"/>
                  <a:gd name="connsiteX742" fmla="*/ 1111002 w 1189600"/>
                  <a:gd name="connsiteY742" fmla="*/ 548774 h 1260409"/>
                  <a:gd name="connsiteX743" fmla="*/ 1050106 w 1189600"/>
                  <a:gd name="connsiteY743" fmla="*/ 524699 h 1260409"/>
                  <a:gd name="connsiteX744" fmla="*/ 1050106 w 1189600"/>
                  <a:gd name="connsiteY744" fmla="*/ 524699 h 1260409"/>
                  <a:gd name="connsiteX745" fmla="*/ 1048690 w 1189600"/>
                  <a:gd name="connsiteY745" fmla="*/ 526115 h 1260409"/>
                  <a:gd name="connsiteX746" fmla="*/ 1051522 w 1189600"/>
                  <a:gd name="connsiteY746" fmla="*/ 523282 h 1260409"/>
                  <a:gd name="connsiteX747" fmla="*/ 1051522 w 1189600"/>
                  <a:gd name="connsiteY747" fmla="*/ 523282 h 1260409"/>
                  <a:gd name="connsiteX748" fmla="*/ 965135 w 1189600"/>
                  <a:gd name="connsiteY748" fmla="*/ 524699 h 1260409"/>
                  <a:gd name="connsiteX749" fmla="*/ 1120916 w 1189600"/>
                  <a:gd name="connsiteY749" fmla="*/ 443975 h 1260409"/>
                  <a:gd name="connsiteX750" fmla="*/ 1109586 w 1189600"/>
                  <a:gd name="connsiteY750" fmla="*/ 545941 h 1260409"/>
                  <a:gd name="connsiteX751" fmla="*/ 1050106 w 1189600"/>
                  <a:gd name="connsiteY751" fmla="*/ 524699 h 1260409"/>
                  <a:gd name="connsiteX752" fmla="*/ 1044441 w 1189600"/>
                  <a:gd name="connsiteY752" fmla="*/ 527531 h 1260409"/>
                  <a:gd name="connsiteX753" fmla="*/ 1024614 w 1189600"/>
                  <a:gd name="connsiteY753" fmla="*/ 536028 h 1260409"/>
                  <a:gd name="connsiteX754" fmla="*/ 958054 w 1189600"/>
                  <a:gd name="connsiteY754" fmla="*/ 526115 h 1260409"/>
                  <a:gd name="connsiteX755" fmla="*/ 959470 w 1189600"/>
                  <a:gd name="connsiteY755" fmla="*/ 524699 h 1260409"/>
                  <a:gd name="connsiteX756" fmla="*/ 1045857 w 1189600"/>
                  <a:gd name="connsiteY756" fmla="*/ 523282 h 1260409"/>
                  <a:gd name="connsiteX757" fmla="*/ 1044441 w 1189600"/>
                  <a:gd name="connsiteY757" fmla="*/ 527531 h 1260409"/>
                  <a:gd name="connsiteX758" fmla="*/ 863169 w 1189600"/>
                  <a:gd name="connsiteY758" fmla="*/ 572849 h 1260409"/>
                  <a:gd name="connsiteX759" fmla="*/ 850423 w 1189600"/>
                  <a:gd name="connsiteY759" fmla="*/ 526115 h 1260409"/>
                  <a:gd name="connsiteX760" fmla="*/ 939643 w 1189600"/>
                  <a:gd name="connsiteY760" fmla="*/ 524699 h 1260409"/>
                  <a:gd name="connsiteX761" fmla="*/ 952389 w 1189600"/>
                  <a:gd name="connsiteY761" fmla="*/ 526115 h 1260409"/>
                  <a:gd name="connsiteX762" fmla="*/ 863169 w 1189600"/>
                  <a:gd name="connsiteY762" fmla="*/ 572849 h 1260409"/>
                  <a:gd name="connsiteX763" fmla="*/ 849007 w 1189600"/>
                  <a:gd name="connsiteY763" fmla="*/ 524699 h 1260409"/>
                  <a:gd name="connsiteX764" fmla="*/ 844759 w 1189600"/>
                  <a:gd name="connsiteY764" fmla="*/ 511953 h 1260409"/>
                  <a:gd name="connsiteX765" fmla="*/ 925481 w 1189600"/>
                  <a:gd name="connsiteY765" fmla="*/ 523282 h 1260409"/>
                  <a:gd name="connsiteX766" fmla="*/ 849007 w 1189600"/>
                  <a:gd name="connsiteY766" fmla="*/ 524699 h 1260409"/>
                  <a:gd name="connsiteX767" fmla="*/ 958054 w 1189600"/>
                  <a:gd name="connsiteY767" fmla="*/ 370334 h 1260409"/>
                  <a:gd name="connsiteX768" fmla="*/ 958054 w 1189600"/>
                  <a:gd name="connsiteY768" fmla="*/ 370334 h 1260409"/>
                  <a:gd name="connsiteX769" fmla="*/ 857504 w 1189600"/>
                  <a:gd name="connsiteY769" fmla="*/ 269784 h 1260409"/>
                  <a:gd name="connsiteX770" fmla="*/ 778197 w 1189600"/>
                  <a:gd name="connsiteY770" fmla="*/ 385912 h 1260409"/>
                  <a:gd name="connsiteX771" fmla="*/ 766868 w 1189600"/>
                  <a:gd name="connsiteY771" fmla="*/ 387328 h 1260409"/>
                  <a:gd name="connsiteX772" fmla="*/ 694642 w 1189600"/>
                  <a:gd name="connsiteY772" fmla="*/ 283946 h 1260409"/>
                  <a:gd name="connsiteX773" fmla="*/ 919817 w 1189600"/>
                  <a:gd name="connsiteY773" fmla="*/ 221634 h 1260409"/>
                  <a:gd name="connsiteX774" fmla="*/ 960886 w 1189600"/>
                  <a:gd name="connsiteY774" fmla="*/ 213137 h 1260409"/>
                  <a:gd name="connsiteX775" fmla="*/ 1081262 w 1189600"/>
                  <a:gd name="connsiteY775" fmla="*/ 361837 h 1260409"/>
                  <a:gd name="connsiteX776" fmla="*/ 955221 w 1189600"/>
                  <a:gd name="connsiteY776" fmla="*/ 371750 h 1260409"/>
                  <a:gd name="connsiteX777" fmla="*/ 958054 w 1189600"/>
                  <a:gd name="connsiteY777" fmla="*/ 370334 h 1260409"/>
                  <a:gd name="connsiteX778" fmla="*/ 596925 w 1189600"/>
                  <a:gd name="connsiteY778" fmla="*/ 214553 h 1260409"/>
                  <a:gd name="connsiteX779" fmla="*/ 601173 w 1189600"/>
                  <a:gd name="connsiteY779" fmla="*/ 167818 h 1260409"/>
                  <a:gd name="connsiteX780" fmla="*/ 664902 w 1189600"/>
                  <a:gd name="connsiteY780" fmla="*/ 163570 h 1260409"/>
                  <a:gd name="connsiteX781" fmla="*/ 946724 w 1189600"/>
                  <a:gd name="connsiteY781" fmla="*/ 207472 h 1260409"/>
                  <a:gd name="connsiteX782" fmla="*/ 596925 w 1189600"/>
                  <a:gd name="connsiteY782" fmla="*/ 214553 h 1260409"/>
                  <a:gd name="connsiteX783" fmla="*/ 517618 w 1189600"/>
                  <a:gd name="connsiteY783" fmla="*/ 139494 h 1260409"/>
                  <a:gd name="connsiteX784" fmla="*/ 608254 w 1189600"/>
                  <a:gd name="connsiteY784" fmla="*/ 44610 h 1260409"/>
                  <a:gd name="connsiteX785" fmla="*/ 584179 w 1189600"/>
                  <a:gd name="connsiteY785" fmla="*/ 149408 h 1260409"/>
                  <a:gd name="connsiteX786" fmla="*/ 517618 w 1189600"/>
                  <a:gd name="connsiteY786" fmla="*/ 139494 h 1260409"/>
                  <a:gd name="connsiteX787" fmla="*/ 460970 w 1189600"/>
                  <a:gd name="connsiteY787" fmla="*/ 196142 h 1260409"/>
                  <a:gd name="connsiteX788" fmla="*/ 407155 w 1189600"/>
                  <a:gd name="connsiteY788" fmla="*/ 125333 h 1260409"/>
                  <a:gd name="connsiteX789" fmla="*/ 513369 w 1189600"/>
                  <a:gd name="connsiteY789" fmla="*/ 142327 h 1260409"/>
                  <a:gd name="connsiteX790" fmla="*/ 460970 w 1189600"/>
                  <a:gd name="connsiteY790" fmla="*/ 196142 h 1260409"/>
                  <a:gd name="connsiteX791" fmla="*/ 401490 w 1189600"/>
                  <a:gd name="connsiteY791" fmla="*/ 123917 h 1260409"/>
                  <a:gd name="connsiteX792" fmla="*/ 402907 w 1189600"/>
                  <a:gd name="connsiteY792" fmla="*/ 122500 h 1260409"/>
                  <a:gd name="connsiteX793" fmla="*/ 402907 w 1189600"/>
                  <a:gd name="connsiteY793" fmla="*/ 122500 h 1260409"/>
                  <a:gd name="connsiteX794" fmla="*/ 401490 w 1189600"/>
                  <a:gd name="connsiteY794" fmla="*/ 123917 h 1260409"/>
                  <a:gd name="connsiteX795" fmla="*/ 320768 w 1189600"/>
                  <a:gd name="connsiteY795" fmla="*/ 223050 h 1260409"/>
                  <a:gd name="connsiteX796" fmla="*/ 320768 w 1189600"/>
                  <a:gd name="connsiteY796" fmla="*/ 223050 h 1260409"/>
                  <a:gd name="connsiteX797" fmla="*/ 443976 w 1189600"/>
                  <a:gd name="connsiteY797" fmla="*/ 221634 h 1260409"/>
                  <a:gd name="connsiteX798" fmla="*/ 316518 w 1189600"/>
                  <a:gd name="connsiteY798" fmla="*/ 344842 h 1260409"/>
                  <a:gd name="connsiteX799" fmla="*/ 315103 w 1189600"/>
                  <a:gd name="connsiteY799" fmla="*/ 343426 h 1260409"/>
                  <a:gd name="connsiteX800" fmla="*/ 315103 w 1189600"/>
                  <a:gd name="connsiteY800" fmla="*/ 343426 h 1260409"/>
                  <a:gd name="connsiteX801" fmla="*/ 105506 w 1189600"/>
                  <a:gd name="connsiteY801" fmla="*/ 368918 h 1260409"/>
                  <a:gd name="connsiteX802" fmla="*/ 238628 w 1189600"/>
                  <a:gd name="connsiteY802" fmla="*/ 299524 h 1260409"/>
                  <a:gd name="connsiteX803" fmla="*/ 238628 w 1189600"/>
                  <a:gd name="connsiteY803" fmla="*/ 299524 h 1260409"/>
                  <a:gd name="connsiteX804" fmla="*/ 289611 w 1189600"/>
                  <a:gd name="connsiteY804" fmla="*/ 204639 h 1260409"/>
                  <a:gd name="connsiteX805" fmla="*/ 391577 w 1189600"/>
                  <a:gd name="connsiteY805" fmla="*/ 135246 h 1260409"/>
                  <a:gd name="connsiteX806" fmla="*/ 320768 w 1189600"/>
                  <a:gd name="connsiteY806" fmla="*/ 223050 h 1260409"/>
                  <a:gd name="connsiteX807" fmla="*/ 139495 w 1189600"/>
                  <a:gd name="connsiteY807" fmla="*/ 405739 h 1260409"/>
                  <a:gd name="connsiteX808" fmla="*/ 139495 w 1189600"/>
                  <a:gd name="connsiteY808" fmla="*/ 405739 h 1260409"/>
                  <a:gd name="connsiteX809" fmla="*/ 48859 w 1189600"/>
                  <a:gd name="connsiteY809" fmla="*/ 392993 h 1260409"/>
                  <a:gd name="connsiteX810" fmla="*/ 92760 w 1189600"/>
                  <a:gd name="connsiteY810" fmla="*/ 373166 h 1260409"/>
                  <a:gd name="connsiteX811" fmla="*/ 92760 w 1189600"/>
                  <a:gd name="connsiteY811" fmla="*/ 373166 h 1260409"/>
                  <a:gd name="connsiteX812" fmla="*/ 139495 w 1189600"/>
                  <a:gd name="connsiteY812" fmla="*/ 405739 h 1260409"/>
                  <a:gd name="connsiteX813" fmla="*/ 135246 w 1189600"/>
                  <a:gd name="connsiteY813" fmla="*/ 408571 h 1260409"/>
                  <a:gd name="connsiteX814" fmla="*/ 74350 w 1189600"/>
                  <a:gd name="connsiteY814" fmla="*/ 439727 h 1260409"/>
                  <a:gd name="connsiteX815" fmla="*/ 43194 w 1189600"/>
                  <a:gd name="connsiteY815" fmla="*/ 395825 h 1260409"/>
                  <a:gd name="connsiteX816" fmla="*/ 46026 w 1189600"/>
                  <a:gd name="connsiteY816" fmla="*/ 394409 h 1260409"/>
                  <a:gd name="connsiteX817" fmla="*/ 135246 w 1189600"/>
                  <a:gd name="connsiteY817" fmla="*/ 408571 h 1260409"/>
                  <a:gd name="connsiteX818" fmla="*/ 75766 w 1189600"/>
                  <a:gd name="connsiteY818" fmla="*/ 445392 h 1260409"/>
                  <a:gd name="connsiteX819" fmla="*/ 75766 w 1189600"/>
                  <a:gd name="connsiteY819" fmla="*/ 445392 h 1260409"/>
                  <a:gd name="connsiteX820" fmla="*/ 119668 w 1189600"/>
                  <a:gd name="connsiteY820" fmla="*/ 442560 h 1260409"/>
                  <a:gd name="connsiteX821" fmla="*/ 24783 w 1189600"/>
                  <a:gd name="connsiteY821" fmla="*/ 468051 h 1260409"/>
                  <a:gd name="connsiteX822" fmla="*/ 74350 w 1189600"/>
                  <a:gd name="connsiteY822" fmla="*/ 442560 h 1260409"/>
                  <a:gd name="connsiteX823" fmla="*/ 75766 w 1189600"/>
                  <a:gd name="connsiteY823" fmla="*/ 445392 h 1260409"/>
                  <a:gd name="connsiteX824" fmla="*/ 181980 w 1189600"/>
                  <a:gd name="connsiteY824" fmla="*/ 436895 h 1260409"/>
                  <a:gd name="connsiteX825" fmla="*/ 317935 w 1189600"/>
                  <a:gd name="connsiteY825" fmla="*/ 533196 h 1260409"/>
                  <a:gd name="connsiteX826" fmla="*/ 235796 w 1189600"/>
                  <a:gd name="connsiteY826" fmla="*/ 534612 h 1260409"/>
                  <a:gd name="connsiteX827" fmla="*/ 234380 w 1189600"/>
                  <a:gd name="connsiteY827" fmla="*/ 489294 h 1260409"/>
                  <a:gd name="connsiteX828" fmla="*/ 234380 w 1189600"/>
                  <a:gd name="connsiteY828" fmla="*/ 489294 h 1260409"/>
                  <a:gd name="connsiteX829" fmla="*/ 231547 w 1189600"/>
                  <a:gd name="connsiteY829" fmla="*/ 489294 h 1260409"/>
                  <a:gd name="connsiteX830" fmla="*/ 232964 w 1189600"/>
                  <a:gd name="connsiteY830" fmla="*/ 485045 h 1260409"/>
                  <a:gd name="connsiteX831" fmla="*/ 232964 w 1189600"/>
                  <a:gd name="connsiteY831" fmla="*/ 483629 h 1260409"/>
                  <a:gd name="connsiteX832" fmla="*/ 224466 w 1189600"/>
                  <a:gd name="connsiteY832" fmla="*/ 490710 h 1260409"/>
                  <a:gd name="connsiteX833" fmla="*/ 97009 w 1189600"/>
                  <a:gd name="connsiteY833" fmla="*/ 526115 h 1260409"/>
                  <a:gd name="connsiteX834" fmla="*/ 136663 w 1189600"/>
                  <a:gd name="connsiteY834" fmla="*/ 441143 h 1260409"/>
                  <a:gd name="connsiteX835" fmla="*/ 181980 w 1189600"/>
                  <a:gd name="connsiteY835" fmla="*/ 436895 h 1260409"/>
                  <a:gd name="connsiteX836" fmla="*/ 208888 w 1189600"/>
                  <a:gd name="connsiteY836" fmla="*/ 636578 h 1260409"/>
                  <a:gd name="connsiteX837" fmla="*/ 160737 w 1189600"/>
                  <a:gd name="connsiteY837" fmla="*/ 659237 h 1260409"/>
                  <a:gd name="connsiteX838" fmla="*/ 177732 w 1189600"/>
                  <a:gd name="connsiteY838" fmla="*/ 618167 h 1260409"/>
                  <a:gd name="connsiteX839" fmla="*/ 208888 w 1189600"/>
                  <a:gd name="connsiteY839" fmla="*/ 636578 h 1260409"/>
                  <a:gd name="connsiteX840" fmla="*/ 102674 w 1189600"/>
                  <a:gd name="connsiteY840" fmla="*/ 788110 h 1260409"/>
                  <a:gd name="connsiteX841" fmla="*/ 77183 w 1189600"/>
                  <a:gd name="connsiteY841" fmla="*/ 698890 h 1260409"/>
                  <a:gd name="connsiteX842" fmla="*/ 156489 w 1189600"/>
                  <a:gd name="connsiteY842" fmla="*/ 662069 h 1260409"/>
                  <a:gd name="connsiteX843" fmla="*/ 102674 w 1189600"/>
                  <a:gd name="connsiteY843" fmla="*/ 788110 h 1260409"/>
                  <a:gd name="connsiteX844" fmla="*/ 104090 w 1189600"/>
                  <a:gd name="connsiteY844" fmla="*/ 799439 h 1260409"/>
                  <a:gd name="connsiteX845" fmla="*/ 95593 w 1189600"/>
                  <a:gd name="connsiteY845" fmla="*/ 812185 h 1260409"/>
                  <a:gd name="connsiteX846" fmla="*/ 102674 w 1189600"/>
                  <a:gd name="connsiteY846" fmla="*/ 795191 h 1260409"/>
                  <a:gd name="connsiteX847" fmla="*/ 104090 w 1189600"/>
                  <a:gd name="connsiteY847" fmla="*/ 799439 h 1260409"/>
                  <a:gd name="connsiteX848" fmla="*/ 357588 w 1189600"/>
                  <a:gd name="connsiteY848" fmla="*/ 790942 h 1260409"/>
                  <a:gd name="connsiteX849" fmla="*/ 357588 w 1189600"/>
                  <a:gd name="connsiteY849" fmla="*/ 790942 h 1260409"/>
                  <a:gd name="connsiteX850" fmla="*/ 405739 w 1189600"/>
                  <a:gd name="connsiteY850" fmla="*/ 756954 h 1260409"/>
                  <a:gd name="connsiteX851" fmla="*/ 405739 w 1189600"/>
                  <a:gd name="connsiteY851" fmla="*/ 756954 h 1260409"/>
                  <a:gd name="connsiteX852" fmla="*/ 405739 w 1189600"/>
                  <a:gd name="connsiteY852" fmla="*/ 754122 h 1260409"/>
                  <a:gd name="connsiteX853" fmla="*/ 441144 w 1189600"/>
                  <a:gd name="connsiteY853" fmla="*/ 747041 h 1260409"/>
                  <a:gd name="connsiteX854" fmla="*/ 469468 w 1189600"/>
                  <a:gd name="connsiteY854" fmla="*/ 772532 h 1260409"/>
                  <a:gd name="connsiteX855" fmla="*/ 303773 w 1189600"/>
                  <a:gd name="connsiteY855" fmla="*/ 844758 h 1260409"/>
                  <a:gd name="connsiteX856" fmla="*/ 281114 w 1189600"/>
                  <a:gd name="connsiteY856" fmla="*/ 769699 h 1260409"/>
                  <a:gd name="connsiteX857" fmla="*/ 357588 w 1189600"/>
                  <a:gd name="connsiteY857" fmla="*/ 790942 h 1260409"/>
                  <a:gd name="connsiteX858" fmla="*/ 434063 w 1189600"/>
                  <a:gd name="connsiteY858" fmla="*/ 630913 h 1260409"/>
                  <a:gd name="connsiteX859" fmla="*/ 434063 w 1189600"/>
                  <a:gd name="connsiteY859" fmla="*/ 630913 h 1260409"/>
                  <a:gd name="connsiteX860" fmla="*/ 424150 w 1189600"/>
                  <a:gd name="connsiteY860" fmla="*/ 608254 h 1260409"/>
                  <a:gd name="connsiteX861" fmla="*/ 544526 w 1189600"/>
                  <a:gd name="connsiteY861" fmla="*/ 693225 h 1260409"/>
                  <a:gd name="connsiteX862" fmla="*/ 558688 w 1189600"/>
                  <a:gd name="connsiteY862" fmla="*/ 721549 h 1260409"/>
                  <a:gd name="connsiteX863" fmla="*/ 442560 w 1189600"/>
                  <a:gd name="connsiteY863" fmla="*/ 744208 h 1260409"/>
                  <a:gd name="connsiteX864" fmla="*/ 414236 w 1189600"/>
                  <a:gd name="connsiteY864" fmla="*/ 718717 h 1260409"/>
                  <a:gd name="connsiteX865" fmla="*/ 434063 w 1189600"/>
                  <a:gd name="connsiteY865" fmla="*/ 630913 h 1260409"/>
                  <a:gd name="connsiteX866" fmla="*/ 561520 w 1189600"/>
                  <a:gd name="connsiteY866" fmla="*/ 704555 h 1260409"/>
                  <a:gd name="connsiteX867" fmla="*/ 565769 w 1189600"/>
                  <a:gd name="connsiteY867" fmla="*/ 707387 h 1260409"/>
                  <a:gd name="connsiteX868" fmla="*/ 561520 w 1189600"/>
                  <a:gd name="connsiteY868" fmla="*/ 714468 h 1260409"/>
                  <a:gd name="connsiteX869" fmla="*/ 561520 w 1189600"/>
                  <a:gd name="connsiteY869" fmla="*/ 704555 h 1260409"/>
                  <a:gd name="connsiteX870" fmla="*/ 561520 w 1189600"/>
                  <a:gd name="connsiteY870" fmla="*/ 670566 h 1260409"/>
                  <a:gd name="connsiteX871" fmla="*/ 577098 w 1189600"/>
                  <a:gd name="connsiteY871" fmla="*/ 670566 h 1260409"/>
                  <a:gd name="connsiteX872" fmla="*/ 585595 w 1189600"/>
                  <a:gd name="connsiteY872" fmla="*/ 677647 h 1260409"/>
                  <a:gd name="connsiteX873" fmla="*/ 567185 w 1189600"/>
                  <a:gd name="connsiteY873" fmla="*/ 705971 h 1260409"/>
                  <a:gd name="connsiteX874" fmla="*/ 561520 w 1189600"/>
                  <a:gd name="connsiteY874" fmla="*/ 701722 h 1260409"/>
                  <a:gd name="connsiteX875" fmla="*/ 561520 w 1189600"/>
                  <a:gd name="connsiteY875" fmla="*/ 670566 h 1260409"/>
                  <a:gd name="connsiteX876" fmla="*/ 588427 w 1189600"/>
                  <a:gd name="connsiteY876" fmla="*/ 677647 h 1260409"/>
                  <a:gd name="connsiteX877" fmla="*/ 594092 w 1189600"/>
                  <a:gd name="connsiteY877" fmla="*/ 669150 h 1260409"/>
                  <a:gd name="connsiteX878" fmla="*/ 690393 w 1189600"/>
                  <a:gd name="connsiteY878" fmla="*/ 666318 h 1260409"/>
                  <a:gd name="connsiteX879" fmla="*/ 683312 w 1189600"/>
                  <a:gd name="connsiteY879" fmla="*/ 762618 h 1260409"/>
                  <a:gd name="connsiteX880" fmla="*/ 588427 w 1189600"/>
                  <a:gd name="connsiteY880" fmla="*/ 677647 h 1260409"/>
                  <a:gd name="connsiteX881" fmla="*/ 694642 w 1189600"/>
                  <a:gd name="connsiteY881" fmla="*/ 615335 h 1260409"/>
                  <a:gd name="connsiteX882" fmla="*/ 792359 w 1189600"/>
                  <a:gd name="connsiteY882" fmla="*/ 622416 h 1260409"/>
                  <a:gd name="connsiteX883" fmla="*/ 796608 w 1189600"/>
                  <a:gd name="connsiteY883" fmla="*/ 626664 h 1260409"/>
                  <a:gd name="connsiteX884" fmla="*/ 800856 w 1189600"/>
                  <a:gd name="connsiteY884" fmla="*/ 662069 h 1260409"/>
                  <a:gd name="connsiteX885" fmla="*/ 691809 w 1189600"/>
                  <a:gd name="connsiteY885" fmla="*/ 666318 h 1260409"/>
                  <a:gd name="connsiteX886" fmla="*/ 694642 w 1189600"/>
                  <a:gd name="connsiteY886" fmla="*/ 615335 h 1260409"/>
                  <a:gd name="connsiteX887" fmla="*/ 832012 w 1189600"/>
                  <a:gd name="connsiteY887" fmla="*/ 662069 h 1260409"/>
                  <a:gd name="connsiteX888" fmla="*/ 904238 w 1189600"/>
                  <a:gd name="connsiteY888" fmla="*/ 761203 h 1260409"/>
                  <a:gd name="connsiteX889" fmla="*/ 833428 w 1189600"/>
                  <a:gd name="connsiteY889" fmla="*/ 875914 h 1260409"/>
                  <a:gd name="connsiteX890" fmla="*/ 827764 w 1189600"/>
                  <a:gd name="connsiteY890" fmla="*/ 874498 h 1260409"/>
                  <a:gd name="connsiteX891" fmla="*/ 803689 w 1189600"/>
                  <a:gd name="connsiteY891" fmla="*/ 663485 h 1260409"/>
                  <a:gd name="connsiteX892" fmla="*/ 832012 w 1189600"/>
                  <a:gd name="connsiteY892" fmla="*/ 662069 h 1260409"/>
                  <a:gd name="connsiteX893" fmla="*/ 870250 w 1189600"/>
                  <a:gd name="connsiteY893" fmla="*/ 887243 h 1260409"/>
                  <a:gd name="connsiteX894" fmla="*/ 827764 w 1189600"/>
                  <a:gd name="connsiteY894" fmla="*/ 890076 h 1260409"/>
                  <a:gd name="connsiteX895" fmla="*/ 836261 w 1189600"/>
                  <a:gd name="connsiteY895" fmla="*/ 877330 h 1260409"/>
                  <a:gd name="connsiteX896" fmla="*/ 870250 w 1189600"/>
                  <a:gd name="connsiteY896" fmla="*/ 887243 h 1260409"/>
                  <a:gd name="connsiteX897" fmla="*/ 948140 w 1189600"/>
                  <a:gd name="connsiteY897" fmla="*/ 882995 h 1260409"/>
                  <a:gd name="connsiteX898" fmla="*/ 948140 w 1189600"/>
                  <a:gd name="connsiteY898" fmla="*/ 882995 h 1260409"/>
                  <a:gd name="connsiteX899" fmla="*/ 948140 w 1189600"/>
                  <a:gd name="connsiteY899" fmla="*/ 882995 h 1260409"/>
                  <a:gd name="connsiteX900" fmla="*/ 956637 w 1189600"/>
                  <a:gd name="connsiteY900" fmla="*/ 908486 h 1260409"/>
                  <a:gd name="connsiteX901" fmla="*/ 881579 w 1189600"/>
                  <a:gd name="connsiteY901" fmla="*/ 887243 h 1260409"/>
                  <a:gd name="connsiteX902" fmla="*/ 948140 w 1189600"/>
                  <a:gd name="connsiteY902" fmla="*/ 882995 h 1260409"/>
                  <a:gd name="connsiteX903" fmla="*/ 1122332 w 1189600"/>
                  <a:gd name="connsiteY903" fmla="*/ 681896 h 1260409"/>
                  <a:gd name="connsiteX904" fmla="*/ 1125164 w 1189600"/>
                  <a:gd name="connsiteY904" fmla="*/ 684728 h 1260409"/>
                  <a:gd name="connsiteX905" fmla="*/ 1123748 w 1189600"/>
                  <a:gd name="connsiteY905" fmla="*/ 691809 h 1260409"/>
                  <a:gd name="connsiteX906" fmla="*/ 1122332 w 1189600"/>
                  <a:gd name="connsiteY906" fmla="*/ 681896 h 1260409"/>
                  <a:gd name="connsiteX907" fmla="*/ 1147823 w 1189600"/>
                  <a:gd name="connsiteY907" fmla="*/ 558687 h 1260409"/>
                  <a:gd name="connsiteX908" fmla="*/ 1147823 w 1189600"/>
                  <a:gd name="connsiteY908" fmla="*/ 558687 h 1260409"/>
                  <a:gd name="connsiteX909" fmla="*/ 1147823 w 1189600"/>
                  <a:gd name="connsiteY909" fmla="*/ 558687 h 1260409"/>
                  <a:gd name="connsiteX910" fmla="*/ 1190309 w 1189600"/>
                  <a:gd name="connsiteY910" fmla="*/ 555855 h 1260409"/>
                  <a:gd name="connsiteX911" fmla="*/ 1187476 w 1189600"/>
                  <a:gd name="connsiteY911" fmla="*/ 747041 h 1260409"/>
                  <a:gd name="connsiteX912" fmla="*/ 1126580 w 1189600"/>
                  <a:gd name="connsiteY912" fmla="*/ 683312 h 1260409"/>
                  <a:gd name="connsiteX913" fmla="*/ 1147823 w 1189600"/>
                  <a:gd name="connsiteY913" fmla="*/ 558687 h 1260409"/>
                  <a:gd name="connsiteX914" fmla="*/ 112587 w 1189600"/>
                  <a:gd name="connsiteY914" fmla="*/ 578514 h 1260409"/>
                  <a:gd name="connsiteX915" fmla="*/ 51691 w 1189600"/>
                  <a:gd name="connsiteY915" fmla="*/ 625248 h 1260409"/>
                  <a:gd name="connsiteX916" fmla="*/ 81431 w 1189600"/>
                  <a:gd name="connsiteY916" fmla="*/ 560103 h 1260409"/>
                  <a:gd name="connsiteX917" fmla="*/ 112587 w 1189600"/>
                  <a:gd name="connsiteY917" fmla="*/ 578514 h 1260409"/>
                  <a:gd name="connsiteX918" fmla="*/ 568601 w 1189600"/>
                  <a:gd name="connsiteY918" fmla="*/ 707387 h 1260409"/>
                  <a:gd name="connsiteX919" fmla="*/ 587012 w 1189600"/>
                  <a:gd name="connsiteY919" fmla="*/ 679063 h 1260409"/>
                  <a:gd name="connsiteX920" fmla="*/ 683312 w 1189600"/>
                  <a:gd name="connsiteY920" fmla="*/ 764035 h 1260409"/>
                  <a:gd name="connsiteX921" fmla="*/ 681897 w 1189600"/>
                  <a:gd name="connsiteY921" fmla="*/ 786694 h 1260409"/>
                  <a:gd name="connsiteX922" fmla="*/ 568601 w 1189600"/>
                  <a:gd name="connsiteY922" fmla="*/ 707387 h 1260409"/>
                  <a:gd name="connsiteX923" fmla="*/ 950973 w 1189600"/>
                  <a:gd name="connsiteY923" fmla="*/ 213137 h 1260409"/>
                  <a:gd name="connsiteX924" fmla="*/ 960886 w 1189600"/>
                  <a:gd name="connsiteY924" fmla="*/ 210304 h 1260409"/>
                  <a:gd name="connsiteX925" fmla="*/ 962302 w 1189600"/>
                  <a:gd name="connsiteY925" fmla="*/ 210304 h 1260409"/>
                  <a:gd name="connsiteX926" fmla="*/ 950973 w 1189600"/>
                  <a:gd name="connsiteY926" fmla="*/ 213137 h 1260409"/>
                  <a:gd name="connsiteX927" fmla="*/ 599757 w 1189600"/>
                  <a:gd name="connsiteY927" fmla="*/ 152241 h 1260409"/>
                  <a:gd name="connsiteX928" fmla="*/ 585595 w 1189600"/>
                  <a:gd name="connsiteY928" fmla="*/ 149408 h 1260409"/>
                  <a:gd name="connsiteX929" fmla="*/ 609670 w 1189600"/>
                  <a:gd name="connsiteY929" fmla="*/ 43194 h 1260409"/>
                  <a:gd name="connsiteX930" fmla="*/ 599757 w 1189600"/>
                  <a:gd name="connsiteY930" fmla="*/ 152241 h 1260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Lst>
                <a:rect l="l" t="t" r="r" b="b"/>
                <a:pathLst>
                  <a:path w="1189600" h="1260409">
                    <a:moveTo>
                      <a:pt x="1147823" y="557271"/>
                    </a:moveTo>
                    <a:lnTo>
                      <a:pt x="1147823" y="555855"/>
                    </a:lnTo>
                    <a:lnTo>
                      <a:pt x="1147823" y="555855"/>
                    </a:lnTo>
                    <a:lnTo>
                      <a:pt x="1135078" y="554439"/>
                    </a:lnTo>
                    <a:lnTo>
                      <a:pt x="1109586" y="545941"/>
                    </a:lnTo>
                    <a:lnTo>
                      <a:pt x="1120916" y="441143"/>
                    </a:lnTo>
                    <a:lnTo>
                      <a:pt x="1120916" y="441143"/>
                    </a:lnTo>
                    <a:lnTo>
                      <a:pt x="958054" y="526115"/>
                    </a:lnTo>
                    <a:lnTo>
                      <a:pt x="938227" y="526115"/>
                    </a:lnTo>
                    <a:lnTo>
                      <a:pt x="843342" y="511953"/>
                    </a:lnTo>
                    <a:lnTo>
                      <a:pt x="820683" y="431230"/>
                    </a:lnTo>
                    <a:lnTo>
                      <a:pt x="948140" y="375999"/>
                    </a:lnTo>
                    <a:lnTo>
                      <a:pt x="1084094" y="364669"/>
                    </a:lnTo>
                    <a:lnTo>
                      <a:pt x="1084094" y="364669"/>
                    </a:lnTo>
                    <a:lnTo>
                      <a:pt x="960886" y="211720"/>
                    </a:lnTo>
                    <a:lnTo>
                      <a:pt x="965135" y="211720"/>
                    </a:lnTo>
                    <a:lnTo>
                      <a:pt x="959470" y="208888"/>
                    </a:lnTo>
                    <a:lnTo>
                      <a:pt x="959470" y="208888"/>
                    </a:lnTo>
                    <a:lnTo>
                      <a:pt x="958054" y="208888"/>
                    </a:lnTo>
                    <a:lnTo>
                      <a:pt x="882995" y="172067"/>
                    </a:lnTo>
                    <a:lnTo>
                      <a:pt x="887244" y="21951"/>
                    </a:lnTo>
                    <a:lnTo>
                      <a:pt x="928313" y="126749"/>
                    </a:lnTo>
                    <a:lnTo>
                      <a:pt x="928313" y="126749"/>
                    </a:lnTo>
                    <a:lnTo>
                      <a:pt x="929730" y="125333"/>
                    </a:lnTo>
                    <a:lnTo>
                      <a:pt x="885828" y="12037"/>
                    </a:lnTo>
                    <a:lnTo>
                      <a:pt x="885828" y="10621"/>
                    </a:lnTo>
                    <a:lnTo>
                      <a:pt x="881579" y="172067"/>
                    </a:lnTo>
                    <a:lnTo>
                      <a:pt x="881579" y="172067"/>
                    </a:lnTo>
                    <a:lnTo>
                      <a:pt x="952389" y="206056"/>
                    </a:lnTo>
                    <a:lnTo>
                      <a:pt x="673399" y="163570"/>
                    </a:lnTo>
                    <a:lnTo>
                      <a:pt x="721550" y="160737"/>
                    </a:lnTo>
                    <a:lnTo>
                      <a:pt x="721550" y="160737"/>
                    </a:lnTo>
                    <a:lnTo>
                      <a:pt x="608254" y="41777"/>
                    </a:lnTo>
                    <a:lnTo>
                      <a:pt x="608254" y="41777"/>
                    </a:lnTo>
                    <a:lnTo>
                      <a:pt x="608254" y="38945"/>
                    </a:lnTo>
                    <a:lnTo>
                      <a:pt x="608254" y="37529"/>
                    </a:lnTo>
                    <a:lnTo>
                      <a:pt x="511954" y="138079"/>
                    </a:lnTo>
                    <a:lnTo>
                      <a:pt x="402907" y="121084"/>
                    </a:lnTo>
                    <a:lnTo>
                      <a:pt x="400074" y="118252"/>
                    </a:lnTo>
                    <a:lnTo>
                      <a:pt x="400074" y="118252"/>
                    </a:lnTo>
                    <a:lnTo>
                      <a:pt x="392993" y="126749"/>
                    </a:lnTo>
                    <a:lnTo>
                      <a:pt x="283946" y="200391"/>
                    </a:lnTo>
                    <a:lnTo>
                      <a:pt x="232964" y="295275"/>
                    </a:lnTo>
                    <a:lnTo>
                      <a:pt x="95593" y="367501"/>
                    </a:lnTo>
                    <a:lnTo>
                      <a:pt x="85679" y="368918"/>
                    </a:lnTo>
                    <a:lnTo>
                      <a:pt x="85679" y="368918"/>
                    </a:lnTo>
                    <a:lnTo>
                      <a:pt x="88512" y="371750"/>
                    </a:lnTo>
                    <a:lnTo>
                      <a:pt x="41778" y="392993"/>
                    </a:lnTo>
                    <a:lnTo>
                      <a:pt x="36113" y="391577"/>
                    </a:lnTo>
                    <a:lnTo>
                      <a:pt x="36113" y="391577"/>
                    </a:lnTo>
                    <a:lnTo>
                      <a:pt x="36113" y="392993"/>
                    </a:lnTo>
                    <a:lnTo>
                      <a:pt x="38945" y="392993"/>
                    </a:lnTo>
                    <a:lnTo>
                      <a:pt x="37529" y="392993"/>
                    </a:lnTo>
                    <a:lnTo>
                      <a:pt x="37529" y="392993"/>
                    </a:lnTo>
                    <a:lnTo>
                      <a:pt x="70102" y="438311"/>
                    </a:lnTo>
                    <a:lnTo>
                      <a:pt x="10621" y="469467"/>
                    </a:lnTo>
                    <a:lnTo>
                      <a:pt x="10621" y="469467"/>
                    </a:lnTo>
                    <a:lnTo>
                      <a:pt x="10621" y="470883"/>
                    </a:lnTo>
                    <a:lnTo>
                      <a:pt x="126749" y="438311"/>
                    </a:lnTo>
                    <a:lnTo>
                      <a:pt x="132414" y="438311"/>
                    </a:lnTo>
                    <a:lnTo>
                      <a:pt x="92760" y="523282"/>
                    </a:lnTo>
                    <a:lnTo>
                      <a:pt x="53107" y="534612"/>
                    </a:lnTo>
                    <a:lnTo>
                      <a:pt x="38945" y="534612"/>
                    </a:lnTo>
                    <a:lnTo>
                      <a:pt x="37529" y="534612"/>
                    </a:lnTo>
                    <a:lnTo>
                      <a:pt x="41778" y="537444"/>
                    </a:lnTo>
                    <a:lnTo>
                      <a:pt x="41778" y="537444"/>
                    </a:lnTo>
                    <a:lnTo>
                      <a:pt x="41778" y="537444"/>
                    </a:lnTo>
                    <a:lnTo>
                      <a:pt x="41778" y="538860"/>
                    </a:lnTo>
                    <a:lnTo>
                      <a:pt x="44610" y="538860"/>
                    </a:lnTo>
                    <a:lnTo>
                      <a:pt x="75766" y="557271"/>
                    </a:lnTo>
                    <a:lnTo>
                      <a:pt x="41778" y="629497"/>
                    </a:lnTo>
                    <a:lnTo>
                      <a:pt x="41778" y="630913"/>
                    </a:lnTo>
                    <a:lnTo>
                      <a:pt x="109755" y="578514"/>
                    </a:lnTo>
                    <a:lnTo>
                      <a:pt x="172068" y="615335"/>
                    </a:lnTo>
                    <a:lnTo>
                      <a:pt x="153656" y="659237"/>
                    </a:lnTo>
                    <a:lnTo>
                      <a:pt x="70102" y="697474"/>
                    </a:lnTo>
                    <a:lnTo>
                      <a:pt x="70102" y="697474"/>
                    </a:lnTo>
                    <a:lnTo>
                      <a:pt x="97009" y="790942"/>
                    </a:lnTo>
                    <a:lnTo>
                      <a:pt x="84264" y="819266"/>
                    </a:lnTo>
                    <a:lnTo>
                      <a:pt x="84264" y="819266"/>
                    </a:lnTo>
                    <a:lnTo>
                      <a:pt x="85679" y="820682"/>
                    </a:lnTo>
                    <a:lnTo>
                      <a:pt x="99841" y="802272"/>
                    </a:lnTo>
                    <a:lnTo>
                      <a:pt x="118252" y="863168"/>
                    </a:lnTo>
                    <a:lnTo>
                      <a:pt x="118252" y="863168"/>
                    </a:lnTo>
                    <a:lnTo>
                      <a:pt x="257039" y="796607"/>
                    </a:lnTo>
                    <a:lnTo>
                      <a:pt x="257039" y="796607"/>
                    </a:lnTo>
                    <a:lnTo>
                      <a:pt x="180564" y="739960"/>
                    </a:lnTo>
                    <a:lnTo>
                      <a:pt x="272617" y="766867"/>
                    </a:lnTo>
                    <a:lnTo>
                      <a:pt x="296692" y="846174"/>
                    </a:lnTo>
                    <a:lnTo>
                      <a:pt x="296692" y="846174"/>
                    </a:lnTo>
                    <a:lnTo>
                      <a:pt x="466635" y="772532"/>
                    </a:lnTo>
                    <a:lnTo>
                      <a:pt x="466635" y="772532"/>
                    </a:lnTo>
                    <a:lnTo>
                      <a:pt x="436895" y="745624"/>
                    </a:lnTo>
                    <a:lnTo>
                      <a:pt x="551607" y="722965"/>
                    </a:lnTo>
                    <a:lnTo>
                      <a:pt x="554439" y="728630"/>
                    </a:lnTo>
                    <a:lnTo>
                      <a:pt x="554439" y="730046"/>
                    </a:lnTo>
                    <a:lnTo>
                      <a:pt x="554439" y="721549"/>
                    </a:lnTo>
                    <a:lnTo>
                      <a:pt x="561520" y="711636"/>
                    </a:lnTo>
                    <a:lnTo>
                      <a:pt x="674816" y="792359"/>
                    </a:lnTo>
                    <a:lnTo>
                      <a:pt x="670566" y="849006"/>
                    </a:lnTo>
                    <a:lnTo>
                      <a:pt x="670566" y="849006"/>
                    </a:lnTo>
                    <a:lnTo>
                      <a:pt x="816435" y="1034527"/>
                    </a:lnTo>
                    <a:lnTo>
                      <a:pt x="1040193" y="1173314"/>
                    </a:lnTo>
                    <a:lnTo>
                      <a:pt x="994874" y="1255453"/>
                    </a:lnTo>
                    <a:lnTo>
                      <a:pt x="994874" y="1255453"/>
                    </a:lnTo>
                    <a:lnTo>
                      <a:pt x="996290" y="1256869"/>
                    </a:lnTo>
                    <a:lnTo>
                      <a:pt x="1043025" y="1173314"/>
                    </a:lnTo>
                    <a:lnTo>
                      <a:pt x="1043025" y="1173314"/>
                    </a:lnTo>
                    <a:lnTo>
                      <a:pt x="817851" y="1033111"/>
                    </a:lnTo>
                    <a:lnTo>
                      <a:pt x="671983" y="849006"/>
                    </a:lnTo>
                    <a:lnTo>
                      <a:pt x="676231" y="793775"/>
                    </a:lnTo>
                    <a:lnTo>
                      <a:pt x="816435" y="892908"/>
                    </a:lnTo>
                    <a:lnTo>
                      <a:pt x="816435" y="892908"/>
                    </a:lnTo>
                    <a:lnTo>
                      <a:pt x="817851" y="891492"/>
                    </a:lnTo>
                    <a:lnTo>
                      <a:pt x="677647" y="766867"/>
                    </a:lnTo>
                    <a:lnTo>
                      <a:pt x="684728" y="669150"/>
                    </a:lnTo>
                    <a:lnTo>
                      <a:pt x="793775" y="664901"/>
                    </a:lnTo>
                    <a:lnTo>
                      <a:pt x="817851" y="877330"/>
                    </a:lnTo>
                    <a:lnTo>
                      <a:pt x="817851" y="877330"/>
                    </a:lnTo>
                    <a:lnTo>
                      <a:pt x="824932" y="878746"/>
                    </a:lnTo>
                    <a:lnTo>
                      <a:pt x="815018" y="894324"/>
                    </a:lnTo>
                    <a:lnTo>
                      <a:pt x="815018" y="894324"/>
                    </a:lnTo>
                    <a:lnTo>
                      <a:pt x="867417" y="890076"/>
                    </a:lnTo>
                    <a:lnTo>
                      <a:pt x="949556" y="912735"/>
                    </a:lnTo>
                    <a:lnTo>
                      <a:pt x="976464" y="1006203"/>
                    </a:lnTo>
                    <a:lnTo>
                      <a:pt x="885828" y="1060019"/>
                    </a:lnTo>
                    <a:lnTo>
                      <a:pt x="885828" y="1060019"/>
                    </a:lnTo>
                    <a:lnTo>
                      <a:pt x="993459" y="1057186"/>
                    </a:lnTo>
                    <a:lnTo>
                      <a:pt x="993459" y="1057186"/>
                    </a:lnTo>
                    <a:lnTo>
                      <a:pt x="979297" y="1007620"/>
                    </a:lnTo>
                    <a:lnTo>
                      <a:pt x="1078430" y="949556"/>
                    </a:lnTo>
                    <a:lnTo>
                      <a:pt x="1137909" y="841925"/>
                    </a:lnTo>
                    <a:lnTo>
                      <a:pt x="1137909" y="841925"/>
                    </a:lnTo>
                    <a:lnTo>
                      <a:pt x="1118083" y="700306"/>
                    </a:lnTo>
                    <a:lnTo>
                      <a:pt x="1119499" y="687560"/>
                    </a:lnTo>
                    <a:lnTo>
                      <a:pt x="1181812" y="752705"/>
                    </a:lnTo>
                    <a:lnTo>
                      <a:pt x="1181812" y="752705"/>
                    </a:lnTo>
                    <a:lnTo>
                      <a:pt x="1184644" y="554439"/>
                    </a:lnTo>
                    <a:lnTo>
                      <a:pt x="1184644" y="554439"/>
                    </a:lnTo>
                    <a:lnTo>
                      <a:pt x="1147823" y="557271"/>
                    </a:lnTo>
                    <a:lnTo>
                      <a:pt x="1147823" y="557271"/>
                    </a:lnTo>
                    <a:close/>
                    <a:moveTo>
                      <a:pt x="901406" y="1057186"/>
                    </a:moveTo>
                    <a:lnTo>
                      <a:pt x="984961" y="1007620"/>
                    </a:lnTo>
                    <a:lnTo>
                      <a:pt x="997707" y="1054354"/>
                    </a:lnTo>
                    <a:lnTo>
                      <a:pt x="901406" y="1057186"/>
                    </a:lnTo>
                    <a:close/>
                    <a:moveTo>
                      <a:pt x="809354" y="878746"/>
                    </a:moveTo>
                    <a:lnTo>
                      <a:pt x="683312" y="789526"/>
                    </a:lnTo>
                    <a:lnTo>
                      <a:pt x="684728" y="768284"/>
                    </a:lnTo>
                    <a:lnTo>
                      <a:pt x="809354" y="878746"/>
                    </a:lnTo>
                    <a:close/>
                    <a:moveTo>
                      <a:pt x="984961" y="1004787"/>
                    </a:moveTo>
                    <a:lnTo>
                      <a:pt x="958054" y="912735"/>
                    </a:lnTo>
                    <a:lnTo>
                      <a:pt x="1081262" y="946723"/>
                    </a:lnTo>
                    <a:lnTo>
                      <a:pt x="1081262" y="946723"/>
                    </a:lnTo>
                    <a:lnTo>
                      <a:pt x="1120916" y="705971"/>
                    </a:lnTo>
                    <a:lnTo>
                      <a:pt x="1139326" y="840509"/>
                    </a:lnTo>
                    <a:lnTo>
                      <a:pt x="1079846" y="948140"/>
                    </a:lnTo>
                    <a:lnTo>
                      <a:pt x="984961" y="1004787"/>
                    </a:lnTo>
                    <a:close/>
                    <a:moveTo>
                      <a:pt x="123917" y="861752"/>
                    </a:moveTo>
                    <a:lnTo>
                      <a:pt x="105506" y="800856"/>
                    </a:lnTo>
                    <a:lnTo>
                      <a:pt x="220218" y="645075"/>
                    </a:lnTo>
                    <a:lnTo>
                      <a:pt x="244293" y="660653"/>
                    </a:lnTo>
                    <a:lnTo>
                      <a:pt x="275449" y="766867"/>
                    </a:lnTo>
                    <a:lnTo>
                      <a:pt x="174899" y="737127"/>
                    </a:lnTo>
                    <a:lnTo>
                      <a:pt x="173483" y="737127"/>
                    </a:lnTo>
                    <a:lnTo>
                      <a:pt x="255622" y="799439"/>
                    </a:lnTo>
                    <a:lnTo>
                      <a:pt x="123917" y="861752"/>
                    </a:lnTo>
                    <a:close/>
                    <a:moveTo>
                      <a:pt x="210304" y="536028"/>
                    </a:moveTo>
                    <a:lnTo>
                      <a:pt x="176316" y="615335"/>
                    </a:lnTo>
                    <a:lnTo>
                      <a:pt x="115420" y="578514"/>
                    </a:lnTo>
                    <a:lnTo>
                      <a:pt x="169235" y="536028"/>
                    </a:lnTo>
                    <a:lnTo>
                      <a:pt x="210304" y="536028"/>
                    </a:lnTo>
                    <a:close/>
                    <a:moveTo>
                      <a:pt x="82847" y="558687"/>
                    </a:moveTo>
                    <a:lnTo>
                      <a:pt x="92760" y="537444"/>
                    </a:lnTo>
                    <a:lnTo>
                      <a:pt x="166402" y="536028"/>
                    </a:lnTo>
                    <a:lnTo>
                      <a:pt x="114003" y="577098"/>
                    </a:lnTo>
                    <a:lnTo>
                      <a:pt x="82847" y="558687"/>
                    </a:lnTo>
                    <a:close/>
                    <a:moveTo>
                      <a:pt x="57356" y="538860"/>
                    </a:moveTo>
                    <a:lnTo>
                      <a:pt x="91345" y="538860"/>
                    </a:lnTo>
                    <a:lnTo>
                      <a:pt x="81431" y="558687"/>
                    </a:lnTo>
                    <a:lnTo>
                      <a:pt x="51691" y="540277"/>
                    </a:lnTo>
                    <a:lnTo>
                      <a:pt x="57356" y="538860"/>
                    </a:lnTo>
                    <a:close/>
                    <a:moveTo>
                      <a:pt x="91345" y="536028"/>
                    </a:moveTo>
                    <a:lnTo>
                      <a:pt x="64437" y="536028"/>
                    </a:lnTo>
                    <a:lnTo>
                      <a:pt x="94177" y="527531"/>
                    </a:lnTo>
                    <a:lnTo>
                      <a:pt x="91345" y="536028"/>
                    </a:lnTo>
                    <a:close/>
                    <a:moveTo>
                      <a:pt x="94177" y="371750"/>
                    </a:moveTo>
                    <a:lnTo>
                      <a:pt x="94177" y="371750"/>
                    </a:lnTo>
                    <a:lnTo>
                      <a:pt x="94177" y="371750"/>
                    </a:lnTo>
                    <a:lnTo>
                      <a:pt x="94177" y="371750"/>
                    </a:lnTo>
                    <a:close/>
                    <a:moveTo>
                      <a:pt x="601173" y="166402"/>
                    </a:moveTo>
                    <a:lnTo>
                      <a:pt x="602589" y="155073"/>
                    </a:lnTo>
                    <a:lnTo>
                      <a:pt x="656404" y="163570"/>
                    </a:lnTo>
                    <a:lnTo>
                      <a:pt x="601173" y="166402"/>
                    </a:lnTo>
                    <a:close/>
                    <a:moveTo>
                      <a:pt x="602589" y="153656"/>
                    </a:moveTo>
                    <a:lnTo>
                      <a:pt x="612503" y="47442"/>
                    </a:lnTo>
                    <a:lnTo>
                      <a:pt x="720133" y="160737"/>
                    </a:lnTo>
                    <a:lnTo>
                      <a:pt x="666318" y="163570"/>
                    </a:lnTo>
                    <a:lnTo>
                      <a:pt x="602589" y="153656"/>
                    </a:lnTo>
                    <a:close/>
                    <a:moveTo>
                      <a:pt x="781030" y="385912"/>
                    </a:moveTo>
                    <a:lnTo>
                      <a:pt x="857504" y="272617"/>
                    </a:lnTo>
                    <a:lnTo>
                      <a:pt x="955221" y="370334"/>
                    </a:lnTo>
                    <a:lnTo>
                      <a:pt x="949556" y="373166"/>
                    </a:lnTo>
                    <a:lnTo>
                      <a:pt x="781030" y="385912"/>
                    </a:lnTo>
                    <a:close/>
                    <a:moveTo>
                      <a:pt x="841926" y="509120"/>
                    </a:moveTo>
                    <a:lnTo>
                      <a:pt x="783862" y="500623"/>
                    </a:lnTo>
                    <a:lnTo>
                      <a:pt x="772532" y="397241"/>
                    </a:lnTo>
                    <a:lnTo>
                      <a:pt x="772532" y="397241"/>
                    </a:lnTo>
                    <a:lnTo>
                      <a:pt x="779613" y="387328"/>
                    </a:lnTo>
                    <a:lnTo>
                      <a:pt x="942475" y="374582"/>
                    </a:lnTo>
                    <a:lnTo>
                      <a:pt x="819266" y="428398"/>
                    </a:lnTo>
                    <a:lnTo>
                      <a:pt x="819266" y="428398"/>
                    </a:lnTo>
                    <a:lnTo>
                      <a:pt x="841926" y="509120"/>
                    </a:lnTo>
                    <a:close/>
                    <a:moveTo>
                      <a:pt x="1119499" y="676231"/>
                    </a:moveTo>
                    <a:lnTo>
                      <a:pt x="1122332" y="698890"/>
                    </a:lnTo>
                    <a:lnTo>
                      <a:pt x="1081262" y="943891"/>
                    </a:lnTo>
                    <a:lnTo>
                      <a:pt x="958054" y="909903"/>
                    </a:lnTo>
                    <a:lnTo>
                      <a:pt x="949556" y="881579"/>
                    </a:lnTo>
                    <a:lnTo>
                      <a:pt x="1017533" y="809353"/>
                    </a:lnTo>
                    <a:lnTo>
                      <a:pt x="1017533" y="809353"/>
                    </a:lnTo>
                    <a:lnTo>
                      <a:pt x="1017533" y="809353"/>
                    </a:lnTo>
                    <a:lnTo>
                      <a:pt x="1077013" y="858920"/>
                    </a:lnTo>
                    <a:lnTo>
                      <a:pt x="1077013" y="858920"/>
                    </a:lnTo>
                    <a:lnTo>
                      <a:pt x="1109586" y="553022"/>
                    </a:lnTo>
                    <a:lnTo>
                      <a:pt x="1135078" y="557271"/>
                    </a:lnTo>
                    <a:lnTo>
                      <a:pt x="1144990" y="560103"/>
                    </a:lnTo>
                    <a:lnTo>
                      <a:pt x="1123748" y="684728"/>
                    </a:lnTo>
                    <a:lnTo>
                      <a:pt x="1119499" y="676231"/>
                    </a:lnTo>
                    <a:lnTo>
                      <a:pt x="1119499" y="676231"/>
                    </a:lnTo>
                    <a:close/>
                    <a:moveTo>
                      <a:pt x="833428" y="659237"/>
                    </a:moveTo>
                    <a:lnTo>
                      <a:pt x="833428" y="659237"/>
                    </a:lnTo>
                    <a:lnTo>
                      <a:pt x="802273" y="660653"/>
                    </a:lnTo>
                    <a:lnTo>
                      <a:pt x="798024" y="628080"/>
                    </a:lnTo>
                    <a:lnTo>
                      <a:pt x="898574" y="710220"/>
                    </a:lnTo>
                    <a:lnTo>
                      <a:pt x="946724" y="880163"/>
                    </a:lnTo>
                    <a:lnTo>
                      <a:pt x="946724" y="881579"/>
                    </a:lnTo>
                    <a:lnTo>
                      <a:pt x="874498" y="887243"/>
                    </a:lnTo>
                    <a:lnTo>
                      <a:pt x="834845" y="875914"/>
                    </a:lnTo>
                    <a:lnTo>
                      <a:pt x="905655" y="761203"/>
                    </a:lnTo>
                    <a:lnTo>
                      <a:pt x="905655" y="761203"/>
                    </a:lnTo>
                    <a:lnTo>
                      <a:pt x="833428" y="659237"/>
                    </a:lnTo>
                    <a:close/>
                    <a:moveTo>
                      <a:pt x="75766" y="441143"/>
                    </a:moveTo>
                    <a:lnTo>
                      <a:pt x="138079" y="408571"/>
                    </a:lnTo>
                    <a:lnTo>
                      <a:pt x="143744" y="409987"/>
                    </a:lnTo>
                    <a:lnTo>
                      <a:pt x="147992" y="412820"/>
                    </a:lnTo>
                    <a:lnTo>
                      <a:pt x="136663" y="436895"/>
                    </a:lnTo>
                    <a:lnTo>
                      <a:pt x="129582" y="438311"/>
                    </a:lnTo>
                    <a:lnTo>
                      <a:pt x="75766" y="442560"/>
                    </a:lnTo>
                    <a:lnTo>
                      <a:pt x="75766" y="441143"/>
                    </a:lnTo>
                    <a:close/>
                    <a:moveTo>
                      <a:pt x="459554" y="198975"/>
                    </a:moveTo>
                    <a:lnTo>
                      <a:pt x="459554" y="198975"/>
                    </a:lnTo>
                    <a:lnTo>
                      <a:pt x="514785" y="140911"/>
                    </a:lnTo>
                    <a:lnTo>
                      <a:pt x="582763" y="150824"/>
                    </a:lnTo>
                    <a:lnTo>
                      <a:pt x="579931" y="166402"/>
                    </a:lnTo>
                    <a:lnTo>
                      <a:pt x="526115" y="169235"/>
                    </a:lnTo>
                    <a:lnTo>
                      <a:pt x="460970" y="200391"/>
                    </a:lnTo>
                    <a:lnTo>
                      <a:pt x="443976" y="215969"/>
                    </a:lnTo>
                    <a:lnTo>
                      <a:pt x="323599" y="218801"/>
                    </a:lnTo>
                    <a:lnTo>
                      <a:pt x="395826" y="128165"/>
                    </a:lnTo>
                    <a:lnTo>
                      <a:pt x="402907" y="123917"/>
                    </a:lnTo>
                    <a:lnTo>
                      <a:pt x="459554" y="198975"/>
                    </a:lnTo>
                    <a:close/>
                    <a:moveTo>
                      <a:pt x="558688" y="669150"/>
                    </a:moveTo>
                    <a:lnTo>
                      <a:pt x="558688" y="700306"/>
                    </a:lnTo>
                    <a:lnTo>
                      <a:pt x="544526" y="690393"/>
                    </a:lnTo>
                    <a:lnTo>
                      <a:pt x="502040" y="604005"/>
                    </a:lnTo>
                    <a:lnTo>
                      <a:pt x="574265" y="667734"/>
                    </a:lnTo>
                    <a:lnTo>
                      <a:pt x="558688" y="669150"/>
                    </a:lnTo>
                    <a:lnTo>
                      <a:pt x="558688" y="669150"/>
                    </a:lnTo>
                    <a:close/>
                    <a:moveTo>
                      <a:pt x="230131" y="492126"/>
                    </a:moveTo>
                    <a:lnTo>
                      <a:pt x="211721" y="534612"/>
                    </a:lnTo>
                    <a:lnTo>
                      <a:pt x="173483" y="534612"/>
                    </a:lnTo>
                    <a:lnTo>
                      <a:pt x="228715" y="492126"/>
                    </a:lnTo>
                    <a:lnTo>
                      <a:pt x="230131" y="492126"/>
                    </a:lnTo>
                    <a:close/>
                    <a:moveTo>
                      <a:pt x="169235" y="426981"/>
                    </a:moveTo>
                    <a:lnTo>
                      <a:pt x="139495" y="435479"/>
                    </a:lnTo>
                    <a:lnTo>
                      <a:pt x="149408" y="412820"/>
                    </a:lnTo>
                    <a:lnTo>
                      <a:pt x="169235" y="426981"/>
                    </a:lnTo>
                    <a:close/>
                    <a:moveTo>
                      <a:pt x="150825" y="409987"/>
                    </a:moveTo>
                    <a:lnTo>
                      <a:pt x="150825" y="409987"/>
                    </a:lnTo>
                    <a:lnTo>
                      <a:pt x="147992" y="409987"/>
                    </a:lnTo>
                    <a:lnTo>
                      <a:pt x="150825" y="409987"/>
                    </a:lnTo>
                    <a:close/>
                    <a:moveTo>
                      <a:pt x="697474" y="544525"/>
                    </a:moveTo>
                    <a:lnTo>
                      <a:pt x="693226" y="612503"/>
                    </a:lnTo>
                    <a:lnTo>
                      <a:pt x="633746" y="608254"/>
                    </a:lnTo>
                    <a:lnTo>
                      <a:pt x="683312" y="531780"/>
                    </a:lnTo>
                    <a:lnTo>
                      <a:pt x="697474" y="544525"/>
                    </a:lnTo>
                    <a:close/>
                    <a:moveTo>
                      <a:pt x="402907" y="751289"/>
                    </a:moveTo>
                    <a:lnTo>
                      <a:pt x="247126" y="657820"/>
                    </a:lnTo>
                    <a:lnTo>
                      <a:pt x="237212" y="625248"/>
                    </a:lnTo>
                    <a:lnTo>
                      <a:pt x="237212" y="625248"/>
                    </a:lnTo>
                    <a:lnTo>
                      <a:pt x="237212" y="625248"/>
                    </a:lnTo>
                    <a:lnTo>
                      <a:pt x="235796" y="536028"/>
                    </a:lnTo>
                    <a:lnTo>
                      <a:pt x="320768" y="534612"/>
                    </a:lnTo>
                    <a:lnTo>
                      <a:pt x="367502" y="567184"/>
                    </a:lnTo>
                    <a:lnTo>
                      <a:pt x="323599" y="639410"/>
                    </a:lnTo>
                    <a:lnTo>
                      <a:pt x="323599" y="639410"/>
                    </a:lnTo>
                    <a:lnTo>
                      <a:pt x="411403" y="718717"/>
                    </a:lnTo>
                    <a:lnTo>
                      <a:pt x="402907" y="751289"/>
                    </a:lnTo>
                    <a:lnTo>
                      <a:pt x="402907" y="751289"/>
                    </a:lnTo>
                    <a:close/>
                    <a:moveTo>
                      <a:pt x="228715" y="629497"/>
                    </a:moveTo>
                    <a:lnTo>
                      <a:pt x="220218" y="640826"/>
                    </a:lnTo>
                    <a:lnTo>
                      <a:pt x="213137" y="636578"/>
                    </a:lnTo>
                    <a:lnTo>
                      <a:pt x="228715" y="629497"/>
                    </a:lnTo>
                    <a:close/>
                    <a:moveTo>
                      <a:pt x="153656" y="400074"/>
                    </a:moveTo>
                    <a:lnTo>
                      <a:pt x="150825" y="407155"/>
                    </a:lnTo>
                    <a:lnTo>
                      <a:pt x="145160" y="405739"/>
                    </a:lnTo>
                    <a:lnTo>
                      <a:pt x="143744" y="404322"/>
                    </a:lnTo>
                    <a:lnTo>
                      <a:pt x="153656" y="400074"/>
                    </a:lnTo>
                    <a:close/>
                    <a:moveTo>
                      <a:pt x="152241" y="409987"/>
                    </a:moveTo>
                    <a:lnTo>
                      <a:pt x="203223" y="417068"/>
                    </a:lnTo>
                    <a:lnTo>
                      <a:pt x="172068" y="425565"/>
                    </a:lnTo>
                    <a:lnTo>
                      <a:pt x="152241" y="409987"/>
                    </a:lnTo>
                    <a:lnTo>
                      <a:pt x="152241" y="409987"/>
                    </a:lnTo>
                    <a:close/>
                    <a:moveTo>
                      <a:pt x="771116" y="391577"/>
                    </a:moveTo>
                    <a:lnTo>
                      <a:pt x="771116" y="391577"/>
                    </a:lnTo>
                    <a:lnTo>
                      <a:pt x="771116" y="391577"/>
                    </a:lnTo>
                    <a:lnTo>
                      <a:pt x="768284" y="388744"/>
                    </a:lnTo>
                    <a:lnTo>
                      <a:pt x="776781" y="388744"/>
                    </a:lnTo>
                    <a:lnTo>
                      <a:pt x="772532" y="395825"/>
                    </a:lnTo>
                    <a:lnTo>
                      <a:pt x="772532" y="394409"/>
                    </a:lnTo>
                    <a:lnTo>
                      <a:pt x="771116" y="391577"/>
                    </a:lnTo>
                    <a:close/>
                    <a:moveTo>
                      <a:pt x="710220" y="490710"/>
                    </a:moveTo>
                    <a:lnTo>
                      <a:pt x="771116" y="397241"/>
                    </a:lnTo>
                    <a:lnTo>
                      <a:pt x="783862" y="500623"/>
                    </a:lnTo>
                    <a:lnTo>
                      <a:pt x="710220" y="490710"/>
                    </a:lnTo>
                    <a:close/>
                    <a:moveTo>
                      <a:pt x="739960" y="528947"/>
                    </a:moveTo>
                    <a:lnTo>
                      <a:pt x="785278" y="528947"/>
                    </a:lnTo>
                    <a:lnTo>
                      <a:pt x="789527" y="564352"/>
                    </a:lnTo>
                    <a:lnTo>
                      <a:pt x="739960" y="528947"/>
                    </a:lnTo>
                    <a:close/>
                    <a:moveTo>
                      <a:pt x="698890" y="528947"/>
                    </a:moveTo>
                    <a:lnTo>
                      <a:pt x="697474" y="541693"/>
                    </a:lnTo>
                    <a:lnTo>
                      <a:pt x="683312" y="530363"/>
                    </a:lnTo>
                    <a:lnTo>
                      <a:pt x="683312" y="528947"/>
                    </a:lnTo>
                    <a:lnTo>
                      <a:pt x="698890" y="528947"/>
                    </a:lnTo>
                    <a:close/>
                    <a:moveTo>
                      <a:pt x="686145" y="527531"/>
                    </a:moveTo>
                    <a:lnTo>
                      <a:pt x="700307" y="504872"/>
                    </a:lnTo>
                    <a:lnTo>
                      <a:pt x="698890" y="527531"/>
                    </a:lnTo>
                    <a:lnTo>
                      <a:pt x="686145" y="527531"/>
                    </a:lnTo>
                    <a:close/>
                    <a:moveTo>
                      <a:pt x="646492" y="275449"/>
                    </a:moveTo>
                    <a:lnTo>
                      <a:pt x="667735" y="245709"/>
                    </a:lnTo>
                    <a:lnTo>
                      <a:pt x="683312" y="266952"/>
                    </a:lnTo>
                    <a:lnTo>
                      <a:pt x="646492" y="275449"/>
                    </a:lnTo>
                    <a:close/>
                    <a:moveTo>
                      <a:pt x="732879" y="526115"/>
                    </a:moveTo>
                    <a:lnTo>
                      <a:pt x="700307" y="526115"/>
                    </a:lnTo>
                    <a:lnTo>
                      <a:pt x="701723" y="504872"/>
                    </a:lnTo>
                    <a:lnTo>
                      <a:pt x="732879" y="526115"/>
                    </a:lnTo>
                    <a:close/>
                    <a:moveTo>
                      <a:pt x="705971" y="492126"/>
                    </a:moveTo>
                    <a:lnTo>
                      <a:pt x="683312" y="527531"/>
                    </a:lnTo>
                    <a:lnTo>
                      <a:pt x="680480" y="527531"/>
                    </a:lnTo>
                    <a:lnTo>
                      <a:pt x="622416" y="479380"/>
                    </a:lnTo>
                    <a:lnTo>
                      <a:pt x="705971" y="492126"/>
                    </a:lnTo>
                    <a:close/>
                    <a:moveTo>
                      <a:pt x="588427" y="313686"/>
                    </a:moveTo>
                    <a:lnTo>
                      <a:pt x="623832" y="303773"/>
                    </a:lnTo>
                    <a:lnTo>
                      <a:pt x="584179" y="357588"/>
                    </a:lnTo>
                    <a:lnTo>
                      <a:pt x="588427" y="313686"/>
                    </a:lnTo>
                    <a:close/>
                    <a:moveTo>
                      <a:pt x="625249" y="300941"/>
                    </a:moveTo>
                    <a:lnTo>
                      <a:pt x="588427" y="310854"/>
                    </a:lnTo>
                    <a:lnTo>
                      <a:pt x="589844" y="289611"/>
                    </a:lnTo>
                    <a:lnTo>
                      <a:pt x="640827" y="278281"/>
                    </a:lnTo>
                    <a:lnTo>
                      <a:pt x="625249" y="300941"/>
                    </a:lnTo>
                    <a:close/>
                    <a:moveTo>
                      <a:pt x="547358" y="322183"/>
                    </a:moveTo>
                    <a:lnTo>
                      <a:pt x="553023" y="296692"/>
                    </a:lnTo>
                    <a:lnTo>
                      <a:pt x="588427" y="289611"/>
                    </a:lnTo>
                    <a:lnTo>
                      <a:pt x="587012" y="310854"/>
                    </a:lnTo>
                    <a:lnTo>
                      <a:pt x="547358" y="322183"/>
                    </a:lnTo>
                    <a:close/>
                    <a:moveTo>
                      <a:pt x="339178" y="421317"/>
                    </a:moveTo>
                    <a:lnTo>
                      <a:pt x="334930" y="412820"/>
                    </a:lnTo>
                    <a:lnTo>
                      <a:pt x="349092" y="421317"/>
                    </a:lnTo>
                    <a:lnTo>
                      <a:pt x="339178" y="421317"/>
                    </a:lnTo>
                    <a:close/>
                    <a:moveTo>
                      <a:pt x="340594" y="424149"/>
                    </a:moveTo>
                    <a:lnTo>
                      <a:pt x="353340" y="422733"/>
                    </a:lnTo>
                    <a:lnTo>
                      <a:pt x="388745" y="442560"/>
                    </a:lnTo>
                    <a:lnTo>
                      <a:pt x="347675" y="436895"/>
                    </a:lnTo>
                    <a:lnTo>
                      <a:pt x="340594" y="424149"/>
                    </a:lnTo>
                    <a:close/>
                    <a:moveTo>
                      <a:pt x="442560" y="452473"/>
                    </a:moveTo>
                    <a:lnTo>
                      <a:pt x="514785" y="462386"/>
                    </a:lnTo>
                    <a:lnTo>
                      <a:pt x="504873" y="506288"/>
                    </a:lnTo>
                    <a:lnTo>
                      <a:pt x="442560" y="452473"/>
                    </a:lnTo>
                    <a:close/>
                    <a:moveTo>
                      <a:pt x="429814" y="465218"/>
                    </a:moveTo>
                    <a:lnTo>
                      <a:pt x="397242" y="446808"/>
                    </a:lnTo>
                    <a:lnTo>
                      <a:pt x="436895" y="452473"/>
                    </a:lnTo>
                    <a:lnTo>
                      <a:pt x="429814" y="465218"/>
                    </a:lnTo>
                    <a:close/>
                    <a:moveTo>
                      <a:pt x="431230" y="466635"/>
                    </a:moveTo>
                    <a:lnTo>
                      <a:pt x="439727" y="453889"/>
                    </a:lnTo>
                    <a:lnTo>
                      <a:pt x="502040" y="507704"/>
                    </a:lnTo>
                    <a:lnTo>
                      <a:pt x="431230" y="466635"/>
                    </a:lnTo>
                    <a:close/>
                    <a:moveTo>
                      <a:pt x="465219" y="411403"/>
                    </a:moveTo>
                    <a:lnTo>
                      <a:pt x="489294" y="373166"/>
                    </a:lnTo>
                    <a:lnTo>
                      <a:pt x="527531" y="404322"/>
                    </a:lnTo>
                    <a:lnTo>
                      <a:pt x="527531" y="405739"/>
                    </a:lnTo>
                    <a:lnTo>
                      <a:pt x="465219" y="411403"/>
                    </a:lnTo>
                    <a:close/>
                    <a:moveTo>
                      <a:pt x="438311" y="451056"/>
                    </a:moveTo>
                    <a:lnTo>
                      <a:pt x="401490" y="418484"/>
                    </a:lnTo>
                    <a:lnTo>
                      <a:pt x="460970" y="414236"/>
                    </a:lnTo>
                    <a:lnTo>
                      <a:pt x="438311" y="451056"/>
                    </a:lnTo>
                    <a:close/>
                    <a:moveTo>
                      <a:pt x="435479" y="449641"/>
                    </a:moveTo>
                    <a:lnTo>
                      <a:pt x="392993" y="443975"/>
                    </a:lnTo>
                    <a:lnTo>
                      <a:pt x="356172" y="422733"/>
                    </a:lnTo>
                    <a:lnTo>
                      <a:pt x="398658" y="419901"/>
                    </a:lnTo>
                    <a:lnTo>
                      <a:pt x="435479" y="449641"/>
                    </a:lnTo>
                    <a:close/>
                    <a:moveTo>
                      <a:pt x="392993" y="445392"/>
                    </a:moveTo>
                    <a:lnTo>
                      <a:pt x="429814" y="466635"/>
                    </a:lnTo>
                    <a:lnTo>
                      <a:pt x="390161" y="531780"/>
                    </a:lnTo>
                    <a:lnTo>
                      <a:pt x="390161" y="531780"/>
                    </a:lnTo>
                    <a:lnTo>
                      <a:pt x="349092" y="439727"/>
                    </a:lnTo>
                    <a:lnTo>
                      <a:pt x="392993" y="445392"/>
                    </a:lnTo>
                    <a:close/>
                    <a:moveTo>
                      <a:pt x="431230" y="468051"/>
                    </a:moveTo>
                    <a:lnTo>
                      <a:pt x="506288" y="511953"/>
                    </a:lnTo>
                    <a:lnTo>
                      <a:pt x="504873" y="530363"/>
                    </a:lnTo>
                    <a:lnTo>
                      <a:pt x="392993" y="531780"/>
                    </a:lnTo>
                    <a:lnTo>
                      <a:pt x="431230" y="468051"/>
                    </a:lnTo>
                    <a:close/>
                    <a:moveTo>
                      <a:pt x="441144" y="451056"/>
                    </a:moveTo>
                    <a:lnTo>
                      <a:pt x="463803" y="414236"/>
                    </a:lnTo>
                    <a:lnTo>
                      <a:pt x="526115" y="408571"/>
                    </a:lnTo>
                    <a:lnTo>
                      <a:pt x="514785" y="460970"/>
                    </a:lnTo>
                    <a:lnTo>
                      <a:pt x="441144" y="451056"/>
                    </a:lnTo>
                    <a:close/>
                    <a:moveTo>
                      <a:pt x="285363" y="428398"/>
                    </a:moveTo>
                    <a:lnTo>
                      <a:pt x="339178" y="424149"/>
                    </a:lnTo>
                    <a:lnTo>
                      <a:pt x="344842" y="436895"/>
                    </a:lnTo>
                    <a:lnTo>
                      <a:pt x="285363" y="428398"/>
                    </a:lnTo>
                    <a:close/>
                    <a:moveTo>
                      <a:pt x="516202" y="462386"/>
                    </a:moveTo>
                    <a:lnTo>
                      <a:pt x="528947" y="408571"/>
                    </a:lnTo>
                    <a:lnTo>
                      <a:pt x="531780" y="408571"/>
                    </a:lnTo>
                    <a:lnTo>
                      <a:pt x="615335" y="476548"/>
                    </a:lnTo>
                    <a:lnTo>
                      <a:pt x="516202" y="462386"/>
                    </a:lnTo>
                    <a:close/>
                    <a:moveTo>
                      <a:pt x="528947" y="405739"/>
                    </a:moveTo>
                    <a:lnTo>
                      <a:pt x="528947" y="405739"/>
                    </a:lnTo>
                    <a:lnTo>
                      <a:pt x="528947" y="405739"/>
                    </a:lnTo>
                    <a:lnTo>
                      <a:pt x="528947" y="405739"/>
                    </a:lnTo>
                    <a:close/>
                    <a:moveTo>
                      <a:pt x="544526" y="325016"/>
                    </a:moveTo>
                    <a:lnTo>
                      <a:pt x="527531" y="401490"/>
                    </a:lnTo>
                    <a:lnTo>
                      <a:pt x="487878" y="368918"/>
                    </a:lnTo>
                    <a:lnTo>
                      <a:pt x="487878" y="368918"/>
                    </a:lnTo>
                    <a:lnTo>
                      <a:pt x="462387" y="411403"/>
                    </a:lnTo>
                    <a:lnTo>
                      <a:pt x="400074" y="417068"/>
                    </a:lnTo>
                    <a:lnTo>
                      <a:pt x="356172" y="378831"/>
                    </a:lnTo>
                    <a:lnTo>
                      <a:pt x="544526" y="325016"/>
                    </a:lnTo>
                    <a:close/>
                    <a:moveTo>
                      <a:pt x="506288" y="530363"/>
                    </a:moveTo>
                    <a:lnTo>
                      <a:pt x="507704" y="511953"/>
                    </a:lnTo>
                    <a:lnTo>
                      <a:pt x="507704" y="511953"/>
                    </a:lnTo>
                    <a:lnTo>
                      <a:pt x="506288" y="510537"/>
                    </a:lnTo>
                    <a:lnTo>
                      <a:pt x="516202" y="463803"/>
                    </a:lnTo>
                    <a:lnTo>
                      <a:pt x="618168" y="479380"/>
                    </a:lnTo>
                    <a:lnTo>
                      <a:pt x="677647" y="527531"/>
                    </a:lnTo>
                    <a:lnTo>
                      <a:pt x="506288" y="530363"/>
                    </a:lnTo>
                    <a:close/>
                    <a:moveTo>
                      <a:pt x="387328" y="533196"/>
                    </a:moveTo>
                    <a:lnTo>
                      <a:pt x="387328" y="533196"/>
                    </a:lnTo>
                    <a:lnTo>
                      <a:pt x="367502" y="565768"/>
                    </a:lnTo>
                    <a:lnTo>
                      <a:pt x="323599" y="534612"/>
                    </a:lnTo>
                    <a:lnTo>
                      <a:pt x="387328" y="533196"/>
                    </a:lnTo>
                    <a:close/>
                    <a:moveTo>
                      <a:pt x="353340" y="419901"/>
                    </a:moveTo>
                    <a:lnTo>
                      <a:pt x="332097" y="407155"/>
                    </a:lnTo>
                    <a:lnTo>
                      <a:pt x="332097" y="407155"/>
                    </a:lnTo>
                    <a:lnTo>
                      <a:pt x="339178" y="421317"/>
                    </a:lnTo>
                    <a:lnTo>
                      <a:pt x="276865" y="426981"/>
                    </a:lnTo>
                    <a:lnTo>
                      <a:pt x="214553" y="418484"/>
                    </a:lnTo>
                    <a:lnTo>
                      <a:pt x="354756" y="380247"/>
                    </a:lnTo>
                    <a:lnTo>
                      <a:pt x="398658" y="418484"/>
                    </a:lnTo>
                    <a:lnTo>
                      <a:pt x="353340" y="419901"/>
                    </a:lnTo>
                    <a:close/>
                    <a:moveTo>
                      <a:pt x="618168" y="476548"/>
                    </a:moveTo>
                    <a:lnTo>
                      <a:pt x="534612" y="407155"/>
                    </a:lnTo>
                    <a:lnTo>
                      <a:pt x="765451" y="388744"/>
                    </a:lnTo>
                    <a:lnTo>
                      <a:pt x="768284" y="394409"/>
                    </a:lnTo>
                    <a:lnTo>
                      <a:pt x="705971" y="490710"/>
                    </a:lnTo>
                    <a:lnTo>
                      <a:pt x="618168" y="476548"/>
                    </a:lnTo>
                    <a:close/>
                    <a:moveTo>
                      <a:pt x="531780" y="405739"/>
                    </a:moveTo>
                    <a:lnTo>
                      <a:pt x="528947" y="402906"/>
                    </a:lnTo>
                    <a:lnTo>
                      <a:pt x="545942" y="323599"/>
                    </a:lnTo>
                    <a:lnTo>
                      <a:pt x="584179" y="312270"/>
                    </a:lnTo>
                    <a:lnTo>
                      <a:pt x="579931" y="363253"/>
                    </a:lnTo>
                    <a:lnTo>
                      <a:pt x="625249" y="300941"/>
                    </a:lnTo>
                    <a:lnTo>
                      <a:pt x="691809" y="282530"/>
                    </a:lnTo>
                    <a:lnTo>
                      <a:pt x="762619" y="385912"/>
                    </a:lnTo>
                    <a:lnTo>
                      <a:pt x="531780" y="405739"/>
                    </a:lnTo>
                    <a:close/>
                    <a:moveTo>
                      <a:pt x="629497" y="299524"/>
                    </a:moveTo>
                    <a:lnTo>
                      <a:pt x="645075" y="278281"/>
                    </a:lnTo>
                    <a:lnTo>
                      <a:pt x="684728" y="269784"/>
                    </a:lnTo>
                    <a:lnTo>
                      <a:pt x="693226" y="282530"/>
                    </a:lnTo>
                    <a:lnTo>
                      <a:pt x="629497" y="299524"/>
                    </a:lnTo>
                    <a:close/>
                    <a:moveTo>
                      <a:pt x="588427" y="288194"/>
                    </a:moveTo>
                    <a:lnTo>
                      <a:pt x="554439" y="295275"/>
                    </a:lnTo>
                    <a:lnTo>
                      <a:pt x="571433" y="217385"/>
                    </a:lnTo>
                    <a:lnTo>
                      <a:pt x="595508" y="217385"/>
                    </a:lnTo>
                    <a:lnTo>
                      <a:pt x="588427" y="288194"/>
                    </a:lnTo>
                    <a:close/>
                    <a:moveTo>
                      <a:pt x="463803" y="203223"/>
                    </a:moveTo>
                    <a:lnTo>
                      <a:pt x="527531" y="172067"/>
                    </a:lnTo>
                    <a:lnTo>
                      <a:pt x="579931" y="169235"/>
                    </a:lnTo>
                    <a:lnTo>
                      <a:pt x="570017" y="214553"/>
                    </a:lnTo>
                    <a:lnTo>
                      <a:pt x="449641" y="217385"/>
                    </a:lnTo>
                    <a:lnTo>
                      <a:pt x="463803" y="203223"/>
                    </a:lnTo>
                    <a:close/>
                    <a:moveTo>
                      <a:pt x="568601" y="217385"/>
                    </a:moveTo>
                    <a:lnTo>
                      <a:pt x="551607" y="295275"/>
                    </a:lnTo>
                    <a:lnTo>
                      <a:pt x="319351" y="343426"/>
                    </a:lnTo>
                    <a:lnTo>
                      <a:pt x="446808" y="220218"/>
                    </a:lnTo>
                    <a:lnTo>
                      <a:pt x="568601" y="217385"/>
                    </a:lnTo>
                    <a:close/>
                    <a:moveTo>
                      <a:pt x="545942" y="323599"/>
                    </a:moveTo>
                    <a:lnTo>
                      <a:pt x="354756" y="375999"/>
                    </a:lnTo>
                    <a:lnTo>
                      <a:pt x="320768" y="346258"/>
                    </a:lnTo>
                    <a:lnTo>
                      <a:pt x="551607" y="298108"/>
                    </a:lnTo>
                    <a:lnTo>
                      <a:pt x="545942" y="323599"/>
                    </a:lnTo>
                    <a:close/>
                    <a:moveTo>
                      <a:pt x="174899" y="428398"/>
                    </a:moveTo>
                    <a:lnTo>
                      <a:pt x="208888" y="418484"/>
                    </a:lnTo>
                    <a:lnTo>
                      <a:pt x="266952" y="426981"/>
                    </a:lnTo>
                    <a:lnTo>
                      <a:pt x="183397" y="434062"/>
                    </a:lnTo>
                    <a:lnTo>
                      <a:pt x="174899" y="428398"/>
                    </a:lnTo>
                    <a:close/>
                    <a:moveTo>
                      <a:pt x="275449" y="428398"/>
                    </a:moveTo>
                    <a:lnTo>
                      <a:pt x="344842" y="438311"/>
                    </a:lnTo>
                    <a:lnTo>
                      <a:pt x="385912" y="531780"/>
                    </a:lnTo>
                    <a:lnTo>
                      <a:pt x="320768" y="533196"/>
                    </a:lnTo>
                    <a:lnTo>
                      <a:pt x="184813" y="436895"/>
                    </a:lnTo>
                    <a:lnTo>
                      <a:pt x="275449" y="428398"/>
                    </a:lnTo>
                    <a:close/>
                    <a:moveTo>
                      <a:pt x="370334" y="567184"/>
                    </a:moveTo>
                    <a:lnTo>
                      <a:pt x="388745" y="536028"/>
                    </a:lnTo>
                    <a:lnTo>
                      <a:pt x="418484" y="601173"/>
                    </a:lnTo>
                    <a:lnTo>
                      <a:pt x="370334" y="567184"/>
                    </a:lnTo>
                    <a:close/>
                    <a:moveTo>
                      <a:pt x="390161" y="534612"/>
                    </a:moveTo>
                    <a:lnTo>
                      <a:pt x="390161" y="534612"/>
                    </a:lnTo>
                    <a:lnTo>
                      <a:pt x="503456" y="533196"/>
                    </a:lnTo>
                    <a:lnTo>
                      <a:pt x="499207" y="599756"/>
                    </a:lnTo>
                    <a:lnTo>
                      <a:pt x="496375" y="599756"/>
                    </a:lnTo>
                    <a:lnTo>
                      <a:pt x="496375" y="599756"/>
                    </a:lnTo>
                    <a:lnTo>
                      <a:pt x="499207" y="602589"/>
                    </a:lnTo>
                    <a:lnTo>
                      <a:pt x="499207" y="604005"/>
                    </a:lnTo>
                    <a:lnTo>
                      <a:pt x="499207" y="604005"/>
                    </a:lnTo>
                    <a:lnTo>
                      <a:pt x="541693" y="690393"/>
                    </a:lnTo>
                    <a:lnTo>
                      <a:pt x="421317" y="605422"/>
                    </a:lnTo>
                    <a:lnTo>
                      <a:pt x="390161" y="534612"/>
                    </a:lnTo>
                    <a:close/>
                    <a:moveTo>
                      <a:pt x="502040" y="598341"/>
                    </a:moveTo>
                    <a:lnTo>
                      <a:pt x="506288" y="531780"/>
                    </a:lnTo>
                    <a:lnTo>
                      <a:pt x="680480" y="528947"/>
                    </a:lnTo>
                    <a:lnTo>
                      <a:pt x="681897" y="530363"/>
                    </a:lnTo>
                    <a:lnTo>
                      <a:pt x="630913" y="608254"/>
                    </a:lnTo>
                    <a:lnTo>
                      <a:pt x="502040" y="598341"/>
                    </a:lnTo>
                    <a:close/>
                    <a:moveTo>
                      <a:pt x="700307" y="528947"/>
                    </a:moveTo>
                    <a:lnTo>
                      <a:pt x="735712" y="528947"/>
                    </a:lnTo>
                    <a:lnTo>
                      <a:pt x="789527" y="565768"/>
                    </a:lnTo>
                    <a:lnTo>
                      <a:pt x="795192" y="620999"/>
                    </a:lnTo>
                    <a:lnTo>
                      <a:pt x="792359" y="620999"/>
                    </a:lnTo>
                    <a:lnTo>
                      <a:pt x="698890" y="544525"/>
                    </a:lnTo>
                    <a:lnTo>
                      <a:pt x="700307" y="528947"/>
                    </a:lnTo>
                    <a:close/>
                    <a:moveTo>
                      <a:pt x="737127" y="526115"/>
                    </a:moveTo>
                    <a:lnTo>
                      <a:pt x="701723" y="502039"/>
                    </a:lnTo>
                    <a:lnTo>
                      <a:pt x="708804" y="492126"/>
                    </a:lnTo>
                    <a:lnTo>
                      <a:pt x="782446" y="503456"/>
                    </a:lnTo>
                    <a:lnTo>
                      <a:pt x="785278" y="526115"/>
                    </a:lnTo>
                    <a:lnTo>
                      <a:pt x="737127" y="526115"/>
                    </a:lnTo>
                    <a:close/>
                    <a:moveTo>
                      <a:pt x="235796" y="625248"/>
                    </a:moveTo>
                    <a:lnTo>
                      <a:pt x="235796" y="625248"/>
                    </a:lnTo>
                    <a:lnTo>
                      <a:pt x="235796" y="625248"/>
                    </a:lnTo>
                    <a:lnTo>
                      <a:pt x="235796" y="625248"/>
                    </a:lnTo>
                    <a:close/>
                    <a:moveTo>
                      <a:pt x="235796" y="626664"/>
                    </a:moveTo>
                    <a:lnTo>
                      <a:pt x="244293" y="656404"/>
                    </a:lnTo>
                    <a:lnTo>
                      <a:pt x="221634" y="642242"/>
                    </a:lnTo>
                    <a:lnTo>
                      <a:pt x="231547" y="628080"/>
                    </a:lnTo>
                    <a:lnTo>
                      <a:pt x="235796" y="626664"/>
                    </a:lnTo>
                    <a:close/>
                    <a:moveTo>
                      <a:pt x="326432" y="639410"/>
                    </a:moveTo>
                    <a:lnTo>
                      <a:pt x="368918" y="570017"/>
                    </a:lnTo>
                    <a:lnTo>
                      <a:pt x="419901" y="605422"/>
                    </a:lnTo>
                    <a:lnTo>
                      <a:pt x="431230" y="630913"/>
                    </a:lnTo>
                    <a:lnTo>
                      <a:pt x="411403" y="717301"/>
                    </a:lnTo>
                    <a:lnTo>
                      <a:pt x="326432" y="639410"/>
                    </a:lnTo>
                    <a:close/>
                    <a:moveTo>
                      <a:pt x="502040" y="601173"/>
                    </a:moveTo>
                    <a:lnTo>
                      <a:pt x="629497" y="611086"/>
                    </a:lnTo>
                    <a:lnTo>
                      <a:pt x="592676" y="669150"/>
                    </a:lnTo>
                    <a:lnTo>
                      <a:pt x="578514" y="669150"/>
                    </a:lnTo>
                    <a:lnTo>
                      <a:pt x="502040" y="601173"/>
                    </a:lnTo>
                    <a:close/>
                    <a:moveTo>
                      <a:pt x="681897" y="528947"/>
                    </a:moveTo>
                    <a:lnTo>
                      <a:pt x="681897" y="528947"/>
                    </a:lnTo>
                    <a:lnTo>
                      <a:pt x="681897" y="528947"/>
                    </a:lnTo>
                    <a:lnTo>
                      <a:pt x="681897" y="528947"/>
                    </a:lnTo>
                    <a:close/>
                    <a:moveTo>
                      <a:pt x="829180" y="592676"/>
                    </a:moveTo>
                    <a:lnTo>
                      <a:pt x="829180" y="592676"/>
                    </a:lnTo>
                    <a:lnTo>
                      <a:pt x="861752" y="575682"/>
                    </a:lnTo>
                    <a:lnTo>
                      <a:pt x="875914" y="625248"/>
                    </a:lnTo>
                    <a:lnTo>
                      <a:pt x="798024" y="619584"/>
                    </a:lnTo>
                    <a:lnTo>
                      <a:pt x="792359" y="565768"/>
                    </a:lnTo>
                    <a:lnTo>
                      <a:pt x="829180" y="592676"/>
                    </a:lnTo>
                    <a:close/>
                    <a:moveTo>
                      <a:pt x="829180" y="591260"/>
                    </a:moveTo>
                    <a:lnTo>
                      <a:pt x="790943" y="565768"/>
                    </a:lnTo>
                    <a:lnTo>
                      <a:pt x="786694" y="528947"/>
                    </a:lnTo>
                    <a:lnTo>
                      <a:pt x="846174" y="527531"/>
                    </a:lnTo>
                    <a:lnTo>
                      <a:pt x="860336" y="574265"/>
                    </a:lnTo>
                    <a:lnTo>
                      <a:pt x="829180" y="591260"/>
                    </a:lnTo>
                    <a:close/>
                    <a:moveTo>
                      <a:pt x="686145" y="269784"/>
                    </a:moveTo>
                    <a:lnTo>
                      <a:pt x="890076" y="227298"/>
                    </a:lnTo>
                    <a:lnTo>
                      <a:pt x="694642" y="281114"/>
                    </a:lnTo>
                    <a:lnTo>
                      <a:pt x="686145" y="269784"/>
                    </a:lnTo>
                    <a:close/>
                    <a:moveTo>
                      <a:pt x="571433" y="215969"/>
                    </a:moveTo>
                    <a:lnTo>
                      <a:pt x="581346" y="170651"/>
                    </a:lnTo>
                    <a:lnTo>
                      <a:pt x="598341" y="169235"/>
                    </a:lnTo>
                    <a:lnTo>
                      <a:pt x="594092" y="215969"/>
                    </a:lnTo>
                    <a:lnTo>
                      <a:pt x="571433" y="215969"/>
                    </a:lnTo>
                    <a:close/>
                    <a:moveTo>
                      <a:pt x="232964" y="490710"/>
                    </a:moveTo>
                    <a:lnTo>
                      <a:pt x="234380" y="534612"/>
                    </a:lnTo>
                    <a:lnTo>
                      <a:pt x="213137" y="534612"/>
                    </a:lnTo>
                    <a:lnTo>
                      <a:pt x="232964" y="490710"/>
                    </a:lnTo>
                    <a:lnTo>
                      <a:pt x="232964" y="490710"/>
                    </a:lnTo>
                    <a:close/>
                    <a:moveTo>
                      <a:pt x="405739" y="751289"/>
                    </a:moveTo>
                    <a:lnTo>
                      <a:pt x="412820" y="721549"/>
                    </a:lnTo>
                    <a:lnTo>
                      <a:pt x="438311" y="745624"/>
                    </a:lnTo>
                    <a:lnTo>
                      <a:pt x="405739" y="751289"/>
                    </a:lnTo>
                    <a:close/>
                    <a:moveTo>
                      <a:pt x="789527" y="619584"/>
                    </a:moveTo>
                    <a:lnTo>
                      <a:pt x="694642" y="612503"/>
                    </a:lnTo>
                    <a:lnTo>
                      <a:pt x="698890" y="545941"/>
                    </a:lnTo>
                    <a:lnTo>
                      <a:pt x="789527" y="619584"/>
                    </a:lnTo>
                    <a:close/>
                    <a:moveTo>
                      <a:pt x="796608" y="622416"/>
                    </a:moveTo>
                    <a:lnTo>
                      <a:pt x="796608" y="622416"/>
                    </a:lnTo>
                    <a:lnTo>
                      <a:pt x="796608" y="622416"/>
                    </a:lnTo>
                    <a:lnTo>
                      <a:pt x="796608" y="622416"/>
                    </a:lnTo>
                    <a:close/>
                    <a:moveTo>
                      <a:pt x="901406" y="708803"/>
                    </a:moveTo>
                    <a:lnTo>
                      <a:pt x="878747" y="628080"/>
                    </a:lnTo>
                    <a:lnTo>
                      <a:pt x="963718" y="633745"/>
                    </a:lnTo>
                    <a:lnTo>
                      <a:pt x="963718" y="633745"/>
                    </a:lnTo>
                    <a:lnTo>
                      <a:pt x="963718" y="632329"/>
                    </a:lnTo>
                    <a:lnTo>
                      <a:pt x="963718" y="635161"/>
                    </a:lnTo>
                    <a:lnTo>
                      <a:pt x="963718" y="635161"/>
                    </a:lnTo>
                    <a:lnTo>
                      <a:pt x="1013285" y="800856"/>
                    </a:lnTo>
                    <a:lnTo>
                      <a:pt x="901406" y="708803"/>
                    </a:lnTo>
                    <a:close/>
                    <a:moveTo>
                      <a:pt x="1016117" y="803688"/>
                    </a:moveTo>
                    <a:lnTo>
                      <a:pt x="965135" y="635161"/>
                    </a:lnTo>
                    <a:lnTo>
                      <a:pt x="966551" y="629497"/>
                    </a:lnTo>
                    <a:lnTo>
                      <a:pt x="1035944" y="540277"/>
                    </a:lnTo>
                    <a:lnTo>
                      <a:pt x="1108170" y="550190"/>
                    </a:lnTo>
                    <a:lnTo>
                      <a:pt x="1075598" y="853255"/>
                    </a:lnTo>
                    <a:lnTo>
                      <a:pt x="1016117" y="803688"/>
                    </a:lnTo>
                    <a:close/>
                    <a:moveTo>
                      <a:pt x="1035944" y="537444"/>
                    </a:moveTo>
                    <a:lnTo>
                      <a:pt x="1027447" y="536028"/>
                    </a:lnTo>
                    <a:lnTo>
                      <a:pt x="1041609" y="530363"/>
                    </a:lnTo>
                    <a:lnTo>
                      <a:pt x="1035944" y="537444"/>
                    </a:lnTo>
                    <a:close/>
                    <a:moveTo>
                      <a:pt x="1034528" y="540277"/>
                    </a:moveTo>
                    <a:lnTo>
                      <a:pt x="969383" y="625248"/>
                    </a:lnTo>
                    <a:lnTo>
                      <a:pt x="987794" y="555855"/>
                    </a:lnTo>
                    <a:lnTo>
                      <a:pt x="1024614" y="538860"/>
                    </a:lnTo>
                    <a:lnTo>
                      <a:pt x="1034528" y="540277"/>
                    </a:lnTo>
                    <a:close/>
                    <a:moveTo>
                      <a:pt x="875914" y="628080"/>
                    </a:moveTo>
                    <a:lnTo>
                      <a:pt x="898574" y="707387"/>
                    </a:lnTo>
                    <a:lnTo>
                      <a:pt x="798024" y="625248"/>
                    </a:lnTo>
                    <a:lnTo>
                      <a:pt x="798024" y="622416"/>
                    </a:lnTo>
                    <a:lnTo>
                      <a:pt x="875914" y="628080"/>
                    </a:lnTo>
                    <a:close/>
                    <a:moveTo>
                      <a:pt x="1014701" y="805104"/>
                    </a:moveTo>
                    <a:lnTo>
                      <a:pt x="1016117" y="807937"/>
                    </a:lnTo>
                    <a:lnTo>
                      <a:pt x="949556" y="878746"/>
                    </a:lnTo>
                    <a:lnTo>
                      <a:pt x="902822" y="713052"/>
                    </a:lnTo>
                    <a:lnTo>
                      <a:pt x="1014701" y="805104"/>
                    </a:lnTo>
                    <a:close/>
                    <a:moveTo>
                      <a:pt x="684728" y="268368"/>
                    </a:moveTo>
                    <a:lnTo>
                      <a:pt x="667735" y="244293"/>
                    </a:lnTo>
                    <a:lnTo>
                      <a:pt x="667735" y="244293"/>
                    </a:lnTo>
                    <a:lnTo>
                      <a:pt x="643659" y="276865"/>
                    </a:lnTo>
                    <a:lnTo>
                      <a:pt x="591260" y="288194"/>
                    </a:lnTo>
                    <a:lnTo>
                      <a:pt x="596925" y="217385"/>
                    </a:lnTo>
                    <a:lnTo>
                      <a:pt x="952389" y="210304"/>
                    </a:lnTo>
                    <a:lnTo>
                      <a:pt x="919817" y="218801"/>
                    </a:lnTo>
                    <a:lnTo>
                      <a:pt x="684728" y="268368"/>
                    </a:lnTo>
                    <a:close/>
                    <a:moveTo>
                      <a:pt x="140911" y="407155"/>
                    </a:moveTo>
                    <a:lnTo>
                      <a:pt x="140911" y="407155"/>
                    </a:lnTo>
                    <a:lnTo>
                      <a:pt x="140911" y="407155"/>
                    </a:lnTo>
                    <a:lnTo>
                      <a:pt x="140911" y="407155"/>
                    </a:lnTo>
                    <a:close/>
                    <a:moveTo>
                      <a:pt x="234380" y="536028"/>
                    </a:moveTo>
                    <a:lnTo>
                      <a:pt x="235796" y="620999"/>
                    </a:lnTo>
                    <a:lnTo>
                      <a:pt x="235796" y="620999"/>
                    </a:lnTo>
                    <a:lnTo>
                      <a:pt x="231547" y="626664"/>
                    </a:lnTo>
                    <a:lnTo>
                      <a:pt x="211721" y="636578"/>
                    </a:lnTo>
                    <a:lnTo>
                      <a:pt x="179149" y="616751"/>
                    </a:lnTo>
                    <a:lnTo>
                      <a:pt x="213137" y="536028"/>
                    </a:lnTo>
                    <a:lnTo>
                      <a:pt x="234380" y="536028"/>
                    </a:lnTo>
                    <a:close/>
                    <a:moveTo>
                      <a:pt x="591260" y="670566"/>
                    </a:moveTo>
                    <a:lnTo>
                      <a:pt x="587012" y="677647"/>
                    </a:lnTo>
                    <a:lnTo>
                      <a:pt x="579931" y="671982"/>
                    </a:lnTo>
                    <a:lnTo>
                      <a:pt x="591260" y="670566"/>
                    </a:lnTo>
                    <a:close/>
                    <a:moveTo>
                      <a:pt x="1109586" y="548774"/>
                    </a:moveTo>
                    <a:lnTo>
                      <a:pt x="1038776" y="538860"/>
                    </a:lnTo>
                    <a:lnTo>
                      <a:pt x="1045857" y="528947"/>
                    </a:lnTo>
                    <a:lnTo>
                      <a:pt x="1050106" y="527531"/>
                    </a:lnTo>
                    <a:lnTo>
                      <a:pt x="1109586" y="547358"/>
                    </a:lnTo>
                    <a:lnTo>
                      <a:pt x="1109586" y="548774"/>
                    </a:lnTo>
                    <a:close/>
                    <a:moveTo>
                      <a:pt x="984961" y="553022"/>
                    </a:moveTo>
                    <a:lnTo>
                      <a:pt x="984961" y="553022"/>
                    </a:lnTo>
                    <a:lnTo>
                      <a:pt x="965135" y="628080"/>
                    </a:lnTo>
                    <a:lnTo>
                      <a:pt x="962302" y="632329"/>
                    </a:lnTo>
                    <a:lnTo>
                      <a:pt x="877331" y="626664"/>
                    </a:lnTo>
                    <a:lnTo>
                      <a:pt x="863169" y="575682"/>
                    </a:lnTo>
                    <a:lnTo>
                      <a:pt x="955221" y="528947"/>
                    </a:lnTo>
                    <a:lnTo>
                      <a:pt x="1020366" y="538860"/>
                    </a:lnTo>
                    <a:lnTo>
                      <a:pt x="984961" y="553022"/>
                    </a:lnTo>
                    <a:close/>
                    <a:moveTo>
                      <a:pt x="786694" y="526115"/>
                    </a:moveTo>
                    <a:lnTo>
                      <a:pt x="783862" y="503456"/>
                    </a:lnTo>
                    <a:lnTo>
                      <a:pt x="841926" y="511953"/>
                    </a:lnTo>
                    <a:lnTo>
                      <a:pt x="846174" y="524699"/>
                    </a:lnTo>
                    <a:lnTo>
                      <a:pt x="786694" y="526115"/>
                    </a:lnTo>
                    <a:close/>
                    <a:moveTo>
                      <a:pt x="599757" y="166402"/>
                    </a:moveTo>
                    <a:lnTo>
                      <a:pt x="582763" y="167818"/>
                    </a:lnTo>
                    <a:lnTo>
                      <a:pt x="585595" y="152241"/>
                    </a:lnTo>
                    <a:lnTo>
                      <a:pt x="599757" y="155073"/>
                    </a:lnTo>
                    <a:lnTo>
                      <a:pt x="599757" y="166402"/>
                    </a:lnTo>
                    <a:close/>
                    <a:moveTo>
                      <a:pt x="315103" y="344842"/>
                    </a:moveTo>
                    <a:lnTo>
                      <a:pt x="313687" y="346258"/>
                    </a:lnTo>
                    <a:lnTo>
                      <a:pt x="313687" y="346258"/>
                    </a:lnTo>
                    <a:lnTo>
                      <a:pt x="317935" y="344842"/>
                    </a:lnTo>
                    <a:lnTo>
                      <a:pt x="351923" y="374582"/>
                    </a:lnTo>
                    <a:lnTo>
                      <a:pt x="208888" y="414236"/>
                    </a:lnTo>
                    <a:lnTo>
                      <a:pt x="153656" y="405739"/>
                    </a:lnTo>
                    <a:lnTo>
                      <a:pt x="159322" y="392993"/>
                    </a:lnTo>
                    <a:lnTo>
                      <a:pt x="142327" y="401490"/>
                    </a:lnTo>
                    <a:lnTo>
                      <a:pt x="97009" y="368918"/>
                    </a:lnTo>
                    <a:lnTo>
                      <a:pt x="101258" y="367501"/>
                    </a:lnTo>
                    <a:lnTo>
                      <a:pt x="315103" y="344842"/>
                    </a:lnTo>
                    <a:lnTo>
                      <a:pt x="315103" y="344842"/>
                    </a:lnTo>
                    <a:close/>
                    <a:moveTo>
                      <a:pt x="172068" y="428398"/>
                    </a:moveTo>
                    <a:lnTo>
                      <a:pt x="179149" y="434062"/>
                    </a:lnTo>
                    <a:lnTo>
                      <a:pt x="140911" y="436895"/>
                    </a:lnTo>
                    <a:lnTo>
                      <a:pt x="172068" y="428398"/>
                    </a:lnTo>
                    <a:close/>
                    <a:moveTo>
                      <a:pt x="94177" y="536028"/>
                    </a:moveTo>
                    <a:lnTo>
                      <a:pt x="98425" y="527531"/>
                    </a:lnTo>
                    <a:lnTo>
                      <a:pt x="223050" y="493542"/>
                    </a:lnTo>
                    <a:lnTo>
                      <a:pt x="170651" y="534612"/>
                    </a:lnTo>
                    <a:lnTo>
                      <a:pt x="94177" y="536028"/>
                    </a:lnTo>
                    <a:close/>
                    <a:moveTo>
                      <a:pt x="218802" y="643658"/>
                    </a:moveTo>
                    <a:lnTo>
                      <a:pt x="105506" y="798023"/>
                    </a:lnTo>
                    <a:lnTo>
                      <a:pt x="104090" y="792359"/>
                    </a:lnTo>
                    <a:lnTo>
                      <a:pt x="159322" y="662069"/>
                    </a:lnTo>
                    <a:lnTo>
                      <a:pt x="210304" y="637994"/>
                    </a:lnTo>
                    <a:lnTo>
                      <a:pt x="218802" y="643658"/>
                    </a:lnTo>
                    <a:close/>
                    <a:moveTo>
                      <a:pt x="402907" y="754122"/>
                    </a:moveTo>
                    <a:lnTo>
                      <a:pt x="402907" y="754122"/>
                    </a:lnTo>
                    <a:lnTo>
                      <a:pt x="402907" y="754122"/>
                    </a:lnTo>
                    <a:lnTo>
                      <a:pt x="402907" y="754122"/>
                    </a:lnTo>
                    <a:lnTo>
                      <a:pt x="357588" y="788110"/>
                    </a:lnTo>
                    <a:lnTo>
                      <a:pt x="279698" y="765451"/>
                    </a:lnTo>
                    <a:lnTo>
                      <a:pt x="248541" y="660653"/>
                    </a:lnTo>
                    <a:lnTo>
                      <a:pt x="402907" y="754122"/>
                    </a:lnTo>
                    <a:close/>
                    <a:moveTo>
                      <a:pt x="547358" y="694641"/>
                    </a:moveTo>
                    <a:lnTo>
                      <a:pt x="560104" y="703139"/>
                    </a:lnTo>
                    <a:lnTo>
                      <a:pt x="560104" y="718717"/>
                    </a:lnTo>
                    <a:lnTo>
                      <a:pt x="560104" y="718717"/>
                    </a:lnTo>
                    <a:lnTo>
                      <a:pt x="547358" y="694641"/>
                    </a:lnTo>
                    <a:close/>
                    <a:moveTo>
                      <a:pt x="632330" y="611086"/>
                    </a:moveTo>
                    <a:lnTo>
                      <a:pt x="693226" y="615335"/>
                    </a:lnTo>
                    <a:lnTo>
                      <a:pt x="690393" y="664901"/>
                    </a:lnTo>
                    <a:lnTo>
                      <a:pt x="595508" y="667734"/>
                    </a:lnTo>
                    <a:lnTo>
                      <a:pt x="632330" y="611086"/>
                    </a:lnTo>
                    <a:close/>
                    <a:moveTo>
                      <a:pt x="1111002" y="548774"/>
                    </a:moveTo>
                    <a:lnTo>
                      <a:pt x="1111002" y="545941"/>
                    </a:lnTo>
                    <a:lnTo>
                      <a:pt x="1123748" y="550190"/>
                    </a:lnTo>
                    <a:lnTo>
                      <a:pt x="1111002" y="548774"/>
                    </a:lnTo>
                    <a:close/>
                    <a:moveTo>
                      <a:pt x="1050106" y="524699"/>
                    </a:moveTo>
                    <a:lnTo>
                      <a:pt x="1050106" y="524699"/>
                    </a:lnTo>
                    <a:lnTo>
                      <a:pt x="1048690" y="526115"/>
                    </a:lnTo>
                    <a:lnTo>
                      <a:pt x="1051522" y="523282"/>
                    </a:lnTo>
                    <a:lnTo>
                      <a:pt x="1051522" y="523282"/>
                    </a:lnTo>
                    <a:lnTo>
                      <a:pt x="965135" y="524699"/>
                    </a:lnTo>
                    <a:lnTo>
                      <a:pt x="1120916" y="443975"/>
                    </a:lnTo>
                    <a:lnTo>
                      <a:pt x="1109586" y="545941"/>
                    </a:lnTo>
                    <a:lnTo>
                      <a:pt x="1050106" y="524699"/>
                    </a:lnTo>
                    <a:close/>
                    <a:moveTo>
                      <a:pt x="1044441" y="527531"/>
                    </a:moveTo>
                    <a:lnTo>
                      <a:pt x="1024614" y="536028"/>
                    </a:lnTo>
                    <a:lnTo>
                      <a:pt x="958054" y="526115"/>
                    </a:lnTo>
                    <a:lnTo>
                      <a:pt x="959470" y="524699"/>
                    </a:lnTo>
                    <a:lnTo>
                      <a:pt x="1045857" y="523282"/>
                    </a:lnTo>
                    <a:lnTo>
                      <a:pt x="1044441" y="527531"/>
                    </a:lnTo>
                    <a:close/>
                    <a:moveTo>
                      <a:pt x="863169" y="572849"/>
                    </a:moveTo>
                    <a:lnTo>
                      <a:pt x="850423" y="526115"/>
                    </a:lnTo>
                    <a:lnTo>
                      <a:pt x="939643" y="524699"/>
                    </a:lnTo>
                    <a:lnTo>
                      <a:pt x="952389" y="526115"/>
                    </a:lnTo>
                    <a:lnTo>
                      <a:pt x="863169" y="572849"/>
                    </a:lnTo>
                    <a:close/>
                    <a:moveTo>
                      <a:pt x="849007" y="524699"/>
                    </a:moveTo>
                    <a:lnTo>
                      <a:pt x="844759" y="511953"/>
                    </a:lnTo>
                    <a:lnTo>
                      <a:pt x="925481" y="523282"/>
                    </a:lnTo>
                    <a:lnTo>
                      <a:pt x="849007" y="524699"/>
                    </a:lnTo>
                    <a:close/>
                    <a:moveTo>
                      <a:pt x="958054" y="370334"/>
                    </a:moveTo>
                    <a:lnTo>
                      <a:pt x="958054" y="370334"/>
                    </a:lnTo>
                    <a:lnTo>
                      <a:pt x="857504" y="269784"/>
                    </a:lnTo>
                    <a:lnTo>
                      <a:pt x="778197" y="385912"/>
                    </a:lnTo>
                    <a:lnTo>
                      <a:pt x="766868" y="387328"/>
                    </a:lnTo>
                    <a:lnTo>
                      <a:pt x="694642" y="283946"/>
                    </a:lnTo>
                    <a:lnTo>
                      <a:pt x="919817" y="221634"/>
                    </a:lnTo>
                    <a:lnTo>
                      <a:pt x="960886" y="213137"/>
                    </a:lnTo>
                    <a:lnTo>
                      <a:pt x="1081262" y="361837"/>
                    </a:lnTo>
                    <a:lnTo>
                      <a:pt x="955221" y="371750"/>
                    </a:lnTo>
                    <a:lnTo>
                      <a:pt x="958054" y="370334"/>
                    </a:lnTo>
                    <a:close/>
                    <a:moveTo>
                      <a:pt x="596925" y="214553"/>
                    </a:moveTo>
                    <a:lnTo>
                      <a:pt x="601173" y="167818"/>
                    </a:lnTo>
                    <a:lnTo>
                      <a:pt x="664902" y="163570"/>
                    </a:lnTo>
                    <a:lnTo>
                      <a:pt x="946724" y="207472"/>
                    </a:lnTo>
                    <a:lnTo>
                      <a:pt x="596925" y="214553"/>
                    </a:lnTo>
                    <a:close/>
                    <a:moveTo>
                      <a:pt x="517618" y="139494"/>
                    </a:moveTo>
                    <a:lnTo>
                      <a:pt x="608254" y="44610"/>
                    </a:lnTo>
                    <a:lnTo>
                      <a:pt x="584179" y="149408"/>
                    </a:lnTo>
                    <a:lnTo>
                      <a:pt x="517618" y="139494"/>
                    </a:lnTo>
                    <a:close/>
                    <a:moveTo>
                      <a:pt x="460970" y="196142"/>
                    </a:moveTo>
                    <a:lnTo>
                      <a:pt x="407155" y="125333"/>
                    </a:lnTo>
                    <a:lnTo>
                      <a:pt x="513369" y="142327"/>
                    </a:lnTo>
                    <a:lnTo>
                      <a:pt x="460970" y="196142"/>
                    </a:lnTo>
                    <a:close/>
                    <a:moveTo>
                      <a:pt x="401490" y="123917"/>
                    </a:moveTo>
                    <a:lnTo>
                      <a:pt x="402907" y="122500"/>
                    </a:lnTo>
                    <a:lnTo>
                      <a:pt x="402907" y="122500"/>
                    </a:lnTo>
                    <a:lnTo>
                      <a:pt x="401490" y="123917"/>
                    </a:lnTo>
                    <a:close/>
                    <a:moveTo>
                      <a:pt x="320768" y="223050"/>
                    </a:moveTo>
                    <a:lnTo>
                      <a:pt x="320768" y="223050"/>
                    </a:lnTo>
                    <a:lnTo>
                      <a:pt x="443976" y="221634"/>
                    </a:lnTo>
                    <a:lnTo>
                      <a:pt x="316518" y="344842"/>
                    </a:lnTo>
                    <a:lnTo>
                      <a:pt x="315103" y="343426"/>
                    </a:lnTo>
                    <a:lnTo>
                      <a:pt x="315103" y="343426"/>
                    </a:lnTo>
                    <a:lnTo>
                      <a:pt x="105506" y="368918"/>
                    </a:lnTo>
                    <a:lnTo>
                      <a:pt x="238628" y="299524"/>
                    </a:lnTo>
                    <a:lnTo>
                      <a:pt x="238628" y="299524"/>
                    </a:lnTo>
                    <a:lnTo>
                      <a:pt x="289611" y="204639"/>
                    </a:lnTo>
                    <a:lnTo>
                      <a:pt x="391577" y="135246"/>
                    </a:lnTo>
                    <a:lnTo>
                      <a:pt x="320768" y="223050"/>
                    </a:lnTo>
                    <a:close/>
                    <a:moveTo>
                      <a:pt x="139495" y="405739"/>
                    </a:moveTo>
                    <a:lnTo>
                      <a:pt x="139495" y="405739"/>
                    </a:lnTo>
                    <a:lnTo>
                      <a:pt x="48859" y="392993"/>
                    </a:lnTo>
                    <a:lnTo>
                      <a:pt x="92760" y="373166"/>
                    </a:lnTo>
                    <a:lnTo>
                      <a:pt x="92760" y="373166"/>
                    </a:lnTo>
                    <a:lnTo>
                      <a:pt x="139495" y="405739"/>
                    </a:lnTo>
                    <a:close/>
                    <a:moveTo>
                      <a:pt x="135246" y="408571"/>
                    </a:moveTo>
                    <a:lnTo>
                      <a:pt x="74350" y="439727"/>
                    </a:lnTo>
                    <a:lnTo>
                      <a:pt x="43194" y="395825"/>
                    </a:lnTo>
                    <a:lnTo>
                      <a:pt x="46026" y="394409"/>
                    </a:lnTo>
                    <a:lnTo>
                      <a:pt x="135246" y="408571"/>
                    </a:lnTo>
                    <a:close/>
                    <a:moveTo>
                      <a:pt x="75766" y="445392"/>
                    </a:moveTo>
                    <a:lnTo>
                      <a:pt x="75766" y="445392"/>
                    </a:lnTo>
                    <a:lnTo>
                      <a:pt x="119668" y="442560"/>
                    </a:lnTo>
                    <a:lnTo>
                      <a:pt x="24783" y="468051"/>
                    </a:lnTo>
                    <a:lnTo>
                      <a:pt x="74350" y="442560"/>
                    </a:lnTo>
                    <a:lnTo>
                      <a:pt x="75766" y="445392"/>
                    </a:lnTo>
                    <a:close/>
                    <a:moveTo>
                      <a:pt x="181980" y="436895"/>
                    </a:moveTo>
                    <a:lnTo>
                      <a:pt x="317935" y="533196"/>
                    </a:lnTo>
                    <a:lnTo>
                      <a:pt x="235796" y="534612"/>
                    </a:lnTo>
                    <a:lnTo>
                      <a:pt x="234380" y="489294"/>
                    </a:lnTo>
                    <a:lnTo>
                      <a:pt x="234380" y="489294"/>
                    </a:lnTo>
                    <a:lnTo>
                      <a:pt x="231547" y="489294"/>
                    </a:lnTo>
                    <a:lnTo>
                      <a:pt x="232964" y="485045"/>
                    </a:lnTo>
                    <a:lnTo>
                      <a:pt x="232964" y="483629"/>
                    </a:lnTo>
                    <a:lnTo>
                      <a:pt x="224466" y="490710"/>
                    </a:lnTo>
                    <a:lnTo>
                      <a:pt x="97009" y="526115"/>
                    </a:lnTo>
                    <a:lnTo>
                      <a:pt x="136663" y="441143"/>
                    </a:lnTo>
                    <a:lnTo>
                      <a:pt x="181980" y="436895"/>
                    </a:lnTo>
                    <a:close/>
                    <a:moveTo>
                      <a:pt x="208888" y="636578"/>
                    </a:moveTo>
                    <a:lnTo>
                      <a:pt x="160737" y="659237"/>
                    </a:lnTo>
                    <a:lnTo>
                      <a:pt x="177732" y="618167"/>
                    </a:lnTo>
                    <a:lnTo>
                      <a:pt x="208888" y="636578"/>
                    </a:lnTo>
                    <a:close/>
                    <a:moveTo>
                      <a:pt x="102674" y="788110"/>
                    </a:moveTo>
                    <a:lnTo>
                      <a:pt x="77183" y="698890"/>
                    </a:lnTo>
                    <a:lnTo>
                      <a:pt x="156489" y="662069"/>
                    </a:lnTo>
                    <a:lnTo>
                      <a:pt x="102674" y="788110"/>
                    </a:lnTo>
                    <a:close/>
                    <a:moveTo>
                      <a:pt x="104090" y="799439"/>
                    </a:moveTo>
                    <a:lnTo>
                      <a:pt x="95593" y="812185"/>
                    </a:lnTo>
                    <a:lnTo>
                      <a:pt x="102674" y="795191"/>
                    </a:lnTo>
                    <a:lnTo>
                      <a:pt x="104090" y="799439"/>
                    </a:lnTo>
                    <a:close/>
                    <a:moveTo>
                      <a:pt x="357588" y="790942"/>
                    </a:moveTo>
                    <a:lnTo>
                      <a:pt x="357588" y="790942"/>
                    </a:lnTo>
                    <a:lnTo>
                      <a:pt x="405739" y="756954"/>
                    </a:lnTo>
                    <a:lnTo>
                      <a:pt x="405739" y="756954"/>
                    </a:lnTo>
                    <a:lnTo>
                      <a:pt x="405739" y="754122"/>
                    </a:lnTo>
                    <a:lnTo>
                      <a:pt x="441144" y="747041"/>
                    </a:lnTo>
                    <a:lnTo>
                      <a:pt x="469468" y="772532"/>
                    </a:lnTo>
                    <a:lnTo>
                      <a:pt x="303773" y="844758"/>
                    </a:lnTo>
                    <a:lnTo>
                      <a:pt x="281114" y="769699"/>
                    </a:lnTo>
                    <a:lnTo>
                      <a:pt x="357588" y="790942"/>
                    </a:lnTo>
                    <a:close/>
                    <a:moveTo>
                      <a:pt x="434063" y="630913"/>
                    </a:moveTo>
                    <a:lnTo>
                      <a:pt x="434063" y="630913"/>
                    </a:lnTo>
                    <a:lnTo>
                      <a:pt x="424150" y="608254"/>
                    </a:lnTo>
                    <a:lnTo>
                      <a:pt x="544526" y="693225"/>
                    </a:lnTo>
                    <a:lnTo>
                      <a:pt x="558688" y="721549"/>
                    </a:lnTo>
                    <a:lnTo>
                      <a:pt x="442560" y="744208"/>
                    </a:lnTo>
                    <a:lnTo>
                      <a:pt x="414236" y="718717"/>
                    </a:lnTo>
                    <a:lnTo>
                      <a:pt x="434063" y="630913"/>
                    </a:lnTo>
                    <a:close/>
                    <a:moveTo>
                      <a:pt x="561520" y="704555"/>
                    </a:moveTo>
                    <a:lnTo>
                      <a:pt x="565769" y="707387"/>
                    </a:lnTo>
                    <a:lnTo>
                      <a:pt x="561520" y="714468"/>
                    </a:lnTo>
                    <a:lnTo>
                      <a:pt x="561520" y="704555"/>
                    </a:lnTo>
                    <a:close/>
                    <a:moveTo>
                      <a:pt x="561520" y="670566"/>
                    </a:moveTo>
                    <a:lnTo>
                      <a:pt x="577098" y="670566"/>
                    </a:lnTo>
                    <a:lnTo>
                      <a:pt x="585595" y="677647"/>
                    </a:lnTo>
                    <a:lnTo>
                      <a:pt x="567185" y="705971"/>
                    </a:lnTo>
                    <a:lnTo>
                      <a:pt x="561520" y="701722"/>
                    </a:lnTo>
                    <a:lnTo>
                      <a:pt x="561520" y="670566"/>
                    </a:lnTo>
                    <a:close/>
                    <a:moveTo>
                      <a:pt x="588427" y="677647"/>
                    </a:moveTo>
                    <a:lnTo>
                      <a:pt x="594092" y="669150"/>
                    </a:lnTo>
                    <a:lnTo>
                      <a:pt x="690393" y="666318"/>
                    </a:lnTo>
                    <a:lnTo>
                      <a:pt x="683312" y="762618"/>
                    </a:lnTo>
                    <a:lnTo>
                      <a:pt x="588427" y="677647"/>
                    </a:lnTo>
                    <a:close/>
                    <a:moveTo>
                      <a:pt x="694642" y="615335"/>
                    </a:moveTo>
                    <a:lnTo>
                      <a:pt x="792359" y="622416"/>
                    </a:lnTo>
                    <a:lnTo>
                      <a:pt x="796608" y="626664"/>
                    </a:lnTo>
                    <a:lnTo>
                      <a:pt x="800856" y="662069"/>
                    </a:lnTo>
                    <a:lnTo>
                      <a:pt x="691809" y="666318"/>
                    </a:lnTo>
                    <a:lnTo>
                      <a:pt x="694642" y="615335"/>
                    </a:lnTo>
                    <a:close/>
                    <a:moveTo>
                      <a:pt x="832012" y="662069"/>
                    </a:moveTo>
                    <a:lnTo>
                      <a:pt x="904238" y="761203"/>
                    </a:lnTo>
                    <a:lnTo>
                      <a:pt x="833428" y="875914"/>
                    </a:lnTo>
                    <a:lnTo>
                      <a:pt x="827764" y="874498"/>
                    </a:lnTo>
                    <a:lnTo>
                      <a:pt x="803689" y="663485"/>
                    </a:lnTo>
                    <a:lnTo>
                      <a:pt x="832012" y="662069"/>
                    </a:lnTo>
                    <a:close/>
                    <a:moveTo>
                      <a:pt x="870250" y="887243"/>
                    </a:moveTo>
                    <a:lnTo>
                      <a:pt x="827764" y="890076"/>
                    </a:lnTo>
                    <a:lnTo>
                      <a:pt x="836261" y="877330"/>
                    </a:lnTo>
                    <a:lnTo>
                      <a:pt x="870250" y="887243"/>
                    </a:lnTo>
                    <a:close/>
                    <a:moveTo>
                      <a:pt x="948140" y="882995"/>
                    </a:moveTo>
                    <a:lnTo>
                      <a:pt x="948140" y="882995"/>
                    </a:lnTo>
                    <a:lnTo>
                      <a:pt x="948140" y="882995"/>
                    </a:lnTo>
                    <a:lnTo>
                      <a:pt x="956637" y="908486"/>
                    </a:lnTo>
                    <a:lnTo>
                      <a:pt x="881579" y="887243"/>
                    </a:lnTo>
                    <a:lnTo>
                      <a:pt x="948140" y="882995"/>
                    </a:lnTo>
                    <a:close/>
                    <a:moveTo>
                      <a:pt x="1122332" y="681896"/>
                    </a:moveTo>
                    <a:lnTo>
                      <a:pt x="1125164" y="684728"/>
                    </a:lnTo>
                    <a:lnTo>
                      <a:pt x="1123748" y="691809"/>
                    </a:lnTo>
                    <a:lnTo>
                      <a:pt x="1122332" y="681896"/>
                    </a:lnTo>
                    <a:close/>
                    <a:moveTo>
                      <a:pt x="1147823" y="558687"/>
                    </a:moveTo>
                    <a:lnTo>
                      <a:pt x="1147823" y="558687"/>
                    </a:lnTo>
                    <a:lnTo>
                      <a:pt x="1147823" y="558687"/>
                    </a:lnTo>
                    <a:lnTo>
                      <a:pt x="1190309" y="555855"/>
                    </a:lnTo>
                    <a:lnTo>
                      <a:pt x="1187476" y="747041"/>
                    </a:lnTo>
                    <a:lnTo>
                      <a:pt x="1126580" y="683312"/>
                    </a:lnTo>
                    <a:lnTo>
                      <a:pt x="1147823" y="558687"/>
                    </a:lnTo>
                    <a:close/>
                    <a:moveTo>
                      <a:pt x="112587" y="578514"/>
                    </a:moveTo>
                    <a:lnTo>
                      <a:pt x="51691" y="625248"/>
                    </a:lnTo>
                    <a:lnTo>
                      <a:pt x="81431" y="560103"/>
                    </a:lnTo>
                    <a:lnTo>
                      <a:pt x="112587" y="578514"/>
                    </a:lnTo>
                    <a:close/>
                    <a:moveTo>
                      <a:pt x="568601" y="707387"/>
                    </a:moveTo>
                    <a:lnTo>
                      <a:pt x="587012" y="679063"/>
                    </a:lnTo>
                    <a:lnTo>
                      <a:pt x="683312" y="764035"/>
                    </a:lnTo>
                    <a:lnTo>
                      <a:pt x="681897" y="786694"/>
                    </a:lnTo>
                    <a:lnTo>
                      <a:pt x="568601" y="707387"/>
                    </a:lnTo>
                    <a:close/>
                    <a:moveTo>
                      <a:pt x="950973" y="213137"/>
                    </a:moveTo>
                    <a:lnTo>
                      <a:pt x="960886" y="210304"/>
                    </a:lnTo>
                    <a:lnTo>
                      <a:pt x="962302" y="210304"/>
                    </a:lnTo>
                    <a:lnTo>
                      <a:pt x="950973" y="213137"/>
                    </a:lnTo>
                    <a:close/>
                    <a:moveTo>
                      <a:pt x="599757" y="152241"/>
                    </a:moveTo>
                    <a:lnTo>
                      <a:pt x="585595" y="149408"/>
                    </a:lnTo>
                    <a:lnTo>
                      <a:pt x="609670" y="43194"/>
                    </a:lnTo>
                    <a:lnTo>
                      <a:pt x="599757" y="152241"/>
                    </a:lnTo>
                    <a:close/>
                  </a:path>
                </a:pathLst>
              </a:custGeom>
              <a:grpFill/>
              <a:ln w="6350" cap="flat">
                <a:solidFill>
                  <a:schemeClr val="tx1">
                    <a:lumMod val="25000"/>
                    <a:lumOff val="75000"/>
                  </a:schemeClr>
                </a:solidFill>
                <a:prstDash val="solid"/>
                <a:miter/>
              </a:ln>
            </p:spPr>
            <p:txBody>
              <a:bodyPr rtlCol="0" anchor="ctr"/>
              <a:lstStyle/>
              <a:p>
                <a:pPr defTabSz="932384">
                  <a:defRPr/>
                </a:pPr>
                <a:endParaRPr lang="en-US" dirty="0">
                  <a:solidFill>
                    <a:srgbClr val="1A1A1A"/>
                  </a:solidFill>
                  <a:latin typeface="Segoe UI"/>
                </a:endParaRPr>
              </a:p>
            </p:txBody>
          </p:sp>
          <p:sp>
            <p:nvSpPr>
              <p:cNvPr id="953" name="Freeform: Shape 952">
                <a:extLst>
                  <a:ext uri="{FF2B5EF4-FFF2-40B4-BE49-F238E27FC236}">
                    <a16:creationId xmlns:a16="http://schemas.microsoft.com/office/drawing/2014/main" id="{0CB5FFD0-B61B-4790-99F1-42A15595475C}"/>
                  </a:ext>
                </a:extLst>
              </p:cNvPr>
              <p:cNvSpPr/>
              <p:nvPr/>
            </p:nvSpPr>
            <p:spPr>
              <a:xfrm>
                <a:off x="5476416" y="1812418"/>
                <a:ext cx="608962" cy="396533"/>
              </a:xfrm>
              <a:custGeom>
                <a:avLst/>
                <a:gdLst>
                  <a:gd name="connsiteX0" fmla="*/ 13454 w 608962"/>
                  <a:gd name="connsiteY0" fmla="*/ 340594 h 396533"/>
                  <a:gd name="connsiteX1" fmla="*/ 13454 w 608962"/>
                  <a:gd name="connsiteY1" fmla="*/ 340594 h 396533"/>
                  <a:gd name="connsiteX2" fmla="*/ 68685 w 608962"/>
                  <a:gd name="connsiteY2" fmla="*/ 340594 h 396533"/>
                  <a:gd name="connsiteX3" fmla="*/ 68685 w 608962"/>
                  <a:gd name="connsiteY3" fmla="*/ 340594 h 396533"/>
                  <a:gd name="connsiteX4" fmla="*/ 40362 w 608962"/>
                  <a:gd name="connsiteY4" fmla="*/ 296692 h 396533"/>
                  <a:gd name="connsiteX5" fmla="*/ 54523 w 608962"/>
                  <a:gd name="connsiteY5" fmla="*/ 271201 h 396533"/>
                  <a:gd name="connsiteX6" fmla="*/ 84264 w 608962"/>
                  <a:gd name="connsiteY6" fmla="*/ 282530 h 396533"/>
                  <a:gd name="connsiteX7" fmla="*/ 84264 w 608962"/>
                  <a:gd name="connsiteY7" fmla="*/ 282530 h 396533"/>
                  <a:gd name="connsiteX8" fmla="*/ 98425 w 608962"/>
                  <a:gd name="connsiteY8" fmla="*/ 198975 h 396533"/>
                  <a:gd name="connsiteX9" fmla="*/ 135246 w 608962"/>
                  <a:gd name="connsiteY9" fmla="*/ 194726 h 396533"/>
                  <a:gd name="connsiteX10" fmla="*/ 245709 w 608962"/>
                  <a:gd name="connsiteY10" fmla="*/ 187645 h 396533"/>
                  <a:gd name="connsiteX11" fmla="*/ 317935 w 608962"/>
                  <a:gd name="connsiteY11" fmla="*/ 312270 h 396533"/>
                  <a:gd name="connsiteX12" fmla="*/ 174900 w 608962"/>
                  <a:gd name="connsiteY12" fmla="*/ 313686 h 396533"/>
                  <a:gd name="connsiteX13" fmla="*/ 174900 w 608962"/>
                  <a:gd name="connsiteY13" fmla="*/ 313686 h 396533"/>
                  <a:gd name="connsiteX14" fmla="*/ 241460 w 608962"/>
                  <a:gd name="connsiteY14" fmla="*/ 388744 h 396533"/>
                  <a:gd name="connsiteX15" fmla="*/ 241460 w 608962"/>
                  <a:gd name="connsiteY15" fmla="*/ 388744 h 396533"/>
                  <a:gd name="connsiteX16" fmla="*/ 329265 w 608962"/>
                  <a:gd name="connsiteY16" fmla="*/ 322183 h 396533"/>
                  <a:gd name="connsiteX17" fmla="*/ 513369 w 608962"/>
                  <a:gd name="connsiteY17" fmla="*/ 298108 h 396533"/>
                  <a:gd name="connsiteX18" fmla="*/ 601173 w 608962"/>
                  <a:gd name="connsiteY18" fmla="*/ 241461 h 396533"/>
                  <a:gd name="connsiteX19" fmla="*/ 601173 w 608962"/>
                  <a:gd name="connsiteY19" fmla="*/ 241461 h 396533"/>
                  <a:gd name="connsiteX20" fmla="*/ 587012 w 608962"/>
                  <a:gd name="connsiteY20" fmla="*/ 106922 h 396533"/>
                  <a:gd name="connsiteX21" fmla="*/ 587012 w 608962"/>
                  <a:gd name="connsiteY21" fmla="*/ 106922 h 396533"/>
                  <a:gd name="connsiteX22" fmla="*/ 585595 w 608962"/>
                  <a:gd name="connsiteY22" fmla="*/ 106922 h 396533"/>
                  <a:gd name="connsiteX23" fmla="*/ 599757 w 608962"/>
                  <a:gd name="connsiteY23" fmla="*/ 240044 h 396533"/>
                  <a:gd name="connsiteX24" fmla="*/ 513369 w 608962"/>
                  <a:gd name="connsiteY24" fmla="*/ 295276 h 396533"/>
                  <a:gd name="connsiteX25" fmla="*/ 329265 w 608962"/>
                  <a:gd name="connsiteY25" fmla="*/ 319351 h 396533"/>
                  <a:gd name="connsiteX26" fmla="*/ 242877 w 608962"/>
                  <a:gd name="connsiteY26" fmla="*/ 385912 h 396533"/>
                  <a:gd name="connsiteX27" fmla="*/ 180564 w 608962"/>
                  <a:gd name="connsiteY27" fmla="*/ 316519 h 396533"/>
                  <a:gd name="connsiteX28" fmla="*/ 322184 w 608962"/>
                  <a:gd name="connsiteY28" fmla="*/ 315102 h 396533"/>
                  <a:gd name="connsiteX29" fmla="*/ 322184 w 608962"/>
                  <a:gd name="connsiteY29" fmla="*/ 315102 h 396533"/>
                  <a:gd name="connsiteX30" fmla="*/ 247126 w 608962"/>
                  <a:gd name="connsiteY30" fmla="*/ 186229 h 396533"/>
                  <a:gd name="connsiteX31" fmla="*/ 247126 w 608962"/>
                  <a:gd name="connsiteY31" fmla="*/ 186229 h 396533"/>
                  <a:gd name="connsiteX32" fmla="*/ 173483 w 608962"/>
                  <a:gd name="connsiteY32" fmla="*/ 190478 h 396533"/>
                  <a:gd name="connsiteX33" fmla="*/ 247126 w 608962"/>
                  <a:gd name="connsiteY33" fmla="*/ 181981 h 396533"/>
                  <a:gd name="connsiteX34" fmla="*/ 247126 w 608962"/>
                  <a:gd name="connsiteY34" fmla="*/ 181981 h 396533"/>
                  <a:gd name="connsiteX35" fmla="*/ 143743 w 608962"/>
                  <a:gd name="connsiteY35" fmla="*/ 97009 h 396533"/>
                  <a:gd name="connsiteX36" fmla="*/ 160738 w 608962"/>
                  <a:gd name="connsiteY36" fmla="*/ 54523 h 396533"/>
                  <a:gd name="connsiteX37" fmla="*/ 177732 w 608962"/>
                  <a:gd name="connsiteY37" fmla="*/ 13454 h 396533"/>
                  <a:gd name="connsiteX38" fmla="*/ 177732 w 608962"/>
                  <a:gd name="connsiteY38" fmla="*/ 12038 h 396533"/>
                  <a:gd name="connsiteX39" fmla="*/ 176316 w 608962"/>
                  <a:gd name="connsiteY39" fmla="*/ 10621 h 396533"/>
                  <a:gd name="connsiteX40" fmla="*/ 176316 w 608962"/>
                  <a:gd name="connsiteY40" fmla="*/ 12038 h 396533"/>
                  <a:gd name="connsiteX41" fmla="*/ 159322 w 608962"/>
                  <a:gd name="connsiteY41" fmla="*/ 53107 h 396533"/>
                  <a:gd name="connsiteX42" fmla="*/ 142327 w 608962"/>
                  <a:gd name="connsiteY42" fmla="*/ 95593 h 396533"/>
                  <a:gd name="connsiteX43" fmla="*/ 142327 w 608962"/>
                  <a:gd name="connsiteY43" fmla="*/ 97009 h 396533"/>
                  <a:gd name="connsiteX44" fmla="*/ 242877 w 608962"/>
                  <a:gd name="connsiteY44" fmla="*/ 179148 h 396533"/>
                  <a:gd name="connsiteX45" fmla="*/ 135246 w 608962"/>
                  <a:gd name="connsiteY45" fmla="*/ 191894 h 396533"/>
                  <a:gd name="connsiteX46" fmla="*/ 95593 w 608962"/>
                  <a:gd name="connsiteY46" fmla="*/ 194726 h 396533"/>
                  <a:gd name="connsiteX47" fmla="*/ 95593 w 608962"/>
                  <a:gd name="connsiteY47" fmla="*/ 194726 h 396533"/>
                  <a:gd name="connsiteX48" fmla="*/ 54523 w 608962"/>
                  <a:gd name="connsiteY48" fmla="*/ 268368 h 396533"/>
                  <a:gd name="connsiteX49" fmla="*/ 10621 w 608962"/>
                  <a:gd name="connsiteY49" fmla="*/ 252790 h 396533"/>
                  <a:gd name="connsiteX50" fmla="*/ 10621 w 608962"/>
                  <a:gd name="connsiteY50" fmla="*/ 252790 h 396533"/>
                  <a:gd name="connsiteX51" fmla="*/ 38945 w 608962"/>
                  <a:gd name="connsiteY51" fmla="*/ 298108 h 396533"/>
                  <a:gd name="connsiteX52" fmla="*/ 13454 w 608962"/>
                  <a:gd name="connsiteY52" fmla="*/ 340594 h 396533"/>
                  <a:gd name="connsiteX53" fmla="*/ 16286 w 608962"/>
                  <a:gd name="connsiteY53" fmla="*/ 339178 h 396533"/>
                  <a:gd name="connsiteX54" fmla="*/ 38945 w 608962"/>
                  <a:gd name="connsiteY54" fmla="*/ 298108 h 396533"/>
                  <a:gd name="connsiteX55" fmla="*/ 64437 w 608962"/>
                  <a:gd name="connsiteY55" fmla="*/ 337762 h 396533"/>
                  <a:gd name="connsiteX56" fmla="*/ 16286 w 608962"/>
                  <a:gd name="connsiteY56" fmla="*/ 339178 h 396533"/>
                  <a:gd name="connsiteX57" fmla="*/ 53107 w 608962"/>
                  <a:gd name="connsiteY57" fmla="*/ 269784 h 396533"/>
                  <a:gd name="connsiteX58" fmla="*/ 38945 w 608962"/>
                  <a:gd name="connsiteY58" fmla="*/ 293860 h 396533"/>
                  <a:gd name="connsiteX59" fmla="*/ 14870 w 608962"/>
                  <a:gd name="connsiteY59" fmla="*/ 255622 h 396533"/>
                  <a:gd name="connsiteX60" fmla="*/ 53107 w 608962"/>
                  <a:gd name="connsiteY60" fmla="*/ 269784 h 396533"/>
                  <a:gd name="connsiteX61" fmla="*/ 55940 w 608962"/>
                  <a:gd name="connsiteY61" fmla="*/ 268368 h 396533"/>
                  <a:gd name="connsiteX62" fmla="*/ 95593 w 608962"/>
                  <a:gd name="connsiteY62" fmla="*/ 196142 h 396533"/>
                  <a:gd name="connsiteX63" fmla="*/ 97009 w 608962"/>
                  <a:gd name="connsiteY63" fmla="*/ 196142 h 396533"/>
                  <a:gd name="connsiteX64" fmla="*/ 97009 w 608962"/>
                  <a:gd name="connsiteY64" fmla="*/ 196142 h 396533"/>
                  <a:gd name="connsiteX65" fmla="*/ 82847 w 608962"/>
                  <a:gd name="connsiteY65" fmla="*/ 278282 h 396533"/>
                  <a:gd name="connsiteX66" fmla="*/ 55940 w 608962"/>
                  <a:gd name="connsiteY66" fmla="*/ 268368 h 39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08962" h="396533">
                    <a:moveTo>
                      <a:pt x="13454" y="340594"/>
                    </a:moveTo>
                    <a:lnTo>
                      <a:pt x="13454" y="340594"/>
                    </a:lnTo>
                    <a:lnTo>
                      <a:pt x="68685" y="340594"/>
                    </a:lnTo>
                    <a:lnTo>
                      <a:pt x="68685" y="340594"/>
                    </a:lnTo>
                    <a:lnTo>
                      <a:pt x="40362" y="296692"/>
                    </a:lnTo>
                    <a:lnTo>
                      <a:pt x="54523" y="271201"/>
                    </a:lnTo>
                    <a:lnTo>
                      <a:pt x="84264" y="282530"/>
                    </a:lnTo>
                    <a:lnTo>
                      <a:pt x="84264" y="282530"/>
                    </a:lnTo>
                    <a:lnTo>
                      <a:pt x="98425" y="198975"/>
                    </a:lnTo>
                    <a:lnTo>
                      <a:pt x="135246" y="194726"/>
                    </a:lnTo>
                    <a:lnTo>
                      <a:pt x="245709" y="187645"/>
                    </a:lnTo>
                    <a:lnTo>
                      <a:pt x="317935" y="312270"/>
                    </a:lnTo>
                    <a:lnTo>
                      <a:pt x="174900" y="313686"/>
                    </a:lnTo>
                    <a:lnTo>
                      <a:pt x="174900" y="313686"/>
                    </a:lnTo>
                    <a:lnTo>
                      <a:pt x="241460" y="388744"/>
                    </a:lnTo>
                    <a:lnTo>
                      <a:pt x="241460" y="388744"/>
                    </a:lnTo>
                    <a:lnTo>
                      <a:pt x="329265" y="322183"/>
                    </a:lnTo>
                    <a:lnTo>
                      <a:pt x="513369" y="298108"/>
                    </a:lnTo>
                    <a:lnTo>
                      <a:pt x="601173" y="241461"/>
                    </a:lnTo>
                    <a:lnTo>
                      <a:pt x="601173" y="241461"/>
                    </a:lnTo>
                    <a:lnTo>
                      <a:pt x="587012" y="106922"/>
                    </a:lnTo>
                    <a:lnTo>
                      <a:pt x="587012" y="106922"/>
                    </a:lnTo>
                    <a:lnTo>
                      <a:pt x="585595" y="106922"/>
                    </a:lnTo>
                    <a:lnTo>
                      <a:pt x="599757" y="240044"/>
                    </a:lnTo>
                    <a:lnTo>
                      <a:pt x="513369" y="295276"/>
                    </a:lnTo>
                    <a:lnTo>
                      <a:pt x="329265" y="319351"/>
                    </a:lnTo>
                    <a:lnTo>
                      <a:pt x="242877" y="385912"/>
                    </a:lnTo>
                    <a:lnTo>
                      <a:pt x="180564" y="316519"/>
                    </a:lnTo>
                    <a:lnTo>
                      <a:pt x="322184" y="315102"/>
                    </a:lnTo>
                    <a:lnTo>
                      <a:pt x="322184" y="315102"/>
                    </a:lnTo>
                    <a:lnTo>
                      <a:pt x="247126" y="186229"/>
                    </a:lnTo>
                    <a:lnTo>
                      <a:pt x="247126" y="186229"/>
                    </a:lnTo>
                    <a:lnTo>
                      <a:pt x="173483" y="190478"/>
                    </a:lnTo>
                    <a:lnTo>
                      <a:pt x="247126" y="181981"/>
                    </a:lnTo>
                    <a:lnTo>
                      <a:pt x="247126" y="181981"/>
                    </a:lnTo>
                    <a:lnTo>
                      <a:pt x="143743" y="97009"/>
                    </a:lnTo>
                    <a:cubicBezTo>
                      <a:pt x="149408" y="82847"/>
                      <a:pt x="155073" y="68685"/>
                      <a:pt x="160738" y="54523"/>
                    </a:cubicBezTo>
                    <a:cubicBezTo>
                      <a:pt x="166402" y="41778"/>
                      <a:pt x="172067" y="27616"/>
                      <a:pt x="177732" y="13454"/>
                    </a:cubicBezTo>
                    <a:lnTo>
                      <a:pt x="177732" y="12038"/>
                    </a:lnTo>
                    <a:lnTo>
                      <a:pt x="176316" y="10621"/>
                    </a:lnTo>
                    <a:lnTo>
                      <a:pt x="176316" y="12038"/>
                    </a:lnTo>
                    <a:cubicBezTo>
                      <a:pt x="170651" y="26200"/>
                      <a:pt x="164986" y="40361"/>
                      <a:pt x="159322" y="53107"/>
                    </a:cubicBezTo>
                    <a:cubicBezTo>
                      <a:pt x="153657" y="67269"/>
                      <a:pt x="147992" y="81431"/>
                      <a:pt x="142327" y="95593"/>
                    </a:cubicBezTo>
                    <a:lnTo>
                      <a:pt x="142327" y="97009"/>
                    </a:lnTo>
                    <a:lnTo>
                      <a:pt x="242877" y="179148"/>
                    </a:lnTo>
                    <a:lnTo>
                      <a:pt x="135246" y="191894"/>
                    </a:lnTo>
                    <a:lnTo>
                      <a:pt x="95593" y="194726"/>
                    </a:lnTo>
                    <a:lnTo>
                      <a:pt x="95593" y="194726"/>
                    </a:lnTo>
                    <a:lnTo>
                      <a:pt x="54523" y="268368"/>
                    </a:lnTo>
                    <a:lnTo>
                      <a:pt x="10621" y="252790"/>
                    </a:lnTo>
                    <a:lnTo>
                      <a:pt x="10621" y="252790"/>
                    </a:lnTo>
                    <a:lnTo>
                      <a:pt x="38945" y="298108"/>
                    </a:lnTo>
                    <a:lnTo>
                      <a:pt x="13454" y="340594"/>
                    </a:lnTo>
                    <a:close/>
                    <a:moveTo>
                      <a:pt x="16286" y="339178"/>
                    </a:moveTo>
                    <a:lnTo>
                      <a:pt x="38945" y="298108"/>
                    </a:lnTo>
                    <a:lnTo>
                      <a:pt x="64437" y="337762"/>
                    </a:lnTo>
                    <a:lnTo>
                      <a:pt x="16286" y="339178"/>
                    </a:lnTo>
                    <a:close/>
                    <a:moveTo>
                      <a:pt x="53107" y="269784"/>
                    </a:moveTo>
                    <a:lnTo>
                      <a:pt x="38945" y="293860"/>
                    </a:lnTo>
                    <a:lnTo>
                      <a:pt x="14870" y="255622"/>
                    </a:lnTo>
                    <a:lnTo>
                      <a:pt x="53107" y="269784"/>
                    </a:lnTo>
                    <a:close/>
                    <a:moveTo>
                      <a:pt x="55940" y="268368"/>
                    </a:moveTo>
                    <a:lnTo>
                      <a:pt x="95593" y="196142"/>
                    </a:lnTo>
                    <a:lnTo>
                      <a:pt x="97009" y="196142"/>
                    </a:lnTo>
                    <a:lnTo>
                      <a:pt x="97009" y="196142"/>
                    </a:lnTo>
                    <a:lnTo>
                      <a:pt x="82847" y="278282"/>
                    </a:lnTo>
                    <a:lnTo>
                      <a:pt x="55940" y="268368"/>
                    </a:lnTo>
                    <a:close/>
                  </a:path>
                </a:pathLst>
              </a:custGeom>
              <a:grpFill/>
              <a:ln w="6350" cap="flat">
                <a:solidFill>
                  <a:schemeClr val="tx1">
                    <a:lumMod val="25000"/>
                    <a:lumOff val="75000"/>
                  </a:schemeClr>
                </a:solidFill>
                <a:prstDash val="solid"/>
                <a:miter/>
              </a:ln>
            </p:spPr>
            <p:txBody>
              <a:bodyPr rtlCol="0" anchor="ctr"/>
              <a:lstStyle/>
              <a:p>
                <a:pPr defTabSz="932384">
                  <a:defRPr/>
                </a:pPr>
                <a:endParaRPr lang="en-US" dirty="0">
                  <a:solidFill>
                    <a:srgbClr val="1A1A1A"/>
                  </a:solidFill>
                  <a:latin typeface="Segoe UI"/>
                </a:endParaRPr>
              </a:p>
            </p:txBody>
          </p:sp>
          <p:sp>
            <p:nvSpPr>
              <p:cNvPr id="954" name="Freeform: Shape 953">
                <a:extLst>
                  <a:ext uri="{FF2B5EF4-FFF2-40B4-BE49-F238E27FC236}">
                    <a16:creationId xmlns:a16="http://schemas.microsoft.com/office/drawing/2014/main" id="{8E9D87CE-5ED0-4504-B9DA-85C5391247E3}"/>
                  </a:ext>
                </a:extLst>
              </p:cNvPr>
              <p:cNvSpPr/>
              <p:nvPr/>
            </p:nvSpPr>
            <p:spPr>
              <a:xfrm>
                <a:off x="6147691" y="621402"/>
                <a:ext cx="453181" cy="169943"/>
              </a:xfrm>
              <a:custGeom>
                <a:avLst/>
                <a:gdLst>
                  <a:gd name="connsiteX0" fmla="*/ 138079 w 453181"/>
                  <a:gd name="connsiteY0" fmla="*/ 27616 h 169942"/>
                  <a:gd name="connsiteX1" fmla="*/ 159322 w 453181"/>
                  <a:gd name="connsiteY1" fmla="*/ 160738 h 169942"/>
                  <a:gd name="connsiteX2" fmla="*/ 159322 w 453181"/>
                  <a:gd name="connsiteY2" fmla="*/ 160738 h 169942"/>
                  <a:gd name="connsiteX3" fmla="*/ 336345 w 453181"/>
                  <a:gd name="connsiteY3" fmla="*/ 61604 h 169942"/>
                  <a:gd name="connsiteX4" fmla="*/ 336345 w 453181"/>
                  <a:gd name="connsiteY4" fmla="*/ 61604 h 169942"/>
                  <a:gd name="connsiteX5" fmla="*/ 150824 w 453181"/>
                  <a:gd name="connsiteY5" fmla="*/ 17702 h 169942"/>
                  <a:gd name="connsiteX6" fmla="*/ 443976 w 453181"/>
                  <a:gd name="connsiteY6" fmla="*/ 13454 h 169942"/>
                  <a:gd name="connsiteX7" fmla="*/ 443976 w 453181"/>
                  <a:gd name="connsiteY7" fmla="*/ 13454 h 169942"/>
                  <a:gd name="connsiteX8" fmla="*/ 443976 w 453181"/>
                  <a:gd name="connsiteY8" fmla="*/ 10621 h 169942"/>
                  <a:gd name="connsiteX9" fmla="*/ 142328 w 453181"/>
                  <a:gd name="connsiteY9" fmla="*/ 16286 h 169942"/>
                  <a:gd name="connsiteX10" fmla="*/ 140911 w 453181"/>
                  <a:gd name="connsiteY10" fmla="*/ 16286 h 169942"/>
                  <a:gd name="connsiteX11" fmla="*/ 140911 w 453181"/>
                  <a:gd name="connsiteY11" fmla="*/ 17702 h 169942"/>
                  <a:gd name="connsiteX12" fmla="*/ 330681 w 453181"/>
                  <a:gd name="connsiteY12" fmla="*/ 61604 h 169942"/>
                  <a:gd name="connsiteX13" fmla="*/ 162154 w 453181"/>
                  <a:gd name="connsiteY13" fmla="*/ 157905 h 169942"/>
                  <a:gd name="connsiteX14" fmla="*/ 139495 w 453181"/>
                  <a:gd name="connsiteY14" fmla="*/ 24783 h 169942"/>
                  <a:gd name="connsiteX15" fmla="*/ 139495 w 453181"/>
                  <a:gd name="connsiteY15" fmla="*/ 24783 h 169942"/>
                  <a:gd name="connsiteX16" fmla="*/ 10621 w 453181"/>
                  <a:gd name="connsiteY16" fmla="*/ 81431 h 169942"/>
                  <a:gd name="connsiteX17" fmla="*/ 10621 w 453181"/>
                  <a:gd name="connsiteY17" fmla="*/ 81431 h 169942"/>
                  <a:gd name="connsiteX18" fmla="*/ 12038 w 453181"/>
                  <a:gd name="connsiteY18" fmla="*/ 82847 h 16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53181" h="169942">
                    <a:moveTo>
                      <a:pt x="138079" y="27616"/>
                    </a:moveTo>
                    <a:lnTo>
                      <a:pt x="159322" y="160738"/>
                    </a:lnTo>
                    <a:lnTo>
                      <a:pt x="159322" y="160738"/>
                    </a:lnTo>
                    <a:lnTo>
                      <a:pt x="336345" y="61604"/>
                    </a:lnTo>
                    <a:lnTo>
                      <a:pt x="336345" y="61604"/>
                    </a:lnTo>
                    <a:lnTo>
                      <a:pt x="150824" y="17702"/>
                    </a:lnTo>
                    <a:lnTo>
                      <a:pt x="443976" y="13454"/>
                    </a:lnTo>
                    <a:lnTo>
                      <a:pt x="443976" y="13454"/>
                    </a:lnTo>
                    <a:lnTo>
                      <a:pt x="443976" y="10621"/>
                    </a:lnTo>
                    <a:lnTo>
                      <a:pt x="142328" y="16286"/>
                    </a:lnTo>
                    <a:lnTo>
                      <a:pt x="140911" y="16286"/>
                    </a:lnTo>
                    <a:lnTo>
                      <a:pt x="140911" y="17702"/>
                    </a:lnTo>
                    <a:lnTo>
                      <a:pt x="330681" y="61604"/>
                    </a:lnTo>
                    <a:lnTo>
                      <a:pt x="162154" y="157905"/>
                    </a:lnTo>
                    <a:lnTo>
                      <a:pt x="139495" y="24783"/>
                    </a:lnTo>
                    <a:lnTo>
                      <a:pt x="139495" y="24783"/>
                    </a:lnTo>
                    <a:lnTo>
                      <a:pt x="10621" y="81431"/>
                    </a:lnTo>
                    <a:lnTo>
                      <a:pt x="10621" y="81431"/>
                    </a:lnTo>
                    <a:lnTo>
                      <a:pt x="12038" y="82847"/>
                    </a:lnTo>
                    <a:close/>
                  </a:path>
                </a:pathLst>
              </a:custGeom>
              <a:grpFill/>
              <a:ln w="6350" cap="flat">
                <a:solidFill>
                  <a:schemeClr val="tx1">
                    <a:lumMod val="25000"/>
                    <a:lumOff val="75000"/>
                  </a:schemeClr>
                </a:solidFill>
                <a:prstDash val="solid"/>
                <a:miter/>
              </a:ln>
            </p:spPr>
            <p:txBody>
              <a:bodyPr rtlCol="0" anchor="ctr"/>
              <a:lstStyle/>
              <a:p>
                <a:pPr defTabSz="932384">
                  <a:defRPr/>
                </a:pPr>
                <a:endParaRPr lang="en-US" dirty="0">
                  <a:solidFill>
                    <a:srgbClr val="1A1A1A"/>
                  </a:solidFill>
                  <a:latin typeface="Segoe UI"/>
                </a:endParaRPr>
              </a:p>
            </p:txBody>
          </p:sp>
          <p:sp>
            <p:nvSpPr>
              <p:cNvPr id="955" name="Freeform: Shape 954">
                <a:extLst>
                  <a:ext uri="{FF2B5EF4-FFF2-40B4-BE49-F238E27FC236}">
                    <a16:creationId xmlns:a16="http://schemas.microsoft.com/office/drawing/2014/main" id="{9708B38E-8466-4605-8F8A-29272C7532FA}"/>
                  </a:ext>
                </a:extLst>
              </p:cNvPr>
              <p:cNvSpPr/>
              <p:nvPr/>
            </p:nvSpPr>
            <p:spPr>
              <a:xfrm>
                <a:off x="7331627" y="847992"/>
                <a:ext cx="368210" cy="325724"/>
              </a:xfrm>
              <a:custGeom>
                <a:avLst/>
                <a:gdLst>
                  <a:gd name="connsiteX0" fmla="*/ 10621 w 368209"/>
                  <a:gd name="connsiteY0" fmla="*/ 211721 h 325723"/>
                  <a:gd name="connsiteX1" fmla="*/ 12038 w 368209"/>
                  <a:gd name="connsiteY1" fmla="*/ 213137 h 325723"/>
                  <a:gd name="connsiteX2" fmla="*/ 12038 w 368209"/>
                  <a:gd name="connsiteY2" fmla="*/ 213137 h 325723"/>
                  <a:gd name="connsiteX3" fmla="*/ 361837 w 368209"/>
                  <a:gd name="connsiteY3" fmla="*/ 17702 h 325723"/>
                  <a:gd name="connsiteX4" fmla="*/ 186229 w 368209"/>
                  <a:gd name="connsiteY4" fmla="*/ 183397 h 325723"/>
                  <a:gd name="connsiteX5" fmla="*/ 10621 w 368209"/>
                  <a:gd name="connsiteY5" fmla="*/ 220218 h 325723"/>
                  <a:gd name="connsiteX6" fmla="*/ 10621 w 368209"/>
                  <a:gd name="connsiteY6" fmla="*/ 220218 h 325723"/>
                  <a:gd name="connsiteX7" fmla="*/ 128165 w 368209"/>
                  <a:gd name="connsiteY7" fmla="*/ 320767 h 325723"/>
                  <a:gd name="connsiteX8" fmla="*/ 129581 w 368209"/>
                  <a:gd name="connsiteY8" fmla="*/ 320767 h 325723"/>
                  <a:gd name="connsiteX9" fmla="*/ 129581 w 368209"/>
                  <a:gd name="connsiteY9" fmla="*/ 319351 h 325723"/>
                  <a:gd name="connsiteX10" fmla="*/ 129581 w 368209"/>
                  <a:gd name="connsiteY10" fmla="*/ 319351 h 325723"/>
                  <a:gd name="connsiteX11" fmla="*/ 14870 w 368209"/>
                  <a:gd name="connsiteY11" fmla="*/ 221634 h 325723"/>
                  <a:gd name="connsiteX12" fmla="*/ 187645 w 368209"/>
                  <a:gd name="connsiteY12" fmla="*/ 184813 h 325723"/>
                  <a:gd name="connsiteX13" fmla="*/ 368918 w 368209"/>
                  <a:gd name="connsiteY13" fmla="*/ 12038 h 325723"/>
                  <a:gd name="connsiteX14" fmla="*/ 370334 w 368209"/>
                  <a:gd name="connsiteY14" fmla="*/ 12038 h 325723"/>
                  <a:gd name="connsiteX15" fmla="*/ 368918 w 368209"/>
                  <a:gd name="connsiteY15" fmla="*/ 10621 h 325723"/>
                  <a:gd name="connsiteX16" fmla="*/ 10621 w 368209"/>
                  <a:gd name="connsiteY16" fmla="*/ 211721 h 325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8209" h="325723">
                    <a:moveTo>
                      <a:pt x="10621" y="211721"/>
                    </a:moveTo>
                    <a:lnTo>
                      <a:pt x="12038" y="213137"/>
                    </a:lnTo>
                    <a:lnTo>
                      <a:pt x="12038" y="213137"/>
                    </a:lnTo>
                    <a:lnTo>
                      <a:pt x="361837" y="17702"/>
                    </a:lnTo>
                    <a:lnTo>
                      <a:pt x="186229" y="183397"/>
                    </a:lnTo>
                    <a:lnTo>
                      <a:pt x="10621" y="220218"/>
                    </a:lnTo>
                    <a:lnTo>
                      <a:pt x="10621" y="220218"/>
                    </a:lnTo>
                    <a:lnTo>
                      <a:pt x="128165" y="320767"/>
                    </a:lnTo>
                    <a:lnTo>
                      <a:pt x="129581" y="320767"/>
                    </a:lnTo>
                    <a:lnTo>
                      <a:pt x="129581" y="319351"/>
                    </a:lnTo>
                    <a:lnTo>
                      <a:pt x="129581" y="319351"/>
                    </a:lnTo>
                    <a:lnTo>
                      <a:pt x="14870" y="221634"/>
                    </a:lnTo>
                    <a:lnTo>
                      <a:pt x="187645" y="184813"/>
                    </a:lnTo>
                    <a:lnTo>
                      <a:pt x="368918" y="12038"/>
                    </a:lnTo>
                    <a:lnTo>
                      <a:pt x="370334" y="12038"/>
                    </a:lnTo>
                    <a:lnTo>
                      <a:pt x="368918" y="10621"/>
                    </a:lnTo>
                    <a:lnTo>
                      <a:pt x="10621" y="211721"/>
                    </a:lnTo>
                    <a:close/>
                  </a:path>
                </a:pathLst>
              </a:custGeom>
              <a:grpFill/>
              <a:ln w="6350" cap="flat">
                <a:solidFill>
                  <a:schemeClr val="tx1">
                    <a:lumMod val="25000"/>
                    <a:lumOff val="75000"/>
                  </a:schemeClr>
                </a:solidFill>
                <a:prstDash val="solid"/>
                <a:miter/>
              </a:ln>
            </p:spPr>
            <p:txBody>
              <a:bodyPr rtlCol="0" anchor="ctr"/>
              <a:lstStyle/>
              <a:p>
                <a:pPr defTabSz="932384">
                  <a:defRPr/>
                </a:pPr>
                <a:endParaRPr lang="en-US" dirty="0">
                  <a:solidFill>
                    <a:srgbClr val="1A1A1A"/>
                  </a:solidFill>
                  <a:latin typeface="Segoe UI"/>
                </a:endParaRPr>
              </a:p>
            </p:txBody>
          </p:sp>
          <p:sp>
            <p:nvSpPr>
              <p:cNvPr id="956" name="Freeform: Shape 955">
                <a:extLst>
                  <a:ext uri="{FF2B5EF4-FFF2-40B4-BE49-F238E27FC236}">
                    <a16:creationId xmlns:a16="http://schemas.microsoft.com/office/drawing/2014/main" id="{31C9DB33-B299-4C83-944C-6A821707AA7F}"/>
                  </a:ext>
                </a:extLst>
              </p:cNvPr>
              <p:cNvSpPr/>
              <p:nvPr/>
            </p:nvSpPr>
            <p:spPr>
              <a:xfrm>
                <a:off x="7238158" y="482615"/>
                <a:ext cx="410695" cy="127457"/>
              </a:xfrm>
              <a:custGeom>
                <a:avLst/>
                <a:gdLst>
                  <a:gd name="connsiteX0" fmla="*/ 279698 w 410695"/>
                  <a:gd name="connsiteY0" fmla="*/ 13454 h 127457"/>
                  <a:gd name="connsiteX1" fmla="*/ 292443 w 410695"/>
                  <a:gd name="connsiteY1" fmla="*/ 82847 h 127457"/>
                  <a:gd name="connsiteX2" fmla="*/ 20535 w 410695"/>
                  <a:gd name="connsiteY2" fmla="*/ 104090 h 127457"/>
                  <a:gd name="connsiteX3" fmla="*/ 20535 w 410695"/>
                  <a:gd name="connsiteY3" fmla="*/ 104090 h 127457"/>
                  <a:gd name="connsiteX4" fmla="*/ 20535 w 410695"/>
                  <a:gd name="connsiteY4" fmla="*/ 105506 h 127457"/>
                  <a:gd name="connsiteX5" fmla="*/ 292443 w 410695"/>
                  <a:gd name="connsiteY5" fmla="*/ 84263 h 127457"/>
                  <a:gd name="connsiteX6" fmla="*/ 300941 w 410695"/>
                  <a:gd name="connsiteY6" fmla="*/ 129581 h 127457"/>
                  <a:gd name="connsiteX7" fmla="*/ 300941 w 410695"/>
                  <a:gd name="connsiteY7" fmla="*/ 129581 h 127457"/>
                  <a:gd name="connsiteX8" fmla="*/ 401490 w 410695"/>
                  <a:gd name="connsiteY8" fmla="*/ 74350 h 127457"/>
                  <a:gd name="connsiteX9" fmla="*/ 402907 w 410695"/>
                  <a:gd name="connsiteY9" fmla="*/ 74350 h 127457"/>
                  <a:gd name="connsiteX10" fmla="*/ 293860 w 410695"/>
                  <a:gd name="connsiteY10" fmla="*/ 82847 h 127457"/>
                  <a:gd name="connsiteX11" fmla="*/ 281114 w 410695"/>
                  <a:gd name="connsiteY11" fmla="*/ 10621 h 127457"/>
                  <a:gd name="connsiteX12" fmla="*/ 281114 w 410695"/>
                  <a:gd name="connsiteY12" fmla="*/ 10621 h 127457"/>
                  <a:gd name="connsiteX13" fmla="*/ 10621 w 410695"/>
                  <a:gd name="connsiteY13" fmla="*/ 97009 h 127457"/>
                  <a:gd name="connsiteX14" fmla="*/ 10621 w 410695"/>
                  <a:gd name="connsiteY14" fmla="*/ 97009 h 127457"/>
                  <a:gd name="connsiteX15" fmla="*/ 10621 w 410695"/>
                  <a:gd name="connsiteY15" fmla="*/ 98425 h 127457"/>
                  <a:gd name="connsiteX16" fmla="*/ 279698 w 410695"/>
                  <a:gd name="connsiteY16" fmla="*/ 13454 h 127457"/>
                  <a:gd name="connsiteX17" fmla="*/ 302357 w 410695"/>
                  <a:gd name="connsiteY17" fmla="*/ 126749 h 127457"/>
                  <a:gd name="connsiteX18" fmla="*/ 295276 w 410695"/>
                  <a:gd name="connsiteY18" fmla="*/ 84263 h 127457"/>
                  <a:gd name="connsiteX19" fmla="*/ 394409 w 410695"/>
                  <a:gd name="connsiteY19" fmla="*/ 75766 h 127457"/>
                  <a:gd name="connsiteX20" fmla="*/ 302357 w 410695"/>
                  <a:gd name="connsiteY20" fmla="*/ 126749 h 12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0695" h="127457">
                    <a:moveTo>
                      <a:pt x="279698" y="13454"/>
                    </a:moveTo>
                    <a:lnTo>
                      <a:pt x="292443" y="82847"/>
                    </a:lnTo>
                    <a:lnTo>
                      <a:pt x="20535" y="104090"/>
                    </a:lnTo>
                    <a:lnTo>
                      <a:pt x="20535" y="104090"/>
                    </a:lnTo>
                    <a:lnTo>
                      <a:pt x="20535" y="105506"/>
                    </a:lnTo>
                    <a:lnTo>
                      <a:pt x="292443" y="84263"/>
                    </a:lnTo>
                    <a:lnTo>
                      <a:pt x="300941" y="129581"/>
                    </a:lnTo>
                    <a:lnTo>
                      <a:pt x="300941" y="129581"/>
                    </a:lnTo>
                    <a:lnTo>
                      <a:pt x="401490" y="74350"/>
                    </a:lnTo>
                    <a:lnTo>
                      <a:pt x="402907" y="74350"/>
                    </a:lnTo>
                    <a:lnTo>
                      <a:pt x="293860" y="82847"/>
                    </a:lnTo>
                    <a:lnTo>
                      <a:pt x="281114" y="10621"/>
                    </a:lnTo>
                    <a:lnTo>
                      <a:pt x="281114" y="10621"/>
                    </a:lnTo>
                    <a:lnTo>
                      <a:pt x="10621" y="97009"/>
                    </a:lnTo>
                    <a:lnTo>
                      <a:pt x="10621" y="97009"/>
                    </a:lnTo>
                    <a:lnTo>
                      <a:pt x="10621" y="98425"/>
                    </a:lnTo>
                    <a:lnTo>
                      <a:pt x="279698" y="13454"/>
                    </a:lnTo>
                    <a:close/>
                    <a:moveTo>
                      <a:pt x="302357" y="126749"/>
                    </a:moveTo>
                    <a:lnTo>
                      <a:pt x="295276" y="84263"/>
                    </a:lnTo>
                    <a:lnTo>
                      <a:pt x="394409" y="75766"/>
                    </a:lnTo>
                    <a:lnTo>
                      <a:pt x="302357" y="126749"/>
                    </a:lnTo>
                    <a:close/>
                  </a:path>
                </a:pathLst>
              </a:custGeom>
              <a:grpFill/>
              <a:ln w="6350" cap="flat">
                <a:solidFill>
                  <a:schemeClr val="tx1">
                    <a:lumMod val="25000"/>
                    <a:lumOff val="75000"/>
                  </a:schemeClr>
                </a:solidFill>
                <a:prstDash val="solid"/>
                <a:miter/>
              </a:ln>
            </p:spPr>
            <p:txBody>
              <a:bodyPr rtlCol="0" anchor="ctr"/>
              <a:lstStyle/>
              <a:p>
                <a:pPr defTabSz="932384">
                  <a:defRPr/>
                </a:pPr>
                <a:endParaRPr lang="en-US" dirty="0">
                  <a:solidFill>
                    <a:srgbClr val="1A1A1A"/>
                  </a:solidFill>
                  <a:latin typeface="Segoe UI"/>
                </a:endParaRPr>
              </a:p>
            </p:txBody>
          </p:sp>
        </p:grpSp>
      </p:grpSp>
      <p:grpSp>
        <p:nvGrpSpPr>
          <p:cNvPr id="964" name="Dots">
            <a:extLst>
              <a:ext uri="{FF2B5EF4-FFF2-40B4-BE49-F238E27FC236}">
                <a16:creationId xmlns:a16="http://schemas.microsoft.com/office/drawing/2014/main" id="{97A908EF-FAB2-486E-99A1-9499518562B7}"/>
              </a:ext>
            </a:extLst>
          </p:cNvPr>
          <p:cNvGrpSpPr/>
          <p:nvPr/>
        </p:nvGrpSpPr>
        <p:grpSpPr>
          <a:xfrm>
            <a:off x="840988" y="348322"/>
            <a:ext cx="10750833" cy="6302507"/>
            <a:chOff x="826141" y="332996"/>
            <a:chExt cx="10535048" cy="6176008"/>
          </a:xfrm>
          <a:solidFill>
            <a:srgbClr val="0078D4"/>
          </a:solidFill>
        </p:grpSpPr>
        <p:sp>
          <p:nvSpPr>
            <p:cNvPr id="965" name="Freeform: Shape 964">
              <a:extLst>
                <a:ext uri="{FF2B5EF4-FFF2-40B4-BE49-F238E27FC236}">
                  <a16:creationId xmlns:a16="http://schemas.microsoft.com/office/drawing/2014/main" id="{0BCD449E-67FB-4604-B2A1-7A25AC8EF15D}"/>
                </a:ext>
              </a:extLst>
            </p:cNvPr>
            <p:cNvSpPr/>
            <p:nvPr/>
          </p:nvSpPr>
          <p:spPr>
            <a:xfrm>
              <a:off x="11181332" y="1308751"/>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8101"/>
                    <a:pt x="95095" y="55442"/>
                  </a:cubicBezTo>
                  <a:cubicBezTo>
                    <a:pt x="95095" y="34199"/>
                    <a:pt x="78101" y="15789"/>
                    <a:pt x="55442" y="15789"/>
                  </a:cubicBezTo>
                  <a:cubicBezTo>
                    <a:pt x="34199" y="15789"/>
                    <a:pt x="15789" y="32783"/>
                    <a:pt x="15789" y="55442"/>
                  </a:cubicBezTo>
                  <a:cubicBezTo>
                    <a:pt x="15789" y="76685"/>
                    <a:pt x="34199" y="95096"/>
                    <a:pt x="55442" y="9509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66" name="Freeform: Shape 965">
              <a:extLst>
                <a:ext uri="{FF2B5EF4-FFF2-40B4-BE49-F238E27FC236}">
                  <a16:creationId xmlns:a16="http://schemas.microsoft.com/office/drawing/2014/main" id="{45DAA57E-F6A2-44D9-A10D-3F581A17AE6E}"/>
                </a:ext>
              </a:extLst>
            </p:cNvPr>
            <p:cNvSpPr/>
            <p:nvPr/>
          </p:nvSpPr>
          <p:spPr>
            <a:xfrm>
              <a:off x="9156179" y="2165547"/>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8102"/>
                    <a:pt x="95095" y="55442"/>
                  </a:cubicBezTo>
                  <a:cubicBezTo>
                    <a:pt x="95095" y="34200"/>
                    <a:pt x="78101" y="15789"/>
                    <a:pt x="55442" y="15789"/>
                  </a:cubicBezTo>
                  <a:cubicBezTo>
                    <a:pt x="32783" y="15789"/>
                    <a:pt x="15789" y="32783"/>
                    <a:pt x="15789" y="55442"/>
                  </a:cubicBezTo>
                  <a:cubicBezTo>
                    <a:pt x="15789" y="76685"/>
                    <a:pt x="34199" y="95096"/>
                    <a:pt x="55442" y="9509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67" name="Freeform: Shape 966">
              <a:extLst>
                <a:ext uri="{FF2B5EF4-FFF2-40B4-BE49-F238E27FC236}">
                  <a16:creationId xmlns:a16="http://schemas.microsoft.com/office/drawing/2014/main" id="{C629BDF1-D2CA-4D4A-8F9D-4360FB10E950}"/>
                </a:ext>
              </a:extLst>
            </p:cNvPr>
            <p:cNvSpPr/>
            <p:nvPr/>
          </p:nvSpPr>
          <p:spPr>
            <a:xfrm>
              <a:off x="9304879" y="1524012"/>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8101"/>
                    <a:pt x="95095" y="55442"/>
                  </a:cubicBezTo>
                  <a:cubicBezTo>
                    <a:pt x="95095" y="34200"/>
                    <a:pt x="78101" y="15789"/>
                    <a:pt x="55442" y="15789"/>
                  </a:cubicBezTo>
                  <a:cubicBezTo>
                    <a:pt x="34199" y="15789"/>
                    <a:pt x="15789" y="32783"/>
                    <a:pt x="15789" y="55442"/>
                  </a:cubicBezTo>
                  <a:cubicBezTo>
                    <a:pt x="15789" y="78101"/>
                    <a:pt x="32783" y="95096"/>
                    <a:pt x="55442" y="9509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68" name="Freeform: Shape 967">
              <a:extLst>
                <a:ext uri="{FF2B5EF4-FFF2-40B4-BE49-F238E27FC236}">
                  <a16:creationId xmlns:a16="http://schemas.microsoft.com/office/drawing/2014/main" id="{4603E273-76E5-466E-9014-58493F404BAB}"/>
                </a:ext>
              </a:extLst>
            </p:cNvPr>
            <p:cNvSpPr/>
            <p:nvPr/>
          </p:nvSpPr>
          <p:spPr>
            <a:xfrm>
              <a:off x="10181501" y="1157219"/>
              <a:ext cx="155781" cy="155781"/>
            </a:xfrm>
            <a:custGeom>
              <a:avLst/>
              <a:gdLst>
                <a:gd name="connsiteX0" fmla="*/ 80934 w 155781"/>
                <a:gd name="connsiteY0" fmla="*/ 146079 h 155780"/>
                <a:gd name="connsiteX1" fmla="*/ 146079 w 155781"/>
                <a:gd name="connsiteY1" fmla="*/ 80934 h 155780"/>
                <a:gd name="connsiteX2" fmla="*/ 80934 w 155781"/>
                <a:gd name="connsiteY2" fmla="*/ 15789 h 155780"/>
                <a:gd name="connsiteX3" fmla="*/ 15789 w 155781"/>
                <a:gd name="connsiteY3" fmla="*/ 80934 h 155780"/>
                <a:gd name="connsiteX4" fmla="*/ 80934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4" y="146079"/>
                  </a:moveTo>
                  <a:cubicBezTo>
                    <a:pt x="116339" y="146079"/>
                    <a:pt x="146079" y="116339"/>
                    <a:pt x="146079" y="80934"/>
                  </a:cubicBezTo>
                  <a:cubicBezTo>
                    <a:pt x="146079" y="45529"/>
                    <a:pt x="116339" y="15789"/>
                    <a:pt x="80934" y="15789"/>
                  </a:cubicBezTo>
                  <a:cubicBezTo>
                    <a:pt x="45530" y="15789"/>
                    <a:pt x="15789" y="45529"/>
                    <a:pt x="15789" y="80934"/>
                  </a:cubicBezTo>
                  <a:cubicBezTo>
                    <a:pt x="15789" y="116339"/>
                    <a:pt x="44113" y="146079"/>
                    <a:pt x="80934" y="14607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69" name="Freeform: Shape 968">
              <a:extLst>
                <a:ext uri="{FF2B5EF4-FFF2-40B4-BE49-F238E27FC236}">
                  <a16:creationId xmlns:a16="http://schemas.microsoft.com/office/drawing/2014/main" id="{4679D3FC-2BE4-4256-8379-B1A639FD3D1B}"/>
                </a:ext>
              </a:extLst>
            </p:cNvPr>
            <p:cNvSpPr/>
            <p:nvPr/>
          </p:nvSpPr>
          <p:spPr>
            <a:xfrm>
              <a:off x="9862858" y="2115980"/>
              <a:ext cx="141619" cy="141619"/>
            </a:xfrm>
            <a:custGeom>
              <a:avLst/>
              <a:gdLst>
                <a:gd name="connsiteX0" fmla="*/ 71021 w 141619"/>
                <a:gd name="connsiteY0" fmla="*/ 126252 h 141619"/>
                <a:gd name="connsiteX1" fmla="*/ 126253 w 141619"/>
                <a:gd name="connsiteY1" fmla="*/ 71020 h 141619"/>
                <a:gd name="connsiteX2" fmla="*/ 71021 w 141619"/>
                <a:gd name="connsiteY2" fmla="*/ 15789 h 141619"/>
                <a:gd name="connsiteX3" fmla="*/ 15789 w 141619"/>
                <a:gd name="connsiteY3" fmla="*/ 71020 h 141619"/>
                <a:gd name="connsiteX4" fmla="*/ 71021 w 141619"/>
                <a:gd name="connsiteY4" fmla="*/ 126252 h 141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9" h="141619">
                  <a:moveTo>
                    <a:pt x="71021" y="126252"/>
                  </a:moveTo>
                  <a:cubicBezTo>
                    <a:pt x="100760" y="126252"/>
                    <a:pt x="126253" y="100760"/>
                    <a:pt x="126253" y="71020"/>
                  </a:cubicBezTo>
                  <a:cubicBezTo>
                    <a:pt x="126253" y="41280"/>
                    <a:pt x="100760" y="15789"/>
                    <a:pt x="71021" y="15789"/>
                  </a:cubicBezTo>
                  <a:cubicBezTo>
                    <a:pt x="41281" y="15789"/>
                    <a:pt x="15789" y="41280"/>
                    <a:pt x="15789" y="71020"/>
                  </a:cubicBezTo>
                  <a:cubicBezTo>
                    <a:pt x="15789" y="100760"/>
                    <a:pt x="41281" y="126252"/>
                    <a:pt x="71021" y="12625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70" name="Freeform: Shape 969">
              <a:extLst>
                <a:ext uri="{FF2B5EF4-FFF2-40B4-BE49-F238E27FC236}">
                  <a16:creationId xmlns:a16="http://schemas.microsoft.com/office/drawing/2014/main" id="{D5E34C85-4DBD-45B9-AD39-132794CE6D32}"/>
                </a:ext>
              </a:extLst>
            </p:cNvPr>
            <p:cNvSpPr/>
            <p:nvPr/>
          </p:nvSpPr>
          <p:spPr>
            <a:xfrm>
              <a:off x="8710079" y="831495"/>
              <a:ext cx="155781" cy="155781"/>
            </a:xfrm>
            <a:custGeom>
              <a:avLst/>
              <a:gdLst>
                <a:gd name="connsiteX0" fmla="*/ 80933 w 155781"/>
                <a:gd name="connsiteY0" fmla="*/ 15789 h 155780"/>
                <a:gd name="connsiteX1" fmla="*/ 146079 w 155781"/>
                <a:gd name="connsiteY1" fmla="*/ 80934 h 155780"/>
                <a:gd name="connsiteX2" fmla="*/ 80933 w 155781"/>
                <a:gd name="connsiteY2" fmla="*/ 146079 h 155780"/>
                <a:gd name="connsiteX3" fmla="*/ 15789 w 155781"/>
                <a:gd name="connsiteY3" fmla="*/ 80934 h 155780"/>
                <a:gd name="connsiteX4" fmla="*/ 80933 w 155781"/>
                <a:gd name="connsiteY4" fmla="*/ 15789 h 155780"/>
                <a:gd name="connsiteX5" fmla="*/ 80933 w 155781"/>
                <a:gd name="connsiteY5" fmla="*/ 15789 h 155780"/>
                <a:gd name="connsiteX6" fmla="*/ 80933 w 155781"/>
                <a:gd name="connsiteY6" fmla="*/ 45529 h 155780"/>
                <a:gd name="connsiteX7" fmla="*/ 44113 w 155781"/>
                <a:gd name="connsiteY7" fmla="*/ 82350 h 155780"/>
                <a:gd name="connsiteX8" fmla="*/ 80933 w 155781"/>
                <a:gd name="connsiteY8" fmla="*/ 119171 h 155780"/>
                <a:gd name="connsiteX9" fmla="*/ 117755 w 155781"/>
                <a:gd name="connsiteY9" fmla="*/ 82350 h 155780"/>
                <a:gd name="connsiteX10" fmla="*/ 80933 w 155781"/>
                <a:gd name="connsiteY10" fmla="*/ 45529 h 155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781" h="155780">
                  <a:moveTo>
                    <a:pt x="80933" y="15789"/>
                  </a:moveTo>
                  <a:cubicBezTo>
                    <a:pt x="117755" y="15789"/>
                    <a:pt x="146079" y="45529"/>
                    <a:pt x="146079" y="80934"/>
                  </a:cubicBezTo>
                  <a:cubicBezTo>
                    <a:pt x="146079" y="117755"/>
                    <a:pt x="116338" y="146079"/>
                    <a:pt x="80933" y="146079"/>
                  </a:cubicBezTo>
                  <a:cubicBezTo>
                    <a:pt x="44113" y="146079"/>
                    <a:pt x="15789" y="116339"/>
                    <a:pt x="15789" y="80934"/>
                  </a:cubicBezTo>
                  <a:cubicBezTo>
                    <a:pt x="15789" y="45529"/>
                    <a:pt x="44113" y="15789"/>
                    <a:pt x="80933" y="15789"/>
                  </a:cubicBezTo>
                  <a:lnTo>
                    <a:pt x="80933" y="15789"/>
                  </a:lnTo>
                  <a:close/>
                  <a:moveTo>
                    <a:pt x="80933" y="45529"/>
                  </a:moveTo>
                  <a:cubicBezTo>
                    <a:pt x="61107" y="45529"/>
                    <a:pt x="44113" y="62523"/>
                    <a:pt x="44113" y="82350"/>
                  </a:cubicBezTo>
                  <a:cubicBezTo>
                    <a:pt x="44113" y="102177"/>
                    <a:pt x="61107" y="119171"/>
                    <a:pt x="80933" y="119171"/>
                  </a:cubicBezTo>
                  <a:cubicBezTo>
                    <a:pt x="100760" y="119171"/>
                    <a:pt x="117755" y="102177"/>
                    <a:pt x="117755" y="82350"/>
                  </a:cubicBezTo>
                  <a:cubicBezTo>
                    <a:pt x="117755" y="62523"/>
                    <a:pt x="100760" y="45529"/>
                    <a:pt x="80933" y="4552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71" name="Freeform: Shape 970">
              <a:extLst>
                <a:ext uri="{FF2B5EF4-FFF2-40B4-BE49-F238E27FC236}">
                  <a16:creationId xmlns:a16="http://schemas.microsoft.com/office/drawing/2014/main" id="{BEAAC655-062B-4D2C-8BF4-A342A572A1EB}"/>
                </a:ext>
              </a:extLst>
            </p:cNvPr>
            <p:cNvSpPr/>
            <p:nvPr/>
          </p:nvSpPr>
          <p:spPr>
            <a:xfrm>
              <a:off x="10896678" y="1550920"/>
              <a:ext cx="155781" cy="155781"/>
            </a:xfrm>
            <a:custGeom>
              <a:avLst/>
              <a:gdLst>
                <a:gd name="connsiteX0" fmla="*/ 80934 w 155781"/>
                <a:gd name="connsiteY0" fmla="*/ 15789 h 155780"/>
                <a:gd name="connsiteX1" fmla="*/ 146079 w 155781"/>
                <a:gd name="connsiteY1" fmla="*/ 80934 h 155780"/>
                <a:gd name="connsiteX2" fmla="*/ 80934 w 155781"/>
                <a:gd name="connsiteY2" fmla="*/ 146079 h 155780"/>
                <a:gd name="connsiteX3" fmla="*/ 15789 w 155781"/>
                <a:gd name="connsiteY3" fmla="*/ 80934 h 155780"/>
                <a:gd name="connsiteX4" fmla="*/ 80934 w 155781"/>
                <a:gd name="connsiteY4" fmla="*/ 15789 h 155780"/>
                <a:gd name="connsiteX5" fmla="*/ 80934 w 155781"/>
                <a:gd name="connsiteY5" fmla="*/ 15789 h 155780"/>
                <a:gd name="connsiteX6" fmla="*/ 80934 w 155781"/>
                <a:gd name="connsiteY6" fmla="*/ 44113 h 155780"/>
                <a:gd name="connsiteX7" fmla="*/ 44113 w 155781"/>
                <a:gd name="connsiteY7" fmla="*/ 80934 h 155780"/>
                <a:gd name="connsiteX8" fmla="*/ 80934 w 155781"/>
                <a:gd name="connsiteY8" fmla="*/ 117755 h 155780"/>
                <a:gd name="connsiteX9" fmla="*/ 117755 w 155781"/>
                <a:gd name="connsiteY9" fmla="*/ 80934 h 155780"/>
                <a:gd name="connsiteX10" fmla="*/ 80934 w 155781"/>
                <a:gd name="connsiteY10" fmla="*/ 44113 h 155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781" h="155780">
                  <a:moveTo>
                    <a:pt x="80934" y="15789"/>
                  </a:moveTo>
                  <a:cubicBezTo>
                    <a:pt x="117755" y="15789"/>
                    <a:pt x="146079" y="45529"/>
                    <a:pt x="146079" y="80934"/>
                  </a:cubicBezTo>
                  <a:cubicBezTo>
                    <a:pt x="146079" y="117755"/>
                    <a:pt x="116339" y="146079"/>
                    <a:pt x="80934" y="146079"/>
                  </a:cubicBezTo>
                  <a:cubicBezTo>
                    <a:pt x="45530" y="146079"/>
                    <a:pt x="15789" y="116339"/>
                    <a:pt x="15789" y="80934"/>
                  </a:cubicBezTo>
                  <a:cubicBezTo>
                    <a:pt x="15789" y="45529"/>
                    <a:pt x="45530" y="15789"/>
                    <a:pt x="80934" y="15789"/>
                  </a:cubicBezTo>
                  <a:lnTo>
                    <a:pt x="80934" y="15789"/>
                  </a:lnTo>
                  <a:close/>
                  <a:moveTo>
                    <a:pt x="80934" y="44113"/>
                  </a:moveTo>
                  <a:cubicBezTo>
                    <a:pt x="61107" y="44113"/>
                    <a:pt x="44113" y="61107"/>
                    <a:pt x="44113" y="80934"/>
                  </a:cubicBezTo>
                  <a:cubicBezTo>
                    <a:pt x="44113" y="100760"/>
                    <a:pt x="61107" y="117755"/>
                    <a:pt x="80934" y="117755"/>
                  </a:cubicBezTo>
                  <a:cubicBezTo>
                    <a:pt x="100760" y="117755"/>
                    <a:pt x="117755" y="100760"/>
                    <a:pt x="117755" y="80934"/>
                  </a:cubicBezTo>
                  <a:cubicBezTo>
                    <a:pt x="117755" y="61107"/>
                    <a:pt x="100760" y="44113"/>
                    <a:pt x="80934"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72" name="Freeform: Shape 971">
              <a:extLst>
                <a:ext uri="{FF2B5EF4-FFF2-40B4-BE49-F238E27FC236}">
                  <a16:creationId xmlns:a16="http://schemas.microsoft.com/office/drawing/2014/main" id="{40FEFD85-7313-4122-A3B6-91D265504267}"/>
                </a:ext>
              </a:extLst>
            </p:cNvPr>
            <p:cNvSpPr/>
            <p:nvPr/>
          </p:nvSpPr>
          <p:spPr>
            <a:xfrm>
              <a:off x="10265057" y="1637308"/>
              <a:ext cx="141619" cy="141619"/>
            </a:xfrm>
            <a:custGeom>
              <a:avLst/>
              <a:gdLst>
                <a:gd name="connsiteX0" fmla="*/ 71021 w 141619"/>
                <a:gd name="connsiteY0" fmla="*/ 15789 h 141619"/>
                <a:gd name="connsiteX1" fmla="*/ 126252 w 141619"/>
                <a:gd name="connsiteY1" fmla="*/ 71020 h 141619"/>
                <a:gd name="connsiteX2" fmla="*/ 71021 w 141619"/>
                <a:gd name="connsiteY2" fmla="*/ 126252 h 141619"/>
                <a:gd name="connsiteX3" fmla="*/ 15789 w 141619"/>
                <a:gd name="connsiteY3" fmla="*/ 71020 h 141619"/>
                <a:gd name="connsiteX4" fmla="*/ 71021 w 141619"/>
                <a:gd name="connsiteY4" fmla="*/ 15789 h 141619"/>
                <a:gd name="connsiteX5" fmla="*/ 71021 w 141619"/>
                <a:gd name="connsiteY5" fmla="*/ 15789 h 141619"/>
                <a:gd name="connsiteX6" fmla="*/ 71021 w 141619"/>
                <a:gd name="connsiteY6" fmla="*/ 25702 h 141619"/>
                <a:gd name="connsiteX7" fmla="*/ 25703 w 141619"/>
                <a:gd name="connsiteY7" fmla="*/ 71020 h 141619"/>
                <a:gd name="connsiteX8" fmla="*/ 71021 w 141619"/>
                <a:gd name="connsiteY8" fmla="*/ 116339 h 141619"/>
                <a:gd name="connsiteX9" fmla="*/ 116338 w 141619"/>
                <a:gd name="connsiteY9" fmla="*/ 71020 h 141619"/>
                <a:gd name="connsiteX10" fmla="*/ 71021 w 141619"/>
                <a:gd name="connsiteY10" fmla="*/ 25702 h 141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619" h="141619">
                  <a:moveTo>
                    <a:pt x="71021" y="15789"/>
                  </a:moveTo>
                  <a:cubicBezTo>
                    <a:pt x="102176" y="15789"/>
                    <a:pt x="126252" y="41280"/>
                    <a:pt x="126252" y="71020"/>
                  </a:cubicBezTo>
                  <a:cubicBezTo>
                    <a:pt x="126252" y="102177"/>
                    <a:pt x="100760" y="126252"/>
                    <a:pt x="71021" y="126252"/>
                  </a:cubicBezTo>
                  <a:cubicBezTo>
                    <a:pt x="39864" y="126252"/>
                    <a:pt x="15789" y="100760"/>
                    <a:pt x="15789" y="71020"/>
                  </a:cubicBezTo>
                  <a:cubicBezTo>
                    <a:pt x="15789" y="41280"/>
                    <a:pt x="39864" y="15789"/>
                    <a:pt x="71021" y="15789"/>
                  </a:cubicBezTo>
                  <a:lnTo>
                    <a:pt x="71021" y="15789"/>
                  </a:lnTo>
                  <a:close/>
                  <a:moveTo>
                    <a:pt x="71021" y="25702"/>
                  </a:moveTo>
                  <a:cubicBezTo>
                    <a:pt x="45529" y="25702"/>
                    <a:pt x="25703" y="45529"/>
                    <a:pt x="25703" y="71020"/>
                  </a:cubicBezTo>
                  <a:cubicBezTo>
                    <a:pt x="25703" y="96512"/>
                    <a:pt x="45529" y="116339"/>
                    <a:pt x="71021" y="116339"/>
                  </a:cubicBezTo>
                  <a:cubicBezTo>
                    <a:pt x="96512" y="116339"/>
                    <a:pt x="116338" y="96512"/>
                    <a:pt x="116338" y="71020"/>
                  </a:cubicBezTo>
                  <a:cubicBezTo>
                    <a:pt x="116338" y="46945"/>
                    <a:pt x="96512" y="25702"/>
                    <a:pt x="71021" y="2570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73" name="Freeform: Shape 972">
              <a:extLst>
                <a:ext uri="{FF2B5EF4-FFF2-40B4-BE49-F238E27FC236}">
                  <a16:creationId xmlns:a16="http://schemas.microsoft.com/office/drawing/2014/main" id="{C8F6C25D-DDE9-4216-8751-76F39B040F49}"/>
                </a:ext>
              </a:extLst>
            </p:cNvPr>
            <p:cNvSpPr/>
            <p:nvPr/>
          </p:nvSpPr>
          <p:spPr>
            <a:xfrm>
              <a:off x="11153009" y="1501353"/>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5789" y="37032"/>
                    <a:pt x="21453" y="44113"/>
                    <a:pt x="29951"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74" name="Freeform: Shape 973">
              <a:extLst>
                <a:ext uri="{FF2B5EF4-FFF2-40B4-BE49-F238E27FC236}">
                  <a16:creationId xmlns:a16="http://schemas.microsoft.com/office/drawing/2014/main" id="{1483EFED-176E-422D-8826-34CDC34D29E2}"/>
                </a:ext>
              </a:extLst>
            </p:cNvPr>
            <p:cNvSpPr/>
            <p:nvPr/>
          </p:nvSpPr>
          <p:spPr>
            <a:xfrm>
              <a:off x="10743729" y="1504186"/>
              <a:ext cx="99133" cy="99133"/>
            </a:xfrm>
            <a:custGeom>
              <a:avLst/>
              <a:gdLst>
                <a:gd name="connsiteX0" fmla="*/ 49778 w 99133"/>
                <a:gd name="connsiteY0" fmla="*/ 83766 h 99133"/>
                <a:gd name="connsiteX1" fmla="*/ 83766 w 99133"/>
                <a:gd name="connsiteY1" fmla="*/ 49778 h 99133"/>
                <a:gd name="connsiteX2" fmla="*/ 49778 w 99133"/>
                <a:gd name="connsiteY2" fmla="*/ 15789 h 99133"/>
                <a:gd name="connsiteX3" fmla="*/ 15789 w 99133"/>
                <a:gd name="connsiteY3" fmla="*/ 49778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8"/>
                  </a:cubicBezTo>
                  <a:cubicBezTo>
                    <a:pt x="83766" y="31367"/>
                    <a:pt x="68188" y="15789"/>
                    <a:pt x="49778" y="15789"/>
                  </a:cubicBezTo>
                  <a:cubicBezTo>
                    <a:pt x="31368" y="15789"/>
                    <a:pt x="15789" y="31367"/>
                    <a:pt x="15789" y="49778"/>
                  </a:cubicBezTo>
                  <a:cubicBezTo>
                    <a:pt x="15789" y="69604"/>
                    <a:pt x="31368" y="83766"/>
                    <a:pt x="49778" y="8376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75" name="Freeform: Shape 974">
              <a:extLst>
                <a:ext uri="{FF2B5EF4-FFF2-40B4-BE49-F238E27FC236}">
                  <a16:creationId xmlns:a16="http://schemas.microsoft.com/office/drawing/2014/main" id="{E230F1C3-B4A0-4557-9FBD-17CC43D67103}"/>
                </a:ext>
              </a:extLst>
            </p:cNvPr>
            <p:cNvSpPr/>
            <p:nvPr/>
          </p:nvSpPr>
          <p:spPr>
            <a:xfrm>
              <a:off x="9959160" y="1787424"/>
              <a:ext cx="84971" cy="84971"/>
            </a:xfrm>
            <a:custGeom>
              <a:avLst/>
              <a:gdLst>
                <a:gd name="connsiteX0" fmla="*/ 48361 w 84971"/>
                <a:gd name="connsiteY0" fmla="*/ 80934 h 84971"/>
                <a:gd name="connsiteX1" fmla="*/ 80933 w 84971"/>
                <a:gd name="connsiteY1" fmla="*/ 48361 h 84971"/>
                <a:gd name="connsiteX2" fmla="*/ 48361 w 84971"/>
                <a:gd name="connsiteY2" fmla="*/ 15789 h 84971"/>
                <a:gd name="connsiteX3" fmla="*/ 15789 w 84971"/>
                <a:gd name="connsiteY3" fmla="*/ 48361 h 84971"/>
                <a:gd name="connsiteX4" fmla="*/ 48361 w 84971"/>
                <a:gd name="connsiteY4" fmla="*/ 8093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8361" y="80934"/>
                  </a:moveTo>
                  <a:cubicBezTo>
                    <a:pt x="66772" y="80934"/>
                    <a:pt x="80933" y="66772"/>
                    <a:pt x="80933" y="48361"/>
                  </a:cubicBezTo>
                  <a:cubicBezTo>
                    <a:pt x="80933" y="29951"/>
                    <a:pt x="66772" y="15789"/>
                    <a:pt x="48361" y="15789"/>
                  </a:cubicBezTo>
                  <a:cubicBezTo>
                    <a:pt x="29951" y="15789"/>
                    <a:pt x="15789" y="29951"/>
                    <a:pt x="15789" y="48361"/>
                  </a:cubicBezTo>
                  <a:cubicBezTo>
                    <a:pt x="15789" y="65356"/>
                    <a:pt x="31367" y="80934"/>
                    <a:pt x="48361" y="8093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76" name="Freeform: Shape 975">
              <a:extLst>
                <a:ext uri="{FF2B5EF4-FFF2-40B4-BE49-F238E27FC236}">
                  <a16:creationId xmlns:a16="http://schemas.microsoft.com/office/drawing/2014/main" id="{95953F7F-7E63-46FD-B740-83ADF87A125E}"/>
                </a:ext>
              </a:extLst>
            </p:cNvPr>
            <p:cNvSpPr/>
            <p:nvPr/>
          </p:nvSpPr>
          <p:spPr>
            <a:xfrm>
              <a:off x="10954742" y="1211034"/>
              <a:ext cx="84971" cy="84971"/>
            </a:xfrm>
            <a:custGeom>
              <a:avLst/>
              <a:gdLst>
                <a:gd name="connsiteX0" fmla="*/ 72437 w 84971"/>
                <a:gd name="connsiteY0" fmla="*/ 44113 h 84971"/>
                <a:gd name="connsiteX1" fmla="*/ 44113 w 84971"/>
                <a:gd name="connsiteY1" fmla="*/ 72437 h 84971"/>
                <a:gd name="connsiteX2" fmla="*/ 15789 w 84971"/>
                <a:gd name="connsiteY2" fmla="*/ 44113 h 84971"/>
                <a:gd name="connsiteX3" fmla="*/ 44113 w 84971"/>
                <a:gd name="connsiteY3" fmla="*/ 15789 h 84971"/>
                <a:gd name="connsiteX4" fmla="*/ 72437 w 84971"/>
                <a:gd name="connsiteY4" fmla="*/ 44113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72437" y="44113"/>
                  </a:moveTo>
                  <a:cubicBezTo>
                    <a:pt x="72437" y="59756"/>
                    <a:pt x="59756" y="72437"/>
                    <a:pt x="44113" y="72437"/>
                  </a:cubicBezTo>
                  <a:cubicBezTo>
                    <a:pt x="28470" y="72437"/>
                    <a:pt x="15789" y="59756"/>
                    <a:pt x="15789" y="44113"/>
                  </a:cubicBezTo>
                  <a:cubicBezTo>
                    <a:pt x="15789" y="28470"/>
                    <a:pt x="28470" y="15789"/>
                    <a:pt x="44113" y="15789"/>
                  </a:cubicBezTo>
                  <a:cubicBezTo>
                    <a:pt x="59756" y="15789"/>
                    <a:pt x="72437" y="28470"/>
                    <a:pt x="72437"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77" name="Freeform: Shape 976">
              <a:extLst>
                <a:ext uri="{FF2B5EF4-FFF2-40B4-BE49-F238E27FC236}">
                  <a16:creationId xmlns:a16="http://schemas.microsoft.com/office/drawing/2014/main" id="{6D38B982-E796-4E62-BFDE-1502C53C8B7B}"/>
                </a:ext>
              </a:extLst>
            </p:cNvPr>
            <p:cNvSpPr/>
            <p:nvPr/>
          </p:nvSpPr>
          <p:spPr>
            <a:xfrm>
              <a:off x="11048210" y="1348405"/>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30" y="55442"/>
                    <a:pt x="55442" y="46945"/>
                    <a:pt x="55442" y="35616"/>
                  </a:cubicBezTo>
                  <a:cubicBezTo>
                    <a:pt x="55442" y="25702"/>
                    <a:pt x="46945" y="15789"/>
                    <a:pt x="35616" y="15789"/>
                  </a:cubicBezTo>
                  <a:cubicBezTo>
                    <a:pt x="25703" y="15789"/>
                    <a:pt x="15789" y="24286"/>
                    <a:pt x="15789" y="35616"/>
                  </a:cubicBezTo>
                  <a:cubicBezTo>
                    <a:pt x="17206" y="46945"/>
                    <a:pt x="25703" y="55442"/>
                    <a:pt x="35616"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78" name="Freeform: Shape 977">
              <a:extLst>
                <a:ext uri="{FF2B5EF4-FFF2-40B4-BE49-F238E27FC236}">
                  <a16:creationId xmlns:a16="http://schemas.microsoft.com/office/drawing/2014/main" id="{485346FA-3BDD-4023-8BF7-B551AC16F53A}"/>
                </a:ext>
              </a:extLst>
            </p:cNvPr>
            <p:cNvSpPr/>
            <p:nvPr/>
          </p:nvSpPr>
          <p:spPr>
            <a:xfrm>
              <a:off x="9886933" y="1678377"/>
              <a:ext cx="113295" cy="113295"/>
            </a:xfrm>
            <a:custGeom>
              <a:avLst/>
              <a:gdLst>
                <a:gd name="connsiteX0" fmla="*/ 61107 w 113295"/>
                <a:gd name="connsiteY0" fmla="*/ 15789 h 113295"/>
                <a:gd name="connsiteX1" fmla="*/ 106426 w 113295"/>
                <a:gd name="connsiteY1" fmla="*/ 61107 h 113295"/>
                <a:gd name="connsiteX2" fmla="*/ 61107 w 113295"/>
                <a:gd name="connsiteY2" fmla="*/ 106425 h 113295"/>
                <a:gd name="connsiteX3" fmla="*/ 15789 w 113295"/>
                <a:gd name="connsiteY3" fmla="*/ 61107 h 113295"/>
                <a:gd name="connsiteX4" fmla="*/ 61107 w 113295"/>
                <a:gd name="connsiteY4" fmla="*/ 15789 h 113295"/>
                <a:gd name="connsiteX5" fmla="*/ 61107 w 113295"/>
                <a:gd name="connsiteY5" fmla="*/ 15789 h 113295"/>
                <a:gd name="connsiteX6" fmla="*/ 61107 w 113295"/>
                <a:gd name="connsiteY6" fmla="*/ 35616 h 113295"/>
                <a:gd name="connsiteX7" fmla="*/ 35616 w 113295"/>
                <a:gd name="connsiteY7" fmla="*/ 61107 h 113295"/>
                <a:gd name="connsiteX8" fmla="*/ 61107 w 113295"/>
                <a:gd name="connsiteY8" fmla="*/ 86599 h 113295"/>
                <a:gd name="connsiteX9" fmla="*/ 86599 w 113295"/>
                <a:gd name="connsiteY9" fmla="*/ 61107 h 113295"/>
                <a:gd name="connsiteX10" fmla="*/ 61107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07" y="15789"/>
                  </a:moveTo>
                  <a:cubicBezTo>
                    <a:pt x="86599" y="15789"/>
                    <a:pt x="106426" y="35616"/>
                    <a:pt x="106426" y="61107"/>
                  </a:cubicBezTo>
                  <a:cubicBezTo>
                    <a:pt x="106426" y="86599"/>
                    <a:pt x="86599" y="106425"/>
                    <a:pt x="61107" y="106425"/>
                  </a:cubicBezTo>
                  <a:cubicBezTo>
                    <a:pt x="35616" y="106425"/>
                    <a:pt x="15789" y="86599"/>
                    <a:pt x="15789" y="61107"/>
                  </a:cubicBezTo>
                  <a:cubicBezTo>
                    <a:pt x="15789" y="35616"/>
                    <a:pt x="35616" y="15789"/>
                    <a:pt x="61107" y="15789"/>
                  </a:cubicBezTo>
                  <a:lnTo>
                    <a:pt x="61107" y="15789"/>
                  </a:lnTo>
                  <a:close/>
                  <a:moveTo>
                    <a:pt x="61107" y="35616"/>
                  </a:moveTo>
                  <a:cubicBezTo>
                    <a:pt x="46945" y="35616"/>
                    <a:pt x="35616" y="46945"/>
                    <a:pt x="35616" y="61107"/>
                  </a:cubicBezTo>
                  <a:cubicBezTo>
                    <a:pt x="35616" y="75269"/>
                    <a:pt x="46945" y="86599"/>
                    <a:pt x="61107" y="86599"/>
                  </a:cubicBezTo>
                  <a:cubicBezTo>
                    <a:pt x="75269" y="86599"/>
                    <a:pt x="86599" y="75269"/>
                    <a:pt x="86599" y="61107"/>
                  </a:cubicBezTo>
                  <a:cubicBezTo>
                    <a:pt x="86599" y="46945"/>
                    <a:pt x="75269" y="35616"/>
                    <a:pt x="61107"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79" name="Freeform: Shape 978">
              <a:extLst>
                <a:ext uri="{FF2B5EF4-FFF2-40B4-BE49-F238E27FC236}">
                  <a16:creationId xmlns:a16="http://schemas.microsoft.com/office/drawing/2014/main" id="{921DF92E-69E1-4B1A-98F4-D2DAD4D7732A}"/>
                </a:ext>
              </a:extLst>
            </p:cNvPr>
            <p:cNvSpPr/>
            <p:nvPr/>
          </p:nvSpPr>
          <p:spPr>
            <a:xfrm>
              <a:off x="10892429" y="1461700"/>
              <a:ext cx="84971" cy="84971"/>
            </a:xfrm>
            <a:custGeom>
              <a:avLst/>
              <a:gdLst>
                <a:gd name="connsiteX0" fmla="*/ 48361 w 84971"/>
                <a:gd name="connsiteY0" fmla="*/ 80934 h 84971"/>
                <a:gd name="connsiteX1" fmla="*/ 80934 w 84971"/>
                <a:gd name="connsiteY1" fmla="*/ 48361 h 84971"/>
                <a:gd name="connsiteX2" fmla="*/ 48361 w 84971"/>
                <a:gd name="connsiteY2" fmla="*/ 15789 h 84971"/>
                <a:gd name="connsiteX3" fmla="*/ 15789 w 84971"/>
                <a:gd name="connsiteY3" fmla="*/ 48361 h 84971"/>
                <a:gd name="connsiteX4" fmla="*/ 48361 w 84971"/>
                <a:gd name="connsiteY4" fmla="*/ 8093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8361" y="80934"/>
                  </a:moveTo>
                  <a:cubicBezTo>
                    <a:pt x="66772" y="80934"/>
                    <a:pt x="80934" y="66772"/>
                    <a:pt x="80934" y="48361"/>
                  </a:cubicBezTo>
                  <a:cubicBezTo>
                    <a:pt x="80934" y="29951"/>
                    <a:pt x="66772" y="15789"/>
                    <a:pt x="48361" y="15789"/>
                  </a:cubicBezTo>
                  <a:cubicBezTo>
                    <a:pt x="29951" y="15789"/>
                    <a:pt x="15789" y="29951"/>
                    <a:pt x="15789" y="48361"/>
                  </a:cubicBezTo>
                  <a:cubicBezTo>
                    <a:pt x="15789" y="66772"/>
                    <a:pt x="31368" y="80934"/>
                    <a:pt x="48361" y="8093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80" name="Freeform: Shape 979">
              <a:extLst>
                <a:ext uri="{FF2B5EF4-FFF2-40B4-BE49-F238E27FC236}">
                  <a16:creationId xmlns:a16="http://schemas.microsoft.com/office/drawing/2014/main" id="{33FA03EC-529F-4E87-9695-BFE4D6622390}"/>
                </a:ext>
              </a:extLst>
            </p:cNvPr>
            <p:cNvSpPr/>
            <p:nvPr/>
          </p:nvSpPr>
          <p:spPr>
            <a:xfrm>
              <a:off x="10685666" y="1354070"/>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5789" y="38448"/>
                    <a:pt x="21453" y="44113"/>
                    <a:pt x="29951"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81" name="Freeform: Shape 980">
              <a:extLst>
                <a:ext uri="{FF2B5EF4-FFF2-40B4-BE49-F238E27FC236}">
                  <a16:creationId xmlns:a16="http://schemas.microsoft.com/office/drawing/2014/main" id="{ADB4ED15-7A99-4B79-86BE-E3302BCAA240}"/>
                </a:ext>
              </a:extLst>
            </p:cNvPr>
            <p:cNvSpPr/>
            <p:nvPr/>
          </p:nvSpPr>
          <p:spPr>
            <a:xfrm>
              <a:off x="10542630" y="1841239"/>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9" y="15789"/>
                    <a:pt x="29951" y="15789"/>
                  </a:cubicBezTo>
                  <a:cubicBezTo>
                    <a:pt x="21454" y="15789"/>
                    <a:pt x="15789" y="21454"/>
                    <a:pt x="15789" y="29951"/>
                  </a:cubicBezTo>
                  <a:cubicBezTo>
                    <a:pt x="15789" y="37032"/>
                    <a:pt x="22870" y="44113"/>
                    <a:pt x="29951"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82" name="Freeform: Shape 981">
              <a:extLst>
                <a:ext uri="{FF2B5EF4-FFF2-40B4-BE49-F238E27FC236}">
                  <a16:creationId xmlns:a16="http://schemas.microsoft.com/office/drawing/2014/main" id="{DA85733A-64DA-4CB6-94AC-988EA42EDA1E}"/>
                </a:ext>
              </a:extLst>
            </p:cNvPr>
            <p:cNvSpPr/>
            <p:nvPr/>
          </p:nvSpPr>
          <p:spPr>
            <a:xfrm>
              <a:off x="10502976" y="2117396"/>
              <a:ext cx="84971" cy="84971"/>
            </a:xfrm>
            <a:custGeom>
              <a:avLst/>
              <a:gdLst>
                <a:gd name="connsiteX0" fmla="*/ 44113 w 84971"/>
                <a:gd name="connsiteY0" fmla="*/ 71020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1020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1020"/>
                  </a:moveTo>
                  <a:cubicBezTo>
                    <a:pt x="59691" y="71020"/>
                    <a:pt x="72437" y="58275"/>
                    <a:pt x="72437" y="44113"/>
                  </a:cubicBezTo>
                  <a:cubicBezTo>
                    <a:pt x="72437" y="28535"/>
                    <a:pt x="59691" y="15789"/>
                    <a:pt x="44113" y="15789"/>
                  </a:cubicBezTo>
                  <a:cubicBezTo>
                    <a:pt x="28535" y="15789"/>
                    <a:pt x="15789" y="28535"/>
                    <a:pt x="15789" y="44113"/>
                  </a:cubicBezTo>
                  <a:cubicBezTo>
                    <a:pt x="17206" y="58275"/>
                    <a:pt x="29951" y="71020"/>
                    <a:pt x="44113" y="7102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83" name="Freeform: Shape 982">
              <a:extLst>
                <a:ext uri="{FF2B5EF4-FFF2-40B4-BE49-F238E27FC236}">
                  <a16:creationId xmlns:a16="http://schemas.microsoft.com/office/drawing/2014/main" id="{D55C5F11-3298-44FE-B766-9E0C35F88AAF}"/>
                </a:ext>
              </a:extLst>
            </p:cNvPr>
            <p:cNvSpPr/>
            <p:nvPr/>
          </p:nvSpPr>
          <p:spPr>
            <a:xfrm>
              <a:off x="10609191" y="1957367"/>
              <a:ext cx="70810" cy="70810"/>
            </a:xfrm>
            <a:custGeom>
              <a:avLst/>
              <a:gdLst>
                <a:gd name="connsiteX0" fmla="*/ 38449 w 70809"/>
                <a:gd name="connsiteY0" fmla="*/ 15789 h 70809"/>
                <a:gd name="connsiteX1" fmla="*/ 61107 w 70809"/>
                <a:gd name="connsiteY1" fmla="*/ 38448 h 70809"/>
                <a:gd name="connsiteX2" fmla="*/ 38449 w 70809"/>
                <a:gd name="connsiteY2" fmla="*/ 61107 h 70809"/>
                <a:gd name="connsiteX3" fmla="*/ 15789 w 70809"/>
                <a:gd name="connsiteY3" fmla="*/ 38448 h 70809"/>
                <a:gd name="connsiteX4" fmla="*/ 38449 w 70809"/>
                <a:gd name="connsiteY4" fmla="*/ 15789 h 70809"/>
                <a:gd name="connsiteX5" fmla="*/ 38449 w 70809"/>
                <a:gd name="connsiteY5" fmla="*/ 15789 h 70809"/>
                <a:gd name="connsiteX6" fmla="*/ 38449 w 70809"/>
                <a:gd name="connsiteY6" fmla="*/ 25702 h 70809"/>
                <a:gd name="connsiteX7" fmla="*/ 25703 w 70809"/>
                <a:gd name="connsiteY7" fmla="*/ 38448 h 70809"/>
                <a:gd name="connsiteX8" fmla="*/ 38449 w 70809"/>
                <a:gd name="connsiteY8" fmla="*/ 51194 h 70809"/>
                <a:gd name="connsiteX9" fmla="*/ 51194 w 70809"/>
                <a:gd name="connsiteY9" fmla="*/ 38448 h 70809"/>
                <a:gd name="connsiteX10" fmla="*/ 38449 w 70809"/>
                <a:gd name="connsiteY10" fmla="*/ 25702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38449" y="15789"/>
                  </a:moveTo>
                  <a:cubicBezTo>
                    <a:pt x="51194" y="15789"/>
                    <a:pt x="61107" y="25702"/>
                    <a:pt x="61107" y="38448"/>
                  </a:cubicBezTo>
                  <a:cubicBezTo>
                    <a:pt x="61107" y="51194"/>
                    <a:pt x="51194" y="61107"/>
                    <a:pt x="38449" y="61107"/>
                  </a:cubicBezTo>
                  <a:cubicBezTo>
                    <a:pt x="25703" y="61107"/>
                    <a:pt x="15789" y="51194"/>
                    <a:pt x="15789" y="38448"/>
                  </a:cubicBezTo>
                  <a:cubicBezTo>
                    <a:pt x="15789" y="25702"/>
                    <a:pt x="25703" y="15789"/>
                    <a:pt x="38449" y="15789"/>
                  </a:cubicBezTo>
                  <a:lnTo>
                    <a:pt x="38449" y="15789"/>
                  </a:lnTo>
                  <a:close/>
                  <a:moveTo>
                    <a:pt x="38449" y="25702"/>
                  </a:moveTo>
                  <a:cubicBezTo>
                    <a:pt x="31368" y="25702"/>
                    <a:pt x="25703" y="31367"/>
                    <a:pt x="25703" y="38448"/>
                  </a:cubicBezTo>
                  <a:cubicBezTo>
                    <a:pt x="25703" y="45529"/>
                    <a:pt x="31368" y="51194"/>
                    <a:pt x="38449" y="51194"/>
                  </a:cubicBezTo>
                  <a:cubicBezTo>
                    <a:pt x="45530" y="51194"/>
                    <a:pt x="51194" y="45529"/>
                    <a:pt x="51194" y="38448"/>
                  </a:cubicBezTo>
                  <a:cubicBezTo>
                    <a:pt x="51194" y="31367"/>
                    <a:pt x="45530" y="25702"/>
                    <a:pt x="38449" y="2570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84" name="Freeform: Shape 983">
              <a:extLst>
                <a:ext uri="{FF2B5EF4-FFF2-40B4-BE49-F238E27FC236}">
                  <a16:creationId xmlns:a16="http://schemas.microsoft.com/office/drawing/2014/main" id="{F4BF30CF-8F90-4BE1-89C6-992BC855BA16}"/>
                </a:ext>
              </a:extLst>
            </p:cNvPr>
            <p:cNvSpPr/>
            <p:nvPr/>
          </p:nvSpPr>
          <p:spPr>
            <a:xfrm>
              <a:off x="10651677" y="1766181"/>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9" y="15789"/>
                    <a:pt x="29951" y="15789"/>
                  </a:cubicBezTo>
                  <a:cubicBezTo>
                    <a:pt x="22870" y="15789"/>
                    <a:pt x="15789" y="21454"/>
                    <a:pt x="15789" y="29951"/>
                  </a:cubicBezTo>
                  <a:cubicBezTo>
                    <a:pt x="15789" y="38448"/>
                    <a:pt x="21454" y="44113"/>
                    <a:pt x="29951"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85" name="Freeform: Shape 984">
              <a:extLst>
                <a:ext uri="{FF2B5EF4-FFF2-40B4-BE49-F238E27FC236}">
                  <a16:creationId xmlns:a16="http://schemas.microsoft.com/office/drawing/2014/main" id="{7B550305-0DDB-4813-8B89-03A8D893A31B}"/>
                </a:ext>
              </a:extLst>
            </p:cNvPr>
            <p:cNvSpPr/>
            <p:nvPr/>
          </p:nvSpPr>
          <p:spPr>
            <a:xfrm>
              <a:off x="10763556" y="1659967"/>
              <a:ext cx="84971" cy="84971"/>
            </a:xfrm>
            <a:custGeom>
              <a:avLst/>
              <a:gdLst>
                <a:gd name="connsiteX0" fmla="*/ 46945 w 84971"/>
                <a:gd name="connsiteY0" fmla="*/ 79518 h 84971"/>
                <a:gd name="connsiteX1" fmla="*/ 78101 w 84971"/>
                <a:gd name="connsiteY1" fmla="*/ 48361 h 84971"/>
                <a:gd name="connsiteX2" fmla="*/ 46945 w 84971"/>
                <a:gd name="connsiteY2" fmla="*/ 15789 h 84971"/>
                <a:gd name="connsiteX3" fmla="*/ 15789 w 84971"/>
                <a:gd name="connsiteY3" fmla="*/ 48361 h 84971"/>
                <a:gd name="connsiteX4" fmla="*/ 46945 w 84971"/>
                <a:gd name="connsiteY4" fmla="*/ 79518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6945" y="79518"/>
                  </a:moveTo>
                  <a:cubicBezTo>
                    <a:pt x="63939" y="79518"/>
                    <a:pt x="78101" y="65356"/>
                    <a:pt x="78101" y="48361"/>
                  </a:cubicBezTo>
                  <a:cubicBezTo>
                    <a:pt x="78101" y="31367"/>
                    <a:pt x="63939" y="15789"/>
                    <a:pt x="46945" y="15789"/>
                  </a:cubicBezTo>
                  <a:cubicBezTo>
                    <a:pt x="29951" y="15789"/>
                    <a:pt x="15789" y="29951"/>
                    <a:pt x="15789" y="48361"/>
                  </a:cubicBezTo>
                  <a:cubicBezTo>
                    <a:pt x="15789" y="66772"/>
                    <a:pt x="29951" y="79518"/>
                    <a:pt x="46945" y="7951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86" name="Freeform: Shape 985">
              <a:extLst>
                <a:ext uri="{FF2B5EF4-FFF2-40B4-BE49-F238E27FC236}">
                  <a16:creationId xmlns:a16="http://schemas.microsoft.com/office/drawing/2014/main" id="{4BA89490-6F50-45F8-8B95-1AC9A1F25116}"/>
                </a:ext>
              </a:extLst>
            </p:cNvPr>
            <p:cNvSpPr/>
            <p:nvPr/>
          </p:nvSpPr>
          <p:spPr>
            <a:xfrm>
              <a:off x="11304541" y="1446122"/>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1454"/>
                    <a:pt x="38448" y="15789"/>
                    <a:pt x="29951" y="15789"/>
                  </a:cubicBezTo>
                  <a:cubicBezTo>
                    <a:pt x="21453" y="15789"/>
                    <a:pt x="15789" y="21454"/>
                    <a:pt x="15789" y="29951"/>
                  </a:cubicBezTo>
                  <a:cubicBezTo>
                    <a:pt x="15789" y="38448"/>
                    <a:pt x="22870" y="44113"/>
                    <a:pt x="29951"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87" name="Freeform: Shape 986">
              <a:extLst>
                <a:ext uri="{FF2B5EF4-FFF2-40B4-BE49-F238E27FC236}">
                  <a16:creationId xmlns:a16="http://schemas.microsoft.com/office/drawing/2014/main" id="{270F5C41-DA9B-4F18-B73C-921548275B01}"/>
                </a:ext>
              </a:extLst>
            </p:cNvPr>
            <p:cNvSpPr/>
            <p:nvPr/>
          </p:nvSpPr>
          <p:spPr>
            <a:xfrm>
              <a:off x="10481734" y="1499937"/>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4287"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88" name="Freeform: Shape 987">
              <a:extLst>
                <a:ext uri="{FF2B5EF4-FFF2-40B4-BE49-F238E27FC236}">
                  <a16:creationId xmlns:a16="http://schemas.microsoft.com/office/drawing/2014/main" id="{FEA3B9D9-B6BB-431A-95E9-B302D282B6A9}"/>
                </a:ext>
              </a:extLst>
            </p:cNvPr>
            <p:cNvSpPr/>
            <p:nvPr/>
          </p:nvSpPr>
          <p:spPr>
            <a:xfrm>
              <a:off x="10528468" y="1161468"/>
              <a:ext cx="127457" cy="127457"/>
            </a:xfrm>
            <a:custGeom>
              <a:avLst/>
              <a:gdLst>
                <a:gd name="connsiteX0" fmla="*/ 63940 w 127457"/>
                <a:gd name="connsiteY0" fmla="*/ 15789 h 127457"/>
                <a:gd name="connsiteX1" fmla="*/ 112091 w 127457"/>
                <a:gd name="connsiteY1" fmla="*/ 63940 h 127457"/>
                <a:gd name="connsiteX2" fmla="*/ 63940 w 127457"/>
                <a:gd name="connsiteY2" fmla="*/ 112090 h 127457"/>
                <a:gd name="connsiteX3" fmla="*/ 15789 w 127457"/>
                <a:gd name="connsiteY3" fmla="*/ 63940 h 127457"/>
                <a:gd name="connsiteX4" fmla="*/ 63940 w 127457"/>
                <a:gd name="connsiteY4" fmla="*/ 15789 h 127457"/>
                <a:gd name="connsiteX5" fmla="*/ 63940 w 127457"/>
                <a:gd name="connsiteY5" fmla="*/ 15789 h 127457"/>
                <a:gd name="connsiteX6" fmla="*/ 63940 w 127457"/>
                <a:gd name="connsiteY6" fmla="*/ 24286 h 127457"/>
                <a:gd name="connsiteX7" fmla="*/ 25703 w 127457"/>
                <a:gd name="connsiteY7" fmla="*/ 62523 h 127457"/>
                <a:gd name="connsiteX8" fmla="*/ 63940 w 127457"/>
                <a:gd name="connsiteY8" fmla="*/ 100760 h 127457"/>
                <a:gd name="connsiteX9" fmla="*/ 102177 w 127457"/>
                <a:gd name="connsiteY9" fmla="*/ 62523 h 127457"/>
                <a:gd name="connsiteX10" fmla="*/ 63940 w 127457"/>
                <a:gd name="connsiteY10" fmla="*/ 24286 h 12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457" h="127457">
                  <a:moveTo>
                    <a:pt x="63940" y="15789"/>
                  </a:moveTo>
                  <a:cubicBezTo>
                    <a:pt x="90848" y="15789"/>
                    <a:pt x="112091" y="37032"/>
                    <a:pt x="112091" y="63940"/>
                  </a:cubicBezTo>
                  <a:cubicBezTo>
                    <a:pt x="112091" y="90847"/>
                    <a:pt x="90848" y="112090"/>
                    <a:pt x="63940" y="112090"/>
                  </a:cubicBezTo>
                  <a:cubicBezTo>
                    <a:pt x="37032" y="112090"/>
                    <a:pt x="15789" y="90847"/>
                    <a:pt x="15789" y="63940"/>
                  </a:cubicBezTo>
                  <a:cubicBezTo>
                    <a:pt x="15789" y="37032"/>
                    <a:pt x="37032" y="15789"/>
                    <a:pt x="63940" y="15789"/>
                  </a:cubicBezTo>
                  <a:lnTo>
                    <a:pt x="63940" y="15789"/>
                  </a:lnTo>
                  <a:close/>
                  <a:moveTo>
                    <a:pt x="63940" y="24286"/>
                  </a:moveTo>
                  <a:cubicBezTo>
                    <a:pt x="42697" y="24286"/>
                    <a:pt x="25703" y="41280"/>
                    <a:pt x="25703" y="62523"/>
                  </a:cubicBezTo>
                  <a:cubicBezTo>
                    <a:pt x="25703" y="83766"/>
                    <a:pt x="42697" y="100760"/>
                    <a:pt x="63940" y="100760"/>
                  </a:cubicBezTo>
                  <a:cubicBezTo>
                    <a:pt x="85183" y="100760"/>
                    <a:pt x="102177" y="83766"/>
                    <a:pt x="102177" y="62523"/>
                  </a:cubicBezTo>
                  <a:cubicBezTo>
                    <a:pt x="102177" y="42697"/>
                    <a:pt x="85183" y="24286"/>
                    <a:pt x="63940" y="2428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89" name="Freeform: Shape 988">
              <a:extLst>
                <a:ext uri="{FF2B5EF4-FFF2-40B4-BE49-F238E27FC236}">
                  <a16:creationId xmlns:a16="http://schemas.microsoft.com/office/drawing/2014/main" id="{7A712B3B-FC57-4BD1-A89F-B19843F30657}"/>
                </a:ext>
              </a:extLst>
            </p:cNvPr>
            <p:cNvSpPr/>
            <p:nvPr/>
          </p:nvSpPr>
          <p:spPr>
            <a:xfrm>
              <a:off x="10265057" y="1407885"/>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8101"/>
                    <a:pt x="95095" y="55442"/>
                  </a:cubicBezTo>
                  <a:cubicBezTo>
                    <a:pt x="95095" y="34199"/>
                    <a:pt x="78102" y="15789"/>
                    <a:pt x="55442" y="15789"/>
                  </a:cubicBezTo>
                  <a:cubicBezTo>
                    <a:pt x="34199" y="15789"/>
                    <a:pt x="15789" y="32783"/>
                    <a:pt x="15789" y="55442"/>
                  </a:cubicBezTo>
                  <a:cubicBezTo>
                    <a:pt x="15789" y="78101"/>
                    <a:pt x="34199" y="95096"/>
                    <a:pt x="55442" y="9509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90" name="Freeform: Shape 989">
              <a:extLst>
                <a:ext uri="{FF2B5EF4-FFF2-40B4-BE49-F238E27FC236}">
                  <a16:creationId xmlns:a16="http://schemas.microsoft.com/office/drawing/2014/main" id="{9E4F081F-D2F6-4E59-BE2C-4EFE4C57B3D1}"/>
                </a:ext>
              </a:extLst>
            </p:cNvPr>
            <p:cNvSpPr/>
            <p:nvPr/>
          </p:nvSpPr>
          <p:spPr>
            <a:xfrm>
              <a:off x="10398179" y="1317249"/>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2" y="15789"/>
                    <a:pt x="15789" y="25702"/>
                    <a:pt x="15789" y="37032"/>
                  </a:cubicBezTo>
                  <a:cubicBezTo>
                    <a:pt x="15789" y="48361"/>
                    <a:pt x="25702" y="58275"/>
                    <a:pt x="37032" y="5827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91" name="Freeform: Shape 990">
              <a:extLst>
                <a:ext uri="{FF2B5EF4-FFF2-40B4-BE49-F238E27FC236}">
                  <a16:creationId xmlns:a16="http://schemas.microsoft.com/office/drawing/2014/main" id="{FBD21DEF-52A3-4973-A99E-1D3FEED39450}"/>
                </a:ext>
              </a:extLst>
            </p:cNvPr>
            <p:cNvSpPr/>
            <p:nvPr/>
          </p:nvSpPr>
          <p:spPr>
            <a:xfrm>
              <a:off x="10834366" y="1237942"/>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1453" y="15789"/>
                    <a:pt x="15789" y="21454"/>
                    <a:pt x="15789" y="29951"/>
                  </a:cubicBezTo>
                  <a:cubicBezTo>
                    <a:pt x="15789" y="38448"/>
                    <a:pt x="21453" y="44113"/>
                    <a:pt x="29951"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92" name="Freeform: Shape 991">
              <a:extLst>
                <a:ext uri="{FF2B5EF4-FFF2-40B4-BE49-F238E27FC236}">
                  <a16:creationId xmlns:a16="http://schemas.microsoft.com/office/drawing/2014/main" id="{5F30CCC6-E17B-4618-8AFC-269A60C1882F}"/>
                </a:ext>
              </a:extLst>
            </p:cNvPr>
            <p:cNvSpPr/>
            <p:nvPr/>
          </p:nvSpPr>
          <p:spPr>
            <a:xfrm>
              <a:off x="8494817" y="1665632"/>
              <a:ext cx="155781" cy="15578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93" name="Freeform: Shape 992">
              <a:extLst>
                <a:ext uri="{FF2B5EF4-FFF2-40B4-BE49-F238E27FC236}">
                  <a16:creationId xmlns:a16="http://schemas.microsoft.com/office/drawing/2014/main" id="{D37A1194-0EC7-4DA9-866C-5DEC9C9BB808}"/>
                </a:ext>
              </a:extLst>
            </p:cNvPr>
            <p:cNvSpPr/>
            <p:nvPr/>
          </p:nvSpPr>
          <p:spPr>
            <a:xfrm>
              <a:off x="9633435" y="1313000"/>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8101"/>
                    <a:pt x="95095" y="55442"/>
                  </a:cubicBezTo>
                  <a:cubicBezTo>
                    <a:pt x="95095" y="34200"/>
                    <a:pt x="78101" y="15789"/>
                    <a:pt x="55442" y="15789"/>
                  </a:cubicBezTo>
                  <a:cubicBezTo>
                    <a:pt x="34199" y="15789"/>
                    <a:pt x="15789" y="32783"/>
                    <a:pt x="15789" y="55442"/>
                  </a:cubicBezTo>
                  <a:cubicBezTo>
                    <a:pt x="15789" y="78101"/>
                    <a:pt x="34199" y="95096"/>
                    <a:pt x="55442" y="9509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94" name="Freeform: Shape 993">
              <a:extLst>
                <a:ext uri="{FF2B5EF4-FFF2-40B4-BE49-F238E27FC236}">
                  <a16:creationId xmlns:a16="http://schemas.microsoft.com/office/drawing/2014/main" id="{F931DCAE-BB7B-4EC8-8A90-DD588C9F174A}"/>
                </a:ext>
              </a:extLst>
            </p:cNvPr>
            <p:cNvSpPr/>
            <p:nvPr/>
          </p:nvSpPr>
          <p:spPr>
            <a:xfrm>
              <a:off x="9403964" y="2080575"/>
              <a:ext cx="155781" cy="155781"/>
            </a:xfrm>
            <a:custGeom>
              <a:avLst/>
              <a:gdLst>
                <a:gd name="connsiteX0" fmla="*/ 80982 w 155781"/>
                <a:gd name="connsiteY0" fmla="*/ 15789 h 155780"/>
                <a:gd name="connsiteX1" fmla="*/ 146127 w 155781"/>
                <a:gd name="connsiteY1" fmla="*/ 80934 h 155780"/>
                <a:gd name="connsiteX2" fmla="*/ 80982 w 155781"/>
                <a:gd name="connsiteY2" fmla="*/ 146079 h 155780"/>
                <a:gd name="connsiteX3" fmla="*/ 15838 w 155781"/>
                <a:gd name="connsiteY3" fmla="*/ 80934 h 155780"/>
                <a:gd name="connsiteX4" fmla="*/ 80982 w 155781"/>
                <a:gd name="connsiteY4" fmla="*/ 15789 h 155780"/>
                <a:gd name="connsiteX5" fmla="*/ 80982 w 155781"/>
                <a:gd name="connsiteY5" fmla="*/ 15789 h 155780"/>
                <a:gd name="connsiteX6" fmla="*/ 80982 w 155781"/>
                <a:gd name="connsiteY6" fmla="*/ 44113 h 155780"/>
                <a:gd name="connsiteX7" fmla="*/ 44161 w 155781"/>
                <a:gd name="connsiteY7" fmla="*/ 80934 h 155780"/>
                <a:gd name="connsiteX8" fmla="*/ 80982 w 155781"/>
                <a:gd name="connsiteY8" fmla="*/ 117755 h 155780"/>
                <a:gd name="connsiteX9" fmla="*/ 117804 w 155781"/>
                <a:gd name="connsiteY9" fmla="*/ 80934 h 155780"/>
                <a:gd name="connsiteX10" fmla="*/ 80982 w 155781"/>
                <a:gd name="connsiteY10" fmla="*/ 44113 h 155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781" h="155780">
                  <a:moveTo>
                    <a:pt x="80982" y="15789"/>
                  </a:moveTo>
                  <a:cubicBezTo>
                    <a:pt x="117804" y="15789"/>
                    <a:pt x="146127" y="45529"/>
                    <a:pt x="146127" y="80934"/>
                  </a:cubicBezTo>
                  <a:cubicBezTo>
                    <a:pt x="146127" y="117755"/>
                    <a:pt x="116387" y="146079"/>
                    <a:pt x="80982" y="146079"/>
                  </a:cubicBezTo>
                  <a:cubicBezTo>
                    <a:pt x="44161" y="146079"/>
                    <a:pt x="15838" y="116339"/>
                    <a:pt x="15838" y="80934"/>
                  </a:cubicBezTo>
                  <a:cubicBezTo>
                    <a:pt x="14421" y="45529"/>
                    <a:pt x="44161" y="15789"/>
                    <a:pt x="80982" y="15789"/>
                  </a:cubicBezTo>
                  <a:lnTo>
                    <a:pt x="80982" y="15789"/>
                  </a:lnTo>
                  <a:close/>
                  <a:moveTo>
                    <a:pt x="80982" y="44113"/>
                  </a:moveTo>
                  <a:cubicBezTo>
                    <a:pt x="61156" y="44113"/>
                    <a:pt x="44161" y="61107"/>
                    <a:pt x="44161" y="80934"/>
                  </a:cubicBezTo>
                  <a:cubicBezTo>
                    <a:pt x="44161" y="100760"/>
                    <a:pt x="61156" y="117755"/>
                    <a:pt x="80982" y="117755"/>
                  </a:cubicBezTo>
                  <a:cubicBezTo>
                    <a:pt x="100809" y="117755"/>
                    <a:pt x="117804" y="100760"/>
                    <a:pt x="117804" y="80934"/>
                  </a:cubicBezTo>
                  <a:cubicBezTo>
                    <a:pt x="117804" y="61107"/>
                    <a:pt x="100809" y="44113"/>
                    <a:pt x="80982"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95" name="Freeform: Shape 994">
              <a:extLst>
                <a:ext uri="{FF2B5EF4-FFF2-40B4-BE49-F238E27FC236}">
                  <a16:creationId xmlns:a16="http://schemas.microsoft.com/office/drawing/2014/main" id="{38B0942E-5993-4508-BF93-478C83931DFA}"/>
                </a:ext>
              </a:extLst>
            </p:cNvPr>
            <p:cNvSpPr/>
            <p:nvPr/>
          </p:nvSpPr>
          <p:spPr>
            <a:xfrm>
              <a:off x="9412509" y="1192624"/>
              <a:ext cx="113295" cy="113295"/>
            </a:xfrm>
            <a:custGeom>
              <a:avLst/>
              <a:gdLst>
                <a:gd name="connsiteX0" fmla="*/ 61107 w 113295"/>
                <a:gd name="connsiteY0" fmla="*/ 15789 h 113295"/>
                <a:gd name="connsiteX1" fmla="*/ 106426 w 113295"/>
                <a:gd name="connsiteY1" fmla="*/ 61107 h 113295"/>
                <a:gd name="connsiteX2" fmla="*/ 61107 w 113295"/>
                <a:gd name="connsiteY2" fmla="*/ 106425 h 113295"/>
                <a:gd name="connsiteX3" fmla="*/ 15789 w 113295"/>
                <a:gd name="connsiteY3" fmla="*/ 61107 h 113295"/>
                <a:gd name="connsiteX4" fmla="*/ 61107 w 113295"/>
                <a:gd name="connsiteY4" fmla="*/ 15789 h 113295"/>
                <a:gd name="connsiteX5" fmla="*/ 61107 w 113295"/>
                <a:gd name="connsiteY5" fmla="*/ 15789 h 113295"/>
                <a:gd name="connsiteX6" fmla="*/ 61107 w 113295"/>
                <a:gd name="connsiteY6" fmla="*/ 35616 h 113295"/>
                <a:gd name="connsiteX7" fmla="*/ 35616 w 113295"/>
                <a:gd name="connsiteY7" fmla="*/ 61107 h 113295"/>
                <a:gd name="connsiteX8" fmla="*/ 61107 w 113295"/>
                <a:gd name="connsiteY8" fmla="*/ 86598 h 113295"/>
                <a:gd name="connsiteX9" fmla="*/ 86599 w 113295"/>
                <a:gd name="connsiteY9" fmla="*/ 61107 h 113295"/>
                <a:gd name="connsiteX10" fmla="*/ 61107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07" y="15789"/>
                  </a:moveTo>
                  <a:cubicBezTo>
                    <a:pt x="86599" y="15789"/>
                    <a:pt x="106426" y="35616"/>
                    <a:pt x="106426" y="61107"/>
                  </a:cubicBezTo>
                  <a:cubicBezTo>
                    <a:pt x="106426" y="86598"/>
                    <a:pt x="86599" y="106425"/>
                    <a:pt x="61107" y="106425"/>
                  </a:cubicBezTo>
                  <a:cubicBezTo>
                    <a:pt x="35616" y="106425"/>
                    <a:pt x="15789" y="86598"/>
                    <a:pt x="15789" y="61107"/>
                  </a:cubicBezTo>
                  <a:cubicBezTo>
                    <a:pt x="15789" y="35616"/>
                    <a:pt x="35616" y="15789"/>
                    <a:pt x="61107" y="15789"/>
                  </a:cubicBezTo>
                  <a:lnTo>
                    <a:pt x="61107" y="15789"/>
                  </a:lnTo>
                  <a:close/>
                  <a:moveTo>
                    <a:pt x="61107" y="35616"/>
                  </a:moveTo>
                  <a:cubicBezTo>
                    <a:pt x="46945" y="35616"/>
                    <a:pt x="35616" y="46945"/>
                    <a:pt x="35616" y="61107"/>
                  </a:cubicBezTo>
                  <a:cubicBezTo>
                    <a:pt x="35616" y="75269"/>
                    <a:pt x="46945" y="86598"/>
                    <a:pt x="61107" y="86598"/>
                  </a:cubicBezTo>
                  <a:cubicBezTo>
                    <a:pt x="75269" y="86598"/>
                    <a:pt x="86599" y="75269"/>
                    <a:pt x="86599" y="61107"/>
                  </a:cubicBezTo>
                  <a:cubicBezTo>
                    <a:pt x="86599" y="46945"/>
                    <a:pt x="75269" y="35616"/>
                    <a:pt x="61107"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96" name="Freeform: Shape 995">
              <a:extLst>
                <a:ext uri="{FF2B5EF4-FFF2-40B4-BE49-F238E27FC236}">
                  <a16:creationId xmlns:a16="http://schemas.microsoft.com/office/drawing/2014/main" id="{45CE3690-84CF-444F-98CE-2566BA476F3B}"/>
                </a:ext>
              </a:extLst>
            </p:cNvPr>
            <p:cNvSpPr/>
            <p:nvPr/>
          </p:nvSpPr>
          <p:spPr>
            <a:xfrm>
              <a:off x="8807795" y="2421877"/>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1" y="49777"/>
                    <a:pt x="49778" y="42697"/>
                    <a:pt x="49778" y="32783"/>
                  </a:cubicBezTo>
                  <a:cubicBezTo>
                    <a:pt x="49778" y="22870"/>
                    <a:pt x="42697" y="15789"/>
                    <a:pt x="32783" y="15789"/>
                  </a:cubicBezTo>
                  <a:cubicBezTo>
                    <a:pt x="24287" y="15789"/>
                    <a:pt x="15789" y="22870"/>
                    <a:pt x="15789" y="32783"/>
                  </a:cubicBezTo>
                  <a:cubicBezTo>
                    <a:pt x="15789" y="42697"/>
                    <a:pt x="24287" y="49777"/>
                    <a:pt x="32783"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97" name="Freeform: Shape 996">
              <a:extLst>
                <a:ext uri="{FF2B5EF4-FFF2-40B4-BE49-F238E27FC236}">
                  <a16:creationId xmlns:a16="http://schemas.microsoft.com/office/drawing/2014/main" id="{D7144EED-7769-4082-BD53-C1D0102E726B}"/>
                </a:ext>
              </a:extLst>
            </p:cNvPr>
            <p:cNvSpPr/>
            <p:nvPr/>
          </p:nvSpPr>
          <p:spPr>
            <a:xfrm>
              <a:off x="8950831" y="1263433"/>
              <a:ext cx="56648" cy="56648"/>
            </a:xfrm>
            <a:custGeom>
              <a:avLst/>
              <a:gdLst>
                <a:gd name="connsiteX0" fmla="*/ 32783 w 56647"/>
                <a:gd name="connsiteY0" fmla="*/ 49778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7" y="42697"/>
                    <a:pt x="49777" y="32783"/>
                  </a:cubicBezTo>
                  <a:cubicBezTo>
                    <a:pt x="49777" y="22870"/>
                    <a:pt x="42696"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98" name="Freeform: Shape 997">
              <a:extLst>
                <a:ext uri="{FF2B5EF4-FFF2-40B4-BE49-F238E27FC236}">
                  <a16:creationId xmlns:a16="http://schemas.microsoft.com/office/drawing/2014/main" id="{79F5AF8F-8413-4DBB-BEE9-0B1ECEE1A11E}"/>
                </a:ext>
              </a:extLst>
            </p:cNvPr>
            <p:cNvSpPr/>
            <p:nvPr/>
          </p:nvSpPr>
          <p:spPr>
            <a:xfrm>
              <a:off x="8384355" y="1051005"/>
              <a:ext cx="84971" cy="84971"/>
            </a:xfrm>
            <a:custGeom>
              <a:avLst/>
              <a:gdLst>
                <a:gd name="connsiteX0" fmla="*/ 48361 w 84971"/>
                <a:gd name="connsiteY0" fmla="*/ 80934 h 84971"/>
                <a:gd name="connsiteX1" fmla="*/ 80933 w 84971"/>
                <a:gd name="connsiteY1" fmla="*/ 48361 h 84971"/>
                <a:gd name="connsiteX2" fmla="*/ 48361 w 84971"/>
                <a:gd name="connsiteY2" fmla="*/ 15789 h 84971"/>
                <a:gd name="connsiteX3" fmla="*/ 15789 w 84971"/>
                <a:gd name="connsiteY3" fmla="*/ 48361 h 84971"/>
                <a:gd name="connsiteX4" fmla="*/ 48361 w 84971"/>
                <a:gd name="connsiteY4" fmla="*/ 8093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8361" y="80934"/>
                  </a:moveTo>
                  <a:cubicBezTo>
                    <a:pt x="66772" y="80934"/>
                    <a:pt x="80933" y="66772"/>
                    <a:pt x="80933" y="48361"/>
                  </a:cubicBezTo>
                  <a:cubicBezTo>
                    <a:pt x="80933" y="29951"/>
                    <a:pt x="66772" y="15789"/>
                    <a:pt x="48361" y="15789"/>
                  </a:cubicBezTo>
                  <a:cubicBezTo>
                    <a:pt x="29951" y="15789"/>
                    <a:pt x="15789" y="29951"/>
                    <a:pt x="15789" y="48361"/>
                  </a:cubicBezTo>
                  <a:cubicBezTo>
                    <a:pt x="15789" y="66772"/>
                    <a:pt x="29951" y="80934"/>
                    <a:pt x="48361" y="8093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999" name="Freeform: Shape 998">
              <a:extLst>
                <a:ext uri="{FF2B5EF4-FFF2-40B4-BE49-F238E27FC236}">
                  <a16:creationId xmlns:a16="http://schemas.microsoft.com/office/drawing/2014/main" id="{76FFD69C-C028-4127-8376-A70B72FDC9D2}"/>
                </a:ext>
              </a:extLst>
            </p:cNvPr>
            <p:cNvSpPr/>
            <p:nvPr/>
          </p:nvSpPr>
          <p:spPr>
            <a:xfrm>
              <a:off x="9694332" y="2498352"/>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3"/>
                    <a:pt x="48361" y="15789"/>
                    <a:pt x="37032" y="15789"/>
                  </a:cubicBezTo>
                  <a:cubicBezTo>
                    <a:pt x="25703" y="15789"/>
                    <a:pt x="15789" y="25703"/>
                    <a:pt x="15789" y="37032"/>
                  </a:cubicBezTo>
                  <a:cubicBezTo>
                    <a:pt x="15789" y="49778"/>
                    <a:pt x="25703" y="58275"/>
                    <a:pt x="37032" y="5827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000" name="Freeform: Shape 999">
              <a:extLst>
                <a:ext uri="{FF2B5EF4-FFF2-40B4-BE49-F238E27FC236}">
                  <a16:creationId xmlns:a16="http://schemas.microsoft.com/office/drawing/2014/main" id="{2A6D3FBA-D032-4264-8E9A-5B633C4784BD}"/>
                </a:ext>
              </a:extLst>
            </p:cNvPr>
            <p:cNvSpPr/>
            <p:nvPr/>
          </p:nvSpPr>
          <p:spPr>
            <a:xfrm>
              <a:off x="9868523" y="2375143"/>
              <a:ext cx="99133" cy="99133"/>
            </a:xfrm>
            <a:custGeom>
              <a:avLst/>
              <a:gdLst>
                <a:gd name="connsiteX0" fmla="*/ 49778 w 99133"/>
                <a:gd name="connsiteY0" fmla="*/ 83766 h 99133"/>
                <a:gd name="connsiteX1" fmla="*/ 83766 w 99133"/>
                <a:gd name="connsiteY1" fmla="*/ 49778 h 99133"/>
                <a:gd name="connsiteX2" fmla="*/ 49778 w 99133"/>
                <a:gd name="connsiteY2" fmla="*/ 15789 h 99133"/>
                <a:gd name="connsiteX3" fmla="*/ 15789 w 99133"/>
                <a:gd name="connsiteY3" fmla="*/ 49778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8"/>
                  </a:cubicBezTo>
                  <a:cubicBezTo>
                    <a:pt x="83766" y="31367"/>
                    <a:pt x="68188" y="15789"/>
                    <a:pt x="49778" y="15789"/>
                  </a:cubicBezTo>
                  <a:cubicBezTo>
                    <a:pt x="31367" y="15789"/>
                    <a:pt x="15789" y="31367"/>
                    <a:pt x="15789" y="49778"/>
                  </a:cubicBezTo>
                  <a:cubicBezTo>
                    <a:pt x="15789" y="69604"/>
                    <a:pt x="31367" y="83766"/>
                    <a:pt x="49778" y="8376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001" name="Freeform: Shape 1000">
              <a:extLst>
                <a:ext uri="{FF2B5EF4-FFF2-40B4-BE49-F238E27FC236}">
                  <a16:creationId xmlns:a16="http://schemas.microsoft.com/office/drawing/2014/main" id="{EDCC4D87-45AE-482B-8872-485BA5DCF862}"/>
                </a:ext>
              </a:extLst>
            </p:cNvPr>
            <p:cNvSpPr/>
            <p:nvPr/>
          </p:nvSpPr>
          <p:spPr>
            <a:xfrm>
              <a:off x="9923755" y="2870810"/>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5789" y="37032"/>
                    <a:pt x="21453" y="44113"/>
                    <a:pt x="29951"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002" name="Freeform: Shape 1001">
              <a:extLst>
                <a:ext uri="{FF2B5EF4-FFF2-40B4-BE49-F238E27FC236}">
                  <a16:creationId xmlns:a16="http://schemas.microsoft.com/office/drawing/2014/main" id="{02FB2557-F738-46C8-AECA-485235BD8CB9}"/>
                </a:ext>
              </a:extLst>
            </p:cNvPr>
            <p:cNvSpPr/>
            <p:nvPr/>
          </p:nvSpPr>
          <p:spPr>
            <a:xfrm>
              <a:off x="9983234" y="2675376"/>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4286"/>
                    <a:pt x="46945" y="15789"/>
                    <a:pt x="35616" y="15789"/>
                  </a:cubicBezTo>
                  <a:cubicBezTo>
                    <a:pt x="24287" y="15789"/>
                    <a:pt x="15789" y="24286"/>
                    <a:pt x="15789" y="35616"/>
                  </a:cubicBezTo>
                  <a:cubicBezTo>
                    <a:pt x="15789" y="46945"/>
                    <a:pt x="24287" y="55442"/>
                    <a:pt x="35616"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003" name="Freeform: Shape 1002">
              <a:extLst>
                <a:ext uri="{FF2B5EF4-FFF2-40B4-BE49-F238E27FC236}">
                  <a16:creationId xmlns:a16="http://schemas.microsoft.com/office/drawing/2014/main" id="{FD41EE78-BF16-4266-B17C-91F5AC49001F}"/>
                </a:ext>
              </a:extLst>
            </p:cNvPr>
            <p:cNvSpPr/>
            <p:nvPr/>
          </p:nvSpPr>
          <p:spPr>
            <a:xfrm>
              <a:off x="9772222" y="2920377"/>
              <a:ext cx="70810" cy="70810"/>
            </a:xfrm>
            <a:custGeom>
              <a:avLst/>
              <a:gdLst>
                <a:gd name="connsiteX0" fmla="*/ 58275 w 70809"/>
                <a:gd name="connsiteY0" fmla="*/ 37032 h 70809"/>
                <a:gd name="connsiteX1" fmla="*/ 37032 w 70809"/>
                <a:gd name="connsiteY1" fmla="*/ 58275 h 70809"/>
                <a:gd name="connsiteX2" fmla="*/ 15789 w 70809"/>
                <a:gd name="connsiteY2" fmla="*/ 37032 h 70809"/>
                <a:gd name="connsiteX3" fmla="*/ 37032 w 70809"/>
                <a:gd name="connsiteY3" fmla="*/ 15789 h 70809"/>
                <a:gd name="connsiteX4" fmla="*/ 58275 w 70809"/>
                <a:gd name="connsiteY4" fmla="*/ 3703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58275" y="37032"/>
                  </a:moveTo>
                  <a:cubicBezTo>
                    <a:pt x="58275" y="48764"/>
                    <a:pt x="48764" y="58275"/>
                    <a:pt x="37032" y="58275"/>
                  </a:cubicBezTo>
                  <a:cubicBezTo>
                    <a:pt x="25300" y="58275"/>
                    <a:pt x="15789" y="48764"/>
                    <a:pt x="15789" y="37032"/>
                  </a:cubicBezTo>
                  <a:cubicBezTo>
                    <a:pt x="15789" y="25300"/>
                    <a:pt x="25300" y="15789"/>
                    <a:pt x="37032" y="15789"/>
                  </a:cubicBezTo>
                  <a:cubicBezTo>
                    <a:pt x="48764" y="15789"/>
                    <a:pt x="58275" y="25300"/>
                    <a:pt x="58275" y="3703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004" name="Freeform: Shape 1003">
              <a:extLst>
                <a:ext uri="{FF2B5EF4-FFF2-40B4-BE49-F238E27FC236}">
                  <a16:creationId xmlns:a16="http://schemas.microsoft.com/office/drawing/2014/main" id="{DDEEF5AB-7ABF-4B74-9A4A-18720CDEF3E3}"/>
                </a:ext>
              </a:extLst>
            </p:cNvPr>
            <p:cNvSpPr/>
            <p:nvPr/>
          </p:nvSpPr>
          <p:spPr>
            <a:xfrm>
              <a:off x="10034217" y="2485606"/>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3" y="15789"/>
                    <a:pt x="15789" y="25702"/>
                    <a:pt x="15789" y="37032"/>
                  </a:cubicBezTo>
                  <a:cubicBezTo>
                    <a:pt x="15789" y="49777"/>
                    <a:pt x="25703" y="58275"/>
                    <a:pt x="37032" y="5827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005" name="Freeform: Shape 1004">
              <a:extLst>
                <a:ext uri="{FF2B5EF4-FFF2-40B4-BE49-F238E27FC236}">
                  <a16:creationId xmlns:a16="http://schemas.microsoft.com/office/drawing/2014/main" id="{B60F93F7-25A6-4141-98A1-65ADA1ABB9D6}"/>
                </a:ext>
              </a:extLst>
            </p:cNvPr>
            <p:cNvSpPr/>
            <p:nvPr/>
          </p:nvSpPr>
          <p:spPr>
            <a:xfrm>
              <a:off x="9997396" y="2832573"/>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4286"/>
                    <a:pt x="46945" y="15789"/>
                    <a:pt x="35616" y="15789"/>
                  </a:cubicBezTo>
                  <a:cubicBezTo>
                    <a:pt x="24287" y="15789"/>
                    <a:pt x="15789" y="24286"/>
                    <a:pt x="15789" y="35616"/>
                  </a:cubicBezTo>
                  <a:cubicBezTo>
                    <a:pt x="15789" y="46945"/>
                    <a:pt x="24287" y="55442"/>
                    <a:pt x="35616"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006" name="Freeform: Shape 1005">
              <a:extLst>
                <a:ext uri="{FF2B5EF4-FFF2-40B4-BE49-F238E27FC236}">
                  <a16:creationId xmlns:a16="http://schemas.microsoft.com/office/drawing/2014/main" id="{5FFAAC47-E8BC-433E-92C1-7D64487C071D}"/>
                </a:ext>
              </a:extLst>
            </p:cNvPr>
            <p:cNvSpPr/>
            <p:nvPr/>
          </p:nvSpPr>
          <p:spPr>
            <a:xfrm>
              <a:off x="10117772" y="2512514"/>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4286"/>
                    <a:pt x="46945" y="15789"/>
                    <a:pt x="35616" y="15789"/>
                  </a:cubicBezTo>
                  <a:cubicBezTo>
                    <a:pt x="24287" y="15789"/>
                    <a:pt x="15789" y="24286"/>
                    <a:pt x="15789" y="35616"/>
                  </a:cubicBezTo>
                  <a:cubicBezTo>
                    <a:pt x="17206" y="46945"/>
                    <a:pt x="25703" y="55442"/>
                    <a:pt x="35616"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007" name="Freeform: Shape 1006">
              <a:extLst>
                <a:ext uri="{FF2B5EF4-FFF2-40B4-BE49-F238E27FC236}">
                  <a16:creationId xmlns:a16="http://schemas.microsoft.com/office/drawing/2014/main" id="{C16B8E0C-A036-4DBF-9EA4-50E4780F49F1}"/>
                </a:ext>
              </a:extLst>
            </p:cNvPr>
            <p:cNvSpPr/>
            <p:nvPr/>
          </p:nvSpPr>
          <p:spPr>
            <a:xfrm>
              <a:off x="10107860" y="2478525"/>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5789" y="38448"/>
                    <a:pt x="22870" y="44113"/>
                    <a:pt x="29951"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008" name="Freeform: Shape 1007">
              <a:extLst>
                <a:ext uri="{FF2B5EF4-FFF2-40B4-BE49-F238E27FC236}">
                  <a16:creationId xmlns:a16="http://schemas.microsoft.com/office/drawing/2014/main" id="{2EE44B9D-4977-4CB2-9A99-8F07FA531845}"/>
                </a:ext>
              </a:extLst>
            </p:cNvPr>
            <p:cNvSpPr/>
            <p:nvPr/>
          </p:nvSpPr>
          <p:spPr>
            <a:xfrm>
              <a:off x="10293380" y="2420461"/>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8" y="29951"/>
                    <a:pt x="29951" y="27119"/>
                    <a:pt x="29951" y="22870"/>
                  </a:cubicBezTo>
                  <a:cubicBezTo>
                    <a:pt x="29951" y="18622"/>
                    <a:pt x="27118" y="15789"/>
                    <a:pt x="22870" y="15789"/>
                  </a:cubicBezTo>
                  <a:cubicBezTo>
                    <a:pt x="18622" y="15789"/>
                    <a:pt x="15789" y="18622"/>
                    <a:pt x="15789" y="22870"/>
                  </a:cubicBezTo>
                  <a:cubicBezTo>
                    <a:pt x="15789" y="27119"/>
                    <a:pt x="18622" y="29951"/>
                    <a:pt x="22870" y="2995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009" name="Freeform: Shape 1008">
              <a:extLst>
                <a:ext uri="{FF2B5EF4-FFF2-40B4-BE49-F238E27FC236}">
                  <a16:creationId xmlns:a16="http://schemas.microsoft.com/office/drawing/2014/main" id="{1F0A849F-0F1A-4419-9BBA-EAB8EAA6815D}"/>
                </a:ext>
              </a:extLst>
            </p:cNvPr>
            <p:cNvSpPr/>
            <p:nvPr/>
          </p:nvSpPr>
          <p:spPr>
            <a:xfrm>
              <a:off x="10351444" y="2362397"/>
              <a:ext cx="42486" cy="42486"/>
            </a:xfrm>
            <a:custGeom>
              <a:avLst/>
              <a:gdLst>
                <a:gd name="connsiteX0" fmla="*/ 29951 w 42485"/>
                <a:gd name="connsiteY0" fmla="*/ 22870 h 42485"/>
                <a:gd name="connsiteX1" fmla="*/ 22870 w 42485"/>
                <a:gd name="connsiteY1" fmla="*/ 29951 h 42485"/>
                <a:gd name="connsiteX2" fmla="*/ 15789 w 42485"/>
                <a:gd name="connsiteY2" fmla="*/ 22870 h 42485"/>
                <a:gd name="connsiteX3" fmla="*/ 22870 w 42485"/>
                <a:gd name="connsiteY3" fmla="*/ 15789 h 42485"/>
                <a:gd name="connsiteX4" fmla="*/ 29951 w 42485"/>
                <a:gd name="connsiteY4" fmla="*/ 2287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951" y="22870"/>
                  </a:moveTo>
                  <a:cubicBezTo>
                    <a:pt x="29951" y="26781"/>
                    <a:pt x="26780" y="29951"/>
                    <a:pt x="22870" y="29951"/>
                  </a:cubicBezTo>
                  <a:cubicBezTo>
                    <a:pt x="18959" y="29951"/>
                    <a:pt x="15789" y="26781"/>
                    <a:pt x="15789" y="22870"/>
                  </a:cubicBezTo>
                  <a:cubicBezTo>
                    <a:pt x="15789" y="18959"/>
                    <a:pt x="18959" y="15789"/>
                    <a:pt x="22870" y="15789"/>
                  </a:cubicBezTo>
                  <a:cubicBezTo>
                    <a:pt x="26780" y="15789"/>
                    <a:pt x="29951" y="18959"/>
                    <a:pt x="29951" y="2287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010" name="Freeform: Shape 1009">
              <a:extLst>
                <a:ext uri="{FF2B5EF4-FFF2-40B4-BE49-F238E27FC236}">
                  <a16:creationId xmlns:a16="http://schemas.microsoft.com/office/drawing/2014/main" id="{5E68FAFB-9ECB-4E47-89BF-728B3894F5DA}"/>
                </a:ext>
              </a:extLst>
            </p:cNvPr>
            <p:cNvSpPr/>
            <p:nvPr/>
          </p:nvSpPr>
          <p:spPr>
            <a:xfrm>
              <a:off x="10442080" y="2233524"/>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8" y="29951"/>
                    <a:pt x="29951" y="27119"/>
                    <a:pt x="29951" y="22870"/>
                  </a:cubicBezTo>
                  <a:cubicBezTo>
                    <a:pt x="29951" y="18621"/>
                    <a:pt x="27118" y="15789"/>
                    <a:pt x="22870" y="15789"/>
                  </a:cubicBezTo>
                  <a:cubicBezTo>
                    <a:pt x="18622" y="15789"/>
                    <a:pt x="15789" y="18621"/>
                    <a:pt x="15789" y="22870"/>
                  </a:cubicBezTo>
                  <a:cubicBezTo>
                    <a:pt x="15789" y="27119"/>
                    <a:pt x="20037" y="29951"/>
                    <a:pt x="22870" y="2995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011" name="Freeform: Shape 1010">
              <a:extLst>
                <a:ext uri="{FF2B5EF4-FFF2-40B4-BE49-F238E27FC236}">
                  <a16:creationId xmlns:a16="http://schemas.microsoft.com/office/drawing/2014/main" id="{D6B35D65-CB6B-47D5-B102-CA76BD07E6F7}"/>
                </a:ext>
              </a:extLst>
            </p:cNvPr>
            <p:cNvSpPr/>
            <p:nvPr/>
          </p:nvSpPr>
          <p:spPr>
            <a:xfrm>
              <a:off x="10082096" y="2114564"/>
              <a:ext cx="42486" cy="42486"/>
            </a:xfrm>
            <a:custGeom>
              <a:avLst/>
              <a:gdLst>
                <a:gd name="connsiteX0" fmla="*/ 25974 w 42485"/>
                <a:gd name="connsiteY0" fmla="*/ 35616 h 42485"/>
                <a:gd name="connsiteX1" fmla="*/ 35887 w 42485"/>
                <a:gd name="connsiteY1" fmla="*/ 25702 h 42485"/>
                <a:gd name="connsiteX2" fmla="*/ 25974 w 42485"/>
                <a:gd name="connsiteY2" fmla="*/ 15789 h 42485"/>
                <a:gd name="connsiteX3" fmla="*/ 16060 w 42485"/>
                <a:gd name="connsiteY3" fmla="*/ 25702 h 42485"/>
                <a:gd name="connsiteX4" fmla="*/ 25974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974" y="35616"/>
                  </a:moveTo>
                  <a:cubicBezTo>
                    <a:pt x="31639" y="35616"/>
                    <a:pt x="35887" y="31367"/>
                    <a:pt x="35887" y="25702"/>
                  </a:cubicBezTo>
                  <a:cubicBezTo>
                    <a:pt x="35887" y="20038"/>
                    <a:pt x="31639" y="15789"/>
                    <a:pt x="25974" y="15789"/>
                  </a:cubicBezTo>
                  <a:cubicBezTo>
                    <a:pt x="20310" y="15789"/>
                    <a:pt x="16060" y="20038"/>
                    <a:pt x="16060" y="25702"/>
                  </a:cubicBezTo>
                  <a:cubicBezTo>
                    <a:pt x="14644" y="29951"/>
                    <a:pt x="18893" y="35616"/>
                    <a:pt x="25974"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012" name="Freeform: Shape 1011">
              <a:extLst>
                <a:ext uri="{FF2B5EF4-FFF2-40B4-BE49-F238E27FC236}">
                  <a16:creationId xmlns:a16="http://schemas.microsoft.com/office/drawing/2014/main" id="{BED2F49C-F44F-41A3-AC1B-473311BBD8F9}"/>
                </a:ext>
              </a:extLst>
            </p:cNvPr>
            <p:cNvSpPr/>
            <p:nvPr/>
          </p:nvSpPr>
          <p:spPr>
            <a:xfrm>
              <a:off x="9852856" y="2794336"/>
              <a:ext cx="84971" cy="84971"/>
            </a:xfrm>
            <a:custGeom>
              <a:avLst/>
              <a:gdLst>
                <a:gd name="connsiteX0" fmla="*/ 48451 w 84971"/>
                <a:gd name="connsiteY0" fmla="*/ 15789 h 84971"/>
                <a:gd name="connsiteX1" fmla="*/ 81023 w 84971"/>
                <a:gd name="connsiteY1" fmla="*/ 48361 h 84971"/>
                <a:gd name="connsiteX2" fmla="*/ 48451 w 84971"/>
                <a:gd name="connsiteY2" fmla="*/ 80934 h 84971"/>
                <a:gd name="connsiteX3" fmla="*/ 15879 w 84971"/>
                <a:gd name="connsiteY3" fmla="*/ 48361 h 84971"/>
                <a:gd name="connsiteX4" fmla="*/ 48451 w 84971"/>
                <a:gd name="connsiteY4" fmla="*/ 15789 h 84971"/>
                <a:gd name="connsiteX5" fmla="*/ 48451 w 84971"/>
                <a:gd name="connsiteY5" fmla="*/ 15789 h 84971"/>
                <a:gd name="connsiteX6" fmla="*/ 48451 w 84971"/>
                <a:gd name="connsiteY6" fmla="*/ 29951 h 84971"/>
                <a:gd name="connsiteX7" fmla="*/ 30041 w 84971"/>
                <a:gd name="connsiteY7" fmla="*/ 48361 h 84971"/>
                <a:gd name="connsiteX8" fmla="*/ 48451 w 84971"/>
                <a:gd name="connsiteY8" fmla="*/ 66772 h 84971"/>
                <a:gd name="connsiteX9" fmla="*/ 66861 w 84971"/>
                <a:gd name="connsiteY9" fmla="*/ 48361 h 84971"/>
                <a:gd name="connsiteX10" fmla="*/ 48451 w 84971"/>
                <a:gd name="connsiteY10" fmla="*/ 29951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8451" y="15789"/>
                  </a:moveTo>
                  <a:cubicBezTo>
                    <a:pt x="66861" y="15789"/>
                    <a:pt x="81023" y="29951"/>
                    <a:pt x="81023" y="48361"/>
                  </a:cubicBezTo>
                  <a:cubicBezTo>
                    <a:pt x="81023" y="66772"/>
                    <a:pt x="66861" y="80934"/>
                    <a:pt x="48451" y="80934"/>
                  </a:cubicBezTo>
                  <a:cubicBezTo>
                    <a:pt x="30041" y="80934"/>
                    <a:pt x="15879" y="66772"/>
                    <a:pt x="15879" y="48361"/>
                  </a:cubicBezTo>
                  <a:cubicBezTo>
                    <a:pt x="14462" y="31367"/>
                    <a:pt x="30041" y="15789"/>
                    <a:pt x="48451" y="15789"/>
                  </a:cubicBezTo>
                  <a:lnTo>
                    <a:pt x="48451" y="15789"/>
                  </a:lnTo>
                  <a:close/>
                  <a:moveTo>
                    <a:pt x="48451" y="29951"/>
                  </a:moveTo>
                  <a:cubicBezTo>
                    <a:pt x="38537" y="29951"/>
                    <a:pt x="30041" y="38448"/>
                    <a:pt x="30041" y="48361"/>
                  </a:cubicBezTo>
                  <a:cubicBezTo>
                    <a:pt x="30041" y="58275"/>
                    <a:pt x="38537" y="66772"/>
                    <a:pt x="48451" y="66772"/>
                  </a:cubicBezTo>
                  <a:cubicBezTo>
                    <a:pt x="58364" y="66772"/>
                    <a:pt x="66861" y="58275"/>
                    <a:pt x="66861" y="48361"/>
                  </a:cubicBezTo>
                  <a:cubicBezTo>
                    <a:pt x="66861" y="38448"/>
                    <a:pt x="58364" y="29951"/>
                    <a:pt x="48451" y="2995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013" name="Freeform: Shape 1012">
              <a:extLst>
                <a:ext uri="{FF2B5EF4-FFF2-40B4-BE49-F238E27FC236}">
                  <a16:creationId xmlns:a16="http://schemas.microsoft.com/office/drawing/2014/main" id="{22439C5B-38F5-4A80-8C09-22454E34F861}"/>
                </a:ext>
              </a:extLst>
            </p:cNvPr>
            <p:cNvSpPr/>
            <p:nvPr/>
          </p:nvSpPr>
          <p:spPr>
            <a:xfrm>
              <a:off x="9681585" y="2943036"/>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9" y="15789"/>
                    <a:pt x="29951" y="15789"/>
                  </a:cubicBezTo>
                  <a:cubicBezTo>
                    <a:pt x="22870" y="15789"/>
                    <a:pt x="15789" y="21454"/>
                    <a:pt x="15789" y="29951"/>
                  </a:cubicBezTo>
                  <a:cubicBezTo>
                    <a:pt x="15789" y="38448"/>
                    <a:pt x="21454" y="44113"/>
                    <a:pt x="29951"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08" name="Freeform: Shape 1907">
              <a:extLst>
                <a:ext uri="{FF2B5EF4-FFF2-40B4-BE49-F238E27FC236}">
                  <a16:creationId xmlns:a16="http://schemas.microsoft.com/office/drawing/2014/main" id="{1F11CABE-8857-4FEE-A1D8-C192CE99627B}"/>
                </a:ext>
              </a:extLst>
            </p:cNvPr>
            <p:cNvSpPr/>
            <p:nvPr/>
          </p:nvSpPr>
          <p:spPr>
            <a:xfrm>
              <a:off x="10078119" y="2229275"/>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8" y="29951"/>
                    <a:pt x="29951" y="27119"/>
                    <a:pt x="29951" y="22870"/>
                  </a:cubicBezTo>
                  <a:cubicBezTo>
                    <a:pt x="29951" y="18622"/>
                    <a:pt x="27118" y="15789"/>
                    <a:pt x="22870" y="15789"/>
                  </a:cubicBezTo>
                  <a:cubicBezTo>
                    <a:pt x="18622" y="15789"/>
                    <a:pt x="15789" y="18622"/>
                    <a:pt x="15789" y="22870"/>
                  </a:cubicBezTo>
                  <a:cubicBezTo>
                    <a:pt x="15789" y="25703"/>
                    <a:pt x="18622" y="29951"/>
                    <a:pt x="22870" y="2995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09" name="Freeform: Shape 1908">
              <a:extLst>
                <a:ext uri="{FF2B5EF4-FFF2-40B4-BE49-F238E27FC236}">
                  <a16:creationId xmlns:a16="http://schemas.microsoft.com/office/drawing/2014/main" id="{9B47B786-D90F-4152-AE82-02C3DF214991}"/>
                </a:ext>
              </a:extLst>
            </p:cNvPr>
            <p:cNvSpPr/>
            <p:nvPr/>
          </p:nvSpPr>
          <p:spPr>
            <a:xfrm>
              <a:off x="10112108" y="2353900"/>
              <a:ext cx="28324" cy="28324"/>
            </a:xfrm>
            <a:custGeom>
              <a:avLst/>
              <a:gdLst>
                <a:gd name="connsiteX0" fmla="*/ 18622 w 28323"/>
                <a:gd name="connsiteY0" fmla="*/ 21454 h 28323"/>
                <a:gd name="connsiteX1" fmla="*/ 21453 w 28323"/>
                <a:gd name="connsiteY1" fmla="*/ 18621 h 28323"/>
                <a:gd name="connsiteX2" fmla="*/ 18622 w 28323"/>
                <a:gd name="connsiteY2" fmla="*/ 15789 h 28323"/>
                <a:gd name="connsiteX3" fmla="*/ 15789 w 28323"/>
                <a:gd name="connsiteY3" fmla="*/ 18621 h 28323"/>
                <a:gd name="connsiteX4" fmla="*/ 18622 w 28323"/>
                <a:gd name="connsiteY4" fmla="*/ 21454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18622" y="21454"/>
                  </a:moveTo>
                  <a:cubicBezTo>
                    <a:pt x="20037" y="21454"/>
                    <a:pt x="21453" y="20038"/>
                    <a:pt x="21453" y="18621"/>
                  </a:cubicBezTo>
                  <a:cubicBezTo>
                    <a:pt x="21453" y="17205"/>
                    <a:pt x="20037" y="15789"/>
                    <a:pt x="18622" y="15789"/>
                  </a:cubicBezTo>
                  <a:cubicBezTo>
                    <a:pt x="17205" y="15789"/>
                    <a:pt x="15789" y="17205"/>
                    <a:pt x="15789" y="18621"/>
                  </a:cubicBezTo>
                  <a:cubicBezTo>
                    <a:pt x="15789" y="20038"/>
                    <a:pt x="17205" y="21454"/>
                    <a:pt x="18622" y="2145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10" name="Freeform: Shape 1909">
              <a:extLst>
                <a:ext uri="{FF2B5EF4-FFF2-40B4-BE49-F238E27FC236}">
                  <a16:creationId xmlns:a16="http://schemas.microsoft.com/office/drawing/2014/main" id="{9A642A8A-21E0-4507-8D1A-A39F6562710C}"/>
                </a:ext>
              </a:extLst>
            </p:cNvPr>
            <p:cNvSpPr/>
            <p:nvPr/>
          </p:nvSpPr>
          <p:spPr>
            <a:xfrm>
              <a:off x="9300631" y="2607399"/>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6685"/>
                    <a:pt x="95095" y="55442"/>
                  </a:cubicBezTo>
                  <a:cubicBezTo>
                    <a:pt x="95095" y="34199"/>
                    <a:pt x="76685" y="15789"/>
                    <a:pt x="55442" y="15789"/>
                  </a:cubicBezTo>
                  <a:cubicBezTo>
                    <a:pt x="34199" y="15789"/>
                    <a:pt x="15789" y="34199"/>
                    <a:pt x="15789" y="55442"/>
                  </a:cubicBezTo>
                  <a:cubicBezTo>
                    <a:pt x="15789" y="78101"/>
                    <a:pt x="34199" y="95096"/>
                    <a:pt x="55442" y="9509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11" name="Freeform: Shape 1910">
              <a:extLst>
                <a:ext uri="{FF2B5EF4-FFF2-40B4-BE49-F238E27FC236}">
                  <a16:creationId xmlns:a16="http://schemas.microsoft.com/office/drawing/2014/main" id="{BCF2F986-1ABB-48ED-837B-FFFCA70AFE16}"/>
                </a:ext>
              </a:extLst>
            </p:cNvPr>
            <p:cNvSpPr/>
            <p:nvPr/>
          </p:nvSpPr>
          <p:spPr>
            <a:xfrm>
              <a:off x="9246766" y="2877891"/>
              <a:ext cx="155781" cy="155781"/>
            </a:xfrm>
            <a:custGeom>
              <a:avLst/>
              <a:gdLst>
                <a:gd name="connsiteX0" fmla="*/ 80983 w 155781"/>
                <a:gd name="connsiteY0" fmla="*/ 15789 h 155780"/>
                <a:gd name="connsiteX1" fmla="*/ 146127 w 155781"/>
                <a:gd name="connsiteY1" fmla="*/ 80934 h 155780"/>
                <a:gd name="connsiteX2" fmla="*/ 80983 w 155781"/>
                <a:gd name="connsiteY2" fmla="*/ 146079 h 155780"/>
                <a:gd name="connsiteX3" fmla="*/ 15838 w 155781"/>
                <a:gd name="connsiteY3" fmla="*/ 80934 h 155780"/>
                <a:gd name="connsiteX4" fmla="*/ 80983 w 155781"/>
                <a:gd name="connsiteY4" fmla="*/ 15789 h 155780"/>
                <a:gd name="connsiteX5" fmla="*/ 80983 w 155781"/>
                <a:gd name="connsiteY5" fmla="*/ 15789 h 155780"/>
                <a:gd name="connsiteX6" fmla="*/ 80983 w 155781"/>
                <a:gd name="connsiteY6" fmla="*/ 44113 h 155780"/>
                <a:gd name="connsiteX7" fmla="*/ 44161 w 155781"/>
                <a:gd name="connsiteY7" fmla="*/ 80934 h 155780"/>
                <a:gd name="connsiteX8" fmla="*/ 80983 w 155781"/>
                <a:gd name="connsiteY8" fmla="*/ 117755 h 155780"/>
                <a:gd name="connsiteX9" fmla="*/ 117804 w 155781"/>
                <a:gd name="connsiteY9" fmla="*/ 80934 h 155780"/>
                <a:gd name="connsiteX10" fmla="*/ 80983 w 155781"/>
                <a:gd name="connsiteY10" fmla="*/ 44113 h 155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781" h="155780">
                  <a:moveTo>
                    <a:pt x="80983" y="15789"/>
                  </a:moveTo>
                  <a:cubicBezTo>
                    <a:pt x="117804" y="15789"/>
                    <a:pt x="146127" y="45529"/>
                    <a:pt x="146127" y="80934"/>
                  </a:cubicBezTo>
                  <a:cubicBezTo>
                    <a:pt x="146127" y="117755"/>
                    <a:pt x="116388" y="146079"/>
                    <a:pt x="80983" y="146079"/>
                  </a:cubicBezTo>
                  <a:cubicBezTo>
                    <a:pt x="44161" y="146079"/>
                    <a:pt x="15838" y="116339"/>
                    <a:pt x="15838" y="80934"/>
                  </a:cubicBezTo>
                  <a:cubicBezTo>
                    <a:pt x="14422" y="44113"/>
                    <a:pt x="44161" y="15789"/>
                    <a:pt x="80983" y="15789"/>
                  </a:cubicBezTo>
                  <a:lnTo>
                    <a:pt x="80983" y="15789"/>
                  </a:lnTo>
                  <a:close/>
                  <a:moveTo>
                    <a:pt x="80983" y="44113"/>
                  </a:moveTo>
                  <a:cubicBezTo>
                    <a:pt x="61156" y="44113"/>
                    <a:pt x="44161" y="61107"/>
                    <a:pt x="44161" y="80934"/>
                  </a:cubicBezTo>
                  <a:cubicBezTo>
                    <a:pt x="44161" y="100760"/>
                    <a:pt x="61156" y="117755"/>
                    <a:pt x="80983" y="117755"/>
                  </a:cubicBezTo>
                  <a:cubicBezTo>
                    <a:pt x="100809" y="117755"/>
                    <a:pt x="117804" y="100760"/>
                    <a:pt x="117804" y="80934"/>
                  </a:cubicBezTo>
                  <a:cubicBezTo>
                    <a:pt x="117804" y="59691"/>
                    <a:pt x="100809" y="44113"/>
                    <a:pt x="80983"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12" name="Freeform: Shape 1911">
              <a:extLst>
                <a:ext uri="{FF2B5EF4-FFF2-40B4-BE49-F238E27FC236}">
                  <a16:creationId xmlns:a16="http://schemas.microsoft.com/office/drawing/2014/main" id="{A459F02F-2B19-4B1A-8F3F-E97E2866297D}"/>
                </a:ext>
              </a:extLst>
            </p:cNvPr>
            <p:cNvSpPr/>
            <p:nvPr/>
          </p:nvSpPr>
          <p:spPr>
            <a:xfrm>
              <a:off x="9198665" y="3295667"/>
              <a:ext cx="84971" cy="84971"/>
            </a:xfrm>
            <a:custGeom>
              <a:avLst/>
              <a:gdLst>
                <a:gd name="connsiteX0" fmla="*/ 48361 w 84971"/>
                <a:gd name="connsiteY0" fmla="*/ 15789 h 84971"/>
                <a:gd name="connsiteX1" fmla="*/ 80933 w 84971"/>
                <a:gd name="connsiteY1" fmla="*/ 48361 h 84971"/>
                <a:gd name="connsiteX2" fmla="*/ 48361 w 84971"/>
                <a:gd name="connsiteY2" fmla="*/ 80934 h 84971"/>
                <a:gd name="connsiteX3" fmla="*/ 15789 w 84971"/>
                <a:gd name="connsiteY3" fmla="*/ 48361 h 84971"/>
                <a:gd name="connsiteX4" fmla="*/ 48361 w 84971"/>
                <a:gd name="connsiteY4" fmla="*/ 15789 h 84971"/>
                <a:gd name="connsiteX5" fmla="*/ 48361 w 84971"/>
                <a:gd name="connsiteY5" fmla="*/ 15789 h 84971"/>
                <a:gd name="connsiteX6" fmla="*/ 48361 w 84971"/>
                <a:gd name="connsiteY6" fmla="*/ 21454 h 84971"/>
                <a:gd name="connsiteX7" fmla="*/ 21453 w 84971"/>
                <a:gd name="connsiteY7" fmla="*/ 48361 h 84971"/>
                <a:gd name="connsiteX8" fmla="*/ 48361 w 84971"/>
                <a:gd name="connsiteY8" fmla="*/ 75269 h 84971"/>
                <a:gd name="connsiteX9" fmla="*/ 75269 w 84971"/>
                <a:gd name="connsiteY9" fmla="*/ 48361 h 84971"/>
                <a:gd name="connsiteX10" fmla="*/ 48361 w 84971"/>
                <a:gd name="connsiteY10" fmla="*/ 21454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8361" y="15789"/>
                  </a:moveTo>
                  <a:cubicBezTo>
                    <a:pt x="66772" y="15789"/>
                    <a:pt x="80933" y="29951"/>
                    <a:pt x="80933" y="48361"/>
                  </a:cubicBezTo>
                  <a:cubicBezTo>
                    <a:pt x="80933" y="66772"/>
                    <a:pt x="66772" y="80934"/>
                    <a:pt x="48361" y="80934"/>
                  </a:cubicBezTo>
                  <a:cubicBezTo>
                    <a:pt x="29951" y="80934"/>
                    <a:pt x="15789" y="66772"/>
                    <a:pt x="15789" y="48361"/>
                  </a:cubicBezTo>
                  <a:cubicBezTo>
                    <a:pt x="15789" y="29951"/>
                    <a:pt x="29951" y="15789"/>
                    <a:pt x="48361" y="15789"/>
                  </a:cubicBezTo>
                  <a:lnTo>
                    <a:pt x="48361" y="15789"/>
                  </a:lnTo>
                  <a:close/>
                  <a:moveTo>
                    <a:pt x="48361" y="21454"/>
                  </a:moveTo>
                  <a:cubicBezTo>
                    <a:pt x="34199" y="21454"/>
                    <a:pt x="21453" y="32783"/>
                    <a:pt x="21453" y="48361"/>
                  </a:cubicBezTo>
                  <a:cubicBezTo>
                    <a:pt x="21453" y="62523"/>
                    <a:pt x="32783" y="75269"/>
                    <a:pt x="48361" y="75269"/>
                  </a:cubicBezTo>
                  <a:cubicBezTo>
                    <a:pt x="62523" y="75269"/>
                    <a:pt x="75269" y="63940"/>
                    <a:pt x="75269" y="48361"/>
                  </a:cubicBezTo>
                  <a:cubicBezTo>
                    <a:pt x="75269" y="34200"/>
                    <a:pt x="62523" y="21454"/>
                    <a:pt x="48361" y="2145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13" name="Freeform: Shape 1912">
              <a:extLst>
                <a:ext uri="{FF2B5EF4-FFF2-40B4-BE49-F238E27FC236}">
                  <a16:creationId xmlns:a16="http://schemas.microsoft.com/office/drawing/2014/main" id="{4EC26B0D-2043-4DE4-A7B2-5D772F31974E}"/>
                </a:ext>
              </a:extLst>
            </p:cNvPr>
            <p:cNvSpPr/>
            <p:nvPr/>
          </p:nvSpPr>
          <p:spPr>
            <a:xfrm>
              <a:off x="8208746" y="1478694"/>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3" y="15789"/>
                    <a:pt x="15789" y="25702"/>
                    <a:pt x="15789" y="37032"/>
                  </a:cubicBezTo>
                  <a:cubicBezTo>
                    <a:pt x="15789" y="48361"/>
                    <a:pt x="25703" y="58275"/>
                    <a:pt x="37032" y="5827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14" name="Freeform: Shape 1913">
              <a:extLst>
                <a:ext uri="{FF2B5EF4-FFF2-40B4-BE49-F238E27FC236}">
                  <a16:creationId xmlns:a16="http://schemas.microsoft.com/office/drawing/2014/main" id="{F003D497-1C09-41EB-9EFB-263406E121B4}"/>
                </a:ext>
              </a:extLst>
            </p:cNvPr>
            <p:cNvSpPr/>
            <p:nvPr/>
          </p:nvSpPr>
          <p:spPr>
            <a:xfrm>
              <a:off x="8586870" y="1063750"/>
              <a:ext cx="127457" cy="127457"/>
            </a:xfrm>
            <a:custGeom>
              <a:avLst/>
              <a:gdLst>
                <a:gd name="connsiteX0" fmla="*/ 63940 w 127457"/>
                <a:gd name="connsiteY0" fmla="*/ 112090 h 127457"/>
                <a:gd name="connsiteX1" fmla="*/ 112090 w 127457"/>
                <a:gd name="connsiteY1" fmla="*/ 63940 h 127457"/>
                <a:gd name="connsiteX2" fmla="*/ 63940 w 127457"/>
                <a:gd name="connsiteY2" fmla="*/ 15789 h 127457"/>
                <a:gd name="connsiteX3" fmla="*/ 15789 w 127457"/>
                <a:gd name="connsiteY3" fmla="*/ 63940 h 127457"/>
                <a:gd name="connsiteX4" fmla="*/ 63940 w 127457"/>
                <a:gd name="connsiteY4" fmla="*/ 112090 h 127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57" h="127457">
                  <a:moveTo>
                    <a:pt x="63940" y="112090"/>
                  </a:moveTo>
                  <a:cubicBezTo>
                    <a:pt x="90847" y="112090"/>
                    <a:pt x="112090" y="90847"/>
                    <a:pt x="112090" y="63940"/>
                  </a:cubicBezTo>
                  <a:cubicBezTo>
                    <a:pt x="112090" y="37032"/>
                    <a:pt x="90847" y="15789"/>
                    <a:pt x="63940" y="15789"/>
                  </a:cubicBezTo>
                  <a:cubicBezTo>
                    <a:pt x="38448" y="15789"/>
                    <a:pt x="15789" y="37032"/>
                    <a:pt x="15789" y="63940"/>
                  </a:cubicBezTo>
                  <a:cubicBezTo>
                    <a:pt x="17205" y="90847"/>
                    <a:pt x="38448" y="112090"/>
                    <a:pt x="63940" y="11209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15" name="Freeform: Shape 1914">
              <a:extLst>
                <a:ext uri="{FF2B5EF4-FFF2-40B4-BE49-F238E27FC236}">
                  <a16:creationId xmlns:a16="http://schemas.microsoft.com/office/drawing/2014/main" id="{16FE7A7A-691F-4034-B37C-F354AB1F451F}"/>
                </a:ext>
              </a:extLst>
            </p:cNvPr>
            <p:cNvSpPr/>
            <p:nvPr/>
          </p:nvSpPr>
          <p:spPr>
            <a:xfrm>
              <a:off x="8656263" y="1770430"/>
              <a:ext cx="56648" cy="56648"/>
            </a:xfrm>
            <a:custGeom>
              <a:avLst/>
              <a:gdLst>
                <a:gd name="connsiteX0" fmla="*/ 32783 w 56647"/>
                <a:gd name="connsiteY0" fmla="*/ 49778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7" y="42697"/>
                    <a:pt x="49777" y="32783"/>
                  </a:cubicBezTo>
                  <a:cubicBezTo>
                    <a:pt x="49777" y="22870"/>
                    <a:pt x="42696"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16" name="Freeform: Shape 1915">
              <a:extLst>
                <a:ext uri="{FF2B5EF4-FFF2-40B4-BE49-F238E27FC236}">
                  <a16:creationId xmlns:a16="http://schemas.microsoft.com/office/drawing/2014/main" id="{8374A856-9A27-4BBD-824F-5C2C93E11D02}"/>
                </a:ext>
              </a:extLst>
            </p:cNvPr>
            <p:cNvSpPr/>
            <p:nvPr/>
          </p:nvSpPr>
          <p:spPr>
            <a:xfrm>
              <a:off x="9337451" y="2021095"/>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8101"/>
                    <a:pt x="95095" y="55442"/>
                  </a:cubicBezTo>
                  <a:cubicBezTo>
                    <a:pt x="95095" y="34200"/>
                    <a:pt x="78102" y="15789"/>
                    <a:pt x="55442" y="15789"/>
                  </a:cubicBezTo>
                  <a:cubicBezTo>
                    <a:pt x="34199" y="15789"/>
                    <a:pt x="15789" y="32783"/>
                    <a:pt x="15789" y="55442"/>
                  </a:cubicBezTo>
                  <a:cubicBezTo>
                    <a:pt x="15789" y="78101"/>
                    <a:pt x="32783" y="95096"/>
                    <a:pt x="55442" y="9509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17" name="Freeform: Shape 1916">
              <a:extLst>
                <a:ext uri="{FF2B5EF4-FFF2-40B4-BE49-F238E27FC236}">
                  <a16:creationId xmlns:a16="http://schemas.microsoft.com/office/drawing/2014/main" id="{01920F85-542F-480E-A281-1A731D734FA2}"/>
                </a:ext>
              </a:extLst>
            </p:cNvPr>
            <p:cNvSpPr/>
            <p:nvPr/>
          </p:nvSpPr>
          <p:spPr>
            <a:xfrm>
              <a:off x="7412780" y="2690954"/>
              <a:ext cx="113295" cy="113295"/>
            </a:xfrm>
            <a:custGeom>
              <a:avLst/>
              <a:gdLst>
                <a:gd name="connsiteX0" fmla="*/ 61174 w 113295"/>
                <a:gd name="connsiteY0" fmla="*/ 15789 h 113295"/>
                <a:gd name="connsiteX1" fmla="*/ 106492 w 113295"/>
                <a:gd name="connsiteY1" fmla="*/ 61107 h 113295"/>
                <a:gd name="connsiteX2" fmla="*/ 61174 w 113295"/>
                <a:gd name="connsiteY2" fmla="*/ 106425 h 113295"/>
                <a:gd name="connsiteX3" fmla="*/ 15856 w 113295"/>
                <a:gd name="connsiteY3" fmla="*/ 61107 h 113295"/>
                <a:gd name="connsiteX4" fmla="*/ 61174 w 113295"/>
                <a:gd name="connsiteY4" fmla="*/ 15789 h 113295"/>
                <a:gd name="connsiteX5" fmla="*/ 61174 w 113295"/>
                <a:gd name="connsiteY5" fmla="*/ 15789 h 113295"/>
                <a:gd name="connsiteX6" fmla="*/ 61174 w 113295"/>
                <a:gd name="connsiteY6" fmla="*/ 35616 h 113295"/>
                <a:gd name="connsiteX7" fmla="*/ 35683 w 113295"/>
                <a:gd name="connsiteY7" fmla="*/ 61107 h 113295"/>
                <a:gd name="connsiteX8" fmla="*/ 61174 w 113295"/>
                <a:gd name="connsiteY8" fmla="*/ 86599 h 113295"/>
                <a:gd name="connsiteX9" fmla="*/ 86666 w 113295"/>
                <a:gd name="connsiteY9" fmla="*/ 61107 h 113295"/>
                <a:gd name="connsiteX10" fmla="*/ 61174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74" y="15789"/>
                  </a:moveTo>
                  <a:cubicBezTo>
                    <a:pt x="86666" y="15789"/>
                    <a:pt x="106492" y="35616"/>
                    <a:pt x="106492" y="61107"/>
                  </a:cubicBezTo>
                  <a:cubicBezTo>
                    <a:pt x="106492" y="86599"/>
                    <a:pt x="86666" y="106425"/>
                    <a:pt x="61174" y="106425"/>
                  </a:cubicBezTo>
                  <a:cubicBezTo>
                    <a:pt x="35683" y="106425"/>
                    <a:pt x="15856" y="86599"/>
                    <a:pt x="15856" y="61107"/>
                  </a:cubicBezTo>
                  <a:cubicBezTo>
                    <a:pt x="14440" y="37032"/>
                    <a:pt x="35683" y="15789"/>
                    <a:pt x="61174" y="15789"/>
                  </a:cubicBezTo>
                  <a:lnTo>
                    <a:pt x="61174" y="15789"/>
                  </a:lnTo>
                  <a:close/>
                  <a:moveTo>
                    <a:pt x="61174" y="35616"/>
                  </a:moveTo>
                  <a:cubicBezTo>
                    <a:pt x="47012" y="35616"/>
                    <a:pt x="35683" y="46945"/>
                    <a:pt x="35683" y="61107"/>
                  </a:cubicBezTo>
                  <a:cubicBezTo>
                    <a:pt x="35683" y="75269"/>
                    <a:pt x="47012" y="86599"/>
                    <a:pt x="61174" y="86599"/>
                  </a:cubicBezTo>
                  <a:cubicBezTo>
                    <a:pt x="75336" y="86599"/>
                    <a:pt x="86666" y="75269"/>
                    <a:pt x="86666" y="61107"/>
                  </a:cubicBezTo>
                  <a:cubicBezTo>
                    <a:pt x="86666" y="48361"/>
                    <a:pt x="75336" y="35616"/>
                    <a:pt x="61174"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18" name="Freeform: Shape 1917">
              <a:extLst>
                <a:ext uri="{FF2B5EF4-FFF2-40B4-BE49-F238E27FC236}">
                  <a16:creationId xmlns:a16="http://schemas.microsoft.com/office/drawing/2014/main" id="{B1671571-55DA-4641-91CB-1B0B07979E4D}"/>
                </a:ext>
              </a:extLst>
            </p:cNvPr>
            <p:cNvSpPr/>
            <p:nvPr/>
          </p:nvSpPr>
          <p:spPr>
            <a:xfrm>
              <a:off x="8669009" y="2676792"/>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19" name="Freeform: Shape 1918">
              <a:extLst>
                <a:ext uri="{FF2B5EF4-FFF2-40B4-BE49-F238E27FC236}">
                  <a16:creationId xmlns:a16="http://schemas.microsoft.com/office/drawing/2014/main" id="{AF9527D5-0D4C-45ED-A6A3-9E12E9F42713}"/>
                </a:ext>
              </a:extLst>
            </p:cNvPr>
            <p:cNvSpPr/>
            <p:nvPr/>
          </p:nvSpPr>
          <p:spPr>
            <a:xfrm>
              <a:off x="6891688" y="2081992"/>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20" name="Freeform: Shape 1919">
              <a:extLst>
                <a:ext uri="{FF2B5EF4-FFF2-40B4-BE49-F238E27FC236}">
                  <a16:creationId xmlns:a16="http://schemas.microsoft.com/office/drawing/2014/main" id="{ED9CCB4E-5F9F-44AB-9908-71D5F12E7D5B}"/>
                </a:ext>
              </a:extLst>
            </p:cNvPr>
            <p:cNvSpPr/>
            <p:nvPr/>
          </p:nvSpPr>
          <p:spPr>
            <a:xfrm>
              <a:off x="7584206" y="1427712"/>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21" name="Freeform: Shape 1920">
              <a:extLst>
                <a:ext uri="{FF2B5EF4-FFF2-40B4-BE49-F238E27FC236}">
                  <a16:creationId xmlns:a16="http://schemas.microsoft.com/office/drawing/2014/main" id="{0BFCD75B-DEDD-4BC2-BDD6-9EF4BBEA355C}"/>
                </a:ext>
              </a:extLst>
            </p:cNvPr>
            <p:cNvSpPr/>
            <p:nvPr/>
          </p:nvSpPr>
          <p:spPr>
            <a:xfrm>
              <a:off x="6989406" y="1474446"/>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22" name="Freeform: Shape 1921">
              <a:extLst>
                <a:ext uri="{FF2B5EF4-FFF2-40B4-BE49-F238E27FC236}">
                  <a16:creationId xmlns:a16="http://schemas.microsoft.com/office/drawing/2014/main" id="{A4D7A8E8-E440-4E32-B95C-AB60CAF4BE09}"/>
                </a:ext>
              </a:extLst>
            </p:cNvPr>
            <p:cNvSpPr/>
            <p:nvPr/>
          </p:nvSpPr>
          <p:spPr>
            <a:xfrm>
              <a:off x="7823543" y="1094907"/>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2870"/>
                    <a:pt x="37032" y="15789"/>
                    <a:pt x="29951" y="15789"/>
                  </a:cubicBezTo>
                  <a:cubicBezTo>
                    <a:pt x="21454" y="15789"/>
                    <a:pt x="15789" y="22870"/>
                    <a:pt x="15789" y="29951"/>
                  </a:cubicBezTo>
                  <a:cubicBezTo>
                    <a:pt x="15789" y="37032"/>
                    <a:pt x="22870" y="44113"/>
                    <a:pt x="29951"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23" name="Freeform: Shape 1922">
              <a:extLst>
                <a:ext uri="{FF2B5EF4-FFF2-40B4-BE49-F238E27FC236}">
                  <a16:creationId xmlns:a16="http://schemas.microsoft.com/office/drawing/2014/main" id="{96D71E79-5094-4BEA-A69E-216276AA781D}"/>
                </a:ext>
              </a:extLst>
            </p:cNvPr>
            <p:cNvSpPr/>
            <p:nvPr/>
          </p:nvSpPr>
          <p:spPr>
            <a:xfrm>
              <a:off x="7299552" y="1024097"/>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24" name="Freeform: Shape 1923">
              <a:extLst>
                <a:ext uri="{FF2B5EF4-FFF2-40B4-BE49-F238E27FC236}">
                  <a16:creationId xmlns:a16="http://schemas.microsoft.com/office/drawing/2014/main" id="{B3A43A87-65E7-471D-BA8A-3A60F944C5D3}"/>
                </a:ext>
              </a:extLst>
            </p:cNvPr>
            <p:cNvSpPr/>
            <p:nvPr/>
          </p:nvSpPr>
          <p:spPr>
            <a:xfrm>
              <a:off x="7206083" y="535511"/>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25" name="Freeform: Shape 1924">
              <a:extLst>
                <a:ext uri="{FF2B5EF4-FFF2-40B4-BE49-F238E27FC236}">
                  <a16:creationId xmlns:a16="http://schemas.microsoft.com/office/drawing/2014/main" id="{3E536063-DB05-41A6-8FF5-3889A76A760A}"/>
                </a:ext>
              </a:extLst>
            </p:cNvPr>
            <p:cNvSpPr/>
            <p:nvPr/>
          </p:nvSpPr>
          <p:spPr>
            <a:xfrm>
              <a:off x="8633604" y="531263"/>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26" name="Freeform: Shape 1925">
              <a:extLst>
                <a:ext uri="{FF2B5EF4-FFF2-40B4-BE49-F238E27FC236}">
                  <a16:creationId xmlns:a16="http://schemas.microsoft.com/office/drawing/2014/main" id="{59621436-C75E-411C-A81A-EC87F43FFF3C}"/>
                </a:ext>
              </a:extLst>
            </p:cNvPr>
            <p:cNvSpPr/>
            <p:nvPr/>
          </p:nvSpPr>
          <p:spPr>
            <a:xfrm>
              <a:off x="9025889" y="88106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27" name="Freeform: Shape 1926">
              <a:extLst>
                <a:ext uri="{FF2B5EF4-FFF2-40B4-BE49-F238E27FC236}">
                  <a16:creationId xmlns:a16="http://schemas.microsoft.com/office/drawing/2014/main" id="{3091E6A7-C165-4B18-ABB7-D02394513B83}"/>
                </a:ext>
              </a:extLst>
            </p:cNvPr>
            <p:cNvSpPr/>
            <p:nvPr/>
          </p:nvSpPr>
          <p:spPr>
            <a:xfrm>
              <a:off x="8728489" y="664385"/>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28" name="Freeform: Shape 1927">
              <a:extLst>
                <a:ext uri="{FF2B5EF4-FFF2-40B4-BE49-F238E27FC236}">
                  <a16:creationId xmlns:a16="http://schemas.microsoft.com/office/drawing/2014/main" id="{F0EC486B-437B-476D-A294-CF89C7B56BE9}"/>
                </a:ext>
              </a:extLst>
            </p:cNvPr>
            <p:cNvSpPr/>
            <p:nvPr/>
          </p:nvSpPr>
          <p:spPr>
            <a:xfrm>
              <a:off x="8898432" y="62189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29" name="Freeform: Shape 1928">
              <a:extLst>
                <a:ext uri="{FF2B5EF4-FFF2-40B4-BE49-F238E27FC236}">
                  <a16:creationId xmlns:a16="http://schemas.microsoft.com/office/drawing/2014/main" id="{EDF4136F-94D3-43C3-BF0A-B578573CFB89}"/>
                </a:ext>
              </a:extLst>
            </p:cNvPr>
            <p:cNvSpPr/>
            <p:nvPr/>
          </p:nvSpPr>
          <p:spPr>
            <a:xfrm>
              <a:off x="7504900" y="95753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2870"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30" name="Freeform: Shape 1929">
              <a:extLst>
                <a:ext uri="{FF2B5EF4-FFF2-40B4-BE49-F238E27FC236}">
                  <a16:creationId xmlns:a16="http://schemas.microsoft.com/office/drawing/2014/main" id="{D6A31817-D2D6-4C55-BC6D-7CE3D933AFCB}"/>
                </a:ext>
              </a:extLst>
            </p:cNvPr>
            <p:cNvSpPr/>
            <p:nvPr/>
          </p:nvSpPr>
          <p:spPr>
            <a:xfrm>
              <a:off x="7666345" y="825830"/>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31" name="Freeform: Shape 1930">
              <a:extLst>
                <a:ext uri="{FF2B5EF4-FFF2-40B4-BE49-F238E27FC236}">
                  <a16:creationId xmlns:a16="http://schemas.microsoft.com/office/drawing/2014/main" id="{DF91870C-984B-44EC-A9CC-6559B056F1D6}"/>
                </a:ext>
              </a:extLst>
            </p:cNvPr>
            <p:cNvSpPr/>
            <p:nvPr/>
          </p:nvSpPr>
          <p:spPr>
            <a:xfrm>
              <a:off x="7608281" y="528430"/>
              <a:ext cx="56648" cy="56648"/>
            </a:xfrm>
            <a:custGeom>
              <a:avLst/>
              <a:gdLst>
                <a:gd name="connsiteX0" fmla="*/ 28535 w 56647"/>
                <a:gd name="connsiteY0" fmla="*/ 41280 h 56647"/>
                <a:gd name="connsiteX1" fmla="*/ 41281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1" y="35616"/>
                    <a:pt x="41281" y="28535"/>
                  </a:cubicBezTo>
                  <a:cubicBezTo>
                    <a:pt x="41281"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32" name="Freeform: Shape 1931">
              <a:extLst>
                <a:ext uri="{FF2B5EF4-FFF2-40B4-BE49-F238E27FC236}">
                  <a16:creationId xmlns:a16="http://schemas.microsoft.com/office/drawing/2014/main" id="{BE75ADFF-24BE-4163-8FFC-11A808BF6207}"/>
                </a:ext>
              </a:extLst>
            </p:cNvPr>
            <p:cNvSpPr/>
            <p:nvPr/>
          </p:nvSpPr>
          <p:spPr>
            <a:xfrm>
              <a:off x="7500531" y="570916"/>
              <a:ext cx="70810" cy="70810"/>
            </a:xfrm>
            <a:custGeom>
              <a:avLst/>
              <a:gdLst>
                <a:gd name="connsiteX0" fmla="*/ 39984 w 70809"/>
                <a:gd name="connsiteY0" fmla="*/ 63940 h 70809"/>
                <a:gd name="connsiteX1" fmla="*/ 64060 w 70809"/>
                <a:gd name="connsiteY1" fmla="*/ 39864 h 70809"/>
                <a:gd name="connsiteX2" fmla="*/ 39984 w 70809"/>
                <a:gd name="connsiteY2" fmla="*/ 15789 h 70809"/>
                <a:gd name="connsiteX3" fmla="*/ 15909 w 70809"/>
                <a:gd name="connsiteY3" fmla="*/ 39864 h 70809"/>
                <a:gd name="connsiteX4" fmla="*/ 3998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984" y="63940"/>
                  </a:moveTo>
                  <a:cubicBezTo>
                    <a:pt x="54146" y="63940"/>
                    <a:pt x="64060" y="52610"/>
                    <a:pt x="64060" y="39864"/>
                  </a:cubicBezTo>
                  <a:cubicBezTo>
                    <a:pt x="64060" y="25702"/>
                    <a:pt x="52730" y="15789"/>
                    <a:pt x="39984" y="15789"/>
                  </a:cubicBezTo>
                  <a:cubicBezTo>
                    <a:pt x="25822" y="15789"/>
                    <a:pt x="15909" y="27119"/>
                    <a:pt x="15909" y="39864"/>
                  </a:cubicBezTo>
                  <a:cubicBezTo>
                    <a:pt x="14493" y="52610"/>
                    <a:pt x="25822" y="63940"/>
                    <a:pt x="39984" y="6394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33" name="Freeform: Shape 1932">
              <a:extLst>
                <a:ext uri="{FF2B5EF4-FFF2-40B4-BE49-F238E27FC236}">
                  <a16:creationId xmlns:a16="http://schemas.microsoft.com/office/drawing/2014/main" id="{200D9292-CC7F-4534-8DB4-21F0AEDB99A0}"/>
                </a:ext>
              </a:extLst>
            </p:cNvPr>
            <p:cNvSpPr/>
            <p:nvPr/>
          </p:nvSpPr>
          <p:spPr>
            <a:xfrm>
              <a:off x="7755565" y="170103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1" y="49778"/>
                    <a:pt x="49778" y="42697"/>
                    <a:pt x="49778" y="32783"/>
                  </a:cubicBezTo>
                  <a:cubicBezTo>
                    <a:pt x="49778" y="22870"/>
                    <a:pt x="42697"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34" name="Freeform: Shape 1933">
              <a:extLst>
                <a:ext uri="{FF2B5EF4-FFF2-40B4-BE49-F238E27FC236}">
                  <a16:creationId xmlns:a16="http://schemas.microsoft.com/office/drawing/2014/main" id="{50A4F30A-50A1-43F8-A0A5-983B4954C55B}"/>
                </a:ext>
              </a:extLst>
            </p:cNvPr>
            <p:cNvSpPr/>
            <p:nvPr/>
          </p:nvSpPr>
          <p:spPr>
            <a:xfrm>
              <a:off x="8125192" y="2079159"/>
              <a:ext cx="56648" cy="56648"/>
            </a:xfrm>
            <a:custGeom>
              <a:avLst/>
              <a:gdLst>
                <a:gd name="connsiteX0" fmla="*/ 32783 w 56647"/>
                <a:gd name="connsiteY0" fmla="*/ 49777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0" y="49777"/>
                    <a:pt x="49777" y="42697"/>
                    <a:pt x="49777" y="32783"/>
                  </a:cubicBezTo>
                  <a:cubicBezTo>
                    <a:pt x="49777" y="24286"/>
                    <a:pt x="42696" y="15789"/>
                    <a:pt x="32783" y="15789"/>
                  </a:cubicBezTo>
                  <a:cubicBezTo>
                    <a:pt x="24286" y="15789"/>
                    <a:pt x="15789" y="22870"/>
                    <a:pt x="15789" y="32783"/>
                  </a:cubicBezTo>
                  <a:cubicBezTo>
                    <a:pt x="17205" y="42697"/>
                    <a:pt x="24286" y="49777"/>
                    <a:pt x="32783"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35" name="Freeform: Shape 1934">
              <a:extLst>
                <a:ext uri="{FF2B5EF4-FFF2-40B4-BE49-F238E27FC236}">
                  <a16:creationId xmlns:a16="http://schemas.microsoft.com/office/drawing/2014/main" id="{548FC492-AD5D-46D2-A2D4-7BF2CE358652}"/>
                </a:ext>
              </a:extLst>
            </p:cNvPr>
            <p:cNvSpPr/>
            <p:nvPr/>
          </p:nvSpPr>
          <p:spPr>
            <a:xfrm>
              <a:off x="8516060" y="2006933"/>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36" name="Freeform: Shape 1935">
              <a:extLst>
                <a:ext uri="{FF2B5EF4-FFF2-40B4-BE49-F238E27FC236}">
                  <a16:creationId xmlns:a16="http://schemas.microsoft.com/office/drawing/2014/main" id="{38E91489-7D7B-4060-80A9-EA56A0C3EAFA}"/>
                </a:ext>
              </a:extLst>
            </p:cNvPr>
            <p:cNvSpPr/>
            <p:nvPr/>
          </p:nvSpPr>
          <p:spPr>
            <a:xfrm>
              <a:off x="8555713" y="1423463"/>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8"/>
                    <a:pt x="28535" y="15789"/>
                    <a:pt x="24287" y="15789"/>
                  </a:cubicBezTo>
                  <a:cubicBezTo>
                    <a:pt x="20037" y="15789"/>
                    <a:pt x="15789" y="20038"/>
                    <a:pt x="15789" y="24286"/>
                  </a:cubicBezTo>
                  <a:cubicBezTo>
                    <a:pt x="15789" y="28535"/>
                    <a:pt x="20037" y="32783"/>
                    <a:pt x="24287"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37" name="Freeform: Shape 1936">
              <a:extLst>
                <a:ext uri="{FF2B5EF4-FFF2-40B4-BE49-F238E27FC236}">
                  <a16:creationId xmlns:a16="http://schemas.microsoft.com/office/drawing/2014/main" id="{2411C13F-B233-4D39-9378-D8D5E94CA9D3}"/>
                </a:ext>
              </a:extLst>
            </p:cNvPr>
            <p:cNvSpPr/>
            <p:nvPr/>
          </p:nvSpPr>
          <p:spPr>
            <a:xfrm>
              <a:off x="9497481" y="1807251"/>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7" y="15789"/>
                    <a:pt x="15789" y="22870"/>
                    <a:pt x="15789" y="32783"/>
                  </a:cubicBezTo>
                  <a:cubicBezTo>
                    <a:pt x="15789" y="42697"/>
                    <a:pt x="24287"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38" name="Freeform: Shape 1937">
              <a:extLst>
                <a:ext uri="{FF2B5EF4-FFF2-40B4-BE49-F238E27FC236}">
                  <a16:creationId xmlns:a16="http://schemas.microsoft.com/office/drawing/2014/main" id="{283F8327-C4A1-42EC-BA3F-E09669A6D316}"/>
                </a:ext>
              </a:extLst>
            </p:cNvPr>
            <p:cNvSpPr/>
            <p:nvPr/>
          </p:nvSpPr>
          <p:spPr>
            <a:xfrm>
              <a:off x="9389850" y="2288756"/>
              <a:ext cx="70810" cy="70810"/>
            </a:xfrm>
            <a:custGeom>
              <a:avLst/>
              <a:gdLst>
                <a:gd name="connsiteX0" fmla="*/ 35615 w 70809"/>
                <a:gd name="connsiteY0" fmla="*/ 55442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2"/>
                  </a:moveTo>
                  <a:cubicBezTo>
                    <a:pt x="46945" y="55442"/>
                    <a:pt x="55442" y="46945"/>
                    <a:pt x="55442" y="35616"/>
                  </a:cubicBezTo>
                  <a:cubicBezTo>
                    <a:pt x="55442" y="24286"/>
                    <a:pt x="46945" y="15789"/>
                    <a:pt x="35615" y="15789"/>
                  </a:cubicBezTo>
                  <a:cubicBezTo>
                    <a:pt x="25703" y="15789"/>
                    <a:pt x="15789" y="24286"/>
                    <a:pt x="15789" y="35616"/>
                  </a:cubicBezTo>
                  <a:cubicBezTo>
                    <a:pt x="17205" y="46945"/>
                    <a:pt x="25703" y="55442"/>
                    <a:pt x="35615"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39" name="Freeform: Shape 1938">
              <a:extLst>
                <a:ext uri="{FF2B5EF4-FFF2-40B4-BE49-F238E27FC236}">
                  <a16:creationId xmlns:a16="http://schemas.microsoft.com/office/drawing/2014/main" id="{0B2B44A9-CDAA-48A1-B518-047876151808}"/>
                </a:ext>
              </a:extLst>
            </p:cNvPr>
            <p:cNvSpPr/>
            <p:nvPr/>
          </p:nvSpPr>
          <p:spPr>
            <a:xfrm>
              <a:off x="9538551" y="2598901"/>
              <a:ext cx="70810" cy="70810"/>
            </a:xfrm>
            <a:custGeom>
              <a:avLst/>
              <a:gdLst>
                <a:gd name="connsiteX0" fmla="*/ 35615 w 70809"/>
                <a:gd name="connsiteY0" fmla="*/ 55442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2"/>
                  </a:moveTo>
                  <a:cubicBezTo>
                    <a:pt x="45529" y="55442"/>
                    <a:pt x="55442" y="46945"/>
                    <a:pt x="55442" y="35616"/>
                  </a:cubicBezTo>
                  <a:cubicBezTo>
                    <a:pt x="55442" y="25702"/>
                    <a:pt x="46945" y="15789"/>
                    <a:pt x="35615" y="15789"/>
                  </a:cubicBezTo>
                  <a:cubicBezTo>
                    <a:pt x="25703" y="15789"/>
                    <a:pt x="15789" y="24286"/>
                    <a:pt x="15789" y="35616"/>
                  </a:cubicBezTo>
                  <a:cubicBezTo>
                    <a:pt x="17205" y="46945"/>
                    <a:pt x="25703" y="55442"/>
                    <a:pt x="35615"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40" name="Freeform: Shape 1939">
              <a:extLst>
                <a:ext uri="{FF2B5EF4-FFF2-40B4-BE49-F238E27FC236}">
                  <a16:creationId xmlns:a16="http://schemas.microsoft.com/office/drawing/2014/main" id="{D1E03F93-84FF-4135-BACB-8D60F3E51707}"/>
                </a:ext>
              </a:extLst>
            </p:cNvPr>
            <p:cNvSpPr/>
            <p:nvPr/>
          </p:nvSpPr>
          <p:spPr>
            <a:xfrm>
              <a:off x="8864443" y="2938787"/>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30" y="55442"/>
                    <a:pt x="55443" y="46945"/>
                    <a:pt x="55443" y="35616"/>
                  </a:cubicBezTo>
                  <a:cubicBezTo>
                    <a:pt x="55443" y="25702"/>
                    <a:pt x="46945" y="15789"/>
                    <a:pt x="35616" y="15789"/>
                  </a:cubicBezTo>
                  <a:cubicBezTo>
                    <a:pt x="24287" y="15789"/>
                    <a:pt x="15789" y="24286"/>
                    <a:pt x="15789" y="35616"/>
                  </a:cubicBezTo>
                  <a:cubicBezTo>
                    <a:pt x="15789" y="46945"/>
                    <a:pt x="24287" y="55442"/>
                    <a:pt x="35616"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41" name="Freeform: Shape 1940">
              <a:extLst>
                <a:ext uri="{FF2B5EF4-FFF2-40B4-BE49-F238E27FC236}">
                  <a16:creationId xmlns:a16="http://schemas.microsoft.com/office/drawing/2014/main" id="{246CDE0E-0D30-462E-BFDF-3569CD2C7EC3}"/>
                </a:ext>
              </a:extLst>
            </p:cNvPr>
            <p:cNvSpPr/>
            <p:nvPr/>
          </p:nvSpPr>
          <p:spPr>
            <a:xfrm>
              <a:off x="8159180" y="2887804"/>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5703" y="15789"/>
                    <a:pt x="15789" y="24286"/>
                    <a:pt x="15789" y="35616"/>
                  </a:cubicBezTo>
                  <a:cubicBezTo>
                    <a:pt x="15789" y="46945"/>
                    <a:pt x="24287" y="55442"/>
                    <a:pt x="35616"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42" name="Freeform: Shape 1941">
              <a:extLst>
                <a:ext uri="{FF2B5EF4-FFF2-40B4-BE49-F238E27FC236}">
                  <a16:creationId xmlns:a16="http://schemas.microsoft.com/office/drawing/2014/main" id="{E1D03C51-3012-4279-BBE8-430D54AEA515}"/>
                </a:ext>
              </a:extLst>
            </p:cNvPr>
            <p:cNvSpPr/>
            <p:nvPr/>
          </p:nvSpPr>
          <p:spPr>
            <a:xfrm>
              <a:off x="8443834" y="2379392"/>
              <a:ext cx="70810" cy="70810"/>
            </a:xfrm>
            <a:custGeom>
              <a:avLst/>
              <a:gdLst>
                <a:gd name="connsiteX0" fmla="*/ 55443 w 70809"/>
                <a:gd name="connsiteY0" fmla="*/ 35616 h 70809"/>
                <a:gd name="connsiteX1" fmla="*/ 35616 w 70809"/>
                <a:gd name="connsiteY1" fmla="*/ 55442 h 70809"/>
                <a:gd name="connsiteX2" fmla="*/ 15788 w 70809"/>
                <a:gd name="connsiteY2" fmla="*/ 35616 h 70809"/>
                <a:gd name="connsiteX3" fmla="*/ 35616 w 70809"/>
                <a:gd name="connsiteY3" fmla="*/ 15789 h 70809"/>
                <a:gd name="connsiteX4" fmla="*/ 55443 w 70809"/>
                <a:gd name="connsiteY4" fmla="*/ 35616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55443" y="35616"/>
                  </a:moveTo>
                  <a:cubicBezTo>
                    <a:pt x="55443" y="46565"/>
                    <a:pt x="46565" y="55442"/>
                    <a:pt x="35616" y="55442"/>
                  </a:cubicBezTo>
                  <a:cubicBezTo>
                    <a:pt x="24666" y="55442"/>
                    <a:pt x="15788" y="46565"/>
                    <a:pt x="15788" y="35616"/>
                  </a:cubicBezTo>
                  <a:cubicBezTo>
                    <a:pt x="15788" y="24666"/>
                    <a:pt x="24666" y="15789"/>
                    <a:pt x="35616" y="15789"/>
                  </a:cubicBezTo>
                  <a:cubicBezTo>
                    <a:pt x="46565" y="15789"/>
                    <a:pt x="55443" y="24666"/>
                    <a:pt x="5544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43" name="Freeform: Shape 1942">
              <a:extLst>
                <a:ext uri="{FF2B5EF4-FFF2-40B4-BE49-F238E27FC236}">
                  <a16:creationId xmlns:a16="http://schemas.microsoft.com/office/drawing/2014/main" id="{97815D7C-9492-4201-A101-A07E0DA68A45}"/>
                </a:ext>
              </a:extLst>
            </p:cNvPr>
            <p:cNvSpPr/>
            <p:nvPr/>
          </p:nvSpPr>
          <p:spPr>
            <a:xfrm>
              <a:off x="9215659" y="1770430"/>
              <a:ext cx="70810" cy="70810"/>
            </a:xfrm>
            <a:custGeom>
              <a:avLst/>
              <a:gdLst>
                <a:gd name="connsiteX0" fmla="*/ 35615 w 70809"/>
                <a:gd name="connsiteY0" fmla="*/ 55442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2"/>
                  </a:moveTo>
                  <a:cubicBezTo>
                    <a:pt x="45529" y="55442"/>
                    <a:pt x="55442" y="46945"/>
                    <a:pt x="55442" y="35616"/>
                  </a:cubicBezTo>
                  <a:cubicBezTo>
                    <a:pt x="55442" y="25702"/>
                    <a:pt x="46945" y="15789"/>
                    <a:pt x="35615" y="15789"/>
                  </a:cubicBezTo>
                  <a:cubicBezTo>
                    <a:pt x="25702" y="15789"/>
                    <a:pt x="15789" y="24286"/>
                    <a:pt x="15789" y="35616"/>
                  </a:cubicBezTo>
                  <a:cubicBezTo>
                    <a:pt x="17205" y="46945"/>
                    <a:pt x="25702" y="55442"/>
                    <a:pt x="35615"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44" name="Freeform: Shape 1943">
              <a:extLst>
                <a:ext uri="{FF2B5EF4-FFF2-40B4-BE49-F238E27FC236}">
                  <a16:creationId xmlns:a16="http://schemas.microsoft.com/office/drawing/2014/main" id="{55AAECE4-38A1-4321-98BF-95258D2F4832}"/>
                </a:ext>
              </a:extLst>
            </p:cNvPr>
            <p:cNvSpPr/>
            <p:nvPr/>
          </p:nvSpPr>
          <p:spPr>
            <a:xfrm>
              <a:off x="8609528" y="1380977"/>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5702"/>
                    <a:pt x="46945" y="15789"/>
                    <a:pt x="35616" y="15789"/>
                  </a:cubicBezTo>
                  <a:cubicBezTo>
                    <a:pt x="25703" y="15789"/>
                    <a:pt x="15789" y="24286"/>
                    <a:pt x="15789" y="35616"/>
                  </a:cubicBezTo>
                  <a:cubicBezTo>
                    <a:pt x="15789" y="45529"/>
                    <a:pt x="24287" y="55442"/>
                    <a:pt x="35616"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45" name="Freeform: Shape 1944">
              <a:extLst>
                <a:ext uri="{FF2B5EF4-FFF2-40B4-BE49-F238E27FC236}">
                  <a16:creationId xmlns:a16="http://schemas.microsoft.com/office/drawing/2014/main" id="{CE19C5D7-3F99-4B23-8524-CCC2BA7F3484}"/>
                </a:ext>
              </a:extLst>
            </p:cNvPr>
            <p:cNvSpPr/>
            <p:nvPr/>
          </p:nvSpPr>
          <p:spPr>
            <a:xfrm>
              <a:off x="6594288" y="1948870"/>
              <a:ext cx="212429" cy="212429"/>
            </a:xfrm>
            <a:custGeom>
              <a:avLst/>
              <a:gdLst>
                <a:gd name="connsiteX0" fmla="*/ 112090 w 212428"/>
                <a:gd name="connsiteY0" fmla="*/ 208391 h 212428"/>
                <a:gd name="connsiteX1" fmla="*/ 208391 w 212428"/>
                <a:gd name="connsiteY1" fmla="*/ 112090 h 212428"/>
                <a:gd name="connsiteX2" fmla="*/ 112090 w 212428"/>
                <a:gd name="connsiteY2" fmla="*/ 15789 h 212428"/>
                <a:gd name="connsiteX3" fmla="*/ 15789 w 212428"/>
                <a:gd name="connsiteY3" fmla="*/ 112090 h 212428"/>
                <a:gd name="connsiteX4" fmla="*/ 112090 w 212428"/>
                <a:gd name="connsiteY4" fmla="*/ 208391 h 212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428" h="212428">
                  <a:moveTo>
                    <a:pt x="112090" y="208391"/>
                  </a:moveTo>
                  <a:cubicBezTo>
                    <a:pt x="164489" y="208391"/>
                    <a:pt x="208391" y="164489"/>
                    <a:pt x="208391" y="112090"/>
                  </a:cubicBezTo>
                  <a:cubicBezTo>
                    <a:pt x="208391" y="58275"/>
                    <a:pt x="164489" y="15789"/>
                    <a:pt x="112090" y="15789"/>
                  </a:cubicBezTo>
                  <a:cubicBezTo>
                    <a:pt x="59691" y="15789"/>
                    <a:pt x="15789" y="59691"/>
                    <a:pt x="15789" y="112090"/>
                  </a:cubicBezTo>
                  <a:cubicBezTo>
                    <a:pt x="15789" y="164489"/>
                    <a:pt x="59691" y="208391"/>
                    <a:pt x="112090" y="20839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46" name="Freeform: Shape 1945">
              <a:extLst>
                <a:ext uri="{FF2B5EF4-FFF2-40B4-BE49-F238E27FC236}">
                  <a16:creationId xmlns:a16="http://schemas.microsoft.com/office/drawing/2014/main" id="{62A93F8D-52D7-45A7-9C22-A5BF68878019}"/>
                </a:ext>
              </a:extLst>
            </p:cNvPr>
            <p:cNvSpPr/>
            <p:nvPr/>
          </p:nvSpPr>
          <p:spPr>
            <a:xfrm>
              <a:off x="7361864" y="2161298"/>
              <a:ext cx="127457" cy="127457"/>
            </a:xfrm>
            <a:custGeom>
              <a:avLst/>
              <a:gdLst>
                <a:gd name="connsiteX0" fmla="*/ 63939 w 127457"/>
                <a:gd name="connsiteY0" fmla="*/ 112090 h 127457"/>
                <a:gd name="connsiteX1" fmla="*/ 112090 w 127457"/>
                <a:gd name="connsiteY1" fmla="*/ 63939 h 127457"/>
                <a:gd name="connsiteX2" fmla="*/ 63939 w 127457"/>
                <a:gd name="connsiteY2" fmla="*/ 15789 h 127457"/>
                <a:gd name="connsiteX3" fmla="*/ 15789 w 127457"/>
                <a:gd name="connsiteY3" fmla="*/ 63939 h 127457"/>
                <a:gd name="connsiteX4" fmla="*/ 63939 w 127457"/>
                <a:gd name="connsiteY4" fmla="*/ 112090 h 127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57" h="127457">
                  <a:moveTo>
                    <a:pt x="63939" y="112090"/>
                  </a:moveTo>
                  <a:cubicBezTo>
                    <a:pt x="90847" y="112090"/>
                    <a:pt x="112090" y="90847"/>
                    <a:pt x="112090" y="63939"/>
                  </a:cubicBezTo>
                  <a:cubicBezTo>
                    <a:pt x="112090" y="37032"/>
                    <a:pt x="90847" y="15789"/>
                    <a:pt x="63939" y="15789"/>
                  </a:cubicBezTo>
                  <a:cubicBezTo>
                    <a:pt x="37032" y="15789"/>
                    <a:pt x="15789" y="37032"/>
                    <a:pt x="15789" y="63939"/>
                  </a:cubicBezTo>
                  <a:cubicBezTo>
                    <a:pt x="15789" y="90847"/>
                    <a:pt x="38448" y="112090"/>
                    <a:pt x="63939" y="11209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47" name="Freeform: Shape 1946">
              <a:extLst>
                <a:ext uri="{FF2B5EF4-FFF2-40B4-BE49-F238E27FC236}">
                  <a16:creationId xmlns:a16="http://schemas.microsoft.com/office/drawing/2014/main" id="{2DFC79DA-270A-439F-BFCD-ADBF2F363192}"/>
                </a:ext>
              </a:extLst>
            </p:cNvPr>
            <p:cNvSpPr/>
            <p:nvPr/>
          </p:nvSpPr>
          <p:spPr>
            <a:xfrm>
              <a:off x="7231575" y="1492856"/>
              <a:ext cx="127457" cy="127457"/>
            </a:xfrm>
            <a:custGeom>
              <a:avLst/>
              <a:gdLst>
                <a:gd name="connsiteX0" fmla="*/ 112090 w 127457"/>
                <a:gd name="connsiteY0" fmla="*/ 63940 h 127457"/>
                <a:gd name="connsiteX1" fmla="*/ 63940 w 127457"/>
                <a:gd name="connsiteY1" fmla="*/ 112090 h 127457"/>
                <a:gd name="connsiteX2" fmla="*/ 15789 w 127457"/>
                <a:gd name="connsiteY2" fmla="*/ 63940 h 127457"/>
                <a:gd name="connsiteX3" fmla="*/ 63940 w 127457"/>
                <a:gd name="connsiteY3" fmla="*/ 15789 h 127457"/>
                <a:gd name="connsiteX4" fmla="*/ 112090 w 127457"/>
                <a:gd name="connsiteY4" fmla="*/ 63940 h 127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57" h="127457">
                  <a:moveTo>
                    <a:pt x="112090" y="63940"/>
                  </a:moveTo>
                  <a:cubicBezTo>
                    <a:pt x="112090" y="90532"/>
                    <a:pt x="90533" y="112090"/>
                    <a:pt x="63940" y="112090"/>
                  </a:cubicBezTo>
                  <a:cubicBezTo>
                    <a:pt x="37347" y="112090"/>
                    <a:pt x="15789" y="90532"/>
                    <a:pt x="15789" y="63940"/>
                  </a:cubicBezTo>
                  <a:cubicBezTo>
                    <a:pt x="15789" y="37347"/>
                    <a:pt x="37347" y="15789"/>
                    <a:pt x="63940" y="15789"/>
                  </a:cubicBezTo>
                  <a:cubicBezTo>
                    <a:pt x="90533" y="15789"/>
                    <a:pt x="112090" y="37347"/>
                    <a:pt x="112090" y="6394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48" name="Freeform: Shape 1947">
              <a:extLst>
                <a:ext uri="{FF2B5EF4-FFF2-40B4-BE49-F238E27FC236}">
                  <a16:creationId xmlns:a16="http://schemas.microsoft.com/office/drawing/2014/main" id="{6E6A14B9-4290-48D4-9C6E-BF275309AD22}"/>
                </a:ext>
              </a:extLst>
            </p:cNvPr>
            <p:cNvSpPr/>
            <p:nvPr/>
          </p:nvSpPr>
          <p:spPr>
            <a:xfrm>
              <a:off x="7026227" y="1991355"/>
              <a:ext cx="113295" cy="113295"/>
            </a:xfrm>
            <a:custGeom>
              <a:avLst/>
              <a:gdLst>
                <a:gd name="connsiteX0" fmla="*/ 61107 w 113295"/>
                <a:gd name="connsiteY0" fmla="*/ 15789 h 113295"/>
                <a:gd name="connsiteX1" fmla="*/ 106426 w 113295"/>
                <a:gd name="connsiteY1" fmla="*/ 61107 h 113295"/>
                <a:gd name="connsiteX2" fmla="*/ 61107 w 113295"/>
                <a:gd name="connsiteY2" fmla="*/ 106425 h 113295"/>
                <a:gd name="connsiteX3" fmla="*/ 15789 w 113295"/>
                <a:gd name="connsiteY3" fmla="*/ 61107 h 113295"/>
                <a:gd name="connsiteX4" fmla="*/ 61107 w 113295"/>
                <a:gd name="connsiteY4" fmla="*/ 15789 h 113295"/>
                <a:gd name="connsiteX5" fmla="*/ 61107 w 113295"/>
                <a:gd name="connsiteY5" fmla="*/ 15789 h 113295"/>
                <a:gd name="connsiteX6" fmla="*/ 61107 w 113295"/>
                <a:gd name="connsiteY6" fmla="*/ 37032 h 113295"/>
                <a:gd name="connsiteX7" fmla="*/ 35616 w 113295"/>
                <a:gd name="connsiteY7" fmla="*/ 62523 h 113295"/>
                <a:gd name="connsiteX8" fmla="*/ 61107 w 113295"/>
                <a:gd name="connsiteY8" fmla="*/ 88015 h 113295"/>
                <a:gd name="connsiteX9" fmla="*/ 86599 w 113295"/>
                <a:gd name="connsiteY9" fmla="*/ 62523 h 113295"/>
                <a:gd name="connsiteX10" fmla="*/ 61107 w 113295"/>
                <a:gd name="connsiteY10" fmla="*/ 37032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07" y="15789"/>
                  </a:moveTo>
                  <a:cubicBezTo>
                    <a:pt x="86599" y="15789"/>
                    <a:pt x="106426" y="35616"/>
                    <a:pt x="106426" y="61107"/>
                  </a:cubicBezTo>
                  <a:cubicBezTo>
                    <a:pt x="106426" y="86599"/>
                    <a:pt x="86599" y="106425"/>
                    <a:pt x="61107" y="106425"/>
                  </a:cubicBezTo>
                  <a:cubicBezTo>
                    <a:pt x="35616" y="106425"/>
                    <a:pt x="15789" y="86599"/>
                    <a:pt x="15789" y="61107"/>
                  </a:cubicBezTo>
                  <a:cubicBezTo>
                    <a:pt x="15789" y="37032"/>
                    <a:pt x="37032" y="15789"/>
                    <a:pt x="61107" y="15789"/>
                  </a:cubicBezTo>
                  <a:lnTo>
                    <a:pt x="61107" y="15789"/>
                  </a:lnTo>
                  <a:close/>
                  <a:moveTo>
                    <a:pt x="61107" y="37032"/>
                  </a:moveTo>
                  <a:cubicBezTo>
                    <a:pt x="46945" y="37032"/>
                    <a:pt x="35616" y="48361"/>
                    <a:pt x="35616" y="62523"/>
                  </a:cubicBezTo>
                  <a:cubicBezTo>
                    <a:pt x="35616" y="76685"/>
                    <a:pt x="46945" y="88015"/>
                    <a:pt x="61107" y="88015"/>
                  </a:cubicBezTo>
                  <a:cubicBezTo>
                    <a:pt x="75269" y="88015"/>
                    <a:pt x="86599" y="76685"/>
                    <a:pt x="86599" y="62523"/>
                  </a:cubicBezTo>
                  <a:cubicBezTo>
                    <a:pt x="88015" y="48361"/>
                    <a:pt x="75269" y="37032"/>
                    <a:pt x="61107" y="3703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49" name="Freeform: Shape 1948">
              <a:extLst>
                <a:ext uri="{FF2B5EF4-FFF2-40B4-BE49-F238E27FC236}">
                  <a16:creationId xmlns:a16="http://schemas.microsoft.com/office/drawing/2014/main" id="{42B52DDE-0CCE-4B98-9DED-CFF100F890C7}"/>
                </a:ext>
              </a:extLst>
            </p:cNvPr>
            <p:cNvSpPr/>
            <p:nvPr/>
          </p:nvSpPr>
          <p:spPr>
            <a:xfrm>
              <a:off x="7854699" y="2242021"/>
              <a:ext cx="113295" cy="113295"/>
            </a:xfrm>
            <a:custGeom>
              <a:avLst/>
              <a:gdLst>
                <a:gd name="connsiteX0" fmla="*/ 61107 w 113295"/>
                <a:gd name="connsiteY0" fmla="*/ 15789 h 113295"/>
                <a:gd name="connsiteX1" fmla="*/ 106426 w 113295"/>
                <a:gd name="connsiteY1" fmla="*/ 61107 h 113295"/>
                <a:gd name="connsiteX2" fmla="*/ 61107 w 113295"/>
                <a:gd name="connsiteY2" fmla="*/ 106425 h 113295"/>
                <a:gd name="connsiteX3" fmla="*/ 15789 w 113295"/>
                <a:gd name="connsiteY3" fmla="*/ 61107 h 113295"/>
                <a:gd name="connsiteX4" fmla="*/ 61107 w 113295"/>
                <a:gd name="connsiteY4" fmla="*/ 15789 h 113295"/>
                <a:gd name="connsiteX5" fmla="*/ 61107 w 113295"/>
                <a:gd name="connsiteY5" fmla="*/ 15789 h 113295"/>
                <a:gd name="connsiteX6" fmla="*/ 61107 w 113295"/>
                <a:gd name="connsiteY6" fmla="*/ 35616 h 113295"/>
                <a:gd name="connsiteX7" fmla="*/ 35616 w 113295"/>
                <a:gd name="connsiteY7" fmla="*/ 61107 h 113295"/>
                <a:gd name="connsiteX8" fmla="*/ 61107 w 113295"/>
                <a:gd name="connsiteY8" fmla="*/ 86599 h 113295"/>
                <a:gd name="connsiteX9" fmla="*/ 86599 w 113295"/>
                <a:gd name="connsiteY9" fmla="*/ 61107 h 113295"/>
                <a:gd name="connsiteX10" fmla="*/ 61107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07" y="15789"/>
                  </a:moveTo>
                  <a:cubicBezTo>
                    <a:pt x="86599" y="15789"/>
                    <a:pt x="106426" y="35616"/>
                    <a:pt x="106426" y="61107"/>
                  </a:cubicBezTo>
                  <a:cubicBezTo>
                    <a:pt x="106426" y="86599"/>
                    <a:pt x="86599" y="106425"/>
                    <a:pt x="61107" y="106425"/>
                  </a:cubicBezTo>
                  <a:cubicBezTo>
                    <a:pt x="35616" y="106425"/>
                    <a:pt x="15789" y="86599"/>
                    <a:pt x="15789" y="61107"/>
                  </a:cubicBezTo>
                  <a:cubicBezTo>
                    <a:pt x="15789" y="37032"/>
                    <a:pt x="35616" y="15789"/>
                    <a:pt x="61107" y="15789"/>
                  </a:cubicBezTo>
                  <a:lnTo>
                    <a:pt x="61107" y="15789"/>
                  </a:lnTo>
                  <a:close/>
                  <a:moveTo>
                    <a:pt x="61107" y="35616"/>
                  </a:moveTo>
                  <a:cubicBezTo>
                    <a:pt x="46945" y="35616"/>
                    <a:pt x="35616" y="46945"/>
                    <a:pt x="35616" y="61107"/>
                  </a:cubicBezTo>
                  <a:cubicBezTo>
                    <a:pt x="35616" y="75269"/>
                    <a:pt x="46945" y="86599"/>
                    <a:pt x="61107" y="86599"/>
                  </a:cubicBezTo>
                  <a:cubicBezTo>
                    <a:pt x="75269" y="86599"/>
                    <a:pt x="86599" y="75269"/>
                    <a:pt x="86599" y="61107"/>
                  </a:cubicBezTo>
                  <a:cubicBezTo>
                    <a:pt x="86599" y="48361"/>
                    <a:pt x="75269" y="35616"/>
                    <a:pt x="61107"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50" name="Freeform: Shape 1949">
              <a:extLst>
                <a:ext uri="{FF2B5EF4-FFF2-40B4-BE49-F238E27FC236}">
                  <a16:creationId xmlns:a16="http://schemas.microsoft.com/office/drawing/2014/main" id="{BF5F5FF2-361B-485E-AD56-264AEE3351E1}"/>
                </a:ext>
              </a:extLst>
            </p:cNvPr>
            <p:cNvSpPr/>
            <p:nvPr/>
          </p:nvSpPr>
          <p:spPr>
            <a:xfrm>
              <a:off x="9188751" y="2981273"/>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29" y="55442"/>
                    <a:pt x="55442" y="46945"/>
                    <a:pt x="55442" y="35616"/>
                  </a:cubicBezTo>
                  <a:cubicBezTo>
                    <a:pt x="55442" y="25702"/>
                    <a:pt x="46945" y="15789"/>
                    <a:pt x="35616" y="15789"/>
                  </a:cubicBezTo>
                  <a:cubicBezTo>
                    <a:pt x="24286" y="15789"/>
                    <a:pt x="15789" y="24286"/>
                    <a:pt x="15789" y="35616"/>
                  </a:cubicBezTo>
                  <a:cubicBezTo>
                    <a:pt x="15789" y="46945"/>
                    <a:pt x="25703" y="55442"/>
                    <a:pt x="35616"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51" name="Freeform: Shape 1950">
              <a:extLst>
                <a:ext uri="{FF2B5EF4-FFF2-40B4-BE49-F238E27FC236}">
                  <a16:creationId xmlns:a16="http://schemas.microsoft.com/office/drawing/2014/main" id="{78BABCEC-547B-453E-A4CD-6565AB8CFA8D}"/>
                </a:ext>
              </a:extLst>
            </p:cNvPr>
            <p:cNvSpPr/>
            <p:nvPr/>
          </p:nvSpPr>
          <p:spPr>
            <a:xfrm>
              <a:off x="9078288" y="3338153"/>
              <a:ext cx="70810" cy="70810"/>
            </a:xfrm>
            <a:custGeom>
              <a:avLst/>
              <a:gdLst>
                <a:gd name="connsiteX0" fmla="*/ 35615 w 70809"/>
                <a:gd name="connsiteY0" fmla="*/ 55442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2"/>
                  </a:moveTo>
                  <a:cubicBezTo>
                    <a:pt x="45529" y="55442"/>
                    <a:pt x="55442" y="46945"/>
                    <a:pt x="55442" y="35616"/>
                  </a:cubicBezTo>
                  <a:cubicBezTo>
                    <a:pt x="55442" y="24286"/>
                    <a:pt x="46945" y="15789"/>
                    <a:pt x="35615" y="15789"/>
                  </a:cubicBezTo>
                  <a:cubicBezTo>
                    <a:pt x="25703" y="15789"/>
                    <a:pt x="15789" y="24286"/>
                    <a:pt x="15789" y="35616"/>
                  </a:cubicBezTo>
                  <a:cubicBezTo>
                    <a:pt x="15789" y="46945"/>
                    <a:pt x="25703" y="55442"/>
                    <a:pt x="35615"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52" name="Freeform: Shape 1951">
              <a:extLst>
                <a:ext uri="{FF2B5EF4-FFF2-40B4-BE49-F238E27FC236}">
                  <a16:creationId xmlns:a16="http://schemas.microsoft.com/office/drawing/2014/main" id="{048092A4-EBA8-4CF9-861F-1B3455251FA2}"/>
                </a:ext>
              </a:extLst>
            </p:cNvPr>
            <p:cNvSpPr/>
            <p:nvPr/>
          </p:nvSpPr>
          <p:spPr>
            <a:xfrm>
              <a:off x="8647766" y="3532171"/>
              <a:ext cx="84971" cy="84971"/>
            </a:xfrm>
            <a:custGeom>
              <a:avLst/>
              <a:gdLst>
                <a:gd name="connsiteX0" fmla="*/ 48361 w 84971"/>
                <a:gd name="connsiteY0" fmla="*/ 15789 h 84971"/>
                <a:gd name="connsiteX1" fmla="*/ 80934 w 84971"/>
                <a:gd name="connsiteY1" fmla="*/ 48361 h 84971"/>
                <a:gd name="connsiteX2" fmla="*/ 48361 w 84971"/>
                <a:gd name="connsiteY2" fmla="*/ 80934 h 84971"/>
                <a:gd name="connsiteX3" fmla="*/ 15789 w 84971"/>
                <a:gd name="connsiteY3" fmla="*/ 48361 h 84971"/>
                <a:gd name="connsiteX4" fmla="*/ 48361 w 84971"/>
                <a:gd name="connsiteY4" fmla="*/ 15789 h 84971"/>
                <a:gd name="connsiteX5" fmla="*/ 48361 w 84971"/>
                <a:gd name="connsiteY5" fmla="*/ 15789 h 84971"/>
                <a:gd name="connsiteX6" fmla="*/ 48361 w 84971"/>
                <a:gd name="connsiteY6" fmla="*/ 21454 h 84971"/>
                <a:gd name="connsiteX7" fmla="*/ 21454 w 84971"/>
                <a:gd name="connsiteY7" fmla="*/ 48361 h 84971"/>
                <a:gd name="connsiteX8" fmla="*/ 48361 w 84971"/>
                <a:gd name="connsiteY8" fmla="*/ 75269 h 84971"/>
                <a:gd name="connsiteX9" fmla="*/ 75269 w 84971"/>
                <a:gd name="connsiteY9" fmla="*/ 48361 h 84971"/>
                <a:gd name="connsiteX10" fmla="*/ 48361 w 84971"/>
                <a:gd name="connsiteY10" fmla="*/ 21454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8361" y="15789"/>
                  </a:moveTo>
                  <a:cubicBezTo>
                    <a:pt x="66772" y="15789"/>
                    <a:pt x="80934" y="29951"/>
                    <a:pt x="80934" y="48361"/>
                  </a:cubicBezTo>
                  <a:cubicBezTo>
                    <a:pt x="80934" y="66772"/>
                    <a:pt x="66772" y="80934"/>
                    <a:pt x="48361" y="80934"/>
                  </a:cubicBezTo>
                  <a:cubicBezTo>
                    <a:pt x="29951" y="80934"/>
                    <a:pt x="15789" y="66772"/>
                    <a:pt x="15789" y="48361"/>
                  </a:cubicBezTo>
                  <a:cubicBezTo>
                    <a:pt x="15789" y="29951"/>
                    <a:pt x="29951" y="15789"/>
                    <a:pt x="48361" y="15789"/>
                  </a:cubicBezTo>
                  <a:lnTo>
                    <a:pt x="48361" y="15789"/>
                  </a:lnTo>
                  <a:close/>
                  <a:moveTo>
                    <a:pt x="48361" y="21454"/>
                  </a:moveTo>
                  <a:cubicBezTo>
                    <a:pt x="34199" y="21454"/>
                    <a:pt x="21454" y="32783"/>
                    <a:pt x="21454" y="48361"/>
                  </a:cubicBezTo>
                  <a:cubicBezTo>
                    <a:pt x="21454" y="62523"/>
                    <a:pt x="32783" y="75269"/>
                    <a:pt x="48361" y="75269"/>
                  </a:cubicBezTo>
                  <a:cubicBezTo>
                    <a:pt x="62523" y="75269"/>
                    <a:pt x="75269" y="63940"/>
                    <a:pt x="75269" y="48361"/>
                  </a:cubicBezTo>
                  <a:cubicBezTo>
                    <a:pt x="75269" y="34200"/>
                    <a:pt x="62523" y="21454"/>
                    <a:pt x="48361" y="2145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53" name="Freeform: Shape 1952">
              <a:extLst>
                <a:ext uri="{FF2B5EF4-FFF2-40B4-BE49-F238E27FC236}">
                  <a16:creationId xmlns:a16="http://schemas.microsoft.com/office/drawing/2014/main" id="{E601188C-55B3-407C-A71A-64D426E9D043}"/>
                </a:ext>
              </a:extLst>
            </p:cNvPr>
            <p:cNvSpPr/>
            <p:nvPr/>
          </p:nvSpPr>
          <p:spPr>
            <a:xfrm>
              <a:off x="7621027" y="1218115"/>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2" y="58275"/>
                    <a:pt x="58275" y="48361"/>
                    <a:pt x="58275" y="37032"/>
                  </a:cubicBezTo>
                  <a:cubicBezTo>
                    <a:pt x="58275" y="25702"/>
                    <a:pt x="48362" y="15789"/>
                    <a:pt x="37032" y="15789"/>
                  </a:cubicBezTo>
                  <a:cubicBezTo>
                    <a:pt x="25703" y="15789"/>
                    <a:pt x="15789" y="25702"/>
                    <a:pt x="15789" y="37032"/>
                  </a:cubicBezTo>
                  <a:cubicBezTo>
                    <a:pt x="15789" y="48361"/>
                    <a:pt x="25703" y="58275"/>
                    <a:pt x="37032" y="5827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54" name="Freeform: Shape 1953">
              <a:extLst>
                <a:ext uri="{FF2B5EF4-FFF2-40B4-BE49-F238E27FC236}">
                  <a16:creationId xmlns:a16="http://schemas.microsoft.com/office/drawing/2014/main" id="{AF44242B-CBE0-4454-B8E5-FE438CF62D21}"/>
                </a:ext>
              </a:extLst>
            </p:cNvPr>
            <p:cNvSpPr/>
            <p:nvPr/>
          </p:nvSpPr>
          <p:spPr>
            <a:xfrm>
              <a:off x="9391266" y="107791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7"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55" name="Freeform: Shape 1954">
              <a:extLst>
                <a:ext uri="{FF2B5EF4-FFF2-40B4-BE49-F238E27FC236}">
                  <a16:creationId xmlns:a16="http://schemas.microsoft.com/office/drawing/2014/main" id="{823B3223-BCE7-4A79-B7B0-E7BA9ACAE7E2}"/>
                </a:ext>
              </a:extLst>
            </p:cNvPr>
            <p:cNvSpPr/>
            <p:nvPr/>
          </p:nvSpPr>
          <p:spPr>
            <a:xfrm>
              <a:off x="9892598" y="1144473"/>
              <a:ext cx="56648" cy="56648"/>
            </a:xfrm>
            <a:custGeom>
              <a:avLst/>
              <a:gdLst>
                <a:gd name="connsiteX0" fmla="*/ 32783 w 56647"/>
                <a:gd name="connsiteY0" fmla="*/ 49778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7" y="42697"/>
                    <a:pt x="49777" y="32783"/>
                  </a:cubicBezTo>
                  <a:cubicBezTo>
                    <a:pt x="49777" y="22870"/>
                    <a:pt x="42696"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56" name="Freeform: Shape 1955">
              <a:extLst>
                <a:ext uri="{FF2B5EF4-FFF2-40B4-BE49-F238E27FC236}">
                  <a16:creationId xmlns:a16="http://schemas.microsoft.com/office/drawing/2014/main" id="{865246DA-B3F2-45E0-817A-1817161BAE2B}"/>
                </a:ext>
              </a:extLst>
            </p:cNvPr>
            <p:cNvSpPr/>
            <p:nvPr/>
          </p:nvSpPr>
          <p:spPr>
            <a:xfrm>
              <a:off x="9801962" y="2002685"/>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7" y="15789"/>
                    <a:pt x="15789" y="24286"/>
                    <a:pt x="15789" y="35616"/>
                  </a:cubicBezTo>
                  <a:cubicBezTo>
                    <a:pt x="15789" y="46945"/>
                    <a:pt x="24287" y="55442"/>
                    <a:pt x="35616"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57" name="Freeform: Shape 1956">
              <a:extLst>
                <a:ext uri="{FF2B5EF4-FFF2-40B4-BE49-F238E27FC236}">
                  <a16:creationId xmlns:a16="http://schemas.microsoft.com/office/drawing/2014/main" id="{7352BC74-E5EE-4DF2-84F5-B655C43DBB6B}"/>
                </a:ext>
              </a:extLst>
            </p:cNvPr>
            <p:cNvSpPr/>
            <p:nvPr/>
          </p:nvSpPr>
          <p:spPr>
            <a:xfrm>
              <a:off x="9069791" y="1431960"/>
              <a:ext cx="113295" cy="113295"/>
            </a:xfrm>
            <a:custGeom>
              <a:avLst/>
              <a:gdLst>
                <a:gd name="connsiteX0" fmla="*/ 56859 w 113295"/>
                <a:gd name="connsiteY0" fmla="*/ 97928 h 113295"/>
                <a:gd name="connsiteX1" fmla="*/ 97929 w 113295"/>
                <a:gd name="connsiteY1" fmla="*/ 56859 h 113295"/>
                <a:gd name="connsiteX2" fmla="*/ 56859 w 113295"/>
                <a:gd name="connsiteY2" fmla="*/ 15789 h 113295"/>
                <a:gd name="connsiteX3" fmla="*/ 15789 w 113295"/>
                <a:gd name="connsiteY3" fmla="*/ 56859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9" y="79518"/>
                    <a:pt x="97929" y="56859"/>
                  </a:cubicBezTo>
                  <a:cubicBezTo>
                    <a:pt x="97929" y="34200"/>
                    <a:pt x="79518" y="15789"/>
                    <a:pt x="56859" y="15789"/>
                  </a:cubicBezTo>
                  <a:cubicBezTo>
                    <a:pt x="34200" y="15789"/>
                    <a:pt x="15789" y="34200"/>
                    <a:pt x="15789" y="56859"/>
                  </a:cubicBezTo>
                  <a:cubicBezTo>
                    <a:pt x="15789" y="79518"/>
                    <a:pt x="34200" y="97928"/>
                    <a:pt x="56859" y="9792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58" name="Freeform: Shape 1957">
              <a:extLst>
                <a:ext uri="{FF2B5EF4-FFF2-40B4-BE49-F238E27FC236}">
                  <a16:creationId xmlns:a16="http://schemas.microsoft.com/office/drawing/2014/main" id="{5E785427-A569-4069-975C-70FD8B1B8A86}"/>
                </a:ext>
              </a:extLst>
            </p:cNvPr>
            <p:cNvSpPr/>
            <p:nvPr/>
          </p:nvSpPr>
          <p:spPr>
            <a:xfrm>
              <a:off x="9023056" y="2617312"/>
              <a:ext cx="113295" cy="113295"/>
            </a:xfrm>
            <a:custGeom>
              <a:avLst/>
              <a:gdLst>
                <a:gd name="connsiteX0" fmla="*/ 56859 w 113295"/>
                <a:gd name="connsiteY0" fmla="*/ 97928 h 113295"/>
                <a:gd name="connsiteX1" fmla="*/ 97928 w 113295"/>
                <a:gd name="connsiteY1" fmla="*/ 56858 h 113295"/>
                <a:gd name="connsiteX2" fmla="*/ 56859 w 113295"/>
                <a:gd name="connsiteY2" fmla="*/ 15789 h 113295"/>
                <a:gd name="connsiteX3" fmla="*/ 15789 w 113295"/>
                <a:gd name="connsiteY3" fmla="*/ 56858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8" y="79518"/>
                    <a:pt x="97928" y="56858"/>
                  </a:cubicBezTo>
                  <a:cubicBezTo>
                    <a:pt x="97928" y="34200"/>
                    <a:pt x="79518" y="15789"/>
                    <a:pt x="56859" y="15789"/>
                  </a:cubicBezTo>
                  <a:cubicBezTo>
                    <a:pt x="34199" y="15789"/>
                    <a:pt x="15789" y="34200"/>
                    <a:pt x="15789" y="56858"/>
                  </a:cubicBezTo>
                  <a:cubicBezTo>
                    <a:pt x="15789" y="79518"/>
                    <a:pt x="34199" y="97928"/>
                    <a:pt x="56859" y="9792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59" name="Freeform: Shape 1958">
              <a:extLst>
                <a:ext uri="{FF2B5EF4-FFF2-40B4-BE49-F238E27FC236}">
                  <a16:creationId xmlns:a16="http://schemas.microsoft.com/office/drawing/2014/main" id="{93311C0D-9C84-4B88-866E-01C3FEB4AE7C}"/>
                </a:ext>
              </a:extLst>
            </p:cNvPr>
            <p:cNvSpPr/>
            <p:nvPr/>
          </p:nvSpPr>
          <p:spPr>
            <a:xfrm>
              <a:off x="8317793" y="3384887"/>
              <a:ext cx="113295" cy="113295"/>
            </a:xfrm>
            <a:custGeom>
              <a:avLst/>
              <a:gdLst>
                <a:gd name="connsiteX0" fmla="*/ 56859 w 113295"/>
                <a:gd name="connsiteY0" fmla="*/ 97928 h 113295"/>
                <a:gd name="connsiteX1" fmla="*/ 97928 w 113295"/>
                <a:gd name="connsiteY1" fmla="*/ 56858 h 113295"/>
                <a:gd name="connsiteX2" fmla="*/ 56859 w 113295"/>
                <a:gd name="connsiteY2" fmla="*/ 15789 h 113295"/>
                <a:gd name="connsiteX3" fmla="*/ 15789 w 113295"/>
                <a:gd name="connsiteY3" fmla="*/ 56858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8" y="79518"/>
                    <a:pt x="97928" y="56858"/>
                  </a:cubicBezTo>
                  <a:cubicBezTo>
                    <a:pt x="97928" y="34200"/>
                    <a:pt x="79518" y="15789"/>
                    <a:pt x="56859" y="15789"/>
                  </a:cubicBezTo>
                  <a:cubicBezTo>
                    <a:pt x="34199" y="15789"/>
                    <a:pt x="15789" y="34200"/>
                    <a:pt x="15789" y="56858"/>
                  </a:cubicBezTo>
                  <a:cubicBezTo>
                    <a:pt x="15789" y="79518"/>
                    <a:pt x="34199" y="97928"/>
                    <a:pt x="56859" y="9792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60" name="Freeform: Shape 1959">
              <a:extLst>
                <a:ext uri="{FF2B5EF4-FFF2-40B4-BE49-F238E27FC236}">
                  <a16:creationId xmlns:a16="http://schemas.microsoft.com/office/drawing/2014/main" id="{B93185F4-6A22-470A-BCC3-E7A70F249AEE}"/>
                </a:ext>
              </a:extLst>
            </p:cNvPr>
            <p:cNvSpPr/>
            <p:nvPr/>
          </p:nvSpPr>
          <p:spPr>
            <a:xfrm>
              <a:off x="7485073" y="3176707"/>
              <a:ext cx="113295" cy="113295"/>
            </a:xfrm>
            <a:custGeom>
              <a:avLst/>
              <a:gdLst>
                <a:gd name="connsiteX0" fmla="*/ 56858 w 113295"/>
                <a:gd name="connsiteY0" fmla="*/ 97928 h 113295"/>
                <a:gd name="connsiteX1" fmla="*/ 97928 w 113295"/>
                <a:gd name="connsiteY1" fmla="*/ 56858 h 113295"/>
                <a:gd name="connsiteX2" fmla="*/ 56858 w 113295"/>
                <a:gd name="connsiteY2" fmla="*/ 15789 h 113295"/>
                <a:gd name="connsiteX3" fmla="*/ 15789 w 113295"/>
                <a:gd name="connsiteY3" fmla="*/ 56858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8"/>
                  </a:cubicBezTo>
                  <a:cubicBezTo>
                    <a:pt x="97928" y="34200"/>
                    <a:pt x="79518" y="15789"/>
                    <a:pt x="56858" y="15789"/>
                  </a:cubicBezTo>
                  <a:cubicBezTo>
                    <a:pt x="34199" y="15789"/>
                    <a:pt x="15789" y="34200"/>
                    <a:pt x="15789" y="56858"/>
                  </a:cubicBezTo>
                  <a:cubicBezTo>
                    <a:pt x="17205" y="79518"/>
                    <a:pt x="34199" y="97928"/>
                    <a:pt x="56858" y="9792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61" name="Freeform: Shape 1960">
              <a:extLst>
                <a:ext uri="{FF2B5EF4-FFF2-40B4-BE49-F238E27FC236}">
                  <a16:creationId xmlns:a16="http://schemas.microsoft.com/office/drawing/2014/main" id="{D9DA2CF9-B43C-45E6-8B3D-E6403F8CEEB7}"/>
                </a:ext>
              </a:extLst>
            </p:cNvPr>
            <p:cNvSpPr/>
            <p:nvPr/>
          </p:nvSpPr>
          <p:spPr>
            <a:xfrm>
              <a:off x="6966747" y="2621560"/>
              <a:ext cx="113295" cy="113295"/>
            </a:xfrm>
            <a:custGeom>
              <a:avLst/>
              <a:gdLst>
                <a:gd name="connsiteX0" fmla="*/ 56858 w 113295"/>
                <a:gd name="connsiteY0" fmla="*/ 97928 h 113295"/>
                <a:gd name="connsiteX1" fmla="*/ 97928 w 113295"/>
                <a:gd name="connsiteY1" fmla="*/ 56858 h 113295"/>
                <a:gd name="connsiteX2" fmla="*/ 56858 w 113295"/>
                <a:gd name="connsiteY2" fmla="*/ 15789 h 113295"/>
                <a:gd name="connsiteX3" fmla="*/ 15789 w 113295"/>
                <a:gd name="connsiteY3" fmla="*/ 56858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8"/>
                  </a:cubicBezTo>
                  <a:cubicBezTo>
                    <a:pt x="97928" y="34199"/>
                    <a:pt x="79518" y="15789"/>
                    <a:pt x="56858" y="15789"/>
                  </a:cubicBezTo>
                  <a:cubicBezTo>
                    <a:pt x="34199" y="15789"/>
                    <a:pt x="15789" y="34199"/>
                    <a:pt x="15789" y="56858"/>
                  </a:cubicBezTo>
                  <a:cubicBezTo>
                    <a:pt x="17205" y="79518"/>
                    <a:pt x="35616" y="97928"/>
                    <a:pt x="56858" y="9792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62" name="Freeform: Shape 1961">
              <a:extLst>
                <a:ext uri="{FF2B5EF4-FFF2-40B4-BE49-F238E27FC236}">
                  <a16:creationId xmlns:a16="http://schemas.microsoft.com/office/drawing/2014/main" id="{3745D7DA-09C4-4025-8370-46FB0C3BDA30}"/>
                </a:ext>
              </a:extLst>
            </p:cNvPr>
            <p:cNvSpPr/>
            <p:nvPr/>
          </p:nvSpPr>
          <p:spPr>
            <a:xfrm>
              <a:off x="6067465" y="2362397"/>
              <a:ext cx="113295" cy="113295"/>
            </a:xfrm>
            <a:custGeom>
              <a:avLst/>
              <a:gdLst>
                <a:gd name="connsiteX0" fmla="*/ 56858 w 113295"/>
                <a:gd name="connsiteY0" fmla="*/ 97928 h 113295"/>
                <a:gd name="connsiteX1" fmla="*/ 97928 w 113295"/>
                <a:gd name="connsiteY1" fmla="*/ 56858 h 113295"/>
                <a:gd name="connsiteX2" fmla="*/ 56858 w 113295"/>
                <a:gd name="connsiteY2" fmla="*/ 15789 h 113295"/>
                <a:gd name="connsiteX3" fmla="*/ 15789 w 113295"/>
                <a:gd name="connsiteY3" fmla="*/ 56858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8"/>
                  </a:cubicBezTo>
                  <a:cubicBezTo>
                    <a:pt x="97928" y="34200"/>
                    <a:pt x="79518" y="15789"/>
                    <a:pt x="56858" y="15789"/>
                  </a:cubicBezTo>
                  <a:cubicBezTo>
                    <a:pt x="34199" y="15789"/>
                    <a:pt x="15789" y="34200"/>
                    <a:pt x="15789" y="56858"/>
                  </a:cubicBezTo>
                  <a:cubicBezTo>
                    <a:pt x="15789" y="79518"/>
                    <a:pt x="34199" y="97928"/>
                    <a:pt x="56858" y="9792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63" name="Freeform: Shape 1962">
              <a:extLst>
                <a:ext uri="{FF2B5EF4-FFF2-40B4-BE49-F238E27FC236}">
                  <a16:creationId xmlns:a16="http://schemas.microsoft.com/office/drawing/2014/main" id="{8F809599-8D37-4CBA-AE90-3FD2D94F5800}"/>
                </a:ext>
              </a:extLst>
            </p:cNvPr>
            <p:cNvSpPr/>
            <p:nvPr/>
          </p:nvSpPr>
          <p:spPr>
            <a:xfrm>
              <a:off x="5706337" y="2239189"/>
              <a:ext cx="113295" cy="113295"/>
            </a:xfrm>
            <a:custGeom>
              <a:avLst/>
              <a:gdLst>
                <a:gd name="connsiteX0" fmla="*/ 56858 w 113295"/>
                <a:gd name="connsiteY0" fmla="*/ 97928 h 113295"/>
                <a:gd name="connsiteX1" fmla="*/ 97928 w 113295"/>
                <a:gd name="connsiteY1" fmla="*/ 56858 h 113295"/>
                <a:gd name="connsiteX2" fmla="*/ 56858 w 113295"/>
                <a:gd name="connsiteY2" fmla="*/ 15789 h 113295"/>
                <a:gd name="connsiteX3" fmla="*/ 15789 w 113295"/>
                <a:gd name="connsiteY3" fmla="*/ 56858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8"/>
                  </a:cubicBezTo>
                  <a:cubicBezTo>
                    <a:pt x="97928" y="34199"/>
                    <a:pt x="79518" y="15789"/>
                    <a:pt x="56858" y="15789"/>
                  </a:cubicBezTo>
                  <a:cubicBezTo>
                    <a:pt x="34199" y="15789"/>
                    <a:pt x="15789" y="34199"/>
                    <a:pt x="15789" y="56858"/>
                  </a:cubicBezTo>
                  <a:cubicBezTo>
                    <a:pt x="15789" y="79518"/>
                    <a:pt x="34199" y="97928"/>
                    <a:pt x="56858" y="9792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64" name="Freeform: Shape 1963">
              <a:extLst>
                <a:ext uri="{FF2B5EF4-FFF2-40B4-BE49-F238E27FC236}">
                  <a16:creationId xmlns:a16="http://schemas.microsoft.com/office/drawing/2014/main" id="{17D7EA81-1C14-49C2-BCCC-491BEAFEE95A}"/>
                </a:ext>
              </a:extLst>
            </p:cNvPr>
            <p:cNvSpPr/>
            <p:nvPr/>
          </p:nvSpPr>
          <p:spPr>
            <a:xfrm>
              <a:off x="5965499" y="1648637"/>
              <a:ext cx="113295" cy="113295"/>
            </a:xfrm>
            <a:custGeom>
              <a:avLst/>
              <a:gdLst>
                <a:gd name="connsiteX0" fmla="*/ 56858 w 113295"/>
                <a:gd name="connsiteY0" fmla="*/ 97928 h 113295"/>
                <a:gd name="connsiteX1" fmla="*/ 97928 w 113295"/>
                <a:gd name="connsiteY1" fmla="*/ 56859 h 113295"/>
                <a:gd name="connsiteX2" fmla="*/ 56858 w 113295"/>
                <a:gd name="connsiteY2" fmla="*/ 15789 h 113295"/>
                <a:gd name="connsiteX3" fmla="*/ 15789 w 113295"/>
                <a:gd name="connsiteY3" fmla="*/ 56859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9"/>
                  </a:cubicBezTo>
                  <a:cubicBezTo>
                    <a:pt x="97928" y="34199"/>
                    <a:pt x="79518" y="15789"/>
                    <a:pt x="56858" y="15789"/>
                  </a:cubicBezTo>
                  <a:cubicBezTo>
                    <a:pt x="34200" y="15789"/>
                    <a:pt x="15789" y="34199"/>
                    <a:pt x="15789" y="56859"/>
                  </a:cubicBezTo>
                  <a:cubicBezTo>
                    <a:pt x="15789" y="79518"/>
                    <a:pt x="34200" y="97928"/>
                    <a:pt x="56858" y="9792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65" name="Freeform: Shape 1964">
              <a:extLst>
                <a:ext uri="{FF2B5EF4-FFF2-40B4-BE49-F238E27FC236}">
                  <a16:creationId xmlns:a16="http://schemas.microsoft.com/office/drawing/2014/main" id="{1A8B797F-C0D0-47EB-AF60-BC5814EB0D2D}"/>
                </a:ext>
              </a:extLst>
            </p:cNvPr>
            <p:cNvSpPr/>
            <p:nvPr/>
          </p:nvSpPr>
          <p:spPr>
            <a:xfrm>
              <a:off x="6422929" y="1184127"/>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7205" y="71020"/>
                    <a:pt x="32783" y="86599"/>
                    <a:pt x="51194" y="8659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66" name="Freeform: Shape 1965">
              <a:extLst>
                <a:ext uri="{FF2B5EF4-FFF2-40B4-BE49-F238E27FC236}">
                  <a16:creationId xmlns:a16="http://schemas.microsoft.com/office/drawing/2014/main" id="{40D6C29D-1090-4923-B5B8-91755B1D0228}"/>
                </a:ext>
              </a:extLst>
            </p:cNvPr>
            <p:cNvSpPr/>
            <p:nvPr/>
          </p:nvSpPr>
          <p:spPr>
            <a:xfrm>
              <a:off x="6755734" y="1550920"/>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7205" y="71020"/>
                    <a:pt x="32783" y="86599"/>
                    <a:pt x="51194" y="8659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67" name="Freeform: Shape 1966">
              <a:extLst>
                <a:ext uri="{FF2B5EF4-FFF2-40B4-BE49-F238E27FC236}">
                  <a16:creationId xmlns:a16="http://schemas.microsoft.com/office/drawing/2014/main" id="{CA2EA39A-AB1A-4E86-985E-3EFEDAA2F5AD}"/>
                </a:ext>
              </a:extLst>
            </p:cNvPr>
            <p:cNvSpPr/>
            <p:nvPr/>
          </p:nvSpPr>
          <p:spPr>
            <a:xfrm>
              <a:off x="6251570" y="719616"/>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5789" y="71020"/>
                    <a:pt x="31367" y="86599"/>
                    <a:pt x="51194" y="8659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68" name="Freeform: Shape 1967">
              <a:extLst>
                <a:ext uri="{FF2B5EF4-FFF2-40B4-BE49-F238E27FC236}">
                  <a16:creationId xmlns:a16="http://schemas.microsoft.com/office/drawing/2014/main" id="{181B421B-C106-448D-AD1F-0187A5EBFE20}"/>
                </a:ext>
              </a:extLst>
            </p:cNvPr>
            <p:cNvSpPr/>
            <p:nvPr/>
          </p:nvSpPr>
          <p:spPr>
            <a:xfrm>
              <a:off x="5087461" y="838576"/>
              <a:ext cx="84971" cy="84971"/>
            </a:xfrm>
            <a:custGeom>
              <a:avLst/>
              <a:gdLst>
                <a:gd name="connsiteX0" fmla="*/ 42697 w 84971"/>
                <a:gd name="connsiteY0" fmla="*/ 69604 h 84971"/>
                <a:gd name="connsiteX1" fmla="*/ 69605 w 84971"/>
                <a:gd name="connsiteY1" fmla="*/ 42697 h 84971"/>
                <a:gd name="connsiteX2" fmla="*/ 42697 w 84971"/>
                <a:gd name="connsiteY2" fmla="*/ 15789 h 84971"/>
                <a:gd name="connsiteX3" fmla="*/ 15789 w 84971"/>
                <a:gd name="connsiteY3" fmla="*/ 42697 h 84971"/>
                <a:gd name="connsiteX4" fmla="*/ 42697 w 84971"/>
                <a:gd name="connsiteY4" fmla="*/ 6960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7" y="69604"/>
                  </a:moveTo>
                  <a:cubicBezTo>
                    <a:pt x="58275" y="69604"/>
                    <a:pt x="69605" y="56859"/>
                    <a:pt x="69605" y="42697"/>
                  </a:cubicBezTo>
                  <a:cubicBezTo>
                    <a:pt x="69605" y="27119"/>
                    <a:pt x="56858" y="15789"/>
                    <a:pt x="42697" y="15789"/>
                  </a:cubicBezTo>
                  <a:cubicBezTo>
                    <a:pt x="27119" y="15789"/>
                    <a:pt x="15789" y="28535"/>
                    <a:pt x="15789" y="42697"/>
                  </a:cubicBezTo>
                  <a:cubicBezTo>
                    <a:pt x="15789" y="56859"/>
                    <a:pt x="28535" y="69604"/>
                    <a:pt x="42697" y="6960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69" name="Freeform: Shape 1968">
              <a:extLst>
                <a:ext uri="{FF2B5EF4-FFF2-40B4-BE49-F238E27FC236}">
                  <a16:creationId xmlns:a16="http://schemas.microsoft.com/office/drawing/2014/main" id="{6213C77E-00C6-42CE-AFE1-1B3836533DD6}"/>
                </a:ext>
              </a:extLst>
            </p:cNvPr>
            <p:cNvSpPr/>
            <p:nvPr/>
          </p:nvSpPr>
          <p:spPr>
            <a:xfrm>
              <a:off x="4845292" y="498690"/>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1" y="86599"/>
                    <a:pt x="86599" y="71020"/>
                    <a:pt x="86599" y="51194"/>
                  </a:cubicBezTo>
                  <a:cubicBezTo>
                    <a:pt x="86599" y="31367"/>
                    <a:pt x="71021" y="15789"/>
                    <a:pt x="51194" y="15789"/>
                  </a:cubicBezTo>
                  <a:cubicBezTo>
                    <a:pt x="31367" y="15789"/>
                    <a:pt x="15789" y="31367"/>
                    <a:pt x="15789" y="51194"/>
                  </a:cubicBezTo>
                  <a:cubicBezTo>
                    <a:pt x="15789" y="71020"/>
                    <a:pt x="31367" y="86599"/>
                    <a:pt x="51194" y="8659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70" name="Freeform: Shape 1969">
              <a:extLst>
                <a:ext uri="{FF2B5EF4-FFF2-40B4-BE49-F238E27FC236}">
                  <a16:creationId xmlns:a16="http://schemas.microsoft.com/office/drawing/2014/main" id="{AE7D733A-9C2D-4D9D-B7BF-D9029C3AC27F}"/>
                </a:ext>
              </a:extLst>
            </p:cNvPr>
            <p:cNvSpPr/>
            <p:nvPr/>
          </p:nvSpPr>
          <p:spPr>
            <a:xfrm>
              <a:off x="5768649" y="2351068"/>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0" y="49777"/>
                    <a:pt x="49778" y="42697"/>
                    <a:pt x="49778" y="32783"/>
                  </a:cubicBezTo>
                  <a:cubicBezTo>
                    <a:pt x="49778" y="24286"/>
                    <a:pt x="42697" y="15789"/>
                    <a:pt x="32783" y="15789"/>
                  </a:cubicBezTo>
                  <a:cubicBezTo>
                    <a:pt x="22870" y="15789"/>
                    <a:pt x="15789" y="22870"/>
                    <a:pt x="15789" y="32783"/>
                  </a:cubicBezTo>
                  <a:cubicBezTo>
                    <a:pt x="17205" y="42697"/>
                    <a:pt x="24286" y="49777"/>
                    <a:pt x="32783"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71" name="Freeform: Shape 1970">
              <a:extLst>
                <a:ext uri="{FF2B5EF4-FFF2-40B4-BE49-F238E27FC236}">
                  <a16:creationId xmlns:a16="http://schemas.microsoft.com/office/drawing/2014/main" id="{FF18EAF1-C6ED-485E-96A8-17B241C2C81D}"/>
                </a:ext>
              </a:extLst>
            </p:cNvPr>
            <p:cNvSpPr/>
            <p:nvPr/>
          </p:nvSpPr>
          <p:spPr>
            <a:xfrm>
              <a:off x="5955586" y="2155634"/>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72" name="Freeform: Shape 1971">
              <a:extLst>
                <a:ext uri="{FF2B5EF4-FFF2-40B4-BE49-F238E27FC236}">
                  <a16:creationId xmlns:a16="http://schemas.microsoft.com/office/drawing/2014/main" id="{7AAF0D0F-61AF-49EA-895E-D2A4AD978CD0}"/>
                </a:ext>
              </a:extLst>
            </p:cNvPr>
            <p:cNvSpPr/>
            <p:nvPr/>
          </p:nvSpPr>
          <p:spPr>
            <a:xfrm>
              <a:off x="5619949" y="2091905"/>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73" name="Freeform: Shape 1972">
              <a:extLst>
                <a:ext uri="{FF2B5EF4-FFF2-40B4-BE49-F238E27FC236}">
                  <a16:creationId xmlns:a16="http://schemas.microsoft.com/office/drawing/2014/main" id="{F23DDC88-E050-4FCB-8653-CEFBB1D3511A}"/>
                </a:ext>
              </a:extLst>
            </p:cNvPr>
            <p:cNvSpPr/>
            <p:nvPr/>
          </p:nvSpPr>
          <p:spPr>
            <a:xfrm>
              <a:off x="5619949" y="179025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74" name="Freeform: Shape 1973">
              <a:extLst>
                <a:ext uri="{FF2B5EF4-FFF2-40B4-BE49-F238E27FC236}">
                  <a16:creationId xmlns:a16="http://schemas.microsoft.com/office/drawing/2014/main" id="{7C68E89C-397C-463E-AB26-5FBC51E97958}"/>
                </a:ext>
              </a:extLst>
            </p:cNvPr>
            <p:cNvSpPr/>
            <p:nvPr/>
          </p:nvSpPr>
          <p:spPr>
            <a:xfrm>
              <a:off x="6354952" y="2631474"/>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1" y="49777"/>
                    <a:pt x="49778" y="42697"/>
                    <a:pt x="49778" y="32783"/>
                  </a:cubicBezTo>
                  <a:cubicBezTo>
                    <a:pt x="49778" y="22870"/>
                    <a:pt x="42697" y="15789"/>
                    <a:pt x="32783" y="15789"/>
                  </a:cubicBezTo>
                  <a:cubicBezTo>
                    <a:pt x="24286" y="15789"/>
                    <a:pt x="15789" y="22870"/>
                    <a:pt x="15789" y="32783"/>
                  </a:cubicBezTo>
                  <a:cubicBezTo>
                    <a:pt x="15789" y="42697"/>
                    <a:pt x="24286" y="49777"/>
                    <a:pt x="32783"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75" name="Freeform: Shape 1974">
              <a:extLst>
                <a:ext uri="{FF2B5EF4-FFF2-40B4-BE49-F238E27FC236}">
                  <a16:creationId xmlns:a16="http://schemas.microsoft.com/office/drawing/2014/main" id="{C2EDABE3-BD69-4600-92D3-B0A86FE36002}"/>
                </a:ext>
              </a:extLst>
            </p:cNvPr>
            <p:cNvSpPr/>
            <p:nvPr/>
          </p:nvSpPr>
          <p:spPr>
            <a:xfrm>
              <a:off x="6179344" y="236806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76" name="Freeform: Shape 1975">
              <a:extLst>
                <a:ext uri="{FF2B5EF4-FFF2-40B4-BE49-F238E27FC236}">
                  <a16:creationId xmlns:a16="http://schemas.microsoft.com/office/drawing/2014/main" id="{B3EAC84F-23E3-4164-9B50-23602397A42E}"/>
                </a:ext>
              </a:extLst>
            </p:cNvPr>
            <p:cNvSpPr/>
            <p:nvPr/>
          </p:nvSpPr>
          <p:spPr>
            <a:xfrm>
              <a:off x="6401687" y="2023928"/>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77" name="Freeform: Shape 1976">
              <a:extLst>
                <a:ext uri="{FF2B5EF4-FFF2-40B4-BE49-F238E27FC236}">
                  <a16:creationId xmlns:a16="http://schemas.microsoft.com/office/drawing/2014/main" id="{581F56E9-AA68-415C-8A03-0D89905950E2}"/>
                </a:ext>
              </a:extLst>
            </p:cNvPr>
            <p:cNvSpPr/>
            <p:nvPr/>
          </p:nvSpPr>
          <p:spPr>
            <a:xfrm>
              <a:off x="7377442" y="1863898"/>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78" name="Freeform: Shape 1977">
              <a:extLst>
                <a:ext uri="{FF2B5EF4-FFF2-40B4-BE49-F238E27FC236}">
                  <a16:creationId xmlns:a16="http://schemas.microsoft.com/office/drawing/2014/main" id="{87282424-7F1C-416E-A53D-C21434FFEA3A}"/>
                </a:ext>
              </a:extLst>
            </p:cNvPr>
            <p:cNvSpPr/>
            <p:nvPr/>
          </p:nvSpPr>
          <p:spPr>
            <a:xfrm>
              <a:off x="6609800" y="1303087"/>
              <a:ext cx="113295" cy="113295"/>
            </a:xfrm>
            <a:custGeom>
              <a:avLst/>
              <a:gdLst>
                <a:gd name="connsiteX0" fmla="*/ 61174 w 113295"/>
                <a:gd name="connsiteY0" fmla="*/ 15789 h 113295"/>
                <a:gd name="connsiteX1" fmla="*/ 106492 w 113295"/>
                <a:gd name="connsiteY1" fmla="*/ 61107 h 113295"/>
                <a:gd name="connsiteX2" fmla="*/ 61174 w 113295"/>
                <a:gd name="connsiteY2" fmla="*/ 106425 h 113295"/>
                <a:gd name="connsiteX3" fmla="*/ 15856 w 113295"/>
                <a:gd name="connsiteY3" fmla="*/ 61107 h 113295"/>
                <a:gd name="connsiteX4" fmla="*/ 61174 w 113295"/>
                <a:gd name="connsiteY4" fmla="*/ 15789 h 113295"/>
                <a:gd name="connsiteX5" fmla="*/ 61174 w 113295"/>
                <a:gd name="connsiteY5" fmla="*/ 15789 h 113295"/>
                <a:gd name="connsiteX6" fmla="*/ 61174 w 113295"/>
                <a:gd name="connsiteY6" fmla="*/ 35616 h 113295"/>
                <a:gd name="connsiteX7" fmla="*/ 35683 w 113295"/>
                <a:gd name="connsiteY7" fmla="*/ 61107 h 113295"/>
                <a:gd name="connsiteX8" fmla="*/ 61174 w 113295"/>
                <a:gd name="connsiteY8" fmla="*/ 86599 h 113295"/>
                <a:gd name="connsiteX9" fmla="*/ 86666 w 113295"/>
                <a:gd name="connsiteY9" fmla="*/ 61107 h 113295"/>
                <a:gd name="connsiteX10" fmla="*/ 61174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74" y="15789"/>
                  </a:moveTo>
                  <a:cubicBezTo>
                    <a:pt x="86666" y="15789"/>
                    <a:pt x="106492" y="35616"/>
                    <a:pt x="106492" y="61107"/>
                  </a:cubicBezTo>
                  <a:cubicBezTo>
                    <a:pt x="106492" y="86599"/>
                    <a:pt x="86666" y="106425"/>
                    <a:pt x="61174" y="106425"/>
                  </a:cubicBezTo>
                  <a:cubicBezTo>
                    <a:pt x="35683" y="106425"/>
                    <a:pt x="15856" y="86599"/>
                    <a:pt x="15856" y="61107"/>
                  </a:cubicBezTo>
                  <a:cubicBezTo>
                    <a:pt x="14440" y="35616"/>
                    <a:pt x="35683" y="15789"/>
                    <a:pt x="61174" y="15789"/>
                  </a:cubicBezTo>
                  <a:lnTo>
                    <a:pt x="61174" y="15789"/>
                  </a:lnTo>
                  <a:close/>
                  <a:moveTo>
                    <a:pt x="61174" y="35616"/>
                  </a:moveTo>
                  <a:cubicBezTo>
                    <a:pt x="47012" y="35616"/>
                    <a:pt x="35683" y="46945"/>
                    <a:pt x="35683" y="61107"/>
                  </a:cubicBezTo>
                  <a:cubicBezTo>
                    <a:pt x="35683" y="75269"/>
                    <a:pt x="47012" y="86599"/>
                    <a:pt x="61174" y="86599"/>
                  </a:cubicBezTo>
                  <a:cubicBezTo>
                    <a:pt x="75336" y="86599"/>
                    <a:pt x="86666" y="75269"/>
                    <a:pt x="86666" y="61107"/>
                  </a:cubicBezTo>
                  <a:cubicBezTo>
                    <a:pt x="86666" y="46945"/>
                    <a:pt x="75336" y="35616"/>
                    <a:pt x="61174"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79" name="Freeform: Shape 1978">
              <a:extLst>
                <a:ext uri="{FF2B5EF4-FFF2-40B4-BE49-F238E27FC236}">
                  <a16:creationId xmlns:a16="http://schemas.microsoft.com/office/drawing/2014/main" id="{C98A654D-03EE-4196-95B7-795800B561B1}"/>
                </a:ext>
              </a:extLst>
            </p:cNvPr>
            <p:cNvSpPr/>
            <p:nvPr/>
          </p:nvSpPr>
          <p:spPr>
            <a:xfrm>
              <a:off x="7475093" y="997190"/>
              <a:ext cx="113295" cy="113295"/>
            </a:xfrm>
            <a:custGeom>
              <a:avLst/>
              <a:gdLst>
                <a:gd name="connsiteX0" fmla="*/ 61174 w 113295"/>
                <a:gd name="connsiteY0" fmla="*/ 15789 h 113295"/>
                <a:gd name="connsiteX1" fmla="*/ 106492 w 113295"/>
                <a:gd name="connsiteY1" fmla="*/ 61107 h 113295"/>
                <a:gd name="connsiteX2" fmla="*/ 61174 w 113295"/>
                <a:gd name="connsiteY2" fmla="*/ 106425 h 113295"/>
                <a:gd name="connsiteX3" fmla="*/ 15856 w 113295"/>
                <a:gd name="connsiteY3" fmla="*/ 61107 h 113295"/>
                <a:gd name="connsiteX4" fmla="*/ 61174 w 113295"/>
                <a:gd name="connsiteY4" fmla="*/ 15789 h 113295"/>
                <a:gd name="connsiteX5" fmla="*/ 61174 w 113295"/>
                <a:gd name="connsiteY5" fmla="*/ 15789 h 113295"/>
                <a:gd name="connsiteX6" fmla="*/ 61174 w 113295"/>
                <a:gd name="connsiteY6" fmla="*/ 35616 h 113295"/>
                <a:gd name="connsiteX7" fmla="*/ 35683 w 113295"/>
                <a:gd name="connsiteY7" fmla="*/ 61107 h 113295"/>
                <a:gd name="connsiteX8" fmla="*/ 61174 w 113295"/>
                <a:gd name="connsiteY8" fmla="*/ 86599 h 113295"/>
                <a:gd name="connsiteX9" fmla="*/ 86666 w 113295"/>
                <a:gd name="connsiteY9" fmla="*/ 61107 h 113295"/>
                <a:gd name="connsiteX10" fmla="*/ 61174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74" y="15789"/>
                  </a:moveTo>
                  <a:cubicBezTo>
                    <a:pt x="86666" y="15789"/>
                    <a:pt x="106492" y="35616"/>
                    <a:pt x="106492" y="61107"/>
                  </a:cubicBezTo>
                  <a:cubicBezTo>
                    <a:pt x="106492" y="86599"/>
                    <a:pt x="86666" y="106425"/>
                    <a:pt x="61174" y="106425"/>
                  </a:cubicBezTo>
                  <a:cubicBezTo>
                    <a:pt x="35683" y="106425"/>
                    <a:pt x="15856" y="86599"/>
                    <a:pt x="15856" y="61107"/>
                  </a:cubicBezTo>
                  <a:cubicBezTo>
                    <a:pt x="14440" y="35616"/>
                    <a:pt x="35683" y="15789"/>
                    <a:pt x="61174" y="15789"/>
                  </a:cubicBezTo>
                  <a:lnTo>
                    <a:pt x="61174" y="15789"/>
                  </a:lnTo>
                  <a:close/>
                  <a:moveTo>
                    <a:pt x="61174" y="35616"/>
                  </a:moveTo>
                  <a:cubicBezTo>
                    <a:pt x="47012" y="35616"/>
                    <a:pt x="35683" y="46945"/>
                    <a:pt x="35683" y="61107"/>
                  </a:cubicBezTo>
                  <a:cubicBezTo>
                    <a:pt x="35683" y="75269"/>
                    <a:pt x="47012" y="86599"/>
                    <a:pt x="61174" y="86599"/>
                  </a:cubicBezTo>
                  <a:cubicBezTo>
                    <a:pt x="75336" y="86599"/>
                    <a:pt x="86666" y="75269"/>
                    <a:pt x="86666" y="61107"/>
                  </a:cubicBezTo>
                  <a:cubicBezTo>
                    <a:pt x="86666" y="46945"/>
                    <a:pt x="75336" y="35616"/>
                    <a:pt x="61174"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80" name="Freeform: Shape 1979">
              <a:extLst>
                <a:ext uri="{FF2B5EF4-FFF2-40B4-BE49-F238E27FC236}">
                  <a16:creationId xmlns:a16="http://schemas.microsoft.com/office/drawing/2014/main" id="{BA1C5F16-339A-4507-BC37-ED203FD3C71C}"/>
                </a:ext>
              </a:extLst>
            </p:cNvPr>
            <p:cNvSpPr/>
            <p:nvPr/>
          </p:nvSpPr>
          <p:spPr>
            <a:xfrm>
              <a:off x="7915595" y="1933292"/>
              <a:ext cx="113295" cy="113295"/>
            </a:xfrm>
            <a:custGeom>
              <a:avLst/>
              <a:gdLst>
                <a:gd name="connsiteX0" fmla="*/ 61107 w 113295"/>
                <a:gd name="connsiteY0" fmla="*/ 15789 h 113295"/>
                <a:gd name="connsiteX1" fmla="*/ 106425 w 113295"/>
                <a:gd name="connsiteY1" fmla="*/ 61107 h 113295"/>
                <a:gd name="connsiteX2" fmla="*/ 61107 w 113295"/>
                <a:gd name="connsiteY2" fmla="*/ 106425 h 113295"/>
                <a:gd name="connsiteX3" fmla="*/ 15789 w 113295"/>
                <a:gd name="connsiteY3" fmla="*/ 61107 h 113295"/>
                <a:gd name="connsiteX4" fmla="*/ 61107 w 113295"/>
                <a:gd name="connsiteY4" fmla="*/ 15789 h 113295"/>
                <a:gd name="connsiteX5" fmla="*/ 61107 w 113295"/>
                <a:gd name="connsiteY5" fmla="*/ 15789 h 113295"/>
                <a:gd name="connsiteX6" fmla="*/ 61107 w 113295"/>
                <a:gd name="connsiteY6" fmla="*/ 35616 h 113295"/>
                <a:gd name="connsiteX7" fmla="*/ 35616 w 113295"/>
                <a:gd name="connsiteY7" fmla="*/ 61107 h 113295"/>
                <a:gd name="connsiteX8" fmla="*/ 61107 w 113295"/>
                <a:gd name="connsiteY8" fmla="*/ 86599 h 113295"/>
                <a:gd name="connsiteX9" fmla="*/ 86599 w 113295"/>
                <a:gd name="connsiteY9" fmla="*/ 61107 h 113295"/>
                <a:gd name="connsiteX10" fmla="*/ 61107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07" y="15789"/>
                  </a:moveTo>
                  <a:cubicBezTo>
                    <a:pt x="86599" y="15789"/>
                    <a:pt x="106425" y="35616"/>
                    <a:pt x="106425" y="61107"/>
                  </a:cubicBezTo>
                  <a:cubicBezTo>
                    <a:pt x="106425" y="86599"/>
                    <a:pt x="86599" y="106425"/>
                    <a:pt x="61107" y="106425"/>
                  </a:cubicBezTo>
                  <a:cubicBezTo>
                    <a:pt x="35616" y="106425"/>
                    <a:pt x="15789" y="86599"/>
                    <a:pt x="15789" y="61107"/>
                  </a:cubicBezTo>
                  <a:cubicBezTo>
                    <a:pt x="15789" y="35616"/>
                    <a:pt x="35616" y="15789"/>
                    <a:pt x="61107" y="15789"/>
                  </a:cubicBezTo>
                  <a:lnTo>
                    <a:pt x="61107" y="15789"/>
                  </a:lnTo>
                  <a:close/>
                  <a:moveTo>
                    <a:pt x="61107" y="35616"/>
                  </a:moveTo>
                  <a:cubicBezTo>
                    <a:pt x="46945" y="35616"/>
                    <a:pt x="35616" y="46945"/>
                    <a:pt x="35616" y="61107"/>
                  </a:cubicBezTo>
                  <a:cubicBezTo>
                    <a:pt x="35616" y="75269"/>
                    <a:pt x="46945" y="86599"/>
                    <a:pt x="61107" y="86599"/>
                  </a:cubicBezTo>
                  <a:cubicBezTo>
                    <a:pt x="75269" y="86599"/>
                    <a:pt x="86599" y="75269"/>
                    <a:pt x="86599" y="61107"/>
                  </a:cubicBezTo>
                  <a:cubicBezTo>
                    <a:pt x="86599" y="46945"/>
                    <a:pt x="75269" y="35616"/>
                    <a:pt x="61107"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81" name="Freeform: Shape 1980">
              <a:extLst>
                <a:ext uri="{FF2B5EF4-FFF2-40B4-BE49-F238E27FC236}">
                  <a16:creationId xmlns:a16="http://schemas.microsoft.com/office/drawing/2014/main" id="{7C7BDEE4-FCB1-4B94-8579-19A2D70EC645}"/>
                </a:ext>
              </a:extLst>
            </p:cNvPr>
            <p:cNvSpPr/>
            <p:nvPr/>
          </p:nvSpPr>
          <p:spPr>
            <a:xfrm>
              <a:off x="8072792" y="3200782"/>
              <a:ext cx="70810" cy="70810"/>
            </a:xfrm>
            <a:custGeom>
              <a:avLst/>
              <a:gdLst>
                <a:gd name="connsiteX0" fmla="*/ 35615 w 70809"/>
                <a:gd name="connsiteY0" fmla="*/ 55442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2"/>
                  </a:moveTo>
                  <a:cubicBezTo>
                    <a:pt x="46945" y="55442"/>
                    <a:pt x="55442" y="46945"/>
                    <a:pt x="55442" y="35616"/>
                  </a:cubicBezTo>
                  <a:cubicBezTo>
                    <a:pt x="55442" y="24286"/>
                    <a:pt x="46945" y="15789"/>
                    <a:pt x="35615" y="15789"/>
                  </a:cubicBezTo>
                  <a:cubicBezTo>
                    <a:pt x="24286" y="15789"/>
                    <a:pt x="15789" y="24286"/>
                    <a:pt x="15789" y="35616"/>
                  </a:cubicBezTo>
                  <a:cubicBezTo>
                    <a:pt x="15789" y="46945"/>
                    <a:pt x="24286" y="55442"/>
                    <a:pt x="35615"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82" name="Freeform: Shape 1981">
              <a:extLst>
                <a:ext uri="{FF2B5EF4-FFF2-40B4-BE49-F238E27FC236}">
                  <a16:creationId xmlns:a16="http://schemas.microsoft.com/office/drawing/2014/main" id="{39867B81-2C4B-424C-BAEA-4E5181A30A30}"/>
                </a:ext>
              </a:extLst>
            </p:cNvPr>
            <p:cNvSpPr/>
            <p:nvPr/>
          </p:nvSpPr>
          <p:spPr>
            <a:xfrm>
              <a:off x="8030307" y="3788502"/>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7205" y="46945"/>
                    <a:pt x="25702" y="55442"/>
                    <a:pt x="35616"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83" name="Freeform: Shape 1982">
              <a:extLst>
                <a:ext uri="{FF2B5EF4-FFF2-40B4-BE49-F238E27FC236}">
                  <a16:creationId xmlns:a16="http://schemas.microsoft.com/office/drawing/2014/main" id="{AE9BDA83-8E89-47B3-8059-0D9F2D340A15}"/>
                </a:ext>
              </a:extLst>
            </p:cNvPr>
            <p:cNvSpPr/>
            <p:nvPr/>
          </p:nvSpPr>
          <p:spPr>
            <a:xfrm>
              <a:off x="7679091" y="2964279"/>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4286"/>
                    <a:pt x="46945" y="15789"/>
                    <a:pt x="35616" y="15789"/>
                  </a:cubicBezTo>
                  <a:cubicBezTo>
                    <a:pt x="24286" y="15789"/>
                    <a:pt x="15789" y="24286"/>
                    <a:pt x="15789" y="35616"/>
                  </a:cubicBezTo>
                  <a:cubicBezTo>
                    <a:pt x="15789" y="46945"/>
                    <a:pt x="24286" y="55442"/>
                    <a:pt x="35616"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84" name="Freeform: Shape 1983">
              <a:extLst>
                <a:ext uri="{FF2B5EF4-FFF2-40B4-BE49-F238E27FC236}">
                  <a16:creationId xmlns:a16="http://schemas.microsoft.com/office/drawing/2014/main" id="{DDFBC9BE-9B74-4E75-92D8-F62D2D504C94}"/>
                </a:ext>
              </a:extLst>
            </p:cNvPr>
            <p:cNvSpPr/>
            <p:nvPr/>
          </p:nvSpPr>
          <p:spPr>
            <a:xfrm>
              <a:off x="8183255" y="3580322"/>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7205" y="46945"/>
                    <a:pt x="25703" y="55442"/>
                    <a:pt x="35616"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85" name="Freeform: Shape 1984">
              <a:extLst>
                <a:ext uri="{FF2B5EF4-FFF2-40B4-BE49-F238E27FC236}">
                  <a16:creationId xmlns:a16="http://schemas.microsoft.com/office/drawing/2014/main" id="{57DDF0E9-D862-4316-84A3-E266AC704987}"/>
                </a:ext>
              </a:extLst>
            </p:cNvPr>
            <p:cNvSpPr/>
            <p:nvPr/>
          </p:nvSpPr>
          <p:spPr>
            <a:xfrm>
              <a:off x="8797883" y="3401881"/>
              <a:ext cx="70810" cy="70810"/>
            </a:xfrm>
            <a:custGeom>
              <a:avLst/>
              <a:gdLst>
                <a:gd name="connsiteX0" fmla="*/ 35615 w 70809"/>
                <a:gd name="connsiteY0" fmla="*/ 55442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2"/>
                  </a:moveTo>
                  <a:cubicBezTo>
                    <a:pt x="46945" y="55442"/>
                    <a:pt x="55442" y="46945"/>
                    <a:pt x="55442" y="35616"/>
                  </a:cubicBezTo>
                  <a:cubicBezTo>
                    <a:pt x="55442" y="24286"/>
                    <a:pt x="46945" y="15789"/>
                    <a:pt x="35615" y="15789"/>
                  </a:cubicBezTo>
                  <a:cubicBezTo>
                    <a:pt x="24286" y="15789"/>
                    <a:pt x="15789" y="24286"/>
                    <a:pt x="15789" y="35616"/>
                  </a:cubicBezTo>
                  <a:cubicBezTo>
                    <a:pt x="15789" y="46945"/>
                    <a:pt x="25702" y="55442"/>
                    <a:pt x="35615"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86" name="Freeform: Shape 1985">
              <a:extLst>
                <a:ext uri="{FF2B5EF4-FFF2-40B4-BE49-F238E27FC236}">
                  <a16:creationId xmlns:a16="http://schemas.microsoft.com/office/drawing/2014/main" id="{F6C859A5-EE11-419B-95B4-810D9C8CD75F}"/>
                </a:ext>
              </a:extLst>
            </p:cNvPr>
            <p:cNvSpPr/>
            <p:nvPr/>
          </p:nvSpPr>
          <p:spPr>
            <a:xfrm>
              <a:off x="8817709" y="3343818"/>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2"/>
                  </a:cubicBezTo>
                  <a:cubicBezTo>
                    <a:pt x="35616" y="20037"/>
                    <a:pt x="31368" y="15789"/>
                    <a:pt x="25703" y="15789"/>
                  </a:cubicBezTo>
                  <a:cubicBezTo>
                    <a:pt x="20037" y="15789"/>
                    <a:pt x="15789" y="20037"/>
                    <a:pt x="15789" y="25702"/>
                  </a:cubicBezTo>
                  <a:cubicBezTo>
                    <a:pt x="15789" y="31367"/>
                    <a:pt x="20037"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87" name="Freeform: Shape 1986">
              <a:extLst>
                <a:ext uri="{FF2B5EF4-FFF2-40B4-BE49-F238E27FC236}">
                  <a16:creationId xmlns:a16="http://schemas.microsoft.com/office/drawing/2014/main" id="{08310EFE-EFC4-4AC7-9BB7-667DCEE5008E}"/>
                </a:ext>
              </a:extLst>
            </p:cNvPr>
            <p:cNvSpPr/>
            <p:nvPr/>
          </p:nvSpPr>
          <p:spPr>
            <a:xfrm>
              <a:off x="9072623" y="3231939"/>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2"/>
                  </a:cubicBezTo>
                  <a:cubicBezTo>
                    <a:pt x="35616" y="20038"/>
                    <a:pt x="31368" y="15789"/>
                    <a:pt x="25703" y="15789"/>
                  </a:cubicBezTo>
                  <a:cubicBezTo>
                    <a:pt x="20037" y="15789"/>
                    <a:pt x="15789" y="20038"/>
                    <a:pt x="15789" y="25702"/>
                  </a:cubicBezTo>
                  <a:cubicBezTo>
                    <a:pt x="15789" y="31367"/>
                    <a:pt x="20037"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88" name="Freeform: Shape 1987">
              <a:extLst>
                <a:ext uri="{FF2B5EF4-FFF2-40B4-BE49-F238E27FC236}">
                  <a16:creationId xmlns:a16="http://schemas.microsoft.com/office/drawing/2014/main" id="{A9ED2816-76B4-46E0-B206-66674E2BB384}"/>
                </a:ext>
              </a:extLst>
            </p:cNvPr>
            <p:cNvSpPr/>
            <p:nvPr/>
          </p:nvSpPr>
          <p:spPr>
            <a:xfrm>
              <a:off x="8357447" y="2764596"/>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2"/>
                  </a:cubicBezTo>
                  <a:cubicBezTo>
                    <a:pt x="35616" y="20038"/>
                    <a:pt x="31368" y="15789"/>
                    <a:pt x="25703" y="15789"/>
                  </a:cubicBezTo>
                  <a:cubicBezTo>
                    <a:pt x="20037" y="15789"/>
                    <a:pt x="15789" y="20038"/>
                    <a:pt x="15789" y="25702"/>
                  </a:cubicBezTo>
                  <a:cubicBezTo>
                    <a:pt x="15789" y="31367"/>
                    <a:pt x="20037"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89" name="Freeform: Shape 1988">
              <a:extLst>
                <a:ext uri="{FF2B5EF4-FFF2-40B4-BE49-F238E27FC236}">
                  <a16:creationId xmlns:a16="http://schemas.microsoft.com/office/drawing/2014/main" id="{A0E6EB35-9EDC-4045-A7D3-E1F44AA41286}"/>
                </a:ext>
              </a:extLst>
            </p:cNvPr>
            <p:cNvSpPr/>
            <p:nvPr/>
          </p:nvSpPr>
          <p:spPr>
            <a:xfrm>
              <a:off x="8938085" y="3847982"/>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2"/>
                  </a:cubicBezTo>
                  <a:cubicBezTo>
                    <a:pt x="35616" y="20038"/>
                    <a:pt x="31368" y="15789"/>
                    <a:pt x="25703" y="15789"/>
                  </a:cubicBezTo>
                  <a:cubicBezTo>
                    <a:pt x="20037" y="15789"/>
                    <a:pt x="15789" y="20038"/>
                    <a:pt x="15789" y="25702"/>
                  </a:cubicBezTo>
                  <a:cubicBezTo>
                    <a:pt x="15789" y="31367"/>
                    <a:pt x="20037"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90" name="Freeform: Shape 1989">
              <a:extLst>
                <a:ext uri="{FF2B5EF4-FFF2-40B4-BE49-F238E27FC236}">
                  <a16:creationId xmlns:a16="http://schemas.microsoft.com/office/drawing/2014/main" id="{5D81754D-2693-4A8C-A1AB-729AC639BACB}"/>
                </a:ext>
              </a:extLst>
            </p:cNvPr>
            <p:cNvSpPr/>
            <p:nvPr/>
          </p:nvSpPr>
          <p:spPr>
            <a:xfrm>
              <a:off x="8160596" y="3717692"/>
              <a:ext cx="42486" cy="42486"/>
            </a:xfrm>
            <a:custGeom>
              <a:avLst/>
              <a:gdLst>
                <a:gd name="connsiteX0" fmla="*/ 25702 w 42485"/>
                <a:gd name="connsiteY0" fmla="*/ 35616 h 42485"/>
                <a:gd name="connsiteX1" fmla="*/ 35615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5" y="31367"/>
                    <a:pt x="35615" y="25702"/>
                  </a:cubicBezTo>
                  <a:cubicBezTo>
                    <a:pt x="35615"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91" name="Freeform: Shape 1990">
              <a:extLst>
                <a:ext uri="{FF2B5EF4-FFF2-40B4-BE49-F238E27FC236}">
                  <a16:creationId xmlns:a16="http://schemas.microsoft.com/office/drawing/2014/main" id="{5B360E99-628C-4BC9-BA48-387CE7AE3D45}"/>
                </a:ext>
              </a:extLst>
            </p:cNvPr>
            <p:cNvSpPr/>
            <p:nvPr/>
          </p:nvSpPr>
          <p:spPr>
            <a:xfrm>
              <a:off x="7850450" y="3342401"/>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7" y="15789"/>
                    <a:pt x="15789" y="20038"/>
                    <a:pt x="15789" y="25702"/>
                  </a:cubicBezTo>
                  <a:cubicBezTo>
                    <a:pt x="15789" y="31367"/>
                    <a:pt x="20037"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92" name="Freeform: Shape 1991">
              <a:extLst>
                <a:ext uri="{FF2B5EF4-FFF2-40B4-BE49-F238E27FC236}">
                  <a16:creationId xmlns:a16="http://schemas.microsoft.com/office/drawing/2014/main" id="{8D892C8E-054D-4089-92E3-8C97E7B6EDAF}"/>
                </a:ext>
              </a:extLst>
            </p:cNvPr>
            <p:cNvSpPr/>
            <p:nvPr/>
          </p:nvSpPr>
          <p:spPr>
            <a:xfrm>
              <a:off x="7391604" y="3568992"/>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93" name="Freeform: Shape 1992">
              <a:extLst>
                <a:ext uri="{FF2B5EF4-FFF2-40B4-BE49-F238E27FC236}">
                  <a16:creationId xmlns:a16="http://schemas.microsoft.com/office/drawing/2014/main" id="{61D51096-A13E-4BAE-BEF7-ABB540128489}"/>
                </a:ext>
              </a:extLst>
            </p:cNvPr>
            <p:cNvSpPr/>
            <p:nvPr/>
          </p:nvSpPr>
          <p:spPr>
            <a:xfrm>
              <a:off x="7026227" y="3546333"/>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8" y="15789"/>
                    <a:pt x="15789" y="20038"/>
                    <a:pt x="15789" y="25703"/>
                  </a:cubicBezTo>
                  <a:cubicBezTo>
                    <a:pt x="15789" y="31367"/>
                    <a:pt x="20038"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94" name="Freeform: Shape 1993">
              <a:extLst>
                <a:ext uri="{FF2B5EF4-FFF2-40B4-BE49-F238E27FC236}">
                  <a16:creationId xmlns:a16="http://schemas.microsoft.com/office/drawing/2014/main" id="{11E17E6C-AF64-4353-A8EE-4AE2312F1544}"/>
                </a:ext>
              </a:extLst>
            </p:cNvPr>
            <p:cNvSpPr/>
            <p:nvPr/>
          </p:nvSpPr>
          <p:spPr>
            <a:xfrm>
              <a:off x="7199002" y="3026591"/>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9"/>
                    <a:pt x="55442" y="15789"/>
                    <a:pt x="41280" y="15789"/>
                  </a:cubicBezTo>
                  <a:cubicBezTo>
                    <a:pt x="27118" y="15789"/>
                    <a:pt x="15789" y="27119"/>
                    <a:pt x="15789" y="41280"/>
                  </a:cubicBezTo>
                  <a:cubicBezTo>
                    <a:pt x="15789" y="54026"/>
                    <a:pt x="27118" y="66772"/>
                    <a:pt x="41280" y="6677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95" name="Freeform: Shape 1994">
              <a:extLst>
                <a:ext uri="{FF2B5EF4-FFF2-40B4-BE49-F238E27FC236}">
                  <a16:creationId xmlns:a16="http://schemas.microsoft.com/office/drawing/2014/main" id="{6167CA0D-401B-4987-B078-50CD35586A6A}"/>
                </a:ext>
              </a:extLst>
            </p:cNvPr>
            <p:cNvSpPr/>
            <p:nvPr/>
          </p:nvSpPr>
          <p:spPr>
            <a:xfrm>
              <a:off x="8889815" y="3767259"/>
              <a:ext cx="70810" cy="70810"/>
            </a:xfrm>
            <a:custGeom>
              <a:avLst/>
              <a:gdLst>
                <a:gd name="connsiteX0" fmla="*/ 41400 w 70809"/>
                <a:gd name="connsiteY0" fmla="*/ 66772 h 70809"/>
                <a:gd name="connsiteX1" fmla="*/ 66891 w 70809"/>
                <a:gd name="connsiteY1" fmla="*/ 41280 h 70809"/>
                <a:gd name="connsiteX2" fmla="*/ 41400 w 70809"/>
                <a:gd name="connsiteY2" fmla="*/ 15789 h 70809"/>
                <a:gd name="connsiteX3" fmla="*/ 15909 w 70809"/>
                <a:gd name="connsiteY3" fmla="*/ 41280 h 70809"/>
                <a:gd name="connsiteX4" fmla="*/ 4140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400" y="66772"/>
                  </a:moveTo>
                  <a:cubicBezTo>
                    <a:pt x="55562" y="66772"/>
                    <a:pt x="66891" y="55442"/>
                    <a:pt x="66891" y="41280"/>
                  </a:cubicBezTo>
                  <a:cubicBezTo>
                    <a:pt x="66891" y="27119"/>
                    <a:pt x="55562" y="15789"/>
                    <a:pt x="41400" y="15789"/>
                  </a:cubicBezTo>
                  <a:cubicBezTo>
                    <a:pt x="27238" y="15789"/>
                    <a:pt x="15909" y="27119"/>
                    <a:pt x="15909" y="41280"/>
                  </a:cubicBezTo>
                  <a:cubicBezTo>
                    <a:pt x="14492" y="55442"/>
                    <a:pt x="25821" y="66772"/>
                    <a:pt x="41400" y="6677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96" name="Freeform: Shape 1995">
              <a:extLst>
                <a:ext uri="{FF2B5EF4-FFF2-40B4-BE49-F238E27FC236}">
                  <a16:creationId xmlns:a16="http://schemas.microsoft.com/office/drawing/2014/main" id="{DA98F61C-CF47-47A3-808F-E84B698E0EBC}"/>
                </a:ext>
              </a:extLst>
            </p:cNvPr>
            <p:cNvSpPr/>
            <p:nvPr/>
          </p:nvSpPr>
          <p:spPr>
            <a:xfrm>
              <a:off x="8955079" y="3543501"/>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7" y="15789"/>
                    <a:pt x="15789" y="20038"/>
                    <a:pt x="15789" y="25702"/>
                  </a:cubicBezTo>
                  <a:cubicBezTo>
                    <a:pt x="17205" y="31367"/>
                    <a:pt x="21454"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97" name="Freeform: Shape 1996">
              <a:extLst>
                <a:ext uri="{FF2B5EF4-FFF2-40B4-BE49-F238E27FC236}">
                  <a16:creationId xmlns:a16="http://schemas.microsoft.com/office/drawing/2014/main" id="{20CB1610-86F1-42A0-8FFE-BF796CD3D667}"/>
                </a:ext>
              </a:extLst>
            </p:cNvPr>
            <p:cNvSpPr/>
            <p:nvPr/>
          </p:nvSpPr>
          <p:spPr>
            <a:xfrm>
              <a:off x="9079704" y="3549165"/>
              <a:ext cx="28324" cy="28324"/>
            </a:xfrm>
            <a:custGeom>
              <a:avLst/>
              <a:gdLst>
                <a:gd name="connsiteX0" fmla="*/ 20037 w 28323"/>
                <a:gd name="connsiteY0" fmla="*/ 24286 h 28323"/>
                <a:gd name="connsiteX1" fmla="*/ 24287 w 28323"/>
                <a:gd name="connsiteY1" fmla="*/ 20037 h 28323"/>
                <a:gd name="connsiteX2" fmla="*/ 20037 w 28323"/>
                <a:gd name="connsiteY2" fmla="*/ 15789 h 28323"/>
                <a:gd name="connsiteX3" fmla="*/ 15789 w 28323"/>
                <a:gd name="connsiteY3" fmla="*/ 20037 h 28323"/>
                <a:gd name="connsiteX4" fmla="*/ 20037 w 28323"/>
                <a:gd name="connsiteY4" fmla="*/ 24286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0037" y="24286"/>
                  </a:moveTo>
                  <a:cubicBezTo>
                    <a:pt x="22870" y="24286"/>
                    <a:pt x="24287" y="21454"/>
                    <a:pt x="24287" y="20037"/>
                  </a:cubicBezTo>
                  <a:cubicBezTo>
                    <a:pt x="24287" y="17205"/>
                    <a:pt x="21454" y="15789"/>
                    <a:pt x="20037" y="15789"/>
                  </a:cubicBezTo>
                  <a:cubicBezTo>
                    <a:pt x="17206" y="15789"/>
                    <a:pt x="15789" y="18621"/>
                    <a:pt x="15789" y="20037"/>
                  </a:cubicBezTo>
                  <a:cubicBezTo>
                    <a:pt x="15789" y="21454"/>
                    <a:pt x="17206" y="24286"/>
                    <a:pt x="20037" y="2428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98" name="Freeform: Shape 1997">
              <a:extLst>
                <a:ext uri="{FF2B5EF4-FFF2-40B4-BE49-F238E27FC236}">
                  <a16:creationId xmlns:a16="http://schemas.microsoft.com/office/drawing/2014/main" id="{F5D410DA-48F8-417C-9C65-A2649F2BBC6A}"/>
                </a:ext>
              </a:extLst>
            </p:cNvPr>
            <p:cNvSpPr/>
            <p:nvPr/>
          </p:nvSpPr>
          <p:spPr>
            <a:xfrm>
              <a:off x="9062710" y="3747432"/>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2"/>
                  </a:cubicBezTo>
                  <a:cubicBezTo>
                    <a:pt x="35616" y="20037"/>
                    <a:pt x="31368" y="15789"/>
                    <a:pt x="25703" y="15789"/>
                  </a:cubicBezTo>
                  <a:cubicBezTo>
                    <a:pt x="20038" y="15789"/>
                    <a:pt x="15789" y="20037"/>
                    <a:pt x="15789" y="25702"/>
                  </a:cubicBezTo>
                  <a:cubicBezTo>
                    <a:pt x="15789" y="31367"/>
                    <a:pt x="20038"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1999" name="Freeform: Shape 1998">
              <a:extLst>
                <a:ext uri="{FF2B5EF4-FFF2-40B4-BE49-F238E27FC236}">
                  <a16:creationId xmlns:a16="http://schemas.microsoft.com/office/drawing/2014/main" id="{BDA3D9D7-49BE-416D-8233-3F369AD8B8C1}"/>
                </a:ext>
              </a:extLst>
            </p:cNvPr>
            <p:cNvSpPr/>
            <p:nvPr/>
          </p:nvSpPr>
          <p:spPr>
            <a:xfrm>
              <a:off x="8753980" y="3662461"/>
              <a:ext cx="99133" cy="99133"/>
            </a:xfrm>
            <a:custGeom>
              <a:avLst/>
              <a:gdLst>
                <a:gd name="connsiteX0" fmla="*/ 49778 w 99133"/>
                <a:gd name="connsiteY0" fmla="*/ 83766 h 99133"/>
                <a:gd name="connsiteX1" fmla="*/ 83766 w 99133"/>
                <a:gd name="connsiteY1" fmla="*/ 49777 h 99133"/>
                <a:gd name="connsiteX2" fmla="*/ 49778 w 99133"/>
                <a:gd name="connsiteY2" fmla="*/ 15789 h 99133"/>
                <a:gd name="connsiteX3" fmla="*/ 15789 w 99133"/>
                <a:gd name="connsiteY3" fmla="*/ 49777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7"/>
                  </a:cubicBezTo>
                  <a:cubicBezTo>
                    <a:pt x="83766" y="31367"/>
                    <a:pt x="68188" y="15789"/>
                    <a:pt x="49778" y="15789"/>
                  </a:cubicBezTo>
                  <a:cubicBezTo>
                    <a:pt x="31368" y="15789"/>
                    <a:pt x="15789" y="31367"/>
                    <a:pt x="15789" y="49777"/>
                  </a:cubicBezTo>
                  <a:cubicBezTo>
                    <a:pt x="15789" y="68188"/>
                    <a:pt x="31368" y="83766"/>
                    <a:pt x="49778" y="8376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00" name="Freeform: Shape 1999">
              <a:extLst>
                <a:ext uri="{FF2B5EF4-FFF2-40B4-BE49-F238E27FC236}">
                  <a16:creationId xmlns:a16="http://schemas.microsoft.com/office/drawing/2014/main" id="{5B1A75A0-AC2C-4A8A-BBF2-B2B78EA60C55}"/>
                </a:ext>
              </a:extLst>
            </p:cNvPr>
            <p:cNvSpPr/>
            <p:nvPr/>
          </p:nvSpPr>
          <p:spPr>
            <a:xfrm>
              <a:off x="9004646" y="3661044"/>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9"/>
                    <a:pt x="55442" y="15789"/>
                    <a:pt x="41280" y="15789"/>
                  </a:cubicBezTo>
                  <a:cubicBezTo>
                    <a:pt x="27118" y="15789"/>
                    <a:pt x="15789" y="27119"/>
                    <a:pt x="15789" y="41280"/>
                  </a:cubicBezTo>
                  <a:cubicBezTo>
                    <a:pt x="15789" y="55442"/>
                    <a:pt x="27118" y="66772"/>
                    <a:pt x="41280" y="6677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01" name="Freeform: Shape 2000">
              <a:extLst>
                <a:ext uri="{FF2B5EF4-FFF2-40B4-BE49-F238E27FC236}">
                  <a16:creationId xmlns:a16="http://schemas.microsoft.com/office/drawing/2014/main" id="{03AC5577-0AAC-491C-BEE7-FF3F72A4E732}"/>
                </a:ext>
              </a:extLst>
            </p:cNvPr>
            <p:cNvSpPr/>
            <p:nvPr/>
          </p:nvSpPr>
          <p:spPr>
            <a:xfrm>
              <a:off x="9149098" y="4153879"/>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4200"/>
                    <a:pt x="21453" y="41281"/>
                    <a:pt x="28534" y="4128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02" name="Freeform: Shape 2001">
              <a:extLst>
                <a:ext uri="{FF2B5EF4-FFF2-40B4-BE49-F238E27FC236}">
                  <a16:creationId xmlns:a16="http://schemas.microsoft.com/office/drawing/2014/main" id="{2B8C2C2A-6A17-4707-9BD8-D70E5DE184E0}"/>
                </a:ext>
              </a:extLst>
            </p:cNvPr>
            <p:cNvSpPr/>
            <p:nvPr/>
          </p:nvSpPr>
          <p:spPr>
            <a:xfrm>
              <a:off x="9285052" y="3983936"/>
              <a:ext cx="56648" cy="56648"/>
            </a:xfrm>
            <a:custGeom>
              <a:avLst/>
              <a:gdLst>
                <a:gd name="connsiteX0" fmla="*/ 28535 w 56647"/>
                <a:gd name="connsiteY0" fmla="*/ 41281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1"/>
                  </a:moveTo>
                  <a:cubicBezTo>
                    <a:pt x="35616" y="41281"/>
                    <a:pt x="41280" y="35616"/>
                    <a:pt x="41280" y="28535"/>
                  </a:cubicBezTo>
                  <a:cubicBezTo>
                    <a:pt x="41280" y="21454"/>
                    <a:pt x="35616" y="15789"/>
                    <a:pt x="28535" y="15789"/>
                  </a:cubicBezTo>
                  <a:cubicBezTo>
                    <a:pt x="21454" y="15789"/>
                    <a:pt x="15789" y="21454"/>
                    <a:pt x="15789" y="28535"/>
                  </a:cubicBezTo>
                  <a:cubicBezTo>
                    <a:pt x="15789" y="34200"/>
                    <a:pt x="21454" y="41281"/>
                    <a:pt x="28535" y="4128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03" name="Freeform: Shape 2002">
              <a:extLst>
                <a:ext uri="{FF2B5EF4-FFF2-40B4-BE49-F238E27FC236}">
                  <a16:creationId xmlns:a16="http://schemas.microsoft.com/office/drawing/2014/main" id="{2079D33F-9043-40B9-9C92-DD0BE3259421}"/>
                </a:ext>
              </a:extLst>
            </p:cNvPr>
            <p:cNvSpPr/>
            <p:nvPr/>
          </p:nvSpPr>
          <p:spPr>
            <a:xfrm>
              <a:off x="9235485" y="4330902"/>
              <a:ext cx="70810" cy="70810"/>
            </a:xfrm>
            <a:custGeom>
              <a:avLst/>
              <a:gdLst>
                <a:gd name="connsiteX0" fmla="*/ 35616 w 70809"/>
                <a:gd name="connsiteY0" fmla="*/ 55443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3"/>
                  </a:moveTo>
                  <a:cubicBezTo>
                    <a:pt x="46945" y="55443"/>
                    <a:pt x="55442" y="46945"/>
                    <a:pt x="55442" y="35616"/>
                  </a:cubicBezTo>
                  <a:cubicBezTo>
                    <a:pt x="55442" y="24286"/>
                    <a:pt x="46945" y="15789"/>
                    <a:pt x="35616" y="15789"/>
                  </a:cubicBezTo>
                  <a:cubicBezTo>
                    <a:pt x="24287" y="15789"/>
                    <a:pt x="15789" y="24286"/>
                    <a:pt x="15789" y="35616"/>
                  </a:cubicBezTo>
                  <a:cubicBezTo>
                    <a:pt x="15789" y="45529"/>
                    <a:pt x="24287" y="55443"/>
                    <a:pt x="35616" y="5544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04" name="Freeform: Shape 2003">
              <a:extLst>
                <a:ext uri="{FF2B5EF4-FFF2-40B4-BE49-F238E27FC236}">
                  <a16:creationId xmlns:a16="http://schemas.microsoft.com/office/drawing/2014/main" id="{522897D6-A4A8-4587-A103-DC5126780F98}"/>
                </a:ext>
              </a:extLst>
            </p:cNvPr>
            <p:cNvSpPr/>
            <p:nvPr/>
          </p:nvSpPr>
          <p:spPr>
            <a:xfrm>
              <a:off x="9102364" y="4264342"/>
              <a:ext cx="113295" cy="113295"/>
            </a:xfrm>
            <a:custGeom>
              <a:avLst/>
              <a:gdLst>
                <a:gd name="connsiteX0" fmla="*/ 56858 w 113295"/>
                <a:gd name="connsiteY0" fmla="*/ 15789 h 113295"/>
                <a:gd name="connsiteX1" fmla="*/ 97928 w 113295"/>
                <a:gd name="connsiteY1" fmla="*/ 56858 h 113295"/>
                <a:gd name="connsiteX2" fmla="*/ 56858 w 113295"/>
                <a:gd name="connsiteY2" fmla="*/ 97928 h 113295"/>
                <a:gd name="connsiteX3" fmla="*/ 15789 w 113295"/>
                <a:gd name="connsiteY3" fmla="*/ 56858 h 113295"/>
                <a:gd name="connsiteX4" fmla="*/ 56858 w 113295"/>
                <a:gd name="connsiteY4" fmla="*/ 15789 h 113295"/>
                <a:gd name="connsiteX5" fmla="*/ 56858 w 113295"/>
                <a:gd name="connsiteY5" fmla="*/ 15789 h 113295"/>
                <a:gd name="connsiteX6" fmla="*/ 56858 w 113295"/>
                <a:gd name="connsiteY6" fmla="*/ 34199 h 113295"/>
                <a:gd name="connsiteX7" fmla="*/ 34199 w 113295"/>
                <a:gd name="connsiteY7" fmla="*/ 56858 h 113295"/>
                <a:gd name="connsiteX8" fmla="*/ 56858 w 113295"/>
                <a:gd name="connsiteY8" fmla="*/ 79518 h 113295"/>
                <a:gd name="connsiteX9" fmla="*/ 79518 w 113295"/>
                <a:gd name="connsiteY9" fmla="*/ 56858 h 113295"/>
                <a:gd name="connsiteX10" fmla="*/ 56858 w 113295"/>
                <a:gd name="connsiteY10" fmla="*/ 34199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56858" y="15789"/>
                  </a:moveTo>
                  <a:cubicBezTo>
                    <a:pt x="79518" y="15789"/>
                    <a:pt x="97928" y="34199"/>
                    <a:pt x="97928" y="56858"/>
                  </a:cubicBezTo>
                  <a:cubicBezTo>
                    <a:pt x="97928" y="79518"/>
                    <a:pt x="79518" y="97928"/>
                    <a:pt x="56858" y="97928"/>
                  </a:cubicBezTo>
                  <a:cubicBezTo>
                    <a:pt x="34199" y="97928"/>
                    <a:pt x="15789" y="79518"/>
                    <a:pt x="15789" y="56858"/>
                  </a:cubicBezTo>
                  <a:cubicBezTo>
                    <a:pt x="15789" y="35616"/>
                    <a:pt x="34199" y="15789"/>
                    <a:pt x="56858" y="15789"/>
                  </a:cubicBezTo>
                  <a:lnTo>
                    <a:pt x="56858" y="15789"/>
                  </a:lnTo>
                  <a:close/>
                  <a:moveTo>
                    <a:pt x="56858" y="34199"/>
                  </a:moveTo>
                  <a:cubicBezTo>
                    <a:pt x="44113" y="34199"/>
                    <a:pt x="34199" y="44113"/>
                    <a:pt x="34199" y="56858"/>
                  </a:cubicBezTo>
                  <a:cubicBezTo>
                    <a:pt x="34199" y="69604"/>
                    <a:pt x="44113" y="79518"/>
                    <a:pt x="56858" y="79518"/>
                  </a:cubicBezTo>
                  <a:cubicBezTo>
                    <a:pt x="69604" y="79518"/>
                    <a:pt x="79518" y="69604"/>
                    <a:pt x="79518" y="56858"/>
                  </a:cubicBezTo>
                  <a:cubicBezTo>
                    <a:pt x="80933" y="45529"/>
                    <a:pt x="69604" y="34199"/>
                    <a:pt x="56858" y="3419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05" name="Freeform: Shape 2004">
              <a:extLst>
                <a:ext uri="{FF2B5EF4-FFF2-40B4-BE49-F238E27FC236}">
                  <a16:creationId xmlns:a16="http://schemas.microsoft.com/office/drawing/2014/main" id="{10B682AD-FF02-4E52-8B6A-A4C1D1B4BA6C}"/>
                </a:ext>
              </a:extLst>
            </p:cNvPr>
            <p:cNvSpPr/>
            <p:nvPr/>
          </p:nvSpPr>
          <p:spPr>
            <a:xfrm>
              <a:off x="9263809" y="4211943"/>
              <a:ext cx="70810" cy="70810"/>
            </a:xfrm>
            <a:custGeom>
              <a:avLst/>
              <a:gdLst>
                <a:gd name="connsiteX0" fmla="*/ 38449 w 70809"/>
                <a:gd name="connsiteY0" fmla="*/ 61107 h 70809"/>
                <a:gd name="connsiteX1" fmla="*/ 61107 w 70809"/>
                <a:gd name="connsiteY1" fmla="*/ 38448 h 70809"/>
                <a:gd name="connsiteX2" fmla="*/ 38449 w 70809"/>
                <a:gd name="connsiteY2" fmla="*/ 15789 h 70809"/>
                <a:gd name="connsiteX3" fmla="*/ 15789 w 70809"/>
                <a:gd name="connsiteY3" fmla="*/ 38448 h 70809"/>
                <a:gd name="connsiteX4" fmla="*/ 38449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9" y="61107"/>
                  </a:moveTo>
                  <a:cubicBezTo>
                    <a:pt x="51194" y="61107"/>
                    <a:pt x="61107" y="51194"/>
                    <a:pt x="61107" y="38448"/>
                  </a:cubicBezTo>
                  <a:cubicBezTo>
                    <a:pt x="61107" y="25703"/>
                    <a:pt x="51194" y="15789"/>
                    <a:pt x="38449" y="15789"/>
                  </a:cubicBezTo>
                  <a:cubicBezTo>
                    <a:pt x="25703" y="15789"/>
                    <a:pt x="15789" y="25703"/>
                    <a:pt x="15789" y="38448"/>
                  </a:cubicBezTo>
                  <a:cubicBezTo>
                    <a:pt x="15789" y="51194"/>
                    <a:pt x="25703" y="61107"/>
                    <a:pt x="38449" y="6110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06" name="Freeform: Shape 2005">
              <a:extLst>
                <a:ext uri="{FF2B5EF4-FFF2-40B4-BE49-F238E27FC236}">
                  <a16:creationId xmlns:a16="http://schemas.microsoft.com/office/drawing/2014/main" id="{8F0C11E2-8438-4AC8-A0F9-7DA379A8A040}"/>
                </a:ext>
              </a:extLst>
            </p:cNvPr>
            <p:cNvSpPr/>
            <p:nvPr/>
          </p:nvSpPr>
          <p:spPr>
            <a:xfrm>
              <a:off x="8846033" y="4107144"/>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30" y="55442"/>
                    <a:pt x="55442" y="46945"/>
                    <a:pt x="55442" y="35616"/>
                  </a:cubicBezTo>
                  <a:cubicBezTo>
                    <a:pt x="55442" y="25703"/>
                    <a:pt x="46945" y="15789"/>
                    <a:pt x="35616" y="15789"/>
                  </a:cubicBezTo>
                  <a:cubicBezTo>
                    <a:pt x="25703" y="15789"/>
                    <a:pt x="15789" y="24286"/>
                    <a:pt x="15789" y="35616"/>
                  </a:cubicBezTo>
                  <a:cubicBezTo>
                    <a:pt x="17206" y="46945"/>
                    <a:pt x="25703" y="55442"/>
                    <a:pt x="35616"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07" name="Freeform: Shape 2006">
              <a:extLst>
                <a:ext uri="{FF2B5EF4-FFF2-40B4-BE49-F238E27FC236}">
                  <a16:creationId xmlns:a16="http://schemas.microsoft.com/office/drawing/2014/main" id="{2AE41BB5-9815-4AE2-9ED5-F605158FAF5D}"/>
                </a:ext>
              </a:extLst>
            </p:cNvPr>
            <p:cNvSpPr/>
            <p:nvPr/>
          </p:nvSpPr>
          <p:spPr>
            <a:xfrm>
              <a:off x="8755397" y="3904629"/>
              <a:ext cx="42486" cy="42486"/>
            </a:xfrm>
            <a:custGeom>
              <a:avLst/>
              <a:gdLst>
                <a:gd name="connsiteX0" fmla="*/ 25702 w 42485"/>
                <a:gd name="connsiteY0" fmla="*/ 35616 h 42485"/>
                <a:gd name="connsiteX1" fmla="*/ 35615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5" y="31367"/>
                    <a:pt x="35615" y="25702"/>
                  </a:cubicBezTo>
                  <a:cubicBezTo>
                    <a:pt x="35615" y="20038"/>
                    <a:pt x="31367" y="15789"/>
                    <a:pt x="25702" y="15789"/>
                  </a:cubicBezTo>
                  <a:cubicBezTo>
                    <a:pt x="20037" y="15789"/>
                    <a:pt x="15789" y="20038"/>
                    <a:pt x="15789" y="25702"/>
                  </a:cubicBezTo>
                  <a:cubicBezTo>
                    <a:pt x="17205" y="31367"/>
                    <a:pt x="21453" y="35616"/>
                    <a:pt x="25702"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08" name="Freeform: Shape 2007">
              <a:extLst>
                <a:ext uri="{FF2B5EF4-FFF2-40B4-BE49-F238E27FC236}">
                  <a16:creationId xmlns:a16="http://schemas.microsoft.com/office/drawing/2014/main" id="{F25B6528-C328-4C6B-B911-F8BF29A1B435}"/>
                </a:ext>
              </a:extLst>
            </p:cNvPr>
            <p:cNvSpPr/>
            <p:nvPr/>
          </p:nvSpPr>
          <p:spPr>
            <a:xfrm>
              <a:off x="8885309" y="4025006"/>
              <a:ext cx="28324" cy="28324"/>
            </a:xfrm>
            <a:custGeom>
              <a:avLst/>
              <a:gdLst>
                <a:gd name="connsiteX0" fmla="*/ 20415 w 28323"/>
                <a:gd name="connsiteY0" fmla="*/ 24286 h 28323"/>
                <a:gd name="connsiteX1" fmla="*/ 24663 w 28323"/>
                <a:gd name="connsiteY1" fmla="*/ 20037 h 28323"/>
                <a:gd name="connsiteX2" fmla="*/ 20415 w 28323"/>
                <a:gd name="connsiteY2" fmla="*/ 15789 h 28323"/>
                <a:gd name="connsiteX3" fmla="*/ 16166 w 28323"/>
                <a:gd name="connsiteY3" fmla="*/ 20037 h 28323"/>
                <a:gd name="connsiteX4" fmla="*/ 20415 w 28323"/>
                <a:gd name="connsiteY4" fmla="*/ 24286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0415" y="24286"/>
                  </a:moveTo>
                  <a:cubicBezTo>
                    <a:pt x="23246" y="24286"/>
                    <a:pt x="24663" y="21454"/>
                    <a:pt x="24663" y="20037"/>
                  </a:cubicBezTo>
                  <a:cubicBezTo>
                    <a:pt x="24663" y="17205"/>
                    <a:pt x="21831" y="15789"/>
                    <a:pt x="20415" y="15789"/>
                  </a:cubicBezTo>
                  <a:cubicBezTo>
                    <a:pt x="17582" y="15789"/>
                    <a:pt x="16166" y="18621"/>
                    <a:pt x="16166" y="20037"/>
                  </a:cubicBezTo>
                  <a:cubicBezTo>
                    <a:pt x="14750" y="22870"/>
                    <a:pt x="17582" y="24286"/>
                    <a:pt x="20415" y="2428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09" name="Freeform: Shape 2008">
              <a:extLst>
                <a:ext uri="{FF2B5EF4-FFF2-40B4-BE49-F238E27FC236}">
                  <a16:creationId xmlns:a16="http://schemas.microsoft.com/office/drawing/2014/main" id="{3EB8EF82-C99F-430D-B636-75B823C08BA1}"/>
                </a:ext>
              </a:extLst>
            </p:cNvPr>
            <p:cNvSpPr/>
            <p:nvPr/>
          </p:nvSpPr>
          <p:spPr>
            <a:xfrm>
              <a:off x="8806379" y="4017925"/>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10" name="Freeform: Shape 2009">
              <a:extLst>
                <a:ext uri="{FF2B5EF4-FFF2-40B4-BE49-F238E27FC236}">
                  <a16:creationId xmlns:a16="http://schemas.microsoft.com/office/drawing/2014/main" id="{53C7E426-3CFB-4A2E-AD67-91A4B37208BF}"/>
                </a:ext>
              </a:extLst>
            </p:cNvPr>
            <p:cNvSpPr/>
            <p:nvPr/>
          </p:nvSpPr>
          <p:spPr>
            <a:xfrm>
              <a:off x="8785137" y="3772923"/>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11" name="Freeform: Shape 2010">
              <a:extLst>
                <a:ext uri="{FF2B5EF4-FFF2-40B4-BE49-F238E27FC236}">
                  <a16:creationId xmlns:a16="http://schemas.microsoft.com/office/drawing/2014/main" id="{3A4B1AB5-9CD5-44AE-8139-2D50B18D16D6}"/>
                </a:ext>
              </a:extLst>
            </p:cNvPr>
            <p:cNvSpPr/>
            <p:nvPr/>
          </p:nvSpPr>
          <p:spPr>
            <a:xfrm>
              <a:off x="8864443" y="4051913"/>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2"/>
                  </a:cubicBezTo>
                  <a:cubicBezTo>
                    <a:pt x="35616" y="20037"/>
                    <a:pt x="31368" y="15789"/>
                    <a:pt x="25703" y="15789"/>
                  </a:cubicBezTo>
                  <a:cubicBezTo>
                    <a:pt x="20038" y="15789"/>
                    <a:pt x="15789" y="20037"/>
                    <a:pt x="15789" y="25702"/>
                  </a:cubicBezTo>
                  <a:cubicBezTo>
                    <a:pt x="15789" y="31367"/>
                    <a:pt x="20038"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12" name="Freeform: Shape 2011">
              <a:extLst>
                <a:ext uri="{FF2B5EF4-FFF2-40B4-BE49-F238E27FC236}">
                  <a16:creationId xmlns:a16="http://schemas.microsoft.com/office/drawing/2014/main" id="{8518BDAF-AE90-4682-8EB8-057E5ACEAF6B}"/>
                </a:ext>
              </a:extLst>
            </p:cNvPr>
            <p:cNvSpPr/>
            <p:nvPr/>
          </p:nvSpPr>
          <p:spPr>
            <a:xfrm>
              <a:off x="9415342" y="3578905"/>
              <a:ext cx="42486" cy="42486"/>
            </a:xfrm>
            <a:custGeom>
              <a:avLst/>
              <a:gdLst>
                <a:gd name="connsiteX0" fmla="*/ 27118 w 42485"/>
                <a:gd name="connsiteY0" fmla="*/ 38448 h 42485"/>
                <a:gd name="connsiteX1" fmla="*/ 38448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8" y="32783"/>
                    <a:pt x="38448" y="27119"/>
                  </a:cubicBezTo>
                  <a:cubicBezTo>
                    <a:pt x="38448" y="21454"/>
                    <a:pt x="32783" y="15789"/>
                    <a:pt x="27118" y="15789"/>
                  </a:cubicBezTo>
                  <a:cubicBezTo>
                    <a:pt x="21454" y="15789"/>
                    <a:pt x="15789" y="21454"/>
                    <a:pt x="15789" y="27119"/>
                  </a:cubicBezTo>
                  <a:cubicBezTo>
                    <a:pt x="15789" y="32783"/>
                    <a:pt x="21454" y="38448"/>
                    <a:pt x="27118" y="3844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13" name="Freeform: Shape 2012">
              <a:extLst>
                <a:ext uri="{FF2B5EF4-FFF2-40B4-BE49-F238E27FC236}">
                  <a16:creationId xmlns:a16="http://schemas.microsoft.com/office/drawing/2014/main" id="{68E61B96-107E-46A3-B77B-77302EE142A4}"/>
                </a:ext>
              </a:extLst>
            </p:cNvPr>
            <p:cNvSpPr/>
            <p:nvPr/>
          </p:nvSpPr>
          <p:spPr>
            <a:xfrm>
              <a:off x="9487567" y="3842317"/>
              <a:ext cx="42486" cy="42486"/>
            </a:xfrm>
            <a:custGeom>
              <a:avLst/>
              <a:gdLst>
                <a:gd name="connsiteX0" fmla="*/ 27119 w 42485"/>
                <a:gd name="connsiteY0" fmla="*/ 38448 h 42485"/>
                <a:gd name="connsiteX1" fmla="*/ 38449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9" y="32783"/>
                    <a:pt x="38449" y="27119"/>
                  </a:cubicBezTo>
                  <a:cubicBezTo>
                    <a:pt x="38449" y="21454"/>
                    <a:pt x="32783" y="15789"/>
                    <a:pt x="27119" y="15789"/>
                  </a:cubicBezTo>
                  <a:cubicBezTo>
                    <a:pt x="21454" y="15789"/>
                    <a:pt x="15789" y="21454"/>
                    <a:pt x="15789" y="27119"/>
                  </a:cubicBezTo>
                  <a:cubicBezTo>
                    <a:pt x="15789" y="32783"/>
                    <a:pt x="21454" y="38448"/>
                    <a:pt x="27119" y="3844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14" name="Freeform: Shape 2013">
              <a:extLst>
                <a:ext uri="{FF2B5EF4-FFF2-40B4-BE49-F238E27FC236}">
                  <a16:creationId xmlns:a16="http://schemas.microsoft.com/office/drawing/2014/main" id="{E89E54F1-CE59-443D-AD4C-05A0A6D815C8}"/>
                </a:ext>
              </a:extLst>
            </p:cNvPr>
            <p:cNvSpPr/>
            <p:nvPr/>
          </p:nvSpPr>
          <p:spPr>
            <a:xfrm>
              <a:off x="9395515" y="3689368"/>
              <a:ext cx="42486" cy="42486"/>
            </a:xfrm>
            <a:custGeom>
              <a:avLst/>
              <a:gdLst>
                <a:gd name="connsiteX0" fmla="*/ 27119 w 42485"/>
                <a:gd name="connsiteY0" fmla="*/ 38448 h 42485"/>
                <a:gd name="connsiteX1" fmla="*/ 38449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9" y="32783"/>
                    <a:pt x="38449" y="27119"/>
                  </a:cubicBezTo>
                  <a:cubicBezTo>
                    <a:pt x="38449" y="21454"/>
                    <a:pt x="32783" y="15789"/>
                    <a:pt x="27119" y="15789"/>
                  </a:cubicBezTo>
                  <a:cubicBezTo>
                    <a:pt x="21454" y="15789"/>
                    <a:pt x="15789" y="21454"/>
                    <a:pt x="15789" y="27119"/>
                  </a:cubicBezTo>
                  <a:cubicBezTo>
                    <a:pt x="15789" y="34200"/>
                    <a:pt x="20038" y="38448"/>
                    <a:pt x="27119" y="3844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15" name="Freeform: Shape 2014">
              <a:extLst>
                <a:ext uri="{FF2B5EF4-FFF2-40B4-BE49-F238E27FC236}">
                  <a16:creationId xmlns:a16="http://schemas.microsoft.com/office/drawing/2014/main" id="{574F5857-4F35-445E-8734-37B4C5A253D5}"/>
                </a:ext>
              </a:extLst>
            </p:cNvPr>
            <p:cNvSpPr/>
            <p:nvPr/>
          </p:nvSpPr>
          <p:spPr>
            <a:xfrm>
              <a:off x="9514475" y="3767259"/>
              <a:ext cx="42486" cy="42486"/>
            </a:xfrm>
            <a:custGeom>
              <a:avLst/>
              <a:gdLst>
                <a:gd name="connsiteX0" fmla="*/ 27118 w 42485"/>
                <a:gd name="connsiteY0" fmla="*/ 38448 h 42485"/>
                <a:gd name="connsiteX1" fmla="*/ 38448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8" y="32783"/>
                    <a:pt x="38448" y="27119"/>
                  </a:cubicBezTo>
                  <a:cubicBezTo>
                    <a:pt x="38448" y="21454"/>
                    <a:pt x="32783" y="15789"/>
                    <a:pt x="27118" y="15789"/>
                  </a:cubicBezTo>
                  <a:cubicBezTo>
                    <a:pt x="21454" y="15789"/>
                    <a:pt x="15789" y="21454"/>
                    <a:pt x="15789" y="27119"/>
                  </a:cubicBezTo>
                  <a:cubicBezTo>
                    <a:pt x="15789" y="34200"/>
                    <a:pt x="21454" y="38448"/>
                    <a:pt x="27118" y="3844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16" name="Freeform: Shape 2015">
              <a:extLst>
                <a:ext uri="{FF2B5EF4-FFF2-40B4-BE49-F238E27FC236}">
                  <a16:creationId xmlns:a16="http://schemas.microsoft.com/office/drawing/2014/main" id="{B5CD1800-DF2E-4B45-8ACA-3BED360FE9B1}"/>
                </a:ext>
              </a:extLst>
            </p:cNvPr>
            <p:cNvSpPr/>
            <p:nvPr/>
          </p:nvSpPr>
          <p:spPr>
            <a:xfrm>
              <a:off x="9511643" y="3924456"/>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8"/>
                    <a:pt x="55442" y="15789"/>
                    <a:pt x="41280" y="15789"/>
                  </a:cubicBezTo>
                  <a:cubicBezTo>
                    <a:pt x="27118" y="15789"/>
                    <a:pt x="15789" y="27118"/>
                    <a:pt x="15789" y="41280"/>
                  </a:cubicBezTo>
                  <a:cubicBezTo>
                    <a:pt x="15789" y="55442"/>
                    <a:pt x="27118" y="66772"/>
                    <a:pt x="41280" y="6677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17" name="Freeform: Shape 2016">
              <a:extLst>
                <a:ext uri="{FF2B5EF4-FFF2-40B4-BE49-F238E27FC236}">
                  <a16:creationId xmlns:a16="http://schemas.microsoft.com/office/drawing/2014/main" id="{BB91F687-D8B2-4255-9330-7DAECDEE7712}"/>
                </a:ext>
              </a:extLst>
            </p:cNvPr>
            <p:cNvSpPr/>
            <p:nvPr/>
          </p:nvSpPr>
          <p:spPr>
            <a:xfrm>
              <a:off x="9338867" y="3787085"/>
              <a:ext cx="70810" cy="70810"/>
            </a:xfrm>
            <a:custGeom>
              <a:avLst/>
              <a:gdLst>
                <a:gd name="connsiteX0" fmla="*/ 66772 w 70809"/>
                <a:gd name="connsiteY0" fmla="*/ 41280 h 70809"/>
                <a:gd name="connsiteX1" fmla="*/ 41281 w 70809"/>
                <a:gd name="connsiteY1" fmla="*/ 66772 h 70809"/>
                <a:gd name="connsiteX2" fmla="*/ 15790 w 70809"/>
                <a:gd name="connsiteY2" fmla="*/ 41280 h 70809"/>
                <a:gd name="connsiteX3" fmla="*/ 41281 w 70809"/>
                <a:gd name="connsiteY3" fmla="*/ 15789 h 70809"/>
                <a:gd name="connsiteX4" fmla="*/ 66772 w 70809"/>
                <a:gd name="connsiteY4" fmla="*/ 4128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6772" y="41280"/>
                  </a:moveTo>
                  <a:cubicBezTo>
                    <a:pt x="66772" y="55359"/>
                    <a:pt x="55359" y="66772"/>
                    <a:pt x="41281" y="66772"/>
                  </a:cubicBezTo>
                  <a:cubicBezTo>
                    <a:pt x="27202" y="66772"/>
                    <a:pt x="15790" y="55359"/>
                    <a:pt x="15790" y="41280"/>
                  </a:cubicBezTo>
                  <a:cubicBezTo>
                    <a:pt x="15790" y="27202"/>
                    <a:pt x="27203" y="15789"/>
                    <a:pt x="41281" y="15789"/>
                  </a:cubicBezTo>
                  <a:cubicBezTo>
                    <a:pt x="55360" y="15789"/>
                    <a:pt x="66772" y="27202"/>
                    <a:pt x="66772" y="4128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18" name="Freeform: Shape 2017">
              <a:extLst>
                <a:ext uri="{FF2B5EF4-FFF2-40B4-BE49-F238E27FC236}">
                  <a16:creationId xmlns:a16="http://schemas.microsoft.com/office/drawing/2014/main" id="{0149A485-6B1B-4DD4-97B9-353375CEA134}"/>
                </a:ext>
              </a:extLst>
            </p:cNvPr>
            <p:cNvSpPr/>
            <p:nvPr/>
          </p:nvSpPr>
          <p:spPr>
            <a:xfrm>
              <a:off x="9980402" y="4373388"/>
              <a:ext cx="70810" cy="70810"/>
            </a:xfrm>
            <a:custGeom>
              <a:avLst/>
              <a:gdLst>
                <a:gd name="connsiteX0" fmla="*/ 41280 w 70809"/>
                <a:gd name="connsiteY0" fmla="*/ 66772 h 70809"/>
                <a:gd name="connsiteX1" fmla="*/ 66772 w 70809"/>
                <a:gd name="connsiteY1" fmla="*/ 41281 h 70809"/>
                <a:gd name="connsiteX2" fmla="*/ 41280 w 70809"/>
                <a:gd name="connsiteY2" fmla="*/ 15789 h 70809"/>
                <a:gd name="connsiteX3" fmla="*/ 15789 w 70809"/>
                <a:gd name="connsiteY3" fmla="*/ 41281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3"/>
                    <a:pt x="66772" y="41281"/>
                  </a:cubicBezTo>
                  <a:cubicBezTo>
                    <a:pt x="66772" y="27119"/>
                    <a:pt x="55442" y="15789"/>
                    <a:pt x="41280" y="15789"/>
                  </a:cubicBezTo>
                  <a:cubicBezTo>
                    <a:pt x="27118" y="15789"/>
                    <a:pt x="15789" y="27119"/>
                    <a:pt x="15789" y="41281"/>
                  </a:cubicBezTo>
                  <a:cubicBezTo>
                    <a:pt x="15789" y="54026"/>
                    <a:pt x="27118" y="66772"/>
                    <a:pt x="41280" y="6677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19" name="Freeform: Shape 2018">
              <a:extLst>
                <a:ext uri="{FF2B5EF4-FFF2-40B4-BE49-F238E27FC236}">
                  <a16:creationId xmlns:a16="http://schemas.microsoft.com/office/drawing/2014/main" id="{8741D850-B0CC-4AAA-8960-BA26FE8504CF}"/>
                </a:ext>
              </a:extLst>
            </p:cNvPr>
            <p:cNvSpPr/>
            <p:nvPr/>
          </p:nvSpPr>
          <p:spPr>
            <a:xfrm>
              <a:off x="10028552" y="4516424"/>
              <a:ext cx="113295" cy="113295"/>
            </a:xfrm>
            <a:custGeom>
              <a:avLst/>
              <a:gdLst>
                <a:gd name="connsiteX0" fmla="*/ 56859 w 113295"/>
                <a:gd name="connsiteY0" fmla="*/ 15789 h 113295"/>
                <a:gd name="connsiteX1" fmla="*/ 97928 w 113295"/>
                <a:gd name="connsiteY1" fmla="*/ 56858 h 113295"/>
                <a:gd name="connsiteX2" fmla="*/ 56859 w 113295"/>
                <a:gd name="connsiteY2" fmla="*/ 97928 h 113295"/>
                <a:gd name="connsiteX3" fmla="*/ 15789 w 113295"/>
                <a:gd name="connsiteY3" fmla="*/ 56858 h 113295"/>
                <a:gd name="connsiteX4" fmla="*/ 56859 w 113295"/>
                <a:gd name="connsiteY4" fmla="*/ 15789 h 113295"/>
                <a:gd name="connsiteX5" fmla="*/ 56859 w 113295"/>
                <a:gd name="connsiteY5" fmla="*/ 15789 h 113295"/>
                <a:gd name="connsiteX6" fmla="*/ 56859 w 113295"/>
                <a:gd name="connsiteY6" fmla="*/ 34200 h 113295"/>
                <a:gd name="connsiteX7" fmla="*/ 34199 w 113295"/>
                <a:gd name="connsiteY7" fmla="*/ 56858 h 113295"/>
                <a:gd name="connsiteX8" fmla="*/ 56859 w 113295"/>
                <a:gd name="connsiteY8" fmla="*/ 79518 h 113295"/>
                <a:gd name="connsiteX9" fmla="*/ 79518 w 113295"/>
                <a:gd name="connsiteY9" fmla="*/ 56858 h 113295"/>
                <a:gd name="connsiteX10" fmla="*/ 56859 w 113295"/>
                <a:gd name="connsiteY10" fmla="*/ 34200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56859" y="15789"/>
                  </a:moveTo>
                  <a:cubicBezTo>
                    <a:pt x="79518" y="15789"/>
                    <a:pt x="97928" y="34200"/>
                    <a:pt x="97928" y="56858"/>
                  </a:cubicBezTo>
                  <a:cubicBezTo>
                    <a:pt x="97928" y="79518"/>
                    <a:pt x="79518" y="97928"/>
                    <a:pt x="56859" y="97928"/>
                  </a:cubicBezTo>
                  <a:cubicBezTo>
                    <a:pt x="34199" y="97928"/>
                    <a:pt x="15789" y="79518"/>
                    <a:pt x="15789" y="56858"/>
                  </a:cubicBezTo>
                  <a:cubicBezTo>
                    <a:pt x="15789" y="35616"/>
                    <a:pt x="34199" y="15789"/>
                    <a:pt x="56859" y="15789"/>
                  </a:cubicBezTo>
                  <a:lnTo>
                    <a:pt x="56859" y="15789"/>
                  </a:lnTo>
                  <a:close/>
                  <a:moveTo>
                    <a:pt x="56859" y="34200"/>
                  </a:moveTo>
                  <a:cubicBezTo>
                    <a:pt x="44113" y="34200"/>
                    <a:pt x="34199" y="44113"/>
                    <a:pt x="34199" y="56858"/>
                  </a:cubicBezTo>
                  <a:cubicBezTo>
                    <a:pt x="34199" y="69605"/>
                    <a:pt x="44113" y="79518"/>
                    <a:pt x="56859" y="79518"/>
                  </a:cubicBezTo>
                  <a:cubicBezTo>
                    <a:pt x="69604" y="79518"/>
                    <a:pt x="79518" y="69605"/>
                    <a:pt x="79518" y="56858"/>
                  </a:cubicBezTo>
                  <a:cubicBezTo>
                    <a:pt x="79518" y="45529"/>
                    <a:pt x="69604" y="34200"/>
                    <a:pt x="56859" y="3420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20" name="Freeform: Shape 2019">
              <a:extLst>
                <a:ext uri="{FF2B5EF4-FFF2-40B4-BE49-F238E27FC236}">
                  <a16:creationId xmlns:a16="http://schemas.microsoft.com/office/drawing/2014/main" id="{F61CFB32-2185-40B0-B2A3-24BA4EBD415D}"/>
                </a:ext>
              </a:extLst>
            </p:cNvPr>
            <p:cNvSpPr/>
            <p:nvPr/>
          </p:nvSpPr>
          <p:spPr>
            <a:xfrm>
              <a:off x="9823097" y="4345064"/>
              <a:ext cx="84971" cy="84971"/>
            </a:xfrm>
            <a:custGeom>
              <a:avLst/>
              <a:gdLst>
                <a:gd name="connsiteX0" fmla="*/ 44220 w 84971"/>
                <a:gd name="connsiteY0" fmla="*/ 15789 h 84971"/>
                <a:gd name="connsiteX1" fmla="*/ 72544 w 84971"/>
                <a:gd name="connsiteY1" fmla="*/ 44113 h 84971"/>
                <a:gd name="connsiteX2" fmla="*/ 44220 w 84971"/>
                <a:gd name="connsiteY2" fmla="*/ 72437 h 84971"/>
                <a:gd name="connsiteX3" fmla="*/ 15896 w 84971"/>
                <a:gd name="connsiteY3" fmla="*/ 44113 h 84971"/>
                <a:gd name="connsiteX4" fmla="*/ 44220 w 84971"/>
                <a:gd name="connsiteY4" fmla="*/ 15789 h 84971"/>
                <a:gd name="connsiteX5" fmla="*/ 44220 w 84971"/>
                <a:gd name="connsiteY5" fmla="*/ 15789 h 84971"/>
                <a:gd name="connsiteX6" fmla="*/ 44220 w 84971"/>
                <a:gd name="connsiteY6" fmla="*/ 28535 h 84971"/>
                <a:gd name="connsiteX7" fmla="*/ 28643 w 84971"/>
                <a:gd name="connsiteY7" fmla="*/ 44113 h 84971"/>
                <a:gd name="connsiteX8" fmla="*/ 44220 w 84971"/>
                <a:gd name="connsiteY8" fmla="*/ 59691 h 84971"/>
                <a:gd name="connsiteX9" fmla="*/ 61215 w 84971"/>
                <a:gd name="connsiteY9" fmla="*/ 44113 h 84971"/>
                <a:gd name="connsiteX10" fmla="*/ 44220 w 84971"/>
                <a:gd name="connsiteY10" fmla="*/ 28535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4220" y="15789"/>
                  </a:moveTo>
                  <a:cubicBezTo>
                    <a:pt x="59799" y="15789"/>
                    <a:pt x="72544" y="28535"/>
                    <a:pt x="72544" y="44113"/>
                  </a:cubicBezTo>
                  <a:cubicBezTo>
                    <a:pt x="72544" y="59691"/>
                    <a:pt x="59799" y="72437"/>
                    <a:pt x="44220" y="72437"/>
                  </a:cubicBezTo>
                  <a:cubicBezTo>
                    <a:pt x="28643" y="72437"/>
                    <a:pt x="15896" y="59691"/>
                    <a:pt x="15896" y="44113"/>
                  </a:cubicBezTo>
                  <a:cubicBezTo>
                    <a:pt x="14481" y="28535"/>
                    <a:pt x="27226" y="15789"/>
                    <a:pt x="44220" y="15789"/>
                  </a:cubicBezTo>
                  <a:lnTo>
                    <a:pt x="44220" y="15789"/>
                  </a:lnTo>
                  <a:close/>
                  <a:moveTo>
                    <a:pt x="44220" y="28535"/>
                  </a:moveTo>
                  <a:cubicBezTo>
                    <a:pt x="35723" y="28535"/>
                    <a:pt x="28643" y="35616"/>
                    <a:pt x="28643" y="44113"/>
                  </a:cubicBezTo>
                  <a:cubicBezTo>
                    <a:pt x="28643" y="52610"/>
                    <a:pt x="35723" y="59691"/>
                    <a:pt x="44220" y="59691"/>
                  </a:cubicBezTo>
                  <a:cubicBezTo>
                    <a:pt x="52718" y="59691"/>
                    <a:pt x="61215" y="52610"/>
                    <a:pt x="61215" y="44113"/>
                  </a:cubicBezTo>
                  <a:cubicBezTo>
                    <a:pt x="61215" y="35616"/>
                    <a:pt x="52718" y="28535"/>
                    <a:pt x="44220" y="2853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21" name="Freeform: Shape 2020">
              <a:extLst>
                <a:ext uri="{FF2B5EF4-FFF2-40B4-BE49-F238E27FC236}">
                  <a16:creationId xmlns:a16="http://schemas.microsoft.com/office/drawing/2014/main" id="{BAB5CE37-180E-4E25-9453-53658D754C7E}"/>
                </a:ext>
              </a:extLst>
            </p:cNvPr>
            <p:cNvSpPr/>
            <p:nvPr/>
          </p:nvSpPr>
          <p:spPr>
            <a:xfrm>
              <a:off x="10198495" y="4499430"/>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7" y="15789"/>
                    <a:pt x="15789" y="24286"/>
                    <a:pt x="15789" y="35616"/>
                  </a:cubicBezTo>
                  <a:cubicBezTo>
                    <a:pt x="15789" y="45529"/>
                    <a:pt x="24287" y="55442"/>
                    <a:pt x="35616"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22" name="Freeform: Shape 2021">
              <a:extLst>
                <a:ext uri="{FF2B5EF4-FFF2-40B4-BE49-F238E27FC236}">
                  <a16:creationId xmlns:a16="http://schemas.microsoft.com/office/drawing/2014/main" id="{4BB4143B-8EE6-492A-9795-F61C1126D292}"/>
                </a:ext>
              </a:extLst>
            </p:cNvPr>
            <p:cNvSpPr/>
            <p:nvPr/>
          </p:nvSpPr>
          <p:spPr>
            <a:xfrm>
              <a:off x="9750979" y="4285585"/>
              <a:ext cx="42486" cy="42486"/>
            </a:xfrm>
            <a:custGeom>
              <a:avLst/>
              <a:gdLst>
                <a:gd name="connsiteX0" fmla="*/ 25703 w 42485"/>
                <a:gd name="connsiteY0" fmla="*/ 35616 h 42485"/>
                <a:gd name="connsiteX1" fmla="*/ 35615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5" y="31367"/>
                    <a:pt x="35615" y="25702"/>
                  </a:cubicBezTo>
                  <a:cubicBezTo>
                    <a:pt x="35615" y="20037"/>
                    <a:pt x="31367" y="15789"/>
                    <a:pt x="25703" y="15789"/>
                  </a:cubicBezTo>
                  <a:cubicBezTo>
                    <a:pt x="20037" y="15789"/>
                    <a:pt x="15789" y="20037"/>
                    <a:pt x="15789" y="25702"/>
                  </a:cubicBezTo>
                  <a:cubicBezTo>
                    <a:pt x="15789" y="31367"/>
                    <a:pt x="20037"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23" name="Freeform: Shape 2022">
              <a:extLst>
                <a:ext uri="{FF2B5EF4-FFF2-40B4-BE49-F238E27FC236}">
                  <a16:creationId xmlns:a16="http://schemas.microsoft.com/office/drawing/2014/main" id="{DE700B32-B34A-4CB8-B2B7-90CB46D32791}"/>
                </a:ext>
              </a:extLst>
            </p:cNvPr>
            <p:cNvSpPr/>
            <p:nvPr/>
          </p:nvSpPr>
          <p:spPr>
            <a:xfrm>
              <a:off x="9925171" y="4325238"/>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24" name="Freeform: Shape 2023">
              <a:extLst>
                <a:ext uri="{FF2B5EF4-FFF2-40B4-BE49-F238E27FC236}">
                  <a16:creationId xmlns:a16="http://schemas.microsoft.com/office/drawing/2014/main" id="{BCD9C44F-F237-4326-A890-8EF5ED3BE56B}"/>
                </a:ext>
              </a:extLst>
            </p:cNvPr>
            <p:cNvSpPr/>
            <p:nvPr/>
          </p:nvSpPr>
          <p:spPr>
            <a:xfrm>
              <a:off x="9944998" y="4503678"/>
              <a:ext cx="42486" cy="42486"/>
            </a:xfrm>
            <a:custGeom>
              <a:avLst/>
              <a:gdLst>
                <a:gd name="connsiteX0" fmla="*/ 25702 w 42485"/>
                <a:gd name="connsiteY0" fmla="*/ 35616 h 42485"/>
                <a:gd name="connsiteX1" fmla="*/ 35615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5" y="31367"/>
                    <a:pt x="35615" y="25703"/>
                  </a:cubicBezTo>
                  <a:cubicBezTo>
                    <a:pt x="35615" y="20037"/>
                    <a:pt x="31367" y="15789"/>
                    <a:pt x="25702" y="15789"/>
                  </a:cubicBezTo>
                  <a:cubicBezTo>
                    <a:pt x="20037" y="15789"/>
                    <a:pt x="15789" y="20037"/>
                    <a:pt x="15789" y="25703"/>
                  </a:cubicBezTo>
                  <a:cubicBezTo>
                    <a:pt x="17205" y="31367"/>
                    <a:pt x="21453" y="35616"/>
                    <a:pt x="25702"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25" name="Freeform: Shape 2024">
              <a:extLst>
                <a:ext uri="{FF2B5EF4-FFF2-40B4-BE49-F238E27FC236}">
                  <a16:creationId xmlns:a16="http://schemas.microsoft.com/office/drawing/2014/main" id="{E722D84C-0927-4DC6-8D05-ADC67ABA37F0}"/>
                </a:ext>
              </a:extLst>
            </p:cNvPr>
            <p:cNvSpPr/>
            <p:nvPr/>
          </p:nvSpPr>
          <p:spPr>
            <a:xfrm>
              <a:off x="10265057" y="4605644"/>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7" y="15789"/>
                    <a:pt x="15789" y="20037"/>
                    <a:pt x="15789" y="25702"/>
                  </a:cubicBezTo>
                  <a:cubicBezTo>
                    <a:pt x="15789" y="31367"/>
                    <a:pt x="20037"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26" name="Freeform: Shape 2025">
              <a:extLst>
                <a:ext uri="{FF2B5EF4-FFF2-40B4-BE49-F238E27FC236}">
                  <a16:creationId xmlns:a16="http://schemas.microsoft.com/office/drawing/2014/main" id="{52E3C525-3D03-481F-8131-89B78B849B56}"/>
                </a:ext>
              </a:extLst>
            </p:cNvPr>
            <p:cNvSpPr/>
            <p:nvPr/>
          </p:nvSpPr>
          <p:spPr>
            <a:xfrm>
              <a:off x="10034217" y="4455528"/>
              <a:ext cx="56648" cy="56648"/>
            </a:xfrm>
            <a:custGeom>
              <a:avLst/>
              <a:gdLst>
                <a:gd name="connsiteX0" fmla="*/ 32783 w 56647"/>
                <a:gd name="connsiteY0" fmla="*/ 49777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6" y="49777"/>
                    <a:pt x="49777" y="42697"/>
                    <a:pt x="49777" y="32783"/>
                  </a:cubicBezTo>
                  <a:cubicBezTo>
                    <a:pt x="49777" y="22870"/>
                    <a:pt x="42696" y="15789"/>
                    <a:pt x="32783" y="15789"/>
                  </a:cubicBezTo>
                  <a:cubicBezTo>
                    <a:pt x="22870" y="15789"/>
                    <a:pt x="15789" y="22870"/>
                    <a:pt x="15789" y="32783"/>
                  </a:cubicBezTo>
                  <a:cubicBezTo>
                    <a:pt x="15789" y="42697"/>
                    <a:pt x="22870" y="49777"/>
                    <a:pt x="32783"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27" name="Freeform: Shape 2026">
              <a:extLst>
                <a:ext uri="{FF2B5EF4-FFF2-40B4-BE49-F238E27FC236}">
                  <a16:creationId xmlns:a16="http://schemas.microsoft.com/office/drawing/2014/main" id="{3C5601A6-AC77-44DF-B7CF-C4EBF0AB9F40}"/>
                </a:ext>
              </a:extLst>
            </p:cNvPr>
            <p:cNvSpPr/>
            <p:nvPr/>
          </p:nvSpPr>
          <p:spPr>
            <a:xfrm>
              <a:off x="8880022" y="4391799"/>
              <a:ext cx="84971" cy="84971"/>
            </a:xfrm>
            <a:custGeom>
              <a:avLst/>
              <a:gdLst>
                <a:gd name="connsiteX0" fmla="*/ 45529 w 84971"/>
                <a:gd name="connsiteY0" fmla="*/ 75269 h 84971"/>
                <a:gd name="connsiteX1" fmla="*/ 75269 w 84971"/>
                <a:gd name="connsiteY1" fmla="*/ 45529 h 84971"/>
                <a:gd name="connsiteX2" fmla="*/ 45529 w 84971"/>
                <a:gd name="connsiteY2" fmla="*/ 15789 h 84971"/>
                <a:gd name="connsiteX3" fmla="*/ 15789 w 84971"/>
                <a:gd name="connsiteY3" fmla="*/ 45529 h 84971"/>
                <a:gd name="connsiteX4" fmla="*/ 45529 w 84971"/>
                <a:gd name="connsiteY4" fmla="*/ 7526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529" y="75269"/>
                  </a:moveTo>
                  <a:cubicBezTo>
                    <a:pt x="62523" y="75269"/>
                    <a:pt x="75269" y="62523"/>
                    <a:pt x="75269" y="45529"/>
                  </a:cubicBezTo>
                  <a:cubicBezTo>
                    <a:pt x="75269" y="28535"/>
                    <a:pt x="62523" y="15789"/>
                    <a:pt x="45529" y="15789"/>
                  </a:cubicBezTo>
                  <a:cubicBezTo>
                    <a:pt x="28534" y="15789"/>
                    <a:pt x="15789" y="28535"/>
                    <a:pt x="15789" y="45529"/>
                  </a:cubicBezTo>
                  <a:cubicBezTo>
                    <a:pt x="15789" y="62523"/>
                    <a:pt x="28534" y="75269"/>
                    <a:pt x="45529" y="7526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28" name="Freeform: Shape 2027">
              <a:extLst>
                <a:ext uri="{FF2B5EF4-FFF2-40B4-BE49-F238E27FC236}">
                  <a16:creationId xmlns:a16="http://schemas.microsoft.com/office/drawing/2014/main" id="{47F57C07-8084-4EB1-ACDF-98A385B589C3}"/>
                </a:ext>
              </a:extLst>
            </p:cNvPr>
            <p:cNvSpPr/>
            <p:nvPr/>
          </p:nvSpPr>
          <p:spPr>
            <a:xfrm>
              <a:off x="8656263" y="3998098"/>
              <a:ext cx="70810" cy="70810"/>
            </a:xfrm>
            <a:custGeom>
              <a:avLst/>
              <a:gdLst>
                <a:gd name="connsiteX0" fmla="*/ 35615 w 70809"/>
                <a:gd name="connsiteY0" fmla="*/ 55443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3"/>
                  </a:moveTo>
                  <a:cubicBezTo>
                    <a:pt x="46945" y="55443"/>
                    <a:pt x="55442" y="46945"/>
                    <a:pt x="55442" y="35616"/>
                  </a:cubicBezTo>
                  <a:cubicBezTo>
                    <a:pt x="55442" y="24286"/>
                    <a:pt x="46945" y="15789"/>
                    <a:pt x="35615" y="15789"/>
                  </a:cubicBezTo>
                  <a:cubicBezTo>
                    <a:pt x="24286" y="15789"/>
                    <a:pt x="15789" y="24286"/>
                    <a:pt x="15789" y="35616"/>
                  </a:cubicBezTo>
                  <a:cubicBezTo>
                    <a:pt x="15789" y="46945"/>
                    <a:pt x="24286" y="55443"/>
                    <a:pt x="35615" y="5544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29" name="Freeform: Shape 2028">
              <a:extLst>
                <a:ext uri="{FF2B5EF4-FFF2-40B4-BE49-F238E27FC236}">
                  <a16:creationId xmlns:a16="http://schemas.microsoft.com/office/drawing/2014/main" id="{2CD725B3-D0B1-4EF5-9B8C-33F8630CF60D}"/>
                </a:ext>
              </a:extLst>
            </p:cNvPr>
            <p:cNvSpPr/>
            <p:nvPr/>
          </p:nvSpPr>
          <p:spPr>
            <a:xfrm>
              <a:off x="8735570" y="4080237"/>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7" y="15789"/>
                    <a:pt x="15789" y="20037"/>
                    <a:pt x="15789" y="25702"/>
                  </a:cubicBezTo>
                  <a:cubicBezTo>
                    <a:pt x="15789" y="31367"/>
                    <a:pt x="20037"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30" name="Freeform: Shape 2029">
              <a:extLst>
                <a:ext uri="{FF2B5EF4-FFF2-40B4-BE49-F238E27FC236}">
                  <a16:creationId xmlns:a16="http://schemas.microsoft.com/office/drawing/2014/main" id="{095C087E-0CAB-4DCE-B4EC-D13C89882FD8}"/>
                </a:ext>
              </a:extLst>
            </p:cNvPr>
            <p:cNvSpPr/>
            <p:nvPr/>
          </p:nvSpPr>
          <p:spPr>
            <a:xfrm>
              <a:off x="8806379" y="4303995"/>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7" y="15789"/>
                    <a:pt x="15789" y="20038"/>
                    <a:pt x="15789" y="25703"/>
                  </a:cubicBezTo>
                  <a:cubicBezTo>
                    <a:pt x="15789" y="31367"/>
                    <a:pt x="21454"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31" name="Freeform: Shape 2030">
              <a:extLst>
                <a:ext uri="{FF2B5EF4-FFF2-40B4-BE49-F238E27FC236}">
                  <a16:creationId xmlns:a16="http://schemas.microsoft.com/office/drawing/2014/main" id="{C802D3C1-5F1E-49F9-87C4-EC39E560C06B}"/>
                </a:ext>
              </a:extLst>
            </p:cNvPr>
            <p:cNvSpPr/>
            <p:nvPr/>
          </p:nvSpPr>
          <p:spPr>
            <a:xfrm>
              <a:off x="8935252" y="4295498"/>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3"/>
                  </a:cubicBezTo>
                  <a:cubicBezTo>
                    <a:pt x="35616" y="20038"/>
                    <a:pt x="31368" y="15789"/>
                    <a:pt x="25703" y="15789"/>
                  </a:cubicBezTo>
                  <a:cubicBezTo>
                    <a:pt x="20038" y="15789"/>
                    <a:pt x="15789" y="20038"/>
                    <a:pt x="15789" y="25703"/>
                  </a:cubicBezTo>
                  <a:cubicBezTo>
                    <a:pt x="15789" y="29951"/>
                    <a:pt x="20038"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32" name="Freeform: Shape 2031">
              <a:extLst>
                <a:ext uri="{FF2B5EF4-FFF2-40B4-BE49-F238E27FC236}">
                  <a16:creationId xmlns:a16="http://schemas.microsoft.com/office/drawing/2014/main" id="{C5C8D2FF-1574-4687-A08B-86CBDB5F2F7B}"/>
                </a:ext>
              </a:extLst>
            </p:cNvPr>
            <p:cNvSpPr/>
            <p:nvPr/>
          </p:nvSpPr>
          <p:spPr>
            <a:xfrm>
              <a:off x="9061294" y="4500845"/>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33" name="Freeform: Shape 2032">
              <a:extLst>
                <a:ext uri="{FF2B5EF4-FFF2-40B4-BE49-F238E27FC236}">
                  <a16:creationId xmlns:a16="http://schemas.microsoft.com/office/drawing/2014/main" id="{F9C5B063-EAD5-4EAA-AB51-AD1CA93E7384}"/>
                </a:ext>
              </a:extLst>
            </p:cNvPr>
            <p:cNvSpPr/>
            <p:nvPr/>
          </p:nvSpPr>
          <p:spPr>
            <a:xfrm>
              <a:off x="8850281" y="4243099"/>
              <a:ext cx="70810" cy="70810"/>
            </a:xfrm>
            <a:custGeom>
              <a:avLst/>
              <a:gdLst>
                <a:gd name="connsiteX0" fmla="*/ 38449 w 70809"/>
                <a:gd name="connsiteY0" fmla="*/ 61107 h 70809"/>
                <a:gd name="connsiteX1" fmla="*/ 61107 w 70809"/>
                <a:gd name="connsiteY1" fmla="*/ 38448 h 70809"/>
                <a:gd name="connsiteX2" fmla="*/ 38449 w 70809"/>
                <a:gd name="connsiteY2" fmla="*/ 15789 h 70809"/>
                <a:gd name="connsiteX3" fmla="*/ 15789 w 70809"/>
                <a:gd name="connsiteY3" fmla="*/ 38448 h 70809"/>
                <a:gd name="connsiteX4" fmla="*/ 38449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9" y="61107"/>
                  </a:moveTo>
                  <a:cubicBezTo>
                    <a:pt x="51194" y="61107"/>
                    <a:pt x="61107" y="51194"/>
                    <a:pt x="61107" y="38448"/>
                  </a:cubicBezTo>
                  <a:cubicBezTo>
                    <a:pt x="61107" y="25702"/>
                    <a:pt x="51194" y="15789"/>
                    <a:pt x="38449" y="15789"/>
                  </a:cubicBezTo>
                  <a:cubicBezTo>
                    <a:pt x="25703" y="15789"/>
                    <a:pt x="15789" y="25702"/>
                    <a:pt x="15789" y="38448"/>
                  </a:cubicBezTo>
                  <a:cubicBezTo>
                    <a:pt x="17206" y="51194"/>
                    <a:pt x="27119" y="61107"/>
                    <a:pt x="38449" y="6110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34" name="Freeform: Shape 2033">
              <a:extLst>
                <a:ext uri="{FF2B5EF4-FFF2-40B4-BE49-F238E27FC236}">
                  <a16:creationId xmlns:a16="http://schemas.microsoft.com/office/drawing/2014/main" id="{18FEBF08-E908-4438-A26A-F8FC4BBABAE5}"/>
                </a:ext>
              </a:extLst>
            </p:cNvPr>
            <p:cNvSpPr/>
            <p:nvPr/>
          </p:nvSpPr>
          <p:spPr>
            <a:xfrm>
              <a:off x="9130688" y="4462608"/>
              <a:ext cx="70810" cy="70810"/>
            </a:xfrm>
            <a:custGeom>
              <a:avLst/>
              <a:gdLst>
                <a:gd name="connsiteX0" fmla="*/ 38448 w 70809"/>
                <a:gd name="connsiteY0" fmla="*/ 61107 h 70809"/>
                <a:gd name="connsiteX1" fmla="*/ 61106 w 70809"/>
                <a:gd name="connsiteY1" fmla="*/ 38448 h 70809"/>
                <a:gd name="connsiteX2" fmla="*/ 38448 w 70809"/>
                <a:gd name="connsiteY2" fmla="*/ 15789 h 70809"/>
                <a:gd name="connsiteX3" fmla="*/ 15789 w 70809"/>
                <a:gd name="connsiteY3" fmla="*/ 38448 h 70809"/>
                <a:gd name="connsiteX4" fmla="*/ 3844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8" y="61107"/>
                  </a:moveTo>
                  <a:cubicBezTo>
                    <a:pt x="51194" y="61107"/>
                    <a:pt x="61106" y="51194"/>
                    <a:pt x="61106" y="38448"/>
                  </a:cubicBezTo>
                  <a:cubicBezTo>
                    <a:pt x="61106" y="25702"/>
                    <a:pt x="51194" y="15789"/>
                    <a:pt x="38448" y="15789"/>
                  </a:cubicBezTo>
                  <a:cubicBezTo>
                    <a:pt x="25702" y="15789"/>
                    <a:pt x="15789" y="25702"/>
                    <a:pt x="15789" y="38448"/>
                  </a:cubicBezTo>
                  <a:cubicBezTo>
                    <a:pt x="15789" y="51194"/>
                    <a:pt x="25702" y="61107"/>
                    <a:pt x="38448" y="6110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35" name="Freeform: Shape 2034">
              <a:extLst>
                <a:ext uri="{FF2B5EF4-FFF2-40B4-BE49-F238E27FC236}">
                  <a16:creationId xmlns:a16="http://schemas.microsoft.com/office/drawing/2014/main" id="{E08EF28F-F7AC-4FA8-A63A-2AF688B20114}"/>
                </a:ext>
              </a:extLst>
            </p:cNvPr>
            <p:cNvSpPr/>
            <p:nvPr/>
          </p:nvSpPr>
          <p:spPr>
            <a:xfrm>
              <a:off x="8772390" y="4202029"/>
              <a:ext cx="42486" cy="42486"/>
            </a:xfrm>
            <a:custGeom>
              <a:avLst/>
              <a:gdLst>
                <a:gd name="connsiteX0" fmla="*/ 27119 w 42485"/>
                <a:gd name="connsiteY0" fmla="*/ 38448 h 42485"/>
                <a:gd name="connsiteX1" fmla="*/ 38449 w 42485"/>
                <a:gd name="connsiteY1" fmla="*/ 27118 h 42485"/>
                <a:gd name="connsiteX2" fmla="*/ 27119 w 42485"/>
                <a:gd name="connsiteY2" fmla="*/ 15789 h 42485"/>
                <a:gd name="connsiteX3" fmla="*/ 15789 w 42485"/>
                <a:gd name="connsiteY3" fmla="*/ 27118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9" y="32783"/>
                    <a:pt x="38449" y="27118"/>
                  </a:cubicBezTo>
                  <a:cubicBezTo>
                    <a:pt x="38449" y="21454"/>
                    <a:pt x="32783" y="15789"/>
                    <a:pt x="27119" y="15789"/>
                  </a:cubicBezTo>
                  <a:cubicBezTo>
                    <a:pt x="21454" y="15789"/>
                    <a:pt x="15789" y="21454"/>
                    <a:pt x="15789" y="27118"/>
                  </a:cubicBezTo>
                  <a:cubicBezTo>
                    <a:pt x="15789" y="34199"/>
                    <a:pt x="21454" y="38448"/>
                    <a:pt x="27119" y="3844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36" name="Freeform: Shape 2035">
              <a:extLst>
                <a:ext uri="{FF2B5EF4-FFF2-40B4-BE49-F238E27FC236}">
                  <a16:creationId xmlns:a16="http://schemas.microsoft.com/office/drawing/2014/main" id="{E708E1A7-D24A-437D-83EA-D5E87EB45333}"/>
                </a:ext>
              </a:extLst>
            </p:cNvPr>
            <p:cNvSpPr/>
            <p:nvPr/>
          </p:nvSpPr>
          <p:spPr>
            <a:xfrm>
              <a:off x="9520140" y="4588649"/>
              <a:ext cx="42486" cy="42486"/>
            </a:xfrm>
            <a:custGeom>
              <a:avLst/>
              <a:gdLst>
                <a:gd name="connsiteX0" fmla="*/ 25702 w 42485"/>
                <a:gd name="connsiteY0" fmla="*/ 35616 h 42485"/>
                <a:gd name="connsiteX1" fmla="*/ 35615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5" y="31367"/>
                    <a:pt x="35615" y="25703"/>
                  </a:cubicBezTo>
                  <a:cubicBezTo>
                    <a:pt x="35615" y="20037"/>
                    <a:pt x="31367" y="15789"/>
                    <a:pt x="25702" y="15789"/>
                  </a:cubicBezTo>
                  <a:cubicBezTo>
                    <a:pt x="20037" y="15789"/>
                    <a:pt x="15789" y="20037"/>
                    <a:pt x="15789" y="25703"/>
                  </a:cubicBezTo>
                  <a:cubicBezTo>
                    <a:pt x="17205" y="31367"/>
                    <a:pt x="21453" y="35616"/>
                    <a:pt x="25702"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37" name="Freeform: Shape 2036">
              <a:extLst>
                <a:ext uri="{FF2B5EF4-FFF2-40B4-BE49-F238E27FC236}">
                  <a16:creationId xmlns:a16="http://schemas.microsoft.com/office/drawing/2014/main" id="{C08A04E3-F6EA-481A-9CC3-5A2422125F29}"/>
                </a:ext>
              </a:extLst>
            </p:cNvPr>
            <p:cNvSpPr/>
            <p:nvPr/>
          </p:nvSpPr>
          <p:spPr>
            <a:xfrm>
              <a:off x="9432336" y="4373388"/>
              <a:ext cx="42486" cy="42486"/>
            </a:xfrm>
            <a:custGeom>
              <a:avLst/>
              <a:gdLst>
                <a:gd name="connsiteX0" fmla="*/ 25703 w 42485"/>
                <a:gd name="connsiteY0" fmla="*/ 35616 h 42485"/>
                <a:gd name="connsiteX1" fmla="*/ 35615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5" y="31367"/>
                    <a:pt x="35615" y="25703"/>
                  </a:cubicBezTo>
                  <a:cubicBezTo>
                    <a:pt x="35615" y="20038"/>
                    <a:pt x="31367" y="15789"/>
                    <a:pt x="25703" y="15789"/>
                  </a:cubicBezTo>
                  <a:cubicBezTo>
                    <a:pt x="20037" y="15789"/>
                    <a:pt x="15789" y="20038"/>
                    <a:pt x="15789" y="25703"/>
                  </a:cubicBezTo>
                  <a:cubicBezTo>
                    <a:pt x="17205" y="31367"/>
                    <a:pt x="21453"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38" name="Freeform: Shape 2037">
              <a:extLst>
                <a:ext uri="{FF2B5EF4-FFF2-40B4-BE49-F238E27FC236}">
                  <a16:creationId xmlns:a16="http://schemas.microsoft.com/office/drawing/2014/main" id="{2DA148B4-AF60-47F4-B481-8A0F3B2D6E38}"/>
                </a:ext>
              </a:extLst>
            </p:cNvPr>
            <p:cNvSpPr/>
            <p:nvPr/>
          </p:nvSpPr>
          <p:spPr>
            <a:xfrm>
              <a:off x="9387018" y="4295498"/>
              <a:ext cx="70810" cy="70810"/>
            </a:xfrm>
            <a:custGeom>
              <a:avLst/>
              <a:gdLst>
                <a:gd name="connsiteX0" fmla="*/ 41280 w 70809"/>
                <a:gd name="connsiteY0" fmla="*/ 66772 h 70809"/>
                <a:gd name="connsiteX1" fmla="*/ 66772 w 70809"/>
                <a:gd name="connsiteY1" fmla="*/ 41281 h 70809"/>
                <a:gd name="connsiteX2" fmla="*/ 41280 w 70809"/>
                <a:gd name="connsiteY2" fmla="*/ 15789 h 70809"/>
                <a:gd name="connsiteX3" fmla="*/ 15789 w 70809"/>
                <a:gd name="connsiteY3" fmla="*/ 41281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3"/>
                    <a:pt x="66772" y="41281"/>
                  </a:cubicBezTo>
                  <a:cubicBezTo>
                    <a:pt x="66772" y="27119"/>
                    <a:pt x="55442" y="15789"/>
                    <a:pt x="41280" y="15789"/>
                  </a:cubicBezTo>
                  <a:cubicBezTo>
                    <a:pt x="27118" y="15789"/>
                    <a:pt x="15789" y="27119"/>
                    <a:pt x="15789" y="41281"/>
                  </a:cubicBezTo>
                  <a:cubicBezTo>
                    <a:pt x="15789" y="55443"/>
                    <a:pt x="27118" y="66772"/>
                    <a:pt x="41280" y="6677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39" name="Freeform: Shape 2038">
              <a:extLst>
                <a:ext uri="{FF2B5EF4-FFF2-40B4-BE49-F238E27FC236}">
                  <a16:creationId xmlns:a16="http://schemas.microsoft.com/office/drawing/2014/main" id="{98C1A1B9-26C1-47D6-8CB2-50FCB194619C}"/>
                </a:ext>
              </a:extLst>
            </p:cNvPr>
            <p:cNvSpPr/>
            <p:nvPr/>
          </p:nvSpPr>
          <p:spPr>
            <a:xfrm>
              <a:off x="10580867" y="4558909"/>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0" y="49777"/>
                    <a:pt x="49778" y="42697"/>
                    <a:pt x="49778" y="32783"/>
                  </a:cubicBezTo>
                  <a:cubicBezTo>
                    <a:pt x="49778" y="22870"/>
                    <a:pt x="42697" y="15789"/>
                    <a:pt x="32783" y="15789"/>
                  </a:cubicBezTo>
                  <a:cubicBezTo>
                    <a:pt x="24287" y="15789"/>
                    <a:pt x="15789" y="22870"/>
                    <a:pt x="15789" y="32783"/>
                  </a:cubicBezTo>
                  <a:cubicBezTo>
                    <a:pt x="15789" y="42697"/>
                    <a:pt x="24287" y="49777"/>
                    <a:pt x="32783"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40" name="Freeform: Shape 2039">
              <a:extLst>
                <a:ext uri="{FF2B5EF4-FFF2-40B4-BE49-F238E27FC236}">
                  <a16:creationId xmlns:a16="http://schemas.microsoft.com/office/drawing/2014/main" id="{B211B219-8A15-43F9-A8D9-F4A37A9374B6}"/>
                </a:ext>
              </a:extLst>
            </p:cNvPr>
            <p:cNvSpPr/>
            <p:nvPr/>
          </p:nvSpPr>
          <p:spPr>
            <a:xfrm>
              <a:off x="10335866" y="4391799"/>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0" y="49777"/>
                    <a:pt x="49778" y="42697"/>
                    <a:pt x="49778" y="32783"/>
                  </a:cubicBezTo>
                  <a:cubicBezTo>
                    <a:pt x="49778" y="22870"/>
                    <a:pt x="42697" y="15789"/>
                    <a:pt x="32783" y="15789"/>
                  </a:cubicBezTo>
                  <a:cubicBezTo>
                    <a:pt x="24286" y="15789"/>
                    <a:pt x="15789" y="22870"/>
                    <a:pt x="15789" y="32783"/>
                  </a:cubicBezTo>
                  <a:cubicBezTo>
                    <a:pt x="15789" y="42697"/>
                    <a:pt x="24286" y="49777"/>
                    <a:pt x="32783"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41" name="Freeform: Shape 2040">
              <a:extLst>
                <a:ext uri="{FF2B5EF4-FFF2-40B4-BE49-F238E27FC236}">
                  <a16:creationId xmlns:a16="http://schemas.microsoft.com/office/drawing/2014/main" id="{67214132-AD2E-479B-88A7-8B00CF039C76}"/>
                </a:ext>
              </a:extLst>
            </p:cNvPr>
            <p:cNvSpPr/>
            <p:nvPr/>
          </p:nvSpPr>
          <p:spPr>
            <a:xfrm>
              <a:off x="10488815" y="4500845"/>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3"/>
                  </a:cubicBezTo>
                  <a:cubicBezTo>
                    <a:pt x="35616" y="20038"/>
                    <a:pt x="31368"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42" name="Freeform: Shape 2041">
              <a:extLst>
                <a:ext uri="{FF2B5EF4-FFF2-40B4-BE49-F238E27FC236}">
                  <a16:creationId xmlns:a16="http://schemas.microsoft.com/office/drawing/2014/main" id="{ED53423E-C449-4A5D-A061-EE1D9B0D9264}"/>
                </a:ext>
              </a:extLst>
            </p:cNvPr>
            <p:cNvSpPr/>
            <p:nvPr/>
          </p:nvSpPr>
          <p:spPr>
            <a:xfrm>
              <a:off x="10818787" y="6081314"/>
              <a:ext cx="84971" cy="84971"/>
            </a:xfrm>
            <a:custGeom>
              <a:avLst/>
              <a:gdLst>
                <a:gd name="connsiteX0" fmla="*/ 42697 w 84971"/>
                <a:gd name="connsiteY0" fmla="*/ 69605 h 84971"/>
                <a:gd name="connsiteX1" fmla="*/ 69605 w 84971"/>
                <a:gd name="connsiteY1" fmla="*/ 42697 h 84971"/>
                <a:gd name="connsiteX2" fmla="*/ 42697 w 84971"/>
                <a:gd name="connsiteY2" fmla="*/ 15789 h 84971"/>
                <a:gd name="connsiteX3" fmla="*/ 15789 w 84971"/>
                <a:gd name="connsiteY3" fmla="*/ 42697 h 84971"/>
                <a:gd name="connsiteX4" fmla="*/ 42697 w 84971"/>
                <a:gd name="connsiteY4" fmla="*/ 69605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7" y="69605"/>
                  </a:moveTo>
                  <a:cubicBezTo>
                    <a:pt x="56859" y="69605"/>
                    <a:pt x="69605" y="58275"/>
                    <a:pt x="69605" y="42697"/>
                  </a:cubicBezTo>
                  <a:cubicBezTo>
                    <a:pt x="69605" y="28535"/>
                    <a:pt x="58275" y="15789"/>
                    <a:pt x="42697" y="15789"/>
                  </a:cubicBezTo>
                  <a:cubicBezTo>
                    <a:pt x="28535" y="15789"/>
                    <a:pt x="15789" y="27119"/>
                    <a:pt x="15789" y="42697"/>
                  </a:cubicBezTo>
                  <a:cubicBezTo>
                    <a:pt x="15789" y="56858"/>
                    <a:pt x="28535" y="69605"/>
                    <a:pt x="42697" y="6960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43" name="Freeform: Shape 2042">
              <a:extLst>
                <a:ext uri="{FF2B5EF4-FFF2-40B4-BE49-F238E27FC236}">
                  <a16:creationId xmlns:a16="http://schemas.microsoft.com/office/drawing/2014/main" id="{79D39AFE-F518-4DCE-9B9F-4D209A446264}"/>
                </a:ext>
              </a:extLst>
            </p:cNvPr>
            <p:cNvSpPr/>
            <p:nvPr/>
          </p:nvSpPr>
          <p:spPr>
            <a:xfrm>
              <a:off x="10876851" y="5986430"/>
              <a:ext cx="56648" cy="56648"/>
            </a:xfrm>
            <a:custGeom>
              <a:avLst/>
              <a:gdLst>
                <a:gd name="connsiteX0" fmla="*/ 32783 w 56647"/>
                <a:gd name="connsiteY0" fmla="*/ 49777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6" y="49777"/>
                    <a:pt x="49777" y="42697"/>
                    <a:pt x="49777" y="32783"/>
                  </a:cubicBezTo>
                  <a:cubicBezTo>
                    <a:pt x="49777" y="22870"/>
                    <a:pt x="42696" y="15789"/>
                    <a:pt x="32783" y="15789"/>
                  </a:cubicBezTo>
                  <a:cubicBezTo>
                    <a:pt x="22870" y="15789"/>
                    <a:pt x="15789" y="22870"/>
                    <a:pt x="15789" y="32783"/>
                  </a:cubicBezTo>
                  <a:cubicBezTo>
                    <a:pt x="15789" y="42697"/>
                    <a:pt x="22870" y="49777"/>
                    <a:pt x="32783"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44" name="Freeform: Shape 2043">
              <a:extLst>
                <a:ext uri="{FF2B5EF4-FFF2-40B4-BE49-F238E27FC236}">
                  <a16:creationId xmlns:a16="http://schemas.microsoft.com/office/drawing/2014/main" id="{ED296FBC-BB1C-4BAA-AFB8-435D5A66E5D8}"/>
                </a:ext>
              </a:extLst>
            </p:cNvPr>
            <p:cNvSpPr/>
            <p:nvPr/>
          </p:nvSpPr>
          <p:spPr>
            <a:xfrm>
              <a:off x="11077951" y="5827816"/>
              <a:ext cx="56648" cy="56648"/>
            </a:xfrm>
            <a:custGeom>
              <a:avLst/>
              <a:gdLst>
                <a:gd name="connsiteX0" fmla="*/ 32783 w 56647"/>
                <a:gd name="connsiteY0" fmla="*/ 49777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6" y="49777"/>
                    <a:pt x="49777" y="42697"/>
                    <a:pt x="49777" y="32783"/>
                  </a:cubicBezTo>
                  <a:cubicBezTo>
                    <a:pt x="49777" y="22870"/>
                    <a:pt x="42696" y="15789"/>
                    <a:pt x="32783" y="15789"/>
                  </a:cubicBezTo>
                  <a:cubicBezTo>
                    <a:pt x="22870" y="15789"/>
                    <a:pt x="15789" y="22870"/>
                    <a:pt x="15789" y="32783"/>
                  </a:cubicBezTo>
                  <a:cubicBezTo>
                    <a:pt x="15789" y="42697"/>
                    <a:pt x="22870" y="49777"/>
                    <a:pt x="32783"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45" name="Freeform: Shape 2044">
              <a:extLst>
                <a:ext uri="{FF2B5EF4-FFF2-40B4-BE49-F238E27FC236}">
                  <a16:creationId xmlns:a16="http://schemas.microsoft.com/office/drawing/2014/main" id="{A698FFFC-B93A-4B54-B5BC-5CCE755843C7}"/>
                </a:ext>
              </a:extLst>
            </p:cNvPr>
            <p:cNvSpPr/>
            <p:nvPr/>
          </p:nvSpPr>
          <p:spPr>
            <a:xfrm>
              <a:off x="11005724" y="5604058"/>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46" name="Freeform: Shape 2045">
              <a:extLst>
                <a:ext uri="{FF2B5EF4-FFF2-40B4-BE49-F238E27FC236}">
                  <a16:creationId xmlns:a16="http://schemas.microsoft.com/office/drawing/2014/main" id="{FCB8561C-C93A-4413-8CD5-40F1A2F8334A}"/>
                </a:ext>
              </a:extLst>
            </p:cNvPr>
            <p:cNvSpPr/>
            <p:nvPr/>
          </p:nvSpPr>
          <p:spPr>
            <a:xfrm>
              <a:off x="11138664" y="5749926"/>
              <a:ext cx="56648" cy="56648"/>
            </a:xfrm>
            <a:custGeom>
              <a:avLst/>
              <a:gdLst>
                <a:gd name="connsiteX0" fmla="*/ 28717 w 56647"/>
                <a:gd name="connsiteY0" fmla="*/ 41280 h 56647"/>
                <a:gd name="connsiteX1" fmla="*/ 41463 w 56647"/>
                <a:gd name="connsiteY1" fmla="*/ 28535 h 56647"/>
                <a:gd name="connsiteX2" fmla="*/ 28717 w 56647"/>
                <a:gd name="connsiteY2" fmla="*/ 15789 h 56647"/>
                <a:gd name="connsiteX3" fmla="*/ 15971 w 56647"/>
                <a:gd name="connsiteY3" fmla="*/ 28535 h 56647"/>
                <a:gd name="connsiteX4" fmla="*/ 28717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717" y="41280"/>
                  </a:moveTo>
                  <a:cubicBezTo>
                    <a:pt x="35798" y="41280"/>
                    <a:pt x="41463" y="35616"/>
                    <a:pt x="41463" y="28535"/>
                  </a:cubicBezTo>
                  <a:cubicBezTo>
                    <a:pt x="41463" y="21454"/>
                    <a:pt x="35798" y="15789"/>
                    <a:pt x="28717" y="15789"/>
                  </a:cubicBezTo>
                  <a:cubicBezTo>
                    <a:pt x="21636" y="15789"/>
                    <a:pt x="15971" y="21454"/>
                    <a:pt x="15971" y="28535"/>
                  </a:cubicBezTo>
                  <a:cubicBezTo>
                    <a:pt x="14555" y="35616"/>
                    <a:pt x="21636" y="41280"/>
                    <a:pt x="28717" y="4128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47" name="Freeform: Shape 2046">
              <a:extLst>
                <a:ext uri="{FF2B5EF4-FFF2-40B4-BE49-F238E27FC236}">
                  <a16:creationId xmlns:a16="http://schemas.microsoft.com/office/drawing/2014/main" id="{66D1DD1A-F372-4D52-8896-0AA33081FC94}"/>
                </a:ext>
              </a:extLst>
            </p:cNvPr>
            <p:cNvSpPr/>
            <p:nvPr/>
          </p:nvSpPr>
          <p:spPr>
            <a:xfrm>
              <a:off x="10983066" y="5939695"/>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48" name="Freeform: Shape 2047">
              <a:extLst>
                <a:ext uri="{FF2B5EF4-FFF2-40B4-BE49-F238E27FC236}">
                  <a16:creationId xmlns:a16="http://schemas.microsoft.com/office/drawing/2014/main" id="{40CF596A-0F82-4593-BA81-410F4802831B}"/>
                </a:ext>
              </a:extLst>
            </p:cNvPr>
            <p:cNvSpPr/>
            <p:nvPr/>
          </p:nvSpPr>
          <p:spPr>
            <a:xfrm>
              <a:off x="10968904" y="5843395"/>
              <a:ext cx="56648" cy="56648"/>
            </a:xfrm>
            <a:custGeom>
              <a:avLst/>
              <a:gdLst>
                <a:gd name="connsiteX0" fmla="*/ 28534 w 56647"/>
                <a:gd name="connsiteY0" fmla="*/ 41280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0"/>
                  </a:moveTo>
                  <a:cubicBezTo>
                    <a:pt x="35615" y="41280"/>
                    <a:pt x="41280" y="35616"/>
                    <a:pt x="41280" y="28535"/>
                  </a:cubicBezTo>
                  <a:cubicBezTo>
                    <a:pt x="41280" y="21454"/>
                    <a:pt x="35615" y="15789"/>
                    <a:pt x="28534" y="15789"/>
                  </a:cubicBezTo>
                  <a:cubicBezTo>
                    <a:pt x="21453" y="15789"/>
                    <a:pt x="15789" y="21454"/>
                    <a:pt x="15789" y="28535"/>
                  </a:cubicBezTo>
                  <a:cubicBezTo>
                    <a:pt x="15789" y="35616"/>
                    <a:pt x="21453" y="41280"/>
                    <a:pt x="28534" y="4128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49" name="Freeform: Shape 2048">
              <a:extLst>
                <a:ext uri="{FF2B5EF4-FFF2-40B4-BE49-F238E27FC236}">
                  <a16:creationId xmlns:a16="http://schemas.microsoft.com/office/drawing/2014/main" id="{8E2ED8BF-BF1E-4F26-B392-4E3F07541252}"/>
                </a:ext>
              </a:extLst>
            </p:cNvPr>
            <p:cNvSpPr/>
            <p:nvPr/>
          </p:nvSpPr>
          <p:spPr>
            <a:xfrm>
              <a:off x="11015638" y="5774001"/>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2697"/>
                    <a:pt x="22870" y="49777"/>
                    <a:pt x="32783"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50" name="Freeform: Shape 2049">
              <a:extLst>
                <a:ext uri="{FF2B5EF4-FFF2-40B4-BE49-F238E27FC236}">
                  <a16:creationId xmlns:a16="http://schemas.microsoft.com/office/drawing/2014/main" id="{D665B9F5-2E9E-4024-92BB-EEC4E30FA8B7}"/>
                </a:ext>
              </a:extLst>
            </p:cNvPr>
            <p:cNvSpPr/>
            <p:nvPr/>
          </p:nvSpPr>
          <p:spPr>
            <a:xfrm>
              <a:off x="8705830" y="2393554"/>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9"/>
                    <a:pt x="55442" y="15789"/>
                    <a:pt x="41280" y="15789"/>
                  </a:cubicBezTo>
                  <a:cubicBezTo>
                    <a:pt x="27118" y="15789"/>
                    <a:pt x="15789" y="27119"/>
                    <a:pt x="15789" y="41280"/>
                  </a:cubicBezTo>
                  <a:cubicBezTo>
                    <a:pt x="15789" y="55442"/>
                    <a:pt x="27118" y="66772"/>
                    <a:pt x="41280" y="6677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51" name="Freeform: Shape 2050">
              <a:extLst>
                <a:ext uri="{FF2B5EF4-FFF2-40B4-BE49-F238E27FC236}">
                  <a16:creationId xmlns:a16="http://schemas.microsoft.com/office/drawing/2014/main" id="{2E13290E-C0B5-490B-94D9-4078DE0BD40D}"/>
                </a:ext>
              </a:extLst>
            </p:cNvPr>
            <p:cNvSpPr/>
            <p:nvPr/>
          </p:nvSpPr>
          <p:spPr>
            <a:xfrm>
              <a:off x="7718745" y="1750603"/>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9"/>
                    <a:pt x="55442" y="15789"/>
                    <a:pt x="41280" y="15789"/>
                  </a:cubicBezTo>
                  <a:cubicBezTo>
                    <a:pt x="27118" y="15789"/>
                    <a:pt x="15789" y="27119"/>
                    <a:pt x="15789" y="41280"/>
                  </a:cubicBezTo>
                  <a:cubicBezTo>
                    <a:pt x="17205" y="55442"/>
                    <a:pt x="28535" y="66772"/>
                    <a:pt x="41280" y="6677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52" name="Freeform: Shape 2051">
              <a:extLst>
                <a:ext uri="{FF2B5EF4-FFF2-40B4-BE49-F238E27FC236}">
                  <a16:creationId xmlns:a16="http://schemas.microsoft.com/office/drawing/2014/main" id="{DF16DD08-A801-4A0F-AFA6-A1A2195FC30F}"/>
                </a:ext>
              </a:extLst>
            </p:cNvPr>
            <p:cNvSpPr/>
            <p:nvPr/>
          </p:nvSpPr>
          <p:spPr>
            <a:xfrm>
              <a:off x="8010480" y="1362567"/>
              <a:ext cx="70810" cy="70810"/>
            </a:xfrm>
            <a:custGeom>
              <a:avLst/>
              <a:gdLst>
                <a:gd name="connsiteX0" fmla="*/ 41281 w 70809"/>
                <a:gd name="connsiteY0" fmla="*/ 66772 h 70809"/>
                <a:gd name="connsiteX1" fmla="*/ 66772 w 70809"/>
                <a:gd name="connsiteY1" fmla="*/ 41280 h 70809"/>
                <a:gd name="connsiteX2" fmla="*/ 41281 w 70809"/>
                <a:gd name="connsiteY2" fmla="*/ 15789 h 70809"/>
                <a:gd name="connsiteX3" fmla="*/ 15789 w 70809"/>
                <a:gd name="connsiteY3" fmla="*/ 41280 h 70809"/>
                <a:gd name="connsiteX4" fmla="*/ 41281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1" y="66772"/>
                  </a:moveTo>
                  <a:cubicBezTo>
                    <a:pt x="55443" y="66772"/>
                    <a:pt x="66772" y="55442"/>
                    <a:pt x="66772" y="41280"/>
                  </a:cubicBezTo>
                  <a:cubicBezTo>
                    <a:pt x="66772" y="27119"/>
                    <a:pt x="55443" y="15789"/>
                    <a:pt x="41281" y="15789"/>
                  </a:cubicBezTo>
                  <a:cubicBezTo>
                    <a:pt x="27119" y="15789"/>
                    <a:pt x="15789" y="27119"/>
                    <a:pt x="15789" y="41280"/>
                  </a:cubicBezTo>
                  <a:cubicBezTo>
                    <a:pt x="17205" y="55442"/>
                    <a:pt x="28535" y="66772"/>
                    <a:pt x="41281" y="6677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53" name="Freeform: Shape 2052">
              <a:extLst>
                <a:ext uri="{FF2B5EF4-FFF2-40B4-BE49-F238E27FC236}">
                  <a16:creationId xmlns:a16="http://schemas.microsoft.com/office/drawing/2014/main" id="{1CB5CD26-2D77-43A7-A7D0-5C67259EC063}"/>
                </a:ext>
              </a:extLst>
            </p:cNvPr>
            <p:cNvSpPr/>
            <p:nvPr/>
          </p:nvSpPr>
          <p:spPr>
            <a:xfrm>
              <a:off x="7156516" y="2103235"/>
              <a:ext cx="70810" cy="70810"/>
            </a:xfrm>
            <a:custGeom>
              <a:avLst/>
              <a:gdLst>
                <a:gd name="connsiteX0" fmla="*/ 39864 w 70809"/>
                <a:gd name="connsiteY0" fmla="*/ 63939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39" y="52610"/>
                    <a:pt x="63939" y="39864"/>
                  </a:cubicBezTo>
                  <a:cubicBezTo>
                    <a:pt x="63939" y="27119"/>
                    <a:pt x="52610" y="15789"/>
                    <a:pt x="39864" y="15789"/>
                  </a:cubicBezTo>
                  <a:cubicBezTo>
                    <a:pt x="27118" y="15789"/>
                    <a:pt x="15789" y="27119"/>
                    <a:pt x="15789" y="39864"/>
                  </a:cubicBezTo>
                  <a:cubicBezTo>
                    <a:pt x="15789" y="52610"/>
                    <a:pt x="27118" y="63939"/>
                    <a:pt x="39864" y="6393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54" name="Freeform: Shape 2053">
              <a:extLst>
                <a:ext uri="{FF2B5EF4-FFF2-40B4-BE49-F238E27FC236}">
                  <a16:creationId xmlns:a16="http://schemas.microsoft.com/office/drawing/2014/main" id="{156EDEE3-92F0-456A-951B-72EBFAC338FA}"/>
                </a:ext>
              </a:extLst>
            </p:cNvPr>
            <p:cNvSpPr/>
            <p:nvPr/>
          </p:nvSpPr>
          <p:spPr>
            <a:xfrm>
              <a:off x="7412847" y="1320081"/>
              <a:ext cx="70810" cy="70810"/>
            </a:xfrm>
            <a:custGeom>
              <a:avLst/>
              <a:gdLst>
                <a:gd name="connsiteX0" fmla="*/ 39864 w 70809"/>
                <a:gd name="connsiteY0" fmla="*/ 63940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2610" y="63940"/>
                    <a:pt x="63939" y="52610"/>
                    <a:pt x="63939" y="39864"/>
                  </a:cubicBezTo>
                  <a:cubicBezTo>
                    <a:pt x="63939" y="27119"/>
                    <a:pt x="52610" y="15789"/>
                    <a:pt x="39864" y="15789"/>
                  </a:cubicBezTo>
                  <a:cubicBezTo>
                    <a:pt x="27118" y="15789"/>
                    <a:pt x="15789" y="27119"/>
                    <a:pt x="15789" y="39864"/>
                  </a:cubicBezTo>
                  <a:cubicBezTo>
                    <a:pt x="15789" y="52610"/>
                    <a:pt x="27118" y="63940"/>
                    <a:pt x="39864" y="6394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55" name="Freeform: Shape 2054">
              <a:extLst>
                <a:ext uri="{FF2B5EF4-FFF2-40B4-BE49-F238E27FC236}">
                  <a16:creationId xmlns:a16="http://schemas.microsoft.com/office/drawing/2014/main" id="{C8452949-B6A3-4AC2-8FAE-1FDC9467C562}"/>
                </a:ext>
              </a:extLst>
            </p:cNvPr>
            <p:cNvSpPr/>
            <p:nvPr/>
          </p:nvSpPr>
          <p:spPr>
            <a:xfrm>
              <a:off x="6245905" y="606321"/>
              <a:ext cx="70810" cy="70810"/>
            </a:xfrm>
            <a:custGeom>
              <a:avLst/>
              <a:gdLst>
                <a:gd name="connsiteX0" fmla="*/ 63940 w 70809"/>
                <a:gd name="connsiteY0" fmla="*/ 39864 h 70809"/>
                <a:gd name="connsiteX1" fmla="*/ 39864 w 70809"/>
                <a:gd name="connsiteY1" fmla="*/ 63940 h 70809"/>
                <a:gd name="connsiteX2" fmla="*/ 15789 w 70809"/>
                <a:gd name="connsiteY2" fmla="*/ 39864 h 70809"/>
                <a:gd name="connsiteX3" fmla="*/ 39864 w 70809"/>
                <a:gd name="connsiteY3" fmla="*/ 15789 h 70809"/>
                <a:gd name="connsiteX4" fmla="*/ 63940 w 70809"/>
                <a:gd name="connsiteY4" fmla="*/ 3986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3940" y="39864"/>
                  </a:moveTo>
                  <a:cubicBezTo>
                    <a:pt x="63940" y="53161"/>
                    <a:pt x="53161" y="63940"/>
                    <a:pt x="39864" y="63940"/>
                  </a:cubicBezTo>
                  <a:cubicBezTo>
                    <a:pt x="26568" y="63940"/>
                    <a:pt x="15789" y="53161"/>
                    <a:pt x="15789" y="39864"/>
                  </a:cubicBezTo>
                  <a:cubicBezTo>
                    <a:pt x="15789" y="26568"/>
                    <a:pt x="26568" y="15789"/>
                    <a:pt x="39864" y="15789"/>
                  </a:cubicBezTo>
                  <a:cubicBezTo>
                    <a:pt x="53160" y="15789"/>
                    <a:pt x="63940" y="26568"/>
                    <a:pt x="63940" y="3986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56" name="Freeform: Shape 2055">
              <a:extLst>
                <a:ext uri="{FF2B5EF4-FFF2-40B4-BE49-F238E27FC236}">
                  <a16:creationId xmlns:a16="http://schemas.microsoft.com/office/drawing/2014/main" id="{994BB9F9-7DAC-4674-9B1B-0B8AA760ABF0}"/>
                </a:ext>
              </a:extLst>
            </p:cNvPr>
            <p:cNvSpPr/>
            <p:nvPr/>
          </p:nvSpPr>
          <p:spPr>
            <a:xfrm>
              <a:off x="6179344" y="1835574"/>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57" name="Freeform: Shape 2056">
              <a:extLst>
                <a:ext uri="{FF2B5EF4-FFF2-40B4-BE49-F238E27FC236}">
                  <a16:creationId xmlns:a16="http://schemas.microsoft.com/office/drawing/2014/main" id="{AF7674B0-1835-4CBA-8778-FEB21A730453}"/>
                </a:ext>
              </a:extLst>
            </p:cNvPr>
            <p:cNvSpPr/>
            <p:nvPr/>
          </p:nvSpPr>
          <p:spPr>
            <a:xfrm>
              <a:off x="6565964" y="607737"/>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9951"/>
                    <a:pt x="20038"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58" name="Freeform: Shape 2057">
              <a:extLst>
                <a:ext uri="{FF2B5EF4-FFF2-40B4-BE49-F238E27FC236}">
                  <a16:creationId xmlns:a16="http://schemas.microsoft.com/office/drawing/2014/main" id="{6354405C-55AF-4D2A-9877-98EB39B0E078}"/>
                </a:ext>
              </a:extLst>
            </p:cNvPr>
            <p:cNvSpPr/>
            <p:nvPr/>
          </p:nvSpPr>
          <p:spPr>
            <a:xfrm>
              <a:off x="6448421" y="648807"/>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59" name="Freeform: Shape 2058">
              <a:extLst>
                <a:ext uri="{FF2B5EF4-FFF2-40B4-BE49-F238E27FC236}">
                  <a16:creationId xmlns:a16="http://schemas.microsoft.com/office/drawing/2014/main" id="{B6C91825-0EE6-49D7-9D43-641DED589E7B}"/>
                </a:ext>
              </a:extLst>
            </p:cNvPr>
            <p:cNvSpPr/>
            <p:nvPr/>
          </p:nvSpPr>
          <p:spPr>
            <a:xfrm>
              <a:off x="6595705" y="1141641"/>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2" y="58275"/>
                    <a:pt x="58275" y="48361"/>
                    <a:pt x="58275" y="37032"/>
                  </a:cubicBezTo>
                  <a:cubicBezTo>
                    <a:pt x="58275" y="25702"/>
                    <a:pt x="48362" y="15789"/>
                    <a:pt x="37032" y="15789"/>
                  </a:cubicBezTo>
                  <a:cubicBezTo>
                    <a:pt x="25703" y="15789"/>
                    <a:pt x="15789" y="25702"/>
                    <a:pt x="15789" y="37032"/>
                  </a:cubicBezTo>
                  <a:cubicBezTo>
                    <a:pt x="15789" y="48361"/>
                    <a:pt x="25703" y="58275"/>
                    <a:pt x="37032" y="5827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60" name="Freeform: Shape 2059">
              <a:extLst>
                <a:ext uri="{FF2B5EF4-FFF2-40B4-BE49-F238E27FC236}">
                  <a16:creationId xmlns:a16="http://schemas.microsoft.com/office/drawing/2014/main" id="{1FDA4903-8EFD-4250-8F51-B3FE49C674BD}"/>
                </a:ext>
              </a:extLst>
            </p:cNvPr>
            <p:cNvSpPr/>
            <p:nvPr/>
          </p:nvSpPr>
          <p:spPr>
            <a:xfrm>
              <a:off x="6254402" y="1620313"/>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2" y="58275"/>
                    <a:pt x="58275" y="48361"/>
                    <a:pt x="58275" y="37032"/>
                  </a:cubicBezTo>
                  <a:cubicBezTo>
                    <a:pt x="58275" y="25702"/>
                    <a:pt x="48362" y="15789"/>
                    <a:pt x="37032" y="15789"/>
                  </a:cubicBezTo>
                  <a:cubicBezTo>
                    <a:pt x="25703" y="15789"/>
                    <a:pt x="15789" y="25702"/>
                    <a:pt x="15789" y="37032"/>
                  </a:cubicBezTo>
                  <a:cubicBezTo>
                    <a:pt x="15789" y="48361"/>
                    <a:pt x="25703" y="58275"/>
                    <a:pt x="37032" y="5827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61" name="Freeform: Shape 2060">
              <a:extLst>
                <a:ext uri="{FF2B5EF4-FFF2-40B4-BE49-F238E27FC236}">
                  <a16:creationId xmlns:a16="http://schemas.microsoft.com/office/drawing/2014/main" id="{70A3D449-61E6-4251-9EAF-A1B379551809}"/>
                </a:ext>
              </a:extLst>
            </p:cNvPr>
            <p:cNvSpPr/>
            <p:nvPr/>
          </p:nvSpPr>
          <p:spPr>
            <a:xfrm>
              <a:off x="6037725" y="1766181"/>
              <a:ext cx="70810" cy="70810"/>
            </a:xfrm>
            <a:custGeom>
              <a:avLst/>
              <a:gdLst>
                <a:gd name="connsiteX0" fmla="*/ 38448 w 70809"/>
                <a:gd name="connsiteY0" fmla="*/ 15789 h 70809"/>
                <a:gd name="connsiteX1" fmla="*/ 61107 w 70809"/>
                <a:gd name="connsiteY1" fmla="*/ 38448 h 70809"/>
                <a:gd name="connsiteX2" fmla="*/ 38448 w 70809"/>
                <a:gd name="connsiteY2" fmla="*/ 61107 h 70809"/>
                <a:gd name="connsiteX3" fmla="*/ 15789 w 70809"/>
                <a:gd name="connsiteY3" fmla="*/ 38448 h 70809"/>
                <a:gd name="connsiteX4" fmla="*/ 38448 w 70809"/>
                <a:gd name="connsiteY4" fmla="*/ 15789 h 70809"/>
                <a:gd name="connsiteX5" fmla="*/ 38448 w 70809"/>
                <a:gd name="connsiteY5" fmla="*/ 15789 h 70809"/>
                <a:gd name="connsiteX6" fmla="*/ 38448 w 70809"/>
                <a:gd name="connsiteY6" fmla="*/ 25702 h 70809"/>
                <a:gd name="connsiteX7" fmla="*/ 25703 w 70809"/>
                <a:gd name="connsiteY7" fmla="*/ 38448 h 70809"/>
                <a:gd name="connsiteX8" fmla="*/ 38448 w 70809"/>
                <a:gd name="connsiteY8" fmla="*/ 51194 h 70809"/>
                <a:gd name="connsiteX9" fmla="*/ 51194 w 70809"/>
                <a:gd name="connsiteY9" fmla="*/ 38448 h 70809"/>
                <a:gd name="connsiteX10" fmla="*/ 38448 w 70809"/>
                <a:gd name="connsiteY10" fmla="*/ 25702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38448" y="15789"/>
                  </a:moveTo>
                  <a:cubicBezTo>
                    <a:pt x="51194" y="15789"/>
                    <a:pt x="61107" y="25702"/>
                    <a:pt x="61107" y="38448"/>
                  </a:cubicBezTo>
                  <a:cubicBezTo>
                    <a:pt x="61107" y="51194"/>
                    <a:pt x="51194" y="61107"/>
                    <a:pt x="38448" y="61107"/>
                  </a:cubicBezTo>
                  <a:cubicBezTo>
                    <a:pt x="25703" y="61107"/>
                    <a:pt x="15789" y="51194"/>
                    <a:pt x="15789" y="38448"/>
                  </a:cubicBezTo>
                  <a:cubicBezTo>
                    <a:pt x="15789" y="25702"/>
                    <a:pt x="25703" y="15789"/>
                    <a:pt x="38448" y="15789"/>
                  </a:cubicBezTo>
                  <a:lnTo>
                    <a:pt x="38448" y="15789"/>
                  </a:lnTo>
                  <a:close/>
                  <a:moveTo>
                    <a:pt x="38448" y="25702"/>
                  </a:moveTo>
                  <a:cubicBezTo>
                    <a:pt x="31367" y="25702"/>
                    <a:pt x="25703" y="31367"/>
                    <a:pt x="25703" y="38448"/>
                  </a:cubicBezTo>
                  <a:cubicBezTo>
                    <a:pt x="25703" y="45529"/>
                    <a:pt x="31367" y="51194"/>
                    <a:pt x="38448" y="51194"/>
                  </a:cubicBezTo>
                  <a:cubicBezTo>
                    <a:pt x="45529" y="51194"/>
                    <a:pt x="51194" y="45529"/>
                    <a:pt x="51194" y="38448"/>
                  </a:cubicBezTo>
                  <a:cubicBezTo>
                    <a:pt x="51194" y="31367"/>
                    <a:pt x="45529" y="25702"/>
                    <a:pt x="38448" y="2570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62" name="Freeform: Shape 2061">
              <a:extLst>
                <a:ext uri="{FF2B5EF4-FFF2-40B4-BE49-F238E27FC236}">
                  <a16:creationId xmlns:a16="http://schemas.microsoft.com/office/drawing/2014/main" id="{7B86F11F-1FB9-450C-AA5A-E95A4AADAD7D}"/>
                </a:ext>
              </a:extLst>
            </p:cNvPr>
            <p:cNvSpPr/>
            <p:nvPr/>
          </p:nvSpPr>
          <p:spPr>
            <a:xfrm>
              <a:off x="6924261" y="137389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63" name="Freeform: Shape 2062">
              <a:extLst>
                <a:ext uri="{FF2B5EF4-FFF2-40B4-BE49-F238E27FC236}">
                  <a16:creationId xmlns:a16="http://schemas.microsoft.com/office/drawing/2014/main" id="{CADA10B9-D05C-4E71-BF25-9F5D451A8596}"/>
                </a:ext>
              </a:extLst>
            </p:cNvPr>
            <p:cNvSpPr/>
            <p:nvPr/>
          </p:nvSpPr>
          <p:spPr>
            <a:xfrm>
              <a:off x="6430010" y="1591990"/>
              <a:ext cx="70810" cy="70810"/>
            </a:xfrm>
            <a:custGeom>
              <a:avLst/>
              <a:gdLst>
                <a:gd name="connsiteX0" fmla="*/ 63940 w 70809"/>
                <a:gd name="connsiteY0" fmla="*/ 39864 h 70809"/>
                <a:gd name="connsiteX1" fmla="*/ 39864 w 70809"/>
                <a:gd name="connsiteY1" fmla="*/ 63939 h 70809"/>
                <a:gd name="connsiteX2" fmla="*/ 15789 w 70809"/>
                <a:gd name="connsiteY2" fmla="*/ 39864 h 70809"/>
                <a:gd name="connsiteX3" fmla="*/ 39864 w 70809"/>
                <a:gd name="connsiteY3" fmla="*/ 15789 h 70809"/>
                <a:gd name="connsiteX4" fmla="*/ 63940 w 70809"/>
                <a:gd name="connsiteY4" fmla="*/ 3986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3940" y="39864"/>
                  </a:moveTo>
                  <a:cubicBezTo>
                    <a:pt x="63940" y="53161"/>
                    <a:pt x="53161" y="63939"/>
                    <a:pt x="39864" y="63939"/>
                  </a:cubicBezTo>
                  <a:cubicBezTo>
                    <a:pt x="26568" y="63939"/>
                    <a:pt x="15789" y="53161"/>
                    <a:pt x="15789" y="39864"/>
                  </a:cubicBezTo>
                  <a:cubicBezTo>
                    <a:pt x="15789" y="26568"/>
                    <a:pt x="26568" y="15789"/>
                    <a:pt x="39864" y="15789"/>
                  </a:cubicBezTo>
                  <a:cubicBezTo>
                    <a:pt x="53160" y="15789"/>
                    <a:pt x="63940" y="26568"/>
                    <a:pt x="63940" y="3986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64" name="Freeform: Shape 2063">
              <a:extLst>
                <a:ext uri="{FF2B5EF4-FFF2-40B4-BE49-F238E27FC236}">
                  <a16:creationId xmlns:a16="http://schemas.microsoft.com/office/drawing/2014/main" id="{B4FDD45A-84AC-4A5B-A320-622EF4ED7F78}"/>
                </a:ext>
              </a:extLst>
            </p:cNvPr>
            <p:cNvSpPr/>
            <p:nvPr/>
          </p:nvSpPr>
          <p:spPr>
            <a:xfrm>
              <a:off x="6156685" y="1675545"/>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65" name="Freeform: Shape 2064">
              <a:extLst>
                <a:ext uri="{FF2B5EF4-FFF2-40B4-BE49-F238E27FC236}">
                  <a16:creationId xmlns:a16="http://schemas.microsoft.com/office/drawing/2014/main" id="{71B27F73-398A-456A-BB3F-8A821006644B}"/>
                </a:ext>
              </a:extLst>
            </p:cNvPr>
            <p:cNvSpPr/>
            <p:nvPr/>
          </p:nvSpPr>
          <p:spPr>
            <a:xfrm>
              <a:off x="6237408" y="1388058"/>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2" y="15789"/>
                    <a:pt x="15789" y="25702"/>
                    <a:pt x="15789" y="37032"/>
                  </a:cubicBezTo>
                  <a:cubicBezTo>
                    <a:pt x="15789" y="48361"/>
                    <a:pt x="25702" y="58275"/>
                    <a:pt x="37032" y="5827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66" name="Freeform: Shape 2065">
              <a:extLst>
                <a:ext uri="{FF2B5EF4-FFF2-40B4-BE49-F238E27FC236}">
                  <a16:creationId xmlns:a16="http://schemas.microsoft.com/office/drawing/2014/main" id="{7937D830-BE61-42EA-BF40-8816E88506FE}"/>
                </a:ext>
              </a:extLst>
            </p:cNvPr>
            <p:cNvSpPr/>
            <p:nvPr/>
          </p:nvSpPr>
          <p:spPr>
            <a:xfrm>
              <a:off x="6142523" y="1468781"/>
              <a:ext cx="99133" cy="99133"/>
            </a:xfrm>
            <a:custGeom>
              <a:avLst/>
              <a:gdLst>
                <a:gd name="connsiteX0" fmla="*/ 55443 w 99133"/>
                <a:gd name="connsiteY0" fmla="*/ 15789 h 99133"/>
                <a:gd name="connsiteX1" fmla="*/ 95096 w 99133"/>
                <a:gd name="connsiteY1" fmla="*/ 55442 h 99133"/>
                <a:gd name="connsiteX2" fmla="*/ 55443 w 99133"/>
                <a:gd name="connsiteY2" fmla="*/ 95096 h 99133"/>
                <a:gd name="connsiteX3" fmla="*/ 15789 w 99133"/>
                <a:gd name="connsiteY3" fmla="*/ 55442 h 99133"/>
                <a:gd name="connsiteX4" fmla="*/ 55443 w 99133"/>
                <a:gd name="connsiteY4" fmla="*/ 15789 h 99133"/>
                <a:gd name="connsiteX5" fmla="*/ 55443 w 99133"/>
                <a:gd name="connsiteY5" fmla="*/ 15789 h 99133"/>
                <a:gd name="connsiteX6" fmla="*/ 55443 w 99133"/>
                <a:gd name="connsiteY6" fmla="*/ 34200 h 99133"/>
                <a:gd name="connsiteX7" fmla="*/ 34200 w 99133"/>
                <a:gd name="connsiteY7" fmla="*/ 55442 h 99133"/>
                <a:gd name="connsiteX8" fmla="*/ 55443 w 99133"/>
                <a:gd name="connsiteY8" fmla="*/ 76685 h 99133"/>
                <a:gd name="connsiteX9" fmla="*/ 76686 w 99133"/>
                <a:gd name="connsiteY9" fmla="*/ 55442 h 99133"/>
                <a:gd name="connsiteX10" fmla="*/ 55443 w 99133"/>
                <a:gd name="connsiteY10" fmla="*/ 34200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55443" y="15789"/>
                  </a:moveTo>
                  <a:cubicBezTo>
                    <a:pt x="76686" y="15789"/>
                    <a:pt x="95096" y="32783"/>
                    <a:pt x="95096" y="55442"/>
                  </a:cubicBezTo>
                  <a:cubicBezTo>
                    <a:pt x="95096" y="76685"/>
                    <a:pt x="78101" y="95096"/>
                    <a:pt x="55443" y="95096"/>
                  </a:cubicBezTo>
                  <a:cubicBezTo>
                    <a:pt x="34200" y="95096"/>
                    <a:pt x="15789" y="78101"/>
                    <a:pt x="15789" y="55442"/>
                  </a:cubicBezTo>
                  <a:cubicBezTo>
                    <a:pt x="17205" y="34200"/>
                    <a:pt x="34200" y="15789"/>
                    <a:pt x="55443" y="15789"/>
                  </a:cubicBezTo>
                  <a:lnTo>
                    <a:pt x="55443" y="15789"/>
                  </a:lnTo>
                  <a:close/>
                  <a:moveTo>
                    <a:pt x="55443" y="34200"/>
                  </a:moveTo>
                  <a:cubicBezTo>
                    <a:pt x="42697" y="34200"/>
                    <a:pt x="34200" y="44113"/>
                    <a:pt x="34200" y="55442"/>
                  </a:cubicBezTo>
                  <a:cubicBezTo>
                    <a:pt x="34200" y="68188"/>
                    <a:pt x="44113" y="76685"/>
                    <a:pt x="55443" y="76685"/>
                  </a:cubicBezTo>
                  <a:cubicBezTo>
                    <a:pt x="68188" y="76685"/>
                    <a:pt x="76686" y="66772"/>
                    <a:pt x="76686" y="55442"/>
                  </a:cubicBezTo>
                  <a:cubicBezTo>
                    <a:pt x="78101" y="42697"/>
                    <a:pt x="68188" y="34200"/>
                    <a:pt x="55443" y="3420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67" name="Freeform: Shape 2066">
              <a:extLst>
                <a:ext uri="{FF2B5EF4-FFF2-40B4-BE49-F238E27FC236}">
                  <a16:creationId xmlns:a16="http://schemas.microsoft.com/office/drawing/2014/main" id="{ACFDF506-A07F-43C8-AC29-BF2576DC0B3D}"/>
                </a:ext>
              </a:extLst>
            </p:cNvPr>
            <p:cNvSpPr/>
            <p:nvPr/>
          </p:nvSpPr>
          <p:spPr>
            <a:xfrm>
              <a:off x="6369114" y="1497105"/>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1" y="49778"/>
                    <a:pt x="49778" y="42697"/>
                    <a:pt x="49778" y="32783"/>
                  </a:cubicBezTo>
                  <a:cubicBezTo>
                    <a:pt x="49778" y="22870"/>
                    <a:pt x="42697"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68" name="Freeform: Shape 2067">
              <a:extLst>
                <a:ext uri="{FF2B5EF4-FFF2-40B4-BE49-F238E27FC236}">
                  <a16:creationId xmlns:a16="http://schemas.microsoft.com/office/drawing/2014/main" id="{EB0A6407-21A3-4A00-9549-23D8E18E3AE4}"/>
                </a:ext>
              </a:extLst>
            </p:cNvPr>
            <p:cNvSpPr/>
            <p:nvPr/>
          </p:nvSpPr>
          <p:spPr>
            <a:xfrm>
              <a:off x="6258651" y="1516931"/>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2870" y="15789"/>
                    <a:pt x="15789" y="22870"/>
                    <a:pt x="15789" y="32783"/>
                  </a:cubicBezTo>
                  <a:cubicBezTo>
                    <a:pt x="15789" y="41280"/>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69" name="Freeform: Shape 2068">
              <a:extLst>
                <a:ext uri="{FF2B5EF4-FFF2-40B4-BE49-F238E27FC236}">
                  <a16:creationId xmlns:a16="http://schemas.microsoft.com/office/drawing/2014/main" id="{369E04DF-86F9-4477-84ED-643A7365F3BB}"/>
                </a:ext>
              </a:extLst>
            </p:cNvPr>
            <p:cNvSpPr/>
            <p:nvPr/>
          </p:nvSpPr>
          <p:spPr>
            <a:xfrm>
              <a:off x="6118448" y="1621730"/>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70" name="Freeform: Shape 2069">
              <a:extLst>
                <a:ext uri="{FF2B5EF4-FFF2-40B4-BE49-F238E27FC236}">
                  <a16:creationId xmlns:a16="http://schemas.microsoft.com/office/drawing/2014/main" id="{8D5602EF-2E56-491F-AA55-85B1BD39AFF2}"/>
                </a:ext>
              </a:extLst>
            </p:cNvPr>
            <p:cNvSpPr/>
            <p:nvPr/>
          </p:nvSpPr>
          <p:spPr>
            <a:xfrm>
              <a:off x="6326628" y="1237942"/>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71" name="Freeform: Shape 2070">
              <a:extLst>
                <a:ext uri="{FF2B5EF4-FFF2-40B4-BE49-F238E27FC236}">
                  <a16:creationId xmlns:a16="http://schemas.microsoft.com/office/drawing/2014/main" id="{4E303446-BD5A-4319-B025-0F28D1B5AD84}"/>
                </a:ext>
              </a:extLst>
            </p:cNvPr>
            <p:cNvSpPr/>
            <p:nvPr/>
          </p:nvSpPr>
          <p:spPr>
            <a:xfrm>
              <a:off x="6473912" y="1345572"/>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72" name="Freeform: Shape 2071">
              <a:extLst>
                <a:ext uri="{FF2B5EF4-FFF2-40B4-BE49-F238E27FC236}">
                  <a16:creationId xmlns:a16="http://schemas.microsoft.com/office/drawing/2014/main" id="{12E332CB-6953-4AB1-BD87-1C3B3A3A6BD0}"/>
                </a:ext>
              </a:extLst>
            </p:cNvPr>
            <p:cNvSpPr/>
            <p:nvPr/>
          </p:nvSpPr>
          <p:spPr>
            <a:xfrm>
              <a:off x="6575878" y="1286092"/>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7" y="15789"/>
                    <a:pt x="15789" y="20038"/>
                    <a:pt x="15789" y="25702"/>
                  </a:cubicBezTo>
                  <a:cubicBezTo>
                    <a:pt x="15789" y="31367"/>
                    <a:pt x="20037"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73" name="Freeform: Shape 2072">
              <a:extLst>
                <a:ext uri="{FF2B5EF4-FFF2-40B4-BE49-F238E27FC236}">
                  <a16:creationId xmlns:a16="http://schemas.microsoft.com/office/drawing/2014/main" id="{E9C0E403-B9D2-4600-AD87-24C8D3DC0439}"/>
                </a:ext>
              </a:extLst>
            </p:cNvPr>
            <p:cNvSpPr/>
            <p:nvPr/>
          </p:nvSpPr>
          <p:spPr>
            <a:xfrm>
              <a:off x="6850619" y="1257769"/>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74" name="Freeform: Shape 2073">
              <a:extLst>
                <a:ext uri="{FF2B5EF4-FFF2-40B4-BE49-F238E27FC236}">
                  <a16:creationId xmlns:a16="http://schemas.microsoft.com/office/drawing/2014/main" id="{A7443AE5-DFB3-4E39-9159-424AF3F8A60C}"/>
                </a:ext>
              </a:extLst>
            </p:cNvPr>
            <p:cNvSpPr/>
            <p:nvPr/>
          </p:nvSpPr>
          <p:spPr>
            <a:xfrm>
              <a:off x="5948505" y="1814332"/>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75" name="Freeform: Shape 2074">
              <a:extLst>
                <a:ext uri="{FF2B5EF4-FFF2-40B4-BE49-F238E27FC236}">
                  <a16:creationId xmlns:a16="http://schemas.microsoft.com/office/drawing/2014/main" id="{5238BEDE-E9CD-4726-92BC-DBE5C9EFD35F}"/>
                </a:ext>
              </a:extLst>
            </p:cNvPr>
            <p:cNvSpPr/>
            <p:nvPr/>
          </p:nvSpPr>
          <p:spPr>
            <a:xfrm>
              <a:off x="5937176" y="1644389"/>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76" name="Freeform: Shape 2075">
              <a:extLst>
                <a:ext uri="{FF2B5EF4-FFF2-40B4-BE49-F238E27FC236}">
                  <a16:creationId xmlns:a16="http://schemas.microsoft.com/office/drawing/2014/main" id="{0344C629-7BC0-44F7-A554-B824CD764C42}"/>
                </a:ext>
              </a:extLst>
            </p:cNvPr>
            <p:cNvSpPr/>
            <p:nvPr/>
          </p:nvSpPr>
          <p:spPr>
            <a:xfrm>
              <a:off x="6631109" y="1689707"/>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77" name="Freeform: Shape 2076">
              <a:extLst>
                <a:ext uri="{FF2B5EF4-FFF2-40B4-BE49-F238E27FC236}">
                  <a16:creationId xmlns:a16="http://schemas.microsoft.com/office/drawing/2014/main" id="{0F60237F-109A-49DC-AE8F-9CAE9579BE79}"/>
                </a:ext>
              </a:extLst>
            </p:cNvPr>
            <p:cNvSpPr/>
            <p:nvPr/>
          </p:nvSpPr>
          <p:spPr>
            <a:xfrm>
              <a:off x="6539057" y="167412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1"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78" name="Freeform: Shape 2077">
              <a:extLst>
                <a:ext uri="{FF2B5EF4-FFF2-40B4-BE49-F238E27FC236}">
                  <a16:creationId xmlns:a16="http://schemas.microsoft.com/office/drawing/2014/main" id="{E378AA62-1FF5-45E9-AA4B-C57BB8C33136}"/>
                </a:ext>
              </a:extLst>
            </p:cNvPr>
            <p:cNvSpPr/>
            <p:nvPr/>
          </p:nvSpPr>
          <p:spPr>
            <a:xfrm>
              <a:off x="6516398" y="1431960"/>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1"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79" name="Freeform: Shape 2078">
              <a:extLst>
                <a:ext uri="{FF2B5EF4-FFF2-40B4-BE49-F238E27FC236}">
                  <a16:creationId xmlns:a16="http://schemas.microsoft.com/office/drawing/2014/main" id="{D197F6E2-D484-49DB-9FE0-84BEA3B6B79B}"/>
                </a:ext>
              </a:extLst>
            </p:cNvPr>
            <p:cNvSpPr/>
            <p:nvPr/>
          </p:nvSpPr>
          <p:spPr>
            <a:xfrm>
              <a:off x="6631109" y="1543839"/>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80" name="Freeform: Shape 2079">
              <a:extLst>
                <a:ext uri="{FF2B5EF4-FFF2-40B4-BE49-F238E27FC236}">
                  <a16:creationId xmlns:a16="http://schemas.microsoft.com/office/drawing/2014/main" id="{9BB8E758-D1D2-4C25-8BF3-88FBC0D9C09B}"/>
                </a:ext>
              </a:extLst>
            </p:cNvPr>
            <p:cNvSpPr/>
            <p:nvPr/>
          </p:nvSpPr>
          <p:spPr>
            <a:xfrm>
              <a:off x="6111367" y="2276010"/>
              <a:ext cx="84971" cy="84971"/>
            </a:xfrm>
            <a:custGeom>
              <a:avLst/>
              <a:gdLst>
                <a:gd name="connsiteX0" fmla="*/ 42697 w 84971"/>
                <a:gd name="connsiteY0" fmla="*/ 69604 h 84971"/>
                <a:gd name="connsiteX1" fmla="*/ 69604 w 84971"/>
                <a:gd name="connsiteY1" fmla="*/ 42697 h 84971"/>
                <a:gd name="connsiteX2" fmla="*/ 42697 w 84971"/>
                <a:gd name="connsiteY2" fmla="*/ 15789 h 84971"/>
                <a:gd name="connsiteX3" fmla="*/ 15789 w 84971"/>
                <a:gd name="connsiteY3" fmla="*/ 42697 h 84971"/>
                <a:gd name="connsiteX4" fmla="*/ 42697 w 84971"/>
                <a:gd name="connsiteY4" fmla="*/ 6960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7" y="69604"/>
                  </a:moveTo>
                  <a:cubicBezTo>
                    <a:pt x="56858" y="69604"/>
                    <a:pt x="69604" y="56859"/>
                    <a:pt x="69604" y="42697"/>
                  </a:cubicBezTo>
                  <a:cubicBezTo>
                    <a:pt x="69604" y="28535"/>
                    <a:pt x="56858" y="15789"/>
                    <a:pt x="42697" y="15789"/>
                  </a:cubicBezTo>
                  <a:cubicBezTo>
                    <a:pt x="28535" y="15789"/>
                    <a:pt x="15789" y="28535"/>
                    <a:pt x="15789" y="42697"/>
                  </a:cubicBezTo>
                  <a:cubicBezTo>
                    <a:pt x="15789" y="56859"/>
                    <a:pt x="28535" y="69604"/>
                    <a:pt x="42697" y="6960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81" name="Freeform: Shape 2080">
              <a:extLst>
                <a:ext uri="{FF2B5EF4-FFF2-40B4-BE49-F238E27FC236}">
                  <a16:creationId xmlns:a16="http://schemas.microsoft.com/office/drawing/2014/main" id="{1B38E630-920F-4A6C-B66B-0D2593193424}"/>
                </a:ext>
              </a:extLst>
            </p:cNvPr>
            <p:cNvSpPr/>
            <p:nvPr/>
          </p:nvSpPr>
          <p:spPr>
            <a:xfrm>
              <a:off x="6122697" y="2525259"/>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1280"/>
                    <a:pt x="49778" y="32783"/>
                  </a:cubicBezTo>
                  <a:cubicBezTo>
                    <a:pt x="49778" y="22870"/>
                    <a:pt x="41280" y="15789"/>
                    <a:pt x="32783" y="15789"/>
                  </a:cubicBezTo>
                  <a:cubicBezTo>
                    <a:pt x="22870" y="15789"/>
                    <a:pt x="15789" y="24286"/>
                    <a:pt x="15789" y="32783"/>
                  </a:cubicBezTo>
                  <a:cubicBezTo>
                    <a:pt x="15789" y="41280"/>
                    <a:pt x="22870" y="49777"/>
                    <a:pt x="32783"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82" name="Freeform: Shape 2081">
              <a:extLst>
                <a:ext uri="{FF2B5EF4-FFF2-40B4-BE49-F238E27FC236}">
                  <a16:creationId xmlns:a16="http://schemas.microsoft.com/office/drawing/2014/main" id="{EF1435DF-B05F-4EDC-9E1D-280C60CFFED5}"/>
                </a:ext>
              </a:extLst>
            </p:cNvPr>
            <p:cNvSpPr/>
            <p:nvPr/>
          </p:nvSpPr>
          <p:spPr>
            <a:xfrm>
              <a:off x="5990991" y="2317079"/>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7"/>
                    <a:pt x="31367" y="15789"/>
                    <a:pt x="25702" y="15789"/>
                  </a:cubicBezTo>
                  <a:cubicBezTo>
                    <a:pt x="20037" y="15789"/>
                    <a:pt x="15789" y="20037"/>
                    <a:pt x="15789" y="25702"/>
                  </a:cubicBezTo>
                  <a:cubicBezTo>
                    <a:pt x="15789" y="31367"/>
                    <a:pt x="20037" y="35616"/>
                    <a:pt x="25702"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83" name="Freeform: Shape 2082">
              <a:extLst>
                <a:ext uri="{FF2B5EF4-FFF2-40B4-BE49-F238E27FC236}">
                  <a16:creationId xmlns:a16="http://schemas.microsoft.com/office/drawing/2014/main" id="{DC4D02B7-9791-4513-A018-623858860D56}"/>
                </a:ext>
              </a:extLst>
            </p:cNvPr>
            <p:cNvSpPr/>
            <p:nvPr/>
          </p:nvSpPr>
          <p:spPr>
            <a:xfrm>
              <a:off x="6152437" y="2056500"/>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84" name="Freeform: Shape 2083">
              <a:extLst>
                <a:ext uri="{FF2B5EF4-FFF2-40B4-BE49-F238E27FC236}">
                  <a16:creationId xmlns:a16="http://schemas.microsoft.com/office/drawing/2014/main" id="{7B17E80F-D753-4014-BB03-DD49106B030D}"/>
                </a:ext>
              </a:extLst>
            </p:cNvPr>
            <p:cNvSpPr/>
            <p:nvPr/>
          </p:nvSpPr>
          <p:spPr>
            <a:xfrm>
              <a:off x="6376195" y="2345403"/>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8" y="15789"/>
                    <a:pt x="15789" y="20037"/>
                    <a:pt x="15789" y="25702"/>
                  </a:cubicBezTo>
                  <a:cubicBezTo>
                    <a:pt x="15789" y="31367"/>
                    <a:pt x="20038"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85" name="Freeform: Shape 2084">
              <a:extLst>
                <a:ext uri="{FF2B5EF4-FFF2-40B4-BE49-F238E27FC236}">
                  <a16:creationId xmlns:a16="http://schemas.microsoft.com/office/drawing/2014/main" id="{AB11A4A4-9B2B-482C-9519-FEC06DB6B719}"/>
                </a:ext>
              </a:extLst>
            </p:cNvPr>
            <p:cNvSpPr/>
            <p:nvPr/>
          </p:nvSpPr>
          <p:spPr>
            <a:xfrm>
              <a:off x="6475328" y="2600318"/>
              <a:ext cx="84971" cy="84971"/>
            </a:xfrm>
            <a:custGeom>
              <a:avLst/>
              <a:gdLst>
                <a:gd name="connsiteX0" fmla="*/ 42697 w 84971"/>
                <a:gd name="connsiteY0" fmla="*/ 69604 h 84971"/>
                <a:gd name="connsiteX1" fmla="*/ 69605 w 84971"/>
                <a:gd name="connsiteY1" fmla="*/ 42697 h 84971"/>
                <a:gd name="connsiteX2" fmla="*/ 42697 w 84971"/>
                <a:gd name="connsiteY2" fmla="*/ 15789 h 84971"/>
                <a:gd name="connsiteX3" fmla="*/ 15789 w 84971"/>
                <a:gd name="connsiteY3" fmla="*/ 42697 h 84971"/>
                <a:gd name="connsiteX4" fmla="*/ 42697 w 84971"/>
                <a:gd name="connsiteY4" fmla="*/ 6960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7" y="69604"/>
                  </a:moveTo>
                  <a:cubicBezTo>
                    <a:pt x="56858" y="69604"/>
                    <a:pt x="69605" y="56858"/>
                    <a:pt x="69605" y="42697"/>
                  </a:cubicBezTo>
                  <a:cubicBezTo>
                    <a:pt x="69605" y="28535"/>
                    <a:pt x="56858" y="15789"/>
                    <a:pt x="42697" y="15789"/>
                  </a:cubicBezTo>
                  <a:cubicBezTo>
                    <a:pt x="28535" y="15789"/>
                    <a:pt x="15789" y="28535"/>
                    <a:pt x="15789" y="42697"/>
                  </a:cubicBezTo>
                  <a:cubicBezTo>
                    <a:pt x="15789" y="56858"/>
                    <a:pt x="28535" y="69604"/>
                    <a:pt x="42697" y="6960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86" name="Freeform: Shape 2085">
              <a:extLst>
                <a:ext uri="{FF2B5EF4-FFF2-40B4-BE49-F238E27FC236}">
                  <a16:creationId xmlns:a16="http://schemas.microsoft.com/office/drawing/2014/main" id="{A5AC9884-141C-4C7D-946A-2954FAAC72DA}"/>
                </a:ext>
              </a:extLst>
            </p:cNvPr>
            <p:cNvSpPr/>
            <p:nvPr/>
          </p:nvSpPr>
          <p:spPr>
            <a:xfrm>
              <a:off x="6560300" y="2169795"/>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87" name="Freeform: Shape 2086">
              <a:extLst>
                <a:ext uri="{FF2B5EF4-FFF2-40B4-BE49-F238E27FC236}">
                  <a16:creationId xmlns:a16="http://schemas.microsoft.com/office/drawing/2014/main" id="{0E544DFC-0772-4243-95E1-2CF739AA0608}"/>
                </a:ext>
              </a:extLst>
            </p:cNvPr>
            <p:cNvSpPr/>
            <p:nvPr/>
          </p:nvSpPr>
          <p:spPr>
            <a:xfrm>
              <a:off x="5978245" y="2499768"/>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88" name="Freeform: Shape 2087">
              <a:extLst>
                <a:ext uri="{FF2B5EF4-FFF2-40B4-BE49-F238E27FC236}">
                  <a16:creationId xmlns:a16="http://schemas.microsoft.com/office/drawing/2014/main" id="{2CD52EA9-09D8-48B8-BBAD-9468EA7EFF14}"/>
                </a:ext>
              </a:extLst>
            </p:cNvPr>
            <p:cNvSpPr/>
            <p:nvPr/>
          </p:nvSpPr>
          <p:spPr>
            <a:xfrm>
              <a:off x="5755903" y="2084824"/>
              <a:ext cx="70810" cy="70810"/>
            </a:xfrm>
            <a:custGeom>
              <a:avLst/>
              <a:gdLst>
                <a:gd name="connsiteX0" fmla="*/ 39864 w 70809"/>
                <a:gd name="connsiteY0" fmla="*/ 63940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2610" y="63940"/>
                    <a:pt x="63939" y="52610"/>
                    <a:pt x="63939" y="39864"/>
                  </a:cubicBezTo>
                  <a:cubicBezTo>
                    <a:pt x="63939" y="27119"/>
                    <a:pt x="52610" y="15789"/>
                    <a:pt x="39864" y="15789"/>
                  </a:cubicBezTo>
                  <a:cubicBezTo>
                    <a:pt x="27118" y="15789"/>
                    <a:pt x="15789" y="27119"/>
                    <a:pt x="15789" y="39864"/>
                  </a:cubicBezTo>
                  <a:cubicBezTo>
                    <a:pt x="15789" y="52610"/>
                    <a:pt x="27118" y="63940"/>
                    <a:pt x="39864" y="6394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89" name="Freeform: Shape 2088">
              <a:extLst>
                <a:ext uri="{FF2B5EF4-FFF2-40B4-BE49-F238E27FC236}">
                  <a16:creationId xmlns:a16="http://schemas.microsoft.com/office/drawing/2014/main" id="{B1D1BE12-77E9-4CA1-AEDC-4D563A9A4A99}"/>
                </a:ext>
              </a:extLst>
            </p:cNvPr>
            <p:cNvSpPr/>
            <p:nvPr/>
          </p:nvSpPr>
          <p:spPr>
            <a:xfrm>
              <a:off x="6578710" y="2502600"/>
              <a:ext cx="56648" cy="56648"/>
            </a:xfrm>
            <a:custGeom>
              <a:avLst/>
              <a:gdLst>
                <a:gd name="connsiteX0" fmla="*/ 49778 w 56647"/>
                <a:gd name="connsiteY0" fmla="*/ 32783 h 56647"/>
                <a:gd name="connsiteX1" fmla="*/ 32783 w 56647"/>
                <a:gd name="connsiteY1" fmla="*/ 49777 h 56647"/>
                <a:gd name="connsiteX2" fmla="*/ 15789 w 56647"/>
                <a:gd name="connsiteY2" fmla="*/ 32783 h 56647"/>
                <a:gd name="connsiteX3" fmla="*/ 32783 w 56647"/>
                <a:gd name="connsiteY3" fmla="*/ 15789 h 56647"/>
                <a:gd name="connsiteX4" fmla="*/ 49778 w 56647"/>
                <a:gd name="connsiteY4" fmla="*/ 3278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49778" y="32783"/>
                  </a:moveTo>
                  <a:cubicBezTo>
                    <a:pt x="49778" y="42169"/>
                    <a:pt x="42169" y="49777"/>
                    <a:pt x="32783" y="49777"/>
                  </a:cubicBezTo>
                  <a:cubicBezTo>
                    <a:pt x="23397" y="49777"/>
                    <a:pt x="15789" y="42169"/>
                    <a:pt x="15789" y="32783"/>
                  </a:cubicBezTo>
                  <a:cubicBezTo>
                    <a:pt x="15789" y="23398"/>
                    <a:pt x="23397" y="15789"/>
                    <a:pt x="32783" y="15789"/>
                  </a:cubicBezTo>
                  <a:cubicBezTo>
                    <a:pt x="42169" y="15789"/>
                    <a:pt x="49778" y="23398"/>
                    <a:pt x="49778"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90" name="Freeform: Shape 2089">
              <a:extLst>
                <a:ext uri="{FF2B5EF4-FFF2-40B4-BE49-F238E27FC236}">
                  <a16:creationId xmlns:a16="http://schemas.microsoft.com/office/drawing/2014/main" id="{10D1B822-8327-4B11-B1E7-B1F6A15A7223}"/>
                </a:ext>
              </a:extLst>
            </p:cNvPr>
            <p:cNvSpPr/>
            <p:nvPr/>
          </p:nvSpPr>
          <p:spPr>
            <a:xfrm>
              <a:off x="6371947" y="2083408"/>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91" name="Freeform: Shape 2090">
              <a:extLst>
                <a:ext uri="{FF2B5EF4-FFF2-40B4-BE49-F238E27FC236}">
                  <a16:creationId xmlns:a16="http://schemas.microsoft.com/office/drawing/2014/main" id="{6B63649C-DF63-4F70-AB36-5325475B1E4C}"/>
                </a:ext>
              </a:extLst>
            </p:cNvPr>
            <p:cNvSpPr/>
            <p:nvPr/>
          </p:nvSpPr>
          <p:spPr>
            <a:xfrm>
              <a:off x="6029228" y="1892222"/>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92" name="Freeform: Shape 2091">
              <a:extLst>
                <a:ext uri="{FF2B5EF4-FFF2-40B4-BE49-F238E27FC236}">
                  <a16:creationId xmlns:a16="http://schemas.microsoft.com/office/drawing/2014/main" id="{FB9F33C7-E6CF-4BF3-BC60-A5C4699063E8}"/>
                </a:ext>
              </a:extLst>
            </p:cNvPr>
            <p:cNvSpPr/>
            <p:nvPr/>
          </p:nvSpPr>
          <p:spPr>
            <a:xfrm>
              <a:off x="5957002" y="2079159"/>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93" name="Freeform: Shape 2092">
              <a:extLst>
                <a:ext uri="{FF2B5EF4-FFF2-40B4-BE49-F238E27FC236}">
                  <a16:creationId xmlns:a16="http://schemas.microsoft.com/office/drawing/2014/main" id="{350A3443-9F33-49FA-A32B-DC9498855C8C}"/>
                </a:ext>
              </a:extLst>
            </p:cNvPr>
            <p:cNvSpPr/>
            <p:nvPr/>
          </p:nvSpPr>
          <p:spPr>
            <a:xfrm>
              <a:off x="6050471" y="2025344"/>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94" name="Freeform: Shape 2093">
              <a:extLst>
                <a:ext uri="{FF2B5EF4-FFF2-40B4-BE49-F238E27FC236}">
                  <a16:creationId xmlns:a16="http://schemas.microsoft.com/office/drawing/2014/main" id="{3C2E43CA-1590-4279-BE0B-26F9D4CCB247}"/>
                </a:ext>
              </a:extLst>
            </p:cNvPr>
            <p:cNvSpPr/>
            <p:nvPr/>
          </p:nvSpPr>
          <p:spPr>
            <a:xfrm>
              <a:off x="6700503" y="2338322"/>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1" y="49777"/>
                    <a:pt x="49778" y="42697"/>
                    <a:pt x="49778" y="32783"/>
                  </a:cubicBezTo>
                  <a:cubicBezTo>
                    <a:pt x="49778" y="24286"/>
                    <a:pt x="42697" y="15789"/>
                    <a:pt x="32783" y="15789"/>
                  </a:cubicBezTo>
                  <a:cubicBezTo>
                    <a:pt x="24286" y="15789"/>
                    <a:pt x="15789" y="22870"/>
                    <a:pt x="15789" y="32783"/>
                  </a:cubicBezTo>
                  <a:cubicBezTo>
                    <a:pt x="15789" y="41280"/>
                    <a:pt x="24286" y="49777"/>
                    <a:pt x="32783"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95" name="Freeform: Shape 2094">
              <a:extLst>
                <a:ext uri="{FF2B5EF4-FFF2-40B4-BE49-F238E27FC236}">
                  <a16:creationId xmlns:a16="http://schemas.microsoft.com/office/drawing/2014/main" id="{17859574-37F0-4DCC-B20F-4BA5271F6944}"/>
                </a:ext>
              </a:extLst>
            </p:cNvPr>
            <p:cNvSpPr/>
            <p:nvPr/>
          </p:nvSpPr>
          <p:spPr>
            <a:xfrm>
              <a:off x="5886193" y="2382224"/>
              <a:ext cx="84971" cy="84971"/>
            </a:xfrm>
            <a:custGeom>
              <a:avLst/>
              <a:gdLst>
                <a:gd name="connsiteX0" fmla="*/ 45529 w 84971"/>
                <a:gd name="connsiteY0" fmla="*/ 15789 h 84971"/>
                <a:gd name="connsiteX1" fmla="*/ 75269 w 84971"/>
                <a:gd name="connsiteY1" fmla="*/ 45529 h 84971"/>
                <a:gd name="connsiteX2" fmla="*/ 45529 w 84971"/>
                <a:gd name="connsiteY2" fmla="*/ 75269 h 84971"/>
                <a:gd name="connsiteX3" fmla="*/ 15789 w 84971"/>
                <a:gd name="connsiteY3" fmla="*/ 45529 h 84971"/>
                <a:gd name="connsiteX4" fmla="*/ 45529 w 84971"/>
                <a:gd name="connsiteY4" fmla="*/ 15789 h 84971"/>
                <a:gd name="connsiteX5" fmla="*/ 45529 w 84971"/>
                <a:gd name="connsiteY5" fmla="*/ 15789 h 84971"/>
                <a:gd name="connsiteX6" fmla="*/ 45529 w 84971"/>
                <a:gd name="connsiteY6" fmla="*/ 28535 h 84971"/>
                <a:gd name="connsiteX7" fmla="*/ 28535 w 84971"/>
                <a:gd name="connsiteY7" fmla="*/ 45529 h 84971"/>
                <a:gd name="connsiteX8" fmla="*/ 45529 w 84971"/>
                <a:gd name="connsiteY8" fmla="*/ 62523 h 84971"/>
                <a:gd name="connsiteX9" fmla="*/ 62524 w 84971"/>
                <a:gd name="connsiteY9" fmla="*/ 45529 h 84971"/>
                <a:gd name="connsiteX10" fmla="*/ 45529 w 84971"/>
                <a:gd name="connsiteY10" fmla="*/ 28535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5529" y="15789"/>
                  </a:moveTo>
                  <a:cubicBezTo>
                    <a:pt x="62524" y="15789"/>
                    <a:pt x="75269" y="28535"/>
                    <a:pt x="75269" y="45529"/>
                  </a:cubicBezTo>
                  <a:cubicBezTo>
                    <a:pt x="75269" y="62523"/>
                    <a:pt x="62524" y="75269"/>
                    <a:pt x="45529" y="75269"/>
                  </a:cubicBezTo>
                  <a:cubicBezTo>
                    <a:pt x="28535" y="75269"/>
                    <a:pt x="15789" y="62523"/>
                    <a:pt x="15789" y="45529"/>
                  </a:cubicBezTo>
                  <a:cubicBezTo>
                    <a:pt x="15789" y="28535"/>
                    <a:pt x="28535" y="15789"/>
                    <a:pt x="45529" y="15789"/>
                  </a:cubicBezTo>
                  <a:lnTo>
                    <a:pt x="45529" y="15789"/>
                  </a:lnTo>
                  <a:close/>
                  <a:moveTo>
                    <a:pt x="45529" y="28535"/>
                  </a:moveTo>
                  <a:cubicBezTo>
                    <a:pt x="35616" y="28535"/>
                    <a:pt x="28535" y="35616"/>
                    <a:pt x="28535" y="45529"/>
                  </a:cubicBezTo>
                  <a:cubicBezTo>
                    <a:pt x="28535" y="55442"/>
                    <a:pt x="35616" y="62523"/>
                    <a:pt x="45529" y="62523"/>
                  </a:cubicBezTo>
                  <a:cubicBezTo>
                    <a:pt x="55443" y="62523"/>
                    <a:pt x="62524" y="55442"/>
                    <a:pt x="62524" y="45529"/>
                  </a:cubicBezTo>
                  <a:cubicBezTo>
                    <a:pt x="62524" y="35616"/>
                    <a:pt x="55443" y="28535"/>
                    <a:pt x="45529" y="2853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96" name="Freeform: Shape 2095">
              <a:extLst>
                <a:ext uri="{FF2B5EF4-FFF2-40B4-BE49-F238E27FC236}">
                  <a16:creationId xmlns:a16="http://schemas.microsoft.com/office/drawing/2014/main" id="{C12E7102-6D5C-40DD-B4B9-4BD1CF2D99C7}"/>
                </a:ext>
              </a:extLst>
            </p:cNvPr>
            <p:cNvSpPr/>
            <p:nvPr/>
          </p:nvSpPr>
          <p:spPr>
            <a:xfrm>
              <a:off x="7104117" y="2467195"/>
              <a:ext cx="84971" cy="84971"/>
            </a:xfrm>
            <a:custGeom>
              <a:avLst/>
              <a:gdLst>
                <a:gd name="connsiteX0" fmla="*/ 45529 w 84971"/>
                <a:gd name="connsiteY0" fmla="*/ 15789 h 84971"/>
                <a:gd name="connsiteX1" fmla="*/ 75269 w 84971"/>
                <a:gd name="connsiteY1" fmla="*/ 45529 h 84971"/>
                <a:gd name="connsiteX2" fmla="*/ 45529 w 84971"/>
                <a:gd name="connsiteY2" fmla="*/ 75269 h 84971"/>
                <a:gd name="connsiteX3" fmla="*/ 15789 w 84971"/>
                <a:gd name="connsiteY3" fmla="*/ 45529 h 84971"/>
                <a:gd name="connsiteX4" fmla="*/ 45529 w 84971"/>
                <a:gd name="connsiteY4" fmla="*/ 15789 h 84971"/>
                <a:gd name="connsiteX5" fmla="*/ 45529 w 84971"/>
                <a:gd name="connsiteY5" fmla="*/ 15789 h 84971"/>
                <a:gd name="connsiteX6" fmla="*/ 45529 w 84971"/>
                <a:gd name="connsiteY6" fmla="*/ 28535 h 84971"/>
                <a:gd name="connsiteX7" fmla="*/ 28535 w 84971"/>
                <a:gd name="connsiteY7" fmla="*/ 45529 h 84971"/>
                <a:gd name="connsiteX8" fmla="*/ 45529 w 84971"/>
                <a:gd name="connsiteY8" fmla="*/ 62523 h 84971"/>
                <a:gd name="connsiteX9" fmla="*/ 62524 w 84971"/>
                <a:gd name="connsiteY9" fmla="*/ 45529 h 84971"/>
                <a:gd name="connsiteX10" fmla="*/ 45529 w 84971"/>
                <a:gd name="connsiteY10" fmla="*/ 28535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5529" y="15789"/>
                  </a:moveTo>
                  <a:cubicBezTo>
                    <a:pt x="62524" y="15789"/>
                    <a:pt x="75269" y="28535"/>
                    <a:pt x="75269" y="45529"/>
                  </a:cubicBezTo>
                  <a:cubicBezTo>
                    <a:pt x="75269" y="62523"/>
                    <a:pt x="62524" y="75269"/>
                    <a:pt x="45529" y="75269"/>
                  </a:cubicBezTo>
                  <a:cubicBezTo>
                    <a:pt x="28535" y="75269"/>
                    <a:pt x="15789" y="62523"/>
                    <a:pt x="15789" y="45529"/>
                  </a:cubicBezTo>
                  <a:cubicBezTo>
                    <a:pt x="15789" y="28535"/>
                    <a:pt x="28535" y="15789"/>
                    <a:pt x="45529" y="15789"/>
                  </a:cubicBezTo>
                  <a:lnTo>
                    <a:pt x="45529" y="15789"/>
                  </a:lnTo>
                  <a:close/>
                  <a:moveTo>
                    <a:pt x="45529" y="28535"/>
                  </a:moveTo>
                  <a:cubicBezTo>
                    <a:pt x="35616" y="28535"/>
                    <a:pt x="28535" y="35616"/>
                    <a:pt x="28535" y="45529"/>
                  </a:cubicBezTo>
                  <a:cubicBezTo>
                    <a:pt x="28535" y="55442"/>
                    <a:pt x="35616" y="62523"/>
                    <a:pt x="45529" y="62523"/>
                  </a:cubicBezTo>
                  <a:cubicBezTo>
                    <a:pt x="55443" y="62523"/>
                    <a:pt x="62524" y="55442"/>
                    <a:pt x="62524" y="45529"/>
                  </a:cubicBezTo>
                  <a:cubicBezTo>
                    <a:pt x="62524" y="35616"/>
                    <a:pt x="55443" y="28535"/>
                    <a:pt x="45529" y="2853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97" name="Freeform: Shape 2096">
              <a:extLst>
                <a:ext uri="{FF2B5EF4-FFF2-40B4-BE49-F238E27FC236}">
                  <a16:creationId xmlns:a16="http://schemas.microsoft.com/office/drawing/2014/main" id="{9B8484F0-ECCE-4007-B86F-E0CF0FC15026}"/>
                </a:ext>
              </a:extLst>
            </p:cNvPr>
            <p:cNvSpPr/>
            <p:nvPr/>
          </p:nvSpPr>
          <p:spPr>
            <a:xfrm>
              <a:off x="6186425" y="2076327"/>
              <a:ext cx="70810" cy="70810"/>
            </a:xfrm>
            <a:custGeom>
              <a:avLst/>
              <a:gdLst>
                <a:gd name="connsiteX0" fmla="*/ 63939 w 70809"/>
                <a:gd name="connsiteY0" fmla="*/ 39864 h 70809"/>
                <a:gd name="connsiteX1" fmla="*/ 39864 w 70809"/>
                <a:gd name="connsiteY1" fmla="*/ 63939 h 70809"/>
                <a:gd name="connsiteX2" fmla="*/ 15789 w 70809"/>
                <a:gd name="connsiteY2" fmla="*/ 39864 h 70809"/>
                <a:gd name="connsiteX3" fmla="*/ 39864 w 70809"/>
                <a:gd name="connsiteY3" fmla="*/ 15789 h 70809"/>
                <a:gd name="connsiteX4" fmla="*/ 63939 w 70809"/>
                <a:gd name="connsiteY4" fmla="*/ 3986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3939" y="39864"/>
                  </a:moveTo>
                  <a:cubicBezTo>
                    <a:pt x="63939" y="53161"/>
                    <a:pt x="53161" y="63939"/>
                    <a:pt x="39864" y="63939"/>
                  </a:cubicBezTo>
                  <a:cubicBezTo>
                    <a:pt x="26568" y="63939"/>
                    <a:pt x="15789" y="53161"/>
                    <a:pt x="15789" y="39864"/>
                  </a:cubicBezTo>
                  <a:cubicBezTo>
                    <a:pt x="15789" y="26568"/>
                    <a:pt x="26567" y="15789"/>
                    <a:pt x="39864" y="15789"/>
                  </a:cubicBezTo>
                  <a:cubicBezTo>
                    <a:pt x="53160" y="15789"/>
                    <a:pt x="63939" y="26568"/>
                    <a:pt x="63939" y="3986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98" name="Freeform: Shape 2097">
              <a:extLst>
                <a:ext uri="{FF2B5EF4-FFF2-40B4-BE49-F238E27FC236}">
                  <a16:creationId xmlns:a16="http://schemas.microsoft.com/office/drawing/2014/main" id="{958A1158-4EAA-4EBB-8787-BE8B8792BD21}"/>
                </a:ext>
              </a:extLst>
            </p:cNvPr>
            <p:cNvSpPr/>
            <p:nvPr/>
          </p:nvSpPr>
          <p:spPr>
            <a:xfrm>
              <a:off x="6480993" y="2489855"/>
              <a:ext cx="70810" cy="70810"/>
            </a:xfrm>
            <a:custGeom>
              <a:avLst/>
              <a:gdLst>
                <a:gd name="connsiteX0" fmla="*/ 39864 w 70809"/>
                <a:gd name="connsiteY0" fmla="*/ 63939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40" y="52610"/>
                    <a:pt x="63940" y="39864"/>
                  </a:cubicBezTo>
                  <a:cubicBezTo>
                    <a:pt x="63940" y="27119"/>
                    <a:pt x="52610" y="15789"/>
                    <a:pt x="39864" y="15789"/>
                  </a:cubicBezTo>
                  <a:cubicBezTo>
                    <a:pt x="27119" y="15789"/>
                    <a:pt x="15789" y="27119"/>
                    <a:pt x="15789" y="39864"/>
                  </a:cubicBezTo>
                  <a:cubicBezTo>
                    <a:pt x="15789" y="52610"/>
                    <a:pt x="27119" y="63939"/>
                    <a:pt x="39864" y="6393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099" name="Freeform: Shape 2098">
              <a:extLst>
                <a:ext uri="{FF2B5EF4-FFF2-40B4-BE49-F238E27FC236}">
                  <a16:creationId xmlns:a16="http://schemas.microsoft.com/office/drawing/2014/main" id="{664D6854-3E2B-4886-BD5D-D56E2F4205CE}"/>
                </a:ext>
              </a:extLst>
            </p:cNvPr>
            <p:cNvSpPr/>
            <p:nvPr/>
          </p:nvSpPr>
          <p:spPr>
            <a:xfrm>
              <a:off x="7249985" y="1329994"/>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00" name="Freeform: Shape 2099">
              <a:extLst>
                <a:ext uri="{FF2B5EF4-FFF2-40B4-BE49-F238E27FC236}">
                  <a16:creationId xmlns:a16="http://schemas.microsoft.com/office/drawing/2014/main" id="{E591CC15-89B1-4866-B9D5-6CEC7E1FA095}"/>
                </a:ext>
              </a:extLst>
            </p:cNvPr>
            <p:cNvSpPr/>
            <p:nvPr/>
          </p:nvSpPr>
          <p:spPr>
            <a:xfrm>
              <a:off x="7119695" y="1313000"/>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1" y="49778"/>
                    <a:pt x="49778" y="42697"/>
                    <a:pt x="49778" y="32783"/>
                  </a:cubicBezTo>
                  <a:cubicBezTo>
                    <a:pt x="49778" y="22870"/>
                    <a:pt x="42697" y="15789"/>
                    <a:pt x="32783" y="15789"/>
                  </a:cubicBezTo>
                  <a:cubicBezTo>
                    <a:pt x="24286"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01" name="Freeform: Shape 2100">
              <a:extLst>
                <a:ext uri="{FF2B5EF4-FFF2-40B4-BE49-F238E27FC236}">
                  <a16:creationId xmlns:a16="http://schemas.microsoft.com/office/drawing/2014/main" id="{F84FE36E-8B73-4B8C-863F-4DE3605EF620}"/>
                </a:ext>
              </a:extLst>
            </p:cNvPr>
            <p:cNvSpPr/>
            <p:nvPr/>
          </p:nvSpPr>
          <p:spPr>
            <a:xfrm>
              <a:off x="7058799" y="1744938"/>
              <a:ext cx="56648" cy="56648"/>
            </a:xfrm>
            <a:custGeom>
              <a:avLst/>
              <a:gdLst>
                <a:gd name="connsiteX0" fmla="*/ 52610 w 56647"/>
                <a:gd name="connsiteY0" fmla="*/ 34199 h 56647"/>
                <a:gd name="connsiteX1" fmla="*/ 34200 w 56647"/>
                <a:gd name="connsiteY1" fmla="*/ 52610 h 56647"/>
                <a:gd name="connsiteX2" fmla="*/ 15790 w 56647"/>
                <a:gd name="connsiteY2" fmla="*/ 34199 h 56647"/>
                <a:gd name="connsiteX3" fmla="*/ 34200 w 56647"/>
                <a:gd name="connsiteY3" fmla="*/ 15789 h 56647"/>
                <a:gd name="connsiteX4" fmla="*/ 52610 w 56647"/>
                <a:gd name="connsiteY4" fmla="*/ 3419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52610" y="34199"/>
                  </a:moveTo>
                  <a:cubicBezTo>
                    <a:pt x="52610" y="44367"/>
                    <a:pt x="44367" y="52610"/>
                    <a:pt x="34200" y="52610"/>
                  </a:cubicBezTo>
                  <a:cubicBezTo>
                    <a:pt x="24032" y="52610"/>
                    <a:pt x="15790" y="44367"/>
                    <a:pt x="15790" y="34199"/>
                  </a:cubicBezTo>
                  <a:cubicBezTo>
                    <a:pt x="15790" y="24032"/>
                    <a:pt x="24032" y="15789"/>
                    <a:pt x="34200" y="15789"/>
                  </a:cubicBezTo>
                  <a:cubicBezTo>
                    <a:pt x="44367" y="15789"/>
                    <a:pt x="52610" y="24032"/>
                    <a:pt x="52610" y="3419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02" name="Freeform: Shape 2101">
              <a:extLst>
                <a:ext uri="{FF2B5EF4-FFF2-40B4-BE49-F238E27FC236}">
                  <a16:creationId xmlns:a16="http://schemas.microsoft.com/office/drawing/2014/main" id="{37E1CC68-7E8C-4104-A7DC-6DD694EF6D83}"/>
                </a:ext>
              </a:extLst>
            </p:cNvPr>
            <p:cNvSpPr/>
            <p:nvPr/>
          </p:nvSpPr>
          <p:spPr>
            <a:xfrm>
              <a:off x="6949752" y="1740690"/>
              <a:ext cx="84971" cy="84971"/>
            </a:xfrm>
            <a:custGeom>
              <a:avLst/>
              <a:gdLst>
                <a:gd name="connsiteX0" fmla="*/ 78101 w 84971"/>
                <a:gd name="connsiteY0" fmla="*/ 46945 h 84971"/>
                <a:gd name="connsiteX1" fmla="*/ 46945 w 84971"/>
                <a:gd name="connsiteY1" fmla="*/ 78101 h 84971"/>
                <a:gd name="connsiteX2" fmla="*/ 15788 w 84971"/>
                <a:gd name="connsiteY2" fmla="*/ 46945 h 84971"/>
                <a:gd name="connsiteX3" fmla="*/ 46945 w 84971"/>
                <a:gd name="connsiteY3" fmla="*/ 15789 h 84971"/>
                <a:gd name="connsiteX4" fmla="*/ 78101 w 84971"/>
                <a:gd name="connsiteY4" fmla="*/ 46945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78101" y="46945"/>
                  </a:moveTo>
                  <a:cubicBezTo>
                    <a:pt x="78101" y="64152"/>
                    <a:pt x="64152" y="78101"/>
                    <a:pt x="46945" y="78101"/>
                  </a:cubicBezTo>
                  <a:cubicBezTo>
                    <a:pt x="29738" y="78101"/>
                    <a:pt x="15788" y="64152"/>
                    <a:pt x="15788" y="46945"/>
                  </a:cubicBezTo>
                  <a:cubicBezTo>
                    <a:pt x="15788" y="29738"/>
                    <a:pt x="29738" y="15789"/>
                    <a:pt x="46945" y="15789"/>
                  </a:cubicBezTo>
                  <a:cubicBezTo>
                    <a:pt x="64152" y="15789"/>
                    <a:pt x="78101" y="29738"/>
                    <a:pt x="78101" y="4694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03" name="Freeform: Shape 2102">
              <a:extLst>
                <a:ext uri="{FF2B5EF4-FFF2-40B4-BE49-F238E27FC236}">
                  <a16:creationId xmlns:a16="http://schemas.microsoft.com/office/drawing/2014/main" id="{542F2F39-E97E-4334-9844-C7DD3CB545BF}"/>
                </a:ext>
              </a:extLst>
            </p:cNvPr>
            <p:cNvSpPr/>
            <p:nvPr/>
          </p:nvSpPr>
          <p:spPr>
            <a:xfrm>
              <a:off x="8633604" y="1630227"/>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7" y="15789"/>
                    <a:pt x="15789" y="22870"/>
                    <a:pt x="15789" y="32783"/>
                  </a:cubicBezTo>
                  <a:cubicBezTo>
                    <a:pt x="17206" y="42697"/>
                    <a:pt x="24287"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04" name="Freeform: Shape 2103">
              <a:extLst>
                <a:ext uri="{FF2B5EF4-FFF2-40B4-BE49-F238E27FC236}">
                  <a16:creationId xmlns:a16="http://schemas.microsoft.com/office/drawing/2014/main" id="{98325D6E-2748-4ECF-8B83-F689E2D7C0C9}"/>
                </a:ext>
              </a:extLst>
            </p:cNvPr>
            <p:cNvSpPr/>
            <p:nvPr/>
          </p:nvSpPr>
          <p:spPr>
            <a:xfrm>
              <a:off x="7953832" y="1039675"/>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4200" y="38448"/>
                    <a:pt x="38448" y="32783"/>
                    <a:pt x="38448" y="27119"/>
                  </a:cubicBezTo>
                  <a:cubicBezTo>
                    <a:pt x="38448" y="20038"/>
                    <a:pt x="32783" y="15789"/>
                    <a:pt x="27119" y="15789"/>
                  </a:cubicBezTo>
                  <a:cubicBezTo>
                    <a:pt x="20038" y="15789"/>
                    <a:pt x="15789" y="21454"/>
                    <a:pt x="15789" y="27119"/>
                  </a:cubicBezTo>
                  <a:cubicBezTo>
                    <a:pt x="15789" y="34199"/>
                    <a:pt x="21454" y="38448"/>
                    <a:pt x="27119" y="3844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05" name="Freeform: Shape 2104">
              <a:extLst>
                <a:ext uri="{FF2B5EF4-FFF2-40B4-BE49-F238E27FC236}">
                  <a16:creationId xmlns:a16="http://schemas.microsoft.com/office/drawing/2014/main" id="{038EFB0A-CC0D-4557-A71B-4D85E2F597DF}"/>
                </a:ext>
              </a:extLst>
            </p:cNvPr>
            <p:cNvSpPr/>
            <p:nvPr/>
          </p:nvSpPr>
          <p:spPr>
            <a:xfrm>
              <a:off x="8470742" y="87964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7" y="15789"/>
                    <a:pt x="15789" y="22870"/>
                    <a:pt x="15789" y="32783"/>
                  </a:cubicBezTo>
                  <a:cubicBezTo>
                    <a:pt x="17206" y="42697"/>
                    <a:pt x="24287"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06" name="Freeform: Shape 2105">
              <a:extLst>
                <a:ext uri="{FF2B5EF4-FFF2-40B4-BE49-F238E27FC236}">
                  <a16:creationId xmlns:a16="http://schemas.microsoft.com/office/drawing/2014/main" id="{E6AD080D-1141-4B17-878F-18DD16BE373C}"/>
                </a:ext>
              </a:extLst>
            </p:cNvPr>
            <p:cNvSpPr/>
            <p:nvPr/>
          </p:nvSpPr>
          <p:spPr>
            <a:xfrm>
              <a:off x="8299383" y="1157219"/>
              <a:ext cx="56648" cy="56648"/>
            </a:xfrm>
            <a:custGeom>
              <a:avLst/>
              <a:gdLst>
                <a:gd name="connsiteX0" fmla="*/ 32783 w 56647"/>
                <a:gd name="connsiteY0" fmla="*/ 49778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7" y="42697"/>
                    <a:pt x="49777" y="32783"/>
                  </a:cubicBezTo>
                  <a:cubicBezTo>
                    <a:pt x="49777" y="24286"/>
                    <a:pt x="42696" y="15789"/>
                    <a:pt x="32783" y="15789"/>
                  </a:cubicBezTo>
                  <a:cubicBezTo>
                    <a:pt x="24286"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07" name="Freeform: Shape 2106">
              <a:extLst>
                <a:ext uri="{FF2B5EF4-FFF2-40B4-BE49-F238E27FC236}">
                  <a16:creationId xmlns:a16="http://schemas.microsoft.com/office/drawing/2014/main" id="{EA6DA9C4-0147-4D8D-9DE2-009CF05F2C93}"/>
                </a:ext>
              </a:extLst>
            </p:cNvPr>
            <p:cNvSpPr/>
            <p:nvPr/>
          </p:nvSpPr>
          <p:spPr>
            <a:xfrm>
              <a:off x="7527559" y="1696788"/>
              <a:ext cx="42486" cy="42486"/>
            </a:xfrm>
            <a:custGeom>
              <a:avLst/>
              <a:gdLst>
                <a:gd name="connsiteX0" fmla="*/ 32783 w 42485"/>
                <a:gd name="connsiteY0" fmla="*/ 24286 h 42485"/>
                <a:gd name="connsiteX1" fmla="*/ 24286 w 42485"/>
                <a:gd name="connsiteY1" fmla="*/ 32783 h 42485"/>
                <a:gd name="connsiteX2" fmla="*/ 15789 w 42485"/>
                <a:gd name="connsiteY2" fmla="*/ 24286 h 42485"/>
                <a:gd name="connsiteX3" fmla="*/ 24286 w 42485"/>
                <a:gd name="connsiteY3" fmla="*/ 15789 h 42485"/>
                <a:gd name="connsiteX4" fmla="*/ 32783 w 42485"/>
                <a:gd name="connsiteY4" fmla="*/ 2428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3" y="24286"/>
                  </a:moveTo>
                  <a:cubicBezTo>
                    <a:pt x="32783" y="28979"/>
                    <a:pt x="28979" y="32783"/>
                    <a:pt x="24286" y="32783"/>
                  </a:cubicBezTo>
                  <a:cubicBezTo>
                    <a:pt x="19593" y="32783"/>
                    <a:pt x="15789" y="28979"/>
                    <a:pt x="15789" y="24286"/>
                  </a:cubicBezTo>
                  <a:cubicBezTo>
                    <a:pt x="15789" y="19593"/>
                    <a:pt x="19593" y="15789"/>
                    <a:pt x="24286" y="15789"/>
                  </a:cubicBezTo>
                  <a:cubicBezTo>
                    <a:pt x="28979" y="15789"/>
                    <a:pt x="32783" y="19593"/>
                    <a:pt x="32783" y="2428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08" name="Freeform: Shape 2107">
              <a:extLst>
                <a:ext uri="{FF2B5EF4-FFF2-40B4-BE49-F238E27FC236}">
                  <a16:creationId xmlns:a16="http://schemas.microsoft.com/office/drawing/2014/main" id="{3398BD9A-E113-49C9-BD4C-FEFDEE2A5DEF}"/>
                </a:ext>
              </a:extLst>
            </p:cNvPr>
            <p:cNvSpPr/>
            <p:nvPr/>
          </p:nvSpPr>
          <p:spPr>
            <a:xfrm>
              <a:off x="9847280" y="5526168"/>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1280"/>
                    <a:pt x="22870" y="49777"/>
                    <a:pt x="32783"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09" name="Freeform: Shape 2108">
              <a:extLst>
                <a:ext uri="{FF2B5EF4-FFF2-40B4-BE49-F238E27FC236}">
                  <a16:creationId xmlns:a16="http://schemas.microsoft.com/office/drawing/2014/main" id="{B3D43372-CBFA-46CE-851D-A2B6489C3B91}"/>
                </a:ext>
              </a:extLst>
            </p:cNvPr>
            <p:cNvSpPr/>
            <p:nvPr/>
          </p:nvSpPr>
          <p:spPr>
            <a:xfrm>
              <a:off x="9226988" y="5316571"/>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8"/>
                    <a:pt x="28534" y="15789"/>
                    <a:pt x="24286" y="15789"/>
                  </a:cubicBezTo>
                  <a:cubicBezTo>
                    <a:pt x="20037" y="15789"/>
                    <a:pt x="15789" y="20038"/>
                    <a:pt x="15789" y="24286"/>
                  </a:cubicBezTo>
                  <a:cubicBezTo>
                    <a:pt x="15789" y="28535"/>
                    <a:pt x="18622"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10" name="Freeform: Shape 2109">
              <a:extLst>
                <a:ext uri="{FF2B5EF4-FFF2-40B4-BE49-F238E27FC236}">
                  <a16:creationId xmlns:a16="http://schemas.microsoft.com/office/drawing/2014/main" id="{177C6424-117D-4A9D-9D21-2C5A9F2D6D2D}"/>
                </a:ext>
              </a:extLst>
            </p:cNvPr>
            <p:cNvSpPr/>
            <p:nvPr/>
          </p:nvSpPr>
          <p:spPr>
            <a:xfrm>
              <a:off x="9192999" y="5157958"/>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7"/>
                    <a:pt x="28535" y="15789"/>
                    <a:pt x="24287" y="15789"/>
                  </a:cubicBezTo>
                  <a:cubicBezTo>
                    <a:pt x="20037" y="15789"/>
                    <a:pt x="15789" y="20037"/>
                    <a:pt x="15789" y="24286"/>
                  </a:cubicBezTo>
                  <a:cubicBezTo>
                    <a:pt x="15789" y="29951"/>
                    <a:pt x="18622" y="32783"/>
                    <a:pt x="24287"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11" name="Freeform: Shape 2110">
              <a:extLst>
                <a:ext uri="{FF2B5EF4-FFF2-40B4-BE49-F238E27FC236}">
                  <a16:creationId xmlns:a16="http://schemas.microsoft.com/office/drawing/2014/main" id="{EBBBF903-49C6-41AF-BF81-190647C3965E}"/>
                </a:ext>
              </a:extLst>
            </p:cNvPr>
            <p:cNvSpPr/>
            <p:nvPr/>
          </p:nvSpPr>
          <p:spPr>
            <a:xfrm>
              <a:off x="9647597" y="5459607"/>
              <a:ext cx="42486" cy="42486"/>
            </a:xfrm>
            <a:custGeom>
              <a:avLst/>
              <a:gdLst>
                <a:gd name="connsiteX0" fmla="*/ 32783 w 42485"/>
                <a:gd name="connsiteY0" fmla="*/ 24286 h 42485"/>
                <a:gd name="connsiteX1" fmla="*/ 24286 w 42485"/>
                <a:gd name="connsiteY1" fmla="*/ 32783 h 42485"/>
                <a:gd name="connsiteX2" fmla="*/ 15789 w 42485"/>
                <a:gd name="connsiteY2" fmla="*/ 24286 h 42485"/>
                <a:gd name="connsiteX3" fmla="*/ 24286 w 42485"/>
                <a:gd name="connsiteY3" fmla="*/ 15789 h 42485"/>
                <a:gd name="connsiteX4" fmla="*/ 32783 w 42485"/>
                <a:gd name="connsiteY4" fmla="*/ 2428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3" y="24286"/>
                  </a:moveTo>
                  <a:cubicBezTo>
                    <a:pt x="32783" y="28979"/>
                    <a:pt x="28979" y="32783"/>
                    <a:pt x="24286" y="32783"/>
                  </a:cubicBezTo>
                  <a:cubicBezTo>
                    <a:pt x="19593" y="32783"/>
                    <a:pt x="15789" y="28979"/>
                    <a:pt x="15789" y="24286"/>
                  </a:cubicBezTo>
                  <a:cubicBezTo>
                    <a:pt x="15789" y="19594"/>
                    <a:pt x="19593" y="15789"/>
                    <a:pt x="24286" y="15789"/>
                  </a:cubicBezTo>
                  <a:cubicBezTo>
                    <a:pt x="28979" y="15789"/>
                    <a:pt x="32783" y="19593"/>
                    <a:pt x="32783" y="2428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12" name="Freeform: Shape 2111">
              <a:extLst>
                <a:ext uri="{FF2B5EF4-FFF2-40B4-BE49-F238E27FC236}">
                  <a16:creationId xmlns:a16="http://schemas.microsoft.com/office/drawing/2014/main" id="{71210B01-C49C-4C06-8821-B7D55CBC1BD7}"/>
                </a:ext>
              </a:extLst>
            </p:cNvPr>
            <p:cNvSpPr/>
            <p:nvPr/>
          </p:nvSpPr>
          <p:spPr>
            <a:xfrm>
              <a:off x="10299045" y="512821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7"/>
                    <a:pt x="28534" y="15789"/>
                    <a:pt x="24286" y="15789"/>
                  </a:cubicBezTo>
                  <a:cubicBezTo>
                    <a:pt x="20037" y="15789"/>
                    <a:pt x="15789" y="20037"/>
                    <a:pt x="15789" y="24286"/>
                  </a:cubicBezTo>
                  <a:cubicBezTo>
                    <a:pt x="15789" y="28535"/>
                    <a:pt x="18621"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13" name="Freeform: Shape 2112">
              <a:extLst>
                <a:ext uri="{FF2B5EF4-FFF2-40B4-BE49-F238E27FC236}">
                  <a16:creationId xmlns:a16="http://schemas.microsoft.com/office/drawing/2014/main" id="{0082226F-15D4-4845-B03E-DFA0B309B5FF}"/>
                </a:ext>
              </a:extLst>
            </p:cNvPr>
            <p:cNvSpPr/>
            <p:nvPr/>
          </p:nvSpPr>
          <p:spPr>
            <a:xfrm>
              <a:off x="10001645" y="5718769"/>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8"/>
                    <a:pt x="28534" y="15789"/>
                    <a:pt x="24286" y="15789"/>
                  </a:cubicBezTo>
                  <a:cubicBezTo>
                    <a:pt x="20037" y="15789"/>
                    <a:pt x="15789" y="20038"/>
                    <a:pt x="15789" y="24286"/>
                  </a:cubicBezTo>
                  <a:cubicBezTo>
                    <a:pt x="15789" y="29951"/>
                    <a:pt x="18621"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14" name="Freeform: Shape 2113">
              <a:extLst>
                <a:ext uri="{FF2B5EF4-FFF2-40B4-BE49-F238E27FC236}">
                  <a16:creationId xmlns:a16="http://schemas.microsoft.com/office/drawing/2014/main" id="{2C1F8F18-A536-4E31-A686-F82B2B0ABC22}"/>
                </a:ext>
              </a:extLst>
            </p:cNvPr>
            <p:cNvSpPr/>
            <p:nvPr/>
          </p:nvSpPr>
          <p:spPr>
            <a:xfrm>
              <a:off x="10253727" y="5543162"/>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8"/>
                    <a:pt x="28534" y="15789"/>
                    <a:pt x="24286" y="15789"/>
                  </a:cubicBezTo>
                  <a:cubicBezTo>
                    <a:pt x="20037" y="15789"/>
                    <a:pt x="15789" y="20038"/>
                    <a:pt x="15789" y="24286"/>
                  </a:cubicBezTo>
                  <a:cubicBezTo>
                    <a:pt x="17205" y="28535"/>
                    <a:pt x="20037"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15" name="Freeform: Shape 2114">
              <a:extLst>
                <a:ext uri="{FF2B5EF4-FFF2-40B4-BE49-F238E27FC236}">
                  <a16:creationId xmlns:a16="http://schemas.microsoft.com/office/drawing/2014/main" id="{729D7D69-0C5B-4521-B0D7-4761246D5B4F}"/>
                </a:ext>
              </a:extLst>
            </p:cNvPr>
            <p:cNvSpPr/>
            <p:nvPr/>
          </p:nvSpPr>
          <p:spPr>
            <a:xfrm>
              <a:off x="10001645" y="5275502"/>
              <a:ext cx="56648" cy="56648"/>
            </a:xfrm>
            <a:custGeom>
              <a:avLst/>
              <a:gdLst>
                <a:gd name="connsiteX0" fmla="*/ 28534 w 56647"/>
                <a:gd name="connsiteY0" fmla="*/ 41280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0"/>
                  </a:moveTo>
                  <a:cubicBezTo>
                    <a:pt x="35615" y="41280"/>
                    <a:pt x="41280" y="35616"/>
                    <a:pt x="41280" y="28535"/>
                  </a:cubicBezTo>
                  <a:cubicBezTo>
                    <a:pt x="41280" y="21454"/>
                    <a:pt x="35615" y="15789"/>
                    <a:pt x="28534" y="15789"/>
                  </a:cubicBezTo>
                  <a:cubicBezTo>
                    <a:pt x="21453" y="15789"/>
                    <a:pt x="15789" y="21454"/>
                    <a:pt x="15789" y="28535"/>
                  </a:cubicBezTo>
                  <a:cubicBezTo>
                    <a:pt x="15789" y="35616"/>
                    <a:pt x="21453" y="41280"/>
                    <a:pt x="28534" y="4128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16" name="Freeform: Shape 2115">
              <a:extLst>
                <a:ext uri="{FF2B5EF4-FFF2-40B4-BE49-F238E27FC236}">
                  <a16:creationId xmlns:a16="http://schemas.microsoft.com/office/drawing/2014/main" id="{FC4A94BE-BFE7-4E35-A170-18C1DF4175D9}"/>
                </a:ext>
              </a:extLst>
            </p:cNvPr>
            <p:cNvSpPr/>
            <p:nvPr/>
          </p:nvSpPr>
          <p:spPr>
            <a:xfrm>
              <a:off x="9328954" y="5081484"/>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17" name="Freeform: Shape 2116">
              <a:extLst>
                <a:ext uri="{FF2B5EF4-FFF2-40B4-BE49-F238E27FC236}">
                  <a16:creationId xmlns:a16="http://schemas.microsoft.com/office/drawing/2014/main" id="{D74B442C-93F4-4784-9635-BFD0E6BC924E}"/>
                </a:ext>
              </a:extLst>
            </p:cNvPr>
            <p:cNvSpPr/>
            <p:nvPr/>
          </p:nvSpPr>
          <p:spPr>
            <a:xfrm>
              <a:off x="9496065" y="4904460"/>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18" name="Freeform: Shape 2117">
              <a:extLst>
                <a:ext uri="{FF2B5EF4-FFF2-40B4-BE49-F238E27FC236}">
                  <a16:creationId xmlns:a16="http://schemas.microsoft.com/office/drawing/2014/main" id="{799C1A40-42C9-4BFB-BD73-23346C8D46BE}"/>
                </a:ext>
              </a:extLst>
            </p:cNvPr>
            <p:cNvSpPr/>
            <p:nvPr/>
          </p:nvSpPr>
          <p:spPr>
            <a:xfrm>
              <a:off x="9474822" y="5527584"/>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19" name="Freeform: Shape 2118">
              <a:extLst>
                <a:ext uri="{FF2B5EF4-FFF2-40B4-BE49-F238E27FC236}">
                  <a16:creationId xmlns:a16="http://schemas.microsoft.com/office/drawing/2014/main" id="{68F7B0E3-A79B-4BB2-A545-07317B7BA427}"/>
                </a:ext>
              </a:extLst>
            </p:cNvPr>
            <p:cNvSpPr/>
            <p:nvPr/>
          </p:nvSpPr>
          <p:spPr>
            <a:xfrm>
              <a:off x="9504562" y="5329317"/>
              <a:ext cx="42486" cy="42486"/>
            </a:xfrm>
            <a:custGeom>
              <a:avLst/>
              <a:gdLst>
                <a:gd name="connsiteX0" fmla="*/ 21454 w 42485"/>
                <a:gd name="connsiteY0" fmla="*/ 27119 h 42485"/>
                <a:gd name="connsiteX1" fmla="*/ 27118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7" y="27119"/>
                    <a:pt x="27118" y="24286"/>
                    <a:pt x="27118" y="21454"/>
                  </a:cubicBezTo>
                  <a:cubicBezTo>
                    <a:pt x="27118" y="18622"/>
                    <a:pt x="24287" y="15789"/>
                    <a:pt x="21454" y="15789"/>
                  </a:cubicBezTo>
                  <a:cubicBezTo>
                    <a:pt x="18622" y="15789"/>
                    <a:pt x="15789" y="18622"/>
                    <a:pt x="15789" y="21454"/>
                  </a:cubicBezTo>
                  <a:cubicBezTo>
                    <a:pt x="15789" y="24286"/>
                    <a:pt x="18622" y="27119"/>
                    <a:pt x="21454" y="2711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20" name="Freeform: Shape 2119">
              <a:extLst>
                <a:ext uri="{FF2B5EF4-FFF2-40B4-BE49-F238E27FC236}">
                  <a16:creationId xmlns:a16="http://schemas.microsoft.com/office/drawing/2014/main" id="{0A898074-DF54-4D49-BD02-046915E747F1}"/>
                </a:ext>
              </a:extLst>
            </p:cNvPr>
            <p:cNvSpPr/>
            <p:nvPr/>
          </p:nvSpPr>
          <p:spPr>
            <a:xfrm>
              <a:off x="9263809" y="5503509"/>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21" name="Freeform: Shape 2120">
              <a:extLst>
                <a:ext uri="{FF2B5EF4-FFF2-40B4-BE49-F238E27FC236}">
                  <a16:creationId xmlns:a16="http://schemas.microsoft.com/office/drawing/2014/main" id="{F7CCDE29-C528-40FE-BFEF-79980B5C5FFF}"/>
                </a:ext>
              </a:extLst>
            </p:cNvPr>
            <p:cNvSpPr/>
            <p:nvPr/>
          </p:nvSpPr>
          <p:spPr>
            <a:xfrm>
              <a:off x="9661759" y="5054576"/>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22" name="Freeform: Shape 2121">
              <a:extLst>
                <a:ext uri="{FF2B5EF4-FFF2-40B4-BE49-F238E27FC236}">
                  <a16:creationId xmlns:a16="http://schemas.microsoft.com/office/drawing/2014/main" id="{51864622-5DE7-4ABB-9E99-F5CF1EEB105B}"/>
                </a:ext>
              </a:extLst>
            </p:cNvPr>
            <p:cNvSpPr/>
            <p:nvPr/>
          </p:nvSpPr>
          <p:spPr>
            <a:xfrm>
              <a:off x="9874188" y="5186282"/>
              <a:ext cx="56648" cy="56648"/>
            </a:xfrm>
            <a:custGeom>
              <a:avLst/>
              <a:gdLst>
                <a:gd name="connsiteX0" fmla="*/ 28534 w 56647"/>
                <a:gd name="connsiteY0" fmla="*/ 41280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0"/>
                  </a:moveTo>
                  <a:cubicBezTo>
                    <a:pt x="35615" y="41280"/>
                    <a:pt x="41280" y="35616"/>
                    <a:pt x="41280" y="28535"/>
                  </a:cubicBezTo>
                  <a:cubicBezTo>
                    <a:pt x="41280" y="21454"/>
                    <a:pt x="35615" y="15789"/>
                    <a:pt x="28534" y="15789"/>
                  </a:cubicBezTo>
                  <a:cubicBezTo>
                    <a:pt x="21453" y="15789"/>
                    <a:pt x="15789" y="21454"/>
                    <a:pt x="15789" y="28535"/>
                  </a:cubicBezTo>
                  <a:cubicBezTo>
                    <a:pt x="15789" y="35616"/>
                    <a:pt x="21453" y="41280"/>
                    <a:pt x="28534" y="4128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23" name="Freeform: Shape 2122">
              <a:extLst>
                <a:ext uri="{FF2B5EF4-FFF2-40B4-BE49-F238E27FC236}">
                  <a16:creationId xmlns:a16="http://schemas.microsoft.com/office/drawing/2014/main" id="{6460A1DE-9FA5-4A64-8673-FF2DF88CA6EA}"/>
                </a:ext>
              </a:extLst>
            </p:cNvPr>
            <p:cNvSpPr/>
            <p:nvPr/>
          </p:nvSpPr>
          <p:spPr>
            <a:xfrm>
              <a:off x="9457827" y="4648130"/>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7" y="15789"/>
                    <a:pt x="15789" y="20037"/>
                    <a:pt x="15789" y="25702"/>
                  </a:cubicBezTo>
                  <a:cubicBezTo>
                    <a:pt x="17205" y="31367"/>
                    <a:pt x="21454"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24" name="Freeform: Shape 2123">
              <a:extLst>
                <a:ext uri="{FF2B5EF4-FFF2-40B4-BE49-F238E27FC236}">
                  <a16:creationId xmlns:a16="http://schemas.microsoft.com/office/drawing/2014/main" id="{DBCA5916-86D2-4A7B-A626-CBA404BC6CA4}"/>
                </a:ext>
              </a:extLst>
            </p:cNvPr>
            <p:cNvSpPr/>
            <p:nvPr/>
          </p:nvSpPr>
          <p:spPr>
            <a:xfrm>
              <a:off x="9285052" y="5533249"/>
              <a:ext cx="70810" cy="70810"/>
            </a:xfrm>
            <a:custGeom>
              <a:avLst/>
              <a:gdLst>
                <a:gd name="connsiteX0" fmla="*/ 38449 w 70809"/>
                <a:gd name="connsiteY0" fmla="*/ 61107 h 70809"/>
                <a:gd name="connsiteX1" fmla="*/ 61107 w 70809"/>
                <a:gd name="connsiteY1" fmla="*/ 38448 h 70809"/>
                <a:gd name="connsiteX2" fmla="*/ 38449 w 70809"/>
                <a:gd name="connsiteY2" fmla="*/ 15789 h 70809"/>
                <a:gd name="connsiteX3" fmla="*/ 15789 w 70809"/>
                <a:gd name="connsiteY3" fmla="*/ 38448 h 70809"/>
                <a:gd name="connsiteX4" fmla="*/ 38449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9" y="61107"/>
                  </a:moveTo>
                  <a:cubicBezTo>
                    <a:pt x="51194" y="61107"/>
                    <a:pt x="61107" y="51194"/>
                    <a:pt x="61107" y="38448"/>
                  </a:cubicBezTo>
                  <a:cubicBezTo>
                    <a:pt x="61107" y="25702"/>
                    <a:pt x="51194" y="15789"/>
                    <a:pt x="38449" y="15789"/>
                  </a:cubicBezTo>
                  <a:cubicBezTo>
                    <a:pt x="25703" y="15789"/>
                    <a:pt x="15789" y="25702"/>
                    <a:pt x="15789" y="38448"/>
                  </a:cubicBezTo>
                  <a:cubicBezTo>
                    <a:pt x="15789" y="51194"/>
                    <a:pt x="25703" y="61107"/>
                    <a:pt x="38449" y="6110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25" name="Freeform: Shape 2124">
              <a:extLst>
                <a:ext uri="{FF2B5EF4-FFF2-40B4-BE49-F238E27FC236}">
                  <a16:creationId xmlns:a16="http://schemas.microsoft.com/office/drawing/2014/main" id="{4DCC1D02-EA75-4CC1-9FE7-4938E71F411A}"/>
                </a:ext>
              </a:extLst>
            </p:cNvPr>
            <p:cNvSpPr/>
            <p:nvPr/>
          </p:nvSpPr>
          <p:spPr>
            <a:xfrm>
              <a:off x="9959160" y="5536081"/>
              <a:ext cx="127457" cy="127457"/>
            </a:xfrm>
            <a:custGeom>
              <a:avLst/>
              <a:gdLst>
                <a:gd name="connsiteX0" fmla="*/ 65356 w 127457"/>
                <a:gd name="connsiteY0" fmla="*/ 114922 h 127457"/>
                <a:gd name="connsiteX1" fmla="*/ 114922 w 127457"/>
                <a:gd name="connsiteY1" fmla="*/ 65356 h 127457"/>
                <a:gd name="connsiteX2" fmla="*/ 65356 w 127457"/>
                <a:gd name="connsiteY2" fmla="*/ 15789 h 127457"/>
                <a:gd name="connsiteX3" fmla="*/ 15789 w 127457"/>
                <a:gd name="connsiteY3" fmla="*/ 65356 h 127457"/>
                <a:gd name="connsiteX4" fmla="*/ 65356 w 127457"/>
                <a:gd name="connsiteY4" fmla="*/ 114922 h 127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57" h="127457">
                  <a:moveTo>
                    <a:pt x="65356" y="114922"/>
                  </a:moveTo>
                  <a:cubicBezTo>
                    <a:pt x="92263" y="114922"/>
                    <a:pt x="114922" y="92263"/>
                    <a:pt x="114922" y="65356"/>
                  </a:cubicBezTo>
                  <a:cubicBezTo>
                    <a:pt x="114922" y="38448"/>
                    <a:pt x="92263" y="15789"/>
                    <a:pt x="65356" y="15789"/>
                  </a:cubicBezTo>
                  <a:cubicBezTo>
                    <a:pt x="38448" y="15789"/>
                    <a:pt x="15789" y="38448"/>
                    <a:pt x="15789" y="65356"/>
                  </a:cubicBezTo>
                  <a:cubicBezTo>
                    <a:pt x="15789" y="92263"/>
                    <a:pt x="38448" y="114922"/>
                    <a:pt x="65356" y="11492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26" name="Freeform: Shape 2125">
              <a:extLst>
                <a:ext uri="{FF2B5EF4-FFF2-40B4-BE49-F238E27FC236}">
                  <a16:creationId xmlns:a16="http://schemas.microsoft.com/office/drawing/2014/main" id="{967D1EDB-F238-43F9-9E9C-D6D0A5F120C9}"/>
                </a:ext>
              </a:extLst>
            </p:cNvPr>
            <p:cNvSpPr/>
            <p:nvPr/>
          </p:nvSpPr>
          <p:spPr>
            <a:xfrm>
              <a:off x="9772222" y="4714690"/>
              <a:ext cx="70810" cy="70810"/>
            </a:xfrm>
            <a:custGeom>
              <a:avLst/>
              <a:gdLst>
                <a:gd name="connsiteX0" fmla="*/ 38448 w 70809"/>
                <a:gd name="connsiteY0" fmla="*/ 61107 h 70809"/>
                <a:gd name="connsiteX1" fmla="*/ 61107 w 70809"/>
                <a:gd name="connsiteY1" fmla="*/ 38448 h 70809"/>
                <a:gd name="connsiteX2" fmla="*/ 38448 w 70809"/>
                <a:gd name="connsiteY2" fmla="*/ 15789 h 70809"/>
                <a:gd name="connsiteX3" fmla="*/ 15789 w 70809"/>
                <a:gd name="connsiteY3" fmla="*/ 38448 h 70809"/>
                <a:gd name="connsiteX4" fmla="*/ 3844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8" y="61107"/>
                  </a:moveTo>
                  <a:cubicBezTo>
                    <a:pt x="51194" y="61107"/>
                    <a:pt x="61107" y="51194"/>
                    <a:pt x="61107" y="38448"/>
                  </a:cubicBezTo>
                  <a:cubicBezTo>
                    <a:pt x="61107" y="25703"/>
                    <a:pt x="51194" y="15789"/>
                    <a:pt x="38448" y="15789"/>
                  </a:cubicBezTo>
                  <a:cubicBezTo>
                    <a:pt x="25703" y="15789"/>
                    <a:pt x="15789" y="25703"/>
                    <a:pt x="15789" y="38448"/>
                  </a:cubicBezTo>
                  <a:cubicBezTo>
                    <a:pt x="15789" y="51194"/>
                    <a:pt x="25703" y="61107"/>
                    <a:pt x="38448" y="6110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27" name="Freeform: Shape 2126">
              <a:extLst>
                <a:ext uri="{FF2B5EF4-FFF2-40B4-BE49-F238E27FC236}">
                  <a16:creationId xmlns:a16="http://schemas.microsoft.com/office/drawing/2014/main" id="{D33D521C-1E85-4637-952C-F3E270187373}"/>
                </a:ext>
              </a:extLst>
            </p:cNvPr>
            <p:cNvSpPr/>
            <p:nvPr/>
          </p:nvSpPr>
          <p:spPr>
            <a:xfrm>
              <a:off x="10123437" y="504607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2697"/>
                    <a:pt x="49778" y="32783"/>
                  </a:cubicBezTo>
                  <a:cubicBezTo>
                    <a:pt x="49778" y="22870"/>
                    <a:pt x="42697" y="15789"/>
                    <a:pt x="32783" y="15789"/>
                  </a:cubicBezTo>
                  <a:cubicBezTo>
                    <a:pt x="22870"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28" name="Freeform: Shape 2127">
              <a:extLst>
                <a:ext uri="{FF2B5EF4-FFF2-40B4-BE49-F238E27FC236}">
                  <a16:creationId xmlns:a16="http://schemas.microsoft.com/office/drawing/2014/main" id="{9CD12075-3BCA-43DE-8ABE-4CBE15F48103}"/>
                </a:ext>
              </a:extLst>
            </p:cNvPr>
            <p:cNvSpPr/>
            <p:nvPr/>
          </p:nvSpPr>
          <p:spPr>
            <a:xfrm>
              <a:off x="9426671" y="5473769"/>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2697"/>
                    <a:pt x="24287" y="49777"/>
                    <a:pt x="32783"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29" name="Freeform: Shape 2128">
              <a:extLst>
                <a:ext uri="{FF2B5EF4-FFF2-40B4-BE49-F238E27FC236}">
                  <a16:creationId xmlns:a16="http://schemas.microsoft.com/office/drawing/2014/main" id="{A0B23FF9-C6DE-4B1B-8B6B-A0755A4B617D}"/>
                </a:ext>
              </a:extLst>
            </p:cNvPr>
            <p:cNvSpPr/>
            <p:nvPr/>
          </p:nvSpPr>
          <p:spPr>
            <a:xfrm>
              <a:off x="9401180" y="5165039"/>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2697"/>
                    <a:pt x="24286" y="49777"/>
                    <a:pt x="32783"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30" name="Freeform: Shape 2129">
              <a:extLst>
                <a:ext uri="{FF2B5EF4-FFF2-40B4-BE49-F238E27FC236}">
                  <a16:creationId xmlns:a16="http://schemas.microsoft.com/office/drawing/2014/main" id="{250144BD-9399-4773-8BD5-742E6E41D1FA}"/>
                </a:ext>
              </a:extLst>
            </p:cNvPr>
            <p:cNvSpPr/>
            <p:nvPr/>
          </p:nvSpPr>
          <p:spPr>
            <a:xfrm>
              <a:off x="9214242" y="521602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2697"/>
                    <a:pt x="49778" y="32783"/>
                  </a:cubicBezTo>
                  <a:cubicBezTo>
                    <a:pt x="49778" y="22870"/>
                    <a:pt x="42697" y="15789"/>
                    <a:pt x="32783" y="15789"/>
                  </a:cubicBezTo>
                  <a:cubicBezTo>
                    <a:pt x="22870" y="15789"/>
                    <a:pt x="15789" y="22870"/>
                    <a:pt x="15789" y="32783"/>
                  </a:cubicBezTo>
                  <a:cubicBezTo>
                    <a:pt x="15789" y="42697"/>
                    <a:pt x="24287"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31" name="Freeform: Shape 2130">
              <a:extLst>
                <a:ext uri="{FF2B5EF4-FFF2-40B4-BE49-F238E27FC236}">
                  <a16:creationId xmlns:a16="http://schemas.microsoft.com/office/drawing/2014/main" id="{3A63E1BC-10D4-4EEB-BAD7-2F9F225E6DED}"/>
                </a:ext>
              </a:extLst>
            </p:cNvPr>
            <p:cNvSpPr/>
            <p:nvPr/>
          </p:nvSpPr>
          <p:spPr>
            <a:xfrm>
              <a:off x="10250895" y="5623885"/>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2697"/>
                    <a:pt x="22870" y="49777"/>
                    <a:pt x="32783"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32" name="Freeform: Shape 2131">
              <a:extLst>
                <a:ext uri="{FF2B5EF4-FFF2-40B4-BE49-F238E27FC236}">
                  <a16:creationId xmlns:a16="http://schemas.microsoft.com/office/drawing/2014/main" id="{A115A667-E7A9-46BA-88B9-D2D8CF2D3EFF}"/>
                </a:ext>
              </a:extLst>
            </p:cNvPr>
            <p:cNvSpPr/>
            <p:nvPr/>
          </p:nvSpPr>
          <p:spPr>
            <a:xfrm>
              <a:off x="10216906" y="5201860"/>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2697"/>
                    <a:pt x="49778" y="32783"/>
                  </a:cubicBezTo>
                  <a:cubicBezTo>
                    <a:pt x="49778" y="22870"/>
                    <a:pt x="42697" y="15789"/>
                    <a:pt x="32783" y="15789"/>
                  </a:cubicBezTo>
                  <a:cubicBezTo>
                    <a:pt x="22870"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33" name="Freeform: Shape 2132">
              <a:extLst>
                <a:ext uri="{FF2B5EF4-FFF2-40B4-BE49-F238E27FC236}">
                  <a16:creationId xmlns:a16="http://schemas.microsoft.com/office/drawing/2014/main" id="{0CA18155-8734-429B-956A-D326BD0354A6}"/>
                </a:ext>
              </a:extLst>
            </p:cNvPr>
            <p:cNvSpPr/>
            <p:nvPr/>
          </p:nvSpPr>
          <p:spPr>
            <a:xfrm>
              <a:off x="10296213" y="5363306"/>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7"/>
                    <a:pt x="28534" y="15789"/>
                    <a:pt x="24286" y="15789"/>
                  </a:cubicBezTo>
                  <a:cubicBezTo>
                    <a:pt x="20037" y="15789"/>
                    <a:pt x="15789" y="20037"/>
                    <a:pt x="15789" y="24286"/>
                  </a:cubicBezTo>
                  <a:cubicBezTo>
                    <a:pt x="15789" y="28535"/>
                    <a:pt x="20037"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34" name="Freeform: Shape 2133">
              <a:extLst>
                <a:ext uri="{FF2B5EF4-FFF2-40B4-BE49-F238E27FC236}">
                  <a16:creationId xmlns:a16="http://schemas.microsoft.com/office/drawing/2014/main" id="{5E87FCF0-C93E-4872-8CEA-8649E30AD611}"/>
                </a:ext>
              </a:extLst>
            </p:cNvPr>
            <p:cNvSpPr/>
            <p:nvPr/>
          </p:nvSpPr>
          <p:spPr>
            <a:xfrm>
              <a:off x="10072455" y="5742845"/>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7"/>
                    <a:pt x="28534" y="15789"/>
                    <a:pt x="24286" y="15789"/>
                  </a:cubicBezTo>
                  <a:cubicBezTo>
                    <a:pt x="20037" y="15789"/>
                    <a:pt x="15789" y="20037"/>
                    <a:pt x="15789" y="24286"/>
                  </a:cubicBezTo>
                  <a:cubicBezTo>
                    <a:pt x="15789" y="28535"/>
                    <a:pt x="20037"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35" name="Freeform: Shape 2134">
              <a:extLst>
                <a:ext uri="{FF2B5EF4-FFF2-40B4-BE49-F238E27FC236}">
                  <a16:creationId xmlns:a16="http://schemas.microsoft.com/office/drawing/2014/main" id="{71060AA4-800F-4AD2-88FC-82323EADC19A}"/>
                </a:ext>
              </a:extLst>
            </p:cNvPr>
            <p:cNvSpPr/>
            <p:nvPr/>
          </p:nvSpPr>
          <p:spPr>
            <a:xfrm>
              <a:off x="10123437" y="5567237"/>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7"/>
                    <a:pt x="28535" y="15789"/>
                    <a:pt x="24286" y="15789"/>
                  </a:cubicBezTo>
                  <a:cubicBezTo>
                    <a:pt x="20037" y="15789"/>
                    <a:pt x="15789" y="20037"/>
                    <a:pt x="15789" y="24286"/>
                  </a:cubicBezTo>
                  <a:cubicBezTo>
                    <a:pt x="15789" y="28535"/>
                    <a:pt x="20037"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36" name="Freeform: Shape 2135">
              <a:extLst>
                <a:ext uri="{FF2B5EF4-FFF2-40B4-BE49-F238E27FC236}">
                  <a16:creationId xmlns:a16="http://schemas.microsoft.com/office/drawing/2014/main" id="{D6738847-A9FE-4F7E-8695-7B0E9356989A}"/>
                </a:ext>
              </a:extLst>
            </p:cNvPr>
            <p:cNvSpPr/>
            <p:nvPr/>
          </p:nvSpPr>
          <p:spPr>
            <a:xfrm>
              <a:off x="10063957" y="4700528"/>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8"/>
                    <a:pt x="28535" y="15789"/>
                    <a:pt x="24287" y="15789"/>
                  </a:cubicBezTo>
                  <a:cubicBezTo>
                    <a:pt x="20037" y="15789"/>
                    <a:pt x="15789" y="20038"/>
                    <a:pt x="15789" y="24286"/>
                  </a:cubicBezTo>
                  <a:cubicBezTo>
                    <a:pt x="15789" y="29951"/>
                    <a:pt x="20037" y="32783"/>
                    <a:pt x="24287"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37" name="Freeform: Shape 2136">
              <a:extLst>
                <a:ext uri="{FF2B5EF4-FFF2-40B4-BE49-F238E27FC236}">
                  <a16:creationId xmlns:a16="http://schemas.microsoft.com/office/drawing/2014/main" id="{26BA2F92-DE3F-429E-924B-6A4E7ACB9A05}"/>
                </a:ext>
              </a:extLst>
            </p:cNvPr>
            <p:cNvSpPr/>
            <p:nvPr/>
          </p:nvSpPr>
          <p:spPr>
            <a:xfrm>
              <a:off x="10253727" y="5040414"/>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8"/>
                    <a:pt x="28534" y="15789"/>
                    <a:pt x="24286" y="15789"/>
                  </a:cubicBezTo>
                  <a:cubicBezTo>
                    <a:pt x="20037" y="15789"/>
                    <a:pt x="15789" y="20038"/>
                    <a:pt x="15789" y="24286"/>
                  </a:cubicBezTo>
                  <a:cubicBezTo>
                    <a:pt x="15789" y="29951"/>
                    <a:pt x="20037"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38" name="Freeform: Shape 2137">
              <a:extLst>
                <a:ext uri="{FF2B5EF4-FFF2-40B4-BE49-F238E27FC236}">
                  <a16:creationId xmlns:a16="http://schemas.microsoft.com/office/drawing/2014/main" id="{A51E2E6F-B004-43D5-9741-527393266929}"/>
                </a:ext>
              </a:extLst>
            </p:cNvPr>
            <p:cNvSpPr/>
            <p:nvPr/>
          </p:nvSpPr>
          <p:spPr>
            <a:xfrm>
              <a:off x="10367022" y="5238681"/>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8"/>
                    <a:pt x="28534"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39" name="Freeform: Shape 2138">
              <a:extLst>
                <a:ext uri="{FF2B5EF4-FFF2-40B4-BE49-F238E27FC236}">
                  <a16:creationId xmlns:a16="http://schemas.microsoft.com/office/drawing/2014/main" id="{687F1A6D-2C4E-46CB-B49C-35073E0D2ED4}"/>
                </a:ext>
              </a:extLst>
            </p:cNvPr>
            <p:cNvSpPr/>
            <p:nvPr/>
          </p:nvSpPr>
          <p:spPr>
            <a:xfrm>
              <a:off x="10364190" y="5434115"/>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7"/>
                    <a:pt x="28535" y="15789"/>
                    <a:pt x="24286" y="15789"/>
                  </a:cubicBezTo>
                  <a:cubicBezTo>
                    <a:pt x="20037" y="15789"/>
                    <a:pt x="15789" y="20037"/>
                    <a:pt x="15789" y="24286"/>
                  </a:cubicBezTo>
                  <a:cubicBezTo>
                    <a:pt x="15789" y="28535"/>
                    <a:pt x="20037"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40" name="Freeform: Shape 2139">
              <a:extLst>
                <a:ext uri="{FF2B5EF4-FFF2-40B4-BE49-F238E27FC236}">
                  <a16:creationId xmlns:a16="http://schemas.microsoft.com/office/drawing/2014/main" id="{8FDB6C4F-BA41-4201-8887-EB14EEEFAADC}"/>
                </a:ext>
              </a:extLst>
            </p:cNvPr>
            <p:cNvSpPr/>
            <p:nvPr/>
          </p:nvSpPr>
          <p:spPr>
            <a:xfrm>
              <a:off x="9268057" y="5057409"/>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7"/>
                    <a:pt x="28535" y="15789"/>
                    <a:pt x="24287" y="15789"/>
                  </a:cubicBezTo>
                  <a:cubicBezTo>
                    <a:pt x="20038" y="15789"/>
                    <a:pt x="15789" y="20037"/>
                    <a:pt x="15789" y="24286"/>
                  </a:cubicBezTo>
                  <a:cubicBezTo>
                    <a:pt x="15789" y="28535"/>
                    <a:pt x="20038" y="32783"/>
                    <a:pt x="24287"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41" name="Freeform: Shape 2140">
              <a:extLst>
                <a:ext uri="{FF2B5EF4-FFF2-40B4-BE49-F238E27FC236}">
                  <a16:creationId xmlns:a16="http://schemas.microsoft.com/office/drawing/2014/main" id="{D5563AA8-ECBB-4195-8906-ABC6746C1F9D}"/>
                </a:ext>
              </a:extLst>
            </p:cNvPr>
            <p:cNvSpPr/>
            <p:nvPr/>
          </p:nvSpPr>
          <p:spPr>
            <a:xfrm>
              <a:off x="9463493" y="4887466"/>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7"/>
                    <a:pt x="28534" y="15789"/>
                    <a:pt x="24286" y="15789"/>
                  </a:cubicBezTo>
                  <a:cubicBezTo>
                    <a:pt x="20037" y="15789"/>
                    <a:pt x="15789" y="20037"/>
                    <a:pt x="15789" y="24286"/>
                  </a:cubicBezTo>
                  <a:cubicBezTo>
                    <a:pt x="15789" y="29951"/>
                    <a:pt x="20037"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42" name="Freeform: Shape 2141">
              <a:extLst>
                <a:ext uri="{FF2B5EF4-FFF2-40B4-BE49-F238E27FC236}">
                  <a16:creationId xmlns:a16="http://schemas.microsoft.com/office/drawing/2014/main" id="{D4117BD1-FDCF-403D-A378-2967DCC17D63}"/>
                </a:ext>
              </a:extLst>
            </p:cNvPr>
            <p:cNvSpPr/>
            <p:nvPr/>
          </p:nvSpPr>
          <p:spPr>
            <a:xfrm>
              <a:off x="9579620" y="4808159"/>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7"/>
                    <a:pt x="28535" y="15789"/>
                    <a:pt x="24287" y="15789"/>
                  </a:cubicBezTo>
                  <a:cubicBezTo>
                    <a:pt x="20038" y="15789"/>
                    <a:pt x="15789" y="20037"/>
                    <a:pt x="15789" y="24286"/>
                  </a:cubicBezTo>
                  <a:cubicBezTo>
                    <a:pt x="15789" y="29951"/>
                    <a:pt x="20038" y="32783"/>
                    <a:pt x="24287"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43" name="Freeform: Shape 2142">
              <a:extLst>
                <a:ext uri="{FF2B5EF4-FFF2-40B4-BE49-F238E27FC236}">
                  <a16:creationId xmlns:a16="http://schemas.microsoft.com/office/drawing/2014/main" id="{B95A17B8-2C6B-4410-8969-B8B6C7A4514F}"/>
                </a:ext>
              </a:extLst>
            </p:cNvPr>
            <p:cNvSpPr/>
            <p:nvPr/>
          </p:nvSpPr>
          <p:spPr>
            <a:xfrm>
              <a:off x="9607943" y="5315155"/>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8"/>
                    <a:pt x="28535" y="15789"/>
                    <a:pt x="24287" y="15789"/>
                  </a:cubicBezTo>
                  <a:cubicBezTo>
                    <a:pt x="20038" y="15789"/>
                    <a:pt x="15789" y="20038"/>
                    <a:pt x="15789" y="24286"/>
                  </a:cubicBezTo>
                  <a:cubicBezTo>
                    <a:pt x="15789" y="28535"/>
                    <a:pt x="20038" y="32783"/>
                    <a:pt x="24287"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44" name="Freeform: Shape 2143">
              <a:extLst>
                <a:ext uri="{FF2B5EF4-FFF2-40B4-BE49-F238E27FC236}">
                  <a16:creationId xmlns:a16="http://schemas.microsoft.com/office/drawing/2014/main" id="{0143D6C8-0DB0-43E4-869E-35B15607D2E6}"/>
                </a:ext>
              </a:extLst>
            </p:cNvPr>
            <p:cNvSpPr/>
            <p:nvPr/>
          </p:nvSpPr>
          <p:spPr>
            <a:xfrm>
              <a:off x="9758060" y="5046079"/>
              <a:ext cx="42486" cy="42486"/>
            </a:xfrm>
            <a:custGeom>
              <a:avLst/>
              <a:gdLst>
                <a:gd name="connsiteX0" fmla="*/ 32784 w 42485"/>
                <a:gd name="connsiteY0" fmla="*/ 24286 h 42485"/>
                <a:gd name="connsiteX1" fmla="*/ 24287 w 42485"/>
                <a:gd name="connsiteY1" fmla="*/ 32783 h 42485"/>
                <a:gd name="connsiteX2" fmla="*/ 15790 w 42485"/>
                <a:gd name="connsiteY2" fmla="*/ 24286 h 42485"/>
                <a:gd name="connsiteX3" fmla="*/ 24287 w 42485"/>
                <a:gd name="connsiteY3" fmla="*/ 15789 h 42485"/>
                <a:gd name="connsiteX4" fmla="*/ 32784 w 42485"/>
                <a:gd name="connsiteY4" fmla="*/ 2428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4" y="24286"/>
                  </a:moveTo>
                  <a:cubicBezTo>
                    <a:pt x="32784" y="28979"/>
                    <a:pt x="28980" y="32783"/>
                    <a:pt x="24287" y="32783"/>
                  </a:cubicBezTo>
                  <a:cubicBezTo>
                    <a:pt x="19594" y="32783"/>
                    <a:pt x="15790" y="28979"/>
                    <a:pt x="15790" y="24286"/>
                  </a:cubicBezTo>
                  <a:cubicBezTo>
                    <a:pt x="15790" y="19593"/>
                    <a:pt x="19594" y="15789"/>
                    <a:pt x="24287" y="15789"/>
                  </a:cubicBezTo>
                  <a:cubicBezTo>
                    <a:pt x="28980" y="15789"/>
                    <a:pt x="32784" y="19593"/>
                    <a:pt x="32784" y="2428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45" name="Freeform: Shape 2144">
              <a:extLst>
                <a:ext uri="{FF2B5EF4-FFF2-40B4-BE49-F238E27FC236}">
                  <a16:creationId xmlns:a16="http://schemas.microsoft.com/office/drawing/2014/main" id="{417A4FF7-697A-4A2B-8FD6-AE8E9E29D6F1}"/>
                </a:ext>
              </a:extLst>
            </p:cNvPr>
            <p:cNvSpPr/>
            <p:nvPr/>
          </p:nvSpPr>
          <p:spPr>
            <a:xfrm>
              <a:off x="9412509" y="5309490"/>
              <a:ext cx="42486" cy="42486"/>
            </a:xfrm>
            <a:custGeom>
              <a:avLst/>
              <a:gdLst>
                <a:gd name="connsiteX0" fmla="*/ 32783 w 42485"/>
                <a:gd name="connsiteY0" fmla="*/ 24286 h 42485"/>
                <a:gd name="connsiteX1" fmla="*/ 24287 w 42485"/>
                <a:gd name="connsiteY1" fmla="*/ 32783 h 42485"/>
                <a:gd name="connsiteX2" fmla="*/ 15790 w 42485"/>
                <a:gd name="connsiteY2" fmla="*/ 24286 h 42485"/>
                <a:gd name="connsiteX3" fmla="*/ 24287 w 42485"/>
                <a:gd name="connsiteY3" fmla="*/ 15789 h 42485"/>
                <a:gd name="connsiteX4" fmla="*/ 32783 w 42485"/>
                <a:gd name="connsiteY4" fmla="*/ 2428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3" y="24286"/>
                  </a:moveTo>
                  <a:cubicBezTo>
                    <a:pt x="32783" y="28979"/>
                    <a:pt x="28979" y="32783"/>
                    <a:pt x="24287" y="32783"/>
                  </a:cubicBezTo>
                  <a:cubicBezTo>
                    <a:pt x="19594" y="32783"/>
                    <a:pt x="15790" y="28979"/>
                    <a:pt x="15790" y="24286"/>
                  </a:cubicBezTo>
                  <a:cubicBezTo>
                    <a:pt x="15790" y="19593"/>
                    <a:pt x="19594" y="15789"/>
                    <a:pt x="24287" y="15789"/>
                  </a:cubicBezTo>
                  <a:cubicBezTo>
                    <a:pt x="28979" y="15789"/>
                    <a:pt x="32783" y="19593"/>
                    <a:pt x="32783" y="2428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46" name="Freeform: Shape 2145">
              <a:extLst>
                <a:ext uri="{FF2B5EF4-FFF2-40B4-BE49-F238E27FC236}">
                  <a16:creationId xmlns:a16="http://schemas.microsoft.com/office/drawing/2014/main" id="{3A8013AA-B403-4222-A918-62B35192FECD}"/>
                </a:ext>
              </a:extLst>
            </p:cNvPr>
            <p:cNvSpPr/>
            <p:nvPr/>
          </p:nvSpPr>
          <p:spPr>
            <a:xfrm>
              <a:off x="9340284" y="5407207"/>
              <a:ext cx="70810" cy="70810"/>
            </a:xfrm>
            <a:custGeom>
              <a:avLst/>
              <a:gdLst>
                <a:gd name="connsiteX0" fmla="*/ 39864 w 70809"/>
                <a:gd name="connsiteY0" fmla="*/ 63940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2610" y="63940"/>
                    <a:pt x="63939" y="52610"/>
                    <a:pt x="63939" y="39864"/>
                  </a:cubicBezTo>
                  <a:cubicBezTo>
                    <a:pt x="63939" y="27119"/>
                    <a:pt x="52610" y="15789"/>
                    <a:pt x="39864" y="15789"/>
                  </a:cubicBezTo>
                  <a:cubicBezTo>
                    <a:pt x="27118" y="15789"/>
                    <a:pt x="15789" y="27119"/>
                    <a:pt x="15789" y="39864"/>
                  </a:cubicBezTo>
                  <a:cubicBezTo>
                    <a:pt x="15789" y="54026"/>
                    <a:pt x="27118" y="63940"/>
                    <a:pt x="39864" y="6394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47" name="Freeform: Shape 2146">
              <a:extLst>
                <a:ext uri="{FF2B5EF4-FFF2-40B4-BE49-F238E27FC236}">
                  <a16:creationId xmlns:a16="http://schemas.microsoft.com/office/drawing/2014/main" id="{479CE92D-38EF-40FF-BEAB-E991B9D1274E}"/>
                </a:ext>
              </a:extLst>
            </p:cNvPr>
            <p:cNvSpPr/>
            <p:nvPr/>
          </p:nvSpPr>
          <p:spPr>
            <a:xfrm>
              <a:off x="9660343" y="5271254"/>
              <a:ext cx="70810" cy="70810"/>
            </a:xfrm>
            <a:custGeom>
              <a:avLst/>
              <a:gdLst>
                <a:gd name="connsiteX0" fmla="*/ 39864 w 70809"/>
                <a:gd name="connsiteY0" fmla="*/ 63939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1" y="63939"/>
                    <a:pt x="63940" y="52610"/>
                    <a:pt x="63940" y="39864"/>
                  </a:cubicBezTo>
                  <a:cubicBezTo>
                    <a:pt x="63940" y="27118"/>
                    <a:pt x="52611" y="15789"/>
                    <a:pt x="39864" y="15789"/>
                  </a:cubicBezTo>
                  <a:cubicBezTo>
                    <a:pt x="27118" y="15789"/>
                    <a:pt x="15789" y="27118"/>
                    <a:pt x="15789" y="39864"/>
                  </a:cubicBezTo>
                  <a:cubicBezTo>
                    <a:pt x="15789" y="54026"/>
                    <a:pt x="27118" y="63939"/>
                    <a:pt x="39864" y="6393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48" name="Freeform: Shape 2147">
              <a:extLst>
                <a:ext uri="{FF2B5EF4-FFF2-40B4-BE49-F238E27FC236}">
                  <a16:creationId xmlns:a16="http://schemas.microsoft.com/office/drawing/2014/main" id="{0E0DCF98-6305-4878-8D9E-18A9713636A3}"/>
                </a:ext>
              </a:extLst>
            </p:cNvPr>
            <p:cNvSpPr/>
            <p:nvPr/>
          </p:nvSpPr>
          <p:spPr>
            <a:xfrm>
              <a:off x="9613519" y="4863390"/>
              <a:ext cx="99133" cy="99133"/>
            </a:xfrm>
            <a:custGeom>
              <a:avLst/>
              <a:gdLst>
                <a:gd name="connsiteX0" fmla="*/ 49867 w 99133"/>
                <a:gd name="connsiteY0" fmla="*/ 83766 h 99133"/>
                <a:gd name="connsiteX1" fmla="*/ 83855 w 99133"/>
                <a:gd name="connsiteY1" fmla="*/ 49777 h 99133"/>
                <a:gd name="connsiteX2" fmla="*/ 49867 w 99133"/>
                <a:gd name="connsiteY2" fmla="*/ 15789 h 99133"/>
                <a:gd name="connsiteX3" fmla="*/ 15878 w 99133"/>
                <a:gd name="connsiteY3" fmla="*/ 49777 h 99133"/>
                <a:gd name="connsiteX4" fmla="*/ 49867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867" y="83766"/>
                  </a:moveTo>
                  <a:cubicBezTo>
                    <a:pt x="68278" y="83766"/>
                    <a:pt x="83855" y="68188"/>
                    <a:pt x="83855" y="49777"/>
                  </a:cubicBezTo>
                  <a:cubicBezTo>
                    <a:pt x="83855" y="31367"/>
                    <a:pt x="68278" y="15789"/>
                    <a:pt x="49867" y="15789"/>
                  </a:cubicBezTo>
                  <a:cubicBezTo>
                    <a:pt x="31456" y="15789"/>
                    <a:pt x="15878" y="31367"/>
                    <a:pt x="15878" y="49777"/>
                  </a:cubicBezTo>
                  <a:cubicBezTo>
                    <a:pt x="14463" y="68188"/>
                    <a:pt x="30040" y="83766"/>
                    <a:pt x="49867" y="8376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49" name="Freeform: Shape 2148">
              <a:extLst>
                <a:ext uri="{FF2B5EF4-FFF2-40B4-BE49-F238E27FC236}">
                  <a16:creationId xmlns:a16="http://schemas.microsoft.com/office/drawing/2014/main" id="{EBC42FC4-50DA-4368-9035-25A62C226164}"/>
                </a:ext>
              </a:extLst>
            </p:cNvPr>
            <p:cNvSpPr/>
            <p:nvPr/>
          </p:nvSpPr>
          <p:spPr>
            <a:xfrm>
              <a:off x="10119189" y="4877552"/>
              <a:ext cx="84971" cy="84971"/>
            </a:xfrm>
            <a:custGeom>
              <a:avLst/>
              <a:gdLst>
                <a:gd name="connsiteX0" fmla="*/ 42696 w 84971"/>
                <a:gd name="connsiteY0" fmla="*/ 69605 h 84971"/>
                <a:gd name="connsiteX1" fmla="*/ 69604 w 84971"/>
                <a:gd name="connsiteY1" fmla="*/ 42697 h 84971"/>
                <a:gd name="connsiteX2" fmla="*/ 42696 w 84971"/>
                <a:gd name="connsiteY2" fmla="*/ 15789 h 84971"/>
                <a:gd name="connsiteX3" fmla="*/ 15789 w 84971"/>
                <a:gd name="connsiteY3" fmla="*/ 42697 h 84971"/>
                <a:gd name="connsiteX4" fmla="*/ 42696 w 84971"/>
                <a:gd name="connsiteY4" fmla="*/ 69605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6" y="69605"/>
                  </a:moveTo>
                  <a:cubicBezTo>
                    <a:pt x="56858" y="69605"/>
                    <a:pt x="69604" y="58275"/>
                    <a:pt x="69604" y="42697"/>
                  </a:cubicBezTo>
                  <a:cubicBezTo>
                    <a:pt x="69604" y="28535"/>
                    <a:pt x="58275" y="15789"/>
                    <a:pt x="42696" y="15789"/>
                  </a:cubicBezTo>
                  <a:cubicBezTo>
                    <a:pt x="28534" y="15789"/>
                    <a:pt x="15789" y="27119"/>
                    <a:pt x="15789" y="42697"/>
                  </a:cubicBezTo>
                  <a:cubicBezTo>
                    <a:pt x="15789" y="58275"/>
                    <a:pt x="28534" y="69605"/>
                    <a:pt x="42696" y="6960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50" name="Freeform: Shape 2149">
              <a:extLst>
                <a:ext uri="{FF2B5EF4-FFF2-40B4-BE49-F238E27FC236}">
                  <a16:creationId xmlns:a16="http://schemas.microsoft.com/office/drawing/2014/main" id="{DEF7B703-9A9F-4F41-928F-3714905303C1}"/>
                </a:ext>
              </a:extLst>
            </p:cNvPr>
            <p:cNvSpPr/>
            <p:nvPr/>
          </p:nvSpPr>
          <p:spPr>
            <a:xfrm>
              <a:off x="10122022" y="5302409"/>
              <a:ext cx="84971" cy="84971"/>
            </a:xfrm>
            <a:custGeom>
              <a:avLst/>
              <a:gdLst>
                <a:gd name="connsiteX0" fmla="*/ 42696 w 84971"/>
                <a:gd name="connsiteY0" fmla="*/ 69605 h 84971"/>
                <a:gd name="connsiteX1" fmla="*/ 69604 w 84971"/>
                <a:gd name="connsiteY1" fmla="*/ 42697 h 84971"/>
                <a:gd name="connsiteX2" fmla="*/ 42696 w 84971"/>
                <a:gd name="connsiteY2" fmla="*/ 15789 h 84971"/>
                <a:gd name="connsiteX3" fmla="*/ 15789 w 84971"/>
                <a:gd name="connsiteY3" fmla="*/ 42697 h 84971"/>
                <a:gd name="connsiteX4" fmla="*/ 42696 w 84971"/>
                <a:gd name="connsiteY4" fmla="*/ 69605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6" y="69605"/>
                  </a:moveTo>
                  <a:cubicBezTo>
                    <a:pt x="56858" y="69605"/>
                    <a:pt x="69604" y="58275"/>
                    <a:pt x="69604" y="42697"/>
                  </a:cubicBezTo>
                  <a:cubicBezTo>
                    <a:pt x="69604" y="28535"/>
                    <a:pt x="58275" y="15789"/>
                    <a:pt x="42696" y="15789"/>
                  </a:cubicBezTo>
                  <a:cubicBezTo>
                    <a:pt x="28534" y="15789"/>
                    <a:pt x="15789" y="27119"/>
                    <a:pt x="15789" y="42697"/>
                  </a:cubicBezTo>
                  <a:cubicBezTo>
                    <a:pt x="15789" y="58275"/>
                    <a:pt x="28534" y="69605"/>
                    <a:pt x="42696" y="6960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51" name="Freeform: Shape 2150">
              <a:extLst>
                <a:ext uri="{FF2B5EF4-FFF2-40B4-BE49-F238E27FC236}">
                  <a16:creationId xmlns:a16="http://schemas.microsoft.com/office/drawing/2014/main" id="{F407F144-DF61-4C6B-A682-16950611D53B}"/>
                </a:ext>
              </a:extLst>
            </p:cNvPr>
            <p:cNvSpPr/>
            <p:nvPr/>
          </p:nvSpPr>
          <p:spPr>
            <a:xfrm>
              <a:off x="10188365" y="5489347"/>
              <a:ext cx="56648" cy="56648"/>
            </a:xfrm>
            <a:custGeom>
              <a:avLst/>
              <a:gdLst>
                <a:gd name="connsiteX0" fmla="*/ 28752 w 56647"/>
                <a:gd name="connsiteY0" fmla="*/ 41280 h 56647"/>
                <a:gd name="connsiteX1" fmla="*/ 41498 w 56647"/>
                <a:gd name="connsiteY1" fmla="*/ 28535 h 56647"/>
                <a:gd name="connsiteX2" fmla="*/ 28752 w 56647"/>
                <a:gd name="connsiteY2" fmla="*/ 15789 h 56647"/>
                <a:gd name="connsiteX3" fmla="*/ 16006 w 56647"/>
                <a:gd name="connsiteY3" fmla="*/ 28535 h 56647"/>
                <a:gd name="connsiteX4" fmla="*/ 28752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752" y="41280"/>
                  </a:moveTo>
                  <a:cubicBezTo>
                    <a:pt x="35833" y="41280"/>
                    <a:pt x="41498" y="35616"/>
                    <a:pt x="41498" y="28535"/>
                  </a:cubicBezTo>
                  <a:cubicBezTo>
                    <a:pt x="41498" y="21454"/>
                    <a:pt x="35833" y="15789"/>
                    <a:pt x="28752" y="15789"/>
                  </a:cubicBezTo>
                  <a:cubicBezTo>
                    <a:pt x="21671" y="15789"/>
                    <a:pt x="16006" y="21454"/>
                    <a:pt x="16006" y="28535"/>
                  </a:cubicBezTo>
                  <a:cubicBezTo>
                    <a:pt x="14590" y="35616"/>
                    <a:pt x="20255" y="41280"/>
                    <a:pt x="28752" y="4128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52" name="Freeform: Shape 2151">
              <a:extLst>
                <a:ext uri="{FF2B5EF4-FFF2-40B4-BE49-F238E27FC236}">
                  <a16:creationId xmlns:a16="http://schemas.microsoft.com/office/drawing/2014/main" id="{484F2820-414B-4F45-97F9-608A7F9C1550}"/>
                </a:ext>
              </a:extLst>
            </p:cNvPr>
            <p:cNvSpPr/>
            <p:nvPr/>
          </p:nvSpPr>
          <p:spPr>
            <a:xfrm>
              <a:off x="10320288" y="5238681"/>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53" name="Freeform: Shape 2152">
              <a:extLst>
                <a:ext uri="{FF2B5EF4-FFF2-40B4-BE49-F238E27FC236}">
                  <a16:creationId xmlns:a16="http://schemas.microsoft.com/office/drawing/2014/main" id="{610FBE2D-117D-4A9F-9A12-296007AD8D09}"/>
                </a:ext>
              </a:extLst>
            </p:cNvPr>
            <p:cNvSpPr/>
            <p:nvPr/>
          </p:nvSpPr>
          <p:spPr>
            <a:xfrm>
              <a:off x="9408261" y="4978102"/>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54" name="Freeform: Shape 2153">
              <a:extLst>
                <a:ext uri="{FF2B5EF4-FFF2-40B4-BE49-F238E27FC236}">
                  <a16:creationId xmlns:a16="http://schemas.microsoft.com/office/drawing/2014/main" id="{4E9A0FBC-D9B6-45FA-A5E1-0460ACAEA583}"/>
                </a:ext>
              </a:extLst>
            </p:cNvPr>
            <p:cNvSpPr/>
            <p:nvPr/>
          </p:nvSpPr>
          <p:spPr>
            <a:xfrm>
              <a:off x="9246815" y="5380300"/>
              <a:ext cx="56648" cy="56648"/>
            </a:xfrm>
            <a:custGeom>
              <a:avLst/>
              <a:gdLst>
                <a:gd name="connsiteX0" fmla="*/ 28535 w 56647"/>
                <a:gd name="connsiteY0" fmla="*/ 41281 h 56647"/>
                <a:gd name="connsiteX1" fmla="*/ 41281 w 56647"/>
                <a:gd name="connsiteY1" fmla="*/ 28535 h 56647"/>
                <a:gd name="connsiteX2" fmla="*/ 28535 w 56647"/>
                <a:gd name="connsiteY2" fmla="*/ 15789 h 56647"/>
                <a:gd name="connsiteX3" fmla="*/ 15789 w 56647"/>
                <a:gd name="connsiteY3" fmla="*/ 28535 h 56647"/>
                <a:gd name="connsiteX4" fmla="*/ 28535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1"/>
                  </a:moveTo>
                  <a:cubicBezTo>
                    <a:pt x="35616" y="41281"/>
                    <a:pt x="41281" y="35616"/>
                    <a:pt x="41281" y="28535"/>
                  </a:cubicBezTo>
                  <a:cubicBezTo>
                    <a:pt x="41281" y="21454"/>
                    <a:pt x="35616" y="15789"/>
                    <a:pt x="28535" y="15789"/>
                  </a:cubicBezTo>
                  <a:cubicBezTo>
                    <a:pt x="21454" y="15789"/>
                    <a:pt x="15789" y="21454"/>
                    <a:pt x="15789" y="28535"/>
                  </a:cubicBezTo>
                  <a:cubicBezTo>
                    <a:pt x="15789" y="35616"/>
                    <a:pt x="21454" y="41281"/>
                    <a:pt x="28535" y="4128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55" name="Freeform: Shape 2154">
              <a:extLst>
                <a:ext uri="{FF2B5EF4-FFF2-40B4-BE49-F238E27FC236}">
                  <a16:creationId xmlns:a16="http://schemas.microsoft.com/office/drawing/2014/main" id="{D6E67EF0-69A2-4CBE-BD91-5F28D3F73E19}"/>
                </a:ext>
              </a:extLst>
            </p:cNvPr>
            <p:cNvSpPr/>
            <p:nvPr/>
          </p:nvSpPr>
          <p:spPr>
            <a:xfrm>
              <a:off x="9504562" y="5091397"/>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4199"/>
                    <a:pt x="21454" y="41280"/>
                    <a:pt x="28535" y="4128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56" name="Freeform: Shape 2155">
              <a:extLst>
                <a:ext uri="{FF2B5EF4-FFF2-40B4-BE49-F238E27FC236}">
                  <a16:creationId xmlns:a16="http://schemas.microsoft.com/office/drawing/2014/main" id="{5AF14E20-8673-48DD-BC12-8D0A8E5C25B6}"/>
                </a:ext>
              </a:extLst>
            </p:cNvPr>
            <p:cNvSpPr/>
            <p:nvPr/>
          </p:nvSpPr>
          <p:spPr>
            <a:xfrm>
              <a:off x="9943581" y="5077235"/>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57" name="Freeform: Shape 2156">
              <a:extLst>
                <a:ext uri="{FF2B5EF4-FFF2-40B4-BE49-F238E27FC236}">
                  <a16:creationId xmlns:a16="http://schemas.microsoft.com/office/drawing/2014/main" id="{93494EB1-A5FF-4F96-A350-3237D7FDDEDD}"/>
                </a:ext>
              </a:extLst>
            </p:cNvPr>
            <p:cNvSpPr/>
            <p:nvPr/>
          </p:nvSpPr>
          <p:spPr>
            <a:xfrm>
              <a:off x="9828870" y="4915790"/>
              <a:ext cx="70810" cy="70810"/>
            </a:xfrm>
            <a:custGeom>
              <a:avLst/>
              <a:gdLst>
                <a:gd name="connsiteX0" fmla="*/ 38448 w 70809"/>
                <a:gd name="connsiteY0" fmla="*/ 61107 h 70809"/>
                <a:gd name="connsiteX1" fmla="*/ 61107 w 70809"/>
                <a:gd name="connsiteY1" fmla="*/ 38448 h 70809"/>
                <a:gd name="connsiteX2" fmla="*/ 38448 w 70809"/>
                <a:gd name="connsiteY2" fmla="*/ 15789 h 70809"/>
                <a:gd name="connsiteX3" fmla="*/ 15789 w 70809"/>
                <a:gd name="connsiteY3" fmla="*/ 38448 h 70809"/>
                <a:gd name="connsiteX4" fmla="*/ 3844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8" y="61107"/>
                  </a:moveTo>
                  <a:cubicBezTo>
                    <a:pt x="51194" y="61107"/>
                    <a:pt x="61107" y="51194"/>
                    <a:pt x="61107" y="38448"/>
                  </a:cubicBezTo>
                  <a:cubicBezTo>
                    <a:pt x="61107" y="25702"/>
                    <a:pt x="51194" y="15789"/>
                    <a:pt x="38448" y="15789"/>
                  </a:cubicBezTo>
                  <a:cubicBezTo>
                    <a:pt x="25703" y="15789"/>
                    <a:pt x="15789" y="25702"/>
                    <a:pt x="15789" y="38448"/>
                  </a:cubicBezTo>
                  <a:cubicBezTo>
                    <a:pt x="15789" y="51194"/>
                    <a:pt x="25703" y="61107"/>
                    <a:pt x="38448" y="6110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58" name="Freeform: Shape 2157">
              <a:extLst>
                <a:ext uri="{FF2B5EF4-FFF2-40B4-BE49-F238E27FC236}">
                  <a16:creationId xmlns:a16="http://schemas.microsoft.com/office/drawing/2014/main" id="{F4AAB9E0-2AC7-4358-ABBE-83DFCB4B3655}"/>
                </a:ext>
              </a:extLst>
            </p:cNvPr>
            <p:cNvSpPr/>
            <p:nvPr/>
          </p:nvSpPr>
          <p:spPr>
            <a:xfrm>
              <a:off x="9721239" y="5394462"/>
              <a:ext cx="70810" cy="70810"/>
            </a:xfrm>
            <a:custGeom>
              <a:avLst/>
              <a:gdLst>
                <a:gd name="connsiteX0" fmla="*/ 61107 w 70809"/>
                <a:gd name="connsiteY0" fmla="*/ 38448 h 70809"/>
                <a:gd name="connsiteX1" fmla="*/ 38448 w 70809"/>
                <a:gd name="connsiteY1" fmla="*/ 61107 h 70809"/>
                <a:gd name="connsiteX2" fmla="*/ 15790 w 70809"/>
                <a:gd name="connsiteY2" fmla="*/ 38448 h 70809"/>
                <a:gd name="connsiteX3" fmla="*/ 38448 w 70809"/>
                <a:gd name="connsiteY3" fmla="*/ 15789 h 70809"/>
                <a:gd name="connsiteX4" fmla="*/ 61107 w 70809"/>
                <a:gd name="connsiteY4" fmla="*/ 38448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1107" y="38448"/>
                  </a:moveTo>
                  <a:cubicBezTo>
                    <a:pt x="61107" y="50962"/>
                    <a:pt x="50962" y="61107"/>
                    <a:pt x="38448" y="61107"/>
                  </a:cubicBezTo>
                  <a:cubicBezTo>
                    <a:pt x="25934" y="61107"/>
                    <a:pt x="15790" y="50962"/>
                    <a:pt x="15790" y="38448"/>
                  </a:cubicBezTo>
                  <a:cubicBezTo>
                    <a:pt x="15790" y="25934"/>
                    <a:pt x="25935" y="15789"/>
                    <a:pt x="38448" y="15789"/>
                  </a:cubicBezTo>
                  <a:cubicBezTo>
                    <a:pt x="50963" y="15789"/>
                    <a:pt x="61107" y="25934"/>
                    <a:pt x="61107" y="3844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59" name="Freeform: Shape 2158">
              <a:extLst>
                <a:ext uri="{FF2B5EF4-FFF2-40B4-BE49-F238E27FC236}">
                  <a16:creationId xmlns:a16="http://schemas.microsoft.com/office/drawing/2014/main" id="{3471E877-7021-4250-8D0B-8C7A9E1759DA}"/>
                </a:ext>
              </a:extLst>
            </p:cNvPr>
            <p:cNvSpPr/>
            <p:nvPr/>
          </p:nvSpPr>
          <p:spPr>
            <a:xfrm>
              <a:off x="10078119" y="5442612"/>
              <a:ext cx="42486" cy="42486"/>
            </a:xfrm>
            <a:custGeom>
              <a:avLst/>
              <a:gdLst>
                <a:gd name="connsiteX0" fmla="*/ 27118 w 42485"/>
                <a:gd name="connsiteY0" fmla="*/ 38448 h 42485"/>
                <a:gd name="connsiteX1" fmla="*/ 38449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9" y="32783"/>
                    <a:pt x="38449" y="27119"/>
                  </a:cubicBezTo>
                  <a:cubicBezTo>
                    <a:pt x="38449" y="21454"/>
                    <a:pt x="32783" y="15789"/>
                    <a:pt x="27118" y="15789"/>
                  </a:cubicBezTo>
                  <a:cubicBezTo>
                    <a:pt x="21454" y="15789"/>
                    <a:pt x="15789" y="21454"/>
                    <a:pt x="15789" y="27119"/>
                  </a:cubicBezTo>
                  <a:cubicBezTo>
                    <a:pt x="15789" y="34200"/>
                    <a:pt x="21454" y="38448"/>
                    <a:pt x="27118" y="3844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60" name="Freeform: Shape 2159">
              <a:extLst>
                <a:ext uri="{FF2B5EF4-FFF2-40B4-BE49-F238E27FC236}">
                  <a16:creationId xmlns:a16="http://schemas.microsoft.com/office/drawing/2014/main" id="{6182676D-FB35-43C7-99DA-00D18E17E8F5}"/>
                </a:ext>
              </a:extLst>
            </p:cNvPr>
            <p:cNvSpPr/>
            <p:nvPr/>
          </p:nvSpPr>
          <p:spPr>
            <a:xfrm>
              <a:off x="10177252" y="5938279"/>
              <a:ext cx="42486" cy="42486"/>
            </a:xfrm>
            <a:custGeom>
              <a:avLst/>
              <a:gdLst>
                <a:gd name="connsiteX0" fmla="*/ 27118 w 42485"/>
                <a:gd name="connsiteY0" fmla="*/ 38448 h 42485"/>
                <a:gd name="connsiteX1" fmla="*/ 38449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9" y="32783"/>
                    <a:pt x="38449" y="27119"/>
                  </a:cubicBezTo>
                  <a:cubicBezTo>
                    <a:pt x="38449" y="21454"/>
                    <a:pt x="32783" y="15789"/>
                    <a:pt x="27118" y="15789"/>
                  </a:cubicBezTo>
                  <a:cubicBezTo>
                    <a:pt x="21454" y="15789"/>
                    <a:pt x="15789" y="21454"/>
                    <a:pt x="15789" y="27119"/>
                  </a:cubicBezTo>
                  <a:cubicBezTo>
                    <a:pt x="15789" y="32783"/>
                    <a:pt x="21454" y="38448"/>
                    <a:pt x="27118" y="3844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61" name="Freeform: Shape 2160">
              <a:extLst>
                <a:ext uri="{FF2B5EF4-FFF2-40B4-BE49-F238E27FC236}">
                  <a16:creationId xmlns:a16="http://schemas.microsoft.com/office/drawing/2014/main" id="{60F069D2-03CB-4D56-AB76-6819D85A7BD7}"/>
                </a:ext>
              </a:extLst>
            </p:cNvPr>
            <p:cNvSpPr/>
            <p:nvPr/>
          </p:nvSpPr>
          <p:spPr>
            <a:xfrm>
              <a:off x="10222571" y="5856140"/>
              <a:ext cx="42486" cy="42486"/>
            </a:xfrm>
            <a:custGeom>
              <a:avLst/>
              <a:gdLst>
                <a:gd name="connsiteX0" fmla="*/ 27118 w 42485"/>
                <a:gd name="connsiteY0" fmla="*/ 38448 h 42485"/>
                <a:gd name="connsiteX1" fmla="*/ 38448 w 42485"/>
                <a:gd name="connsiteY1" fmla="*/ 27118 h 42485"/>
                <a:gd name="connsiteX2" fmla="*/ 27118 w 42485"/>
                <a:gd name="connsiteY2" fmla="*/ 15789 h 42485"/>
                <a:gd name="connsiteX3" fmla="*/ 15789 w 42485"/>
                <a:gd name="connsiteY3" fmla="*/ 27118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8" y="32783"/>
                    <a:pt x="38448" y="27118"/>
                  </a:cubicBezTo>
                  <a:cubicBezTo>
                    <a:pt x="38448" y="21454"/>
                    <a:pt x="32783" y="15789"/>
                    <a:pt x="27118" y="15789"/>
                  </a:cubicBezTo>
                  <a:cubicBezTo>
                    <a:pt x="21454" y="15789"/>
                    <a:pt x="15789" y="21454"/>
                    <a:pt x="15789" y="27118"/>
                  </a:cubicBezTo>
                  <a:cubicBezTo>
                    <a:pt x="15789" y="32783"/>
                    <a:pt x="21454" y="38448"/>
                    <a:pt x="27118" y="3844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62" name="Freeform: Shape 2161">
              <a:extLst>
                <a:ext uri="{FF2B5EF4-FFF2-40B4-BE49-F238E27FC236}">
                  <a16:creationId xmlns:a16="http://schemas.microsoft.com/office/drawing/2014/main" id="{399D6E3B-9871-4A63-90F5-4FBF9E9B549D}"/>
                </a:ext>
              </a:extLst>
            </p:cNvPr>
            <p:cNvSpPr/>
            <p:nvPr/>
          </p:nvSpPr>
          <p:spPr>
            <a:xfrm>
              <a:off x="10029969" y="4952611"/>
              <a:ext cx="42486" cy="42486"/>
            </a:xfrm>
            <a:custGeom>
              <a:avLst/>
              <a:gdLst>
                <a:gd name="connsiteX0" fmla="*/ 27118 w 42485"/>
                <a:gd name="connsiteY0" fmla="*/ 38448 h 42485"/>
                <a:gd name="connsiteX1" fmla="*/ 38448 w 42485"/>
                <a:gd name="connsiteY1" fmla="*/ 27118 h 42485"/>
                <a:gd name="connsiteX2" fmla="*/ 27118 w 42485"/>
                <a:gd name="connsiteY2" fmla="*/ 15789 h 42485"/>
                <a:gd name="connsiteX3" fmla="*/ 15789 w 42485"/>
                <a:gd name="connsiteY3" fmla="*/ 27118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8" y="32783"/>
                    <a:pt x="38448" y="27118"/>
                  </a:cubicBezTo>
                  <a:cubicBezTo>
                    <a:pt x="38448" y="21454"/>
                    <a:pt x="32783" y="15789"/>
                    <a:pt x="27118" y="15789"/>
                  </a:cubicBezTo>
                  <a:cubicBezTo>
                    <a:pt x="21453" y="15789"/>
                    <a:pt x="15789" y="21454"/>
                    <a:pt x="15789" y="27118"/>
                  </a:cubicBezTo>
                  <a:cubicBezTo>
                    <a:pt x="15789" y="34199"/>
                    <a:pt x="21453" y="38448"/>
                    <a:pt x="27118" y="3844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63" name="Freeform: Shape 2162">
              <a:extLst>
                <a:ext uri="{FF2B5EF4-FFF2-40B4-BE49-F238E27FC236}">
                  <a16:creationId xmlns:a16="http://schemas.microsoft.com/office/drawing/2014/main" id="{90507003-1EAB-4627-A68A-4337183C4594}"/>
                </a:ext>
              </a:extLst>
            </p:cNvPr>
            <p:cNvSpPr/>
            <p:nvPr/>
          </p:nvSpPr>
          <p:spPr>
            <a:xfrm>
              <a:off x="9894014" y="4842147"/>
              <a:ext cx="42486" cy="42486"/>
            </a:xfrm>
            <a:custGeom>
              <a:avLst/>
              <a:gdLst>
                <a:gd name="connsiteX0" fmla="*/ 27118 w 42485"/>
                <a:gd name="connsiteY0" fmla="*/ 38448 h 42485"/>
                <a:gd name="connsiteX1" fmla="*/ 38449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9" y="32783"/>
                    <a:pt x="38449" y="27119"/>
                  </a:cubicBezTo>
                  <a:cubicBezTo>
                    <a:pt x="38449" y="21454"/>
                    <a:pt x="32783" y="15789"/>
                    <a:pt x="27118" y="15789"/>
                  </a:cubicBezTo>
                  <a:cubicBezTo>
                    <a:pt x="21454" y="15789"/>
                    <a:pt x="15789" y="21454"/>
                    <a:pt x="15789" y="27119"/>
                  </a:cubicBezTo>
                  <a:cubicBezTo>
                    <a:pt x="15789" y="34200"/>
                    <a:pt x="21454" y="38448"/>
                    <a:pt x="27118" y="3844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64" name="Freeform: Shape 2163">
              <a:extLst>
                <a:ext uri="{FF2B5EF4-FFF2-40B4-BE49-F238E27FC236}">
                  <a16:creationId xmlns:a16="http://schemas.microsoft.com/office/drawing/2014/main" id="{5B100960-ACC1-409A-AAB4-02209B21232D}"/>
                </a:ext>
              </a:extLst>
            </p:cNvPr>
            <p:cNvSpPr/>
            <p:nvPr/>
          </p:nvSpPr>
          <p:spPr>
            <a:xfrm>
              <a:off x="10318872" y="5524752"/>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7"/>
                    <a:pt x="28535" y="15789"/>
                    <a:pt x="24287" y="15789"/>
                  </a:cubicBezTo>
                  <a:cubicBezTo>
                    <a:pt x="20037" y="15789"/>
                    <a:pt x="15789" y="20037"/>
                    <a:pt x="15789" y="24286"/>
                  </a:cubicBezTo>
                  <a:cubicBezTo>
                    <a:pt x="15789" y="28535"/>
                    <a:pt x="20037" y="32783"/>
                    <a:pt x="24287"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65" name="Freeform: Shape 2164">
              <a:extLst>
                <a:ext uri="{FF2B5EF4-FFF2-40B4-BE49-F238E27FC236}">
                  <a16:creationId xmlns:a16="http://schemas.microsoft.com/office/drawing/2014/main" id="{86CBB2CA-7869-4179-B169-50DCF452CA85}"/>
                </a:ext>
              </a:extLst>
            </p:cNvPr>
            <p:cNvSpPr/>
            <p:nvPr/>
          </p:nvSpPr>
          <p:spPr>
            <a:xfrm>
              <a:off x="9735401" y="5354809"/>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7"/>
                    <a:pt x="28535" y="15789"/>
                    <a:pt x="24287" y="15789"/>
                  </a:cubicBezTo>
                  <a:cubicBezTo>
                    <a:pt x="20038" y="15789"/>
                    <a:pt x="15789" y="20037"/>
                    <a:pt x="15789" y="24286"/>
                  </a:cubicBezTo>
                  <a:cubicBezTo>
                    <a:pt x="15789" y="28535"/>
                    <a:pt x="20038" y="32783"/>
                    <a:pt x="24287"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66" name="Freeform: Shape 2165">
              <a:extLst>
                <a:ext uri="{FF2B5EF4-FFF2-40B4-BE49-F238E27FC236}">
                  <a16:creationId xmlns:a16="http://schemas.microsoft.com/office/drawing/2014/main" id="{0B112D52-3712-4A64-8315-0A4DA43855B9}"/>
                </a:ext>
              </a:extLst>
            </p:cNvPr>
            <p:cNvSpPr/>
            <p:nvPr/>
          </p:nvSpPr>
          <p:spPr>
            <a:xfrm>
              <a:off x="9571123" y="5431283"/>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2697"/>
                    <a:pt x="24286" y="49777"/>
                    <a:pt x="32783"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67" name="Freeform: Shape 2166">
              <a:extLst>
                <a:ext uri="{FF2B5EF4-FFF2-40B4-BE49-F238E27FC236}">
                  <a16:creationId xmlns:a16="http://schemas.microsoft.com/office/drawing/2014/main" id="{594A4E5B-191C-4E84-AEF6-217E645463EA}"/>
                </a:ext>
              </a:extLst>
            </p:cNvPr>
            <p:cNvSpPr/>
            <p:nvPr/>
          </p:nvSpPr>
          <p:spPr>
            <a:xfrm>
              <a:off x="9998813" y="5336398"/>
              <a:ext cx="56648" cy="56648"/>
            </a:xfrm>
            <a:custGeom>
              <a:avLst/>
              <a:gdLst>
                <a:gd name="connsiteX0" fmla="*/ 34199 w 56647"/>
                <a:gd name="connsiteY0" fmla="*/ 52610 h 56647"/>
                <a:gd name="connsiteX1" fmla="*/ 52610 w 56647"/>
                <a:gd name="connsiteY1" fmla="*/ 34200 h 56647"/>
                <a:gd name="connsiteX2" fmla="*/ 34199 w 56647"/>
                <a:gd name="connsiteY2" fmla="*/ 15789 h 56647"/>
                <a:gd name="connsiteX3" fmla="*/ 15789 w 56647"/>
                <a:gd name="connsiteY3" fmla="*/ 34200 h 56647"/>
                <a:gd name="connsiteX4" fmla="*/ 34199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199" y="52610"/>
                  </a:moveTo>
                  <a:cubicBezTo>
                    <a:pt x="44113" y="52610"/>
                    <a:pt x="52610" y="44113"/>
                    <a:pt x="52610" y="34200"/>
                  </a:cubicBezTo>
                  <a:cubicBezTo>
                    <a:pt x="52610" y="24286"/>
                    <a:pt x="44113" y="15789"/>
                    <a:pt x="34199" y="15789"/>
                  </a:cubicBezTo>
                  <a:cubicBezTo>
                    <a:pt x="24286" y="15789"/>
                    <a:pt x="15789" y="24286"/>
                    <a:pt x="15789" y="34200"/>
                  </a:cubicBezTo>
                  <a:cubicBezTo>
                    <a:pt x="15789" y="44113"/>
                    <a:pt x="22870" y="52610"/>
                    <a:pt x="34199" y="5261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68" name="Freeform: Shape 2167">
              <a:extLst>
                <a:ext uri="{FF2B5EF4-FFF2-40B4-BE49-F238E27FC236}">
                  <a16:creationId xmlns:a16="http://schemas.microsoft.com/office/drawing/2014/main" id="{20D43F79-ECCE-48B0-8ECD-F9291BBF5A96}"/>
                </a:ext>
              </a:extLst>
            </p:cNvPr>
            <p:cNvSpPr/>
            <p:nvPr/>
          </p:nvSpPr>
          <p:spPr>
            <a:xfrm>
              <a:off x="9481903" y="5020588"/>
              <a:ext cx="56648" cy="56648"/>
            </a:xfrm>
            <a:custGeom>
              <a:avLst/>
              <a:gdLst>
                <a:gd name="connsiteX0" fmla="*/ 34199 w 56647"/>
                <a:gd name="connsiteY0" fmla="*/ 52610 h 56647"/>
                <a:gd name="connsiteX1" fmla="*/ 52610 w 56647"/>
                <a:gd name="connsiteY1" fmla="*/ 34199 h 56647"/>
                <a:gd name="connsiteX2" fmla="*/ 34199 w 56647"/>
                <a:gd name="connsiteY2" fmla="*/ 15789 h 56647"/>
                <a:gd name="connsiteX3" fmla="*/ 15789 w 56647"/>
                <a:gd name="connsiteY3" fmla="*/ 34199 h 56647"/>
                <a:gd name="connsiteX4" fmla="*/ 34199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199" y="52610"/>
                  </a:moveTo>
                  <a:cubicBezTo>
                    <a:pt x="44113" y="52610"/>
                    <a:pt x="52610" y="44113"/>
                    <a:pt x="52610" y="34199"/>
                  </a:cubicBezTo>
                  <a:cubicBezTo>
                    <a:pt x="52610" y="24286"/>
                    <a:pt x="44113" y="15789"/>
                    <a:pt x="34199" y="15789"/>
                  </a:cubicBezTo>
                  <a:cubicBezTo>
                    <a:pt x="24286" y="15789"/>
                    <a:pt x="15789" y="24286"/>
                    <a:pt x="15789" y="34199"/>
                  </a:cubicBezTo>
                  <a:cubicBezTo>
                    <a:pt x="15789" y="44113"/>
                    <a:pt x="24286" y="52610"/>
                    <a:pt x="34199" y="5261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69" name="Freeform: Shape 2168">
              <a:extLst>
                <a:ext uri="{FF2B5EF4-FFF2-40B4-BE49-F238E27FC236}">
                  <a16:creationId xmlns:a16="http://schemas.microsoft.com/office/drawing/2014/main" id="{087ED037-6704-40F8-8604-C6EBA6F87E68}"/>
                </a:ext>
              </a:extLst>
            </p:cNvPr>
            <p:cNvSpPr/>
            <p:nvPr/>
          </p:nvSpPr>
          <p:spPr>
            <a:xfrm>
              <a:off x="10160258" y="5237265"/>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3"/>
                  </a:cubicBezTo>
                  <a:cubicBezTo>
                    <a:pt x="35616" y="20038"/>
                    <a:pt x="31368" y="15789"/>
                    <a:pt x="25703" y="15789"/>
                  </a:cubicBezTo>
                  <a:cubicBezTo>
                    <a:pt x="20038" y="15789"/>
                    <a:pt x="15789" y="20038"/>
                    <a:pt x="15789" y="25703"/>
                  </a:cubicBezTo>
                  <a:cubicBezTo>
                    <a:pt x="15789" y="31367"/>
                    <a:pt x="20038"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70" name="Freeform: Shape 2169">
              <a:extLst>
                <a:ext uri="{FF2B5EF4-FFF2-40B4-BE49-F238E27FC236}">
                  <a16:creationId xmlns:a16="http://schemas.microsoft.com/office/drawing/2014/main" id="{35872D23-DD55-481B-B78B-AE218C331BEE}"/>
                </a:ext>
              </a:extLst>
            </p:cNvPr>
            <p:cNvSpPr/>
            <p:nvPr/>
          </p:nvSpPr>
          <p:spPr>
            <a:xfrm>
              <a:off x="9701413" y="4854893"/>
              <a:ext cx="42486" cy="42486"/>
            </a:xfrm>
            <a:custGeom>
              <a:avLst/>
              <a:gdLst>
                <a:gd name="connsiteX0" fmla="*/ 25703 w 42485"/>
                <a:gd name="connsiteY0" fmla="*/ 35616 h 42485"/>
                <a:gd name="connsiteX1" fmla="*/ 35615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5" y="31367"/>
                    <a:pt x="35615" y="25703"/>
                  </a:cubicBezTo>
                  <a:cubicBezTo>
                    <a:pt x="35615" y="20038"/>
                    <a:pt x="31367"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71" name="Freeform: Shape 2170">
              <a:extLst>
                <a:ext uri="{FF2B5EF4-FFF2-40B4-BE49-F238E27FC236}">
                  <a16:creationId xmlns:a16="http://schemas.microsoft.com/office/drawing/2014/main" id="{F16751C0-9BAF-4F01-8711-96D7188A0344}"/>
                </a:ext>
              </a:extLst>
            </p:cNvPr>
            <p:cNvSpPr/>
            <p:nvPr/>
          </p:nvSpPr>
          <p:spPr>
            <a:xfrm>
              <a:off x="9251064" y="5126802"/>
              <a:ext cx="42486" cy="42486"/>
            </a:xfrm>
            <a:custGeom>
              <a:avLst/>
              <a:gdLst>
                <a:gd name="connsiteX0" fmla="*/ 25702 w 42485"/>
                <a:gd name="connsiteY0" fmla="*/ 35616 h 42485"/>
                <a:gd name="connsiteX1" fmla="*/ 35615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5" y="31367"/>
                    <a:pt x="35615" y="25703"/>
                  </a:cubicBezTo>
                  <a:cubicBezTo>
                    <a:pt x="35615" y="20037"/>
                    <a:pt x="31367" y="15789"/>
                    <a:pt x="25702" y="15789"/>
                  </a:cubicBezTo>
                  <a:cubicBezTo>
                    <a:pt x="20037" y="15789"/>
                    <a:pt x="15789" y="20037"/>
                    <a:pt x="15789" y="25703"/>
                  </a:cubicBezTo>
                  <a:cubicBezTo>
                    <a:pt x="15789" y="31367"/>
                    <a:pt x="20037" y="35616"/>
                    <a:pt x="25702"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72" name="Freeform: Shape 2171">
              <a:extLst>
                <a:ext uri="{FF2B5EF4-FFF2-40B4-BE49-F238E27FC236}">
                  <a16:creationId xmlns:a16="http://schemas.microsoft.com/office/drawing/2014/main" id="{85E03FD6-02FA-47BD-91E5-A1C3DE7F082C}"/>
                </a:ext>
              </a:extLst>
            </p:cNvPr>
            <p:cNvSpPr/>
            <p:nvPr/>
          </p:nvSpPr>
          <p:spPr>
            <a:xfrm>
              <a:off x="9991732" y="5109807"/>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73" name="Freeform: Shape 2172">
              <a:extLst>
                <a:ext uri="{FF2B5EF4-FFF2-40B4-BE49-F238E27FC236}">
                  <a16:creationId xmlns:a16="http://schemas.microsoft.com/office/drawing/2014/main" id="{34BE479C-401E-4EB4-88C6-D64CD5656C7B}"/>
                </a:ext>
              </a:extLst>
            </p:cNvPr>
            <p:cNvSpPr/>
            <p:nvPr/>
          </p:nvSpPr>
          <p:spPr>
            <a:xfrm>
              <a:off x="9664591" y="5179201"/>
              <a:ext cx="70810" cy="70810"/>
            </a:xfrm>
            <a:custGeom>
              <a:avLst/>
              <a:gdLst>
                <a:gd name="connsiteX0" fmla="*/ 66772 w 70809"/>
                <a:gd name="connsiteY0" fmla="*/ 41280 h 70809"/>
                <a:gd name="connsiteX1" fmla="*/ 41281 w 70809"/>
                <a:gd name="connsiteY1" fmla="*/ 66772 h 70809"/>
                <a:gd name="connsiteX2" fmla="*/ 15790 w 70809"/>
                <a:gd name="connsiteY2" fmla="*/ 41280 h 70809"/>
                <a:gd name="connsiteX3" fmla="*/ 41281 w 70809"/>
                <a:gd name="connsiteY3" fmla="*/ 15789 h 70809"/>
                <a:gd name="connsiteX4" fmla="*/ 66772 w 70809"/>
                <a:gd name="connsiteY4" fmla="*/ 4128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6772" y="41280"/>
                  </a:moveTo>
                  <a:cubicBezTo>
                    <a:pt x="66772" y="55359"/>
                    <a:pt x="55359" y="66772"/>
                    <a:pt x="41281" y="66772"/>
                  </a:cubicBezTo>
                  <a:cubicBezTo>
                    <a:pt x="27202" y="66772"/>
                    <a:pt x="15790" y="55359"/>
                    <a:pt x="15790" y="41280"/>
                  </a:cubicBezTo>
                  <a:cubicBezTo>
                    <a:pt x="15790" y="27202"/>
                    <a:pt x="27203" y="15789"/>
                    <a:pt x="41281" y="15789"/>
                  </a:cubicBezTo>
                  <a:cubicBezTo>
                    <a:pt x="55360" y="15789"/>
                    <a:pt x="66772" y="27202"/>
                    <a:pt x="66772" y="4128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74" name="Freeform: Shape 2173">
              <a:extLst>
                <a:ext uri="{FF2B5EF4-FFF2-40B4-BE49-F238E27FC236}">
                  <a16:creationId xmlns:a16="http://schemas.microsoft.com/office/drawing/2014/main" id="{F9F5C886-7B1A-4BDD-B512-15B7BEBF8546}"/>
                </a:ext>
              </a:extLst>
            </p:cNvPr>
            <p:cNvSpPr/>
            <p:nvPr/>
          </p:nvSpPr>
          <p:spPr>
            <a:xfrm>
              <a:off x="10058293" y="4854893"/>
              <a:ext cx="42486" cy="42486"/>
            </a:xfrm>
            <a:custGeom>
              <a:avLst/>
              <a:gdLst>
                <a:gd name="connsiteX0" fmla="*/ 25702 w 42485"/>
                <a:gd name="connsiteY0" fmla="*/ 35616 h 42485"/>
                <a:gd name="connsiteX1" fmla="*/ 35615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5" y="31367"/>
                    <a:pt x="35615" y="25703"/>
                  </a:cubicBezTo>
                  <a:cubicBezTo>
                    <a:pt x="35615" y="20038"/>
                    <a:pt x="31367" y="15789"/>
                    <a:pt x="25702" y="15789"/>
                  </a:cubicBezTo>
                  <a:cubicBezTo>
                    <a:pt x="20037" y="15789"/>
                    <a:pt x="15789" y="20038"/>
                    <a:pt x="15789" y="25703"/>
                  </a:cubicBezTo>
                  <a:cubicBezTo>
                    <a:pt x="15789" y="31367"/>
                    <a:pt x="20037" y="35616"/>
                    <a:pt x="25702"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75" name="Freeform: Shape 2174">
              <a:extLst>
                <a:ext uri="{FF2B5EF4-FFF2-40B4-BE49-F238E27FC236}">
                  <a16:creationId xmlns:a16="http://schemas.microsoft.com/office/drawing/2014/main" id="{99B1307A-BC3C-4194-AC52-4F9FEFBA72AD}"/>
                </a:ext>
              </a:extLst>
            </p:cNvPr>
            <p:cNvSpPr/>
            <p:nvPr/>
          </p:nvSpPr>
          <p:spPr>
            <a:xfrm>
              <a:off x="9531470" y="5472352"/>
              <a:ext cx="42486" cy="42486"/>
            </a:xfrm>
            <a:custGeom>
              <a:avLst/>
              <a:gdLst>
                <a:gd name="connsiteX0" fmla="*/ 25703 w 42485"/>
                <a:gd name="connsiteY0" fmla="*/ 35616 h 42485"/>
                <a:gd name="connsiteX1" fmla="*/ 35615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5" y="31367"/>
                    <a:pt x="35615" y="25703"/>
                  </a:cubicBezTo>
                  <a:cubicBezTo>
                    <a:pt x="35615" y="20038"/>
                    <a:pt x="31367"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76" name="Freeform: Shape 2175">
              <a:extLst>
                <a:ext uri="{FF2B5EF4-FFF2-40B4-BE49-F238E27FC236}">
                  <a16:creationId xmlns:a16="http://schemas.microsoft.com/office/drawing/2014/main" id="{B73248D2-62F7-4C05-8F22-0C7F45EB037C}"/>
                </a:ext>
              </a:extLst>
            </p:cNvPr>
            <p:cNvSpPr/>
            <p:nvPr/>
          </p:nvSpPr>
          <p:spPr>
            <a:xfrm>
              <a:off x="9208578" y="5071571"/>
              <a:ext cx="56648" cy="56648"/>
            </a:xfrm>
            <a:custGeom>
              <a:avLst/>
              <a:gdLst>
                <a:gd name="connsiteX0" fmla="*/ 32783 w 56647"/>
                <a:gd name="connsiteY0" fmla="*/ 49777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6" y="49777"/>
                    <a:pt x="49777" y="42697"/>
                    <a:pt x="49777" y="32783"/>
                  </a:cubicBezTo>
                  <a:cubicBezTo>
                    <a:pt x="49777" y="22870"/>
                    <a:pt x="42696" y="15789"/>
                    <a:pt x="32783" y="15789"/>
                  </a:cubicBezTo>
                  <a:cubicBezTo>
                    <a:pt x="22870" y="15789"/>
                    <a:pt x="15789" y="22870"/>
                    <a:pt x="15789" y="32783"/>
                  </a:cubicBezTo>
                  <a:cubicBezTo>
                    <a:pt x="15789" y="42697"/>
                    <a:pt x="24286" y="49777"/>
                    <a:pt x="32783"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77" name="Freeform: Shape 2176">
              <a:extLst>
                <a:ext uri="{FF2B5EF4-FFF2-40B4-BE49-F238E27FC236}">
                  <a16:creationId xmlns:a16="http://schemas.microsoft.com/office/drawing/2014/main" id="{B3AA2725-0F7B-4C77-BBD9-398FE0489A41}"/>
                </a:ext>
              </a:extLst>
            </p:cNvPr>
            <p:cNvSpPr/>
            <p:nvPr/>
          </p:nvSpPr>
          <p:spPr>
            <a:xfrm>
              <a:off x="10165923" y="5731516"/>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2697"/>
                    <a:pt x="22870" y="49777"/>
                    <a:pt x="32783"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78" name="Freeform: Shape 2177">
              <a:extLst>
                <a:ext uri="{FF2B5EF4-FFF2-40B4-BE49-F238E27FC236}">
                  <a16:creationId xmlns:a16="http://schemas.microsoft.com/office/drawing/2014/main" id="{DE64BB4A-5743-4B9F-BE6D-9305A06BC696}"/>
                </a:ext>
              </a:extLst>
            </p:cNvPr>
            <p:cNvSpPr/>
            <p:nvPr/>
          </p:nvSpPr>
          <p:spPr>
            <a:xfrm>
              <a:off x="6227495" y="2749018"/>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8" y="15789"/>
                    <a:pt x="15789" y="20037"/>
                    <a:pt x="15789" y="25702"/>
                  </a:cubicBezTo>
                  <a:cubicBezTo>
                    <a:pt x="15789" y="31367"/>
                    <a:pt x="20038"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79" name="Freeform: Shape 2178">
              <a:extLst>
                <a:ext uri="{FF2B5EF4-FFF2-40B4-BE49-F238E27FC236}">
                  <a16:creationId xmlns:a16="http://schemas.microsoft.com/office/drawing/2014/main" id="{B318971A-791C-43FC-9613-E0E3C9F09EBE}"/>
                </a:ext>
              </a:extLst>
            </p:cNvPr>
            <p:cNvSpPr/>
            <p:nvPr/>
          </p:nvSpPr>
          <p:spPr>
            <a:xfrm>
              <a:off x="6257235" y="2668295"/>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80" name="Freeform: Shape 2179">
              <a:extLst>
                <a:ext uri="{FF2B5EF4-FFF2-40B4-BE49-F238E27FC236}">
                  <a16:creationId xmlns:a16="http://schemas.microsoft.com/office/drawing/2014/main" id="{AFAFAA29-E0BC-4A13-9A30-029DC08CC766}"/>
                </a:ext>
              </a:extLst>
            </p:cNvPr>
            <p:cNvSpPr/>
            <p:nvPr/>
          </p:nvSpPr>
          <p:spPr>
            <a:xfrm>
              <a:off x="6192090" y="2628641"/>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8" y="15789"/>
                    <a:pt x="15789" y="20037"/>
                    <a:pt x="15789" y="25702"/>
                  </a:cubicBezTo>
                  <a:cubicBezTo>
                    <a:pt x="15789" y="31367"/>
                    <a:pt x="20038"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81" name="Freeform: Shape 2180">
              <a:extLst>
                <a:ext uri="{FF2B5EF4-FFF2-40B4-BE49-F238E27FC236}">
                  <a16:creationId xmlns:a16="http://schemas.microsoft.com/office/drawing/2014/main" id="{38132EF0-0484-4437-BFF2-37D32C01F518}"/>
                </a:ext>
              </a:extLst>
            </p:cNvPr>
            <p:cNvSpPr/>
            <p:nvPr/>
          </p:nvSpPr>
          <p:spPr>
            <a:xfrm>
              <a:off x="6244489" y="2608815"/>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82" name="Freeform: Shape 2181">
              <a:extLst>
                <a:ext uri="{FF2B5EF4-FFF2-40B4-BE49-F238E27FC236}">
                  <a16:creationId xmlns:a16="http://schemas.microsoft.com/office/drawing/2014/main" id="{6BBA1AC2-C49F-4CCB-8F39-A8D29A234E84}"/>
                </a:ext>
              </a:extLst>
            </p:cNvPr>
            <p:cNvSpPr/>
            <p:nvPr/>
          </p:nvSpPr>
          <p:spPr>
            <a:xfrm>
              <a:off x="6621196" y="276459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83" name="Freeform: Shape 2182">
              <a:extLst>
                <a:ext uri="{FF2B5EF4-FFF2-40B4-BE49-F238E27FC236}">
                  <a16:creationId xmlns:a16="http://schemas.microsoft.com/office/drawing/2014/main" id="{E45FBC53-7E8C-4589-9D5C-0571FA4B1220}"/>
                </a:ext>
              </a:extLst>
            </p:cNvPr>
            <p:cNvSpPr/>
            <p:nvPr/>
          </p:nvSpPr>
          <p:spPr>
            <a:xfrm>
              <a:off x="6829376" y="258757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2697"/>
                    <a:pt x="49778" y="32783"/>
                  </a:cubicBezTo>
                  <a:cubicBezTo>
                    <a:pt x="49778" y="22870"/>
                    <a:pt x="42697" y="15789"/>
                    <a:pt x="32783" y="15789"/>
                  </a:cubicBezTo>
                  <a:cubicBezTo>
                    <a:pt x="22870" y="15789"/>
                    <a:pt x="15789" y="22870"/>
                    <a:pt x="15789" y="32783"/>
                  </a:cubicBezTo>
                  <a:cubicBezTo>
                    <a:pt x="15789" y="41280"/>
                    <a:pt x="22870"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84" name="Freeform: Shape 2183">
              <a:extLst>
                <a:ext uri="{FF2B5EF4-FFF2-40B4-BE49-F238E27FC236}">
                  <a16:creationId xmlns:a16="http://schemas.microsoft.com/office/drawing/2014/main" id="{BB5F3223-842C-4AB2-8182-B3349A8117A4}"/>
                </a:ext>
              </a:extLst>
            </p:cNvPr>
            <p:cNvSpPr/>
            <p:nvPr/>
          </p:nvSpPr>
          <p:spPr>
            <a:xfrm>
              <a:off x="6915764" y="2434623"/>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1454"/>
                    <a:pt x="38448" y="15789"/>
                    <a:pt x="29951" y="15789"/>
                  </a:cubicBezTo>
                  <a:cubicBezTo>
                    <a:pt x="22870" y="15789"/>
                    <a:pt x="15789" y="21454"/>
                    <a:pt x="15789" y="29951"/>
                  </a:cubicBezTo>
                  <a:cubicBezTo>
                    <a:pt x="15789" y="38448"/>
                    <a:pt x="21454" y="44113"/>
                    <a:pt x="29951"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85" name="Freeform: Shape 2184">
              <a:extLst>
                <a:ext uri="{FF2B5EF4-FFF2-40B4-BE49-F238E27FC236}">
                  <a16:creationId xmlns:a16="http://schemas.microsoft.com/office/drawing/2014/main" id="{B9E7C65D-11B2-44E5-A2F5-CB6870CE9D7B}"/>
                </a:ext>
              </a:extLst>
            </p:cNvPr>
            <p:cNvSpPr/>
            <p:nvPr/>
          </p:nvSpPr>
          <p:spPr>
            <a:xfrm>
              <a:off x="6379027" y="2400635"/>
              <a:ext cx="70810" cy="70810"/>
            </a:xfrm>
            <a:custGeom>
              <a:avLst/>
              <a:gdLst>
                <a:gd name="connsiteX0" fmla="*/ 37032 w 70809"/>
                <a:gd name="connsiteY0" fmla="*/ 15789 h 70809"/>
                <a:gd name="connsiteX1" fmla="*/ 58275 w 70809"/>
                <a:gd name="connsiteY1" fmla="*/ 37032 h 70809"/>
                <a:gd name="connsiteX2" fmla="*/ 37032 w 70809"/>
                <a:gd name="connsiteY2" fmla="*/ 58275 h 70809"/>
                <a:gd name="connsiteX3" fmla="*/ 15789 w 70809"/>
                <a:gd name="connsiteY3" fmla="*/ 37032 h 70809"/>
                <a:gd name="connsiteX4" fmla="*/ 37032 w 70809"/>
                <a:gd name="connsiteY4" fmla="*/ 15789 h 70809"/>
                <a:gd name="connsiteX5" fmla="*/ 37032 w 70809"/>
                <a:gd name="connsiteY5" fmla="*/ 15789 h 70809"/>
                <a:gd name="connsiteX6" fmla="*/ 37032 w 70809"/>
                <a:gd name="connsiteY6" fmla="*/ 24286 h 70809"/>
                <a:gd name="connsiteX7" fmla="*/ 25702 w 70809"/>
                <a:gd name="connsiteY7" fmla="*/ 35616 h 70809"/>
                <a:gd name="connsiteX8" fmla="*/ 37032 w 70809"/>
                <a:gd name="connsiteY8" fmla="*/ 46945 h 70809"/>
                <a:gd name="connsiteX9" fmla="*/ 48361 w 70809"/>
                <a:gd name="connsiteY9" fmla="*/ 35616 h 70809"/>
                <a:gd name="connsiteX10" fmla="*/ 37032 w 70809"/>
                <a:gd name="connsiteY10" fmla="*/ 24286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37032" y="15789"/>
                  </a:moveTo>
                  <a:cubicBezTo>
                    <a:pt x="48361" y="15789"/>
                    <a:pt x="58275" y="25702"/>
                    <a:pt x="58275" y="37032"/>
                  </a:cubicBezTo>
                  <a:cubicBezTo>
                    <a:pt x="58275" y="48361"/>
                    <a:pt x="48361" y="58275"/>
                    <a:pt x="37032" y="58275"/>
                  </a:cubicBezTo>
                  <a:cubicBezTo>
                    <a:pt x="25702" y="58275"/>
                    <a:pt x="15789" y="48361"/>
                    <a:pt x="15789" y="37032"/>
                  </a:cubicBezTo>
                  <a:cubicBezTo>
                    <a:pt x="15789" y="24286"/>
                    <a:pt x="25702" y="15789"/>
                    <a:pt x="37032" y="15789"/>
                  </a:cubicBezTo>
                  <a:lnTo>
                    <a:pt x="37032" y="15789"/>
                  </a:lnTo>
                  <a:close/>
                  <a:moveTo>
                    <a:pt x="37032" y="24286"/>
                  </a:moveTo>
                  <a:cubicBezTo>
                    <a:pt x="29951" y="24286"/>
                    <a:pt x="25702" y="29951"/>
                    <a:pt x="25702" y="35616"/>
                  </a:cubicBezTo>
                  <a:cubicBezTo>
                    <a:pt x="25702" y="42697"/>
                    <a:pt x="31367" y="46945"/>
                    <a:pt x="37032" y="46945"/>
                  </a:cubicBezTo>
                  <a:cubicBezTo>
                    <a:pt x="44113" y="46945"/>
                    <a:pt x="48361" y="41280"/>
                    <a:pt x="48361" y="35616"/>
                  </a:cubicBezTo>
                  <a:cubicBezTo>
                    <a:pt x="49778" y="29951"/>
                    <a:pt x="44113" y="24286"/>
                    <a:pt x="37032" y="2428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86" name="Freeform: Shape 2185">
              <a:extLst>
                <a:ext uri="{FF2B5EF4-FFF2-40B4-BE49-F238E27FC236}">
                  <a16:creationId xmlns:a16="http://schemas.microsoft.com/office/drawing/2014/main" id="{10DBEBB6-D668-477E-BBB2-48C5DA2CAEAB}"/>
                </a:ext>
              </a:extLst>
            </p:cNvPr>
            <p:cNvSpPr/>
            <p:nvPr/>
          </p:nvSpPr>
          <p:spPr>
            <a:xfrm>
              <a:off x="6870446" y="2812746"/>
              <a:ext cx="70810" cy="70810"/>
            </a:xfrm>
            <a:custGeom>
              <a:avLst/>
              <a:gdLst>
                <a:gd name="connsiteX0" fmla="*/ 37032 w 70809"/>
                <a:gd name="connsiteY0" fmla="*/ 15789 h 70809"/>
                <a:gd name="connsiteX1" fmla="*/ 58275 w 70809"/>
                <a:gd name="connsiteY1" fmla="*/ 37032 h 70809"/>
                <a:gd name="connsiteX2" fmla="*/ 37032 w 70809"/>
                <a:gd name="connsiteY2" fmla="*/ 58275 h 70809"/>
                <a:gd name="connsiteX3" fmla="*/ 15789 w 70809"/>
                <a:gd name="connsiteY3" fmla="*/ 37032 h 70809"/>
                <a:gd name="connsiteX4" fmla="*/ 37032 w 70809"/>
                <a:gd name="connsiteY4" fmla="*/ 15789 h 70809"/>
                <a:gd name="connsiteX5" fmla="*/ 37032 w 70809"/>
                <a:gd name="connsiteY5" fmla="*/ 15789 h 70809"/>
                <a:gd name="connsiteX6" fmla="*/ 37032 w 70809"/>
                <a:gd name="connsiteY6" fmla="*/ 24286 h 70809"/>
                <a:gd name="connsiteX7" fmla="*/ 25703 w 70809"/>
                <a:gd name="connsiteY7" fmla="*/ 35616 h 70809"/>
                <a:gd name="connsiteX8" fmla="*/ 37032 w 70809"/>
                <a:gd name="connsiteY8" fmla="*/ 46945 h 70809"/>
                <a:gd name="connsiteX9" fmla="*/ 48362 w 70809"/>
                <a:gd name="connsiteY9" fmla="*/ 35616 h 70809"/>
                <a:gd name="connsiteX10" fmla="*/ 37032 w 70809"/>
                <a:gd name="connsiteY10" fmla="*/ 24286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37032" y="15789"/>
                  </a:moveTo>
                  <a:cubicBezTo>
                    <a:pt x="48362" y="15789"/>
                    <a:pt x="58275" y="25702"/>
                    <a:pt x="58275" y="37032"/>
                  </a:cubicBezTo>
                  <a:cubicBezTo>
                    <a:pt x="58275" y="48361"/>
                    <a:pt x="48362" y="58275"/>
                    <a:pt x="37032" y="58275"/>
                  </a:cubicBezTo>
                  <a:cubicBezTo>
                    <a:pt x="25703" y="58275"/>
                    <a:pt x="15789" y="48361"/>
                    <a:pt x="15789" y="37032"/>
                  </a:cubicBezTo>
                  <a:cubicBezTo>
                    <a:pt x="15789" y="24286"/>
                    <a:pt x="25703" y="15789"/>
                    <a:pt x="37032" y="15789"/>
                  </a:cubicBezTo>
                  <a:lnTo>
                    <a:pt x="37032" y="15789"/>
                  </a:lnTo>
                  <a:close/>
                  <a:moveTo>
                    <a:pt x="37032" y="24286"/>
                  </a:moveTo>
                  <a:cubicBezTo>
                    <a:pt x="29951" y="24286"/>
                    <a:pt x="25703" y="29951"/>
                    <a:pt x="25703" y="35616"/>
                  </a:cubicBezTo>
                  <a:cubicBezTo>
                    <a:pt x="25703" y="42697"/>
                    <a:pt x="31367" y="46945"/>
                    <a:pt x="37032" y="46945"/>
                  </a:cubicBezTo>
                  <a:cubicBezTo>
                    <a:pt x="44113" y="46945"/>
                    <a:pt x="48362" y="41280"/>
                    <a:pt x="48362" y="35616"/>
                  </a:cubicBezTo>
                  <a:cubicBezTo>
                    <a:pt x="48362" y="29951"/>
                    <a:pt x="44113" y="24286"/>
                    <a:pt x="37032" y="2428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87" name="Freeform: Shape 2186">
              <a:extLst>
                <a:ext uri="{FF2B5EF4-FFF2-40B4-BE49-F238E27FC236}">
                  <a16:creationId xmlns:a16="http://schemas.microsoft.com/office/drawing/2014/main" id="{1056AF17-9701-42A1-9BD4-9B96FF4A0916}"/>
                </a:ext>
              </a:extLst>
            </p:cNvPr>
            <p:cNvSpPr/>
            <p:nvPr/>
          </p:nvSpPr>
          <p:spPr>
            <a:xfrm>
              <a:off x="7687453" y="3223442"/>
              <a:ext cx="70810" cy="70810"/>
            </a:xfrm>
            <a:custGeom>
              <a:avLst/>
              <a:gdLst>
                <a:gd name="connsiteX0" fmla="*/ 35751 w 70809"/>
                <a:gd name="connsiteY0" fmla="*/ 55442 h 70809"/>
                <a:gd name="connsiteX1" fmla="*/ 55578 w 70809"/>
                <a:gd name="connsiteY1" fmla="*/ 35616 h 70809"/>
                <a:gd name="connsiteX2" fmla="*/ 35751 w 70809"/>
                <a:gd name="connsiteY2" fmla="*/ 15789 h 70809"/>
                <a:gd name="connsiteX3" fmla="*/ 15924 w 70809"/>
                <a:gd name="connsiteY3" fmla="*/ 35616 h 70809"/>
                <a:gd name="connsiteX4" fmla="*/ 35751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751" y="55442"/>
                  </a:moveTo>
                  <a:cubicBezTo>
                    <a:pt x="47081" y="55442"/>
                    <a:pt x="55578" y="46945"/>
                    <a:pt x="55578" y="35616"/>
                  </a:cubicBezTo>
                  <a:cubicBezTo>
                    <a:pt x="55578" y="24286"/>
                    <a:pt x="47081" y="15789"/>
                    <a:pt x="35751" y="15789"/>
                  </a:cubicBezTo>
                  <a:cubicBezTo>
                    <a:pt x="24422" y="15789"/>
                    <a:pt x="15924" y="24286"/>
                    <a:pt x="15924" y="35616"/>
                  </a:cubicBezTo>
                  <a:cubicBezTo>
                    <a:pt x="14508" y="46945"/>
                    <a:pt x="24422" y="55442"/>
                    <a:pt x="35751"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88" name="Freeform: Shape 2187">
              <a:extLst>
                <a:ext uri="{FF2B5EF4-FFF2-40B4-BE49-F238E27FC236}">
                  <a16:creationId xmlns:a16="http://schemas.microsoft.com/office/drawing/2014/main" id="{1AE1A6FE-4B16-4646-AB95-B406658D05AE}"/>
                </a:ext>
              </a:extLst>
            </p:cNvPr>
            <p:cNvSpPr/>
            <p:nvPr/>
          </p:nvSpPr>
          <p:spPr>
            <a:xfrm>
              <a:off x="7996318" y="3590235"/>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4286"/>
                    <a:pt x="46945" y="15789"/>
                    <a:pt x="35616" y="15789"/>
                  </a:cubicBezTo>
                  <a:cubicBezTo>
                    <a:pt x="24286" y="15789"/>
                    <a:pt x="15789" y="24286"/>
                    <a:pt x="15789" y="35616"/>
                  </a:cubicBezTo>
                  <a:cubicBezTo>
                    <a:pt x="15789" y="46945"/>
                    <a:pt x="24286" y="55442"/>
                    <a:pt x="35616"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89" name="Freeform: Shape 2188">
              <a:extLst>
                <a:ext uri="{FF2B5EF4-FFF2-40B4-BE49-F238E27FC236}">
                  <a16:creationId xmlns:a16="http://schemas.microsoft.com/office/drawing/2014/main" id="{6DDDE704-3093-48B4-9150-84656D817B35}"/>
                </a:ext>
              </a:extLst>
            </p:cNvPr>
            <p:cNvSpPr/>
            <p:nvPr/>
          </p:nvSpPr>
          <p:spPr>
            <a:xfrm>
              <a:off x="7649351" y="2414796"/>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29" y="55442"/>
                    <a:pt x="55443" y="46945"/>
                    <a:pt x="55443" y="35616"/>
                  </a:cubicBezTo>
                  <a:cubicBezTo>
                    <a:pt x="55443" y="25702"/>
                    <a:pt x="46945" y="15789"/>
                    <a:pt x="35616" y="15789"/>
                  </a:cubicBezTo>
                  <a:cubicBezTo>
                    <a:pt x="25703" y="15789"/>
                    <a:pt x="15789" y="24286"/>
                    <a:pt x="15789" y="35616"/>
                  </a:cubicBezTo>
                  <a:cubicBezTo>
                    <a:pt x="17205" y="46945"/>
                    <a:pt x="25703" y="55442"/>
                    <a:pt x="35616"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90" name="Freeform: Shape 2189">
              <a:extLst>
                <a:ext uri="{FF2B5EF4-FFF2-40B4-BE49-F238E27FC236}">
                  <a16:creationId xmlns:a16="http://schemas.microsoft.com/office/drawing/2014/main" id="{854AB506-6072-409E-8B9C-BEF3C559CB7C}"/>
                </a:ext>
              </a:extLst>
            </p:cNvPr>
            <p:cNvSpPr/>
            <p:nvPr/>
          </p:nvSpPr>
          <p:spPr>
            <a:xfrm>
              <a:off x="8479240" y="3047834"/>
              <a:ext cx="141619" cy="141619"/>
            </a:xfrm>
            <a:custGeom>
              <a:avLst/>
              <a:gdLst>
                <a:gd name="connsiteX0" fmla="*/ 73853 w 141619"/>
                <a:gd name="connsiteY0" fmla="*/ 131917 h 141619"/>
                <a:gd name="connsiteX1" fmla="*/ 131916 w 141619"/>
                <a:gd name="connsiteY1" fmla="*/ 73853 h 141619"/>
                <a:gd name="connsiteX2" fmla="*/ 73853 w 141619"/>
                <a:gd name="connsiteY2" fmla="*/ 15789 h 141619"/>
                <a:gd name="connsiteX3" fmla="*/ 15789 w 141619"/>
                <a:gd name="connsiteY3" fmla="*/ 73853 h 141619"/>
                <a:gd name="connsiteX4" fmla="*/ 73853 w 141619"/>
                <a:gd name="connsiteY4" fmla="*/ 131917 h 141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9" h="141619">
                  <a:moveTo>
                    <a:pt x="73853" y="131917"/>
                  </a:moveTo>
                  <a:cubicBezTo>
                    <a:pt x="106425" y="131917"/>
                    <a:pt x="131916" y="105009"/>
                    <a:pt x="131916" y="73853"/>
                  </a:cubicBezTo>
                  <a:cubicBezTo>
                    <a:pt x="131916" y="41280"/>
                    <a:pt x="105009" y="15789"/>
                    <a:pt x="73853" y="15789"/>
                  </a:cubicBezTo>
                  <a:cubicBezTo>
                    <a:pt x="41280" y="15789"/>
                    <a:pt x="15789" y="42697"/>
                    <a:pt x="15789" y="73853"/>
                  </a:cubicBezTo>
                  <a:cubicBezTo>
                    <a:pt x="15789" y="106425"/>
                    <a:pt x="41280" y="131917"/>
                    <a:pt x="73853" y="13191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91" name="Freeform: Shape 2190">
              <a:extLst>
                <a:ext uri="{FF2B5EF4-FFF2-40B4-BE49-F238E27FC236}">
                  <a16:creationId xmlns:a16="http://schemas.microsoft.com/office/drawing/2014/main" id="{32823861-C85E-4BD0-ACAB-46AD2D9DD429}"/>
                </a:ext>
              </a:extLst>
            </p:cNvPr>
            <p:cNvSpPr/>
            <p:nvPr/>
          </p:nvSpPr>
          <p:spPr>
            <a:xfrm>
              <a:off x="7272644" y="3029423"/>
              <a:ext cx="84971" cy="84971"/>
            </a:xfrm>
            <a:custGeom>
              <a:avLst/>
              <a:gdLst>
                <a:gd name="connsiteX0" fmla="*/ 45529 w 84971"/>
                <a:gd name="connsiteY0" fmla="*/ 75269 h 84971"/>
                <a:gd name="connsiteX1" fmla="*/ 75269 w 84971"/>
                <a:gd name="connsiteY1" fmla="*/ 45529 h 84971"/>
                <a:gd name="connsiteX2" fmla="*/ 45529 w 84971"/>
                <a:gd name="connsiteY2" fmla="*/ 15789 h 84971"/>
                <a:gd name="connsiteX3" fmla="*/ 15789 w 84971"/>
                <a:gd name="connsiteY3" fmla="*/ 45529 h 84971"/>
                <a:gd name="connsiteX4" fmla="*/ 45529 w 84971"/>
                <a:gd name="connsiteY4" fmla="*/ 7526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529" y="75269"/>
                  </a:moveTo>
                  <a:cubicBezTo>
                    <a:pt x="61107" y="75269"/>
                    <a:pt x="75269" y="62523"/>
                    <a:pt x="75269" y="45529"/>
                  </a:cubicBezTo>
                  <a:cubicBezTo>
                    <a:pt x="75269" y="29951"/>
                    <a:pt x="62523" y="15789"/>
                    <a:pt x="45529" y="15789"/>
                  </a:cubicBezTo>
                  <a:cubicBezTo>
                    <a:pt x="28535" y="15789"/>
                    <a:pt x="15789" y="28535"/>
                    <a:pt x="15789" y="45529"/>
                  </a:cubicBezTo>
                  <a:cubicBezTo>
                    <a:pt x="15789" y="62523"/>
                    <a:pt x="29951" y="75269"/>
                    <a:pt x="45529" y="7526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92" name="Freeform: Shape 2191">
              <a:extLst>
                <a:ext uri="{FF2B5EF4-FFF2-40B4-BE49-F238E27FC236}">
                  <a16:creationId xmlns:a16="http://schemas.microsoft.com/office/drawing/2014/main" id="{7A66B906-EC43-452F-9987-21E1344756CD}"/>
                </a:ext>
              </a:extLst>
            </p:cNvPr>
            <p:cNvSpPr/>
            <p:nvPr/>
          </p:nvSpPr>
          <p:spPr>
            <a:xfrm>
              <a:off x="7421344" y="3387720"/>
              <a:ext cx="84971" cy="84971"/>
            </a:xfrm>
            <a:custGeom>
              <a:avLst/>
              <a:gdLst>
                <a:gd name="connsiteX0" fmla="*/ 45529 w 84971"/>
                <a:gd name="connsiteY0" fmla="*/ 75269 h 84971"/>
                <a:gd name="connsiteX1" fmla="*/ 75269 w 84971"/>
                <a:gd name="connsiteY1" fmla="*/ 45529 h 84971"/>
                <a:gd name="connsiteX2" fmla="*/ 45529 w 84971"/>
                <a:gd name="connsiteY2" fmla="*/ 15789 h 84971"/>
                <a:gd name="connsiteX3" fmla="*/ 15789 w 84971"/>
                <a:gd name="connsiteY3" fmla="*/ 45529 h 84971"/>
                <a:gd name="connsiteX4" fmla="*/ 45529 w 84971"/>
                <a:gd name="connsiteY4" fmla="*/ 7526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529" y="75269"/>
                  </a:moveTo>
                  <a:cubicBezTo>
                    <a:pt x="61107" y="75269"/>
                    <a:pt x="75269" y="62523"/>
                    <a:pt x="75269" y="45529"/>
                  </a:cubicBezTo>
                  <a:cubicBezTo>
                    <a:pt x="75269" y="29951"/>
                    <a:pt x="62523" y="15789"/>
                    <a:pt x="45529" y="15789"/>
                  </a:cubicBezTo>
                  <a:cubicBezTo>
                    <a:pt x="29951" y="15789"/>
                    <a:pt x="15789" y="28535"/>
                    <a:pt x="15789" y="45529"/>
                  </a:cubicBezTo>
                  <a:cubicBezTo>
                    <a:pt x="15789" y="62523"/>
                    <a:pt x="28535" y="75269"/>
                    <a:pt x="45529" y="7526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93" name="Freeform: Shape 2192">
              <a:extLst>
                <a:ext uri="{FF2B5EF4-FFF2-40B4-BE49-F238E27FC236}">
                  <a16:creationId xmlns:a16="http://schemas.microsoft.com/office/drawing/2014/main" id="{12C71B02-3517-41AE-81F1-C1914A9E6341}"/>
                </a:ext>
              </a:extLst>
            </p:cNvPr>
            <p:cNvSpPr/>
            <p:nvPr/>
          </p:nvSpPr>
          <p:spPr>
            <a:xfrm>
              <a:off x="6683509" y="2666878"/>
              <a:ext cx="84971" cy="84971"/>
            </a:xfrm>
            <a:custGeom>
              <a:avLst/>
              <a:gdLst>
                <a:gd name="connsiteX0" fmla="*/ 45529 w 84971"/>
                <a:gd name="connsiteY0" fmla="*/ 75269 h 84971"/>
                <a:gd name="connsiteX1" fmla="*/ 75269 w 84971"/>
                <a:gd name="connsiteY1" fmla="*/ 45529 h 84971"/>
                <a:gd name="connsiteX2" fmla="*/ 45529 w 84971"/>
                <a:gd name="connsiteY2" fmla="*/ 15789 h 84971"/>
                <a:gd name="connsiteX3" fmla="*/ 15789 w 84971"/>
                <a:gd name="connsiteY3" fmla="*/ 45529 h 84971"/>
                <a:gd name="connsiteX4" fmla="*/ 45529 w 84971"/>
                <a:gd name="connsiteY4" fmla="*/ 7526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529" y="75269"/>
                  </a:moveTo>
                  <a:cubicBezTo>
                    <a:pt x="61107" y="75269"/>
                    <a:pt x="75269" y="62523"/>
                    <a:pt x="75269" y="45529"/>
                  </a:cubicBezTo>
                  <a:cubicBezTo>
                    <a:pt x="75269" y="29951"/>
                    <a:pt x="62523" y="15789"/>
                    <a:pt x="45529" y="15789"/>
                  </a:cubicBezTo>
                  <a:cubicBezTo>
                    <a:pt x="29951" y="15789"/>
                    <a:pt x="15789" y="28535"/>
                    <a:pt x="15789" y="45529"/>
                  </a:cubicBezTo>
                  <a:cubicBezTo>
                    <a:pt x="15789" y="62523"/>
                    <a:pt x="29951" y="75269"/>
                    <a:pt x="45529" y="7526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94" name="Freeform: Shape 2193">
              <a:extLst>
                <a:ext uri="{FF2B5EF4-FFF2-40B4-BE49-F238E27FC236}">
                  <a16:creationId xmlns:a16="http://schemas.microsoft.com/office/drawing/2014/main" id="{1030326F-D364-4C41-B37B-49E540F7C829}"/>
                </a:ext>
              </a:extLst>
            </p:cNvPr>
            <p:cNvSpPr/>
            <p:nvPr/>
          </p:nvSpPr>
          <p:spPr>
            <a:xfrm>
              <a:off x="7145032" y="3411795"/>
              <a:ext cx="56648" cy="56648"/>
            </a:xfrm>
            <a:custGeom>
              <a:avLst/>
              <a:gdLst>
                <a:gd name="connsiteX0" fmla="*/ 32938 w 56647"/>
                <a:gd name="connsiteY0" fmla="*/ 49778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8"/>
                  </a:moveTo>
                  <a:cubicBezTo>
                    <a:pt x="42852" y="49778"/>
                    <a:pt x="49933" y="41280"/>
                    <a:pt x="49933" y="32783"/>
                  </a:cubicBezTo>
                  <a:cubicBezTo>
                    <a:pt x="49933" y="22870"/>
                    <a:pt x="41435" y="15789"/>
                    <a:pt x="32938" y="15789"/>
                  </a:cubicBezTo>
                  <a:cubicBezTo>
                    <a:pt x="23025" y="15789"/>
                    <a:pt x="15944" y="24286"/>
                    <a:pt x="15944" y="32783"/>
                  </a:cubicBezTo>
                  <a:cubicBezTo>
                    <a:pt x="14528" y="41280"/>
                    <a:pt x="23025" y="49778"/>
                    <a:pt x="32938"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95" name="Freeform: Shape 2194">
              <a:extLst>
                <a:ext uri="{FF2B5EF4-FFF2-40B4-BE49-F238E27FC236}">
                  <a16:creationId xmlns:a16="http://schemas.microsoft.com/office/drawing/2014/main" id="{4E67C854-6ADC-4201-B080-47E573AD47BB}"/>
                </a:ext>
              </a:extLst>
            </p:cNvPr>
            <p:cNvSpPr/>
            <p:nvPr/>
          </p:nvSpPr>
          <p:spPr>
            <a:xfrm>
              <a:off x="7089955" y="3098817"/>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1280"/>
                    <a:pt x="49778" y="32783"/>
                  </a:cubicBezTo>
                  <a:cubicBezTo>
                    <a:pt x="49778" y="22870"/>
                    <a:pt x="41281" y="15789"/>
                    <a:pt x="32783" y="15789"/>
                  </a:cubicBezTo>
                  <a:cubicBezTo>
                    <a:pt x="22870" y="15789"/>
                    <a:pt x="15789" y="24286"/>
                    <a:pt x="15789" y="32783"/>
                  </a:cubicBezTo>
                  <a:cubicBezTo>
                    <a:pt x="15789" y="41280"/>
                    <a:pt x="24286" y="49777"/>
                    <a:pt x="32783"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96" name="Freeform: Shape 2195">
              <a:extLst>
                <a:ext uri="{FF2B5EF4-FFF2-40B4-BE49-F238E27FC236}">
                  <a16:creationId xmlns:a16="http://schemas.microsoft.com/office/drawing/2014/main" id="{BF684EB3-6C5A-4A76-8242-1A03577CA85E}"/>
                </a:ext>
              </a:extLst>
            </p:cNvPr>
            <p:cNvSpPr/>
            <p:nvPr/>
          </p:nvSpPr>
          <p:spPr>
            <a:xfrm>
              <a:off x="7501912" y="3486853"/>
              <a:ext cx="56648" cy="56648"/>
            </a:xfrm>
            <a:custGeom>
              <a:avLst/>
              <a:gdLst>
                <a:gd name="connsiteX0" fmla="*/ 32938 w 56647"/>
                <a:gd name="connsiteY0" fmla="*/ 49778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8"/>
                  </a:moveTo>
                  <a:cubicBezTo>
                    <a:pt x="42852" y="49778"/>
                    <a:pt x="49933" y="41280"/>
                    <a:pt x="49933" y="32783"/>
                  </a:cubicBezTo>
                  <a:cubicBezTo>
                    <a:pt x="49933" y="22870"/>
                    <a:pt x="41436" y="15789"/>
                    <a:pt x="32938" y="15789"/>
                  </a:cubicBezTo>
                  <a:cubicBezTo>
                    <a:pt x="23025" y="15789"/>
                    <a:pt x="15944" y="24286"/>
                    <a:pt x="15944" y="32783"/>
                  </a:cubicBezTo>
                  <a:cubicBezTo>
                    <a:pt x="14528" y="41280"/>
                    <a:pt x="23025" y="49778"/>
                    <a:pt x="32938"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97" name="Freeform: Shape 2196">
              <a:extLst>
                <a:ext uri="{FF2B5EF4-FFF2-40B4-BE49-F238E27FC236}">
                  <a16:creationId xmlns:a16="http://schemas.microsoft.com/office/drawing/2014/main" id="{1D0E2EF8-8899-4A68-9D5C-C2F511473225}"/>
                </a:ext>
              </a:extLst>
            </p:cNvPr>
            <p:cNvSpPr/>
            <p:nvPr/>
          </p:nvSpPr>
          <p:spPr>
            <a:xfrm>
              <a:off x="6829221" y="2945868"/>
              <a:ext cx="56648" cy="56648"/>
            </a:xfrm>
            <a:custGeom>
              <a:avLst/>
              <a:gdLst>
                <a:gd name="connsiteX0" fmla="*/ 32938 w 56647"/>
                <a:gd name="connsiteY0" fmla="*/ 49777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7"/>
                  </a:moveTo>
                  <a:cubicBezTo>
                    <a:pt x="42852" y="49777"/>
                    <a:pt x="49933" y="41280"/>
                    <a:pt x="49933" y="32783"/>
                  </a:cubicBezTo>
                  <a:cubicBezTo>
                    <a:pt x="49933" y="22870"/>
                    <a:pt x="41436" y="15789"/>
                    <a:pt x="32938" y="15789"/>
                  </a:cubicBezTo>
                  <a:cubicBezTo>
                    <a:pt x="23025" y="15789"/>
                    <a:pt x="15944" y="24286"/>
                    <a:pt x="15944" y="32783"/>
                  </a:cubicBezTo>
                  <a:cubicBezTo>
                    <a:pt x="14528" y="42697"/>
                    <a:pt x="23025" y="49777"/>
                    <a:pt x="32938"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98" name="Freeform: Shape 2197">
              <a:extLst>
                <a:ext uri="{FF2B5EF4-FFF2-40B4-BE49-F238E27FC236}">
                  <a16:creationId xmlns:a16="http://schemas.microsoft.com/office/drawing/2014/main" id="{EB122A67-EBA5-4754-9761-03137CA26353}"/>
                </a:ext>
              </a:extLst>
            </p:cNvPr>
            <p:cNvSpPr/>
            <p:nvPr/>
          </p:nvSpPr>
          <p:spPr>
            <a:xfrm>
              <a:off x="7227326" y="3205031"/>
              <a:ext cx="84971" cy="84971"/>
            </a:xfrm>
            <a:custGeom>
              <a:avLst/>
              <a:gdLst>
                <a:gd name="connsiteX0" fmla="*/ 45529 w 84971"/>
                <a:gd name="connsiteY0" fmla="*/ 15789 h 84971"/>
                <a:gd name="connsiteX1" fmla="*/ 75269 w 84971"/>
                <a:gd name="connsiteY1" fmla="*/ 45529 h 84971"/>
                <a:gd name="connsiteX2" fmla="*/ 45529 w 84971"/>
                <a:gd name="connsiteY2" fmla="*/ 75269 h 84971"/>
                <a:gd name="connsiteX3" fmla="*/ 15789 w 84971"/>
                <a:gd name="connsiteY3" fmla="*/ 45529 h 84971"/>
                <a:gd name="connsiteX4" fmla="*/ 45529 w 84971"/>
                <a:gd name="connsiteY4" fmla="*/ 15789 h 84971"/>
                <a:gd name="connsiteX5" fmla="*/ 45529 w 84971"/>
                <a:gd name="connsiteY5" fmla="*/ 15789 h 84971"/>
                <a:gd name="connsiteX6" fmla="*/ 45529 w 84971"/>
                <a:gd name="connsiteY6" fmla="*/ 28535 h 84971"/>
                <a:gd name="connsiteX7" fmla="*/ 28535 w 84971"/>
                <a:gd name="connsiteY7" fmla="*/ 45529 h 84971"/>
                <a:gd name="connsiteX8" fmla="*/ 45529 w 84971"/>
                <a:gd name="connsiteY8" fmla="*/ 62523 h 84971"/>
                <a:gd name="connsiteX9" fmla="*/ 62523 w 84971"/>
                <a:gd name="connsiteY9" fmla="*/ 45529 h 84971"/>
                <a:gd name="connsiteX10" fmla="*/ 45529 w 84971"/>
                <a:gd name="connsiteY10" fmla="*/ 28535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5529" y="15789"/>
                  </a:moveTo>
                  <a:cubicBezTo>
                    <a:pt x="62523" y="15789"/>
                    <a:pt x="75269" y="28535"/>
                    <a:pt x="75269" y="45529"/>
                  </a:cubicBezTo>
                  <a:cubicBezTo>
                    <a:pt x="75269" y="62523"/>
                    <a:pt x="62523" y="75269"/>
                    <a:pt x="45529" y="75269"/>
                  </a:cubicBezTo>
                  <a:cubicBezTo>
                    <a:pt x="28535" y="75269"/>
                    <a:pt x="15789" y="62523"/>
                    <a:pt x="15789" y="45529"/>
                  </a:cubicBezTo>
                  <a:cubicBezTo>
                    <a:pt x="15789" y="28535"/>
                    <a:pt x="28535" y="15789"/>
                    <a:pt x="45529" y="15789"/>
                  </a:cubicBezTo>
                  <a:lnTo>
                    <a:pt x="45529" y="15789"/>
                  </a:lnTo>
                  <a:close/>
                  <a:moveTo>
                    <a:pt x="45529" y="28535"/>
                  </a:moveTo>
                  <a:cubicBezTo>
                    <a:pt x="35616" y="28535"/>
                    <a:pt x="28535" y="35616"/>
                    <a:pt x="28535" y="45529"/>
                  </a:cubicBezTo>
                  <a:cubicBezTo>
                    <a:pt x="28535" y="55442"/>
                    <a:pt x="35616" y="62523"/>
                    <a:pt x="45529" y="62523"/>
                  </a:cubicBezTo>
                  <a:cubicBezTo>
                    <a:pt x="55442" y="62523"/>
                    <a:pt x="62523" y="55442"/>
                    <a:pt x="62523" y="45529"/>
                  </a:cubicBezTo>
                  <a:cubicBezTo>
                    <a:pt x="62523" y="35616"/>
                    <a:pt x="54026" y="28535"/>
                    <a:pt x="45529" y="2853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199" name="Freeform: Shape 2198">
              <a:extLst>
                <a:ext uri="{FF2B5EF4-FFF2-40B4-BE49-F238E27FC236}">
                  <a16:creationId xmlns:a16="http://schemas.microsoft.com/office/drawing/2014/main" id="{37A8B6EF-4B18-4A92-AAA9-F5F9520A4E08}"/>
                </a:ext>
              </a:extLst>
            </p:cNvPr>
            <p:cNvSpPr/>
            <p:nvPr/>
          </p:nvSpPr>
          <p:spPr>
            <a:xfrm>
              <a:off x="7451084" y="3258846"/>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8" y="15789"/>
                    <a:pt x="15789" y="20037"/>
                    <a:pt x="15789" y="25702"/>
                  </a:cubicBezTo>
                  <a:cubicBezTo>
                    <a:pt x="15789" y="31367"/>
                    <a:pt x="20038"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00" name="Freeform: Shape 2199">
              <a:extLst>
                <a:ext uri="{FF2B5EF4-FFF2-40B4-BE49-F238E27FC236}">
                  <a16:creationId xmlns:a16="http://schemas.microsoft.com/office/drawing/2014/main" id="{634F350C-37BE-4151-841D-277FEABF3B79}"/>
                </a:ext>
              </a:extLst>
            </p:cNvPr>
            <p:cNvSpPr/>
            <p:nvPr/>
          </p:nvSpPr>
          <p:spPr>
            <a:xfrm>
              <a:off x="7561547" y="3372142"/>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7"/>
                    <a:pt x="31367" y="15789"/>
                    <a:pt x="25702" y="15789"/>
                  </a:cubicBezTo>
                  <a:cubicBezTo>
                    <a:pt x="20037" y="15789"/>
                    <a:pt x="15789" y="20037"/>
                    <a:pt x="15789" y="25702"/>
                  </a:cubicBezTo>
                  <a:cubicBezTo>
                    <a:pt x="15789" y="31367"/>
                    <a:pt x="20037" y="35616"/>
                    <a:pt x="25702"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01" name="Freeform: Shape 2200">
              <a:extLst>
                <a:ext uri="{FF2B5EF4-FFF2-40B4-BE49-F238E27FC236}">
                  <a16:creationId xmlns:a16="http://schemas.microsoft.com/office/drawing/2014/main" id="{91C488C1-9BDB-4093-927B-F2E7B25DB8FC}"/>
                </a:ext>
              </a:extLst>
            </p:cNvPr>
            <p:cNvSpPr/>
            <p:nvPr/>
          </p:nvSpPr>
          <p:spPr>
            <a:xfrm>
              <a:off x="8150548" y="3935785"/>
              <a:ext cx="70810" cy="70810"/>
            </a:xfrm>
            <a:custGeom>
              <a:avLst/>
              <a:gdLst>
                <a:gd name="connsiteX0" fmla="*/ 38582 w 70809"/>
                <a:gd name="connsiteY0" fmla="*/ 61107 h 70809"/>
                <a:gd name="connsiteX1" fmla="*/ 61242 w 70809"/>
                <a:gd name="connsiteY1" fmla="*/ 38448 h 70809"/>
                <a:gd name="connsiteX2" fmla="*/ 38582 w 70809"/>
                <a:gd name="connsiteY2" fmla="*/ 15789 h 70809"/>
                <a:gd name="connsiteX3" fmla="*/ 15924 w 70809"/>
                <a:gd name="connsiteY3" fmla="*/ 38448 h 70809"/>
                <a:gd name="connsiteX4" fmla="*/ 38582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582" y="61107"/>
                  </a:moveTo>
                  <a:cubicBezTo>
                    <a:pt x="51328" y="61107"/>
                    <a:pt x="61242" y="51194"/>
                    <a:pt x="61242" y="38448"/>
                  </a:cubicBezTo>
                  <a:cubicBezTo>
                    <a:pt x="61242" y="25703"/>
                    <a:pt x="51328" y="15789"/>
                    <a:pt x="38582" y="15789"/>
                  </a:cubicBezTo>
                  <a:cubicBezTo>
                    <a:pt x="25837" y="15789"/>
                    <a:pt x="15924" y="25703"/>
                    <a:pt x="15924" y="38448"/>
                  </a:cubicBezTo>
                  <a:cubicBezTo>
                    <a:pt x="14507" y="49777"/>
                    <a:pt x="24420" y="61107"/>
                    <a:pt x="38582" y="6110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02" name="Freeform: Shape 2201">
              <a:extLst>
                <a:ext uri="{FF2B5EF4-FFF2-40B4-BE49-F238E27FC236}">
                  <a16:creationId xmlns:a16="http://schemas.microsoft.com/office/drawing/2014/main" id="{003F4D01-BEC9-40B3-82C9-252D65CC8A44}"/>
                </a:ext>
              </a:extLst>
            </p:cNvPr>
            <p:cNvSpPr/>
            <p:nvPr/>
          </p:nvSpPr>
          <p:spPr>
            <a:xfrm>
              <a:off x="5467000" y="2127310"/>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18621"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03" name="Freeform: Shape 2202">
              <a:extLst>
                <a:ext uri="{FF2B5EF4-FFF2-40B4-BE49-F238E27FC236}">
                  <a16:creationId xmlns:a16="http://schemas.microsoft.com/office/drawing/2014/main" id="{23609BCB-37D1-4C46-892C-563B770AF2C7}"/>
                </a:ext>
              </a:extLst>
            </p:cNvPr>
            <p:cNvSpPr/>
            <p:nvPr/>
          </p:nvSpPr>
          <p:spPr>
            <a:xfrm>
              <a:off x="5549139" y="1984274"/>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04" name="Freeform: Shape 2203">
              <a:extLst>
                <a:ext uri="{FF2B5EF4-FFF2-40B4-BE49-F238E27FC236}">
                  <a16:creationId xmlns:a16="http://schemas.microsoft.com/office/drawing/2014/main" id="{14054D10-40C9-433C-B32E-0A0D37F0A7BE}"/>
                </a:ext>
              </a:extLst>
            </p:cNvPr>
            <p:cNvSpPr/>
            <p:nvPr/>
          </p:nvSpPr>
          <p:spPr>
            <a:xfrm>
              <a:off x="5454254" y="203100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1" y="49778"/>
                    <a:pt x="49778" y="42697"/>
                    <a:pt x="49778" y="32783"/>
                  </a:cubicBezTo>
                  <a:cubicBezTo>
                    <a:pt x="49778" y="24286"/>
                    <a:pt x="42697" y="15789"/>
                    <a:pt x="32783" y="15789"/>
                  </a:cubicBezTo>
                  <a:cubicBezTo>
                    <a:pt x="22870"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05" name="Freeform: Shape 2204">
              <a:extLst>
                <a:ext uri="{FF2B5EF4-FFF2-40B4-BE49-F238E27FC236}">
                  <a16:creationId xmlns:a16="http://schemas.microsoft.com/office/drawing/2014/main" id="{918CFABB-C236-440A-B05E-B441842D2A1A}"/>
                </a:ext>
              </a:extLst>
            </p:cNvPr>
            <p:cNvSpPr/>
            <p:nvPr/>
          </p:nvSpPr>
          <p:spPr>
            <a:xfrm>
              <a:off x="5522232" y="2130142"/>
              <a:ext cx="28324" cy="28324"/>
            </a:xfrm>
            <a:custGeom>
              <a:avLst/>
              <a:gdLst>
                <a:gd name="connsiteX0" fmla="*/ 20037 w 28323"/>
                <a:gd name="connsiteY0" fmla="*/ 24286 h 28323"/>
                <a:gd name="connsiteX1" fmla="*/ 24286 w 28323"/>
                <a:gd name="connsiteY1" fmla="*/ 20038 h 28323"/>
                <a:gd name="connsiteX2" fmla="*/ 20037 w 28323"/>
                <a:gd name="connsiteY2" fmla="*/ 15789 h 28323"/>
                <a:gd name="connsiteX3" fmla="*/ 15789 w 28323"/>
                <a:gd name="connsiteY3" fmla="*/ 20038 h 28323"/>
                <a:gd name="connsiteX4" fmla="*/ 20037 w 28323"/>
                <a:gd name="connsiteY4" fmla="*/ 24286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0037" y="24286"/>
                  </a:moveTo>
                  <a:cubicBezTo>
                    <a:pt x="22870" y="24286"/>
                    <a:pt x="24286" y="22870"/>
                    <a:pt x="24286" y="20038"/>
                  </a:cubicBezTo>
                  <a:cubicBezTo>
                    <a:pt x="24286" y="17205"/>
                    <a:pt x="22870" y="15789"/>
                    <a:pt x="20037" y="15789"/>
                  </a:cubicBezTo>
                  <a:cubicBezTo>
                    <a:pt x="17205" y="15789"/>
                    <a:pt x="15789" y="17205"/>
                    <a:pt x="15789" y="20038"/>
                  </a:cubicBezTo>
                  <a:cubicBezTo>
                    <a:pt x="15789" y="22870"/>
                    <a:pt x="18621" y="24286"/>
                    <a:pt x="20037" y="2428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06" name="Freeform: Shape 2205">
              <a:extLst>
                <a:ext uri="{FF2B5EF4-FFF2-40B4-BE49-F238E27FC236}">
                  <a16:creationId xmlns:a16="http://schemas.microsoft.com/office/drawing/2014/main" id="{B8D8A153-A55F-43B8-AC3D-2CAD1FBD177A}"/>
                </a:ext>
              </a:extLst>
            </p:cNvPr>
            <p:cNvSpPr/>
            <p:nvPr/>
          </p:nvSpPr>
          <p:spPr>
            <a:xfrm>
              <a:off x="5539226" y="2070662"/>
              <a:ext cx="28324" cy="28324"/>
            </a:xfrm>
            <a:custGeom>
              <a:avLst/>
              <a:gdLst>
                <a:gd name="connsiteX0" fmla="*/ 20038 w 28323"/>
                <a:gd name="connsiteY0" fmla="*/ 24286 h 28323"/>
                <a:gd name="connsiteX1" fmla="*/ 24286 w 28323"/>
                <a:gd name="connsiteY1" fmla="*/ 20038 h 28323"/>
                <a:gd name="connsiteX2" fmla="*/ 20038 w 28323"/>
                <a:gd name="connsiteY2" fmla="*/ 15789 h 28323"/>
                <a:gd name="connsiteX3" fmla="*/ 15789 w 28323"/>
                <a:gd name="connsiteY3" fmla="*/ 20038 h 28323"/>
                <a:gd name="connsiteX4" fmla="*/ 20038 w 28323"/>
                <a:gd name="connsiteY4" fmla="*/ 24286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0038" y="24286"/>
                  </a:moveTo>
                  <a:cubicBezTo>
                    <a:pt x="22870" y="24286"/>
                    <a:pt x="24286" y="22870"/>
                    <a:pt x="24286" y="20038"/>
                  </a:cubicBezTo>
                  <a:cubicBezTo>
                    <a:pt x="24286" y="17205"/>
                    <a:pt x="22870" y="15789"/>
                    <a:pt x="20038" y="15789"/>
                  </a:cubicBezTo>
                  <a:cubicBezTo>
                    <a:pt x="17205" y="15789"/>
                    <a:pt x="15789" y="17205"/>
                    <a:pt x="15789" y="20038"/>
                  </a:cubicBezTo>
                  <a:cubicBezTo>
                    <a:pt x="15789" y="22870"/>
                    <a:pt x="17205" y="24286"/>
                    <a:pt x="20038" y="2428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07" name="Freeform: Shape 2206">
              <a:extLst>
                <a:ext uri="{FF2B5EF4-FFF2-40B4-BE49-F238E27FC236}">
                  <a16:creationId xmlns:a16="http://schemas.microsoft.com/office/drawing/2014/main" id="{75CCD3C0-5EBC-40A5-92F1-A07C160FD550}"/>
                </a:ext>
              </a:extLst>
            </p:cNvPr>
            <p:cNvSpPr/>
            <p:nvPr/>
          </p:nvSpPr>
          <p:spPr>
            <a:xfrm>
              <a:off x="7040389" y="2883556"/>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4286"/>
                    <a:pt x="46945" y="15789"/>
                    <a:pt x="35616" y="15789"/>
                  </a:cubicBezTo>
                  <a:cubicBezTo>
                    <a:pt x="24286" y="15789"/>
                    <a:pt x="15789" y="24286"/>
                    <a:pt x="15789" y="35616"/>
                  </a:cubicBezTo>
                  <a:cubicBezTo>
                    <a:pt x="15789" y="46945"/>
                    <a:pt x="24286" y="55442"/>
                    <a:pt x="35616"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08" name="Freeform: Shape 2207">
              <a:extLst>
                <a:ext uri="{FF2B5EF4-FFF2-40B4-BE49-F238E27FC236}">
                  <a16:creationId xmlns:a16="http://schemas.microsoft.com/office/drawing/2014/main" id="{128B7168-869D-4AD0-AAAB-22E95BB39DED}"/>
                </a:ext>
              </a:extLst>
            </p:cNvPr>
            <p:cNvSpPr/>
            <p:nvPr/>
          </p:nvSpPr>
          <p:spPr>
            <a:xfrm>
              <a:off x="7778224" y="2978440"/>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1" y="49777"/>
                    <a:pt x="49778" y="42697"/>
                    <a:pt x="49778" y="32783"/>
                  </a:cubicBezTo>
                  <a:cubicBezTo>
                    <a:pt x="49778" y="22870"/>
                    <a:pt x="42697" y="15789"/>
                    <a:pt x="32783" y="15789"/>
                  </a:cubicBezTo>
                  <a:cubicBezTo>
                    <a:pt x="24286" y="15789"/>
                    <a:pt x="15789" y="22870"/>
                    <a:pt x="15789" y="32783"/>
                  </a:cubicBezTo>
                  <a:cubicBezTo>
                    <a:pt x="15789" y="42697"/>
                    <a:pt x="24286" y="49777"/>
                    <a:pt x="32783"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09" name="Freeform: Shape 2208">
              <a:extLst>
                <a:ext uri="{FF2B5EF4-FFF2-40B4-BE49-F238E27FC236}">
                  <a16:creationId xmlns:a16="http://schemas.microsoft.com/office/drawing/2014/main" id="{1E268E69-162B-4C5A-8451-56E34CB12920}"/>
                </a:ext>
              </a:extLst>
            </p:cNvPr>
            <p:cNvSpPr/>
            <p:nvPr/>
          </p:nvSpPr>
          <p:spPr>
            <a:xfrm>
              <a:off x="7731490" y="2804249"/>
              <a:ext cx="113295" cy="113295"/>
            </a:xfrm>
            <a:custGeom>
              <a:avLst/>
              <a:gdLst>
                <a:gd name="connsiteX0" fmla="*/ 56858 w 113295"/>
                <a:gd name="connsiteY0" fmla="*/ 97928 h 113295"/>
                <a:gd name="connsiteX1" fmla="*/ 97928 w 113295"/>
                <a:gd name="connsiteY1" fmla="*/ 56858 h 113295"/>
                <a:gd name="connsiteX2" fmla="*/ 56858 w 113295"/>
                <a:gd name="connsiteY2" fmla="*/ 15789 h 113295"/>
                <a:gd name="connsiteX3" fmla="*/ 15789 w 113295"/>
                <a:gd name="connsiteY3" fmla="*/ 56858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8"/>
                  </a:cubicBezTo>
                  <a:cubicBezTo>
                    <a:pt x="97928" y="34200"/>
                    <a:pt x="79518" y="15789"/>
                    <a:pt x="56858" y="15789"/>
                  </a:cubicBezTo>
                  <a:cubicBezTo>
                    <a:pt x="34199" y="15789"/>
                    <a:pt x="15789" y="34200"/>
                    <a:pt x="15789" y="56858"/>
                  </a:cubicBezTo>
                  <a:cubicBezTo>
                    <a:pt x="17205" y="79518"/>
                    <a:pt x="35616" y="97928"/>
                    <a:pt x="56858" y="9792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10" name="Freeform: Shape 2209">
              <a:extLst>
                <a:ext uri="{FF2B5EF4-FFF2-40B4-BE49-F238E27FC236}">
                  <a16:creationId xmlns:a16="http://schemas.microsoft.com/office/drawing/2014/main" id="{C54CC030-F645-43AF-8512-72F4956DE576}"/>
                </a:ext>
              </a:extLst>
            </p:cNvPr>
            <p:cNvSpPr/>
            <p:nvPr/>
          </p:nvSpPr>
          <p:spPr>
            <a:xfrm>
              <a:off x="9766557" y="1137392"/>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30" y="55442"/>
                    <a:pt x="55442" y="46945"/>
                    <a:pt x="55442" y="35616"/>
                  </a:cubicBezTo>
                  <a:cubicBezTo>
                    <a:pt x="55442" y="25702"/>
                    <a:pt x="46945" y="15789"/>
                    <a:pt x="35616" y="15789"/>
                  </a:cubicBezTo>
                  <a:cubicBezTo>
                    <a:pt x="24287" y="15789"/>
                    <a:pt x="15789" y="24286"/>
                    <a:pt x="15789" y="35616"/>
                  </a:cubicBezTo>
                  <a:cubicBezTo>
                    <a:pt x="17206" y="46945"/>
                    <a:pt x="25703" y="55442"/>
                    <a:pt x="35616"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11" name="Freeform: Shape 2210">
              <a:extLst>
                <a:ext uri="{FF2B5EF4-FFF2-40B4-BE49-F238E27FC236}">
                  <a16:creationId xmlns:a16="http://schemas.microsoft.com/office/drawing/2014/main" id="{FB83DBEF-9D3A-4639-9278-C12BFC00D457}"/>
                </a:ext>
              </a:extLst>
            </p:cNvPr>
            <p:cNvSpPr/>
            <p:nvPr/>
          </p:nvSpPr>
          <p:spPr>
            <a:xfrm>
              <a:off x="8154931" y="3325407"/>
              <a:ext cx="99133" cy="99133"/>
            </a:xfrm>
            <a:custGeom>
              <a:avLst/>
              <a:gdLst>
                <a:gd name="connsiteX0" fmla="*/ 49778 w 99133"/>
                <a:gd name="connsiteY0" fmla="*/ 83766 h 99133"/>
                <a:gd name="connsiteX1" fmla="*/ 83766 w 99133"/>
                <a:gd name="connsiteY1" fmla="*/ 49777 h 99133"/>
                <a:gd name="connsiteX2" fmla="*/ 49778 w 99133"/>
                <a:gd name="connsiteY2" fmla="*/ 15789 h 99133"/>
                <a:gd name="connsiteX3" fmla="*/ 15789 w 99133"/>
                <a:gd name="connsiteY3" fmla="*/ 49777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7"/>
                  </a:cubicBezTo>
                  <a:cubicBezTo>
                    <a:pt x="83766" y="31367"/>
                    <a:pt x="68188" y="15789"/>
                    <a:pt x="49778" y="15789"/>
                  </a:cubicBezTo>
                  <a:cubicBezTo>
                    <a:pt x="31367" y="15789"/>
                    <a:pt x="15789" y="31367"/>
                    <a:pt x="15789" y="49777"/>
                  </a:cubicBezTo>
                  <a:cubicBezTo>
                    <a:pt x="17205" y="68188"/>
                    <a:pt x="31367" y="83766"/>
                    <a:pt x="49778" y="8376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12" name="Freeform: Shape 2211">
              <a:extLst>
                <a:ext uri="{FF2B5EF4-FFF2-40B4-BE49-F238E27FC236}">
                  <a16:creationId xmlns:a16="http://schemas.microsoft.com/office/drawing/2014/main" id="{520C8AEF-89FB-4901-BC66-759287727951}"/>
                </a:ext>
              </a:extLst>
            </p:cNvPr>
            <p:cNvSpPr/>
            <p:nvPr/>
          </p:nvSpPr>
          <p:spPr>
            <a:xfrm>
              <a:off x="5695007" y="1965864"/>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13" name="Freeform: Shape 2212">
              <a:extLst>
                <a:ext uri="{FF2B5EF4-FFF2-40B4-BE49-F238E27FC236}">
                  <a16:creationId xmlns:a16="http://schemas.microsoft.com/office/drawing/2014/main" id="{B6472949-241A-4D2A-BC6B-859ADF9F8781}"/>
                </a:ext>
              </a:extLst>
            </p:cNvPr>
            <p:cNvSpPr/>
            <p:nvPr/>
          </p:nvSpPr>
          <p:spPr>
            <a:xfrm>
              <a:off x="5594458" y="1883725"/>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14" name="Freeform: Shape 2213">
              <a:extLst>
                <a:ext uri="{FF2B5EF4-FFF2-40B4-BE49-F238E27FC236}">
                  <a16:creationId xmlns:a16="http://schemas.microsoft.com/office/drawing/2014/main" id="{0FC24908-8412-49B1-944F-0F1CBE561CAF}"/>
                </a:ext>
              </a:extLst>
            </p:cNvPr>
            <p:cNvSpPr/>
            <p:nvPr/>
          </p:nvSpPr>
          <p:spPr>
            <a:xfrm>
              <a:off x="5693591" y="2174044"/>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15" name="Freeform: Shape 2214">
              <a:extLst>
                <a:ext uri="{FF2B5EF4-FFF2-40B4-BE49-F238E27FC236}">
                  <a16:creationId xmlns:a16="http://schemas.microsoft.com/office/drawing/2014/main" id="{E344E9FA-8CC0-43DB-ABD9-996711DE8C9F}"/>
                </a:ext>
              </a:extLst>
            </p:cNvPr>
            <p:cNvSpPr/>
            <p:nvPr/>
          </p:nvSpPr>
          <p:spPr>
            <a:xfrm>
              <a:off x="5632694" y="2321328"/>
              <a:ext cx="56648" cy="56648"/>
            </a:xfrm>
            <a:custGeom>
              <a:avLst/>
              <a:gdLst>
                <a:gd name="connsiteX0" fmla="*/ 28535 w 56647"/>
                <a:gd name="connsiteY0" fmla="*/ 41280 h 56647"/>
                <a:gd name="connsiteX1" fmla="*/ 41281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1" y="35616"/>
                    <a:pt x="41281" y="28535"/>
                  </a:cubicBezTo>
                  <a:cubicBezTo>
                    <a:pt x="41281"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16" name="Freeform: Shape 2215">
              <a:extLst>
                <a:ext uri="{FF2B5EF4-FFF2-40B4-BE49-F238E27FC236}">
                  <a16:creationId xmlns:a16="http://schemas.microsoft.com/office/drawing/2014/main" id="{534244C7-6E23-4216-97B2-D061D0173626}"/>
                </a:ext>
              </a:extLst>
            </p:cNvPr>
            <p:cNvSpPr/>
            <p:nvPr/>
          </p:nvSpPr>
          <p:spPr>
            <a:xfrm>
              <a:off x="6458334" y="1882309"/>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17" name="Freeform: Shape 2216">
              <a:extLst>
                <a:ext uri="{FF2B5EF4-FFF2-40B4-BE49-F238E27FC236}">
                  <a16:creationId xmlns:a16="http://schemas.microsoft.com/office/drawing/2014/main" id="{2473085B-BC27-431B-8DA3-DD159CA28EBC}"/>
                </a:ext>
              </a:extLst>
            </p:cNvPr>
            <p:cNvSpPr/>
            <p:nvPr/>
          </p:nvSpPr>
          <p:spPr>
            <a:xfrm>
              <a:off x="7486489" y="460453"/>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1" y="49778"/>
                    <a:pt x="49778" y="42697"/>
                    <a:pt x="49778" y="32783"/>
                  </a:cubicBezTo>
                  <a:cubicBezTo>
                    <a:pt x="49778" y="24286"/>
                    <a:pt x="42697" y="15789"/>
                    <a:pt x="32783" y="15789"/>
                  </a:cubicBezTo>
                  <a:cubicBezTo>
                    <a:pt x="24286"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18" name="Freeform: Shape 2217">
              <a:extLst>
                <a:ext uri="{FF2B5EF4-FFF2-40B4-BE49-F238E27FC236}">
                  <a16:creationId xmlns:a16="http://schemas.microsoft.com/office/drawing/2014/main" id="{6645EF85-1098-49A6-B0F7-7CFFC8DF55C2}"/>
                </a:ext>
              </a:extLst>
            </p:cNvPr>
            <p:cNvSpPr/>
            <p:nvPr/>
          </p:nvSpPr>
          <p:spPr>
            <a:xfrm>
              <a:off x="6131194" y="674298"/>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19" name="Freeform: Shape 2218">
              <a:extLst>
                <a:ext uri="{FF2B5EF4-FFF2-40B4-BE49-F238E27FC236}">
                  <a16:creationId xmlns:a16="http://schemas.microsoft.com/office/drawing/2014/main" id="{0502719A-6100-4C32-91FA-B2E7F1F5DFBF}"/>
                </a:ext>
              </a:extLst>
            </p:cNvPr>
            <p:cNvSpPr/>
            <p:nvPr/>
          </p:nvSpPr>
          <p:spPr>
            <a:xfrm>
              <a:off x="4188179" y="1171381"/>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20" name="Freeform: Shape 2219">
              <a:extLst>
                <a:ext uri="{FF2B5EF4-FFF2-40B4-BE49-F238E27FC236}">
                  <a16:creationId xmlns:a16="http://schemas.microsoft.com/office/drawing/2014/main" id="{78E594F5-6361-40AB-AA10-FBA084E0216F}"/>
                </a:ext>
              </a:extLst>
            </p:cNvPr>
            <p:cNvSpPr/>
            <p:nvPr/>
          </p:nvSpPr>
          <p:spPr>
            <a:xfrm>
              <a:off x="4447342" y="43212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21" name="Freeform: Shape 2220">
              <a:extLst>
                <a:ext uri="{FF2B5EF4-FFF2-40B4-BE49-F238E27FC236}">
                  <a16:creationId xmlns:a16="http://schemas.microsoft.com/office/drawing/2014/main" id="{47402273-9D32-4AFB-99AB-129F078B6EDE}"/>
                </a:ext>
              </a:extLst>
            </p:cNvPr>
            <p:cNvSpPr/>
            <p:nvPr/>
          </p:nvSpPr>
          <p:spPr>
            <a:xfrm>
              <a:off x="3994161" y="654471"/>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22" name="Freeform: Shape 2221">
              <a:extLst>
                <a:ext uri="{FF2B5EF4-FFF2-40B4-BE49-F238E27FC236}">
                  <a16:creationId xmlns:a16="http://schemas.microsoft.com/office/drawing/2014/main" id="{DC4DA0BE-BC6C-4A2F-A97F-9834C443F214}"/>
                </a:ext>
              </a:extLst>
            </p:cNvPr>
            <p:cNvSpPr/>
            <p:nvPr/>
          </p:nvSpPr>
          <p:spPr>
            <a:xfrm>
              <a:off x="3916271" y="487361"/>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23" name="Freeform: Shape 2222">
              <a:extLst>
                <a:ext uri="{FF2B5EF4-FFF2-40B4-BE49-F238E27FC236}">
                  <a16:creationId xmlns:a16="http://schemas.microsoft.com/office/drawing/2014/main" id="{A344B2A9-D3C6-4590-9821-A67A41C412CB}"/>
                </a:ext>
              </a:extLst>
            </p:cNvPr>
            <p:cNvSpPr/>
            <p:nvPr/>
          </p:nvSpPr>
          <p:spPr>
            <a:xfrm>
              <a:off x="4731997" y="855570"/>
              <a:ext cx="113295" cy="113295"/>
            </a:xfrm>
            <a:custGeom>
              <a:avLst/>
              <a:gdLst>
                <a:gd name="connsiteX0" fmla="*/ 56859 w 113295"/>
                <a:gd name="connsiteY0" fmla="*/ 97928 h 113295"/>
                <a:gd name="connsiteX1" fmla="*/ 97928 w 113295"/>
                <a:gd name="connsiteY1" fmla="*/ 56859 h 113295"/>
                <a:gd name="connsiteX2" fmla="*/ 56859 w 113295"/>
                <a:gd name="connsiteY2" fmla="*/ 15789 h 113295"/>
                <a:gd name="connsiteX3" fmla="*/ 15789 w 113295"/>
                <a:gd name="connsiteY3" fmla="*/ 56859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8" y="79518"/>
                    <a:pt x="97928" y="56859"/>
                  </a:cubicBezTo>
                  <a:cubicBezTo>
                    <a:pt x="97928" y="34199"/>
                    <a:pt x="79518" y="15789"/>
                    <a:pt x="56859" y="15789"/>
                  </a:cubicBezTo>
                  <a:cubicBezTo>
                    <a:pt x="34200" y="15789"/>
                    <a:pt x="15789" y="34199"/>
                    <a:pt x="15789" y="56859"/>
                  </a:cubicBezTo>
                  <a:cubicBezTo>
                    <a:pt x="15789" y="79518"/>
                    <a:pt x="34200" y="97928"/>
                    <a:pt x="56859" y="9792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24" name="Freeform: Shape 2223">
              <a:extLst>
                <a:ext uri="{FF2B5EF4-FFF2-40B4-BE49-F238E27FC236}">
                  <a16:creationId xmlns:a16="http://schemas.microsoft.com/office/drawing/2014/main" id="{312C56EE-F105-4DB8-9BC9-B0D9C8D93AD1}"/>
                </a:ext>
              </a:extLst>
            </p:cNvPr>
            <p:cNvSpPr/>
            <p:nvPr/>
          </p:nvSpPr>
          <p:spPr>
            <a:xfrm>
              <a:off x="4382198" y="1169965"/>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25" name="Freeform: Shape 2224">
              <a:extLst>
                <a:ext uri="{FF2B5EF4-FFF2-40B4-BE49-F238E27FC236}">
                  <a16:creationId xmlns:a16="http://schemas.microsoft.com/office/drawing/2014/main" id="{B595382A-AD8C-4A31-93A1-B9D1D4AA756B}"/>
                </a:ext>
              </a:extLst>
            </p:cNvPr>
            <p:cNvSpPr/>
            <p:nvPr/>
          </p:nvSpPr>
          <p:spPr>
            <a:xfrm>
              <a:off x="4814136" y="1155803"/>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26" name="Freeform: Shape 2225">
              <a:extLst>
                <a:ext uri="{FF2B5EF4-FFF2-40B4-BE49-F238E27FC236}">
                  <a16:creationId xmlns:a16="http://schemas.microsoft.com/office/drawing/2014/main" id="{E1CEF3D8-141C-47B9-B4E2-016D5C165E70}"/>
                </a:ext>
              </a:extLst>
            </p:cNvPr>
            <p:cNvSpPr/>
            <p:nvPr/>
          </p:nvSpPr>
          <p:spPr>
            <a:xfrm>
              <a:off x="4175279" y="889559"/>
              <a:ext cx="56648" cy="56648"/>
            </a:xfrm>
            <a:custGeom>
              <a:avLst/>
              <a:gdLst>
                <a:gd name="connsiteX0" fmla="*/ 32938 w 56647"/>
                <a:gd name="connsiteY0" fmla="*/ 49778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8"/>
                  </a:moveTo>
                  <a:cubicBezTo>
                    <a:pt x="42852" y="49778"/>
                    <a:pt x="49933" y="41280"/>
                    <a:pt x="49933" y="32783"/>
                  </a:cubicBezTo>
                  <a:cubicBezTo>
                    <a:pt x="49933" y="22870"/>
                    <a:pt x="41435" y="15789"/>
                    <a:pt x="32938" y="15789"/>
                  </a:cubicBezTo>
                  <a:cubicBezTo>
                    <a:pt x="23025" y="15789"/>
                    <a:pt x="15944" y="24286"/>
                    <a:pt x="15944" y="32783"/>
                  </a:cubicBezTo>
                  <a:cubicBezTo>
                    <a:pt x="14528" y="42697"/>
                    <a:pt x="23025" y="49778"/>
                    <a:pt x="32938"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27" name="Freeform: Shape 2226">
              <a:extLst>
                <a:ext uri="{FF2B5EF4-FFF2-40B4-BE49-F238E27FC236}">
                  <a16:creationId xmlns:a16="http://schemas.microsoft.com/office/drawing/2014/main" id="{2A5EF5C9-C812-41ED-9173-C81F7F5E32FB}"/>
                </a:ext>
              </a:extLst>
            </p:cNvPr>
            <p:cNvSpPr/>
            <p:nvPr/>
          </p:nvSpPr>
          <p:spPr>
            <a:xfrm>
              <a:off x="4249076" y="534095"/>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0" y="15789"/>
                    <a:pt x="32783" y="15789"/>
                  </a:cubicBezTo>
                  <a:cubicBezTo>
                    <a:pt x="22870" y="15789"/>
                    <a:pt x="15789" y="24286"/>
                    <a:pt x="15789" y="32783"/>
                  </a:cubicBezTo>
                  <a:cubicBezTo>
                    <a:pt x="15789" y="41280"/>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28" name="Freeform: Shape 2227">
              <a:extLst>
                <a:ext uri="{FF2B5EF4-FFF2-40B4-BE49-F238E27FC236}">
                  <a16:creationId xmlns:a16="http://schemas.microsoft.com/office/drawing/2014/main" id="{96860F0B-20D1-410E-974D-02CF2F57F270}"/>
                </a:ext>
              </a:extLst>
            </p:cNvPr>
            <p:cNvSpPr/>
            <p:nvPr/>
          </p:nvSpPr>
          <p:spPr>
            <a:xfrm>
              <a:off x="3628784" y="705454"/>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29" name="Freeform: Shape 2228">
              <a:extLst>
                <a:ext uri="{FF2B5EF4-FFF2-40B4-BE49-F238E27FC236}">
                  <a16:creationId xmlns:a16="http://schemas.microsoft.com/office/drawing/2014/main" id="{7715ECF0-B893-466F-8A4B-617D7D003DC1}"/>
                </a:ext>
              </a:extLst>
            </p:cNvPr>
            <p:cNvSpPr/>
            <p:nvPr/>
          </p:nvSpPr>
          <p:spPr>
            <a:xfrm>
              <a:off x="3742079" y="800339"/>
              <a:ext cx="42486" cy="42486"/>
            </a:xfrm>
            <a:custGeom>
              <a:avLst/>
              <a:gdLst>
                <a:gd name="connsiteX0" fmla="*/ 32783 w 42485"/>
                <a:gd name="connsiteY0" fmla="*/ 24286 h 42485"/>
                <a:gd name="connsiteX1" fmla="*/ 24286 w 42485"/>
                <a:gd name="connsiteY1" fmla="*/ 32783 h 42485"/>
                <a:gd name="connsiteX2" fmla="*/ 15789 w 42485"/>
                <a:gd name="connsiteY2" fmla="*/ 24286 h 42485"/>
                <a:gd name="connsiteX3" fmla="*/ 24286 w 42485"/>
                <a:gd name="connsiteY3" fmla="*/ 15789 h 42485"/>
                <a:gd name="connsiteX4" fmla="*/ 32783 w 42485"/>
                <a:gd name="connsiteY4" fmla="*/ 2428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3" y="24286"/>
                  </a:moveTo>
                  <a:cubicBezTo>
                    <a:pt x="32783" y="28979"/>
                    <a:pt x="28979" y="32783"/>
                    <a:pt x="24286" y="32783"/>
                  </a:cubicBezTo>
                  <a:cubicBezTo>
                    <a:pt x="19593" y="32783"/>
                    <a:pt x="15789" y="28979"/>
                    <a:pt x="15789" y="24286"/>
                  </a:cubicBezTo>
                  <a:cubicBezTo>
                    <a:pt x="15789" y="19593"/>
                    <a:pt x="19593" y="15789"/>
                    <a:pt x="24286" y="15789"/>
                  </a:cubicBezTo>
                  <a:cubicBezTo>
                    <a:pt x="28979" y="15789"/>
                    <a:pt x="32783" y="19593"/>
                    <a:pt x="32783" y="2428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30" name="Freeform: Shape 2229">
              <a:extLst>
                <a:ext uri="{FF2B5EF4-FFF2-40B4-BE49-F238E27FC236}">
                  <a16:creationId xmlns:a16="http://schemas.microsoft.com/office/drawing/2014/main" id="{754A1117-0ADC-42A8-814F-AAE4D712DD2C}"/>
                </a:ext>
              </a:extLst>
            </p:cNvPr>
            <p:cNvSpPr/>
            <p:nvPr/>
          </p:nvSpPr>
          <p:spPr>
            <a:xfrm>
              <a:off x="4047976" y="457621"/>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18621"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31" name="Freeform: Shape 2230">
              <a:extLst>
                <a:ext uri="{FF2B5EF4-FFF2-40B4-BE49-F238E27FC236}">
                  <a16:creationId xmlns:a16="http://schemas.microsoft.com/office/drawing/2014/main" id="{6E9B8223-A49C-4A63-9B1F-67C38E2980D8}"/>
                </a:ext>
              </a:extLst>
            </p:cNvPr>
            <p:cNvSpPr/>
            <p:nvPr/>
          </p:nvSpPr>
          <p:spPr>
            <a:xfrm>
              <a:off x="4219336" y="906553"/>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32" name="Freeform: Shape 2231">
              <a:extLst>
                <a:ext uri="{FF2B5EF4-FFF2-40B4-BE49-F238E27FC236}">
                  <a16:creationId xmlns:a16="http://schemas.microsoft.com/office/drawing/2014/main" id="{A916D99D-2C2E-4A40-BF6D-5466C770B85D}"/>
                </a:ext>
              </a:extLst>
            </p:cNvPr>
            <p:cNvSpPr/>
            <p:nvPr/>
          </p:nvSpPr>
          <p:spPr>
            <a:xfrm>
              <a:off x="4760320" y="358487"/>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1"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33" name="Freeform: Shape 2232">
              <a:extLst>
                <a:ext uri="{FF2B5EF4-FFF2-40B4-BE49-F238E27FC236}">
                  <a16:creationId xmlns:a16="http://schemas.microsoft.com/office/drawing/2014/main" id="{FEFA8139-E0E4-4A59-939A-2FE5E604A00E}"/>
                </a:ext>
              </a:extLst>
            </p:cNvPr>
            <p:cNvSpPr/>
            <p:nvPr/>
          </p:nvSpPr>
          <p:spPr>
            <a:xfrm>
              <a:off x="3929016" y="705454"/>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7205" y="71020"/>
                    <a:pt x="32783" y="86599"/>
                    <a:pt x="51194" y="8659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34" name="Freeform: Shape 2233">
              <a:extLst>
                <a:ext uri="{FF2B5EF4-FFF2-40B4-BE49-F238E27FC236}">
                  <a16:creationId xmlns:a16="http://schemas.microsoft.com/office/drawing/2014/main" id="{A8363CCC-DE63-47F4-87E0-99616DE4CD15}"/>
                </a:ext>
              </a:extLst>
            </p:cNvPr>
            <p:cNvSpPr/>
            <p:nvPr/>
          </p:nvSpPr>
          <p:spPr>
            <a:xfrm>
              <a:off x="4457256" y="1516931"/>
              <a:ext cx="84971" cy="84971"/>
            </a:xfrm>
            <a:custGeom>
              <a:avLst/>
              <a:gdLst>
                <a:gd name="connsiteX0" fmla="*/ 42697 w 84971"/>
                <a:gd name="connsiteY0" fmla="*/ 69604 h 84971"/>
                <a:gd name="connsiteX1" fmla="*/ 69605 w 84971"/>
                <a:gd name="connsiteY1" fmla="*/ 42697 h 84971"/>
                <a:gd name="connsiteX2" fmla="*/ 42697 w 84971"/>
                <a:gd name="connsiteY2" fmla="*/ 15789 h 84971"/>
                <a:gd name="connsiteX3" fmla="*/ 15789 w 84971"/>
                <a:gd name="connsiteY3" fmla="*/ 42697 h 84971"/>
                <a:gd name="connsiteX4" fmla="*/ 42697 w 84971"/>
                <a:gd name="connsiteY4" fmla="*/ 6960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7" y="69604"/>
                  </a:moveTo>
                  <a:cubicBezTo>
                    <a:pt x="58275" y="69604"/>
                    <a:pt x="69605" y="56859"/>
                    <a:pt x="69605" y="42697"/>
                  </a:cubicBezTo>
                  <a:cubicBezTo>
                    <a:pt x="69605" y="27119"/>
                    <a:pt x="56858" y="15789"/>
                    <a:pt x="42697" y="15789"/>
                  </a:cubicBezTo>
                  <a:cubicBezTo>
                    <a:pt x="27119" y="15789"/>
                    <a:pt x="15789" y="28535"/>
                    <a:pt x="15789" y="42697"/>
                  </a:cubicBezTo>
                  <a:cubicBezTo>
                    <a:pt x="15789" y="56859"/>
                    <a:pt x="27119" y="69604"/>
                    <a:pt x="42697" y="6960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35" name="Freeform: Shape 2234">
              <a:extLst>
                <a:ext uri="{FF2B5EF4-FFF2-40B4-BE49-F238E27FC236}">
                  <a16:creationId xmlns:a16="http://schemas.microsoft.com/office/drawing/2014/main" id="{1BEB5DC6-CD7E-4A23-8334-7AC47DB2B9E9}"/>
                </a:ext>
              </a:extLst>
            </p:cNvPr>
            <p:cNvSpPr/>
            <p:nvPr/>
          </p:nvSpPr>
          <p:spPr>
            <a:xfrm>
              <a:off x="5211811" y="514268"/>
              <a:ext cx="42486" cy="42486"/>
            </a:xfrm>
            <a:custGeom>
              <a:avLst/>
              <a:gdLst>
                <a:gd name="connsiteX0" fmla="*/ 24560 w 42485"/>
                <a:gd name="connsiteY0" fmla="*/ 32783 h 42485"/>
                <a:gd name="connsiteX1" fmla="*/ 33058 w 42485"/>
                <a:gd name="connsiteY1" fmla="*/ 24286 h 42485"/>
                <a:gd name="connsiteX2" fmla="*/ 24560 w 42485"/>
                <a:gd name="connsiteY2" fmla="*/ 15789 h 42485"/>
                <a:gd name="connsiteX3" fmla="*/ 16064 w 42485"/>
                <a:gd name="connsiteY3" fmla="*/ 24286 h 42485"/>
                <a:gd name="connsiteX4" fmla="*/ 24560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0" y="32783"/>
                  </a:moveTo>
                  <a:cubicBezTo>
                    <a:pt x="28809" y="32783"/>
                    <a:pt x="33058" y="28535"/>
                    <a:pt x="33058" y="24286"/>
                  </a:cubicBezTo>
                  <a:cubicBezTo>
                    <a:pt x="33058" y="20038"/>
                    <a:pt x="28809" y="15789"/>
                    <a:pt x="24560" y="15789"/>
                  </a:cubicBezTo>
                  <a:cubicBezTo>
                    <a:pt x="20312" y="15789"/>
                    <a:pt x="16064" y="20038"/>
                    <a:pt x="16064" y="24286"/>
                  </a:cubicBezTo>
                  <a:cubicBezTo>
                    <a:pt x="14647" y="28535"/>
                    <a:pt x="18896" y="32783"/>
                    <a:pt x="24560"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36" name="Freeform: Shape 2235">
              <a:extLst>
                <a:ext uri="{FF2B5EF4-FFF2-40B4-BE49-F238E27FC236}">
                  <a16:creationId xmlns:a16="http://schemas.microsoft.com/office/drawing/2014/main" id="{CA555158-9363-4C9F-80AE-F72438166BB9}"/>
                </a:ext>
              </a:extLst>
            </p:cNvPr>
            <p:cNvSpPr/>
            <p:nvPr/>
          </p:nvSpPr>
          <p:spPr>
            <a:xfrm>
              <a:off x="4679598" y="138805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9951"/>
                    <a:pt x="20037"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37" name="Freeform: Shape 2236">
              <a:extLst>
                <a:ext uri="{FF2B5EF4-FFF2-40B4-BE49-F238E27FC236}">
                  <a16:creationId xmlns:a16="http://schemas.microsoft.com/office/drawing/2014/main" id="{8330AAB8-3BA8-4063-919E-B02AE504E046}"/>
                </a:ext>
              </a:extLst>
            </p:cNvPr>
            <p:cNvSpPr/>
            <p:nvPr/>
          </p:nvSpPr>
          <p:spPr>
            <a:xfrm>
              <a:off x="4525233" y="858403"/>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38" name="Freeform: Shape 2237">
              <a:extLst>
                <a:ext uri="{FF2B5EF4-FFF2-40B4-BE49-F238E27FC236}">
                  <a16:creationId xmlns:a16="http://schemas.microsoft.com/office/drawing/2014/main" id="{261B7F1B-0981-425E-8D53-5979FFE646FE}"/>
                </a:ext>
              </a:extLst>
            </p:cNvPr>
            <p:cNvSpPr/>
            <p:nvPr/>
          </p:nvSpPr>
          <p:spPr>
            <a:xfrm>
              <a:off x="4804222" y="515685"/>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9"/>
                  </a:cubicBezTo>
                  <a:cubicBezTo>
                    <a:pt x="38448" y="21454"/>
                    <a:pt x="32783" y="15789"/>
                    <a:pt x="27119" y="15789"/>
                  </a:cubicBezTo>
                  <a:cubicBezTo>
                    <a:pt x="21454" y="15789"/>
                    <a:pt x="15789" y="21454"/>
                    <a:pt x="15789" y="27119"/>
                  </a:cubicBezTo>
                  <a:cubicBezTo>
                    <a:pt x="15789" y="32783"/>
                    <a:pt x="21454" y="38448"/>
                    <a:pt x="27119" y="3844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39" name="Freeform: Shape 2238">
              <a:extLst>
                <a:ext uri="{FF2B5EF4-FFF2-40B4-BE49-F238E27FC236}">
                  <a16:creationId xmlns:a16="http://schemas.microsoft.com/office/drawing/2014/main" id="{BE7F3404-FB8C-40C5-9082-506B3B040FFA}"/>
                </a:ext>
              </a:extLst>
            </p:cNvPr>
            <p:cNvSpPr/>
            <p:nvPr/>
          </p:nvSpPr>
          <p:spPr>
            <a:xfrm>
              <a:off x="5056305" y="885310"/>
              <a:ext cx="42486" cy="42486"/>
            </a:xfrm>
            <a:custGeom>
              <a:avLst/>
              <a:gdLst>
                <a:gd name="connsiteX0" fmla="*/ 27118 w 42485"/>
                <a:gd name="connsiteY0" fmla="*/ 38448 h 42485"/>
                <a:gd name="connsiteX1" fmla="*/ 38448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8" y="32783"/>
                    <a:pt x="38448" y="27119"/>
                  </a:cubicBezTo>
                  <a:cubicBezTo>
                    <a:pt x="38448" y="21454"/>
                    <a:pt x="34199" y="15789"/>
                    <a:pt x="27118" y="15789"/>
                  </a:cubicBezTo>
                  <a:cubicBezTo>
                    <a:pt x="21454" y="15789"/>
                    <a:pt x="15789" y="21454"/>
                    <a:pt x="15789" y="27119"/>
                  </a:cubicBezTo>
                  <a:cubicBezTo>
                    <a:pt x="15789" y="34199"/>
                    <a:pt x="20037" y="38448"/>
                    <a:pt x="27118" y="3844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40" name="Freeform: Shape 2239">
              <a:extLst>
                <a:ext uri="{FF2B5EF4-FFF2-40B4-BE49-F238E27FC236}">
                  <a16:creationId xmlns:a16="http://schemas.microsoft.com/office/drawing/2014/main" id="{627FC585-AC4A-4942-BCC7-40F4BF58406D}"/>
                </a:ext>
              </a:extLst>
            </p:cNvPr>
            <p:cNvSpPr/>
            <p:nvPr/>
          </p:nvSpPr>
          <p:spPr>
            <a:xfrm>
              <a:off x="4644085" y="606321"/>
              <a:ext cx="84971" cy="84971"/>
            </a:xfrm>
            <a:custGeom>
              <a:avLst/>
              <a:gdLst>
                <a:gd name="connsiteX0" fmla="*/ 42804 w 84971"/>
                <a:gd name="connsiteY0" fmla="*/ 69604 h 84971"/>
                <a:gd name="connsiteX1" fmla="*/ 69712 w 84971"/>
                <a:gd name="connsiteY1" fmla="*/ 42697 h 84971"/>
                <a:gd name="connsiteX2" fmla="*/ 42804 w 84971"/>
                <a:gd name="connsiteY2" fmla="*/ 15789 h 84971"/>
                <a:gd name="connsiteX3" fmla="*/ 15897 w 84971"/>
                <a:gd name="connsiteY3" fmla="*/ 42697 h 84971"/>
                <a:gd name="connsiteX4" fmla="*/ 42804 w 84971"/>
                <a:gd name="connsiteY4" fmla="*/ 6960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804" y="69604"/>
                  </a:moveTo>
                  <a:cubicBezTo>
                    <a:pt x="58382" y="69604"/>
                    <a:pt x="69712" y="56859"/>
                    <a:pt x="69712" y="42697"/>
                  </a:cubicBezTo>
                  <a:cubicBezTo>
                    <a:pt x="69712" y="27119"/>
                    <a:pt x="56966" y="15789"/>
                    <a:pt x="42804" y="15789"/>
                  </a:cubicBezTo>
                  <a:cubicBezTo>
                    <a:pt x="28642" y="15789"/>
                    <a:pt x="15897" y="28535"/>
                    <a:pt x="15897" y="42697"/>
                  </a:cubicBezTo>
                  <a:cubicBezTo>
                    <a:pt x="14480" y="56859"/>
                    <a:pt x="27226" y="69604"/>
                    <a:pt x="42804" y="6960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41" name="Freeform: Shape 2240">
              <a:extLst>
                <a:ext uri="{FF2B5EF4-FFF2-40B4-BE49-F238E27FC236}">
                  <a16:creationId xmlns:a16="http://schemas.microsoft.com/office/drawing/2014/main" id="{EC3FC1FA-76D0-4839-84D1-BFD7C73111BF}"/>
                </a:ext>
              </a:extLst>
            </p:cNvPr>
            <p:cNvSpPr/>
            <p:nvPr/>
          </p:nvSpPr>
          <p:spPr>
            <a:xfrm>
              <a:off x="4298642" y="1613233"/>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0" y="15789"/>
                    <a:pt x="32783" y="15789"/>
                  </a:cubicBezTo>
                  <a:cubicBezTo>
                    <a:pt x="22870" y="15789"/>
                    <a:pt x="15789" y="24286"/>
                    <a:pt x="15789" y="32783"/>
                  </a:cubicBezTo>
                  <a:cubicBezTo>
                    <a:pt x="15789" y="41280"/>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42" name="Freeform: Shape 2241">
              <a:extLst>
                <a:ext uri="{FF2B5EF4-FFF2-40B4-BE49-F238E27FC236}">
                  <a16:creationId xmlns:a16="http://schemas.microsoft.com/office/drawing/2014/main" id="{8E38CCEC-7F1B-4EFC-929F-735283219048}"/>
                </a:ext>
              </a:extLst>
            </p:cNvPr>
            <p:cNvSpPr/>
            <p:nvPr/>
          </p:nvSpPr>
          <p:spPr>
            <a:xfrm>
              <a:off x="4186763" y="1471613"/>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43" name="Freeform: Shape 2242">
              <a:extLst>
                <a:ext uri="{FF2B5EF4-FFF2-40B4-BE49-F238E27FC236}">
                  <a16:creationId xmlns:a16="http://schemas.microsoft.com/office/drawing/2014/main" id="{F1FC7894-1627-4056-8F9D-EBAEBF3A8153}"/>
                </a:ext>
              </a:extLst>
            </p:cNvPr>
            <p:cNvSpPr/>
            <p:nvPr/>
          </p:nvSpPr>
          <p:spPr>
            <a:xfrm>
              <a:off x="4297226" y="1587741"/>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9951"/>
                    <a:pt x="20037"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44" name="Freeform: Shape 2243">
              <a:extLst>
                <a:ext uri="{FF2B5EF4-FFF2-40B4-BE49-F238E27FC236}">
                  <a16:creationId xmlns:a16="http://schemas.microsoft.com/office/drawing/2014/main" id="{84F932E6-62F0-4CD6-ABDF-EF8F33806A51}"/>
                </a:ext>
              </a:extLst>
            </p:cNvPr>
            <p:cNvSpPr/>
            <p:nvPr/>
          </p:nvSpPr>
          <p:spPr>
            <a:xfrm>
              <a:off x="4451591" y="1679793"/>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45" name="Freeform: Shape 2244">
              <a:extLst>
                <a:ext uri="{FF2B5EF4-FFF2-40B4-BE49-F238E27FC236}">
                  <a16:creationId xmlns:a16="http://schemas.microsoft.com/office/drawing/2014/main" id="{AD35139B-664B-4CB0-A5BE-70F7D1F80CCB}"/>
                </a:ext>
              </a:extLst>
            </p:cNvPr>
            <p:cNvSpPr/>
            <p:nvPr/>
          </p:nvSpPr>
          <p:spPr>
            <a:xfrm>
              <a:off x="4918934" y="1264850"/>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9951"/>
                    <a:pt x="20037"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46" name="Freeform: Shape 2245">
              <a:extLst>
                <a:ext uri="{FF2B5EF4-FFF2-40B4-BE49-F238E27FC236}">
                  <a16:creationId xmlns:a16="http://schemas.microsoft.com/office/drawing/2014/main" id="{632B3E84-7586-4568-A32F-7689F589EBC7}"/>
                </a:ext>
              </a:extLst>
            </p:cNvPr>
            <p:cNvSpPr/>
            <p:nvPr/>
          </p:nvSpPr>
          <p:spPr>
            <a:xfrm>
              <a:off x="4911853" y="122661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47" name="Freeform: Shape 2246">
              <a:extLst>
                <a:ext uri="{FF2B5EF4-FFF2-40B4-BE49-F238E27FC236}">
                  <a16:creationId xmlns:a16="http://schemas.microsoft.com/office/drawing/2014/main" id="{45F7610C-E27F-4128-BA94-C2A7791C6624}"/>
                </a:ext>
              </a:extLst>
            </p:cNvPr>
            <p:cNvSpPr/>
            <p:nvPr/>
          </p:nvSpPr>
          <p:spPr>
            <a:xfrm>
              <a:off x="4069219" y="103825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48" name="Freeform: Shape 2247">
              <a:extLst>
                <a:ext uri="{FF2B5EF4-FFF2-40B4-BE49-F238E27FC236}">
                  <a16:creationId xmlns:a16="http://schemas.microsoft.com/office/drawing/2014/main" id="{1AE55718-142B-4C48-BEE5-5D77D8550DAC}"/>
                </a:ext>
              </a:extLst>
            </p:cNvPr>
            <p:cNvSpPr/>
            <p:nvPr/>
          </p:nvSpPr>
          <p:spPr>
            <a:xfrm>
              <a:off x="3741924" y="668633"/>
              <a:ext cx="56648" cy="56648"/>
            </a:xfrm>
            <a:custGeom>
              <a:avLst/>
              <a:gdLst>
                <a:gd name="connsiteX0" fmla="*/ 32938 w 56647"/>
                <a:gd name="connsiteY0" fmla="*/ 49778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8"/>
                  </a:moveTo>
                  <a:cubicBezTo>
                    <a:pt x="42852" y="49778"/>
                    <a:pt x="49933" y="41280"/>
                    <a:pt x="49933" y="32783"/>
                  </a:cubicBezTo>
                  <a:cubicBezTo>
                    <a:pt x="49933" y="22870"/>
                    <a:pt x="41435" y="15789"/>
                    <a:pt x="32938" y="15789"/>
                  </a:cubicBezTo>
                  <a:cubicBezTo>
                    <a:pt x="23025" y="15789"/>
                    <a:pt x="15944" y="24286"/>
                    <a:pt x="15944" y="32783"/>
                  </a:cubicBezTo>
                  <a:cubicBezTo>
                    <a:pt x="14528" y="42697"/>
                    <a:pt x="23025" y="49778"/>
                    <a:pt x="32938"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49" name="Freeform: Shape 2248">
              <a:extLst>
                <a:ext uri="{FF2B5EF4-FFF2-40B4-BE49-F238E27FC236}">
                  <a16:creationId xmlns:a16="http://schemas.microsoft.com/office/drawing/2014/main" id="{A097CCE8-5B02-4460-8A42-0E1E75B89FF0}"/>
                </a:ext>
              </a:extLst>
            </p:cNvPr>
            <p:cNvSpPr/>
            <p:nvPr/>
          </p:nvSpPr>
          <p:spPr>
            <a:xfrm>
              <a:off x="3887672" y="515685"/>
              <a:ext cx="42486" cy="42486"/>
            </a:xfrm>
            <a:custGeom>
              <a:avLst/>
              <a:gdLst>
                <a:gd name="connsiteX0" fmla="*/ 24561 w 42485"/>
                <a:gd name="connsiteY0" fmla="*/ 32783 h 42485"/>
                <a:gd name="connsiteX1" fmla="*/ 33058 w 42485"/>
                <a:gd name="connsiteY1" fmla="*/ 24286 h 42485"/>
                <a:gd name="connsiteX2" fmla="*/ 24561 w 42485"/>
                <a:gd name="connsiteY2" fmla="*/ 15789 h 42485"/>
                <a:gd name="connsiteX3" fmla="*/ 16063 w 42485"/>
                <a:gd name="connsiteY3" fmla="*/ 24286 h 42485"/>
                <a:gd name="connsiteX4" fmla="*/ 24561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1" y="32783"/>
                  </a:moveTo>
                  <a:cubicBezTo>
                    <a:pt x="28809" y="32783"/>
                    <a:pt x="33058" y="28535"/>
                    <a:pt x="33058" y="24286"/>
                  </a:cubicBezTo>
                  <a:cubicBezTo>
                    <a:pt x="33058" y="20038"/>
                    <a:pt x="28809" y="15789"/>
                    <a:pt x="24561" y="15789"/>
                  </a:cubicBezTo>
                  <a:cubicBezTo>
                    <a:pt x="20312" y="15789"/>
                    <a:pt x="16063" y="20038"/>
                    <a:pt x="16063" y="24286"/>
                  </a:cubicBezTo>
                  <a:cubicBezTo>
                    <a:pt x="14647" y="29951"/>
                    <a:pt x="18896" y="32783"/>
                    <a:pt x="24561"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50" name="Freeform: Shape 2249">
              <a:extLst>
                <a:ext uri="{FF2B5EF4-FFF2-40B4-BE49-F238E27FC236}">
                  <a16:creationId xmlns:a16="http://schemas.microsoft.com/office/drawing/2014/main" id="{B5E73FD1-2BDE-4CD3-85A9-98A8C7CAB25E}"/>
                </a:ext>
              </a:extLst>
            </p:cNvPr>
            <p:cNvSpPr/>
            <p:nvPr/>
          </p:nvSpPr>
          <p:spPr>
            <a:xfrm>
              <a:off x="4621534" y="332996"/>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9951" y="15789"/>
                    <a:pt x="24286" y="15789"/>
                  </a:cubicBezTo>
                  <a:cubicBezTo>
                    <a:pt x="18622"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51" name="Freeform: Shape 2250">
              <a:extLst>
                <a:ext uri="{FF2B5EF4-FFF2-40B4-BE49-F238E27FC236}">
                  <a16:creationId xmlns:a16="http://schemas.microsoft.com/office/drawing/2014/main" id="{4EC8CCFC-9A22-4C82-93E2-83A3BF8EACC9}"/>
                </a:ext>
              </a:extLst>
            </p:cNvPr>
            <p:cNvSpPr/>
            <p:nvPr/>
          </p:nvSpPr>
          <p:spPr>
            <a:xfrm>
              <a:off x="5035062" y="385395"/>
              <a:ext cx="42486" cy="42486"/>
            </a:xfrm>
            <a:custGeom>
              <a:avLst/>
              <a:gdLst>
                <a:gd name="connsiteX0" fmla="*/ 21454 w 42485"/>
                <a:gd name="connsiteY0" fmla="*/ 27119 h 42485"/>
                <a:gd name="connsiteX1" fmla="*/ 27118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8" y="24286"/>
                    <a:pt x="27118" y="21454"/>
                  </a:cubicBezTo>
                  <a:cubicBezTo>
                    <a:pt x="27118" y="18621"/>
                    <a:pt x="24286" y="15789"/>
                    <a:pt x="21454" y="15789"/>
                  </a:cubicBezTo>
                  <a:cubicBezTo>
                    <a:pt x="18621" y="15789"/>
                    <a:pt x="15789" y="18621"/>
                    <a:pt x="15789" y="21454"/>
                  </a:cubicBezTo>
                  <a:cubicBezTo>
                    <a:pt x="15789" y="24286"/>
                    <a:pt x="18621" y="27119"/>
                    <a:pt x="21454" y="2711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52" name="Freeform: Shape 2251">
              <a:extLst>
                <a:ext uri="{FF2B5EF4-FFF2-40B4-BE49-F238E27FC236}">
                  <a16:creationId xmlns:a16="http://schemas.microsoft.com/office/drawing/2014/main" id="{7A17DEF3-7142-429D-A7D6-085523E9429A}"/>
                </a:ext>
              </a:extLst>
            </p:cNvPr>
            <p:cNvSpPr/>
            <p:nvPr/>
          </p:nvSpPr>
          <p:spPr>
            <a:xfrm>
              <a:off x="4804222" y="342909"/>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2" y="15789"/>
                    <a:pt x="15789" y="18621"/>
                    <a:pt x="15789" y="21454"/>
                  </a:cubicBezTo>
                  <a:cubicBezTo>
                    <a:pt x="15789" y="25702"/>
                    <a:pt x="18622" y="27119"/>
                    <a:pt x="21454" y="2711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53" name="Freeform: Shape 2252">
              <a:extLst>
                <a:ext uri="{FF2B5EF4-FFF2-40B4-BE49-F238E27FC236}">
                  <a16:creationId xmlns:a16="http://schemas.microsoft.com/office/drawing/2014/main" id="{4CC13D56-F2FA-42BF-997E-EAB8D8010B6F}"/>
                </a:ext>
              </a:extLst>
            </p:cNvPr>
            <p:cNvSpPr/>
            <p:nvPr/>
          </p:nvSpPr>
          <p:spPr>
            <a:xfrm>
              <a:off x="4427464" y="597766"/>
              <a:ext cx="70810" cy="70810"/>
            </a:xfrm>
            <a:custGeom>
              <a:avLst/>
              <a:gdLst>
                <a:gd name="connsiteX0" fmla="*/ 63997 w 70809"/>
                <a:gd name="connsiteY0" fmla="*/ 39887 h 70809"/>
                <a:gd name="connsiteX1" fmla="*/ 39955 w 70809"/>
                <a:gd name="connsiteY1" fmla="*/ 63996 h 70809"/>
                <a:gd name="connsiteX2" fmla="*/ 15846 w 70809"/>
                <a:gd name="connsiteY2" fmla="*/ 39955 h 70809"/>
                <a:gd name="connsiteX3" fmla="*/ 39887 w 70809"/>
                <a:gd name="connsiteY3" fmla="*/ 15846 h 70809"/>
                <a:gd name="connsiteX4" fmla="*/ 63997 w 70809"/>
                <a:gd name="connsiteY4" fmla="*/ 3988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3997" y="39887"/>
                  </a:moveTo>
                  <a:cubicBezTo>
                    <a:pt x="64015" y="53183"/>
                    <a:pt x="53252" y="63977"/>
                    <a:pt x="39955" y="63996"/>
                  </a:cubicBezTo>
                  <a:cubicBezTo>
                    <a:pt x="26659" y="64015"/>
                    <a:pt x="15865" y="53252"/>
                    <a:pt x="15846" y="39955"/>
                  </a:cubicBezTo>
                  <a:cubicBezTo>
                    <a:pt x="15827" y="26659"/>
                    <a:pt x="26590" y="15865"/>
                    <a:pt x="39887" y="15846"/>
                  </a:cubicBezTo>
                  <a:cubicBezTo>
                    <a:pt x="53183" y="15827"/>
                    <a:pt x="63978" y="26590"/>
                    <a:pt x="63997" y="3988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54" name="Freeform: Shape 2253">
              <a:extLst>
                <a:ext uri="{FF2B5EF4-FFF2-40B4-BE49-F238E27FC236}">
                  <a16:creationId xmlns:a16="http://schemas.microsoft.com/office/drawing/2014/main" id="{41E8F364-1A9A-4883-8A9C-19F5678BC7D7}"/>
                </a:ext>
              </a:extLst>
            </p:cNvPr>
            <p:cNvSpPr/>
            <p:nvPr/>
          </p:nvSpPr>
          <p:spPr>
            <a:xfrm>
              <a:off x="4491244" y="553922"/>
              <a:ext cx="70810" cy="70810"/>
            </a:xfrm>
            <a:custGeom>
              <a:avLst/>
              <a:gdLst>
                <a:gd name="connsiteX0" fmla="*/ 39864 w 70809"/>
                <a:gd name="connsiteY0" fmla="*/ 63939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40" y="52610"/>
                    <a:pt x="63940" y="39864"/>
                  </a:cubicBezTo>
                  <a:cubicBezTo>
                    <a:pt x="63940" y="27119"/>
                    <a:pt x="52610" y="15789"/>
                    <a:pt x="39864" y="15789"/>
                  </a:cubicBezTo>
                  <a:cubicBezTo>
                    <a:pt x="27119" y="15789"/>
                    <a:pt x="15789" y="27119"/>
                    <a:pt x="15789" y="39864"/>
                  </a:cubicBezTo>
                  <a:cubicBezTo>
                    <a:pt x="17205" y="54026"/>
                    <a:pt x="27119" y="63939"/>
                    <a:pt x="39864" y="6393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55" name="Freeform: Shape 2254">
              <a:extLst>
                <a:ext uri="{FF2B5EF4-FFF2-40B4-BE49-F238E27FC236}">
                  <a16:creationId xmlns:a16="http://schemas.microsoft.com/office/drawing/2014/main" id="{81CDEE26-3E3E-432A-9C89-ADEF16C92060}"/>
                </a:ext>
              </a:extLst>
            </p:cNvPr>
            <p:cNvSpPr/>
            <p:nvPr/>
          </p:nvSpPr>
          <p:spPr>
            <a:xfrm>
              <a:off x="4686460" y="1137392"/>
              <a:ext cx="42486" cy="42486"/>
            </a:xfrm>
            <a:custGeom>
              <a:avLst/>
              <a:gdLst>
                <a:gd name="connsiteX0" fmla="*/ 27337 w 42485"/>
                <a:gd name="connsiteY0" fmla="*/ 38448 h 42485"/>
                <a:gd name="connsiteX1" fmla="*/ 38667 w 42485"/>
                <a:gd name="connsiteY1" fmla="*/ 27119 h 42485"/>
                <a:gd name="connsiteX2" fmla="*/ 27337 w 42485"/>
                <a:gd name="connsiteY2" fmla="*/ 15789 h 42485"/>
                <a:gd name="connsiteX3" fmla="*/ 16007 w 42485"/>
                <a:gd name="connsiteY3" fmla="*/ 27119 h 42485"/>
                <a:gd name="connsiteX4" fmla="*/ 27337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8448"/>
                  </a:moveTo>
                  <a:cubicBezTo>
                    <a:pt x="34418" y="38448"/>
                    <a:pt x="38667" y="32783"/>
                    <a:pt x="38667" y="27119"/>
                  </a:cubicBezTo>
                  <a:cubicBezTo>
                    <a:pt x="38667" y="20038"/>
                    <a:pt x="33002" y="15789"/>
                    <a:pt x="27337" y="15789"/>
                  </a:cubicBezTo>
                  <a:cubicBezTo>
                    <a:pt x="20256" y="15789"/>
                    <a:pt x="16007" y="21454"/>
                    <a:pt x="16007" y="27119"/>
                  </a:cubicBezTo>
                  <a:cubicBezTo>
                    <a:pt x="14591" y="32783"/>
                    <a:pt x="20256" y="38448"/>
                    <a:pt x="27337" y="3844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56" name="Freeform: Shape 2255">
              <a:extLst>
                <a:ext uri="{FF2B5EF4-FFF2-40B4-BE49-F238E27FC236}">
                  <a16:creationId xmlns:a16="http://schemas.microsoft.com/office/drawing/2014/main" id="{08CDBB62-FC4A-4946-89CB-AEA3F43892CF}"/>
                </a:ext>
              </a:extLst>
            </p:cNvPr>
            <p:cNvSpPr/>
            <p:nvPr/>
          </p:nvSpPr>
          <p:spPr>
            <a:xfrm>
              <a:off x="5372115" y="490193"/>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5789" y="38448"/>
                    <a:pt x="21454" y="44113"/>
                    <a:pt x="29951"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57" name="Freeform: Shape 2256">
              <a:extLst>
                <a:ext uri="{FF2B5EF4-FFF2-40B4-BE49-F238E27FC236}">
                  <a16:creationId xmlns:a16="http://schemas.microsoft.com/office/drawing/2014/main" id="{BD5DB8FD-9192-4DEA-93CD-15D7C7E38D43}"/>
                </a:ext>
              </a:extLst>
            </p:cNvPr>
            <p:cNvSpPr/>
            <p:nvPr/>
          </p:nvSpPr>
          <p:spPr>
            <a:xfrm>
              <a:off x="5101623" y="1507018"/>
              <a:ext cx="42486" cy="42486"/>
            </a:xfrm>
            <a:custGeom>
              <a:avLst/>
              <a:gdLst>
                <a:gd name="connsiteX0" fmla="*/ 32783 w 42485"/>
                <a:gd name="connsiteY0" fmla="*/ 24286 h 42485"/>
                <a:gd name="connsiteX1" fmla="*/ 24286 w 42485"/>
                <a:gd name="connsiteY1" fmla="*/ 32783 h 42485"/>
                <a:gd name="connsiteX2" fmla="*/ 15789 w 42485"/>
                <a:gd name="connsiteY2" fmla="*/ 24286 h 42485"/>
                <a:gd name="connsiteX3" fmla="*/ 24286 w 42485"/>
                <a:gd name="connsiteY3" fmla="*/ 15789 h 42485"/>
                <a:gd name="connsiteX4" fmla="*/ 32783 w 42485"/>
                <a:gd name="connsiteY4" fmla="*/ 2428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3" y="24286"/>
                  </a:moveTo>
                  <a:cubicBezTo>
                    <a:pt x="32783" y="28979"/>
                    <a:pt x="28979" y="32783"/>
                    <a:pt x="24286" y="32783"/>
                  </a:cubicBezTo>
                  <a:cubicBezTo>
                    <a:pt x="19593" y="32783"/>
                    <a:pt x="15789" y="28979"/>
                    <a:pt x="15789" y="24286"/>
                  </a:cubicBezTo>
                  <a:cubicBezTo>
                    <a:pt x="15789" y="19593"/>
                    <a:pt x="19593" y="15789"/>
                    <a:pt x="24286" y="15789"/>
                  </a:cubicBezTo>
                  <a:cubicBezTo>
                    <a:pt x="28979" y="15789"/>
                    <a:pt x="32783" y="19593"/>
                    <a:pt x="32783" y="2428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58" name="Freeform: Shape 2257">
              <a:extLst>
                <a:ext uri="{FF2B5EF4-FFF2-40B4-BE49-F238E27FC236}">
                  <a16:creationId xmlns:a16="http://schemas.microsoft.com/office/drawing/2014/main" id="{14115E49-D346-47AF-ACCC-43A956D45406}"/>
                </a:ext>
              </a:extLst>
            </p:cNvPr>
            <p:cNvSpPr/>
            <p:nvPr/>
          </p:nvSpPr>
          <p:spPr>
            <a:xfrm>
              <a:off x="5321132" y="1419214"/>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4200" y="38448"/>
                    <a:pt x="38448" y="32783"/>
                    <a:pt x="38448" y="27119"/>
                  </a:cubicBezTo>
                  <a:cubicBezTo>
                    <a:pt x="38448" y="20038"/>
                    <a:pt x="32783" y="15789"/>
                    <a:pt x="27119" y="15789"/>
                  </a:cubicBezTo>
                  <a:cubicBezTo>
                    <a:pt x="21454" y="15789"/>
                    <a:pt x="15789" y="21454"/>
                    <a:pt x="15789" y="27119"/>
                  </a:cubicBezTo>
                  <a:cubicBezTo>
                    <a:pt x="15789" y="32783"/>
                    <a:pt x="21454" y="38448"/>
                    <a:pt x="27119" y="3844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59" name="Freeform: Shape 2258">
              <a:extLst>
                <a:ext uri="{FF2B5EF4-FFF2-40B4-BE49-F238E27FC236}">
                  <a16:creationId xmlns:a16="http://schemas.microsoft.com/office/drawing/2014/main" id="{C33A55FB-0311-493F-9748-403ADECCCE99}"/>
                </a:ext>
              </a:extLst>
            </p:cNvPr>
            <p:cNvSpPr/>
            <p:nvPr/>
          </p:nvSpPr>
          <p:spPr>
            <a:xfrm>
              <a:off x="5277230" y="1498521"/>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1280"/>
                    <a:pt x="49778" y="32783"/>
                  </a:cubicBezTo>
                  <a:cubicBezTo>
                    <a:pt x="49778" y="22870"/>
                    <a:pt x="41281" y="15789"/>
                    <a:pt x="32783" y="15789"/>
                  </a:cubicBezTo>
                  <a:cubicBezTo>
                    <a:pt x="22870" y="15789"/>
                    <a:pt x="15789" y="24286"/>
                    <a:pt x="15789" y="32783"/>
                  </a:cubicBezTo>
                  <a:cubicBezTo>
                    <a:pt x="15789" y="41280"/>
                    <a:pt x="22870" y="49777"/>
                    <a:pt x="32783"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60" name="Freeform: Shape 2259">
              <a:extLst>
                <a:ext uri="{FF2B5EF4-FFF2-40B4-BE49-F238E27FC236}">
                  <a16:creationId xmlns:a16="http://schemas.microsoft.com/office/drawing/2014/main" id="{7514106A-6BF8-4797-98E6-356750753F76}"/>
                </a:ext>
              </a:extLst>
            </p:cNvPr>
            <p:cNvSpPr/>
            <p:nvPr/>
          </p:nvSpPr>
          <p:spPr>
            <a:xfrm>
              <a:off x="5131088" y="1433376"/>
              <a:ext cx="42486" cy="42486"/>
            </a:xfrm>
            <a:custGeom>
              <a:avLst/>
              <a:gdLst>
                <a:gd name="connsiteX0" fmla="*/ 24561 w 42485"/>
                <a:gd name="connsiteY0" fmla="*/ 32783 h 42485"/>
                <a:gd name="connsiteX1" fmla="*/ 33058 w 42485"/>
                <a:gd name="connsiteY1" fmla="*/ 24286 h 42485"/>
                <a:gd name="connsiteX2" fmla="*/ 24561 w 42485"/>
                <a:gd name="connsiteY2" fmla="*/ 15789 h 42485"/>
                <a:gd name="connsiteX3" fmla="*/ 16064 w 42485"/>
                <a:gd name="connsiteY3" fmla="*/ 24286 h 42485"/>
                <a:gd name="connsiteX4" fmla="*/ 24561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1" y="32783"/>
                  </a:moveTo>
                  <a:cubicBezTo>
                    <a:pt x="28809" y="32783"/>
                    <a:pt x="33058" y="28535"/>
                    <a:pt x="33058" y="24286"/>
                  </a:cubicBezTo>
                  <a:cubicBezTo>
                    <a:pt x="33058" y="20038"/>
                    <a:pt x="28809" y="15789"/>
                    <a:pt x="24561" y="15789"/>
                  </a:cubicBezTo>
                  <a:cubicBezTo>
                    <a:pt x="20312" y="15789"/>
                    <a:pt x="16064" y="20038"/>
                    <a:pt x="16064" y="24286"/>
                  </a:cubicBezTo>
                  <a:cubicBezTo>
                    <a:pt x="14647" y="28535"/>
                    <a:pt x="18896" y="32783"/>
                    <a:pt x="24561"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61" name="Freeform: Shape 2260">
              <a:extLst>
                <a:ext uri="{FF2B5EF4-FFF2-40B4-BE49-F238E27FC236}">
                  <a16:creationId xmlns:a16="http://schemas.microsoft.com/office/drawing/2014/main" id="{492484D3-5A6F-4552-9088-C3AA791E072C}"/>
                </a:ext>
              </a:extLst>
            </p:cNvPr>
            <p:cNvSpPr/>
            <p:nvPr/>
          </p:nvSpPr>
          <p:spPr>
            <a:xfrm>
              <a:off x="5162519" y="1545255"/>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9951"/>
                    <a:pt x="20037"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62" name="Freeform: Shape 2261">
              <a:extLst>
                <a:ext uri="{FF2B5EF4-FFF2-40B4-BE49-F238E27FC236}">
                  <a16:creationId xmlns:a16="http://schemas.microsoft.com/office/drawing/2014/main" id="{DAE8D086-D268-4F01-8EBE-FE47B11B6E5C}"/>
                </a:ext>
              </a:extLst>
            </p:cNvPr>
            <p:cNvSpPr/>
            <p:nvPr/>
          </p:nvSpPr>
          <p:spPr>
            <a:xfrm>
              <a:off x="3380950" y="681379"/>
              <a:ext cx="70810" cy="70810"/>
            </a:xfrm>
            <a:custGeom>
              <a:avLst/>
              <a:gdLst>
                <a:gd name="connsiteX0" fmla="*/ 39864 w 70809"/>
                <a:gd name="connsiteY0" fmla="*/ 63939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40" y="52610"/>
                    <a:pt x="63940" y="39864"/>
                  </a:cubicBezTo>
                  <a:cubicBezTo>
                    <a:pt x="63940" y="27119"/>
                    <a:pt x="52610" y="15789"/>
                    <a:pt x="39864" y="15789"/>
                  </a:cubicBezTo>
                  <a:cubicBezTo>
                    <a:pt x="27119" y="15789"/>
                    <a:pt x="15789" y="27119"/>
                    <a:pt x="15789" y="39864"/>
                  </a:cubicBezTo>
                  <a:cubicBezTo>
                    <a:pt x="15789" y="54026"/>
                    <a:pt x="27119" y="63939"/>
                    <a:pt x="39864" y="6393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63" name="Freeform: Shape 2262">
              <a:extLst>
                <a:ext uri="{FF2B5EF4-FFF2-40B4-BE49-F238E27FC236}">
                  <a16:creationId xmlns:a16="http://schemas.microsoft.com/office/drawing/2014/main" id="{1A78866F-1374-44B9-8921-257E19D2B14B}"/>
                </a:ext>
              </a:extLst>
            </p:cNvPr>
            <p:cNvSpPr/>
            <p:nvPr/>
          </p:nvSpPr>
          <p:spPr>
            <a:xfrm>
              <a:off x="3301644" y="457621"/>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5789" y="46945"/>
                    <a:pt x="24286" y="55442"/>
                    <a:pt x="35616"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64" name="Freeform: Shape 2263">
              <a:extLst>
                <a:ext uri="{FF2B5EF4-FFF2-40B4-BE49-F238E27FC236}">
                  <a16:creationId xmlns:a16="http://schemas.microsoft.com/office/drawing/2014/main" id="{A2C2E2B2-BF57-4C29-A48B-CCB08236E1AD}"/>
                </a:ext>
              </a:extLst>
            </p:cNvPr>
            <p:cNvSpPr/>
            <p:nvPr/>
          </p:nvSpPr>
          <p:spPr>
            <a:xfrm>
              <a:off x="3698177" y="39247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0" y="15789"/>
                    <a:pt x="32783" y="15789"/>
                  </a:cubicBezTo>
                  <a:cubicBezTo>
                    <a:pt x="22870" y="15789"/>
                    <a:pt x="15789" y="24286"/>
                    <a:pt x="15789" y="32783"/>
                  </a:cubicBezTo>
                  <a:cubicBezTo>
                    <a:pt x="15789" y="41280"/>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65" name="Freeform: Shape 2264">
              <a:extLst>
                <a:ext uri="{FF2B5EF4-FFF2-40B4-BE49-F238E27FC236}">
                  <a16:creationId xmlns:a16="http://schemas.microsoft.com/office/drawing/2014/main" id="{75F2984B-33A3-41C8-AF07-185348485B70}"/>
                </a:ext>
              </a:extLst>
            </p:cNvPr>
            <p:cNvSpPr/>
            <p:nvPr/>
          </p:nvSpPr>
          <p:spPr>
            <a:xfrm>
              <a:off x="3216672" y="70403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9951"/>
                    <a:pt x="18621"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66" name="Freeform: Shape 2265">
              <a:extLst>
                <a:ext uri="{FF2B5EF4-FFF2-40B4-BE49-F238E27FC236}">
                  <a16:creationId xmlns:a16="http://schemas.microsoft.com/office/drawing/2014/main" id="{0C0B7BF9-03C1-4A6F-9879-8F9156A6D141}"/>
                </a:ext>
              </a:extLst>
            </p:cNvPr>
            <p:cNvSpPr/>
            <p:nvPr/>
          </p:nvSpPr>
          <p:spPr>
            <a:xfrm>
              <a:off x="2949012" y="647390"/>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67" name="Freeform: Shape 2266">
              <a:extLst>
                <a:ext uri="{FF2B5EF4-FFF2-40B4-BE49-F238E27FC236}">
                  <a16:creationId xmlns:a16="http://schemas.microsoft.com/office/drawing/2014/main" id="{B467E1CC-9847-4C32-8AEF-83CB45F13F8A}"/>
                </a:ext>
              </a:extLst>
            </p:cNvPr>
            <p:cNvSpPr/>
            <p:nvPr/>
          </p:nvSpPr>
          <p:spPr>
            <a:xfrm>
              <a:off x="3329967" y="682795"/>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68" name="Freeform: Shape 2267">
              <a:extLst>
                <a:ext uri="{FF2B5EF4-FFF2-40B4-BE49-F238E27FC236}">
                  <a16:creationId xmlns:a16="http://schemas.microsoft.com/office/drawing/2014/main" id="{A598BBDE-84D9-4F03-8877-C92D2F81B786}"/>
                </a:ext>
              </a:extLst>
            </p:cNvPr>
            <p:cNvSpPr/>
            <p:nvPr/>
          </p:nvSpPr>
          <p:spPr>
            <a:xfrm>
              <a:off x="3366788" y="46611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9951"/>
                    <a:pt x="20038"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69" name="Freeform: Shape 2268">
              <a:extLst>
                <a:ext uri="{FF2B5EF4-FFF2-40B4-BE49-F238E27FC236}">
                  <a16:creationId xmlns:a16="http://schemas.microsoft.com/office/drawing/2014/main" id="{50A48A6A-CA42-491E-8124-8A66233E54E4}"/>
                </a:ext>
              </a:extLst>
            </p:cNvPr>
            <p:cNvSpPr/>
            <p:nvPr/>
          </p:nvSpPr>
          <p:spPr>
            <a:xfrm>
              <a:off x="3009908" y="518517"/>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5789" y="45529"/>
                    <a:pt x="24286" y="55442"/>
                    <a:pt x="35616"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70" name="Freeform: Shape 2269">
              <a:extLst>
                <a:ext uri="{FF2B5EF4-FFF2-40B4-BE49-F238E27FC236}">
                  <a16:creationId xmlns:a16="http://schemas.microsoft.com/office/drawing/2014/main" id="{49D6749D-79ED-48EF-BEC1-0256D723F59E}"/>
                </a:ext>
              </a:extLst>
            </p:cNvPr>
            <p:cNvSpPr/>
            <p:nvPr/>
          </p:nvSpPr>
          <p:spPr>
            <a:xfrm>
              <a:off x="3574969" y="570916"/>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71" name="Freeform: Shape 2270">
              <a:extLst>
                <a:ext uri="{FF2B5EF4-FFF2-40B4-BE49-F238E27FC236}">
                  <a16:creationId xmlns:a16="http://schemas.microsoft.com/office/drawing/2014/main" id="{F2325EE2-2461-41C3-876D-B519413FEDAC}"/>
                </a:ext>
              </a:extLst>
            </p:cNvPr>
            <p:cNvSpPr/>
            <p:nvPr/>
          </p:nvSpPr>
          <p:spPr>
            <a:xfrm>
              <a:off x="3691096" y="477447"/>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7205" y="41280"/>
                    <a:pt x="22870" y="46945"/>
                    <a:pt x="31367" y="4694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72" name="Freeform: Shape 2271">
              <a:extLst>
                <a:ext uri="{FF2B5EF4-FFF2-40B4-BE49-F238E27FC236}">
                  <a16:creationId xmlns:a16="http://schemas.microsoft.com/office/drawing/2014/main" id="{2FA99211-C8D0-49E7-A1E9-AF9A59A482D7}"/>
                </a:ext>
              </a:extLst>
            </p:cNvPr>
            <p:cNvSpPr/>
            <p:nvPr/>
          </p:nvSpPr>
          <p:spPr>
            <a:xfrm>
              <a:off x="3148695" y="596407"/>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73" name="Freeform: Shape 2272">
              <a:extLst>
                <a:ext uri="{FF2B5EF4-FFF2-40B4-BE49-F238E27FC236}">
                  <a16:creationId xmlns:a16="http://schemas.microsoft.com/office/drawing/2014/main" id="{AD098A3C-F0C8-4C31-B699-457DEFE2DEE5}"/>
                </a:ext>
              </a:extLst>
            </p:cNvPr>
            <p:cNvSpPr/>
            <p:nvPr/>
          </p:nvSpPr>
          <p:spPr>
            <a:xfrm>
              <a:off x="3373869" y="568084"/>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74" name="Freeform: Shape 2273">
              <a:extLst>
                <a:ext uri="{FF2B5EF4-FFF2-40B4-BE49-F238E27FC236}">
                  <a16:creationId xmlns:a16="http://schemas.microsoft.com/office/drawing/2014/main" id="{598E9B0B-73F5-42E9-95A1-A39C59C48A1D}"/>
                </a:ext>
              </a:extLst>
            </p:cNvPr>
            <p:cNvSpPr/>
            <p:nvPr/>
          </p:nvSpPr>
          <p:spPr>
            <a:xfrm>
              <a:off x="3267655" y="80883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75" name="Freeform: Shape 2274">
              <a:extLst>
                <a:ext uri="{FF2B5EF4-FFF2-40B4-BE49-F238E27FC236}">
                  <a16:creationId xmlns:a16="http://schemas.microsoft.com/office/drawing/2014/main" id="{F19E1027-11BC-4330-BE0A-CE74E823CDE1}"/>
                </a:ext>
              </a:extLst>
            </p:cNvPr>
            <p:cNvSpPr/>
            <p:nvPr/>
          </p:nvSpPr>
          <p:spPr>
            <a:xfrm>
              <a:off x="2798741" y="796090"/>
              <a:ext cx="56648" cy="56648"/>
            </a:xfrm>
            <a:custGeom>
              <a:avLst/>
              <a:gdLst>
                <a:gd name="connsiteX0" fmla="*/ 32938 w 56647"/>
                <a:gd name="connsiteY0" fmla="*/ 49778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8"/>
                  </a:moveTo>
                  <a:cubicBezTo>
                    <a:pt x="42852" y="49778"/>
                    <a:pt x="49933" y="41280"/>
                    <a:pt x="49933" y="32783"/>
                  </a:cubicBezTo>
                  <a:cubicBezTo>
                    <a:pt x="49933" y="22870"/>
                    <a:pt x="41435" y="15789"/>
                    <a:pt x="32938" y="15789"/>
                  </a:cubicBezTo>
                  <a:cubicBezTo>
                    <a:pt x="23025" y="15789"/>
                    <a:pt x="15944" y="24286"/>
                    <a:pt x="15944" y="32783"/>
                  </a:cubicBezTo>
                  <a:cubicBezTo>
                    <a:pt x="14528" y="42697"/>
                    <a:pt x="23025" y="49778"/>
                    <a:pt x="32938"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76" name="Freeform: Shape 2275">
              <a:extLst>
                <a:ext uri="{FF2B5EF4-FFF2-40B4-BE49-F238E27FC236}">
                  <a16:creationId xmlns:a16="http://schemas.microsoft.com/office/drawing/2014/main" id="{31005D99-5D33-48EF-A605-E35C214BF704}"/>
                </a:ext>
              </a:extLst>
            </p:cNvPr>
            <p:cNvSpPr/>
            <p:nvPr/>
          </p:nvSpPr>
          <p:spPr>
            <a:xfrm>
              <a:off x="3165689" y="1117566"/>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18621"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77" name="Freeform: Shape 2276">
              <a:extLst>
                <a:ext uri="{FF2B5EF4-FFF2-40B4-BE49-F238E27FC236}">
                  <a16:creationId xmlns:a16="http://schemas.microsoft.com/office/drawing/2014/main" id="{9A80E055-6CDB-4F9F-9250-E2B28FA6F83E}"/>
                </a:ext>
              </a:extLst>
            </p:cNvPr>
            <p:cNvSpPr/>
            <p:nvPr/>
          </p:nvSpPr>
          <p:spPr>
            <a:xfrm>
              <a:off x="2790124" y="1358318"/>
              <a:ext cx="42486" cy="42486"/>
            </a:xfrm>
            <a:custGeom>
              <a:avLst/>
              <a:gdLst>
                <a:gd name="connsiteX0" fmla="*/ 24561 w 42485"/>
                <a:gd name="connsiteY0" fmla="*/ 32783 h 42485"/>
                <a:gd name="connsiteX1" fmla="*/ 33058 w 42485"/>
                <a:gd name="connsiteY1" fmla="*/ 24286 h 42485"/>
                <a:gd name="connsiteX2" fmla="*/ 24561 w 42485"/>
                <a:gd name="connsiteY2" fmla="*/ 15789 h 42485"/>
                <a:gd name="connsiteX3" fmla="*/ 16063 w 42485"/>
                <a:gd name="connsiteY3" fmla="*/ 24286 h 42485"/>
                <a:gd name="connsiteX4" fmla="*/ 24561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1" y="32783"/>
                  </a:moveTo>
                  <a:cubicBezTo>
                    <a:pt x="28809" y="32783"/>
                    <a:pt x="33058" y="28535"/>
                    <a:pt x="33058" y="24286"/>
                  </a:cubicBezTo>
                  <a:cubicBezTo>
                    <a:pt x="33058" y="20038"/>
                    <a:pt x="28809" y="15789"/>
                    <a:pt x="24561" y="15789"/>
                  </a:cubicBezTo>
                  <a:cubicBezTo>
                    <a:pt x="20312" y="15789"/>
                    <a:pt x="16063" y="20038"/>
                    <a:pt x="16063" y="24286"/>
                  </a:cubicBezTo>
                  <a:cubicBezTo>
                    <a:pt x="14647" y="29951"/>
                    <a:pt x="18896" y="32783"/>
                    <a:pt x="24561"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78" name="Freeform: Shape 2277">
              <a:extLst>
                <a:ext uri="{FF2B5EF4-FFF2-40B4-BE49-F238E27FC236}">
                  <a16:creationId xmlns:a16="http://schemas.microsoft.com/office/drawing/2014/main" id="{5FD4482F-FC8C-4D40-8F0F-05D9F9F61B07}"/>
                </a:ext>
              </a:extLst>
            </p:cNvPr>
            <p:cNvSpPr/>
            <p:nvPr/>
          </p:nvSpPr>
          <p:spPr>
            <a:xfrm>
              <a:off x="3498494" y="1077912"/>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79" name="Freeform: Shape 2278">
              <a:extLst>
                <a:ext uri="{FF2B5EF4-FFF2-40B4-BE49-F238E27FC236}">
                  <a16:creationId xmlns:a16="http://schemas.microsoft.com/office/drawing/2014/main" id="{47E7A09C-9177-4142-9BDF-0195D55D9756}"/>
                </a:ext>
              </a:extLst>
            </p:cNvPr>
            <p:cNvSpPr/>
            <p:nvPr/>
          </p:nvSpPr>
          <p:spPr>
            <a:xfrm>
              <a:off x="3363956" y="1158635"/>
              <a:ext cx="70810" cy="70810"/>
            </a:xfrm>
            <a:custGeom>
              <a:avLst/>
              <a:gdLst>
                <a:gd name="connsiteX0" fmla="*/ 39864 w 70809"/>
                <a:gd name="connsiteY0" fmla="*/ 63940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2610" y="63940"/>
                    <a:pt x="63940" y="52610"/>
                    <a:pt x="63940" y="39864"/>
                  </a:cubicBezTo>
                  <a:cubicBezTo>
                    <a:pt x="63940" y="27119"/>
                    <a:pt x="52610" y="15789"/>
                    <a:pt x="39864" y="15789"/>
                  </a:cubicBezTo>
                  <a:cubicBezTo>
                    <a:pt x="27119" y="15789"/>
                    <a:pt x="15789" y="27119"/>
                    <a:pt x="15789" y="39864"/>
                  </a:cubicBezTo>
                  <a:cubicBezTo>
                    <a:pt x="15789" y="54026"/>
                    <a:pt x="27119" y="63940"/>
                    <a:pt x="39864" y="6394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80" name="Freeform: Shape 2279">
              <a:extLst>
                <a:ext uri="{FF2B5EF4-FFF2-40B4-BE49-F238E27FC236}">
                  <a16:creationId xmlns:a16="http://schemas.microsoft.com/office/drawing/2014/main" id="{2C47291D-FFEF-46F5-B841-E59C49BCB813}"/>
                </a:ext>
              </a:extLst>
            </p:cNvPr>
            <p:cNvSpPr/>
            <p:nvPr/>
          </p:nvSpPr>
          <p:spPr>
            <a:xfrm>
              <a:off x="3240473" y="1243607"/>
              <a:ext cx="42486" cy="42486"/>
            </a:xfrm>
            <a:custGeom>
              <a:avLst/>
              <a:gdLst>
                <a:gd name="connsiteX0" fmla="*/ 24561 w 42485"/>
                <a:gd name="connsiteY0" fmla="*/ 32783 h 42485"/>
                <a:gd name="connsiteX1" fmla="*/ 33058 w 42485"/>
                <a:gd name="connsiteY1" fmla="*/ 24286 h 42485"/>
                <a:gd name="connsiteX2" fmla="*/ 24561 w 42485"/>
                <a:gd name="connsiteY2" fmla="*/ 15789 h 42485"/>
                <a:gd name="connsiteX3" fmla="*/ 16064 w 42485"/>
                <a:gd name="connsiteY3" fmla="*/ 24286 h 42485"/>
                <a:gd name="connsiteX4" fmla="*/ 24561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1" y="32783"/>
                  </a:moveTo>
                  <a:cubicBezTo>
                    <a:pt x="28809" y="32783"/>
                    <a:pt x="33058" y="28535"/>
                    <a:pt x="33058" y="24286"/>
                  </a:cubicBezTo>
                  <a:cubicBezTo>
                    <a:pt x="33058" y="20038"/>
                    <a:pt x="28809" y="15789"/>
                    <a:pt x="24561" y="15789"/>
                  </a:cubicBezTo>
                  <a:cubicBezTo>
                    <a:pt x="20312" y="15789"/>
                    <a:pt x="16064" y="20038"/>
                    <a:pt x="16064" y="24286"/>
                  </a:cubicBezTo>
                  <a:cubicBezTo>
                    <a:pt x="14647" y="28535"/>
                    <a:pt x="18896" y="32783"/>
                    <a:pt x="24561"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81" name="Freeform: Shape 2280">
              <a:extLst>
                <a:ext uri="{FF2B5EF4-FFF2-40B4-BE49-F238E27FC236}">
                  <a16:creationId xmlns:a16="http://schemas.microsoft.com/office/drawing/2014/main" id="{33BF751C-302A-4028-9401-E83D45C866EA}"/>
                </a:ext>
              </a:extLst>
            </p:cNvPr>
            <p:cNvSpPr/>
            <p:nvPr/>
          </p:nvSpPr>
          <p:spPr>
            <a:xfrm>
              <a:off x="2913607" y="119120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82" name="Freeform: Shape 2281">
              <a:extLst>
                <a:ext uri="{FF2B5EF4-FFF2-40B4-BE49-F238E27FC236}">
                  <a16:creationId xmlns:a16="http://schemas.microsoft.com/office/drawing/2014/main" id="{D88B09AE-B995-4CF3-8FF0-432D818FA3EA}"/>
                </a:ext>
              </a:extLst>
            </p:cNvPr>
            <p:cNvSpPr/>
            <p:nvPr/>
          </p:nvSpPr>
          <p:spPr>
            <a:xfrm>
              <a:off x="2291899" y="84140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83" name="Freeform: Shape 2282">
              <a:extLst>
                <a:ext uri="{FF2B5EF4-FFF2-40B4-BE49-F238E27FC236}">
                  <a16:creationId xmlns:a16="http://schemas.microsoft.com/office/drawing/2014/main" id="{5087A60D-A58A-4FA0-88E4-724FD19A9DC8}"/>
                </a:ext>
              </a:extLst>
            </p:cNvPr>
            <p:cNvSpPr/>
            <p:nvPr/>
          </p:nvSpPr>
          <p:spPr>
            <a:xfrm>
              <a:off x="2423605" y="66296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84" name="Freeform: Shape 2283">
              <a:extLst>
                <a:ext uri="{FF2B5EF4-FFF2-40B4-BE49-F238E27FC236}">
                  <a16:creationId xmlns:a16="http://schemas.microsoft.com/office/drawing/2014/main" id="{B01EA1B7-32F5-4660-BB21-5F19C046BE10}"/>
                </a:ext>
              </a:extLst>
            </p:cNvPr>
            <p:cNvSpPr/>
            <p:nvPr/>
          </p:nvSpPr>
          <p:spPr>
            <a:xfrm>
              <a:off x="3540980" y="1422047"/>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41280"/>
                    <a:pt x="22870" y="46945"/>
                    <a:pt x="31367" y="4694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85" name="Freeform: Shape 2284">
              <a:extLst>
                <a:ext uri="{FF2B5EF4-FFF2-40B4-BE49-F238E27FC236}">
                  <a16:creationId xmlns:a16="http://schemas.microsoft.com/office/drawing/2014/main" id="{3B5F0473-B70B-4EC6-B354-480C1C1894D6}"/>
                </a:ext>
              </a:extLst>
            </p:cNvPr>
            <p:cNvSpPr/>
            <p:nvPr/>
          </p:nvSpPr>
          <p:spPr>
            <a:xfrm>
              <a:off x="3768712" y="1329994"/>
              <a:ext cx="42486" cy="42486"/>
            </a:xfrm>
            <a:custGeom>
              <a:avLst/>
              <a:gdLst>
                <a:gd name="connsiteX0" fmla="*/ 24561 w 42485"/>
                <a:gd name="connsiteY0" fmla="*/ 32783 h 42485"/>
                <a:gd name="connsiteX1" fmla="*/ 33058 w 42485"/>
                <a:gd name="connsiteY1" fmla="*/ 24286 h 42485"/>
                <a:gd name="connsiteX2" fmla="*/ 24561 w 42485"/>
                <a:gd name="connsiteY2" fmla="*/ 15789 h 42485"/>
                <a:gd name="connsiteX3" fmla="*/ 16064 w 42485"/>
                <a:gd name="connsiteY3" fmla="*/ 24286 h 42485"/>
                <a:gd name="connsiteX4" fmla="*/ 24561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1" y="32783"/>
                  </a:moveTo>
                  <a:cubicBezTo>
                    <a:pt x="28809" y="32783"/>
                    <a:pt x="33058" y="28535"/>
                    <a:pt x="33058" y="24286"/>
                  </a:cubicBezTo>
                  <a:cubicBezTo>
                    <a:pt x="33058" y="20038"/>
                    <a:pt x="28809" y="15789"/>
                    <a:pt x="24561" y="15789"/>
                  </a:cubicBezTo>
                  <a:cubicBezTo>
                    <a:pt x="20312" y="15789"/>
                    <a:pt x="16064" y="20038"/>
                    <a:pt x="16064" y="24286"/>
                  </a:cubicBezTo>
                  <a:cubicBezTo>
                    <a:pt x="14647" y="28535"/>
                    <a:pt x="18896" y="32783"/>
                    <a:pt x="24561"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86" name="Freeform: Shape 2285">
              <a:extLst>
                <a:ext uri="{FF2B5EF4-FFF2-40B4-BE49-F238E27FC236}">
                  <a16:creationId xmlns:a16="http://schemas.microsoft.com/office/drawing/2014/main" id="{9C9DB2EA-8211-42F6-B1B9-C63F7F6217CB}"/>
                </a:ext>
              </a:extLst>
            </p:cNvPr>
            <p:cNvSpPr/>
            <p:nvPr/>
          </p:nvSpPr>
          <p:spPr>
            <a:xfrm>
              <a:off x="3685431" y="1508434"/>
              <a:ext cx="70810" cy="70810"/>
            </a:xfrm>
            <a:custGeom>
              <a:avLst/>
              <a:gdLst>
                <a:gd name="connsiteX0" fmla="*/ 38448 w 70809"/>
                <a:gd name="connsiteY0" fmla="*/ 61107 h 70809"/>
                <a:gd name="connsiteX1" fmla="*/ 61107 w 70809"/>
                <a:gd name="connsiteY1" fmla="*/ 38448 h 70809"/>
                <a:gd name="connsiteX2" fmla="*/ 38448 w 70809"/>
                <a:gd name="connsiteY2" fmla="*/ 15789 h 70809"/>
                <a:gd name="connsiteX3" fmla="*/ 15789 w 70809"/>
                <a:gd name="connsiteY3" fmla="*/ 38448 h 70809"/>
                <a:gd name="connsiteX4" fmla="*/ 3844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8" y="61107"/>
                  </a:moveTo>
                  <a:cubicBezTo>
                    <a:pt x="51194" y="61107"/>
                    <a:pt x="61107" y="51194"/>
                    <a:pt x="61107" y="38448"/>
                  </a:cubicBezTo>
                  <a:cubicBezTo>
                    <a:pt x="61107" y="25702"/>
                    <a:pt x="51194" y="15789"/>
                    <a:pt x="38448" y="15789"/>
                  </a:cubicBezTo>
                  <a:cubicBezTo>
                    <a:pt x="25703" y="15789"/>
                    <a:pt x="15789" y="25702"/>
                    <a:pt x="15789" y="38448"/>
                  </a:cubicBezTo>
                  <a:cubicBezTo>
                    <a:pt x="15789" y="51194"/>
                    <a:pt x="25703" y="61107"/>
                    <a:pt x="38448" y="6110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87" name="Freeform: Shape 2286">
              <a:extLst>
                <a:ext uri="{FF2B5EF4-FFF2-40B4-BE49-F238E27FC236}">
                  <a16:creationId xmlns:a16="http://schemas.microsoft.com/office/drawing/2014/main" id="{02346402-3553-417E-9F91-0EC2E933A930}"/>
                </a:ext>
              </a:extLst>
            </p:cNvPr>
            <p:cNvSpPr/>
            <p:nvPr/>
          </p:nvSpPr>
          <p:spPr>
            <a:xfrm>
              <a:off x="3652859" y="117846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88" name="Freeform: Shape 2287">
              <a:extLst>
                <a:ext uri="{FF2B5EF4-FFF2-40B4-BE49-F238E27FC236}">
                  <a16:creationId xmlns:a16="http://schemas.microsoft.com/office/drawing/2014/main" id="{F16008FB-5BA2-4D02-B1BD-7F799B12D0FD}"/>
                </a:ext>
              </a:extLst>
            </p:cNvPr>
            <p:cNvSpPr/>
            <p:nvPr/>
          </p:nvSpPr>
          <p:spPr>
            <a:xfrm>
              <a:off x="3604708" y="1574995"/>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89" name="Freeform: Shape 2288">
              <a:extLst>
                <a:ext uri="{FF2B5EF4-FFF2-40B4-BE49-F238E27FC236}">
                  <a16:creationId xmlns:a16="http://schemas.microsoft.com/office/drawing/2014/main" id="{D00488DF-44DD-4DC0-A6D8-68990B4A6C14}"/>
                </a:ext>
              </a:extLst>
            </p:cNvPr>
            <p:cNvSpPr/>
            <p:nvPr/>
          </p:nvSpPr>
          <p:spPr>
            <a:xfrm>
              <a:off x="3538147" y="1134560"/>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90" name="Freeform: Shape 2289">
              <a:extLst>
                <a:ext uri="{FF2B5EF4-FFF2-40B4-BE49-F238E27FC236}">
                  <a16:creationId xmlns:a16="http://schemas.microsoft.com/office/drawing/2014/main" id="{6490BE14-FA3B-43F1-9CAC-E44DBD096B79}"/>
                </a:ext>
              </a:extLst>
            </p:cNvPr>
            <p:cNvSpPr/>
            <p:nvPr/>
          </p:nvSpPr>
          <p:spPr>
            <a:xfrm>
              <a:off x="3805808" y="1440457"/>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91" name="Freeform: Shape 2290">
              <a:extLst>
                <a:ext uri="{FF2B5EF4-FFF2-40B4-BE49-F238E27FC236}">
                  <a16:creationId xmlns:a16="http://schemas.microsoft.com/office/drawing/2014/main" id="{A9B2C11A-D6D0-4865-93B9-9EF4E9EB98C4}"/>
                </a:ext>
              </a:extLst>
            </p:cNvPr>
            <p:cNvSpPr/>
            <p:nvPr/>
          </p:nvSpPr>
          <p:spPr>
            <a:xfrm>
              <a:off x="3242164" y="1059502"/>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18621"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92" name="Freeform: Shape 2291">
              <a:extLst>
                <a:ext uri="{FF2B5EF4-FFF2-40B4-BE49-F238E27FC236}">
                  <a16:creationId xmlns:a16="http://schemas.microsoft.com/office/drawing/2014/main" id="{9ED4407E-C7BB-4F87-A338-5099303521EB}"/>
                </a:ext>
              </a:extLst>
            </p:cNvPr>
            <p:cNvSpPr/>
            <p:nvPr/>
          </p:nvSpPr>
          <p:spPr>
            <a:xfrm>
              <a:off x="3175602" y="973114"/>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93" name="Freeform: Shape 2292">
              <a:extLst>
                <a:ext uri="{FF2B5EF4-FFF2-40B4-BE49-F238E27FC236}">
                  <a16:creationId xmlns:a16="http://schemas.microsoft.com/office/drawing/2014/main" id="{FFD3FAA0-8AD0-46AE-9483-8A15C89ABD3E}"/>
                </a:ext>
              </a:extLst>
            </p:cNvPr>
            <p:cNvSpPr/>
            <p:nvPr/>
          </p:nvSpPr>
          <p:spPr>
            <a:xfrm>
              <a:off x="3205343" y="98727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94" name="Freeform: Shape 2293">
              <a:extLst>
                <a:ext uri="{FF2B5EF4-FFF2-40B4-BE49-F238E27FC236}">
                  <a16:creationId xmlns:a16="http://schemas.microsoft.com/office/drawing/2014/main" id="{0A8FC651-3F37-478C-9A7D-BA3B06D27501}"/>
                </a:ext>
              </a:extLst>
            </p:cNvPr>
            <p:cNvSpPr/>
            <p:nvPr/>
          </p:nvSpPr>
          <p:spPr>
            <a:xfrm>
              <a:off x="3041064" y="1075080"/>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95" name="Freeform: Shape 2294">
              <a:extLst>
                <a:ext uri="{FF2B5EF4-FFF2-40B4-BE49-F238E27FC236}">
                  <a16:creationId xmlns:a16="http://schemas.microsoft.com/office/drawing/2014/main" id="{4E0DE109-B03F-4CC8-9051-49375196770E}"/>
                </a:ext>
              </a:extLst>
            </p:cNvPr>
            <p:cNvSpPr/>
            <p:nvPr/>
          </p:nvSpPr>
          <p:spPr>
            <a:xfrm>
              <a:off x="3184100" y="1240774"/>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96" name="Freeform: Shape 2295">
              <a:extLst>
                <a:ext uri="{FF2B5EF4-FFF2-40B4-BE49-F238E27FC236}">
                  <a16:creationId xmlns:a16="http://schemas.microsoft.com/office/drawing/2014/main" id="{AE947BAF-9407-4660-84E3-3A4A8BFDE320}"/>
                </a:ext>
              </a:extLst>
            </p:cNvPr>
            <p:cNvSpPr/>
            <p:nvPr/>
          </p:nvSpPr>
          <p:spPr>
            <a:xfrm>
              <a:off x="3427685" y="1168549"/>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18621"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97" name="Freeform: Shape 2296">
              <a:extLst>
                <a:ext uri="{FF2B5EF4-FFF2-40B4-BE49-F238E27FC236}">
                  <a16:creationId xmlns:a16="http://schemas.microsoft.com/office/drawing/2014/main" id="{B8609D5E-3678-4405-B4ED-5F6025E22EB3}"/>
                </a:ext>
              </a:extLst>
            </p:cNvPr>
            <p:cNvSpPr/>
            <p:nvPr/>
          </p:nvSpPr>
          <p:spPr>
            <a:xfrm>
              <a:off x="3577801" y="1235110"/>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98" name="Freeform: Shape 2297">
              <a:extLst>
                <a:ext uri="{FF2B5EF4-FFF2-40B4-BE49-F238E27FC236}">
                  <a16:creationId xmlns:a16="http://schemas.microsoft.com/office/drawing/2014/main" id="{0A57531B-BD41-49A2-9D5B-068D4FC1CF69}"/>
                </a:ext>
              </a:extLst>
            </p:cNvPr>
            <p:cNvSpPr/>
            <p:nvPr/>
          </p:nvSpPr>
          <p:spPr>
            <a:xfrm>
              <a:off x="3250661" y="1378145"/>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299" name="Freeform: Shape 2298">
              <a:extLst>
                <a:ext uri="{FF2B5EF4-FFF2-40B4-BE49-F238E27FC236}">
                  <a16:creationId xmlns:a16="http://schemas.microsoft.com/office/drawing/2014/main" id="{F7E8CC10-BB92-4308-898E-ED851D45B7C2}"/>
                </a:ext>
              </a:extLst>
            </p:cNvPr>
            <p:cNvSpPr/>
            <p:nvPr/>
          </p:nvSpPr>
          <p:spPr>
            <a:xfrm>
              <a:off x="3162857" y="1407885"/>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00" name="Freeform: Shape 2299">
              <a:extLst>
                <a:ext uri="{FF2B5EF4-FFF2-40B4-BE49-F238E27FC236}">
                  <a16:creationId xmlns:a16="http://schemas.microsoft.com/office/drawing/2014/main" id="{AA61306D-BC20-40FB-95EF-1971EB50E300}"/>
                </a:ext>
              </a:extLst>
            </p:cNvPr>
            <p:cNvSpPr/>
            <p:nvPr/>
          </p:nvSpPr>
          <p:spPr>
            <a:xfrm>
              <a:off x="2443431" y="1574995"/>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01" name="Freeform: Shape 2300">
              <a:extLst>
                <a:ext uri="{FF2B5EF4-FFF2-40B4-BE49-F238E27FC236}">
                  <a16:creationId xmlns:a16="http://schemas.microsoft.com/office/drawing/2014/main" id="{A6517242-4FF3-412B-BCC4-0F8D9F67749F}"/>
                </a:ext>
              </a:extLst>
            </p:cNvPr>
            <p:cNvSpPr/>
            <p:nvPr/>
          </p:nvSpPr>
          <p:spPr>
            <a:xfrm>
              <a:off x="2543116" y="2540623"/>
              <a:ext cx="84971" cy="84971"/>
            </a:xfrm>
            <a:custGeom>
              <a:avLst/>
              <a:gdLst>
                <a:gd name="connsiteX0" fmla="*/ 44220 w 84971"/>
                <a:gd name="connsiteY0" fmla="*/ 72437 h 84971"/>
                <a:gd name="connsiteX1" fmla="*/ 72544 w 84971"/>
                <a:gd name="connsiteY1" fmla="*/ 44113 h 84971"/>
                <a:gd name="connsiteX2" fmla="*/ 44220 w 84971"/>
                <a:gd name="connsiteY2" fmla="*/ 15789 h 84971"/>
                <a:gd name="connsiteX3" fmla="*/ 15896 w 84971"/>
                <a:gd name="connsiteY3" fmla="*/ 44113 h 84971"/>
                <a:gd name="connsiteX4" fmla="*/ 44220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220" y="72437"/>
                  </a:moveTo>
                  <a:cubicBezTo>
                    <a:pt x="59798" y="72437"/>
                    <a:pt x="72544" y="59691"/>
                    <a:pt x="72544" y="44113"/>
                  </a:cubicBezTo>
                  <a:cubicBezTo>
                    <a:pt x="72544" y="28535"/>
                    <a:pt x="59798" y="15789"/>
                    <a:pt x="44220" y="15789"/>
                  </a:cubicBezTo>
                  <a:cubicBezTo>
                    <a:pt x="28642" y="15789"/>
                    <a:pt x="15896" y="28535"/>
                    <a:pt x="15896" y="44113"/>
                  </a:cubicBezTo>
                  <a:cubicBezTo>
                    <a:pt x="14480" y="59691"/>
                    <a:pt x="27226" y="72437"/>
                    <a:pt x="44220" y="7243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02" name="Freeform: Shape 2301">
              <a:extLst>
                <a:ext uri="{FF2B5EF4-FFF2-40B4-BE49-F238E27FC236}">
                  <a16:creationId xmlns:a16="http://schemas.microsoft.com/office/drawing/2014/main" id="{C7573C15-FB95-4BF9-84BE-1DE4BC6F08BC}"/>
                </a:ext>
              </a:extLst>
            </p:cNvPr>
            <p:cNvSpPr/>
            <p:nvPr/>
          </p:nvSpPr>
          <p:spPr>
            <a:xfrm>
              <a:off x="2657656" y="2057587"/>
              <a:ext cx="84971" cy="84971"/>
            </a:xfrm>
            <a:custGeom>
              <a:avLst/>
              <a:gdLst>
                <a:gd name="connsiteX0" fmla="*/ 44220 w 84971"/>
                <a:gd name="connsiteY0" fmla="*/ 72437 h 84971"/>
                <a:gd name="connsiteX1" fmla="*/ 72544 w 84971"/>
                <a:gd name="connsiteY1" fmla="*/ 44113 h 84971"/>
                <a:gd name="connsiteX2" fmla="*/ 44220 w 84971"/>
                <a:gd name="connsiteY2" fmla="*/ 15789 h 84971"/>
                <a:gd name="connsiteX3" fmla="*/ 15897 w 84971"/>
                <a:gd name="connsiteY3" fmla="*/ 44113 h 84971"/>
                <a:gd name="connsiteX4" fmla="*/ 44220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220" y="72437"/>
                  </a:moveTo>
                  <a:cubicBezTo>
                    <a:pt x="59798" y="72437"/>
                    <a:pt x="72544" y="59691"/>
                    <a:pt x="72544" y="44113"/>
                  </a:cubicBezTo>
                  <a:cubicBezTo>
                    <a:pt x="72544" y="28535"/>
                    <a:pt x="59798" y="15789"/>
                    <a:pt x="44220" y="15789"/>
                  </a:cubicBezTo>
                  <a:cubicBezTo>
                    <a:pt x="28642" y="15789"/>
                    <a:pt x="15897" y="28535"/>
                    <a:pt x="15897" y="44113"/>
                  </a:cubicBezTo>
                  <a:cubicBezTo>
                    <a:pt x="14480" y="59691"/>
                    <a:pt x="27226" y="72437"/>
                    <a:pt x="44220" y="7243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03" name="Freeform: Shape 2302">
              <a:extLst>
                <a:ext uri="{FF2B5EF4-FFF2-40B4-BE49-F238E27FC236}">
                  <a16:creationId xmlns:a16="http://schemas.microsoft.com/office/drawing/2014/main" id="{D28F61CB-593F-4FEF-AF2B-7AC282EB848B}"/>
                </a:ext>
              </a:extLst>
            </p:cNvPr>
            <p:cNvSpPr/>
            <p:nvPr/>
          </p:nvSpPr>
          <p:spPr>
            <a:xfrm>
              <a:off x="3052394" y="2495519"/>
              <a:ext cx="113295" cy="113295"/>
            </a:xfrm>
            <a:custGeom>
              <a:avLst/>
              <a:gdLst>
                <a:gd name="connsiteX0" fmla="*/ 56859 w 113295"/>
                <a:gd name="connsiteY0" fmla="*/ 97928 h 113295"/>
                <a:gd name="connsiteX1" fmla="*/ 97928 w 113295"/>
                <a:gd name="connsiteY1" fmla="*/ 56859 h 113295"/>
                <a:gd name="connsiteX2" fmla="*/ 56859 w 113295"/>
                <a:gd name="connsiteY2" fmla="*/ 15789 h 113295"/>
                <a:gd name="connsiteX3" fmla="*/ 15789 w 113295"/>
                <a:gd name="connsiteY3" fmla="*/ 56859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8" y="79518"/>
                    <a:pt x="97928" y="56859"/>
                  </a:cubicBezTo>
                  <a:cubicBezTo>
                    <a:pt x="97928" y="34200"/>
                    <a:pt x="79518" y="15789"/>
                    <a:pt x="56859" y="15789"/>
                  </a:cubicBezTo>
                  <a:cubicBezTo>
                    <a:pt x="34200" y="15789"/>
                    <a:pt x="15789" y="34200"/>
                    <a:pt x="15789" y="56859"/>
                  </a:cubicBezTo>
                  <a:cubicBezTo>
                    <a:pt x="15789" y="79518"/>
                    <a:pt x="34200" y="97928"/>
                    <a:pt x="56859" y="9792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04" name="Freeform: Shape 2303">
              <a:extLst>
                <a:ext uri="{FF2B5EF4-FFF2-40B4-BE49-F238E27FC236}">
                  <a16:creationId xmlns:a16="http://schemas.microsoft.com/office/drawing/2014/main" id="{8070735D-AD39-4A77-901E-E79BEC4688D9}"/>
                </a:ext>
              </a:extLst>
            </p:cNvPr>
            <p:cNvSpPr/>
            <p:nvPr/>
          </p:nvSpPr>
          <p:spPr>
            <a:xfrm>
              <a:off x="2204095" y="1550920"/>
              <a:ext cx="127457" cy="127457"/>
            </a:xfrm>
            <a:custGeom>
              <a:avLst/>
              <a:gdLst>
                <a:gd name="connsiteX0" fmla="*/ 63939 w 127457"/>
                <a:gd name="connsiteY0" fmla="*/ 15789 h 127457"/>
                <a:gd name="connsiteX1" fmla="*/ 112090 w 127457"/>
                <a:gd name="connsiteY1" fmla="*/ 63940 h 127457"/>
                <a:gd name="connsiteX2" fmla="*/ 63939 w 127457"/>
                <a:gd name="connsiteY2" fmla="*/ 112090 h 127457"/>
                <a:gd name="connsiteX3" fmla="*/ 15789 w 127457"/>
                <a:gd name="connsiteY3" fmla="*/ 63940 h 127457"/>
                <a:gd name="connsiteX4" fmla="*/ 63939 w 127457"/>
                <a:gd name="connsiteY4" fmla="*/ 15789 h 127457"/>
                <a:gd name="connsiteX5" fmla="*/ 63939 w 127457"/>
                <a:gd name="connsiteY5" fmla="*/ 15789 h 127457"/>
                <a:gd name="connsiteX6" fmla="*/ 63939 w 127457"/>
                <a:gd name="connsiteY6" fmla="*/ 37032 h 127457"/>
                <a:gd name="connsiteX7" fmla="*/ 37032 w 127457"/>
                <a:gd name="connsiteY7" fmla="*/ 63940 h 127457"/>
                <a:gd name="connsiteX8" fmla="*/ 63939 w 127457"/>
                <a:gd name="connsiteY8" fmla="*/ 90847 h 127457"/>
                <a:gd name="connsiteX9" fmla="*/ 90847 w 127457"/>
                <a:gd name="connsiteY9" fmla="*/ 63940 h 127457"/>
                <a:gd name="connsiteX10" fmla="*/ 63939 w 127457"/>
                <a:gd name="connsiteY10" fmla="*/ 37032 h 12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457" h="127457">
                  <a:moveTo>
                    <a:pt x="63939" y="15789"/>
                  </a:moveTo>
                  <a:cubicBezTo>
                    <a:pt x="90847" y="15789"/>
                    <a:pt x="112090" y="37032"/>
                    <a:pt x="112090" y="63940"/>
                  </a:cubicBezTo>
                  <a:cubicBezTo>
                    <a:pt x="112090" y="90847"/>
                    <a:pt x="90847" y="112090"/>
                    <a:pt x="63939" y="112090"/>
                  </a:cubicBezTo>
                  <a:cubicBezTo>
                    <a:pt x="37032" y="112090"/>
                    <a:pt x="15789" y="90847"/>
                    <a:pt x="15789" y="63940"/>
                  </a:cubicBezTo>
                  <a:cubicBezTo>
                    <a:pt x="15789" y="37032"/>
                    <a:pt x="37032" y="15789"/>
                    <a:pt x="63939" y="15789"/>
                  </a:cubicBezTo>
                  <a:lnTo>
                    <a:pt x="63939" y="15789"/>
                  </a:lnTo>
                  <a:close/>
                  <a:moveTo>
                    <a:pt x="63939" y="37032"/>
                  </a:moveTo>
                  <a:cubicBezTo>
                    <a:pt x="48361" y="37032"/>
                    <a:pt x="37032" y="49778"/>
                    <a:pt x="37032" y="63940"/>
                  </a:cubicBezTo>
                  <a:cubicBezTo>
                    <a:pt x="37032" y="79518"/>
                    <a:pt x="49778" y="90847"/>
                    <a:pt x="63939" y="90847"/>
                  </a:cubicBezTo>
                  <a:cubicBezTo>
                    <a:pt x="79518" y="90847"/>
                    <a:pt x="90847" y="78101"/>
                    <a:pt x="90847" y="63940"/>
                  </a:cubicBezTo>
                  <a:cubicBezTo>
                    <a:pt x="90847" y="49778"/>
                    <a:pt x="78101" y="37032"/>
                    <a:pt x="63939" y="3703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05" name="Freeform: Shape 2304">
              <a:extLst>
                <a:ext uri="{FF2B5EF4-FFF2-40B4-BE49-F238E27FC236}">
                  <a16:creationId xmlns:a16="http://schemas.microsoft.com/office/drawing/2014/main" id="{B93CA15C-8586-483A-914A-504949F930D2}"/>
                </a:ext>
              </a:extLst>
            </p:cNvPr>
            <p:cNvSpPr/>
            <p:nvPr/>
          </p:nvSpPr>
          <p:spPr>
            <a:xfrm>
              <a:off x="2225636" y="2936101"/>
              <a:ext cx="70810" cy="70810"/>
            </a:xfrm>
            <a:custGeom>
              <a:avLst/>
              <a:gdLst>
                <a:gd name="connsiteX0" fmla="*/ 39864 w 70809"/>
                <a:gd name="connsiteY0" fmla="*/ 63939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40" y="52610"/>
                    <a:pt x="63940" y="39864"/>
                  </a:cubicBezTo>
                  <a:cubicBezTo>
                    <a:pt x="63940" y="27118"/>
                    <a:pt x="52610" y="15789"/>
                    <a:pt x="39864" y="15789"/>
                  </a:cubicBezTo>
                  <a:cubicBezTo>
                    <a:pt x="27118" y="15789"/>
                    <a:pt x="15789" y="27118"/>
                    <a:pt x="15789" y="39864"/>
                  </a:cubicBezTo>
                  <a:cubicBezTo>
                    <a:pt x="15789" y="52610"/>
                    <a:pt x="27118" y="63939"/>
                    <a:pt x="39864" y="6393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06" name="Freeform: Shape 2305">
              <a:extLst>
                <a:ext uri="{FF2B5EF4-FFF2-40B4-BE49-F238E27FC236}">
                  <a16:creationId xmlns:a16="http://schemas.microsoft.com/office/drawing/2014/main" id="{5C4A38AB-5A00-4F53-939C-09FD62BCFBBA}"/>
                </a:ext>
              </a:extLst>
            </p:cNvPr>
            <p:cNvSpPr/>
            <p:nvPr/>
          </p:nvSpPr>
          <p:spPr>
            <a:xfrm>
              <a:off x="2143199" y="2593237"/>
              <a:ext cx="84971" cy="99133"/>
            </a:xfrm>
            <a:custGeom>
              <a:avLst/>
              <a:gdLst>
                <a:gd name="connsiteX0" fmla="*/ 48361 w 84971"/>
                <a:gd name="connsiteY0" fmla="*/ 15789 h 99133"/>
                <a:gd name="connsiteX1" fmla="*/ 82350 w 84971"/>
                <a:gd name="connsiteY1" fmla="*/ 49777 h 99133"/>
                <a:gd name="connsiteX2" fmla="*/ 48361 w 84971"/>
                <a:gd name="connsiteY2" fmla="*/ 83766 h 99133"/>
                <a:gd name="connsiteX3" fmla="*/ 15789 w 84971"/>
                <a:gd name="connsiteY3" fmla="*/ 49777 h 99133"/>
                <a:gd name="connsiteX4" fmla="*/ 48361 w 84971"/>
                <a:gd name="connsiteY4" fmla="*/ 15789 h 99133"/>
                <a:gd name="connsiteX5" fmla="*/ 48361 w 84971"/>
                <a:gd name="connsiteY5" fmla="*/ 15789 h 99133"/>
                <a:gd name="connsiteX6" fmla="*/ 48361 w 84971"/>
                <a:gd name="connsiteY6" fmla="*/ 29951 h 99133"/>
                <a:gd name="connsiteX7" fmla="*/ 29951 w 84971"/>
                <a:gd name="connsiteY7" fmla="*/ 48361 h 99133"/>
                <a:gd name="connsiteX8" fmla="*/ 48361 w 84971"/>
                <a:gd name="connsiteY8" fmla="*/ 66772 h 99133"/>
                <a:gd name="connsiteX9" fmla="*/ 66772 w 84971"/>
                <a:gd name="connsiteY9" fmla="*/ 48361 h 99133"/>
                <a:gd name="connsiteX10" fmla="*/ 48361 w 84971"/>
                <a:gd name="connsiteY10" fmla="*/ 29951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99133">
                  <a:moveTo>
                    <a:pt x="48361" y="15789"/>
                  </a:moveTo>
                  <a:cubicBezTo>
                    <a:pt x="66772" y="15789"/>
                    <a:pt x="82350" y="31367"/>
                    <a:pt x="82350" y="49777"/>
                  </a:cubicBezTo>
                  <a:cubicBezTo>
                    <a:pt x="82350" y="68188"/>
                    <a:pt x="66772" y="83766"/>
                    <a:pt x="48361" y="83766"/>
                  </a:cubicBezTo>
                  <a:cubicBezTo>
                    <a:pt x="29951" y="83766"/>
                    <a:pt x="15789" y="68188"/>
                    <a:pt x="15789" y="49777"/>
                  </a:cubicBezTo>
                  <a:cubicBezTo>
                    <a:pt x="15789" y="31367"/>
                    <a:pt x="29951" y="15789"/>
                    <a:pt x="48361" y="15789"/>
                  </a:cubicBezTo>
                  <a:lnTo>
                    <a:pt x="48361" y="15789"/>
                  </a:lnTo>
                  <a:close/>
                  <a:moveTo>
                    <a:pt x="48361" y="29951"/>
                  </a:moveTo>
                  <a:cubicBezTo>
                    <a:pt x="38448" y="29951"/>
                    <a:pt x="29951" y="38448"/>
                    <a:pt x="29951" y="48361"/>
                  </a:cubicBezTo>
                  <a:cubicBezTo>
                    <a:pt x="29951" y="58275"/>
                    <a:pt x="38448" y="66772"/>
                    <a:pt x="48361" y="66772"/>
                  </a:cubicBezTo>
                  <a:cubicBezTo>
                    <a:pt x="58275" y="66772"/>
                    <a:pt x="66772" y="58275"/>
                    <a:pt x="66772" y="48361"/>
                  </a:cubicBezTo>
                  <a:cubicBezTo>
                    <a:pt x="68188" y="38448"/>
                    <a:pt x="59691" y="29951"/>
                    <a:pt x="48361" y="2995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07" name="Freeform: Shape 2306">
              <a:extLst>
                <a:ext uri="{FF2B5EF4-FFF2-40B4-BE49-F238E27FC236}">
                  <a16:creationId xmlns:a16="http://schemas.microsoft.com/office/drawing/2014/main" id="{A20A2F13-B8FF-4BF3-A1FA-75F213B500E7}"/>
                </a:ext>
              </a:extLst>
            </p:cNvPr>
            <p:cNvSpPr/>
            <p:nvPr/>
          </p:nvSpPr>
          <p:spPr>
            <a:xfrm>
              <a:off x="2075137" y="2193786"/>
              <a:ext cx="68147" cy="68147"/>
            </a:xfrm>
            <a:custGeom>
              <a:avLst/>
              <a:gdLst>
                <a:gd name="connsiteX0" fmla="*/ 63940 w 127457"/>
                <a:gd name="connsiteY0" fmla="*/ 112090 h 127457"/>
                <a:gd name="connsiteX1" fmla="*/ 112090 w 127457"/>
                <a:gd name="connsiteY1" fmla="*/ 63939 h 127457"/>
                <a:gd name="connsiteX2" fmla="*/ 63940 w 127457"/>
                <a:gd name="connsiteY2" fmla="*/ 15789 h 127457"/>
                <a:gd name="connsiteX3" fmla="*/ 15789 w 127457"/>
                <a:gd name="connsiteY3" fmla="*/ 63939 h 127457"/>
                <a:gd name="connsiteX4" fmla="*/ 63940 w 127457"/>
                <a:gd name="connsiteY4" fmla="*/ 112090 h 127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57" h="127457">
                  <a:moveTo>
                    <a:pt x="63940" y="112090"/>
                  </a:moveTo>
                  <a:cubicBezTo>
                    <a:pt x="90847" y="112090"/>
                    <a:pt x="112090" y="90847"/>
                    <a:pt x="112090" y="63939"/>
                  </a:cubicBezTo>
                  <a:cubicBezTo>
                    <a:pt x="112090" y="37032"/>
                    <a:pt x="90847" y="15789"/>
                    <a:pt x="63940" y="15789"/>
                  </a:cubicBezTo>
                  <a:cubicBezTo>
                    <a:pt x="37032" y="15789"/>
                    <a:pt x="15789" y="37032"/>
                    <a:pt x="15789" y="63939"/>
                  </a:cubicBezTo>
                  <a:cubicBezTo>
                    <a:pt x="15789" y="90847"/>
                    <a:pt x="38448" y="112090"/>
                    <a:pt x="63940" y="11209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08" name="Freeform: Shape 2307">
              <a:extLst>
                <a:ext uri="{FF2B5EF4-FFF2-40B4-BE49-F238E27FC236}">
                  <a16:creationId xmlns:a16="http://schemas.microsoft.com/office/drawing/2014/main" id="{E345322C-0DAE-4E09-85DD-38D188C9D5DC}"/>
                </a:ext>
              </a:extLst>
            </p:cNvPr>
            <p:cNvSpPr/>
            <p:nvPr/>
          </p:nvSpPr>
          <p:spPr>
            <a:xfrm>
              <a:off x="2883867" y="1906384"/>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09" name="Freeform: Shape 2308">
              <a:extLst>
                <a:ext uri="{FF2B5EF4-FFF2-40B4-BE49-F238E27FC236}">
                  <a16:creationId xmlns:a16="http://schemas.microsoft.com/office/drawing/2014/main" id="{19300047-CCFD-4BDC-A92A-4260D8CB6373}"/>
                </a:ext>
              </a:extLst>
            </p:cNvPr>
            <p:cNvSpPr/>
            <p:nvPr/>
          </p:nvSpPr>
          <p:spPr>
            <a:xfrm>
              <a:off x="2751462" y="2493833"/>
              <a:ext cx="127457" cy="127457"/>
            </a:xfrm>
            <a:custGeom>
              <a:avLst/>
              <a:gdLst>
                <a:gd name="connsiteX0" fmla="*/ 63939 w 127457"/>
                <a:gd name="connsiteY0" fmla="*/ 15789 h 127457"/>
                <a:gd name="connsiteX1" fmla="*/ 112090 w 127457"/>
                <a:gd name="connsiteY1" fmla="*/ 63940 h 127457"/>
                <a:gd name="connsiteX2" fmla="*/ 63939 w 127457"/>
                <a:gd name="connsiteY2" fmla="*/ 112090 h 127457"/>
                <a:gd name="connsiteX3" fmla="*/ 15789 w 127457"/>
                <a:gd name="connsiteY3" fmla="*/ 63940 h 127457"/>
                <a:gd name="connsiteX4" fmla="*/ 63939 w 127457"/>
                <a:gd name="connsiteY4" fmla="*/ 15789 h 127457"/>
                <a:gd name="connsiteX5" fmla="*/ 63939 w 127457"/>
                <a:gd name="connsiteY5" fmla="*/ 15789 h 127457"/>
                <a:gd name="connsiteX6" fmla="*/ 63939 w 127457"/>
                <a:gd name="connsiteY6" fmla="*/ 37032 h 127457"/>
                <a:gd name="connsiteX7" fmla="*/ 37032 w 127457"/>
                <a:gd name="connsiteY7" fmla="*/ 63940 h 127457"/>
                <a:gd name="connsiteX8" fmla="*/ 63939 w 127457"/>
                <a:gd name="connsiteY8" fmla="*/ 90847 h 127457"/>
                <a:gd name="connsiteX9" fmla="*/ 90847 w 127457"/>
                <a:gd name="connsiteY9" fmla="*/ 63940 h 127457"/>
                <a:gd name="connsiteX10" fmla="*/ 63939 w 127457"/>
                <a:gd name="connsiteY10" fmla="*/ 37032 h 12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457" h="127457">
                  <a:moveTo>
                    <a:pt x="63939" y="15789"/>
                  </a:moveTo>
                  <a:cubicBezTo>
                    <a:pt x="90847" y="15789"/>
                    <a:pt x="112090" y="37032"/>
                    <a:pt x="112090" y="63940"/>
                  </a:cubicBezTo>
                  <a:cubicBezTo>
                    <a:pt x="112090" y="90847"/>
                    <a:pt x="90847" y="112090"/>
                    <a:pt x="63939" y="112090"/>
                  </a:cubicBezTo>
                  <a:cubicBezTo>
                    <a:pt x="37032" y="112090"/>
                    <a:pt x="15789" y="90847"/>
                    <a:pt x="15789" y="63940"/>
                  </a:cubicBezTo>
                  <a:cubicBezTo>
                    <a:pt x="15789" y="37032"/>
                    <a:pt x="37032" y="15789"/>
                    <a:pt x="63939" y="15789"/>
                  </a:cubicBezTo>
                  <a:lnTo>
                    <a:pt x="63939" y="15789"/>
                  </a:lnTo>
                  <a:close/>
                  <a:moveTo>
                    <a:pt x="63939" y="37032"/>
                  </a:moveTo>
                  <a:cubicBezTo>
                    <a:pt x="48361" y="37032"/>
                    <a:pt x="37032" y="49778"/>
                    <a:pt x="37032" y="63940"/>
                  </a:cubicBezTo>
                  <a:cubicBezTo>
                    <a:pt x="37032" y="79518"/>
                    <a:pt x="49778" y="90847"/>
                    <a:pt x="63939" y="90847"/>
                  </a:cubicBezTo>
                  <a:cubicBezTo>
                    <a:pt x="79518" y="90847"/>
                    <a:pt x="90847" y="78102"/>
                    <a:pt x="90847" y="63940"/>
                  </a:cubicBezTo>
                  <a:cubicBezTo>
                    <a:pt x="90847" y="48361"/>
                    <a:pt x="79518" y="37032"/>
                    <a:pt x="63939" y="3703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10" name="Freeform: Shape 2309">
              <a:extLst>
                <a:ext uri="{FF2B5EF4-FFF2-40B4-BE49-F238E27FC236}">
                  <a16:creationId xmlns:a16="http://schemas.microsoft.com/office/drawing/2014/main" id="{54330D58-76BE-454F-B63E-540AEBFE6F27}"/>
                </a:ext>
              </a:extLst>
            </p:cNvPr>
            <p:cNvSpPr/>
            <p:nvPr/>
          </p:nvSpPr>
          <p:spPr>
            <a:xfrm>
              <a:off x="1049899" y="1509851"/>
              <a:ext cx="99133" cy="99133"/>
            </a:xfrm>
            <a:custGeom>
              <a:avLst/>
              <a:gdLst>
                <a:gd name="connsiteX0" fmla="*/ 49778 w 99133"/>
                <a:gd name="connsiteY0" fmla="*/ 15789 h 99133"/>
                <a:gd name="connsiteX1" fmla="*/ 83766 w 99133"/>
                <a:gd name="connsiteY1" fmla="*/ 49778 h 99133"/>
                <a:gd name="connsiteX2" fmla="*/ 49778 w 99133"/>
                <a:gd name="connsiteY2" fmla="*/ 83766 h 99133"/>
                <a:gd name="connsiteX3" fmla="*/ 15789 w 99133"/>
                <a:gd name="connsiteY3" fmla="*/ 49778 h 99133"/>
                <a:gd name="connsiteX4" fmla="*/ 49778 w 99133"/>
                <a:gd name="connsiteY4" fmla="*/ 15789 h 99133"/>
                <a:gd name="connsiteX5" fmla="*/ 49778 w 99133"/>
                <a:gd name="connsiteY5" fmla="*/ 15789 h 99133"/>
                <a:gd name="connsiteX6" fmla="*/ 49778 w 99133"/>
                <a:gd name="connsiteY6" fmla="*/ 29951 h 99133"/>
                <a:gd name="connsiteX7" fmla="*/ 31367 w 99133"/>
                <a:gd name="connsiteY7" fmla="*/ 48361 h 99133"/>
                <a:gd name="connsiteX8" fmla="*/ 49778 w 99133"/>
                <a:gd name="connsiteY8" fmla="*/ 66772 h 99133"/>
                <a:gd name="connsiteX9" fmla="*/ 68188 w 99133"/>
                <a:gd name="connsiteY9" fmla="*/ 48361 h 99133"/>
                <a:gd name="connsiteX10" fmla="*/ 49778 w 99133"/>
                <a:gd name="connsiteY10" fmla="*/ 29951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49778" y="15789"/>
                  </a:moveTo>
                  <a:cubicBezTo>
                    <a:pt x="68188" y="15789"/>
                    <a:pt x="83766" y="31367"/>
                    <a:pt x="83766" y="49778"/>
                  </a:cubicBezTo>
                  <a:cubicBezTo>
                    <a:pt x="83766" y="68188"/>
                    <a:pt x="68188" y="83766"/>
                    <a:pt x="49778" y="83766"/>
                  </a:cubicBezTo>
                  <a:cubicBezTo>
                    <a:pt x="31367" y="83766"/>
                    <a:pt x="15789" y="68188"/>
                    <a:pt x="15789" y="49778"/>
                  </a:cubicBezTo>
                  <a:cubicBezTo>
                    <a:pt x="15789" y="29951"/>
                    <a:pt x="31367" y="15789"/>
                    <a:pt x="49778" y="15789"/>
                  </a:cubicBezTo>
                  <a:lnTo>
                    <a:pt x="49778" y="15789"/>
                  </a:lnTo>
                  <a:close/>
                  <a:moveTo>
                    <a:pt x="49778" y="29951"/>
                  </a:moveTo>
                  <a:cubicBezTo>
                    <a:pt x="39864" y="29951"/>
                    <a:pt x="31367" y="38448"/>
                    <a:pt x="31367" y="48361"/>
                  </a:cubicBezTo>
                  <a:cubicBezTo>
                    <a:pt x="31367" y="58275"/>
                    <a:pt x="39864" y="66772"/>
                    <a:pt x="49778" y="66772"/>
                  </a:cubicBezTo>
                  <a:cubicBezTo>
                    <a:pt x="59691" y="66772"/>
                    <a:pt x="68188" y="58275"/>
                    <a:pt x="68188" y="48361"/>
                  </a:cubicBezTo>
                  <a:cubicBezTo>
                    <a:pt x="68188" y="38448"/>
                    <a:pt x="59691" y="29951"/>
                    <a:pt x="49778" y="2995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11" name="Freeform: Shape 2310">
              <a:extLst>
                <a:ext uri="{FF2B5EF4-FFF2-40B4-BE49-F238E27FC236}">
                  <a16:creationId xmlns:a16="http://schemas.microsoft.com/office/drawing/2014/main" id="{1F41DCE3-0BAB-4380-B75A-ED943475DE3D}"/>
                </a:ext>
              </a:extLst>
            </p:cNvPr>
            <p:cNvSpPr/>
            <p:nvPr/>
          </p:nvSpPr>
          <p:spPr>
            <a:xfrm>
              <a:off x="2287808" y="2727603"/>
              <a:ext cx="42486" cy="42486"/>
            </a:xfrm>
            <a:custGeom>
              <a:avLst/>
              <a:gdLst>
                <a:gd name="connsiteX0" fmla="*/ 27119 w 42485"/>
                <a:gd name="connsiteY0" fmla="*/ 39864 h 42485"/>
                <a:gd name="connsiteX1" fmla="*/ 38448 w 42485"/>
                <a:gd name="connsiteY1" fmla="*/ 28535 h 42485"/>
                <a:gd name="connsiteX2" fmla="*/ 27119 w 42485"/>
                <a:gd name="connsiteY2" fmla="*/ 15789 h 42485"/>
                <a:gd name="connsiteX3" fmla="*/ 15789 w 42485"/>
                <a:gd name="connsiteY3" fmla="*/ 28535 h 42485"/>
                <a:gd name="connsiteX4" fmla="*/ 27119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9864"/>
                  </a:moveTo>
                  <a:cubicBezTo>
                    <a:pt x="34200" y="39864"/>
                    <a:pt x="38448" y="34200"/>
                    <a:pt x="38448" y="28535"/>
                  </a:cubicBezTo>
                  <a:cubicBezTo>
                    <a:pt x="38448" y="21454"/>
                    <a:pt x="32783" y="15789"/>
                    <a:pt x="27119" y="15789"/>
                  </a:cubicBezTo>
                  <a:cubicBezTo>
                    <a:pt x="21454" y="15789"/>
                    <a:pt x="15789" y="21454"/>
                    <a:pt x="15789" y="28535"/>
                  </a:cubicBezTo>
                  <a:cubicBezTo>
                    <a:pt x="15789" y="34200"/>
                    <a:pt x="20038" y="39864"/>
                    <a:pt x="27119" y="3986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12" name="Freeform: Shape 2311">
              <a:extLst>
                <a:ext uri="{FF2B5EF4-FFF2-40B4-BE49-F238E27FC236}">
                  <a16:creationId xmlns:a16="http://schemas.microsoft.com/office/drawing/2014/main" id="{DB16B250-5ADE-4718-9F20-352038E6CBB4}"/>
                </a:ext>
              </a:extLst>
            </p:cNvPr>
            <p:cNvSpPr/>
            <p:nvPr/>
          </p:nvSpPr>
          <p:spPr>
            <a:xfrm>
              <a:off x="2399015" y="1866816"/>
              <a:ext cx="42486" cy="42486"/>
            </a:xfrm>
            <a:custGeom>
              <a:avLst/>
              <a:gdLst>
                <a:gd name="connsiteX0" fmla="*/ 27118 w 42485"/>
                <a:gd name="connsiteY0" fmla="*/ 39864 h 42485"/>
                <a:gd name="connsiteX1" fmla="*/ 38448 w 42485"/>
                <a:gd name="connsiteY1" fmla="*/ 27119 h 42485"/>
                <a:gd name="connsiteX2" fmla="*/ 27118 w 42485"/>
                <a:gd name="connsiteY2" fmla="*/ 15789 h 42485"/>
                <a:gd name="connsiteX3" fmla="*/ 15789 w 42485"/>
                <a:gd name="connsiteY3" fmla="*/ 27119 h 42485"/>
                <a:gd name="connsiteX4" fmla="*/ 27118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9864"/>
                  </a:moveTo>
                  <a:cubicBezTo>
                    <a:pt x="34199" y="39864"/>
                    <a:pt x="38448" y="34200"/>
                    <a:pt x="38448" y="27119"/>
                  </a:cubicBezTo>
                  <a:cubicBezTo>
                    <a:pt x="38448" y="20038"/>
                    <a:pt x="32783" y="15789"/>
                    <a:pt x="27118" y="15789"/>
                  </a:cubicBezTo>
                  <a:cubicBezTo>
                    <a:pt x="21454" y="15789"/>
                    <a:pt x="15789" y="21454"/>
                    <a:pt x="15789" y="27119"/>
                  </a:cubicBezTo>
                  <a:cubicBezTo>
                    <a:pt x="15789" y="34200"/>
                    <a:pt x="20038" y="39864"/>
                    <a:pt x="27118" y="3986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13" name="Freeform: Shape 2312">
              <a:extLst>
                <a:ext uri="{FF2B5EF4-FFF2-40B4-BE49-F238E27FC236}">
                  <a16:creationId xmlns:a16="http://schemas.microsoft.com/office/drawing/2014/main" id="{8C209649-DF95-4E98-8371-DCF3647714EC}"/>
                </a:ext>
              </a:extLst>
            </p:cNvPr>
            <p:cNvSpPr/>
            <p:nvPr/>
          </p:nvSpPr>
          <p:spPr>
            <a:xfrm>
              <a:off x="3057939" y="2688121"/>
              <a:ext cx="70810" cy="70810"/>
            </a:xfrm>
            <a:custGeom>
              <a:avLst/>
              <a:gdLst>
                <a:gd name="connsiteX0" fmla="*/ 39984 w 70809"/>
                <a:gd name="connsiteY0" fmla="*/ 63939 h 70809"/>
                <a:gd name="connsiteX1" fmla="*/ 64059 w 70809"/>
                <a:gd name="connsiteY1" fmla="*/ 39864 h 70809"/>
                <a:gd name="connsiteX2" fmla="*/ 39984 w 70809"/>
                <a:gd name="connsiteY2" fmla="*/ 15789 h 70809"/>
                <a:gd name="connsiteX3" fmla="*/ 15909 w 70809"/>
                <a:gd name="connsiteY3" fmla="*/ 39864 h 70809"/>
                <a:gd name="connsiteX4" fmla="*/ 3998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984" y="63939"/>
                  </a:moveTo>
                  <a:cubicBezTo>
                    <a:pt x="54146" y="63939"/>
                    <a:pt x="64059" y="52610"/>
                    <a:pt x="64059" y="39864"/>
                  </a:cubicBezTo>
                  <a:cubicBezTo>
                    <a:pt x="64059" y="25702"/>
                    <a:pt x="52730" y="15789"/>
                    <a:pt x="39984" y="15789"/>
                  </a:cubicBezTo>
                  <a:cubicBezTo>
                    <a:pt x="25822" y="15789"/>
                    <a:pt x="15909" y="27119"/>
                    <a:pt x="15909" y="39864"/>
                  </a:cubicBezTo>
                  <a:cubicBezTo>
                    <a:pt x="14493" y="54026"/>
                    <a:pt x="25822" y="63939"/>
                    <a:pt x="39984" y="6393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14" name="Freeform: Shape 2313">
              <a:extLst>
                <a:ext uri="{FF2B5EF4-FFF2-40B4-BE49-F238E27FC236}">
                  <a16:creationId xmlns:a16="http://schemas.microsoft.com/office/drawing/2014/main" id="{D8CA5805-7332-4E21-A541-BE9B521B1FEB}"/>
                </a:ext>
              </a:extLst>
            </p:cNvPr>
            <p:cNvSpPr/>
            <p:nvPr/>
          </p:nvSpPr>
          <p:spPr>
            <a:xfrm>
              <a:off x="3381939" y="2723856"/>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1" y="15789"/>
                    <a:pt x="15789" y="18621"/>
                    <a:pt x="15789" y="21454"/>
                  </a:cubicBezTo>
                  <a:cubicBezTo>
                    <a:pt x="17205" y="24286"/>
                    <a:pt x="18621" y="27119"/>
                    <a:pt x="21454" y="2711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15" name="Freeform: Shape 2314">
              <a:extLst>
                <a:ext uri="{FF2B5EF4-FFF2-40B4-BE49-F238E27FC236}">
                  <a16:creationId xmlns:a16="http://schemas.microsoft.com/office/drawing/2014/main" id="{3FCAEBD2-2768-420A-A86B-3AB6BB5B811D}"/>
                </a:ext>
              </a:extLst>
            </p:cNvPr>
            <p:cNvSpPr/>
            <p:nvPr/>
          </p:nvSpPr>
          <p:spPr>
            <a:xfrm>
              <a:off x="3222996" y="2494103"/>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8" y="29951"/>
                    <a:pt x="29951" y="27118"/>
                    <a:pt x="29951" y="22870"/>
                  </a:cubicBezTo>
                  <a:cubicBezTo>
                    <a:pt x="29951" y="18621"/>
                    <a:pt x="27118" y="15789"/>
                    <a:pt x="22870" y="15789"/>
                  </a:cubicBezTo>
                  <a:cubicBezTo>
                    <a:pt x="18621" y="15789"/>
                    <a:pt x="15789" y="18621"/>
                    <a:pt x="15789" y="22870"/>
                  </a:cubicBezTo>
                  <a:cubicBezTo>
                    <a:pt x="15789" y="27118"/>
                    <a:pt x="18621" y="29951"/>
                    <a:pt x="22870" y="2995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16" name="Freeform: Shape 2315">
              <a:extLst>
                <a:ext uri="{FF2B5EF4-FFF2-40B4-BE49-F238E27FC236}">
                  <a16:creationId xmlns:a16="http://schemas.microsoft.com/office/drawing/2014/main" id="{25EAD455-65D3-4A4E-988A-BCF9C1138FD5}"/>
                </a:ext>
              </a:extLst>
            </p:cNvPr>
            <p:cNvSpPr/>
            <p:nvPr/>
          </p:nvSpPr>
          <p:spPr>
            <a:xfrm>
              <a:off x="3226071" y="2579489"/>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1" y="15789"/>
                    <a:pt x="15789" y="18621"/>
                    <a:pt x="15789" y="21454"/>
                  </a:cubicBezTo>
                  <a:cubicBezTo>
                    <a:pt x="17205" y="25702"/>
                    <a:pt x="18621" y="27119"/>
                    <a:pt x="21454" y="2711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17" name="Freeform: Shape 2316">
              <a:extLst>
                <a:ext uri="{FF2B5EF4-FFF2-40B4-BE49-F238E27FC236}">
                  <a16:creationId xmlns:a16="http://schemas.microsoft.com/office/drawing/2014/main" id="{C2570AA6-94A1-41CF-8771-729F913F7FC3}"/>
                </a:ext>
              </a:extLst>
            </p:cNvPr>
            <p:cNvSpPr/>
            <p:nvPr/>
          </p:nvSpPr>
          <p:spPr>
            <a:xfrm>
              <a:off x="3237415" y="2674117"/>
              <a:ext cx="42486" cy="42486"/>
            </a:xfrm>
            <a:custGeom>
              <a:avLst/>
              <a:gdLst>
                <a:gd name="connsiteX0" fmla="*/ 21454 w 42485"/>
                <a:gd name="connsiteY0" fmla="*/ 27118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8"/>
                  </a:moveTo>
                  <a:cubicBezTo>
                    <a:pt x="24286" y="27118"/>
                    <a:pt x="27119" y="24286"/>
                    <a:pt x="27119" y="21454"/>
                  </a:cubicBezTo>
                  <a:cubicBezTo>
                    <a:pt x="27119" y="18621"/>
                    <a:pt x="24286" y="15789"/>
                    <a:pt x="21454" y="15789"/>
                  </a:cubicBezTo>
                  <a:cubicBezTo>
                    <a:pt x="18621" y="15789"/>
                    <a:pt x="15789" y="18621"/>
                    <a:pt x="15789" y="21454"/>
                  </a:cubicBezTo>
                  <a:cubicBezTo>
                    <a:pt x="15789" y="24286"/>
                    <a:pt x="17205" y="27118"/>
                    <a:pt x="21454" y="2711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18" name="Freeform: Shape 2317">
              <a:extLst>
                <a:ext uri="{FF2B5EF4-FFF2-40B4-BE49-F238E27FC236}">
                  <a16:creationId xmlns:a16="http://schemas.microsoft.com/office/drawing/2014/main" id="{32A6B034-1B56-445E-9566-88D1151A05A7}"/>
                </a:ext>
              </a:extLst>
            </p:cNvPr>
            <p:cNvSpPr/>
            <p:nvPr/>
          </p:nvSpPr>
          <p:spPr>
            <a:xfrm>
              <a:off x="2113459" y="1722279"/>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7205" y="71020"/>
                    <a:pt x="32783" y="86599"/>
                    <a:pt x="51194" y="8659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19" name="Freeform: Shape 2318">
              <a:extLst>
                <a:ext uri="{FF2B5EF4-FFF2-40B4-BE49-F238E27FC236}">
                  <a16:creationId xmlns:a16="http://schemas.microsoft.com/office/drawing/2014/main" id="{7F608411-232A-4938-A824-13E1702E0FA5}"/>
                </a:ext>
              </a:extLst>
            </p:cNvPr>
            <p:cNvSpPr/>
            <p:nvPr/>
          </p:nvSpPr>
          <p:spPr>
            <a:xfrm>
              <a:off x="2178676" y="2243852"/>
              <a:ext cx="42486" cy="42486"/>
            </a:xfrm>
            <a:custGeom>
              <a:avLst/>
              <a:gdLst>
                <a:gd name="connsiteX0" fmla="*/ 27119 w 42485"/>
                <a:gd name="connsiteY0" fmla="*/ 39864 h 42485"/>
                <a:gd name="connsiteX1" fmla="*/ 38448 w 42485"/>
                <a:gd name="connsiteY1" fmla="*/ 28535 h 42485"/>
                <a:gd name="connsiteX2" fmla="*/ 27119 w 42485"/>
                <a:gd name="connsiteY2" fmla="*/ 15789 h 42485"/>
                <a:gd name="connsiteX3" fmla="*/ 15789 w 42485"/>
                <a:gd name="connsiteY3" fmla="*/ 28535 h 42485"/>
                <a:gd name="connsiteX4" fmla="*/ 27119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9864"/>
                  </a:moveTo>
                  <a:cubicBezTo>
                    <a:pt x="34200" y="39864"/>
                    <a:pt x="38448" y="34200"/>
                    <a:pt x="38448" y="28535"/>
                  </a:cubicBezTo>
                  <a:cubicBezTo>
                    <a:pt x="38448" y="21454"/>
                    <a:pt x="32783" y="15789"/>
                    <a:pt x="27119" y="15789"/>
                  </a:cubicBezTo>
                  <a:cubicBezTo>
                    <a:pt x="21454" y="15789"/>
                    <a:pt x="15789" y="21454"/>
                    <a:pt x="15789" y="28535"/>
                  </a:cubicBezTo>
                  <a:cubicBezTo>
                    <a:pt x="15789" y="34200"/>
                    <a:pt x="20038" y="39864"/>
                    <a:pt x="27119" y="3986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20" name="Freeform: Shape 2319">
              <a:extLst>
                <a:ext uri="{FF2B5EF4-FFF2-40B4-BE49-F238E27FC236}">
                  <a16:creationId xmlns:a16="http://schemas.microsoft.com/office/drawing/2014/main" id="{AB8F03EC-1016-4D06-9ED6-730DD04252FF}"/>
                </a:ext>
              </a:extLst>
            </p:cNvPr>
            <p:cNvSpPr/>
            <p:nvPr/>
          </p:nvSpPr>
          <p:spPr>
            <a:xfrm>
              <a:off x="2677677" y="2429373"/>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21" name="Freeform: Shape 2320">
              <a:extLst>
                <a:ext uri="{FF2B5EF4-FFF2-40B4-BE49-F238E27FC236}">
                  <a16:creationId xmlns:a16="http://schemas.microsoft.com/office/drawing/2014/main" id="{21CA89C4-6D7F-4B69-9899-B872228CD93B}"/>
                </a:ext>
              </a:extLst>
            </p:cNvPr>
            <p:cNvSpPr/>
            <p:nvPr/>
          </p:nvSpPr>
          <p:spPr>
            <a:xfrm>
              <a:off x="2147448" y="1328578"/>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2" y="15789"/>
                    <a:pt x="15789" y="25702"/>
                    <a:pt x="15789" y="37032"/>
                  </a:cubicBezTo>
                  <a:cubicBezTo>
                    <a:pt x="15789" y="49777"/>
                    <a:pt x="25702" y="58275"/>
                    <a:pt x="37032" y="5827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22" name="Freeform: Shape 2321">
              <a:extLst>
                <a:ext uri="{FF2B5EF4-FFF2-40B4-BE49-F238E27FC236}">
                  <a16:creationId xmlns:a16="http://schemas.microsoft.com/office/drawing/2014/main" id="{334FA409-609B-41E8-96C8-4977A67CA29A}"/>
                </a:ext>
              </a:extLst>
            </p:cNvPr>
            <p:cNvSpPr/>
            <p:nvPr/>
          </p:nvSpPr>
          <p:spPr>
            <a:xfrm>
              <a:off x="2475884" y="1654302"/>
              <a:ext cx="70810" cy="70810"/>
            </a:xfrm>
            <a:custGeom>
              <a:avLst/>
              <a:gdLst>
                <a:gd name="connsiteX0" fmla="*/ 38568 w 70809"/>
                <a:gd name="connsiteY0" fmla="*/ 61107 h 70809"/>
                <a:gd name="connsiteX1" fmla="*/ 61227 w 70809"/>
                <a:gd name="connsiteY1" fmla="*/ 38448 h 70809"/>
                <a:gd name="connsiteX2" fmla="*/ 38568 w 70809"/>
                <a:gd name="connsiteY2" fmla="*/ 15789 h 70809"/>
                <a:gd name="connsiteX3" fmla="*/ 15909 w 70809"/>
                <a:gd name="connsiteY3" fmla="*/ 38448 h 70809"/>
                <a:gd name="connsiteX4" fmla="*/ 3856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568" y="61107"/>
                  </a:moveTo>
                  <a:cubicBezTo>
                    <a:pt x="51314" y="61107"/>
                    <a:pt x="61227" y="51194"/>
                    <a:pt x="61227" y="38448"/>
                  </a:cubicBezTo>
                  <a:cubicBezTo>
                    <a:pt x="61227" y="25702"/>
                    <a:pt x="51314" y="15789"/>
                    <a:pt x="38568" y="15789"/>
                  </a:cubicBezTo>
                  <a:cubicBezTo>
                    <a:pt x="25822" y="15789"/>
                    <a:pt x="15909" y="25702"/>
                    <a:pt x="15909" y="38448"/>
                  </a:cubicBezTo>
                  <a:cubicBezTo>
                    <a:pt x="14493" y="51194"/>
                    <a:pt x="25822" y="61107"/>
                    <a:pt x="38568" y="6110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23" name="Freeform: Shape 2322">
              <a:extLst>
                <a:ext uri="{FF2B5EF4-FFF2-40B4-BE49-F238E27FC236}">
                  <a16:creationId xmlns:a16="http://schemas.microsoft.com/office/drawing/2014/main" id="{4949C652-FCCB-486E-B858-AE2AC43AC7A3}"/>
                </a:ext>
              </a:extLst>
            </p:cNvPr>
            <p:cNvSpPr/>
            <p:nvPr/>
          </p:nvSpPr>
          <p:spPr>
            <a:xfrm>
              <a:off x="2219455" y="1430544"/>
              <a:ext cx="42486" cy="42486"/>
            </a:xfrm>
            <a:custGeom>
              <a:avLst/>
              <a:gdLst>
                <a:gd name="connsiteX0" fmla="*/ 27337 w 42485"/>
                <a:gd name="connsiteY0" fmla="*/ 38448 h 42485"/>
                <a:gd name="connsiteX1" fmla="*/ 38667 w 42485"/>
                <a:gd name="connsiteY1" fmla="*/ 27119 h 42485"/>
                <a:gd name="connsiteX2" fmla="*/ 27337 w 42485"/>
                <a:gd name="connsiteY2" fmla="*/ 15789 h 42485"/>
                <a:gd name="connsiteX3" fmla="*/ 16007 w 42485"/>
                <a:gd name="connsiteY3" fmla="*/ 27119 h 42485"/>
                <a:gd name="connsiteX4" fmla="*/ 27337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8448"/>
                  </a:moveTo>
                  <a:cubicBezTo>
                    <a:pt x="34418" y="38448"/>
                    <a:pt x="38667" y="32783"/>
                    <a:pt x="38667" y="27119"/>
                  </a:cubicBezTo>
                  <a:cubicBezTo>
                    <a:pt x="38667" y="20038"/>
                    <a:pt x="33002" y="15789"/>
                    <a:pt x="27337" y="15789"/>
                  </a:cubicBezTo>
                  <a:cubicBezTo>
                    <a:pt x="21672" y="15789"/>
                    <a:pt x="16007" y="21454"/>
                    <a:pt x="16007" y="27119"/>
                  </a:cubicBezTo>
                  <a:cubicBezTo>
                    <a:pt x="14591" y="32783"/>
                    <a:pt x="20256" y="38448"/>
                    <a:pt x="27337" y="3844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24" name="Freeform: Shape 2323">
              <a:extLst>
                <a:ext uri="{FF2B5EF4-FFF2-40B4-BE49-F238E27FC236}">
                  <a16:creationId xmlns:a16="http://schemas.microsoft.com/office/drawing/2014/main" id="{1DF19273-EC95-4822-B9AC-93DF196F5F29}"/>
                </a:ext>
              </a:extLst>
            </p:cNvPr>
            <p:cNvSpPr/>
            <p:nvPr/>
          </p:nvSpPr>
          <p:spPr>
            <a:xfrm>
              <a:off x="2344080" y="1397971"/>
              <a:ext cx="42486" cy="42486"/>
            </a:xfrm>
            <a:custGeom>
              <a:avLst/>
              <a:gdLst>
                <a:gd name="connsiteX0" fmla="*/ 27337 w 42485"/>
                <a:gd name="connsiteY0" fmla="*/ 39864 h 42485"/>
                <a:gd name="connsiteX1" fmla="*/ 38667 w 42485"/>
                <a:gd name="connsiteY1" fmla="*/ 27119 h 42485"/>
                <a:gd name="connsiteX2" fmla="*/ 27337 w 42485"/>
                <a:gd name="connsiteY2" fmla="*/ 15789 h 42485"/>
                <a:gd name="connsiteX3" fmla="*/ 16007 w 42485"/>
                <a:gd name="connsiteY3" fmla="*/ 27119 h 42485"/>
                <a:gd name="connsiteX4" fmla="*/ 27337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9864"/>
                  </a:moveTo>
                  <a:cubicBezTo>
                    <a:pt x="34418" y="39864"/>
                    <a:pt x="38667" y="34200"/>
                    <a:pt x="38667" y="27119"/>
                  </a:cubicBezTo>
                  <a:cubicBezTo>
                    <a:pt x="38667" y="20038"/>
                    <a:pt x="33002" y="15789"/>
                    <a:pt x="27337" y="15789"/>
                  </a:cubicBezTo>
                  <a:cubicBezTo>
                    <a:pt x="20256" y="15789"/>
                    <a:pt x="16007" y="21454"/>
                    <a:pt x="16007" y="27119"/>
                  </a:cubicBezTo>
                  <a:cubicBezTo>
                    <a:pt x="14591" y="34200"/>
                    <a:pt x="20256" y="39864"/>
                    <a:pt x="27337" y="3986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25" name="Freeform: Shape 2324">
              <a:extLst>
                <a:ext uri="{FF2B5EF4-FFF2-40B4-BE49-F238E27FC236}">
                  <a16:creationId xmlns:a16="http://schemas.microsoft.com/office/drawing/2014/main" id="{2B7FAC2A-9C6F-4711-93C4-2CCF2EE0F50A}"/>
                </a:ext>
              </a:extLst>
            </p:cNvPr>
            <p:cNvSpPr/>
            <p:nvPr/>
          </p:nvSpPr>
          <p:spPr>
            <a:xfrm>
              <a:off x="2070716" y="2424867"/>
              <a:ext cx="42486" cy="56648"/>
            </a:xfrm>
            <a:custGeom>
              <a:avLst/>
              <a:gdLst>
                <a:gd name="connsiteX0" fmla="*/ 27118 w 42485"/>
                <a:gd name="connsiteY0" fmla="*/ 41280 h 56647"/>
                <a:gd name="connsiteX1" fmla="*/ 38448 w 42485"/>
                <a:gd name="connsiteY1" fmla="*/ 28535 h 56647"/>
                <a:gd name="connsiteX2" fmla="*/ 27118 w 42485"/>
                <a:gd name="connsiteY2" fmla="*/ 15789 h 56647"/>
                <a:gd name="connsiteX3" fmla="*/ 15789 w 42485"/>
                <a:gd name="connsiteY3" fmla="*/ 28535 h 56647"/>
                <a:gd name="connsiteX4" fmla="*/ 27118 w 42485"/>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56647">
                  <a:moveTo>
                    <a:pt x="27118" y="41280"/>
                  </a:moveTo>
                  <a:cubicBezTo>
                    <a:pt x="34199" y="41280"/>
                    <a:pt x="38448" y="35616"/>
                    <a:pt x="38448" y="28535"/>
                  </a:cubicBezTo>
                  <a:cubicBezTo>
                    <a:pt x="38448" y="21454"/>
                    <a:pt x="32783" y="15789"/>
                    <a:pt x="27118" y="15789"/>
                  </a:cubicBezTo>
                  <a:cubicBezTo>
                    <a:pt x="20038" y="15789"/>
                    <a:pt x="15789" y="21454"/>
                    <a:pt x="15789" y="28535"/>
                  </a:cubicBezTo>
                  <a:cubicBezTo>
                    <a:pt x="15789" y="35616"/>
                    <a:pt x="21454" y="41280"/>
                    <a:pt x="27118" y="4128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26" name="Freeform: Shape 2325">
              <a:extLst>
                <a:ext uri="{FF2B5EF4-FFF2-40B4-BE49-F238E27FC236}">
                  <a16:creationId xmlns:a16="http://schemas.microsoft.com/office/drawing/2014/main" id="{667528EF-C009-4FCA-BF0A-0788CDD65664}"/>
                </a:ext>
              </a:extLst>
            </p:cNvPr>
            <p:cNvSpPr/>
            <p:nvPr/>
          </p:nvSpPr>
          <p:spPr>
            <a:xfrm>
              <a:off x="2110943" y="1985276"/>
              <a:ext cx="42486" cy="42486"/>
            </a:xfrm>
            <a:custGeom>
              <a:avLst/>
              <a:gdLst>
                <a:gd name="connsiteX0" fmla="*/ 21454 w 42485"/>
                <a:gd name="connsiteY0" fmla="*/ 27118 h 42485"/>
                <a:gd name="connsiteX1" fmla="*/ 27118 w 42485"/>
                <a:gd name="connsiteY1" fmla="*/ 21454 h 42485"/>
                <a:gd name="connsiteX2" fmla="*/ 21454 w 42485"/>
                <a:gd name="connsiteY2" fmla="*/ 15789 h 42485"/>
                <a:gd name="connsiteX3" fmla="*/ 15789 w 42485"/>
                <a:gd name="connsiteY3" fmla="*/ 21454 h 42485"/>
                <a:gd name="connsiteX4" fmla="*/ 21454 w 42485"/>
                <a:gd name="connsiteY4" fmla="*/ 2711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8"/>
                  </a:moveTo>
                  <a:cubicBezTo>
                    <a:pt x="24286" y="27118"/>
                    <a:pt x="27118" y="24286"/>
                    <a:pt x="27118" y="21454"/>
                  </a:cubicBezTo>
                  <a:cubicBezTo>
                    <a:pt x="27118" y="18621"/>
                    <a:pt x="24286" y="15789"/>
                    <a:pt x="21454" y="15789"/>
                  </a:cubicBezTo>
                  <a:cubicBezTo>
                    <a:pt x="18621" y="15789"/>
                    <a:pt x="15789" y="18621"/>
                    <a:pt x="15789" y="21454"/>
                  </a:cubicBezTo>
                  <a:cubicBezTo>
                    <a:pt x="15789" y="24286"/>
                    <a:pt x="18621" y="27118"/>
                    <a:pt x="21454" y="2711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27" name="Freeform: Shape 2326">
              <a:extLst>
                <a:ext uri="{FF2B5EF4-FFF2-40B4-BE49-F238E27FC236}">
                  <a16:creationId xmlns:a16="http://schemas.microsoft.com/office/drawing/2014/main" id="{A0AAFB42-AF19-49AB-8A7E-4A9F11395801}"/>
                </a:ext>
              </a:extLst>
            </p:cNvPr>
            <p:cNvSpPr/>
            <p:nvPr/>
          </p:nvSpPr>
          <p:spPr>
            <a:xfrm>
              <a:off x="2795721" y="2280416"/>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1" y="15789"/>
                    <a:pt x="15789" y="18621"/>
                    <a:pt x="15789" y="21454"/>
                  </a:cubicBezTo>
                  <a:cubicBezTo>
                    <a:pt x="15789" y="24286"/>
                    <a:pt x="17205" y="27119"/>
                    <a:pt x="21454" y="2711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28" name="Freeform: Shape 2327">
              <a:extLst>
                <a:ext uri="{FF2B5EF4-FFF2-40B4-BE49-F238E27FC236}">
                  <a16:creationId xmlns:a16="http://schemas.microsoft.com/office/drawing/2014/main" id="{C75AA0EA-93DE-455C-A51A-6B76E58F6F38}"/>
                </a:ext>
              </a:extLst>
            </p:cNvPr>
            <p:cNvSpPr/>
            <p:nvPr/>
          </p:nvSpPr>
          <p:spPr>
            <a:xfrm>
              <a:off x="2709547" y="2642247"/>
              <a:ext cx="56648" cy="56648"/>
            </a:xfrm>
            <a:custGeom>
              <a:avLst/>
              <a:gdLst>
                <a:gd name="connsiteX0" fmla="*/ 44113 w 56647"/>
                <a:gd name="connsiteY0" fmla="*/ 29951 h 56647"/>
                <a:gd name="connsiteX1" fmla="*/ 29951 w 56647"/>
                <a:gd name="connsiteY1" fmla="*/ 44113 h 56647"/>
                <a:gd name="connsiteX2" fmla="*/ 15789 w 56647"/>
                <a:gd name="connsiteY2" fmla="*/ 29951 h 56647"/>
                <a:gd name="connsiteX3" fmla="*/ 29951 w 56647"/>
                <a:gd name="connsiteY3" fmla="*/ 15789 h 56647"/>
                <a:gd name="connsiteX4" fmla="*/ 44113 w 56647"/>
                <a:gd name="connsiteY4" fmla="*/ 2995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44113" y="29951"/>
                  </a:moveTo>
                  <a:cubicBezTo>
                    <a:pt x="44113" y="37772"/>
                    <a:pt x="37772" y="44113"/>
                    <a:pt x="29951" y="44113"/>
                  </a:cubicBezTo>
                  <a:cubicBezTo>
                    <a:pt x="22129" y="44113"/>
                    <a:pt x="15789" y="37772"/>
                    <a:pt x="15789" y="29951"/>
                  </a:cubicBezTo>
                  <a:cubicBezTo>
                    <a:pt x="15789" y="22129"/>
                    <a:pt x="22129" y="15789"/>
                    <a:pt x="29951" y="15789"/>
                  </a:cubicBezTo>
                  <a:cubicBezTo>
                    <a:pt x="37772" y="15789"/>
                    <a:pt x="44113" y="22129"/>
                    <a:pt x="44113" y="2995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29" name="Freeform: Shape 2328">
              <a:extLst>
                <a:ext uri="{FF2B5EF4-FFF2-40B4-BE49-F238E27FC236}">
                  <a16:creationId xmlns:a16="http://schemas.microsoft.com/office/drawing/2014/main" id="{D9DDD13F-1DB0-4D5F-8213-87D817D840DC}"/>
                </a:ext>
              </a:extLst>
            </p:cNvPr>
            <p:cNvSpPr/>
            <p:nvPr/>
          </p:nvSpPr>
          <p:spPr>
            <a:xfrm>
              <a:off x="2261275" y="2520755"/>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1454"/>
                    <a:pt x="38448" y="15789"/>
                    <a:pt x="29951" y="15789"/>
                  </a:cubicBezTo>
                  <a:cubicBezTo>
                    <a:pt x="21454" y="15789"/>
                    <a:pt x="15789" y="21454"/>
                    <a:pt x="15789" y="29951"/>
                  </a:cubicBezTo>
                  <a:cubicBezTo>
                    <a:pt x="15789" y="38448"/>
                    <a:pt x="21454" y="44113"/>
                    <a:pt x="29951"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30" name="Freeform: Shape 2329">
              <a:extLst>
                <a:ext uri="{FF2B5EF4-FFF2-40B4-BE49-F238E27FC236}">
                  <a16:creationId xmlns:a16="http://schemas.microsoft.com/office/drawing/2014/main" id="{1CE93304-3A82-4F1F-84C1-661A209276B7}"/>
                </a:ext>
              </a:extLst>
            </p:cNvPr>
            <p:cNvSpPr/>
            <p:nvPr/>
          </p:nvSpPr>
          <p:spPr>
            <a:xfrm>
              <a:off x="2585710" y="2246184"/>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1454"/>
                    <a:pt x="38448" y="15789"/>
                    <a:pt x="29951" y="15789"/>
                  </a:cubicBezTo>
                  <a:cubicBezTo>
                    <a:pt x="21454" y="15789"/>
                    <a:pt x="15789" y="21454"/>
                    <a:pt x="15789" y="29951"/>
                  </a:cubicBezTo>
                  <a:cubicBezTo>
                    <a:pt x="15789" y="37032"/>
                    <a:pt x="22870" y="44113"/>
                    <a:pt x="29951"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31" name="Freeform: Shape 2330">
              <a:extLst>
                <a:ext uri="{FF2B5EF4-FFF2-40B4-BE49-F238E27FC236}">
                  <a16:creationId xmlns:a16="http://schemas.microsoft.com/office/drawing/2014/main" id="{F4E2ED8D-DFCD-4875-9AE1-AE3131247D9C}"/>
                </a:ext>
              </a:extLst>
            </p:cNvPr>
            <p:cNvSpPr/>
            <p:nvPr/>
          </p:nvSpPr>
          <p:spPr>
            <a:xfrm>
              <a:off x="2142355" y="1958698"/>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8448"/>
                    <a:pt x="44113" y="29951"/>
                  </a:cubicBezTo>
                  <a:cubicBezTo>
                    <a:pt x="44113" y="21454"/>
                    <a:pt x="38448" y="15789"/>
                    <a:pt x="29951" y="15789"/>
                  </a:cubicBezTo>
                  <a:cubicBezTo>
                    <a:pt x="21454" y="15789"/>
                    <a:pt x="15789" y="21454"/>
                    <a:pt x="15789" y="29951"/>
                  </a:cubicBezTo>
                  <a:cubicBezTo>
                    <a:pt x="15789" y="37032"/>
                    <a:pt x="21454" y="44113"/>
                    <a:pt x="29951"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32" name="Freeform: Shape 2331">
              <a:extLst>
                <a:ext uri="{FF2B5EF4-FFF2-40B4-BE49-F238E27FC236}">
                  <a16:creationId xmlns:a16="http://schemas.microsoft.com/office/drawing/2014/main" id="{CCE6EA17-49B5-4A9F-9504-444A6C678C6E}"/>
                </a:ext>
              </a:extLst>
            </p:cNvPr>
            <p:cNvSpPr/>
            <p:nvPr/>
          </p:nvSpPr>
          <p:spPr>
            <a:xfrm>
              <a:off x="2706625" y="1732193"/>
              <a:ext cx="42486" cy="42486"/>
            </a:xfrm>
            <a:custGeom>
              <a:avLst/>
              <a:gdLst>
                <a:gd name="connsiteX0" fmla="*/ 27337 w 42485"/>
                <a:gd name="connsiteY0" fmla="*/ 39864 h 42485"/>
                <a:gd name="connsiteX1" fmla="*/ 38666 w 42485"/>
                <a:gd name="connsiteY1" fmla="*/ 28535 h 42485"/>
                <a:gd name="connsiteX2" fmla="*/ 27337 w 42485"/>
                <a:gd name="connsiteY2" fmla="*/ 15789 h 42485"/>
                <a:gd name="connsiteX3" fmla="*/ 16007 w 42485"/>
                <a:gd name="connsiteY3" fmla="*/ 28535 h 42485"/>
                <a:gd name="connsiteX4" fmla="*/ 27337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9864"/>
                  </a:moveTo>
                  <a:cubicBezTo>
                    <a:pt x="34418" y="39864"/>
                    <a:pt x="38666" y="34199"/>
                    <a:pt x="38666" y="28535"/>
                  </a:cubicBezTo>
                  <a:cubicBezTo>
                    <a:pt x="38666" y="21454"/>
                    <a:pt x="33002" y="15789"/>
                    <a:pt x="27337" y="15789"/>
                  </a:cubicBezTo>
                  <a:cubicBezTo>
                    <a:pt x="20256" y="15789"/>
                    <a:pt x="16007" y="21454"/>
                    <a:pt x="16007" y="28535"/>
                  </a:cubicBezTo>
                  <a:cubicBezTo>
                    <a:pt x="14591" y="34199"/>
                    <a:pt x="20256" y="39864"/>
                    <a:pt x="27337" y="3986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33" name="Freeform: Shape 2332">
              <a:extLst>
                <a:ext uri="{FF2B5EF4-FFF2-40B4-BE49-F238E27FC236}">
                  <a16:creationId xmlns:a16="http://schemas.microsoft.com/office/drawing/2014/main" id="{F67F7F38-E8C0-4D38-9133-1BB977B38BBF}"/>
                </a:ext>
              </a:extLst>
            </p:cNvPr>
            <p:cNvSpPr/>
            <p:nvPr/>
          </p:nvSpPr>
          <p:spPr>
            <a:xfrm>
              <a:off x="3075053" y="1781759"/>
              <a:ext cx="42486" cy="42486"/>
            </a:xfrm>
            <a:custGeom>
              <a:avLst/>
              <a:gdLst>
                <a:gd name="connsiteX0" fmla="*/ 27119 w 42485"/>
                <a:gd name="connsiteY0" fmla="*/ 39864 h 42485"/>
                <a:gd name="connsiteX1" fmla="*/ 38448 w 42485"/>
                <a:gd name="connsiteY1" fmla="*/ 28535 h 42485"/>
                <a:gd name="connsiteX2" fmla="*/ 27119 w 42485"/>
                <a:gd name="connsiteY2" fmla="*/ 15789 h 42485"/>
                <a:gd name="connsiteX3" fmla="*/ 15789 w 42485"/>
                <a:gd name="connsiteY3" fmla="*/ 28535 h 42485"/>
                <a:gd name="connsiteX4" fmla="*/ 27119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9864"/>
                  </a:moveTo>
                  <a:cubicBezTo>
                    <a:pt x="34200" y="39864"/>
                    <a:pt x="38448" y="34199"/>
                    <a:pt x="38448" y="28535"/>
                  </a:cubicBezTo>
                  <a:cubicBezTo>
                    <a:pt x="38448" y="22870"/>
                    <a:pt x="32783" y="15789"/>
                    <a:pt x="27119" y="15789"/>
                  </a:cubicBezTo>
                  <a:cubicBezTo>
                    <a:pt x="20038" y="15789"/>
                    <a:pt x="15789" y="21454"/>
                    <a:pt x="15789" y="28535"/>
                  </a:cubicBezTo>
                  <a:cubicBezTo>
                    <a:pt x="15789" y="35616"/>
                    <a:pt x="21454" y="39864"/>
                    <a:pt x="27119" y="3986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34" name="Freeform: Shape 2333">
              <a:extLst>
                <a:ext uri="{FF2B5EF4-FFF2-40B4-BE49-F238E27FC236}">
                  <a16:creationId xmlns:a16="http://schemas.microsoft.com/office/drawing/2014/main" id="{B46FE1F4-B4FC-414D-A1B1-19DD1562FC0B}"/>
                </a:ext>
              </a:extLst>
            </p:cNvPr>
            <p:cNvSpPr/>
            <p:nvPr/>
          </p:nvSpPr>
          <p:spPr>
            <a:xfrm>
              <a:off x="3025888" y="2418873"/>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1454"/>
                    <a:pt x="37032" y="15789"/>
                    <a:pt x="29951" y="15789"/>
                  </a:cubicBezTo>
                  <a:cubicBezTo>
                    <a:pt x="21454" y="15789"/>
                    <a:pt x="15789" y="22870"/>
                    <a:pt x="15789" y="29951"/>
                  </a:cubicBezTo>
                  <a:cubicBezTo>
                    <a:pt x="15789" y="38448"/>
                    <a:pt x="21454" y="44113"/>
                    <a:pt x="29951"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35" name="Freeform: Shape 2334">
              <a:extLst>
                <a:ext uri="{FF2B5EF4-FFF2-40B4-BE49-F238E27FC236}">
                  <a16:creationId xmlns:a16="http://schemas.microsoft.com/office/drawing/2014/main" id="{3B4EB689-CB8A-4705-BFD1-FD817786AB56}"/>
                </a:ext>
              </a:extLst>
            </p:cNvPr>
            <p:cNvSpPr/>
            <p:nvPr/>
          </p:nvSpPr>
          <p:spPr>
            <a:xfrm>
              <a:off x="2483572" y="1997350"/>
              <a:ext cx="84971" cy="84971"/>
            </a:xfrm>
            <a:custGeom>
              <a:avLst/>
              <a:gdLst>
                <a:gd name="connsiteX0" fmla="*/ 45529 w 84971"/>
                <a:gd name="connsiteY0" fmla="*/ 75269 h 84971"/>
                <a:gd name="connsiteX1" fmla="*/ 75269 w 84971"/>
                <a:gd name="connsiteY1" fmla="*/ 45529 h 84971"/>
                <a:gd name="connsiteX2" fmla="*/ 45529 w 84971"/>
                <a:gd name="connsiteY2" fmla="*/ 15789 h 84971"/>
                <a:gd name="connsiteX3" fmla="*/ 15789 w 84971"/>
                <a:gd name="connsiteY3" fmla="*/ 45529 h 84971"/>
                <a:gd name="connsiteX4" fmla="*/ 45529 w 84971"/>
                <a:gd name="connsiteY4" fmla="*/ 7526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529" y="75269"/>
                  </a:moveTo>
                  <a:cubicBezTo>
                    <a:pt x="62523" y="75269"/>
                    <a:pt x="75269" y="61107"/>
                    <a:pt x="75269" y="45529"/>
                  </a:cubicBezTo>
                  <a:cubicBezTo>
                    <a:pt x="75269" y="28535"/>
                    <a:pt x="61107" y="15789"/>
                    <a:pt x="45529" y="15789"/>
                  </a:cubicBezTo>
                  <a:cubicBezTo>
                    <a:pt x="28535" y="15789"/>
                    <a:pt x="15789" y="29951"/>
                    <a:pt x="15789" y="45529"/>
                  </a:cubicBezTo>
                  <a:cubicBezTo>
                    <a:pt x="15789" y="62523"/>
                    <a:pt x="29951" y="75269"/>
                    <a:pt x="45529" y="7526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36" name="Freeform: Shape 2335">
              <a:extLst>
                <a:ext uri="{FF2B5EF4-FFF2-40B4-BE49-F238E27FC236}">
                  <a16:creationId xmlns:a16="http://schemas.microsoft.com/office/drawing/2014/main" id="{6FAD8298-3346-497A-85AF-CD8378E9790E}"/>
                </a:ext>
              </a:extLst>
            </p:cNvPr>
            <p:cNvSpPr/>
            <p:nvPr/>
          </p:nvSpPr>
          <p:spPr>
            <a:xfrm>
              <a:off x="2207672" y="2695373"/>
              <a:ext cx="56648" cy="56648"/>
            </a:xfrm>
            <a:custGeom>
              <a:avLst/>
              <a:gdLst>
                <a:gd name="connsiteX0" fmla="*/ 34200 w 56647"/>
                <a:gd name="connsiteY0" fmla="*/ 52610 h 56647"/>
                <a:gd name="connsiteX1" fmla="*/ 52610 w 56647"/>
                <a:gd name="connsiteY1" fmla="*/ 34200 h 56647"/>
                <a:gd name="connsiteX2" fmla="*/ 34200 w 56647"/>
                <a:gd name="connsiteY2" fmla="*/ 15789 h 56647"/>
                <a:gd name="connsiteX3" fmla="*/ 15789 w 56647"/>
                <a:gd name="connsiteY3" fmla="*/ 34200 h 56647"/>
                <a:gd name="connsiteX4" fmla="*/ 34200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200" y="52610"/>
                  </a:moveTo>
                  <a:cubicBezTo>
                    <a:pt x="44113" y="52610"/>
                    <a:pt x="52610" y="44113"/>
                    <a:pt x="52610" y="34200"/>
                  </a:cubicBezTo>
                  <a:cubicBezTo>
                    <a:pt x="52610" y="24286"/>
                    <a:pt x="44113" y="15789"/>
                    <a:pt x="34200" y="15789"/>
                  </a:cubicBezTo>
                  <a:cubicBezTo>
                    <a:pt x="24286" y="15789"/>
                    <a:pt x="15789" y="24286"/>
                    <a:pt x="15789" y="34200"/>
                  </a:cubicBezTo>
                  <a:cubicBezTo>
                    <a:pt x="15789" y="44113"/>
                    <a:pt x="24286" y="52610"/>
                    <a:pt x="34200" y="5261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37" name="Freeform: Shape 2336">
              <a:extLst>
                <a:ext uri="{FF2B5EF4-FFF2-40B4-BE49-F238E27FC236}">
                  <a16:creationId xmlns:a16="http://schemas.microsoft.com/office/drawing/2014/main" id="{9EA8F082-BF73-4B8F-8275-C56645635A90}"/>
                </a:ext>
              </a:extLst>
            </p:cNvPr>
            <p:cNvSpPr/>
            <p:nvPr/>
          </p:nvSpPr>
          <p:spPr>
            <a:xfrm>
              <a:off x="2148864" y="2141472"/>
              <a:ext cx="42486" cy="42486"/>
            </a:xfrm>
            <a:custGeom>
              <a:avLst/>
              <a:gdLst>
                <a:gd name="connsiteX0" fmla="*/ 27118 w 42485"/>
                <a:gd name="connsiteY0" fmla="*/ 38448 h 42485"/>
                <a:gd name="connsiteX1" fmla="*/ 38448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4199" y="38448"/>
                    <a:pt x="38448" y="32783"/>
                    <a:pt x="38448" y="27119"/>
                  </a:cubicBezTo>
                  <a:cubicBezTo>
                    <a:pt x="38448" y="20038"/>
                    <a:pt x="32783" y="15789"/>
                    <a:pt x="27118" y="15789"/>
                  </a:cubicBezTo>
                  <a:cubicBezTo>
                    <a:pt x="21454" y="15789"/>
                    <a:pt x="15789" y="21454"/>
                    <a:pt x="15789" y="27119"/>
                  </a:cubicBezTo>
                  <a:cubicBezTo>
                    <a:pt x="15789" y="32783"/>
                    <a:pt x="21454" y="38448"/>
                    <a:pt x="27118" y="3844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38" name="Freeform: Shape 2337">
              <a:extLst>
                <a:ext uri="{FF2B5EF4-FFF2-40B4-BE49-F238E27FC236}">
                  <a16:creationId xmlns:a16="http://schemas.microsoft.com/office/drawing/2014/main" id="{167CB62A-577D-46F1-8BF1-2F60DAFF4199}"/>
                </a:ext>
              </a:extLst>
            </p:cNvPr>
            <p:cNvSpPr/>
            <p:nvPr/>
          </p:nvSpPr>
          <p:spPr>
            <a:xfrm>
              <a:off x="2028487" y="1587741"/>
              <a:ext cx="42486" cy="42486"/>
            </a:xfrm>
            <a:custGeom>
              <a:avLst/>
              <a:gdLst>
                <a:gd name="connsiteX0" fmla="*/ 28535 w 42485"/>
                <a:gd name="connsiteY0" fmla="*/ 39864 h 42485"/>
                <a:gd name="connsiteX1" fmla="*/ 39864 w 42485"/>
                <a:gd name="connsiteY1" fmla="*/ 28535 h 42485"/>
                <a:gd name="connsiteX2" fmla="*/ 28535 w 42485"/>
                <a:gd name="connsiteY2" fmla="*/ 15789 h 42485"/>
                <a:gd name="connsiteX3" fmla="*/ 15789 w 42485"/>
                <a:gd name="connsiteY3" fmla="*/ 28535 h 42485"/>
                <a:gd name="connsiteX4" fmla="*/ 28535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8535" y="39864"/>
                  </a:moveTo>
                  <a:cubicBezTo>
                    <a:pt x="35616" y="39864"/>
                    <a:pt x="39864" y="34200"/>
                    <a:pt x="39864" y="28535"/>
                  </a:cubicBezTo>
                  <a:cubicBezTo>
                    <a:pt x="39864" y="21454"/>
                    <a:pt x="34199" y="15789"/>
                    <a:pt x="28535" y="15789"/>
                  </a:cubicBezTo>
                  <a:cubicBezTo>
                    <a:pt x="21454" y="15789"/>
                    <a:pt x="15789" y="21454"/>
                    <a:pt x="15789" y="28535"/>
                  </a:cubicBezTo>
                  <a:cubicBezTo>
                    <a:pt x="15789" y="34200"/>
                    <a:pt x="21454" y="39864"/>
                    <a:pt x="28535" y="3986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39" name="Freeform: Shape 2338">
              <a:extLst>
                <a:ext uri="{FF2B5EF4-FFF2-40B4-BE49-F238E27FC236}">
                  <a16:creationId xmlns:a16="http://schemas.microsoft.com/office/drawing/2014/main" id="{F2BA6703-E438-4007-A8FC-C457A5CB1CF7}"/>
                </a:ext>
              </a:extLst>
            </p:cNvPr>
            <p:cNvSpPr/>
            <p:nvPr/>
          </p:nvSpPr>
          <p:spPr>
            <a:xfrm>
              <a:off x="2983000" y="1777511"/>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8448"/>
                    <a:pt x="44113" y="29951"/>
                  </a:cubicBezTo>
                  <a:cubicBezTo>
                    <a:pt x="44113" y="21454"/>
                    <a:pt x="38448" y="15789"/>
                    <a:pt x="29951" y="15789"/>
                  </a:cubicBezTo>
                  <a:cubicBezTo>
                    <a:pt x="21454" y="15789"/>
                    <a:pt x="15789" y="21454"/>
                    <a:pt x="15789" y="29951"/>
                  </a:cubicBezTo>
                  <a:cubicBezTo>
                    <a:pt x="15789" y="37032"/>
                    <a:pt x="21454" y="44113"/>
                    <a:pt x="29951"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40" name="Freeform: Shape 2339">
              <a:extLst>
                <a:ext uri="{FF2B5EF4-FFF2-40B4-BE49-F238E27FC236}">
                  <a16:creationId xmlns:a16="http://schemas.microsoft.com/office/drawing/2014/main" id="{075706F5-C0D5-498E-80B0-3760B5E61051}"/>
                </a:ext>
              </a:extLst>
            </p:cNvPr>
            <p:cNvSpPr/>
            <p:nvPr/>
          </p:nvSpPr>
          <p:spPr>
            <a:xfrm>
              <a:off x="1709844" y="1872395"/>
              <a:ext cx="70810" cy="70810"/>
            </a:xfrm>
            <a:custGeom>
              <a:avLst/>
              <a:gdLst>
                <a:gd name="connsiteX0" fmla="*/ 39864 w 70809"/>
                <a:gd name="connsiteY0" fmla="*/ 63940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2610" y="63940"/>
                    <a:pt x="63940" y="52610"/>
                    <a:pt x="63940" y="39864"/>
                  </a:cubicBezTo>
                  <a:cubicBezTo>
                    <a:pt x="63940" y="27119"/>
                    <a:pt x="52610" y="15789"/>
                    <a:pt x="39864" y="15789"/>
                  </a:cubicBezTo>
                  <a:cubicBezTo>
                    <a:pt x="27119" y="15789"/>
                    <a:pt x="15789" y="27119"/>
                    <a:pt x="15789" y="39864"/>
                  </a:cubicBezTo>
                  <a:cubicBezTo>
                    <a:pt x="15789" y="52610"/>
                    <a:pt x="27119" y="63940"/>
                    <a:pt x="39864" y="6394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41" name="Freeform: Shape 2340">
              <a:extLst>
                <a:ext uri="{FF2B5EF4-FFF2-40B4-BE49-F238E27FC236}">
                  <a16:creationId xmlns:a16="http://schemas.microsoft.com/office/drawing/2014/main" id="{03FDBBAE-0FC8-4A7F-A155-E96858C9BE3B}"/>
                </a:ext>
              </a:extLst>
            </p:cNvPr>
            <p:cNvSpPr/>
            <p:nvPr/>
          </p:nvSpPr>
          <p:spPr>
            <a:xfrm>
              <a:off x="1358629" y="1623146"/>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5789" y="71020"/>
                    <a:pt x="31367" y="86599"/>
                    <a:pt x="51194" y="8659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42" name="Freeform: Shape 2341">
              <a:extLst>
                <a:ext uri="{FF2B5EF4-FFF2-40B4-BE49-F238E27FC236}">
                  <a16:creationId xmlns:a16="http://schemas.microsoft.com/office/drawing/2014/main" id="{E0A02818-7B39-4CF2-BD68-A5BA49DA5AC2}"/>
                </a:ext>
              </a:extLst>
            </p:cNvPr>
            <p:cNvSpPr/>
            <p:nvPr/>
          </p:nvSpPr>
          <p:spPr>
            <a:xfrm>
              <a:off x="2141034" y="2883480"/>
              <a:ext cx="56648" cy="56648"/>
            </a:xfrm>
            <a:custGeom>
              <a:avLst/>
              <a:gdLst>
                <a:gd name="connsiteX0" fmla="*/ 34199 w 56647"/>
                <a:gd name="connsiteY0" fmla="*/ 52610 h 56647"/>
                <a:gd name="connsiteX1" fmla="*/ 52610 w 56647"/>
                <a:gd name="connsiteY1" fmla="*/ 34200 h 56647"/>
                <a:gd name="connsiteX2" fmla="*/ 34199 w 56647"/>
                <a:gd name="connsiteY2" fmla="*/ 15789 h 56647"/>
                <a:gd name="connsiteX3" fmla="*/ 15789 w 56647"/>
                <a:gd name="connsiteY3" fmla="*/ 34200 h 56647"/>
                <a:gd name="connsiteX4" fmla="*/ 34199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199" y="52610"/>
                  </a:moveTo>
                  <a:cubicBezTo>
                    <a:pt x="44113" y="52610"/>
                    <a:pt x="52610" y="44113"/>
                    <a:pt x="52610" y="34200"/>
                  </a:cubicBezTo>
                  <a:cubicBezTo>
                    <a:pt x="52610" y="24286"/>
                    <a:pt x="44113" y="15789"/>
                    <a:pt x="34199" y="15789"/>
                  </a:cubicBezTo>
                  <a:cubicBezTo>
                    <a:pt x="24286" y="15789"/>
                    <a:pt x="15789" y="24286"/>
                    <a:pt x="15789" y="34200"/>
                  </a:cubicBezTo>
                  <a:cubicBezTo>
                    <a:pt x="15789" y="44113"/>
                    <a:pt x="22870" y="52610"/>
                    <a:pt x="34199" y="5261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43" name="Freeform: Shape 2342">
              <a:extLst>
                <a:ext uri="{FF2B5EF4-FFF2-40B4-BE49-F238E27FC236}">
                  <a16:creationId xmlns:a16="http://schemas.microsoft.com/office/drawing/2014/main" id="{E5E60501-BD61-40C8-B93C-1080059C110E}"/>
                </a:ext>
              </a:extLst>
            </p:cNvPr>
            <p:cNvSpPr/>
            <p:nvPr/>
          </p:nvSpPr>
          <p:spPr>
            <a:xfrm>
              <a:off x="972009" y="1117566"/>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44" name="Freeform: Shape 2343">
              <a:extLst>
                <a:ext uri="{FF2B5EF4-FFF2-40B4-BE49-F238E27FC236}">
                  <a16:creationId xmlns:a16="http://schemas.microsoft.com/office/drawing/2014/main" id="{4009260A-85ED-4F80-9028-3B6FDBAC8355}"/>
                </a:ext>
              </a:extLst>
            </p:cNvPr>
            <p:cNvSpPr/>
            <p:nvPr/>
          </p:nvSpPr>
          <p:spPr>
            <a:xfrm>
              <a:off x="1384120" y="1198289"/>
              <a:ext cx="70810" cy="70810"/>
            </a:xfrm>
            <a:custGeom>
              <a:avLst/>
              <a:gdLst>
                <a:gd name="connsiteX0" fmla="*/ 58275 w 70809"/>
                <a:gd name="connsiteY0" fmla="*/ 37032 h 70809"/>
                <a:gd name="connsiteX1" fmla="*/ 37032 w 70809"/>
                <a:gd name="connsiteY1" fmla="*/ 58275 h 70809"/>
                <a:gd name="connsiteX2" fmla="*/ 15789 w 70809"/>
                <a:gd name="connsiteY2" fmla="*/ 37032 h 70809"/>
                <a:gd name="connsiteX3" fmla="*/ 37032 w 70809"/>
                <a:gd name="connsiteY3" fmla="*/ 15789 h 70809"/>
                <a:gd name="connsiteX4" fmla="*/ 58275 w 70809"/>
                <a:gd name="connsiteY4" fmla="*/ 3703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58275" y="37032"/>
                  </a:moveTo>
                  <a:cubicBezTo>
                    <a:pt x="58275" y="48764"/>
                    <a:pt x="48764" y="58275"/>
                    <a:pt x="37032" y="58275"/>
                  </a:cubicBezTo>
                  <a:cubicBezTo>
                    <a:pt x="25300" y="58275"/>
                    <a:pt x="15789" y="48764"/>
                    <a:pt x="15789" y="37032"/>
                  </a:cubicBezTo>
                  <a:cubicBezTo>
                    <a:pt x="15789" y="25300"/>
                    <a:pt x="25300" y="15789"/>
                    <a:pt x="37032" y="15789"/>
                  </a:cubicBezTo>
                  <a:cubicBezTo>
                    <a:pt x="48764" y="15789"/>
                    <a:pt x="58275" y="25300"/>
                    <a:pt x="58275" y="3703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45" name="Freeform: Shape 2344">
              <a:extLst>
                <a:ext uri="{FF2B5EF4-FFF2-40B4-BE49-F238E27FC236}">
                  <a16:creationId xmlns:a16="http://schemas.microsoft.com/office/drawing/2014/main" id="{64581AF6-A7FF-4B74-9D50-6E3DEE592364}"/>
                </a:ext>
              </a:extLst>
            </p:cNvPr>
            <p:cNvSpPr/>
            <p:nvPr/>
          </p:nvSpPr>
          <p:spPr>
            <a:xfrm>
              <a:off x="1013078" y="1761933"/>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2" y="15789"/>
                    <a:pt x="15789" y="25702"/>
                    <a:pt x="15789" y="37032"/>
                  </a:cubicBezTo>
                  <a:cubicBezTo>
                    <a:pt x="15789" y="49778"/>
                    <a:pt x="25702" y="58275"/>
                    <a:pt x="37032" y="5827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46" name="Freeform: Shape 2345">
              <a:extLst>
                <a:ext uri="{FF2B5EF4-FFF2-40B4-BE49-F238E27FC236}">
                  <a16:creationId xmlns:a16="http://schemas.microsoft.com/office/drawing/2014/main" id="{4CF8EE7F-E80E-4AE8-A9B0-4013C7139566}"/>
                </a:ext>
              </a:extLst>
            </p:cNvPr>
            <p:cNvSpPr/>
            <p:nvPr/>
          </p:nvSpPr>
          <p:spPr>
            <a:xfrm>
              <a:off x="900981" y="1574995"/>
              <a:ext cx="42486" cy="42486"/>
            </a:xfrm>
            <a:custGeom>
              <a:avLst/>
              <a:gdLst>
                <a:gd name="connsiteX0" fmla="*/ 27337 w 42485"/>
                <a:gd name="connsiteY0" fmla="*/ 39864 h 42485"/>
                <a:gd name="connsiteX1" fmla="*/ 38667 w 42485"/>
                <a:gd name="connsiteY1" fmla="*/ 28535 h 42485"/>
                <a:gd name="connsiteX2" fmla="*/ 27337 w 42485"/>
                <a:gd name="connsiteY2" fmla="*/ 15789 h 42485"/>
                <a:gd name="connsiteX3" fmla="*/ 16007 w 42485"/>
                <a:gd name="connsiteY3" fmla="*/ 28535 h 42485"/>
                <a:gd name="connsiteX4" fmla="*/ 27337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9864"/>
                  </a:moveTo>
                  <a:cubicBezTo>
                    <a:pt x="34418" y="39864"/>
                    <a:pt x="38667" y="34200"/>
                    <a:pt x="38667" y="28535"/>
                  </a:cubicBezTo>
                  <a:cubicBezTo>
                    <a:pt x="38667" y="21454"/>
                    <a:pt x="33002" y="15789"/>
                    <a:pt x="27337" y="15789"/>
                  </a:cubicBezTo>
                  <a:cubicBezTo>
                    <a:pt x="20256" y="15789"/>
                    <a:pt x="16007" y="21454"/>
                    <a:pt x="16007" y="28535"/>
                  </a:cubicBezTo>
                  <a:cubicBezTo>
                    <a:pt x="14591" y="34200"/>
                    <a:pt x="20256" y="39864"/>
                    <a:pt x="27337" y="3986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47" name="Freeform: Shape 2346">
              <a:extLst>
                <a:ext uri="{FF2B5EF4-FFF2-40B4-BE49-F238E27FC236}">
                  <a16:creationId xmlns:a16="http://schemas.microsoft.com/office/drawing/2014/main" id="{C2ED6952-7767-4D69-B65A-D5ADD39F6F42}"/>
                </a:ext>
              </a:extLst>
            </p:cNvPr>
            <p:cNvSpPr/>
            <p:nvPr/>
          </p:nvSpPr>
          <p:spPr>
            <a:xfrm>
              <a:off x="1140535" y="1233693"/>
              <a:ext cx="42486" cy="42486"/>
            </a:xfrm>
            <a:custGeom>
              <a:avLst/>
              <a:gdLst>
                <a:gd name="connsiteX0" fmla="*/ 28535 w 42485"/>
                <a:gd name="connsiteY0" fmla="*/ 39864 h 42485"/>
                <a:gd name="connsiteX1" fmla="*/ 39864 w 42485"/>
                <a:gd name="connsiteY1" fmla="*/ 28535 h 42485"/>
                <a:gd name="connsiteX2" fmla="*/ 28535 w 42485"/>
                <a:gd name="connsiteY2" fmla="*/ 15789 h 42485"/>
                <a:gd name="connsiteX3" fmla="*/ 15789 w 42485"/>
                <a:gd name="connsiteY3" fmla="*/ 28535 h 42485"/>
                <a:gd name="connsiteX4" fmla="*/ 28535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8535" y="39864"/>
                  </a:moveTo>
                  <a:cubicBezTo>
                    <a:pt x="35616" y="39864"/>
                    <a:pt x="39864" y="34200"/>
                    <a:pt x="39864" y="28535"/>
                  </a:cubicBezTo>
                  <a:cubicBezTo>
                    <a:pt x="39864" y="22870"/>
                    <a:pt x="34199" y="15789"/>
                    <a:pt x="28535" y="15789"/>
                  </a:cubicBezTo>
                  <a:cubicBezTo>
                    <a:pt x="21454" y="15789"/>
                    <a:pt x="15789" y="21454"/>
                    <a:pt x="15789" y="28535"/>
                  </a:cubicBezTo>
                  <a:cubicBezTo>
                    <a:pt x="15789" y="35616"/>
                    <a:pt x="21454" y="39864"/>
                    <a:pt x="28535" y="3986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48" name="Freeform: Shape 2347">
              <a:extLst>
                <a:ext uri="{FF2B5EF4-FFF2-40B4-BE49-F238E27FC236}">
                  <a16:creationId xmlns:a16="http://schemas.microsoft.com/office/drawing/2014/main" id="{F79D7FDD-981C-40E4-BF2C-DEA14B239C59}"/>
                </a:ext>
              </a:extLst>
            </p:cNvPr>
            <p:cNvSpPr/>
            <p:nvPr/>
          </p:nvSpPr>
          <p:spPr>
            <a:xfrm>
              <a:off x="874292" y="1293173"/>
              <a:ext cx="113295" cy="113295"/>
            </a:xfrm>
            <a:custGeom>
              <a:avLst/>
              <a:gdLst>
                <a:gd name="connsiteX0" fmla="*/ 58275 w 113295"/>
                <a:gd name="connsiteY0" fmla="*/ 100760 h 113295"/>
                <a:gd name="connsiteX1" fmla="*/ 100760 w 113295"/>
                <a:gd name="connsiteY1" fmla="*/ 58275 h 113295"/>
                <a:gd name="connsiteX2" fmla="*/ 58275 w 113295"/>
                <a:gd name="connsiteY2" fmla="*/ 15789 h 113295"/>
                <a:gd name="connsiteX3" fmla="*/ 15789 w 113295"/>
                <a:gd name="connsiteY3" fmla="*/ 58275 h 113295"/>
                <a:gd name="connsiteX4" fmla="*/ 58275 w 113295"/>
                <a:gd name="connsiteY4" fmla="*/ 100760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8275" y="100760"/>
                  </a:moveTo>
                  <a:cubicBezTo>
                    <a:pt x="82350" y="100760"/>
                    <a:pt x="100760" y="80934"/>
                    <a:pt x="100760" y="58275"/>
                  </a:cubicBezTo>
                  <a:cubicBezTo>
                    <a:pt x="100760" y="35616"/>
                    <a:pt x="80934" y="15789"/>
                    <a:pt x="58275" y="15789"/>
                  </a:cubicBezTo>
                  <a:cubicBezTo>
                    <a:pt x="34199" y="15789"/>
                    <a:pt x="15789" y="35616"/>
                    <a:pt x="15789" y="58275"/>
                  </a:cubicBezTo>
                  <a:cubicBezTo>
                    <a:pt x="15789" y="80934"/>
                    <a:pt x="34199" y="100760"/>
                    <a:pt x="58275" y="10076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49" name="Freeform: Shape 2348">
              <a:extLst>
                <a:ext uri="{FF2B5EF4-FFF2-40B4-BE49-F238E27FC236}">
                  <a16:creationId xmlns:a16="http://schemas.microsoft.com/office/drawing/2014/main" id="{4A486E2B-8F8A-41F8-94F9-792D03EED646}"/>
                </a:ext>
              </a:extLst>
            </p:cNvPr>
            <p:cNvSpPr/>
            <p:nvPr/>
          </p:nvSpPr>
          <p:spPr>
            <a:xfrm>
              <a:off x="2141783" y="1015600"/>
              <a:ext cx="113295" cy="113295"/>
            </a:xfrm>
            <a:custGeom>
              <a:avLst/>
              <a:gdLst>
                <a:gd name="connsiteX0" fmla="*/ 58275 w 113295"/>
                <a:gd name="connsiteY0" fmla="*/ 100760 h 113295"/>
                <a:gd name="connsiteX1" fmla="*/ 100760 w 113295"/>
                <a:gd name="connsiteY1" fmla="*/ 58275 h 113295"/>
                <a:gd name="connsiteX2" fmla="*/ 58275 w 113295"/>
                <a:gd name="connsiteY2" fmla="*/ 15789 h 113295"/>
                <a:gd name="connsiteX3" fmla="*/ 15789 w 113295"/>
                <a:gd name="connsiteY3" fmla="*/ 58275 h 113295"/>
                <a:gd name="connsiteX4" fmla="*/ 58275 w 113295"/>
                <a:gd name="connsiteY4" fmla="*/ 100760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8275" y="100760"/>
                  </a:moveTo>
                  <a:cubicBezTo>
                    <a:pt x="82350" y="100760"/>
                    <a:pt x="100760" y="80934"/>
                    <a:pt x="100760" y="58275"/>
                  </a:cubicBezTo>
                  <a:cubicBezTo>
                    <a:pt x="100760" y="35616"/>
                    <a:pt x="80934" y="15789"/>
                    <a:pt x="58275" y="15789"/>
                  </a:cubicBezTo>
                  <a:cubicBezTo>
                    <a:pt x="34199" y="15789"/>
                    <a:pt x="15789" y="35616"/>
                    <a:pt x="15789" y="58275"/>
                  </a:cubicBezTo>
                  <a:cubicBezTo>
                    <a:pt x="15789" y="80934"/>
                    <a:pt x="34199" y="100760"/>
                    <a:pt x="58275" y="10076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50" name="Freeform: Shape 2349">
              <a:extLst>
                <a:ext uri="{FF2B5EF4-FFF2-40B4-BE49-F238E27FC236}">
                  <a16:creationId xmlns:a16="http://schemas.microsoft.com/office/drawing/2014/main" id="{225DF158-EB5D-49A9-AC01-A2919C40B862}"/>
                </a:ext>
              </a:extLst>
            </p:cNvPr>
            <p:cNvSpPr/>
            <p:nvPr/>
          </p:nvSpPr>
          <p:spPr>
            <a:xfrm>
              <a:off x="2725254" y="1526845"/>
              <a:ext cx="84971" cy="84971"/>
            </a:xfrm>
            <a:custGeom>
              <a:avLst/>
              <a:gdLst>
                <a:gd name="connsiteX0" fmla="*/ 46945 w 84971"/>
                <a:gd name="connsiteY0" fmla="*/ 78101 h 84971"/>
                <a:gd name="connsiteX1" fmla="*/ 78101 w 84971"/>
                <a:gd name="connsiteY1" fmla="*/ 46945 h 84971"/>
                <a:gd name="connsiteX2" fmla="*/ 46945 w 84971"/>
                <a:gd name="connsiteY2" fmla="*/ 15789 h 84971"/>
                <a:gd name="connsiteX3" fmla="*/ 15789 w 84971"/>
                <a:gd name="connsiteY3" fmla="*/ 46945 h 84971"/>
                <a:gd name="connsiteX4" fmla="*/ 46945 w 84971"/>
                <a:gd name="connsiteY4" fmla="*/ 78101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6945" y="78101"/>
                  </a:moveTo>
                  <a:cubicBezTo>
                    <a:pt x="63939" y="78101"/>
                    <a:pt x="78101" y="63939"/>
                    <a:pt x="78101" y="46945"/>
                  </a:cubicBezTo>
                  <a:cubicBezTo>
                    <a:pt x="78101" y="29951"/>
                    <a:pt x="63939" y="15789"/>
                    <a:pt x="46945" y="15789"/>
                  </a:cubicBezTo>
                  <a:cubicBezTo>
                    <a:pt x="29951" y="15789"/>
                    <a:pt x="15789" y="29951"/>
                    <a:pt x="15789" y="46945"/>
                  </a:cubicBezTo>
                  <a:cubicBezTo>
                    <a:pt x="15789" y="65356"/>
                    <a:pt x="29951" y="78101"/>
                    <a:pt x="46945" y="7810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51" name="Freeform: Shape 2350">
              <a:extLst>
                <a:ext uri="{FF2B5EF4-FFF2-40B4-BE49-F238E27FC236}">
                  <a16:creationId xmlns:a16="http://schemas.microsoft.com/office/drawing/2014/main" id="{CCBE19E2-C64A-4370-9F23-D1263C9B2EA4}"/>
                </a:ext>
              </a:extLst>
            </p:cNvPr>
            <p:cNvSpPr/>
            <p:nvPr/>
          </p:nvSpPr>
          <p:spPr>
            <a:xfrm>
              <a:off x="1597965" y="1280428"/>
              <a:ext cx="42486" cy="42486"/>
            </a:xfrm>
            <a:custGeom>
              <a:avLst/>
              <a:gdLst>
                <a:gd name="connsiteX0" fmla="*/ 27119 w 42485"/>
                <a:gd name="connsiteY0" fmla="*/ 38448 h 42485"/>
                <a:gd name="connsiteX1" fmla="*/ 38448 w 42485"/>
                <a:gd name="connsiteY1" fmla="*/ 27118 h 42485"/>
                <a:gd name="connsiteX2" fmla="*/ 27119 w 42485"/>
                <a:gd name="connsiteY2" fmla="*/ 15789 h 42485"/>
                <a:gd name="connsiteX3" fmla="*/ 15789 w 42485"/>
                <a:gd name="connsiteY3" fmla="*/ 27118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8"/>
                  </a:cubicBezTo>
                  <a:cubicBezTo>
                    <a:pt x="38448" y="21454"/>
                    <a:pt x="32783" y="15789"/>
                    <a:pt x="27119" y="15789"/>
                  </a:cubicBezTo>
                  <a:cubicBezTo>
                    <a:pt x="21454" y="15789"/>
                    <a:pt x="15789" y="21454"/>
                    <a:pt x="15789" y="27118"/>
                  </a:cubicBezTo>
                  <a:cubicBezTo>
                    <a:pt x="15789" y="32783"/>
                    <a:pt x="21454" y="38448"/>
                    <a:pt x="27119" y="3844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52" name="Freeform: Shape 2351">
              <a:extLst>
                <a:ext uri="{FF2B5EF4-FFF2-40B4-BE49-F238E27FC236}">
                  <a16:creationId xmlns:a16="http://schemas.microsoft.com/office/drawing/2014/main" id="{E45C4FAF-FEB7-4E2F-95CC-50419CEDCE03}"/>
                </a:ext>
              </a:extLst>
            </p:cNvPr>
            <p:cNvSpPr/>
            <p:nvPr/>
          </p:nvSpPr>
          <p:spPr>
            <a:xfrm>
              <a:off x="1838718" y="1215283"/>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53" name="Freeform: Shape 2352">
              <a:extLst>
                <a:ext uri="{FF2B5EF4-FFF2-40B4-BE49-F238E27FC236}">
                  <a16:creationId xmlns:a16="http://schemas.microsoft.com/office/drawing/2014/main" id="{CE21C2A3-1196-4CE4-A0CB-6FCC6393E858}"/>
                </a:ext>
              </a:extLst>
            </p:cNvPr>
            <p:cNvSpPr/>
            <p:nvPr/>
          </p:nvSpPr>
          <p:spPr>
            <a:xfrm>
              <a:off x="2134483" y="1242190"/>
              <a:ext cx="42486" cy="42486"/>
            </a:xfrm>
            <a:custGeom>
              <a:avLst/>
              <a:gdLst>
                <a:gd name="connsiteX0" fmla="*/ 27337 w 42485"/>
                <a:gd name="connsiteY0" fmla="*/ 39864 h 42485"/>
                <a:gd name="connsiteX1" fmla="*/ 38667 w 42485"/>
                <a:gd name="connsiteY1" fmla="*/ 27119 h 42485"/>
                <a:gd name="connsiteX2" fmla="*/ 27337 w 42485"/>
                <a:gd name="connsiteY2" fmla="*/ 15789 h 42485"/>
                <a:gd name="connsiteX3" fmla="*/ 16007 w 42485"/>
                <a:gd name="connsiteY3" fmla="*/ 27119 h 42485"/>
                <a:gd name="connsiteX4" fmla="*/ 27337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9864"/>
                  </a:moveTo>
                  <a:cubicBezTo>
                    <a:pt x="34418" y="39864"/>
                    <a:pt x="38667" y="34200"/>
                    <a:pt x="38667" y="27119"/>
                  </a:cubicBezTo>
                  <a:cubicBezTo>
                    <a:pt x="38667" y="20038"/>
                    <a:pt x="33002" y="15789"/>
                    <a:pt x="27337" y="15789"/>
                  </a:cubicBezTo>
                  <a:cubicBezTo>
                    <a:pt x="21672" y="15789"/>
                    <a:pt x="16007" y="21454"/>
                    <a:pt x="16007" y="27119"/>
                  </a:cubicBezTo>
                  <a:cubicBezTo>
                    <a:pt x="14591" y="34200"/>
                    <a:pt x="20256" y="39864"/>
                    <a:pt x="27337" y="3986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54" name="Freeform: Shape 2353">
              <a:extLst>
                <a:ext uri="{FF2B5EF4-FFF2-40B4-BE49-F238E27FC236}">
                  <a16:creationId xmlns:a16="http://schemas.microsoft.com/office/drawing/2014/main" id="{76206B44-E3C5-4E7E-908D-A6B73DC08A4F}"/>
                </a:ext>
              </a:extLst>
            </p:cNvPr>
            <p:cNvSpPr/>
            <p:nvPr/>
          </p:nvSpPr>
          <p:spPr>
            <a:xfrm>
              <a:off x="2631785" y="1185543"/>
              <a:ext cx="42486" cy="42486"/>
            </a:xfrm>
            <a:custGeom>
              <a:avLst/>
              <a:gdLst>
                <a:gd name="connsiteX0" fmla="*/ 27119 w 42485"/>
                <a:gd name="connsiteY0" fmla="*/ 39864 h 42485"/>
                <a:gd name="connsiteX1" fmla="*/ 38448 w 42485"/>
                <a:gd name="connsiteY1" fmla="*/ 28535 h 42485"/>
                <a:gd name="connsiteX2" fmla="*/ 27119 w 42485"/>
                <a:gd name="connsiteY2" fmla="*/ 15789 h 42485"/>
                <a:gd name="connsiteX3" fmla="*/ 15789 w 42485"/>
                <a:gd name="connsiteY3" fmla="*/ 28535 h 42485"/>
                <a:gd name="connsiteX4" fmla="*/ 27119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9864"/>
                  </a:moveTo>
                  <a:cubicBezTo>
                    <a:pt x="34200" y="39864"/>
                    <a:pt x="38448" y="34199"/>
                    <a:pt x="38448" y="28535"/>
                  </a:cubicBezTo>
                  <a:cubicBezTo>
                    <a:pt x="38448" y="22870"/>
                    <a:pt x="32783" y="15789"/>
                    <a:pt x="27119" y="15789"/>
                  </a:cubicBezTo>
                  <a:cubicBezTo>
                    <a:pt x="20038" y="15789"/>
                    <a:pt x="15789" y="21454"/>
                    <a:pt x="15789" y="28535"/>
                  </a:cubicBezTo>
                  <a:cubicBezTo>
                    <a:pt x="15789" y="35616"/>
                    <a:pt x="20038" y="39864"/>
                    <a:pt x="27119" y="3986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55" name="Freeform: Shape 2354">
              <a:extLst>
                <a:ext uri="{FF2B5EF4-FFF2-40B4-BE49-F238E27FC236}">
                  <a16:creationId xmlns:a16="http://schemas.microsoft.com/office/drawing/2014/main" id="{A177C2EF-3EA8-4E11-9128-C19841787A1A}"/>
                </a:ext>
              </a:extLst>
            </p:cNvPr>
            <p:cNvSpPr/>
            <p:nvPr/>
          </p:nvSpPr>
          <p:spPr>
            <a:xfrm>
              <a:off x="2631785" y="651639"/>
              <a:ext cx="42486" cy="42486"/>
            </a:xfrm>
            <a:custGeom>
              <a:avLst/>
              <a:gdLst>
                <a:gd name="connsiteX0" fmla="*/ 28535 w 42485"/>
                <a:gd name="connsiteY0" fmla="*/ 38448 h 42485"/>
                <a:gd name="connsiteX1" fmla="*/ 39864 w 42485"/>
                <a:gd name="connsiteY1" fmla="*/ 27119 h 42485"/>
                <a:gd name="connsiteX2" fmla="*/ 28535 w 42485"/>
                <a:gd name="connsiteY2" fmla="*/ 15789 h 42485"/>
                <a:gd name="connsiteX3" fmla="*/ 15789 w 42485"/>
                <a:gd name="connsiteY3" fmla="*/ 27119 h 42485"/>
                <a:gd name="connsiteX4" fmla="*/ 28535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8535" y="38448"/>
                  </a:moveTo>
                  <a:cubicBezTo>
                    <a:pt x="35616" y="38448"/>
                    <a:pt x="39864" y="32783"/>
                    <a:pt x="39864" y="27119"/>
                  </a:cubicBezTo>
                  <a:cubicBezTo>
                    <a:pt x="39864" y="20038"/>
                    <a:pt x="34200" y="15789"/>
                    <a:pt x="28535" y="15789"/>
                  </a:cubicBezTo>
                  <a:cubicBezTo>
                    <a:pt x="21454" y="15789"/>
                    <a:pt x="15789" y="21454"/>
                    <a:pt x="15789" y="27119"/>
                  </a:cubicBezTo>
                  <a:cubicBezTo>
                    <a:pt x="17205" y="34199"/>
                    <a:pt x="22870" y="38448"/>
                    <a:pt x="28535" y="3844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56" name="Freeform: Shape 2355">
              <a:extLst>
                <a:ext uri="{FF2B5EF4-FFF2-40B4-BE49-F238E27FC236}">
                  <a16:creationId xmlns:a16="http://schemas.microsoft.com/office/drawing/2014/main" id="{7D536004-FF5A-4FF4-BF98-61DCD1619864}"/>
                </a:ext>
              </a:extLst>
            </p:cNvPr>
            <p:cNvSpPr/>
            <p:nvPr/>
          </p:nvSpPr>
          <p:spPr>
            <a:xfrm>
              <a:off x="2082028" y="779096"/>
              <a:ext cx="42486" cy="42486"/>
            </a:xfrm>
            <a:custGeom>
              <a:avLst/>
              <a:gdLst>
                <a:gd name="connsiteX0" fmla="*/ 24561 w 42485"/>
                <a:gd name="connsiteY0" fmla="*/ 32783 h 42485"/>
                <a:gd name="connsiteX1" fmla="*/ 33058 w 42485"/>
                <a:gd name="connsiteY1" fmla="*/ 24286 h 42485"/>
                <a:gd name="connsiteX2" fmla="*/ 24561 w 42485"/>
                <a:gd name="connsiteY2" fmla="*/ 15789 h 42485"/>
                <a:gd name="connsiteX3" fmla="*/ 16063 w 42485"/>
                <a:gd name="connsiteY3" fmla="*/ 24286 h 42485"/>
                <a:gd name="connsiteX4" fmla="*/ 24561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1" y="32783"/>
                  </a:moveTo>
                  <a:cubicBezTo>
                    <a:pt x="28809" y="32783"/>
                    <a:pt x="33058" y="28535"/>
                    <a:pt x="33058" y="24286"/>
                  </a:cubicBezTo>
                  <a:cubicBezTo>
                    <a:pt x="33058" y="20038"/>
                    <a:pt x="28809" y="15789"/>
                    <a:pt x="24561" y="15789"/>
                  </a:cubicBezTo>
                  <a:cubicBezTo>
                    <a:pt x="20312" y="15789"/>
                    <a:pt x="16063" y="20038"/>
                    <a:pt x="16063" y="24286"/>
                  </a:cubicBezTo>
                  <a:cubicBezTo>
                    <a:pt x="14647" y="28535"/>
                    <a:pt x="18896" y="32783"/>
                    <a:pt x="24561"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57" name="Freeform: Shape 2356">
              <a:extLst>
                <a:ext uri="{FF2B5EF4-FFF2-40B4-BE49-F238E27FC236}">
                  <a16:creationId xmlns:a16="http://schemas.microsoft.com/office/drawing/2014/main" id="{2E743CC0-338A-42CE-AB74-3F0256AB3B98}"/>
                </a:ext>
              </a:extLst>
            </p:cNvPr>
            <p:cNvSpPr/>
            <p:nvPr/>
          </p:nvSpPr>
          <p:spPr>
            <a:xfrm>
              <a:off x="3049561" y="1460284"/>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58" name="Freeform: Shape 2357">
              <a:extLst>
                <a:ext uri="{FF2B5EF4-FFF2-40B4-BE49-F238E27FC236}">
                  <a16:creationId xmlns:a16="http://schemas.microsoft.com/office/drawing/2014/main" id="{29B38326-7AEB-4806-8BE0-A3E9396B8864}"/>
                </a:ext>
              </a:extLst>
            </p:cNvPr>
            <p:cNvSpPr/>
            <p:nvPr/>
          </p:nvSpPr>
          <p:spPr>
            <a:xfrm>
              <a:off x="2902061" y="1658551"/>
              <a:ext cx="56648" cy="56648"/>
            </a:xfrm>
            <a:custGeom>
              <a:avLst/>
              <a:gdLst>
                <a:gd name="connsiteX0" fmla="*/ 28752 w 56647"/>
                <a:gd name="connsiteY0" fmla="*/ 41280 h 56647"/>
                <a:gd name="connsiteX1" fmla="*/ 41497 w 56647"/>
                <a:gd name="connsiteY1" fmla="*/ 28535 h 56647"/>
                <a:gd name="connsiteX2" fmla="*/ 28752 w 56647"/>
                <a:gd name="connsiteY2" fmla="*/ 15789 h 56647"/>
                <a:gd name="connsiteX3" fmla="*/ 16006 w 56647"/>
                <a:gd name="connsiteY3" fmla="*/ 28535 h 56647"/>
                <a:gd name="connsiteX4" fmla="*/ 28752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752" y="41280"/>
                  </a:moveTo>
                  <a:cubicBezTo>
                    <a:pt x="35833" y="41280"/>
                    <a:pt x="41497" y="35616"/>
                    <a:pt x="41497" y="28535"/>
                  </a:cubicBezTo>
                  <a:cubicBezTo>
                    <a:pt x="41497" y="21454"/>
                    <a:pt x="35833" y="15789"/>
                    <a:pt x="28752" y="15789"/>
                  </a:cubicBezTo>
                  <a:cubicBezTo>
                    <a:pt x="21671" y="15789"/>
                    <a:pt x="16006" y="21454"/>
                    <a:pt x="16006" y="28535"/>
                  </a:cubicBezTo>
                  <a:cubicBezTo>
                    <a:pt x="14590" y="35616"/>
                    <a:pt x="20254" y="41280"/>
                    <a:pt x="28752" y="4128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59" name="Freeform: Shape 2358">
              <a:extLst>
                <a:ext uri="{FF2B5EF4-FFF2-40B4-BE49-F238E27FC236}">
                  <a16:creationId xmlns:a16="http://schemas.microsoft.com/office/drawing/2014/main" id="{243B8632-8DDB-43DA-AD82-023D90034557}"/>
                </a:ext>
              </a:extLst>
            </p:cNvPr>
            <p:cNvSpPr/>
            <p:nvPr/>
          </p:nvSpPr>
          <p:spPr>
            <a:xfrm>
              <a:off x="3436182" y="1678377"/>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60" name="Freeform: Shape 2359">
              <a:extLst>
                <a:ext uri="{FF2B5EF4-FFF2-40B4-BE49-F238E27FC236}">
                  <a16:creationId xmlns:a16="http://schemas.microsoft.com/office/drawing/2014/main" id="{9E40B6C6-ECE6-4BBB-9A53-7D57F27F6368}"/>
                </a:ext>
              </a:extLst>
            </p:cNvPr>
            <p:cNvSpPr/>
            <p:nvPr/>
          </p:nvSpPr>
          <p:spPr>
            <a:xfrm>
              <a:off x="3870952" y="1933292"/>
              <a:ext cx="70810" cy="70810"/>
            </a:xfrm>
            <a:custGeom>
              <a:avLst/>
              <a:gdLst>
                <a:gd name="connsiteX0" fmla="*/ 38448 w 70809"/>
                <a:gd name="connsiteY0" fmla="*/ 61107 h 70809"/>
                <a:gd name="connsiteX1" fmla="*/ 61107 w 70809"/>
                <a:gd name="connsiteY1" fmla="*/ 38448 h 70809"/>
                <a:gd name="connsiteX2" fmla="*/ 38448 w 70809"/>
                <a:gd name="connsiteY2" fmla="*/ 15789 h 70809"/>
                <a:gd name="connsiteX3" fmla="*/ 15789 w 70809"/>
                <a:gd name="connsiteY3" fmla="*/ 38448 h 70809"/>
                <a:gd name="connsiteX4" fmla="*/ 3844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8" y="61107"/>
                  </a:moveTo>
                  <a:cubicBezTo>
                    <a:pt x="51194" y="61107"/>
                    <a:pt x="61107" y="51194"/>
                    <a:pt x="61107" y="38448"/>
                  </a:cubicBezTo>
                  <a:cubicBezTo>
                    <a:pt x="61107" y="25702"/>
                    <a:pt x="51194" y="15789"/>
                    <a:pt x="38448" y="15789"/>
                  </a:cubicBezTo>
                  <a:cubicBezTo>
                    <a:pt x="25702" y="15789"/>
                    <a:pt x="15789" y="25702"/>
                    <a:pt x="15789" y="38448"/>
                  </a:cubicBezTo>
                  <a:cubicBezTo>
                    <a:pt x="15789" y="51194"/>
                    <a:pt x="25702" y="61107"/>
                    <a:pt x="38448" y="6110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61" name="Freeform: Shape 2360">
              <a:extLst>
                <a:ext uri="{FF2B5EF4-FFF2-40B4-BE49-F238E27FC236}">
                  <a16:creationId xmlns:a16="http://schemas.microsoft.com/office/drawing/2014/main" id="{2E04573D-E96E-42DB-956C-9028B3FD8CAF}"/>
                </a:ext>
              </a:extLst>
            </p:cNvPr>
            <p:cNvSpPr/>
            <p:nvPr/>
          </p:nvSpPr>
          <p:spPr>
            <a:xfrm>
              <a:off x="3400511" y="2072860"/>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9"/>
                  </a:cubicBezTo>
                  <a:cubicBezTo>
                    <a:pt x="38448" y="21454"/>
                    <a:pt x="32783" y="15789"/>
                    <a:pt x="27119" y="15789"/>
                  </a:cubicBezTo>
                  <a:cubicBezTo>
                    <a:pt x="21454" y="15789"/>
                    <a:pt x="15789" y="21454"/>
                    <a:pt x="15789" y="27119"/>
                  </a:cubicBezTo>
                  <a:cubicBezTo>
                    <a:pt x="15789" y="32783"/>
                    <a:pt x="21454" y="38448"/>
                    <a:pt x="27119" y="3844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62" name="Freeform: Shape 2361">
              <a:extLst>
                <a:ext uri="{FF2B5EF4-FFF2-40B4-BE49-F238E27FC236}">
                  <a16:creationId xmlns:a16="http://schemas.microsoft.com/office/drawing/2014/main" id="{4873BA0F-DB09-455F-AA73-5BA8180B430A}"/>
                </a:ext>
              </a:extLst>
            </p:cNvPr>
            <p:cNvSpPr/>
            <p:nvPr/>
          </p:nvSpPr>
          <p:spPr>
            <a:xfrm>
              <a:off x="3688166" y="1798753"/>
              <a:ext cx="84971" cy="84971"/>
            </a:xfrm>
            <a:custGeom>
              <a:avLst/>
              <a:gdLst>
                <a:gd name="connsiteX0" fmla="*/ 44211 w 84971"/>
                <a:gd name="connsiteY0" fmla="*/ 72437 h 84971"/>
                <a:gd name="connsiteX1" fmla="*/ 72535 w 84971"/>
                <a:gd name="connsiteY1" fmla="*/ 44113 h 84971"/>
                <a:gd name="connsiteX2" fmla="*/ 44211 w 84971"/>
                <a:gd name="connsiteY2" fmla="*/ 15789 h 84971"/>
                <a:gd name="connsiteX3" fmla="*/ 15887 w 84971"/>
                <a:gd name="connsiteY3" fmla="*/ 44113 h 84971"/>
                <a:gd name="connsiteX4" fmla="*/ 44211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211" y="72437"/>
                  </a:moveTo>
                  <a:cubicBezTo>
                    <a:pt x="59789" y="72437"/>
                    <a:pt x="72535" y="59691"/>
                    <a:pt x="72535" y="44113"/>
                  </a:cubicBezTo>
                  <a:cubicBezTo>
                    <a:pt x="72535" y="28535"/>
                    <a:pt x="59789" y="15789"/>
                    <a:pt x="44211" y="15789"/>
                  </a:cubicBezTo>
                  <a:cubicBezTo>
                    <a:pt x="28633" y="15789"/>
                    <a:pt x="15887" y="28535"/>
                    <a:pt x="15887" y="44113"/>
                  </a:cubicBezTo>
                  <a:cubicBezTo>
                    <a:pt x="14471" y="59691"/>
                    <a:pt x="28633" y="72437"/>
                    <a:pt x="44211" y="7243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63" name="Freeform: Shape 2362">
              <a:extLst>
                <a:ext uri="{FF2B5EF4-FFF2-40B4-BE49-F238E27FC236}">
                  <a16:creationId xmlns:a16="http://schemas.microsoft.com/office/drawing/2014/main" id="{2FB85148-C922-4930-8380-792D067C8920}"/>
                </a:ext>
              </a:extLst>
            </p:cNvPr>
            <p:cNvSpPr/>
            <p:nvPr/>
          </p:nvSpPr>
          <p:spPr>
            <a:xfrm>
              <a:off x="2951844" y="1250688"/>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8275"/>
                    <a:pt x="28535" y="72437"/>
                    <a:pt x="44113" y="7243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64" name="Freeform: Shape 2363">
              <a:extLst>
                <a:ext uri="{FF2B5EF4-FFF2-40B4-BE49-F238E27FC236}">
                  <a16:creationId xmlns:a16="http://schemas.microsoft.com/office/drawing/2014/main" id="{8C566975-6026-4B06-9F5F-31420F50B77F}"/>
                </a:ext>
              </a:extLst>
            </p:cNvPr>
            <p:cNvSpPr/>
            <p:nvPr/>
          </p:nvSpPr>
          <p:spPr>
            <a:xfrm>
              <a:off x="2536900" y="1297422"/>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1454"/>
                    <a:pt x="37032" y="15789"/>
                    <a:pt x="29951" y="15789"/>
                  </a:cubicBezTo>
                  <a:cubicBezTo>
                    <a:pt x="21454" y="15789"/>
                    <a:pt x="15789" y="22870"/>
                    <a:pt x="15789" y="29951"/>
                  </a:cubicBezTo>
                  <a:cubicBezTo>
                    <a:pt x="15789" y="38448"/>
                    <a:pt x="22870" y="44113"/>
                    <a:pt x="29951"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65" name="Freeform: Shape 2364">
              <a:extLst>
                <a:ext uri="{FF2B5EF4-FFF2-40B4-BE49-F238E27FC236}">
                  <a16:creationId xmlns:a16="http://schemas.microsoft.com/office/drawing/2014/main" id="{7036F36D-E8F9-4972-98D6-C4AF81095AF8}"/>
                </a:ext>
              </a:extLst>
            </p:cNvPr>
            <p:cNvSpPr/>
            <p:nvPr/>
          </p:nvSpPr>
          <p:spPr>
            <a:xfrm>
              <a:off x="2500079" y="1049589"/>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2870"/>
                    <a:pt x="37032" y="15789"/>
                    <a:pt x="29951" y="15789"/>
                  </a:cubicBezTo>
                  <a:cubicBezTo>
                    <a:pt x="21454" y="15789"/>
                    <a:pt x="15789" y="22870"/>
                    <a:pt x="15789" y="29951"/>
                  </a:cubicBezTo>
                  <a:cubicBezTo>
                    <a:pt x="15789" y="37032"/>
                    <a:pt x="21454" y="44113"/>
                    <a:pt x="29951"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66" name="Freeform: Shape 2365">
              <a:extLst>
                <a:ext uri="{FF2B5EF4-FFF2-40B4-BE49-F238E27FC236}">
                  <a16:creationId xmlns:a16="http://schemas.microsoft.com/office/drawing/2014/main" id="{B6D6F538-770A-4ABA-85B7-B3DC752C71DA}"/>
                </a:ext>
              </a:extLst>
            </p:cNvPr>
            <p:cNvSpPr/>
            <p:nvPr/>
          </p:nvSpPr>
          <p:spPr>
            <a:xfrm>
              <a:off x="1685769" y="161464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5789" y="41280"/>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67" name="Freeform: Shape 2366">
              <a:extLst>
                <a:ext uri="{FF2B5EF4-FFF2-40B4-BE49-F238E27FC236}">
                  <a16:creationId xmlns:a16="http://schemas.microsoft.com/office/drawing/2014/main" id="{B43651F6-4696-4C99-9A25-4481D8BD0A36}"/>
                </a:ext>
              </a:extLst>
            </p:cNvPr>
            <p:cNvSpPr/>
            <p:nvPr/>
          </p:nvSpPr>
          <p:spPr>
            <a:xfrm>
              <a:off x="1691434" y="1664215"/>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2" y="15789"/>
                    <a:pt x="15789" y="25702"/>
                    <a:pt x="15789" y="37032"/>
                  </a:cubicBezTo>
                  <a:cubicBezTo>
                    <a:pt x="17205" y="48361"/>
                    <a:pt x="25702" y="58275"/>
                    <a:pt x="37032" y="5827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68" name="Freeform: Shape 2367">
              <a:extLst>
                <a:ext uri="{FF2B5EF4-FFF2-40B4-BE49-F238E27FC236}">
                  <a16:creationId xmlns:a16="http://schemas.microsoft.com/office/drawing/2014/main" id="{48A1A59F-F957-4AB1-9DBB-4E5E81132936}"/>
                </a:ext>
              </a:extLst>
            </p:cNvPr>
            <p:cNvSpPr/>
            <p:nvPr/>
          </p:nvSpPr>
          <p:spPr>
            <a:xfrm>
              <a:off x="1643283" y="1399388"/>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5789" y="71020"/>
                    <a:pt x="31367" y="86599"/>
                    <a:pt x="51194" y="8659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69" name="Freeform: Shape 2368">
              <a:extLst>
                <a:ext uri="{FF2B5EF4-FFF2-40B4-BE49-F238E27FC236}">
                  <a16:creationId xmlns:a16="http://schemas.microsoft.com/office/drawing/2014/main" id="{ABBEFF95-C975-4415-8871-DD31CFFE5C9A}"/>
                </a:ext>
              </a:extLst>
            </p:cNvPr>
            <p:cNvSpPr/>
            <p:nvPr/>
          </p:nvSpPr>
          <p:spPr>
            <a:xfrm>
              <a:off x="1925399" y="1962663"/>
              <a:ext cx="84971" cy="84971"/>
            </a:xfrm>
            <a:custGeom>
              <a:avLst/>
              <a:gdLst>
                <a:gd name="connsiteX0" fmla="*/ 42697 w 84971"/>
                <a:gd name="connsiteY0" fmla="*/ 69604 h 84971"/>
                <a:gd name="connsiteX1" fmla="*/ 69604 w 84971"/>
                <a:gd name="connsiteY1" fmla="*/ 42697 h 84971"/>
                <a:gd name="connsiteX2" fmla="*/ 42697 w 84971"/>
                <a:gd name="connsiteY2" fmla="*/ 15789 h 84971"/>
                <a:gd name="connsiteX3" fmla="*/ 15789 w 84971"/>
                <a:gd name="connsiteY3" fmla="*/ 42697 h 84971"/>
                <a:gd name="connsiteX4" fmla="*/ 42697 w 84971"/>
                <a:gd name="connsiteY4" fmla="*/ 6960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7" y="69604"/>
                  </a:moveTo>
                  <a:cubicBezTo>
                    <a:pt x="56859" y="69604"/>
                    <a:pt x="69604" y="56859"/>
                    <a:pt x="69604" y="42697"/>
                  </a:cubicBezTo>
                  <a:cubicBezTo>
                    <a:pt x="69604" y="28535"/>
                    <a:pt x="56859" y="15789"/>
                    <a:pt x="42697" y="15789"/>
                  </a:cubicBezTo>
                  <a:cubicBezTo>
                    <a:pt x="28535" y="15789"/>
                    <a:pt x="15789" y="28535"/>
                    <a:pt x="15789" y="42697"/>
                  </a:cubicBezTo>
                  <a:cubicBezTo>
                    <a:pt x="15789" y="56859"/>
                    <a:pt x="27119" y="69604"/>
                    <a:pt x="42697" y="6960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70" name="Freeform: Shape 2369">
              <a:extLst>
                <a:ext uri="{FF2B5EF4-FFF2-40B4-BE49-F238E27FC236}">
                  <a16:creationId xmlns:a16="http://schemas.microsoft.com/office/drawing/2014/main" id="{2DEB11F4-34F9-4CC7-8E79-93830F54E59A}"/>
                </a:ext>
              </a:extLst>
            </p:cNvPr>
            <p:cNvSpPr/>
            <p:nvPr/>
          </p:nvSpPr>
          <p:spPr>
            <a:xfrm>
              <a:off x="3160171" y="1973764"/>
              <a:ext cx="56648" cy="56648"/>
            </a:xfrm>
            <a:custGeom>
              <a:avLst/>
              <a:gdLst>
                <a:gd name="connsiteX0" fmla="*/ 29951 w 56647"/>
                <a:gd name="connsiteY0" fmla="*/ 42697 h 56647"/>
                <a:gd name="connsiteX1" fmla="*/ 42697 w 56647"/>
                <a:gd name="connsiteY1" fmla="*/ 29951 h 56647"/>
                <a:gd name="connsiteX2" fmla="*/ 29951 w 56647"/>
                <a:gd name="connsiteY2" fmla="*/ 15789 h 56647"/>
                <a:gd name="connsiteX3" fmla="*/ 15789 w 56647"/>
                <a:gd name="connsiteY3" fmla="*/ 29951 h 56647"/>
                <a:gd name="connsiteX4" fmla="*/ 29951 w 56647"/>
                <a:gd name="connsiteY4" fmla="*/ 4269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2697"/>
                  </a:moveTo>
                  <a:cubicBezTo>
                    <a:pt x="37032" y="42697"/>
                    <a:pt x="42697" y="37032"/>
                    <a:pt x="42697" y="29951"/>
                  </a:cubicBezTo>
                  <a:cubicBezTo>
                    <a:pt x="42697" y="22870"/>
                    <a:pt x="37032" y="15789"/>
                    <a:pt x="29951" y="15789"/>
                  </a:cubicBezTo>
                  <a:cubicBezTo>
                    <a:pt x="22870" y="15789"/>
                    <a:pt x="15789" y="21454"/>
                    <a:pt x="15789" y="29951"/>
                  </a:cubicBezTo>
                  <a:cubicBezTo>
                    <a:pt x="15789" y="37032"/>
                    <a:pt x="22870" y="42697"/>
                    <a:pt x="29951" y="4269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71" name="Freeform: Shape 2370">
              <a:extLst>
                <a:ext uri="{FF2B5EF4-FFF2-40B4-BE49-F238E27FC236}">
                  <a16:creationId xmlns:a16="http://schemas.microsoft.com/office/drawing/2014/main" id="{3729B7E0-0D16-4817-AA69-3F0E569E2DCF}"/>
                </a:ext>
              </a:extLst>
            </p:cNvPr>
            <p:cNvSpPr/>
            <p:nvPr/>
          </p:nvSpPr>
          <p:spPr>
            <a:xfrm>
              <a:off x="3034575" y="1878842"/>
              <a:ext cx="42486" cy="42486"/>
            </a:xfrm>
            <a:custGeom>
              <a:avLst/>
              <a:gdLst>
                <a:gd name="connsiteX0" fmla="*/ 27118 w 42485"/>
                <a:gd name="connsiteY0" fmla="*/ 39864 h 42485"/>
                <a:gd name="connsiteX1" fmla="*/ 38448 w 42485"/>
                <a:gd name="connsiteY1" fmla="*/ 28535 h 42485"/>
                <a:gd name="connsiteX2" fmla="*/ 27118 w 42485"/>
                <a:gd name="connsiteY2" fmla="*/ 15789 h 42485"/>
                <a:gd name="connsiteX3" fmla="*/ 15789 w 42485"/>
                <a:gd name="connsiteY3" fmla="*/ 28535 h 42485"/>
                <a:gd name="connsiteX4" fmla="*/ 27118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9864"/>
                  </a:moveTo>
                  <a:cubicBezTo>
                    <a:pt x="34199" y="39864"/>
                    <a:pt x="38448" y="34199"/>
                    <a:pt x="38448" y="28535"/>
                  </a:cubicBezTo>
                  <a:cubicBezTo>
                    <a:pt x="38448" y="22870"/>
                    <a:pt x="32783" y="15789"/>
                    <a:pt x="27118" y="15789"/>
                  </a:cubicBezTo>
                  <a:cubicBezTo>
                    <a:pt x="20037" y="15789"/>
                    <a:pt x="15789" y="21454"/>
                    <a:pt x="15789" y="28535"/>
                  </a:cubicBezTo>
                  <a:cubicBezTo>
                    <a:pt x="15789" y="35616"/>
                    <a:pt x="20037" y="39864"/>
                    <a:pt x="27118" y="3986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72" name="Freeform: Shape 2371">
              <a:extLst>
                <a:ext uri="{FF2B5EF4-FFF2-40B4-BE49-F238E27FC236}">
                  <a16:creationId xmlns:a16="http://schemas.microsoft.com/office/drawing/2014/main" id="{5DE56250-ABF0-4A28-AF94-169057551002}"/>
                </a:ext>
              </a:extLst>
            </p:cNvPr>
            <p:cNvSpPr/>
            <p:nvPr/>
          </p:nvSpPr>
          <p:spPr>
            <a:xfrm>
              <a:off x="3470241" y="1907426"/>
              <a:ext cx="42486" cy="42486"/>
            </a:xfrm>
            <a:custGeom>
              <a:avLst/>
              <a:gdLst>
                <a:gd name="connsiteX0" fmla="*/ 27118 w 42485"/>
                <a:gd name="connsiteY0" fmla="*/ 38448 h 42485"/>
                <a:gd name="connsiteX1" fmla="*/ 39864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4199" y="38448"/>
                    <a:pt x="39864" y="32783"/>
                    <a:pt x="39864" y="27119"/>
                  </a:cubicBezTo>
                  <a:cubicBezTo>
                    <a:pt x="39864" y="21454"/>
                    <a:pt x="34199" y="15789"/>
                    <a:pt x="27118" y="15789"/>
                  </a:cubicBezTo>
                  <a:cubicBezTo>
                    <a:pt x="20037" y="15789"/>
                    <a:pt x="15789" y="21454"/>
                    <a:pt x="15789" y="27119"/>
                  </a:cubicBezTo>
                  <a:cubicBezTo>
                    <a:pt x="15789" y="32783"/>
                    <a:pt x="21454" y="38448"/>
                    <a:pt x="27118" y="3844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73" name="Freeform: Shape 2372">
              <a:extLst>
                <a:ext uri="{FF2B5EF4-FFF2-40B4-BE49-F238E27FC236}">
                  <a16:creationId xmlns:a16="http://schemas.microsoft.com/office/drawing/2014/main" id="{4AF4F77E-1158-4E97-93FF-8AAF7F2B0AE3}"/>
                </a:ext>
              </a:extLst>
            </p:cNvPr>
            <p:cNvSpPr/>
            <p:nvPr/>
          </p:nvSpPr>
          <p:spPr>
            <a:xfrm>
              <a:off x="3742524" y="2426273"/>
              <a:ext cx="42486" cy="42486"/>
            </a:xfrm>
            <a:custGeom>
              <a:avLst/>
              <a:gdLst>
                <a:gd name="connsiteX0" fmla="*/ 27119 w 42485"/>
                <a:gd name="connsiteY0" fmla="*/ 39864 h 42485"/>
                <a:gd name="connsiteX1" fmla="*/ 38448 w 42485"/>
                <a:gd name="connsiteY1" fmla="*/ 27118 h 42485"/>
                <a:gd name="connsiteX2" fmla="*/ 27119 w 42485"/>
                <a:gd name="connsiteY2" fmla="*/ 15789 h 42485"/>
                <a:gd name="connsiteX3" fmla="*/ 15789 w 42485"/>
                <a:gd name="connsiteY3" fmla="*/ 27118 h 42485"/>
                <a:gd name="connsiteX4" fmla="*/ 27119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9864"/>
                  </a:moveTo>
                  <a:cubicBezTo>
                    <a:pt x="34200" y="39864"/>
                    <a:pt x="38448" y="34199"/>
                    <a:pt x="38448" y="27118"/>
                  </a:cubicBezTo>
                  <a:cubicBezTo>
                    <a:pt x="38448" y="20037"/>
                    <a:pt x="32783" y="15789"/>
                    <a:pt x="27119" y="15789"/>
                  </a:cubicBezTo>
                  <a:cubicBezTo>
                    <a:pt x="20038" y="15789"/>
                    <a:pt x="15789" y="21454"/>
                    <a:pt x="15789" y="27118"/>
                  </a:cubicBezTo>
                  <a:cubicBezTo>
                    <a:pt x="15789" y="34199"/>
                    <a:pt x="20038" y="39864"/>
                    <a:pt x="27119" y="3986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74" name="Freeform: Shape 2373">
              <a:extLst>
                <a:ext uri="{FF2B5EF4-FFF2-40B4-BE49-F238E27FC236}">
                  <a16:creationId xmlns:a16="http://schemas.microsoft.com/office/drawing/2014/main" id="{AC22C31B-4B09-4405-9EFD-CA53099967E0}"/>
                </a:ext>
              </a:extLst>
            </p:cNvPr>
            <p:cNvSpPr/>
            <p:nvPr/>
          </p:nvSpPr>
          <p:spPr>
            <a:xfrm>
              <a:off x="3535097" y="2571994"/>
              <a:ext cx="42486" cy="42486"/>
            </a:xfrm>
            <a:custGeom>
              <a:avLst/>
              <a:gdLst>
                <a:gd name="connsiteX0" fmla="*/ 27337 w 42485"/>
                <a:gd name="connsiteY0" fmla="*/ 39864 h 42485"/>
                <a:gd name="connsiteX1" fmla="*/ 38666 w 42485"/>
                <a:gd name="connsiteY1" fmla="*/ 27118 h 42485"/>
                <a:gd name="connsiteX2" fmla="*/ 27337 w 42485"/>
                <a:gd name="connsiteY2" fmla="*/ 15789 h 42485"/>
                <a:gd name="connsiteX3" fmla="*/ 16007 w 42485"/>
                <a:gd name="connsiteY3" fmla="*/ 27118 h 42485"/>
                <a:gd name="connsiteX4" fmla="*/ 27337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9864"/>
                  </a:moveTo>
                  <a:cubicBezTo>
                    <a:pt x="34418" y="39864"/>
                    <a:pt x="38666" y="34199"/>
                    <a:pt x="38666" y="27118"/>
                  </a:cubicBezTo>
                  <a:cubicBezTo>
                    <a:pt x="38666" y="20037"/>
                    <a:pt x="33002" y="15789"/>
                    <a:pt x="27337" y="15789"/>
                  </a:cubicBezTo>
                  <a:cubicBezTo>
                    <a:pt x="20256" y="15789"/>
                    <a:pt x="16007" y="21454"/>
                    <a:pt x="16007" y="27118"/>
                  </a:cubicBezTo>
                  <a:cubicBezTo>
                    <a:pt x="14591" y="34199"/>
                    <a:pt x="20256" y="39864"/>
                    <a:pt x="27337" y="3986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75" name="Freeform: Shape 2374">
              <a:extLst>
                <a:ext uri="{FF2B5EF4-FFF2-40B4-BE49-F238E27FC236}">
                  <a16:creationId xmlns:a16="http://schemas.microsoft.com/office/drawing/2014/main" id="{4B885425-071B-459B-BA54-FA8E576D39CE}"/>
                </a:ext>
              </a:extLst>
            </p:cNvPr>
            <p:cNvSpPr/>
            <p:nvPr/>
          </p:nvSpPr>
          <p:spPr>
            <a:xfrm>
              <a:off x="3555142" y="2368062"/>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76" name="Freeform: Shape 2375">
              <a:extLst>
                <a:ext uri="{FF2B5EF4-FFF2-40B4-BE49-F238E27FC236}">
                  <a16:creationId xmlns:a16="http://schemas.microsoft.com/office/drawing/2014/main" id="{357C52B8-E2F6-4B74-80A8-3F45C653AC80}"/>
                </a:ext>
              </a:extLst>
            </p:cNvPr>
            <p:cNvSpPr/>
            <p:nvPr/>
          </p:nvSpPr>
          <p:spPr>
            <a:xfrm>
              <a:off x="3518543" y="2348382"/>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1454"/>
                    <a:pt x="37032" y="15789"/>
                    <a:pt x="29951" y="15789"/>
                  </a:cubicBezTo>
                  <a:cubicBezTo>
                    <a:pt x="21454" y="15789"/>
                    <a:pt x="15789" y="22870"/>
                    <a:pt x="15789" y="29951"/>
                  </a:cubicBezTo>
                  <a:cubicBezTo>
                    <a:pt x="15789" y="37032"/>
                    <a:pt x="22870" y="44113"/>
                    <a:pt x="29951"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77" name="Freeform: Shape 2376">
              <a:extLst>
                <a:ext uri="{FF2B5EF4-FFF2-40B4-BE49-F238E27FC236}">
                  <a16:creationId xmlns:a16="http://schemas.microsoft.com/office/drawing/2014/main" id="{A8C14E57-A790-4435-BB91-6544BFC04487}"/>
                </a:ext>
              </a:extLst>
            </p:cNvPr>
            <p:cNvSpPr/>
            <p:nvPr/>
          </p:nvSpPr>
          <p:spPr>
            <a:xfrm>
              <a:off x="3182531" y="2256011"/>
              <a:ext cx="56648" cy="56648"/>
            </a:xfrm>
            <a:custGeom>
              <a:avLst/>
              <a:gdLst>
                <a:gd name="connsiteX0" fmla="*/ 30132 w 56647"/>
                <a:gd name="connsiteY0" fmla="*/ 44113 h 56647"/>
                <a:gd name="connsiteX1" fmla="*/ 44294 w 56647"/>
                <a:gd name="connsiteY1" fmla="*/ 29951 h 56647"/>
                <a:gd name="connsiteX2" fmla="*/ 30132 w 56647"/>
                <a:gd name="connsiteY2" fmla="*/ 15789 h 56647"/>
                <a:gd name="connsiteX3" fmla="*/ 15970 w 56647"/>
                <a:gd name="connsiteY3" fmla="*/ 29951 h 56647"/>
                <a:gd name="connsiteX4" fmla="*/ 30132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0132" y="44113"/>
                  </a:moveTo>
                  <a:cubicBezTo>
                    <a:pt x="38629" y="44113"/>
                    <a:pt x="44294" y="37032"/>
                    <a:pt x="44294" y="29951"/>
                  </a:cubicBezTo>
                  <a:cubicBezTo>
                    <a:pt x="44294" y="21454"/>
                    <a:pt x="37213" y="15789"/>
                    <a:pt x="30132" y="15789"/>
                  </a:cubicBezTo>
                  <a:cubicBezTo>
                    <a:pt x="21635" y="15789"/>
                    <a:pt x="15970" y="22870"/>
                    <a:pt x="15970" y="29951"/>
                  </a:cubicBezTo>
                  <a:cubicBezTo>
                    <a:pt x="14554" y="38448"/>
                    <a:pt x="21635" y="44113"/>
                    <a:pt x="30132"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78" name="Freeform: Shape 2377">
              <a:extLst>
                <a:ext uri="{FF2B5EF4-FFF2-40B4-BE49-F238E27FC236}">
                  <a16:creationId xmlns:a16="http://schemas.microsoft.com/office/drawing/2014/main" id="{9187CB59-02C9-4C00-936D-60170BFF5561}"/>
                </a:ext>
              </a:extLst>
            </p:cNvPr>
            <p:cNvSpPr/>
            <p:nvPr/>
          </p:nvSpPr>
          <p:spPr>
            <a:xfrm>
              <a:off x="2851439" y="2252349"/>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1454"/>
                    <a:pt x="37032" y="15789"/>
                    <a:pt x="29951" y="15789"/>
                  </a:cubicBezTo>
                  <a:cubicBezTo>
                    <a:pt x="21454" y="15789"/>
                    <a:pt x="15789" y="22870"/>
                    <a:pt x="15789" y="29951"/>
                  </a:cubicBezTo>
                  <a:cubicBezTo>
                    <a:pt x="15789" y="37032"/>
                    <a:pt x="21454" y="44113"/>
                    <a:pt x="29951"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79" name="Freeform: Shape 2378">
              <a:extLst>
                <a:ext uri="{FF2B5EF4-FFF2-40B4-BE49-F238E27FC236}">
                  <a16:creationId xmlns:a16="http://schemas.microsoft.com/office/drawing/2014/main" id="{4EE54A00-FCA9-4EA6-9AE2-808334FAFF8D}"/>
                </a:ext>
              </a:extLst>
            </p:cNvPr>
            <p:cNvSpPr/>
            <p:nvPr/>
          </p:nvSpPr>
          <p:spPr>
            <a:xfrm>
              <a:off x="3682599" y="2206616"/>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80" name="Freeform: Shape 2379">
              <a:extLst>
                <a:ext uri="{FF2B5EF4-FFF2-40B4-BE49-F238E27FC236}">
                  <a16:creationId xmlns:a16="http://schemas.microsoft.com/office/drawing/2014/main" id="{65B1343E-2BCD-4368-8AEB-BE8D1CC49725}"/>
                </a:ext>
              </a:extLst>
            </p:cNvPr>
            <p:cNvSpPr/>
            <p:nvPr/>
          </p:nvSpPr>
          <p:spPr>
            <a:xfrm>
              <a:off x="3652641" y="2038090"/>
              <a:ext cx="42486" cy="42486"/>
            </a:xfrm>
            <a:custGeom>
              <a:avLst/>
              <a:gdLst>
                <a:gd name="connsiteX0" fmla="*/ 27337 w 42485"/>
                <a:gd name="connsiteY0" fmla="*/ 38448 h 42485"/>
                <a:gd name="connsiteX1" fmla="*/ 40083 w 42485"/>
                <a:gd name="connsiteY1" fmla="*/ 27118 h 42485"/>
                <a:gd name="connsiteX2" fmla="*/ 27337 w 42485"/>
                <a:gd name="connsiteY2" fmla="*/ 15789 h 42485"/>
                <a:gd name="connsiteX3" fmla="*/ 16007 w 42485"/>
                <a:gd name="connsiteY3" fmla="*/ 27118 h 42485"/>
                <a:gd name="connsiteX4" fmla="*/ 27337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8448"/>
                  </a:moveTo>
                  <a:cubicBezTo>
                    <a:pt x="34418" y="38448"/>
                    <a:pt x="40083" y="32783"/>
                    <a:pt x="40083" y="27118"/>
                  </a:cubicBezTo>
                  <a:cubicBezTo>
                    <a:pt x="40083" y="20038"/>
                    <a:pt x="34418" y="15789"/>
                    <a:pt x="27337" y="15789"/>
                  </a:cubicBezTo>
                  <a:cubicBezTo>
                    <a:pt x="20256" y="15789"/>
                    <a:pt x="16007" y="21454"/>
                    <a:pt x="16007" y="27118"/>
                  </a:cubicBezTo>
                  <a:cubicBezTo>
                    <a:pt x="14591" y="32783"/>
                    <a:pt x="20256" y="38448"/>
                    <a:pt x="27337" y="3844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81" name="Freeform: Shape 2380">
              <a:extLst>
                <a:ext uri="{FF2B5EF4-FFF2-40B4-BE49-F238E27FC236}">
                  <a16:creationId xmlns:a16="http://schemas.microsoft.com/office/drawing/2014/main" id="{A28FD1E0-04AF-41A5-B6C6-8B0B4EBB1487}"/>
                </a:ext>
              </a:extLst>
            </p:cNvPr>
            <p:cNvSpPr/>
            <p:nvPr/>
          </p:nvSpPr>
          <p:spPr>
            <a:xfrm>
              <a:off x="3866704" y="2121645"/>
              <a:ext cx="99133" cy="99133"/>
            </a:xfrm>
            <a:custGeom>
              <a:avLst/>
              <a:gdLst>
                <a:gd name="connsiteX0" fmla="*/ 55442 w 99133"/>
                <a:gd name="connsiteY0" fmla="*/ 95096 h 99133"/>
                <a:gd name="connsiteX1" fmla="*/ 95096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8102" y="95096"/>
                    <a:pt x="95096" y="76685"/>
                    <a:pt x="95096" y="55442"/>
                  </a:cubicBezTo>
                  <a:cubicBezTo>
                    <a:pt x="95096" y="32783"/>
                    <a:pt x="76685" y="15789"/>
                    <a:pt x="55442" y="15789"/>
                  </a:cubicBezTo>
                  <a:cubicBezTo>
                    <a:pt x="32783" y="15789"/>
                    <a:pt x="15789" y="34199"/>
                    <a:pt x="15789" y="55442"/>
                  </a:cubicBezTo>
                  <a:cubicBezTo>
                    <a:pt x="15789" y="78101"/>
                    <a:pt x="32783" y="95096"/>
                    <a:pt x="55442" y="9509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82" name="Freeform: Shape 2381">
              <a:extLst>
                <a:ext uri="{FF2B5EF4-FFF2-40B4-BE49-F238E27FC236}">
                  <a16:creationId xmlns:a16="http://schemas.microsoft.com/office/drawing/2014/main" id="{174CF808-8675-4529-BB77-4AA2322676B8}"/>
                </a:ext>
              </a:extLst>
            </p:cNvPr>
            <p:cNvSpPr/>
            <p:nvPr/>
          </p:nvSpPr>
          <p:spPr>
            <a:xfrm>
              <a:off x="3325719" y="2232108"/>
              <a:ext cx="70810" cy="70810"/>
            </a:xfrm>
            <a:custGeom>
              <a:avLst/>
              <a:gdLst>
                <a:gd name="connsiteX0" fmla="*/ 39864 w 70809"/>
                <a:gd name="connsiteY0" fmla="*/ 63939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39" y="52610"/>
                    <a:pt x="63939" y="39864"/>
                  </a:cubicBezTo>
                  <a:cubicBezTo>
                    <a:pt x="63939" y="27118"/>
                    <a:pt x="52610" y="15789"/>
                    <a:pt x="39864" y="15789"/>
                  </a:cubicBezTo>
                  <a:cubicBezTo>
                    <a:pt x="27119" y="15789"/>
                    <a:pt x="15789" y="27118"/>
                    <a:pt x="15789" y="39864"/>
                  </a:cubicBezTo>
                  <a:cubicBezTo>
                    <a:pt x="15789" y="52610"/>
                    <a:pt x="27119" y="63939"/>
                    <a:pt x="39864" y="6393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83" name="Freeform: Shape 2382">
              <a:extLst>
                <a:ext uri="{FF2B5EF4-FFF2-40B4-BE49-F238E27FC236}">
                  <a16:creationId xmlns:a16="http://schemas.microsoft.com/office/drawing/2014/main" id="{4F2EAA92-06D8-46F0-824D-5A6BA6845BE0}"/>
                </a:ext>
              </a:extLst>
            </p:cNvPr>
            <p:cNvSpPr/>
            <p:nvPr/>
          </p:nvSpPr>
          <p:spPr>
            <a:xfrm>
              <a:off x="3365372" y="2644219"/>
              <a:ext cx="70810" cy="70810"/>
            </a:xfrm>
            <a:custGeom>
              <a:avLst/>
              <a:gdLst>
                <a:gd name="connsiteX0" fmla="*/ 39864 w 70809"/>
                <a:gd name="connsiteY0" fmla="*/ 63940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2610" y="63940"/>
                    <a:pt x="63939" y="52610"/>
                    <a:pt x="63939" y="39864"/>
                  </a:cubicBezTo>
                  <a:cubicBezTo>
                    <a:pt x="63939" y="27119"/>
                    <a:pt x="52610" y="15789"/>
                    <a:pt x="39864" y="15789"/>
                  </a:cubicBezTo>
                  <a:cubicBezTo>
                    <a:pt x="27119" y="15789"/>
                    <a:pt x="15789" y="27119"/>
                    <a:pt x="15789" y="39864"/>
                  </a:cubicBezTo>
                  <a:cubicBezTo>
                    <a:pt x="15789" y="52610"/>
                    <a:pt x="27119" y="63940"/>
                    <a:pt x="39864" y="6394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84" name="Freeform: Shape 2383">
              <a:extLst>
                <a:ext uri="{FF2B5EF4-FFF2-40B4-BE49-F238E27FC236}">
                  <a16:creationId xmlns:a16="http://schemas.microsoft.com/office/drawing/2014/main" id="{AD401AD1-81B1-4C78-A225-1008F1B3EABC}"/>
                </a:ext>
              </a:extLst>
            </p:cNvPr>
            <p:cNvSpPr/>
            <p:nvPr/>
          </p:nvSpPr>
          <p:spPr>
            <a:xfrm>
              <a:off x="2786150" y="2989770"/>
              <a:ext cx="99133" cy="99133"/>
            </a:xfrm>
            <a:custGeom>
              <a:avLst/>
              <a:gdLst>
                <a:gd name="connsiteX0" fmla="*/ 49778 w 99133"/>
                <a:gd name="connsiteY0" fmla="*/ 15789 h 99133"/>
                <a:gd name="connsiteX1" fmla="*/ 83766 w 99133"/>
                <a:gd name="connsiteY1" fmla="*/ 49777 h 99133"/>
                <a:gd name="connsiteX2" fmla="*/ 49778 w 99133"/>
                <a:gd name="connsiteY2" fmla="*/ 83766 h 99133"/>
                <a:gd name="connsiteX3" fmla="*/ 15789 w 99133"/>
                <a:gd name="connsiteY3" fmla="*/ 49777 h 99133"/>
                <a:gd name="connsiteX4" fmla="*/ 49778 w 99133"/>
                <a:gd name="connsiteY4" fmla="*/ 15789 h 99133"/>
                <a:gd name="connsiteX5" fmla="*/ 49778 w 99133"/>
                <a:gd name="connsiteY5" fmla="*/ 15789 h 99133"/>
                <a:gd name="connsiteX6" fmla="*/ 49778 w 99133"/>
                <a:gd name="connsiteY6" fmla="*/ 31367 h 99133"/>
                <a:gd name="connsiteX7" fmla="*/ 31367 w 99133"/>
                <a:gd name="connsiteY7" fmla="*/ 49777 h 99133"/>
                <a:gd name="connsiteX8" fmla="*/ 49778 w 99133"/>
                <a:gd name="connsiteY8" fmla="*/ 68188 h 99133"/>
                <a:gd name="connsiteX9" fmla="*/ 68188 w 99133"/>
                <a:gd name="connsiteY9" fmla="*/ 49777 h 99133"/>
                <a:gd name="connsiteX10" fmla="*/ 49778 w 99133"/>
                <a:gd name="connsiteY10" fmla="*/ 31367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49778" y="15789"/>
                  </a:moveTo>
                  <a:cubicBezTo>
                    <a:pt x="68188" y="15789"/>
                    <a:pt x="83766" y="31367"/>
                    <a:pt x="83766" y="49777"/>
                  </a:cubicBezTo>
                  <a:cubicBezTo>
                    <a:pt x="83766" y="68188"/>
                    <a:pt x="68188" y="83766"/>
                    <a:pt x="49778" y="83766"/>
                  </a:cubicBezTo>
                  <a:cubicBezTo>
                    <a:pt x="31367" y="83766"/>
                    <a:pt x="15789" y="68188"/>
                    <a:pt x="15789" y="49777"/>
                  </a:cubicBezTo>
                  <a:cubicBezTo>
                    <a:pt x="15789" y="31367"/>
                    <a:pt x="29951" y="15789"/>
                    <a:pt x="49778" y="15789"/>
                  </a:cubicBezTo>
                  <a:lnTo>
                    <a:pt x="49778" y="15789"/>
                  </a:lnTo>
                  <a:close/>
                  <a:moveTo>
                    <a:pt x="49778" y="31367"/>
                  </a:moveTo>
                  <a:cubicBezTo>
                    <a:pt x="39864" y="31367"/>
                    <a:pt x="31367" y="39864"/>
                    <a:pt x="31367" y="49777"/>
                  </a:cubicBezTo>
                  <a:cubicBezTo>
                    <a:pt x="31367" y="59691"/>
                    <a:pt x="39864" y="68188"/>
                    <a:pt x="49778" y="68188"/>
                  </a:cubicBezTo>
                  <a:cubicBezTo>
                    <a:pt x="59691" y="68188"/>
                    <a:pt x="68188" y="59691"/>
                    <a:pt x="68188" y="49777"/>
                  </a:cubicBezTo>
                  <a:cubicBezTo>
                    <a:pt x="68188" y="39864"/>
                    <a:pt x="59691" y="31367"/>
                    <a:pt x="49778" y="3136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85" name="Freeform: Shape 2384">
              <a:extLst>
                <a:ext uri="{FF2B5EF4-FFF2-40B4-BE49-F238E27FC236}">
                  <a16:creationId xmlns:a16="http://schemas.microsoft.com/office/drawing/2014/main" id="{F034A4DD-104E-4C35-A387-8DE5F6E5FF22}"/>
                </a:ext>
              </a:extLst>
            </p:cNvPr>
            <p:cNvSpPr/>
            <p:nvPr/>
          </p:nvSpPr>
          <p:spPr>
            <a:xfrm>
              <a:off x="2464592" y="3185204"/>
              <a:ext cx="99133" cy="99133"/>
            </a:xfrm>
            <a:custGeom>
              <a:avLst/>
              <a:gdLst>
                <a:gd name="connsiteX0" fmla="*/ 51276 w 99133"/>
                <a:gd name="connsiteY0" fmla="*/ 86599 h 99133"/>
                <a:gd name="connsiteX1" fmla="*/ 86681 w 99133"/>
                <a:gd name="connsiteY1" fmla="*/ 51194 h 99133"/>
                <a:gd name="connsiteX2" fmla="*/ 51276 w 99133"/>
                <a:gd name="connsiteY2" fmla="*/ 15789 h 99133"/>
                <a:gd name="connsiteX3" fmla="*/ 15872 w 99133"/>
                <a:gd name="connsiteY3" fmla="*/ 51194 h 99133"/>
                <a:gd name="connsiteX4" fmla="*/ 51276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276" y="86599"/>
                  </a:moveTo>
                  <a:cubicBezTo>
                    <a:pt x="71103" y="86599"/>
                    <a:pt x="86681" y="71021"/>
                    <a:pt x="86681" y="51194"/>
                  </a:cubicBezTo>
                  <a:cubicBezTo>
                    <a:pt x="86681" y="31367"/>
                    <a:pt x="71103" y="15789"/>
                    <a:pt x="51276" y="15789"/>
                  </a:cubicBezTo>
                  <a:cubicBezTo>
                    <a:pt x="31450" y="15789"/>
                    <a:pt x="15872" y="31367"/>
                    <a:pt x="15872" y="51194"/>
                  </a:cubicBezTo>
                  <a:cubicBezTo>
                    <a:pt x="14455" y="71021"/>
                    <a:pt x="31450" y="86599"/>
                    <a:pt x="51276" y="8659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86" name="Freeform: Shape 2385">
              <a:extLst>
                <a:ext uri="{FF2B5EF4-FFF2-40B4-BE49-F238E27FC236}">
                  <a16:creationId xmlns:a16="http://schemas.microsoft.com/office/drawing/2014/main" id="{CCA05F03-CE96-45AE-9C59-6BD5FB549B75}"/>
                </a:ext>
              </a:extLst>
            </p:cNvPr>
            <p:cNvSpPr/>
            <p:nvPr/>
          </p:nvSpPr>
          <p:spPr>
            <a:xfrm>
              <a:off x="3181267" y="3022342"/>
              <a:ext cx="99133" cy="99133"/>
            </a:xfrm>
            <a:custGeom>
              <a:avLst/>
              <a:gdLst>
                <a:gd name="connsiteX0" fmla="*/ 86599 w 99133"/>
                <a:gd name="connsiteY0" fmla="*/ 51194 h 99133"/>
                <a:gd name="connsiteX1" fmla="*/ 51194 w 99133"/>
                <a:gd name="connsiteY1" fmla="*/ 86598 h 99133"/>
                <a:gd name="connsiteX2" fmla="*/ 15789 w 99133"/>
                <a:gd name="connsiteY2" fmla="*/ 51194 h 99133"/>
                <a:gd name="connsiteX3" fmla="*/ 51194 w 99133"/>
                <a:gd name="connsiteY3" fmla="*/ 15789 h 99133"/>
                <a:gd name="connsiteX4" fmla="*/ 86599 w 99133"/>
                <a:gd name="connsiteY4" fmla="*/ 51194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86599" y="51194"/>
                  </a:moveTo>
                  <a:cubicBezTo>
                    <a:pt x="86599" y="70747"/>
                    <a:pt x="70747" y="86598"/>
                    <a:pt x="51194" y="86598"/>
                  </a:cubicBezTo>
                  <a:cubicBezTo>
                    <a:pt x="31640" y="86598"/>
                    <a:pt x="15789" y="70747"/>
                    <a:pt x="15789" y="51194"/>
                  </a:cubicBezTo>
                  <a:cubicBezTo>
                    <a:pt x="15789" y="31640"/>
                    <a:pt x="31640" y="15789"/>
                    <a:pt x="51194" y="15789"/>
                  </a:cubicBezTo>
                  <a:cubicBezTo>
                    <a:pt x="70747" y="15789"/>
                    <a:pt x="86599" y="31640"/>
                    <a:pt x="86599" y="5119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87" name="Freeform: Shape 2386">
              <a:extLst>
                <a:ext uri="{FF2B5EF4-FFF2-40B4-BE49-F238E27FC236}">
                  <a16:creationId xmlns:a16="http://schemas.microsoft.com/office/drawing/2014/main" id="{55927ED2-0ED1-4B71-82FC-3B19DCD28517}"/>
                </a:ext>
              </a:extLst>
            </p:cNvPr>
            <p:cNvSpPr/>
            <p:nvPr/>
          </p:nvSpPr>
          <p:spPr>
            <a:xfrm>
              <a:off x="2628953" y="3373558"/>
              <a:ext cx="70810" cy="70810"/>
            </a:xfrm>
            <a:custGeom>
              <a:avLst/>
              <a:gdLst>
                <a:gd name="connsiteX0" fmla="*/ 39864 w 70809"/>
                <a:gd name="connsiteY0" fmla="*/ 15789 h 70809"/>
                <a:gd name="connsiteX1" fmla="*/ 63939 w 70809"/>
                <a:gd name="connsiteY1" fmla="*/ 39864 h 70809"/>
                <a:gd name="connsiteX2" fmla="*/ 39864 w 70809"/>
                <a:gd name="connsiteY2" fmla="*/ 63940 h 70809"/>
                <a:gd name="connsiteX3" fmla="*/ 15789 w 70809"/>
                <a:gd name="connsiteY3" fmla="*/ 39864 h 70809"/>
                <a:gd name="connsiteX4" fmla="*/ 39864 w 70809"/>
                <a:gd name="connsiteY4" fmla="*/ 15789 h 70809"/>
                <a:gd name="connsiteX5" fmla="*/ 39864 w 70809"/>
                <a:gd name="connsiteY5" fmla="*/ 15789 h 70809"/>
                <a:gd name="connsiteX6" fmla="*/ 39864 w 70809"/>
                <a:gd name="connsiteY6" fmla="*/ 27119 h 70809"/>
                <a:gd name="connsiteX7" fmla="*/ 25702 w 70809"/>
                <a:gd name="connsiteY7" fmla="*/ 41280 h 70809"/>
                <a:gd name="connsiteX8" fmla="*/ 39864 w 70809"/>
                <a:gd name="connsiteY8" fmla="*/ 55442 h 70809"/>
                <a:gd name="connsiteX9" fmla="*/ 54026 w 70809"/>
                <a:gd name="connsiteY9" fmla="*/ 41280 h 70809"/>
                <a:gd name="connsiteX10" fmla="*/ 39864 w 70809"/>
                <a:gd name="connsiteY10" fmla="*/ 27119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39864" y="15789"/>
                  </a:moveTo>
                  <a:cubicBezTo>
                    <a:pt x="52610" y="15789"/>
                    <a:pt x="63939" y="27119"/>
                    <a:pt x="63939" y="39864"/>
                  </a:cubicBezTo>
                  <a:cubicBezTo>
                    <a:pt x="63939" y="52610"/>
                    <a:pt x="52610" y="63940"/>
                    <a:pt x="39864" y="63940"/>
                  </a:cubicBezTo>
                  <a:cubicBezTo>
                    <a:pt x="27119" y="63940"/>
                    <a:pt x="15789" y="52610"/>
                    <a:pt x="15789" y="39864"/>
                  </a:cubicBezTo>
                  <a:cubicBezTo>
                    <a:pt x="15789" y="27119"/>
                    <a:pt x="25702" y="15789"/>
                    <a:pt x="39864" y="15789"/>
                  </a:cubicBezTo>
                  <a:lnTo>
                    <a:pt x="39864" y="15789"/>
                  </a:lnTo>
                  <a:close/>
                  <a:moveTo>
                    <a:pt x="39864" y="27119"/>
                  </a:moveTo>
                  <a:cubicBezTo>
                    <a:pt x="32783" y="27119"/>
                    <a:pt x="25702" y="32783"/>
                    <a:pt x="25702" y="41280"/>
                  </a:cubicBezTo>
                  <a:cubicBezTo>
                    <a:pt x="25702" y="48361"/>
                    <a:pt x="31367" y="55442"/>
                    <a:pt x="39864" y="55442"/>
                  </a:cubicBezTo>
                  <a:cubicBezTo>
                    <a:pt x="46945" y="55442"/>
                    <a:pt x="54026" y="49778"/>
                    <a:pt x="54026" y="41280"/>
                  </a:cubicBezTo>
                  <a:cubicBezTo>
                    <a:pt x="52610" y="32783"/>
                    <a:pt x="46945" y="27119"/>
                    <a:pt x="39864" y="2711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88" name="Freeform: Shape 2387">
              <a:extLst>
                <a:ext uri="{FF2B5EF4-FFF2-40B4-BE49-F238E27FC236}">
                  <a16:creationId xmlns:a16="http://schemas.microsoft.com/office/drawing/2014/main" id="{9464A2FA-C8F9-4885-BE90-2E2C447DE0A6}"/>
                </a:ext>
              </a:extLst>
            </p:cNvPr>
            <p:cNvSpPr/>
            <p:nvPr/>
          </p:nvSpPr>
          <p:spPr>
            <a:xfrm>
              <a:off x="2643115" y="2831156"/>
              <a:ext cx="56648" cy="56648"/>
            </a:xfrm>
            <a:custGeom>
              <a:avLst/>
              <a:gdLst>
                <a:gd name="connsiteX0" fmla="*/ 34200 w 56647"/>
                <a:gd name="connsiteY0" fmla="*/ 52610 h 56647"/>
                <a:gd name="connsiteX1" fmla="*/ 52610 w 56647"/>
                <a:gd name="connsiteY1" fmla="*/ 34200 h 56647"/>
                <a:gd name="connsiteX2" fmla="*/ 34200 w 56647"/>
                <a:gd name="connsiteY2" fmla="*/ 15789 h 56647"/>
                <a:gd name="connsiteX3" fmla="*/ 15789 w 56647"/>
                <a:gd name="connsiteY3" fmla="*/ 34200 h 56647"/>
                <a:gd name="connsiteX4" fmla="*/ 34200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200" y="52610"/>
                  </a:moveTo>
                  <a:cubicBezTo>
                    <a:pt x="44113" y="52610"/>
                    <a:pt x="52610" y="44113"/>
                    <a:pt x="52610" y="34200"/>
                  </a:cubicBezTo>
                  <a:cubicBezTo>
                    <a:pt x="52610" y="24286"/>
                    <a:pt x="44113" y="15789"/>
                    <a:pt x="34200" y="15789"/>
                  </a:cubicBezTo>
                  <a:cubicBezTo>
                    <a:pt x="24286" y="15789"/>
                    <a:pt x="15789" y="24286"/>
                    <a:pt x="15789" y="34200"/>
                  </a:cubicBezTo>
                  <a:cubicBezTo>
                    <a:pt x="17205" y="44113"/>
                    <a:pt x="24286" y="52610"/>
                    <a:pt x="34200" y="5261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89" name="Freeform: Shape 2388">
              <a:extLst>
                <a:ext uri="{FF2B5EF4-FFF2-40B4-BE49-F238E27FC236}">
                  <a16:creationId xmlns:a16="http://schemas.microsoft.com/office/drawing/2014/main" id="{9B1E2134-1106-425C-BD5D-B5DE6CF450DB}"/>
                </a:ext>
              </a:extLst>
            </p:cNvPr>
            <p:cNvSpPr/>
            <p:nvPr/>
          </p:nvSpPr>
          <p:spPr>
            <a:xfrm>
              <a:off x="3008492" y="3045001"/>
              <a:ext cx="56648" cy="56648"/>
            </a:xfrm>
            <a:custGeom>
              <a:avLst/>
              <a:gdLst>
                <a:gd name="connsiteX0" fmla="*/ 34199 w 56647"/>
                <a:gd name="connsiteY0" fmla="*/ 52610 h 56647"/>
                <a:gd name="connsiteX1" fmla="*/ 52610 w 56647"/>
                <a:gd name="connsiteY1" fmla="*/ 34200 h 56647"/>
                <a:gd name="connsiteX2" fmla="*/ 34199 w 56647"/>
                <a:gd name="connsiteY2" fmla="*/ 15789 h 56647"/>
                <a:gd name="connsiteX3" fmla="*/ 15789 w 56647"/>
                <a:gd name="connsiteY3" fmla="*/ 34200 h 56647"/>
                <a:gd name="connsiteX4" fmla="*/ 34199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199" y="52610"/>
                  </a:moveTo>
                  <a:cubicBezTo>
                    <a:pt x="44113" y="52610"/>
                    <a:pt x="52610" y="44113"/>
                    <a:pt x="52610" y="34200"/>
                  </a:cubicBezTo>
                  <a:cubicBezTo>
                    <a:pt x="52610" y="24286"/>
                    <a:pt x="44113" y="15789"/>
                    <a:pt x="34199" y="15789"/>
                  </a:cubicBezTo>
                  <a:cubicBezTo>
                    <a:pt x="24286" y="15789"/>
                    <a:pt x="15789" y="24286"/>
                    <a:pt x="15789" y="34200"/>
                  </a:cubicBezTo>
                  <a:cubicBezTo>
                    <a:pt x="15789" y="45529"/>
                    <a:pt x="24286" y="52610"/>
                    <a:pt x="34199" y="5261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90" name="Freeform: Shape 2389">
              <a:extLst>
                <a:ext uri="{FF2B5EF4-FFF2-40B4-BE49-F238E27FC236}">
                  <a16:creationId xmlns:a16="http://schemas.microsoft.com/office/drawing/2014/main" id="{DF3FA466-707C-4BEB-9163-9425C7F879C6}"/>
                </a:ext>
              </a:extLst>
            </p:cNvPr>
            <p:cNvSpPr/>
            <p:nvPr/>
          </p:nvSpPr>
          <p:spPr>
            <a:xfrm>
              <a:off x="3290314" y="3202199"/>
              <a:ext cx="56648" cy="56648"/>
            </a:xfrm>
            <a:custGeom>
              <a:avLst/>
              <a:gdLst>
                <a:gd name="connsiteX0" fmla="*/ 34200 w 56647"/>
                <a:gd name="connsiteY0" fmla="*/ 52610 h 56647"/>
                <a:gd name="connsiteX1" fmla="*/ 52610 w 56647"/>
                <a:gd name="connsiteY1" fmla="*/ 34199 h 56647"/>
                <a:gd name="connsiteX2" fmla="*/ 34200 w 56647"/>
                <a:gd name="connsiteY2" fmla="*/ 15789 h 56647"/>
                <a:gd name="connsiteX3" fmla="*/ 15789 w 56647"/>
                <a:gd name="connsiteY3" fmla="*/ 34199 h 56647"/>
                <a:gd name="connsiteX4" fmla="*/ 34200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200" y="52610"/>
                  </a:moveTo>
                  <a:cubicBezTo>
                    <a:pt x="44113" y="52610"/>
                    <a:pt x="52610" y="44113"/>
                    <a:pt x="52610" y="34199"/>
                  </a:cubicBezTo>
                  <a:cubicBezTo>
                    <a:pt x="52610" y="24286"/>
                    <a:pt x="44113" y="15789"/>
                    <a:pt x="34200" y="15789"/>
                  </a:cubicBezTo>
                  <a:cubicBezTo>
                    <a:pt x="24286" y="15789"/>
                    <a:pt x="15789" y="24286"/>
                    <a:pt x="15789" y="34199"/>
                  </a:cubicBezTo>
                  <a:cubicBezTo>
                    <a:pt x="15789" y="44113"/>
                    <a:pt x="24286" y="52610"/>
                    <a:pt x="34200" y="5261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91" name="Freeform: Shape 2390">
              <a:extLst>
                <a:ext uri="{FF2B5EF4-FFF2-40B4-BE49-F238E27FC236}">
                  <a16:creationId xmlns:a16="http://schemas.microsoft.com/office/drawing/2014/main" id="{1DA0D1FE-AC46-4743-926B-D2DF5845FD39}"/>
                </a:ext>
              </a:extLst>
            </p:cNvPr>
            <p:cNvSpPr/>
            <p:nvPr/>
          </p:nvSpPr>
          <p:spPr>
            <a:xfrm>
              <a:off x="3331383" y="2896301"/>
              <a:ext cx="56648" cy="56648"/>
            </a:xfrm>
            <a:custGeom>
              <a:avLst/>
              <a:gdLst>
                <a:gd name="connsiteX0" fmla="*/ 34200 w 56647"/>
                <a:gd name="connsiteY0" fmla="*/ 52610 h 56647"/>
                <a:gd name="connsiteX1" fmla="*/ 52610 w 56647"/>
                <a:gd name="connsiteY1" fmla="*/ 34200 h 56647"/>
                <a:gd name="connsiteX2" fmla="*/ 34200 w 56647"/>
                <a:gd name="connsiteY2" fmla="*/ 15789 h 56647"/>
                <a:gd name="connsiteX3" fmla="*/ 15789 w 56647"/>
                <a:gd name="connsiteY3" fmla="*/ 34200 h 56647"/>
                <a:gd name="connsiteX4" fmla="*/ 34200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200" y="52610"/>
                  </a:moveTo>
                  <a:cubicBezTo>
                    <a:pt x="44113" y="52610"/>
                    <a:pt x="52610" y="44113"/>
                    <a:pt x="52610" y="34200"/>
                  </a:cubicBezTo>
                  <a:cubicBezTo>
                    <a:pt x="52610" y="24286"/>
                    <a:pt x="44113" y="15789"/>
                    <a:pt x="34200" y="15789"/>
                  </a:cubicBezTo>
                  <a:cubicBezTo>
                    <a:pt x="24286" y="15789"/>
                    <a:pt x="15789" y="24286"/>
                    <a:pt x="15789" y="34200"/>
                  </a:cubicBezTo>
                  <a:cubicBezTo>
                    <a:pt x="15789" y="44113"/>
                    <a:pt x="24286" y="52610"/>
                    <a:pt x="34200" y="5261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92" name="Freeform: Shape 2391">
              <a:extLst>
                <a:ext uri="{FF2B5EF4-FFF2-40B4-BE49-F238E27FC236}">
                  <a16:creationId xmlns:a16="http://schemas.microsoft.com/office/drawing/2014/main" id="{43B62568-0032-47F0-B529-3C586E624A3B}"/>
                </a:ext>
              </a:extLst>
            </p:cNvPr>
            <p:cNvSpPr/>
            <p:nvPr/>
          </p:nvSpPr>
          <p:spPr>
            <a:xfrm>
              <a:off x="3873603" y="2411964"/>
              <a:ext cx="56648" cy="56648"/>
            </a:xfrm>
            <a:custGeom>
              <a:avLst/>
              <a:gdLst>
                <a:gd name="connsiteX0" fmla="*/ 28717 w 56647"/>
                <a:gd name="connsiteY0" fmla="*/ 41280 h 56647"/>
                <a:gd name="connsiteX1" fmla="*/ 41463 w 56647"/>
                <a:gd name="connsiteY1" fmla="*/ 28535 h 56647"/>
                <a:gd name="connsiteX2" fmla="*/ 28717 w 56647"/>
                <a:gd name="connsiteY2" fmla="*/ 15789 h 56647"/>
                <a:gd name="connsiteX3" fmla="*/ 15971 w 56647"/>
                <a:gd name="connsiteY3" fmla="*/ 28535 h 56647"/>
                <a:gd name="connsiteX4" fmla="*/ 28717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717" y="41280"/>
                  </a:moveTo>
                  <a:cubicBezTo>
                    <a:pt x="35798" y="41280"/>
                    <a:pt x="41463" y="35616"/>
                    <a:pt x="41463" y="28535"/>
                  </a:cubicBezTo>
                  <a:cubicBezTo>
                    <a:pt x="41463" y="21454"/>
                    <a:pt x="35798" y="15789"/>
                    <a:pt x="28717" y="15789"/>
                  </a:cubicBezTo>
                  <a:cubicBezTo>
                    <a:pt x="21636" y="15789"/>
                    <a:pt x="15971" y="21454"/>
                    <a:pt x="15971" y="28535"/>
                  </a:cubicBezTo>
                  <a:cubicBezTo>
                    <a:pt x="14555" y="35616"/>
                    <a:pt x="21636" y="41280"/>
                    <a:pt x="28717" y="4128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93" name="Freeform: Shape 2392">
              <a:extLst>
                <a:ext uri="{FF2B5EF4-FFF2-40B4-BE49-F238E27FC236}">
                  <a16:creationId xmlns:a16="http://schemas.microsoft.com/office/drawing/2014/main" id="{4C8603EE-EB86-41AD-8F01-B02F6087B8A1}"/>
                </a:ext>
              </a:extLst>
            </p:cNvPr>
            <p:cNvSpPr/>
            <p:nvPr/>
          </p:nvSpPr>
          <p:spPr>
            <a:xfrm>
              <a:off x="4159855" y="2298669"/>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9"/>
                  </a:cubicBezTo>
                  <a:cubicBezTo>
                    <a:pt x="38448" y="21454"/>
                    <a:pt x="32783" y="15789"/>
                    <a:pt x="27119" y="15789"/>
                  </a:cubicBezTo>
                  <a:cubicBezTo>
                    <a:pt x="21454" y="15789"/>
                    <a:pt x="15789" y="21454"/>
                    <a:pt x="15789" y="27119"/>
                  </a:cubicBezTo>
                  <a:cubicBezTo>
                    <a:pt x="15789" y="34200"/>
                    <a:pt x="20038" y="38448"/>
                    <a:pt x="27119" y="3844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94" name="Freeform: Shape 2393">
              <a:extLst>
                <a:ext uri="{FF2B5EF4-FFF2-40B4-BE49-F238E27FC236}">
                  <a16:creationId xmlns:a16="http://schemas.microsoft.com/office/drawing/2014/main" id="{CEF61C6E-A6F7-4D85-99F9-2DB5E4B19DE5}"/>
                </a:ext>
              </a:extLst>
            </p:cNvPr>
            <p:cNvSpPr/>
            <p:nvPr/>
          </p:nvSpPr>
          <p:spPr>
            <a:xfrm>
              <a:off x="4022207" y="2297253"/>
              <a:ext cx="42486" cy="42486"/>
            </a:xfrm>
            <a:custGeom>
              <a:avLst/>
              <a:gdLst>
                <a:gd name="connsiteX0" fmla="*/ 23148 w 42485"/>
                <a:gd name="connsiteY0" fmla="*/ 29951 h 42485"/>
                <a:gd name="connsiteX1" fmla="*/ 30229 w 42485"/>
                <a:gd name="connsiteY1" fmla="*/ 22870 h 42485"/>
                <a:gd name="connsiteX2" fmla="*/ 23148 w 42485"/>
                <a:gd name="connsiteY2" fmla="*/ 15789 h 42485"/>
                <a:gd name="connsiteX3" fmla="*/ 16067 w 42485"/>
                <a:gd name="connsiteY3" fmla="*/ 22870 h 42485"/>
                <a:gd name="connsiteX4" fmla="*/ 23148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148" y="29951"/>
                  </a:moveTo>
                  <a:cubicBezTo>
                    <a:pt x="27396" y="29951"/>
                    <a:pt x="30229" y="27119"/>
                    <a:pt x="30229" y="22870"/>
                  </a:cubicBezTo>
                  <a:cubicBezTo>
                    <a:pt x="30229" y="18621"/>
                    <a:pt x="27396" y="15789"/>
                    <a:pt x="23148" y="15789"/>
                  </a:cubicBezTo>
                  <a:cubicBezTo>
                    <a:pt x="18899" y="15789"/>
                    <a:pt x="16067" y="18621"/>
                    <a:pt x="16067" y="22870"/>
                  </a:cubicBezTo>
                  <a:cubicBezTo>
                    <a:pt x="14651" y="25702"/>
                    <a:pt x="18899" y="29951"/>
                    <a:pt x="23148" y="2995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95" name="Freeform: Shape 2394">
              <a:extLst>
                <a:ext uri="{FF2B5EF4-FFF2-40B4-BE49-F238E27FC236}">
                  <a16:creationId xmlns:a16="http://schemas.microsoft.com/office/drawing/2014/main" id="{7B10048A-2361-43A3-A9EC-95BF7DEFC30D}"/>
                </a:ext>
              </a:extLst>
            </p:cNvPr>
            <p:cNvSpPr/>
            <p:nvPr/>
          </p:nvSpPr>
          <p:spPr>
            <a:xfrm>
              <a:off x="4049393" y="2097570"/>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7205" y="37032"/>
                    <a:pt x="22870" y="44113"/>
                    <a:pt x="29951"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96" name="Freeform: Shape 2395">
              <a:extLst>
                <a:ext uri="{FF2B5EF4-FFF2-40B4-BE49-F238E27FC236}">
                  <a16:creationId xmlns:a16="http://schemas.microsoft.com/office/drawing/2014/main" id="{6142E6E5-601C-4ABC-9ACE-DAD16140124F}"/>
                </a:ext>
              </a:extLst>
            </p:cNvPr>
            <p:cNvSpPr/>
            <p:nvPr/>
          </p:nvSpPr>
          <p:spPr>
            <a:xfrm>
              <a:off x="5078964" y="1073664"/>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1"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97" name="Freeform: Shape 2396">
              <a:extLst>
                <a:ext uri="{FF2B5EF4-FFF2-40B4-BE49-F238E27FC236}">
                  <a16:creationId xmlns:a16="http://schemas.microsoft.com/office/drawing/2014/main" id="{BE2AE66F-638A-4824-BCA9-803FDEF45C7D}"/>
                </a:ext>
              </a:extLst>
            </p:cNvPr>
            <p:cNvSpPr/>
            <p:nvPr/>
          </p:nvSpPr>
          <p:spPr>
            <a:xfrm>
              <a:off x="4815552" y="885310"/>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98" name="Freeform: Shape 2397">
              <a:extLst>
                <a:ext uri="{FF2B5EF4-FFF2-40B4-BE49-F238E27FC236}">
                  <a16:creationId xmlns:a16="http://schemas.microsoft.com/office/drawing/2014/main" id="{8F4FE83F-9DD8-489D-A688-4C14DA470B3B}"/>
                </a:ext>
              </a:extLst>
            </p:cNvPr>
            <p:cNvSpPr/>
            <p:nvPr/>
          </p:nvSpPr>
          <p:spPr>
            <a:xfrm>
              <a:off x="2847046" y="2824076"/>
              <a:ext cx="70810" cy="70810"/>
            </a:xfrm>
            <a:custGeom>
              <a:avLst/>
              <a:gdLst>
                <a:gd name="connsiteX0" fmla="*/ 39864 w 70809"/>
                <a:gd name="connsiteY0" fmla="*/ 63940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4026" y="63940"/>
                    <a:pt x="63940" y="52610"/>
                    <a:pt x="63940" y="39864"/>
                  </a:cubicBezTo>
                  <a:cubicBezTo>
                    <a:pt x="63940" y="25703"/>
                    <a:pt x="52610" y="15789"/>
                    <a:pt x="39864" y="15789"/>
                  </a:cubicBezTo>
                  <a:cubicBezTo>
                    <a:pt x="25702" y="15789"/>
                    <a:pt x="15789" y="27119"/>
                    <a:pt x="15789" y="39864"/>
                  </a:cubicBezTo>
                  <a:cubicBezTo>
                    <a:pt x="15789" y="52610"/>
                    <a:pt x="27119" y="63940"/>
                    <a:pt x="39864" y="6394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399" name="Freeform: Shape 2398">
              <a:extLst>
                <a:ext uri="{FF2B5EF4-FFF2-40B4-BE49-F238E27FC236}">
                  <a16:creationId xmlns:a16="http://schemas.microsoft.com/office/drawing/2014/main" id="{6AE1803B-1C07-4446-99C8-A6C2C4CD7537}"/>
                </a:ext>
              </a:extLst>
            </p:cNvPr>
            <p:cNvSpPr/>
            <p:nvPr/>
          </p:nvSpPr>
          <p:spPr>
            <a:xfrm>
              <a:off x="2885163" y="3581738"/>
              <a:ext cx="70810" cy="70810"/>
            </a:xfrm>
            <a:custGeom>
              <a:avLst/>
              <a:gdLst>
                <a:gd name="connsiteX0" fmla="*/ 39984 w 70809"/>
                <a:gd name="connsiteY0" fmla="*/ 63940 h 70809"/>
                <a:gd name="connsiteX1" fmla="*/ 64059 w 70809"/>
                <a:gd name="connsiteY1" fmla="*/ 39864 h 70809"/>
                <a:gd name="connsiteX2" fmla="*/ 39984 w 70809"/>
                <a:gd name="connsiteY2" fmla="*/ 15789 h 70809"/>
                <a:gd name="connsiteX3" fmla="*/ 15909 w 70809"/>
                <a:gd name="connsiteY3" fmla="*/ 39864 h 70809"/>
                <a:gd name="connsiteX4" fmla="*/ 3998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984" y="63940"/>
                  </a:moveTo>
                  <a:cubicBezTo>
                    <a:pt x="54146" y="63940"/>
                    <a:pt x="64059" y="52610"/>
                    <a:pt x="64059" y="39864"/>
                  </a:cubicBezTo>
                  <a:cubicBezTo>
                    <a:pt x="64059" y="25703"/>
                    <a:pt x="52730" y="15789"/>
                    <a:pt x="39984" y="15789"/>
                  </a:cubicBezTo>
                  <a:cubicBezTo>
                    <a:pt x="25822" y="15789"/>
                    <a:pt x="15909" y="27119"/>
                    <a:pt x="15909" y="39864"/>
                  </a:cubicBezTo>
                  <a:cubicBezTo>
                    <a:pt x="14493" y="52610"/>
                    <a:pt x="25822" y="63940"/>
                    <a:pt x="39984" y="6394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00" name="Freeform: Shape 2399">
              <a:extLst>
                <a:ext uri="{FF2B5EF4-FFF2-40B4-BE49-F238E27FC236}">
                  <a16:creationId xmlns:a16="http://schemas.microsoft.com/office/drawing/2014/main" id="{FAB5C53B-D43B-4E0B-A9C6-068E932B6541}"/>
                </a:ext>
              </a:extLst>
            </p:cNvPr>
            <p:cNvSpPr/>
            <p:nvPr/>
          </p:nvSpPr>
          <p:spPr>
            <a:xfrm>
              <a:off x="3073637" y="3393384"/>
              <a:ext cx="56648" cy="56648"/>
            </a:xfrm>
            <a:custGeom>
              <a:avLst/>
              <a:gdLst>
                <a:gd name="connsiteX0" fmla="*/ 44113 w 56647"/>
                <a:gd name="connsiteY0" fmla="*/ 29951 h 56647"/>
                <a:gd name="connsiteX1" fmla="*/ 29951 w 56647"/>
                <a:gd name="connsiteY1" fmla="*/ 44113 h 56647"/>
                <a:gd name="connsiteX2" fmla="*/ 15789 w 56647"/>
                <a:gd name="connsiteY2" fmla="*/ 29951 h 56647"/>
                <a:gd name="connsiteX3" fmla="*/ 29951 w 56647"/>
                <a:gd name="connsiteY3" fmla="*/ 15789 h 56647"/>
                <a:gd name="connsiteX4" fmla="*/ 44113 w 56647"/>
                <a:gd name="connsiteY4" fmla="*/ 2995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44113" y="29951"/>
                  </a:moveTo>
                  <a:cubicBezTo>
                    <a:pt x="44113" y="37773"/>
                    <a:pt x="37772" y="44113"/>
                    <a:pt x="29951" y="44113"/>
                  </a:cubicBezTo>
                  <a:cubicBezTo>
                    <a:pt x="22129" y="44113"/>
                    <a:pt x="15789" y="37773"/>
                    <a:pt x="15789" y="29951"/>
                  </a:cubicBezTo>
                  <a:cubicBezTo>
                    <a:pt x="15789" y="22129"/>
                    <a:pt x="22129" y="15789"/>
                    <a:pt x="29951" y="15789"/>
                  </a:cubicBezTo>
                  <a:cubicBezTo>
                    <a:pt x="37772" y="15789"/>
                    <a:pt x="44113" y="22129"/>
                    <a:pt x="44113" y="2995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01" name="Freeform: Shape 2400">
              <a:extLst>
                <a:ext uri="{FF2B5EF4-FFF2-40B4-BE49-F238E27FC236}">
                  <a16:creationId xmlns:a16="http://schemas.microsoft.com/office/drawing/2014/main" id="{F325C14D-4FA4-4C1A-BC7C-40351CB58A59}"/>
                </a:ext>
              </a:extLst>
            </p:cNvPr>
            <p:cNvSpPr/>
            <p:nvPr/>
          </p:nvSpPr>
          <p:spPr>
            <a:xfrm>
              <a:off x="3019821" y="3692201"/>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8448"/>
                    <a:pt x="44113" y="29951"/>
                  </a:cubicBezTo>
                  <a:cubicBezTo>
                    <a:pt x="44113" y="21454"/>
                    <a:pt x="38448" y="15789"/>
                    <a:pt x="29951" y="15789"/>
                  </a:cubicBezTo>
                  <a:cubicBezTo>
                    <a:pt x="21454" y="15789"/>
                    <a:pt x="15789" y="22870"/>
                    <a:pt x="15789" y="29951"/>
                  </a:cubicBezTo>
                  <a:cubicBezTo>
                    <a:pt x="15789" y="38448"/>
                    <a:pt x="21454" y="44113"/>
                    <a:pt x="29951"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02" name="Freeform: Shape 2401">
              <a:extLst>
                <a:ext uri="{FF2B5EF4-FFF2-40B4-BE49-F238E27FC236}">
                  <a16:creationId xmlns:a16="http://schemas.microsoft.com/office/drawing/2014/main" id="{DB749465-82F2-4881-9B4A-2FF247349F4C}"/>
                </a:ext>
              </a:extLst>
            </p:cNvPr>
            <p:cNvSpPr/>
            <p:nvPr/>
          </p:nvSpPr>
          <p:spPr>
            <a:xfrm>
              <a:off x="2766323" y="3427373"/>
              <a:ext cx="70810" cy="70810"/>
            </a:xfrm>
            <a:custGeom>
              <a:avLst/>
              <a:gdLst>
                <a:gd name="connsiteX0" fmla="*/ 39864 w 70809"/>
                <a:gd name="connsiteY0" fmla="*/ 63939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39" y="52610"/>
                    <a:pt x="63939" y="39864"/>
                  </a:cubicBezTo>
                  <a:cubicBezTo>
                    <a:pt x="63939" y="27119"/>
                    <a:pt x="52610" y="15789"/>
                    <a:pt x="39864" y="15789"/>
                  </a:cubicBezTo>
                  <a:cubicBezTo>
                    <a:pt x="27119" y="15789"/>
                    <a:pt x="15789" y="27119"/>
                    <a:pt x="15789" y="39864"/>
                  </a:cubicBezTo>
                  <a:cubicBezTo>
                    <a:pt x="15789" y="52610"/>
                    <a:pt x="27119" y="63939"/>
                    <a:pt x="39864" y="6393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03" name="Freeform: Shape 2402">
              <a:extLst>
                <a:ext uri="{FF2B5EF4-FFF2-40B4-BE49-F238E27FC236}">
                  <a16:creationId xmlns:a16="http://schemas.microsoft.com/office/drawing/2014/main" id="{CE8047A4-CC9B-45BB-A51B-921D91D4DD42}"/>
                </a:ext>
              </a:extLst>
            </p:cNvPr>
            <p:cNvSpPr/>
            <p:nvPr/>
          </p:nvSpPr>
          <p:spPr>
            <a:xfrm>
              <a:off x="3162857" y="3757345"/>
              <a:ext cx="70810" cy="70810"/>
            </a:xfrm>
            <a:custGeom>
              <a:avLst/>
              <a:gdLst>
                <a:gd name="connsiteX0" fmla="*/ 39864 w 70809"/>
                <a:gd name="connsiteY0" fmla="*/ 63939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39" y="52610"/>
                    <a:pt x="63939" y="39864"/>
                  </a:cubicBezTo>
                  <a:cubicBezTo>
                    <a:pt x="63939" y="27119"/>
                    <a:pt x="52610" y="15789"/>
                    <a:pt x="39864" y="15789"/>
                  </a:cubicBezTo>
                  <a:cubicBezTo>
                    <a:pt x="27119" y="15789"/>
                    <a:pt x="15789" y="27119"/>
                    <a:pt x="15789" y="39864"/>
                  </a:cubicBezTo>
                  <a:cubicBezTo>
                    <a:pt x="15789" y="52610"/>
                    <a:pt x="25702" y="63939"/>
                    <a:pt x="39864" y="6393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04" name="Freeform: Shape 2403">
              <a:extLst>
                <a:ext uri="{FF2B5EF4-FFF2-40B4-BE49-F238E27FC236}">
                  <a16:creationId xmlns:a16="http://schemas.microsoft.com/office/drawing/2014/main" id="{308BA547-2C0C-43BF-9A6D-268F675DC2F8}"/>
                </a:ext>
              </a:extLst>
            </p:cNvPr>
            <p:cNvSpPr/>
            <p:nvPr/>
          </p:nvSpPr>
          <p:spPr>
            <a:xfrm>
              <a:off x="3209591" y="3659628"/>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2"/>
                    <a:pt x="24286" y="15789"/>
                    <a:pt x="21454" y="15789"/>
                  </a:cubicBezTo>
                  <a:cubicBezTo>
                    <a:pt x="18621" y="15789"/>
                    <a:pt x="15789" y="18622"/>
                    <a:pt x="15789" y="21454"/>
                  </a:cubicBezTo>
                  <a:cubicBezTo>
                    <a:pt x="15789" y="24286"/>
                    <a:pt x="18621" y="27119"/>
                    <a:pt x="21454" y="2711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05" name="Freeform: Shape 2404">
              <a:extLst>
                <a:ext uri="{FF2B5EF4-FFF2-40B4-BE49-F238E27FC236}">
                  <a16:creationId xmlns:a16="http://schemas.microsoft.com/office/drawing/2014/main" id="{FB576A35-C58D-4487-A3BD-46629DAE18CB}"/>
                </a:ext>
              </a:extLst>
            </p:cNvPr>
            <p:cNvSpPr/>
            <p:nvPr/>
          </p:nvSpPr>
          <p:spPr>
            <a:xfrm>
              <a:off x="3089215" y="3696449"/>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1" y="15789"/>
                    <a:pt x="15789" y="18621"/>
                    <a:pt x="15789" y="21454"/>
                  </a:cubicBezTo>
                  <a:cubicBezTo>
                    <a:pt x="15789" y="24286"/>
                    <a:pt x="18621" y="27119"/>
                    <a:pt x="21454" y="2711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06" name="Freeform: Shape 2405">
              <a:extLst>
                <a:ext uri="{FF2B5EF4-FFF2-40B4-BE49-F238E27FC236}">
                  <a16:creationId xmlns:a16="http://schemas.microsoft.com/office/drawing/2014/main" id="{D9FC2005-74EB-42F1-82D3-8A62C0FFCDBD}"/>
                </a:ext>
              </a:extLst>
            </p:cNvPr>
            <p:cNvSpPr/>
            <p:nvPr/>
          </p:nvSpPr>
          <p:spPr>
            <a:xfrm>
              <a:off x="2331552" y="3244684"/>
              <a:ext cx="99133" cy="99133"/>
            </a:xfrm>
            <a:custGeom>
              <a:avLst/>
              <a:gdLst>
                <a:gd name="connsiteX0" fmla="*/ 49778 w 99133"/>
                <a:gd name="connsiteY0" fmla="*/ 15789 h 99133"/>
                <a:gd name="connsiteX1" fmla="*/ 83766 w 99133"/>
                <a:gd name="connsiteY1" fmla="*/ 49777 h 99133"/>
                <a:gd name="connsiteX2" fmla="*/ 49778 w 99133"/>
                <a:gd name="connsiteY2" fmla="*/ 83766 h 99133"/>
                <a:gd name="connsiteX3" fmla="*/ 15789 w 99133"/>
                <a:gd name="connsiteY3" fmla="*/ 49777 h 99133"/>
                <a:gd name="connsiteX4" fmla="*/ 49778 w 99133"/>
                <a:gd name="connsiteY4" fmla="*/ 15789 h 99133"/>
                <a:gd name="connsiteX5" fmla="*/ 49778 w 99133"/>
                <a:gd name="connsiteY5" fmla="*/ 15789 h 99133"/>
                <a:gd name="connsiteX6" fmla="*/ 49778 w 99133"/>
                <a:gd name="connsiteY6" fmla="*/ 31367 h 99133"/>
                <a:gd name="connsiteX7" fmla="*/ 31367 w 99133"/>
                <a:gd name="connsiteY7" fmla="*/ 49777 h 99133"/>
                <a:gd name="connsiteX8" fmla="*/ 49778 w 99133"/>
                <a:gd name="connsiteY8" fmla="*/ 68188 h 99133"/>
                <a:gd name="connsiteX9" fmla="*/ 68188 w 99133"/>
                <a:gd name="connsiteY9" fmla="*/ 49777 h 99133"/>
                <a:gd name="connsiteX10" fmla="*/ 49778 w 99133"/>
                <a:gd name="connsiteY10" fmla="*/ 31367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49778" y="15789"/>
                  </a:moveTo>
                  <a:cubicBezTo>
                    <a:pt x="68188" y="15789"/>
                    <a:pt x="83766" y="31367"/>
                    <a:pt x="83766" y="49777"/>
                  </a:cubicBezTo>
                  <a:cubicBezTo>
                    <a:pt x="83766" y="68188"/>
                    <a:pt x="68188" y="83766"/>
                    <a:pt x="49778" y="83766"/>
                  </a:cubicBezTo>
                  <a:cubicBezTo>
                    <a:pt x="31367" y="83766"/>
                    <a:pt x="15789" y="68188"/>
                    <a:pt x="15789" y="49777"/>
                  </a:cubicBezTo>
                  <a:cubicBezTo>
                    <a:pt x="15789" y="31367"/>
                    <a:pt x="31367" y="15789"/>
                    <a:pt x="49778" y="15789"/>
                  </a:cubicBezTo>
                  <a:lnTo>
                    <a:pt x="49778" y="15789"/>
                  </a:lnTo>
                  <a:close/>
                  <a:moveTo>
                    <a:pt x="49778" y="31367"/>
                  </a:moveTo>
                  <a:cubicBezTo>
                    <a:pt x="39864" y="31367"/>
                    <a:pt x="31367" y="39864"/>
                    <a:pt x="31367" y="49777"/>
                  </a:cubicBezTo>
                  <a:cubicBezTo>
                    <a:pt x="31367" y="59691"/>
                    <a:pt x="39864" y="68188"/>
                    <a:pt x="49778" y="68188"/>
                  </a:cubicBezTo>
                  <a:cubicBezTo>
                    <a:pt x="59691" y="68188"/>
                    <a:pt x="68188" y="59691"/>
                    <a:pt x="68188" y="49777"/>
                  </a:cubicBezTo>
                  <a:cubicBezTo>
                    <a:pt x="68188" y="39864"/>
                    <a:pt x="59691" y="31367"/>
                    <a:pt x="49778" y="3136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07" name="Freeform: Shape 2406">
              <a:extLst>
                <a:ext uri="{FF2B5EF4-FFF2-40B4-BE49-F238E27FC236}">
                  <a16:creationId xmlns:a16="http://schemas.microsoft.com/office/drawing/2014/main" id="{31744ECD-5A27-4210-8CD9-736EAAD148B4}"/>
                </a:ext>
              </a:extLst>
            </p:cNvPr>
            <p:cNvSpPr/>
            <p:nvPr/>
          </p:nvSpPr>
          <p:spPr>
            <a:xfrm>
              <a:off x="3410690" y="3389136"/>
              <a:ext cx="56648" cy="56648"/>
            </a:xfrm>
            <a:custGeom>
              <a:avLst/>
              <a:gdLst>
                <a:gd name="connsiteX0" fmla="*/ 46945 w 56647"/>
                <a:gd name="connsiteY0" fmla="*/ 31367 h 56647"/>
                <a:gd name="connsiteX1" fmla="*/ 31367 w 56647"/>
                <a:gd name="connsiteY1" fmla="*/ 46945 h 56647"/>
                <a:gd name="connsiteX2" fmla="*/ 15789 w 56647"/>
                <a:gd name="connsiteY2" fmla="*/ 31367 h 56647"/>
                <a:gd name="connsiteX3" fmla="*/ 31367 w 56647"/>
                <a:gd name="connsiteY3" fmla="*/ 15789 h 56647"/>
                <a:gd name="connsiteX4" fmla="*/ 46945 w 56647"/>
                <a:gd name="connsiteY4" fmla="*/ 3136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46945" y="31367"/>
                  </a:moveTo>
                  <a:cubicBezTo>
                    <a:pt x="46945" y="39971"/>
                    <a:pt x="39971" y="46945"/>
                    <a:pt x="31367" y="46945"/>
                  </a:cubicBezTo>
                  <a:cubicBezTo>
                    <a:pt x="22763" y="46945"/>
                    <a:pt x="15789" y="39971"/>
                    <a:pt x="15789" y="31367"/>
                  </a:cubicBezTo>
                  <a:cubicBezTo>
                    <a:pt x="15789" y="22763"/>
                    <a:pt x="22763" y="15789"/>
                    <a:pt x="31367" y="15789"/>
                  </a:cubicBezTo>
                  <a:cubicBezTo>
                    <a:pt x="39971" y="15789"/>
                    <a:pt x="46945" y="22763"/>
                    <a:pt x="46945" y="3136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08" name="Freeform: Shape 2407">
              <a:extLst>
                <a:ext uri="{FF2B5EF4-FFF2-40B4-BE49-F238E27FC236}">
                  <a16:creationId xmlns:a16="http://schemas.microsoft.com/office/drawing/2014/main" id="{9190A044-A259-4092-A01F-13787CF18216}"/>
                </a:ext>
              </a:extLst>
            </p:cNvPr>
            <p:cNvSpPr/>
            <p:nvPr/>
          </p:nvSpPr>
          <p:spPr>
            <a:xfrm>
              <a:off x="3616038" y="3461361"/>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09" name="Freeform: Shape 2408">
              <a:extLst>
                <a:ext uri="{FF2B5EF4-FFF2-40B4-BE49-F238E27FC236}">
                  <a16:creationId xmlns:a16="http://schemas.microsoft.com/office/drawing/2014/main" id="{DE3DD345-C963-42C5-98B4-8EBD847B5531}"/>
                </a:ext>
              </a:extLst>
            </p:cNvPr>
            <p:cNvSpPr/>
            <p:nvPr/>
          </p:nvSpPr>
          <p:spPr>
            <a:xfrm>
              <a:off x="3511240" y="3501015"/>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8448"/>
                    <a:pt x="44113" y="29951"/>
                  </a:cubicBezTo>
                  <a:cubicBezTo>
                    <a:pt x="44113" y="21454"/>
                    <a:pt x="38448" y="15789"/>
                    <a:pt x="29951" y="15789"/>
                  </a:cubicBezTo>
                  <a:cubicBezTo>
                    <a:pt x="21454" y="15789"/>
                    <a:pt x="15789" y="21454"/>
                    <a:pt x="15789" y="29951"/>
                  </a:cubicBezTo>
                  <a:cubicBezTo>
                    <a:pt x="15789" y="38448"/>
                    <a:pt x="22870" y="44113"/>
                    <a:pt x="29951"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10" name="Freeform: Shape 2409">
              <a:extLst>
                <a:ext uri="{FF2B5EF4-FFF2-40B4-BE49-F238E27FC236}">
                  <a16:creationId xmlns:a16="http://schemas.microsoft.com/office/drawing/2014/main" id="{823DBB98-22F7-4A85-BB5A-1F7BEAE0DC1B}"/>
                </a:ext>
              </a:extLst>
            </p:cNvPr>
            <p:cNvSpPr/>
            <p:nvPr/>
          </p:nvSpPr>
          <p:spPr>
            <a:xfrm>
              <a:off x="3310141" y="3348066"/>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11" name="Freeform: Shape 2410">
              <a:extLst>
                <a:ext uri="{FF2B5EF4-FFF2-40B4-BE49-F238E27FC236}">
                  <a16:creationId xmlns:a16="http://schemas.microsoft.com/office/drawing/2014/main" id="{DC070CD7-65FB-45F7-BE4A-C10328BD1964}"/>
                </a:ext>
              </a:extLst>
            </p:cNvPr>
            <p:cNvSpPr/>
            <p:nvPr/>
          </p:nvSpPr>
          <p:spPr>
            <a:xfrm>
              <a:off x="3430517" y="3457113"/>
              <a:ext cx="42486" cy="42486"/>
            </a:xfrm>
            <a:custGeom>
              <a:avLst/>
              <a:gdLst>
                <a:gd name="connsiteX0" fmla="*/ 21454 w 42485"/>
                <a:gd name="connsiteY0" fmla="*/ 27118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8"/>
                  </a:moveTo>
                  <a:cubicBezTo>
                    <a:pt x="24286" y="27118"/>
                    <a:pt x="27119" y="24286"/>
                    <a:pt x="27119" y="21454"/>
                  </a:cubicBezTo>
                  <a:cubicBezTo>
                    <a:pt x="27119" y="18621"/>
                    <a:pt x="24286" y="15789"/>
                    <a:pt x="21454" y="15789"/>
                  </a:cubicBezTo>
                  <a:cubicBezTo>
                    <a:pt x="18622" y="15789"/>
                    <a:pt x="15789" y="18621"/>
                    <a:pt x="15789" y="21454"/>
                  </a:cubicBezTo>
                  <a:cubicBezTo>
                    <a:pt x="15789" y="24286"/>
                    <a:pt x="18622" y="27118"/>
                    <a:pt x="21454" y="2711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12" name="Freeform: Shape 2411">
              <a:extLst>
                <a:ext uri="{FF2B5EF4-FFF2-40B4-BE49-F238E27FC236}">
                  <a16:creationId xmlns:a16="http://schemas.microsoft.com/office/drawing/2014/main" id="{2DA6B479-42C9-42EF-A1B7-CE71FD3DF25A}"/>
                </a:ext>
              </a:extLst>
            </p:cNvPr>
            <p:cNvSpPr/>
            <p:nvPr/>
          </p:nvSpPr>
          <p:spPr>
            <a:xfrm>
              <a:off x="3226585" y="3367893"/>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1" y="15789"/>
                    <a:pt x="15789" y="18621"/>
                    <a:pt x="15789" y="21454"/>
                  </a:cubicBezTo>
                  <a:cubicBezTo>
                    <a:pt x="15789" y="24286"/>
                    <a:pt x="18621" y="27119"/>
                    <a:pt x="21454" y="2711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13" name="Freeform: Shape 2412">
              <a:extLst>
                <a:ext uri="{FF2B5EF4-FFF2-40B4-BE49-F238E27FC236}">
                  <a16:creationId xmlns:a16="http://schemas.microsoft.com/office/drawing/2014/main" id="{94294D12-F9AC-4671-8CC0-E2E34535D760}"/>
                </a:ext>
              </a:extLst>
            </p:cNvPr>
            <p:cNvSpPr/>
            <p:nvPr/>
          </p:nvSpPr>
          <p:spPr>
            <a:xfrm>
              <a:off x="3743495" y="3519425"/>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9" y="29951"/>
                    <a:pt x="29951" y="27119"/>
                    <a:pt x="29951" y="22870"/>
                  </a:cubicBezTo>
                  <a:cubicBezTo>
                    <a:pt x="29951" y="18621"/>
                    <a:pt x="27119" y="15789"/>
                    <a:pt x="22870" y="15789"/>
                  </a:cubicBezTo>
                  <a:cubicBezTo>
                    <a:pt x="18621" y="15789"/>
                    <a:pt x="15789" y="18621"/>
                    <a:pt x="15789" y="22870"/>
                  </a:cubicBezTo>
                  <a:cubicBezTo>
                    <a:pt x="15789" y="25702"/>
                    <a:pt x="20038" y="29951"/>
                    <a:pt x="22870" y="2995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14" name="Freeform: Shape 2413">
              <a:extLst>
                <a:ext uri="{FF2B5EF4-FFF2-40B4-BE49-F238E27FC236}">
                  <a16:creationId xmlns:a16="http://schemas.microsoft.com/office/drawing/2014/main" id="{3B6DD125-B34A-4132-ACB9-DA89788F805E}"/>
                </a:ext>
              </a:extLst>
            </p:cNvPr>
            <p:cNvSpPr/>
            <p:nvPr/>
          </p:nvSpPr>
          <p:spPr>
            <a:xfrm>
              <a:off x="3665605" y="3503847"/>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9" y="29951"/>
                    <a:pt x="29951" y="27119"/>
                    <a:pt x="29951" y="22870"/>
                  </a:cubicBezTo>
                  <a:cubicBezTo>
                    <a:pt x="29951" y="18622"/>
                    <a:pt x="27119" y="15789"/>
                    <a:pt x="22870" y="15789"/>
                  </a:cubicBezTo>
                  <a:cubicBezTo>
                    <a:pt x="18621" y="15789"/>
                    <a:pt x="15789" y="18622"/>
                    <a:pt x="15789" y="22870"/>
                  </a:cubicBezTo>
                  <a:cubicBezTo>
                    <a:pt x="15789" y="25703"/>
                    <a:pt x="18621" y="29951"/>
                    <a:pt x="22870" y="2995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15" name="Freeform: Shape 2414">
              <a:extLst>
                <a:ext uri="{FF2B5EF4-FFF2-40B4-BE49-F238E27FC236}">
                  <a16:creationId xmlns:a16="http://schemas.microsoft.com/office/drawing/2014/main" id="{5F050ECD-9FA1-4404-8C51-0A2AE7DEFEBC}"/>
                </a:ext>
              </a:extLst>
            </p:cNvPr>
            <p:cNvSpPr/>
            <p:nvPr/>
          </p:nvSpPr>
          <p:spPr>
            <a:xfrm>
              <a:off x="3359707" y="3345234"/>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7205" y="38448"/>
                    <a:pt x="22870" y="44113"/>
                    <a:pt x="29951"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16" name="Freeform: Shape 2415">
              <a:extLst>
                <a:ext uri="{FF2B5EF4-FFF2-40B4-BE49-F238E27FC236}">
                  <a16:creationId xmlns:a16="http://schemas.microsoft.com/office/drawing/2014/main" id="{C96516D8-6384-4759-8D0D-4C18B5E88B64}"/>
                </a:ext>
              </a:extLst>
            </p:cNvPr>
            <p:cNvSpPr/>
            <p:nvPr/>
          </p:nvSpPr>
          <p:spPr>
            <a:xfrm>
              <a:off x="3409274" y="3544917"/>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2" y="15789"/>
                    <a:pt x="15789" y="18621"/>
                    <a:pt x="15789" y="21454"/>
                  </a:cubicBezTo>
                  <a:cubicBezTo>
                    <a:pt x="15789" y="24286"/>
                    <a:pt x="18622" y="27119"/>
                    <a:pt x="21454" y="2711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17" name="Freeform: Shape 2416">
              <a:extLst>
                <a:ext uri="{FF2B5EF4-FFF2-40B4-BE49-F238E27FC236}">
                  <a16:creationId xmlns:a16="http://schemas.microsoft.com/office/drawing/2014/main" id="{366DF21C-A476-4321-AE05-A0340439F8E9}"/>
                </a:ext>
              </a:extLst>
            </p:cNvPr>
            <p:cNvSpPr/>
            <p:nvPr/>
          </p:nvSpPr>
          <p:spPr>
            <a:xfrm>
              <a:off x="3407858" y="3512344"/>
              <a:ext cx="28324" cy="28324"/>
            </a:xfrm>
            <a:custGeom>
              <a:avLst/>
              <a:gdLst>
                <a:gd name="connsiteX0" fmla="*/ 20038 w 28323"/>
                <a:gd name="connsiteY0" fmla="*/ 24286 h 28323"/>
                <a:gd name="connsiteX1" fmla="*/ 24286 w 28323"/>
                <a:gd name="connsiteY1" fmla="*/ 20038 h 28323"/>
                <a:gd name="connsiteX2" fmla="*/ 20038 w 28323"/>
                <a:gd name="connsiteY2" fmla="*/ 15789 h 28323"/>
                <a:gd name="connsiteX3" fmla="*/ 15789 w 28323"/>
                <a:gd name="connsiteY3" fmla="*/ 20038 h 28323"/>
                <a:gd name="connsiteX4" fmla="*/ 20038 w 28323"/>
                <a:gd name="connsiteY4" fmla="*/ 24286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0038" y="24286"/>
                  </a:moveTo>
                  <a:cubicBezTo>
                    <a:pt x="22870" y="24286"/>
                    <a:pt x="24286" y="22870"/>
                    <a:pt x="24286" y="20038"/>
                  </a:cubicBezTo>
                  <a:cubicBezTo>
                    <a:pt x="24286" y="17205"/>
                    <a:pt x="22870" y="15789"/>
                    <a:pt x="20038" y="15789"/>
                  </a:cubicBezTo>
                  <a:cubicBezTo>
                    <a:pt x="17205" y="15789"/>
                    <a:pt x="15789" y="17205"/>
                    <a:pt x="15789" y="20038"/>
                  </a:cubicBezTo>
                  <a:cubicBezTo>
                    <a:pt x="15789" y="21454"/>
                    <a:pt x="17205" y="24286"/>
                    <a:pt x="20038" y="2428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18" name="Freeform: Shape 2417">
              <a:extLst>
                <a:ext uri="{FF2B5EF4-FFF2-40B4-BE49-F238E27FC236}">
                  <a16:creationId xmlns:a16="http://schemas.microsoft.com/office/drawing/2014/main" id="{F8DB9E88-B1CF-4F31-AD12-DD92EAB13E93}"/>
                </a:ext>
              </a:extLst>
            </p:cNvPr>
            <p:cNvSpPr/>
            <p:nvPr/>
          </p:nvSpPr>
          <p:spPr>
            <a:xfrm>
              <a:off x="1497416" y="1713782"/>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9"/>
                  </a:cubicBezTo>
                  <a:cubicBezTo>
                    <a:pt x="38448" y="21454"/>
                    <a:pt x="32783" y="15789"/>
                    <a:pt x="27119" y="15789"/>
                  </a:cubicBezTo>
                  <a:cubicBezTo>
                    <a:pt x="21454" y="15789"/>
                    <a:pt x="15789" y="21454"/>
                    <a:pt x="15789" y="27119"/>
                  </a:cubicBezTo>
                  <a:cubicBezTo>
                    <a:pt x="15789" y="32783"/>
                    <a:pt x="21454" y="38448"/>
                    <a:pt x="27119" y="3844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19" name="Freeform: Shape 2418">
              <a:extLst>
                <a:ext uri="{FF2B5EF4-FFF2-40B4-BE49-F238E27FC236}">
                  <a16:creationId xmlns:a16="http://schemas.microsoft.com/office/drawing/2014/main" id="{D847C0BF-A521-4404-890B-A35024D4ED38}"/>
                </a:ext>
              </a:extLst>
            </p:cNvPr>
            <p:cNvSpPr/>
            <p:nvPr/>
          </p:nvSpPr>
          <p:spPr>
            <a:xfrm>
              <a:off x="1252415" y="1160051"/>
              <a:ext cx="42486" cy="42486"/>
            </a:xfrm>
            <a:custGeom>
              <a:avLst/>
              <a:gdLst>
                <a:gd name="connsiteX0" fmla="*/ 38448 w 42485"/>
                <a:gd name="connsiteY0" fmla="*/ 27119 h 42485"/>
                <a:gd name="connsiteX1" fmla="*/ 27119 w 42485"/>
                <a:gd name="connsiteY1" fmla="*/ 38448 h 42485"/>
                <a:gd name="connsiteX2" fmla="*/ 15789 w 42485"/>
                <a:gd name="connsiteY2" fmla="*/ 27119 h 42485"/>
                <a:gd name="connsiteX3" fmla="*/ 27119 w 42485"/>
                <a:gd name="connsiteY3" fmla="*/ 15789 h 42485"/>
                <a:gd name="connsiteX4" fmla="*/ 38448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8448" y="27119"/>
                  </a:moveTo>
                  <a:cubicBezTo>
                    <a:pt x="38448" y="33376"/>
                    <a:pt x="33376" y="38448"/>
                    <a:pt x="27119" y="38448"/>
                  </a:cubicBezTo>
                  <a:cubicBezTo>
                    <a:pt x="20861" y="38448"/>
                    <a:pt x="15789" y="33376"/>
                    <a:pt x="15789" y="27119"/>
                  </a:cubicBezTo>
                  <a:cubicBezTo>
                    <a:pt x="15789" y="20861"/>
                    <a:pt x="20861" y="15789"/>
                    <a:pt x="27119" y="15789"/>
                  </a:cubicBezTo>
                  <a:cubicBezTo>
                    <a:pt x="33376" y="15789"/>
                    <a:pt x="38448" y="20861"/>
                    <a:pt x="38448" y="2711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20" name="Freeform: Shape 2419">
              <a:extLst>
                <a:ext uri="{FF2B5EF4-FFF2-40B4-BE49-F238E27FC236}">
                  <a16:creationId xmlns:a16="http://schemas.microsoft.com/office/drawing/2014/main" id="{BA7A37DC-7065-4594-BDBB-1E88F0188D52}"/>
                </a:ext>
              </a:extLst>
            </p:cNvPr>
            <p:cNvSpPr/>
            <p:nvPr/>
          </p:nvSpPr>
          <p:spPr>
            <a:xfrm>
              <a:off x="826141" y="1175630"/>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9"/>
                  </a:cubicBezTo>
                  <a:cubicBezTo>
                    <a:pt x="38448" y="21454"/>
                    <a:pt x="32783" y="15789"/>
                    <a:pt x="27119" y="15789"/>
                  </a:cubicBezTo>
                  <a:cubicBezTo>
                    <a:pt x="21454" y="15789"/>
                    <a:pt x="15789" y="21454"/>
                    <a:pt x="15789" y="27119"/>
                  </a:cubicBezTo>
                  <a:cubicBezTo>
                    <a:pt x="15789" y="32783"/>
                    <a:pt x="21454" y="38448"/>
                    <a:pt x="27119" y="3844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21" name="Freeform: Shape 2420">
              <a:extLst>
                <a:ext uri="{FF2B5EF4-FFF2-40B4-BE49-F238E27FC236}">
                  <a16:creationId xmlns:a16="http://schemas.microsoft.com/office/drawing/2014/main" id="{E97E2669-7982-44B8-A0AF-782EFCE7DAB0}"/>
                </a:ext>
              </a:extLst>
            </p:cNvPr>
            <p:cNvSpPr/>
            <p:nvPr/>
          </p:nvSpPr>
          <p:spPr>
            <a:xfrm>
              <a:off x="906864" y="1406469"/>
              <a:ext cx="42486" cy="42486"/>
            </a:xfrm>
            <a:custGeom>
              <a:avLst/>
              <a:gdLst>
                <a:gd name="connsiteX0" fmla="*/ 38448 w 42485"/>
                <a:gd name="connsiteY0" fmla="*/ 27119 h 42485"/>
                <a:gd name="connsiteX1" fmla="*/ 27119 w 42485"/>
                <a:gd name="connsiteY1" fmla="*/ 38448 h 42485"/>
                <a:gd name="connsiteX2" fmla="*/ 15789 w 42485"/>
                <a:gd name="connsiteY2" fmla="*/ 27119 h 42485"/>
                <a:gd name="connsiteX3" fmla="*/ 27119 w 42485"/>
                <a:gd name="connsiteY3" fmla="*/ 15789 h 42485"/>
                <a:gd name="connsiteX4" fmla="*/ 38448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8448" y="27119"/>
                  </a:moveTo>
                  <a:cubicBezTo>
                    <a:pt x="38448" y="33376"/>
                    <a:pt x="33376" y="38448"/>
                    <a:pt x="27119" y="38448"/>
                  </a:cubicBezTo>
                  <a:cubicBezTo>
                    <a:pt x="20861" y="38448"/>
                    <a:pt x="15789" y="33376"/>
                    <a:pt x="15789" y="27119"/>
                  </a:cubicBezTo>
                  <a:cubicBezTo>
                    <a:pt x="15789" y="20861"/>
                    <a:pt x="20861" y="15789"/>
                    <a:pt x="27119" y="15789"/>
                  </a:cubicBezTo>
                  <a:cubicBezTo>
                    <a:pt x="33376" y="15789"/>
                    <a:pt x="38448" y="20861"/>
                    <a:pt x="38448" y="2711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22" name="Freeform: Shape 2421">
              <a:extLst>
                <a:ext uri="{FF2B5EF4-FFF2-40B4-BE49-F238E27FC236}">
                  <a16:creationId xmlns:a16="http://schemas.microsoft.com/office/drawing/2014/main" id="{5182C0FF-26E3-4C08-81DC-CADDEE58AF90}"/>
                </a:ext>
              </a:extLst>
            </p:cNvPr>
            <p:cNvSpPr/>
            <p:nvPr/>
          </p:nvSpPr>
          <p:spPr>
            <a:xfrm>
              <a:off x="2032736" y="963201"/>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9"/>
                  </a:cubicBezTo>
                  <a:cubicBezTo>
                    <a:pt x="38448" y="21454"/>
                    <a:pt x="32783" y="15789"/>
                    <a:pt x="27119" y="15789"/>
                  </a:cubicBezTo>
                  <a:cubicBezTo>
                    <a:pt x="21454" y="15789"/>
                    <a:pt x="15789" y="21454"/>
                    <a:pt x="15789" y="27119"/>
                  </a:cubicBezTo>
                  <a:cubicBezTo>
                    <a:pt x="15789" y="32783"/>
                    <a:pt x="20038" y="38448"/>
                    <a:pt x="27119" y="3844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23" name="Freeform: Shape 2422">
              <a:extLst>
                <a:ext uri="{FF2B5EF4-FFF2-40B4-BE49-F238E27FC236}">
                  <a16:creationId xmlns:a16="http://schemas.microsoft.com/office/drawing/2014/main" id="{A04B4456-9AF1-48BD-9581-770240D998BC}"/>
                </a:ext>
              </a:extLst>
            </p:cNvPr>
            <p:cNvSpPr/>
            <p:nvPr/>
          </p:nvSpPr>
          <p:spPr>
            <a:xfrm>
              <a:off x="1415277" y="1356902"/>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24" name="Freeform: Shape 2423">
              <a:extLst>
                <a:ext uri="{FF2B5EF4-FFF2-40B4-BE49-F238E27FC236}">
                  <a16:creationId xmlns:a16="http://schemas.microsoft.com/office/drawing/2014/main" id="{C5B77753-3684-40DF-AB3E-B9A5E43A20F3}"/>
                </a:ext>
              </a:extLst>
            </p:cNvPr>
            <p:cNvSpPr/>
            <p:nvPr/>
          </p:nvSpPr>
          <p:spPr>
            <a:xfrm>
              <a:off x="1953429" y="136964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25" name="Freeform: Shape 2424">
              <a:extLst>
                <a:ext uri="{FF2B5EF4-FFF2-40B4-BE49-F238E27FC236}">
                  <a16:creationId xmlns:a16="http://schemas.microsoft.com/office/drawing/2014/main" id="{D1DD2A8F-0D49-478B-BF9D-69DC5D1D1D93}"/>
                </a:ext>
              </a:extLst>
            </p:cNvPr>
            <p:cNvSpPr/>
            <p:nvPr/>
          </p:nvSpPr>
          <p:spPr>
            <a:xfrm>
              <a:off x="2521322" y="1172797"/>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26" name="Freeform: Shape 2425">
              <a:extLst>
                <a:ext uri="{FF2B5EF4-FFF2-40B4-BE49-F238E27FC236}">
                  <a16:creationId xmlns:a16="http://schemas.microsoft.com/office/drawing/2014/main" id="{6749D681-7FA1-41D9-8C13-59D3B49DC1F0}"/>
                </a:ext>
              </a:extLst>
            </p:cNvPr>
            <p:cNvSpPr/>
            <p:nvPr/>
          </p:nvSpPr>
          <p:spPr>
            <a:xfrm>
              <a:off x="3781732" y="1709533"/>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27" name="Freeform: Shape 2426">
              <a:extLst>
                <a:ext uri="{FF2B5EF4-FFF2-40B4-BE49-F238E27FC236}">
                  <a16:creationId xmlns:a16="http://schemas.microsoft.com/office/drawing/2014/main" id="{4E3F64DB-83C2-4327-912F-9C271092AE93}"/>
                </a:ext>
              </a:extLst>
            </p:cNvPr>
            <p:cNvSpPr/>
            <p:nvPr/>
          </p:nvSpPr>
          <p:spPr>
            <a:xfrm>
              <a:off x="2657276" y="3149799"/>
              <a:ext cx="56648" cy="56648"/>
            </a:xfrm>
            <a:custGeom>
              <a:avLst/>
              <a:gdLst>
                <a:gd name="connsiteX0" fmla="*/ 34200 w 56647"/>
                <a:gd name="connsiteY0" fmla="*/ 52610 h 56647"/>
                <a:gd name="connsiteX1" fmla="*/ 52610 w 56647"/>
                <a:gd name="connsiteY1" fmla="*/ 34200 h 56647"/>
                <a:gd name="connsiteX2" fmla="*/ 34200 w 56647"/>
                <a:gd name="connsiteY2" fmla="*/ 15789 h 56647"/>
                <a:gd name="connsiteX3" fmla="*/ 15789 w 56647"/>
                <a:gd name="connsiteY3" fmla="*/ 34200 h 56647"/>
                <a:gd name="connsiteX4" fmla="*/ 34200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200" y="52610"/>
                  </a:moveTo>
                  <a:cubicBezTo>
                    <a:pt x="44113" y="52610"/>
                    <a:pt x="52610" y="44113"/>
                    <a:pt x="52610" y="34200"/>
                  </a:cubicBezTo>
                  <a:cubicBezTo>
                    <a:pt x="52610" y="24286"/>
                    <a:pt x="44113" y="15789"/>
                    <a:pt x="34200" y="15789"/>
                  </a:cubicBezTo>
                  <a:cubicBezTo>
                    <a:pt x="24286" y="15789"/>
                    <a:pt x="15789" y="24286"/>
                    <a:pt x="15789" y="34200"/>
                  </a:cubicBezTo>
                  <a:cubicBezTo>
                    <a:pt x="17205" y="45529"/>
                    <a:pt x="24286" y="52610"/>
                    <a:pt x="34200" y="5261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28" name="Freeform: Shape 2427">
              <a:extLst>
                <a:ext uri="{FF2B5EF4-FFF2-40B4-BE49-F238E27FC236}">
                  <a16:creationId xmlns:a16="http://schemas.microsoft.com/office/drawing/2014/main" id="{B09EB7F5-6C7B-49B8-AEEE-D4FD654BBD51}"/>
                </a:ext>
              </a:extLst>
            </p:cNvPr>
            <p:cNvSpPr/>
            <p:nvPr/>
          </p:nvSpPr>
          <p:spPr>
            <a:xfrm>
              <a:off x="2662941" y="3523674"/>
              <a:ext cx="99133" cy="99133"/>
            </a:xfrm>
            <a:custGeom>
              <a:avLst/>
              <a:gdLst>
                <a:gd name="connsiteX0" fmla="*/ 86599 w 99133"/>
                <a:gd name="connsiteY0" fmla="*/ 51194 h 99133"/>
                <a:gd name="connsiteX1" fmla="*/ 51194 w 99133"/>
                <a:gd name="connsiteY1" fmla="*/ 86599 h 99133"/>
                <a:gd name="connsiteX2" fmla="*/ 15789 w 99133"/>
                <a:gd name="connsiteY2" fmla="*/ 51194 h 99133"/>
                <a:gd name="connsiteX3" fmla="*/ 51194 w 99133"/>
                <a:gd name="connsiteY3" fmla="*/ 15789 h 99133"/>
                <a:gd name="connsiteX4" fmla="*/ 86599 w 99133"/>
                <a:gd name="connsiteY4" fmla="*/ 51194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86599" y="51194"/>
                  </a:moveTo>
                  <a:cubicBezTo>
                    <a:pt x="86599" y="70747"/>
                    <a:pt x="70747" y="86599"/>
                    <a:pt x="51194" y="86599"/>
                  </a:cubicBezTo>
                  <a:cubicBezTo>
                    <a:pt x="31640" y="86599"/>
                    <a:pt x="15789" y="70747"/>
                    <a:pt x="15789" y="51194"/>
                  </a:cubicBezTo>
                  <a:cubicBezTo>
                    <a:pt x="15789" y="31640"/>
                    <a:pt x="31640" y="15789"/>
                    <a:pt x="51194" y="15789"/>
                  </a:cubicBezTo>
                  <a:cubicBezTo>
                    <a:pt x="70747" y="15789"/>
                    <a:pt x="86599" y="31640"/>
                    <a:pt x="86599" y="5119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29" name="Freeform: Shape 2428">
              <a:extLst>
                <a:ext uri="{FF2B5EF4-FFF2-40B4-BE49-F238E27FC236}">
                  <a16:creationId xmlns:a16="http://schemas.microsoft.com/office/drawing/2014/main" id="{42CCC45E-FE05-4665-B20A-D4A06A015853}"/>
                </a:ext>
              </a:extLst>
            </p:cNvPr>
            <p:cNvSpPr/>
            <p:nvPr/>
          </p:nvSpPr>
          <p:spPr>
            <a:xfrm>
              <a:off x="3312973" y="3900381"/>
              <a:ext cx="56648" cy="56648"/>
            </a:xfrm>
            <a:custGeom>
              <a:avLst/>
              <a:gdLst>
                <a:gd name="connsiteX0" fmla="*/ 34199 w 56647"/>
                <a:gd name="connsiteY0" fmla="*/ 52610 h 56647"/>
                <a:gd name="connsiteX1" fmla="*/ 52610 w 56647"/>
                <a:gd name="connsiteY1" fmla="*/ 34200 h 56647"/>
                <a:gd name="connsiteX2" fmla="*/ 34199 w 56647"/>
                <a:gd name="connsiteY2" fmla="*/ 15789 h 56647"/>
                <a:gd name="connsiteX3" fmla="*/ 15789 w 56647"/>
                <a:gd name="connsiteY3" fmla="*/ 34200 h 56647"/>
                <a:gd name="connsiteX4" fmla="*/ 34199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199" y="52610"/>
                  </a:moveTo>
                  <a:cubicBezTo>
                    <a:pt x="44113" y="52610"/>
                    <a:pt x="52610" y="44113"/>
                    <a:pt x="52610" y="34200"/>
                  </a:cubicBezTo>
                  <a:cubicBezTo>
                    <a:pt x="52610" y="24286"/>
                    <a:pt x="44113" y="15789"/>
                    <a:pt x="34199" y="15789"/>
                  </a:cubicBezTo>
                  <a:cubicBezTo>
                    <a:pt x="24286" y="15789"/>
                    <a:pt x="15789" y="24286"/>
                    <a:pt x="15789" y="34200"/>
                  </a:cubicBezTo>
                  <a:cubicBezTo>
                    <a:pt x="15789" y="44113"/>
                    <a:pt x="24286" y="52610"/>
                    <a:pt x="34199" y="5261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30" name="Freeform: Shape 2429">
              <a:extLst>
                <a:ext uri="{FF2B5EF4-FFF2-40B4-BE49-F238E27FC236}">
                  <a16:creationId xmlns:a16="http://schemas.microsoft.com/office/drawing/2014/main" id="{C58CAFA4-B989-40CB-B3EF-3B851CA92267}"/>
                </a:ext>
              </a:extLst>
            </p:cNvPr>
            <p:cNvSpPr/>
            <p:nvPr/>
          </p:nvSpPr>
          <p:spPr>
            <a:xfrm>
              <a:off x="3535315" y="3809744"/>
              <a:ext cx="56648" cy="56648"/>
            </a:xfrm>
            <a:custGeom>
              <a:avLst/>
              <a:gdLst>
                <a:gd name="connsiteX0" fmla="*/ 34200 w 56647"/>
                <a:gd name="connsiteY0" fmla="*/ 52610 h 56647"/>
                <a:gd name="connsiteX1" fmla="*/ 52610 w 56647"/>
                <a:gd name="connsiteY1" fmla="*/ 34200 h 56647"/>
                <a:gd name="connsiteX2" fmla="*/ 34200 w 56647"/>
                <a:gd name="connsiteY2" fmla="*/ 15789 h 56647"/>
                <a:gd name="connsiteX3" fmla="*/ 15789 w 56647"/>
                <a:gd name="connsiteY3" fmla="*/ 34200 h 56647"/>
                <a:gd name="connsiteX4" fmla="*/ 34200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200" y="52610"/>
                  </a:moveTo>
                  <a:cubicBezTo>
                    <a:pt x="44113" y="52610"/>
                    <a:pt x="52610" y="44113"/>
                    <a:pt x="52610" y="34200"/>
                  </a:cubicBezTo>
                  <a:cubicBezTo>
                    <a:pt x="52610" y="24286"/>
                    <a:pt x="44113" y="15789"/>
                    <a:pt x="34200" y="15789"/>
                  </a:cubicBezTo>
                  <a:cubicBezTo>
                    <a:pt x="24286" y="15789"/>
                    <a:pt x="15789" y="24286"/>
                    <a:pt x="15789" y="34200"/>
                  </a:cubicBezTo>
                  <a:cubicBezTo>
                    <a:pt x="17205" y="44113"/>
                    <a:pt x="24286" y="52610"/>
                    <a:pt x="34200" y="5261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31" name="Freeform: Shape 2430">
              <a:extLst>
                <a:ext uri="{FF2B5EF4-FFF2-40B4-BE49-F238E27FC236}">
                  <a16:creationId xmlns:a16="http://schemas.microsoft.com/office/drawing/2014/main" id="{E2C3291F-C463-44CF-8DCE-4C0F956E7453}"/>
                </a:ext>
              </a:extLst>
            </p:cNvPr>
            <p:cNvSpPr/>
            <p:nvPr/>
          </p:nvSpPr>
          <p:spPr>
            <a:xfrm>
              <a:off x="4448759" y="1213867"/>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32" name="Freeform: Shape 2431">
              <a:extLst>
                <a:ext uri="{FF2B5EF4-FFF2-40B4-BE49-F238E27FC236}">
                  <a16:creationId xmlns:a16="http://schemas.microsoft.com/office/drawing/2014/main" id="{DE83A2FB-A4B1-4E9A-A5CB-21A3F2CB3E16}"/>
                </a:ext>
              </a:extLst>
            </p:cNvPr>
            <p:cNvSpPr/>
            <p:nvPr/>
          </p:nvSpPr>
          <p:spPr>
            <a:xfrm>
              <a:off x="4326966" y="738027"/>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33" name="Freeform: Shape 2432">
              <a:extLst>
                <a:ext uri="{FF2B5EF4-FFF2-40B4-BE49-F238E27FC236}">
                  <a16:creationId xmlns:a16="http://schemas.microsoft.com/office/drawing/2014/main" id="{48A78798-E5EA-4A91-9D0A-CC53DE2926EE}"/>
                </a:ext>
              </a:extLst>
            </p:cNvPr>
            <p:cNvSpPr/>
            <p:nvPr/>
          </p:nvSpPr>
          <p:spPr>
            <a:xfrm>
              <a:off x="6951169" y="2996851"/>
              <a:ext cx="42486" cy="42486"/>
            </a:xfrm>
            <a:custGeom>
              <a:avLst/>
              <a:gdLst>
                <a:gd name="connsiteX0" fmla="*/ 22870 w 42485"/>
                <a:gd name="connsiteY0" fmla="*/ 15789 h 42485"/>
                <a:gd name="connsiteX1" fmla="*/ 28535 w 42485"/>
                <a:gd name="connsiteY1" fmla="*/ 22870 h 42485"/>
                <a:gd name="connsiteX2" fmla="*/ 21454 w 42485"/>
                <a:gd name="connsiteY2" fmla="*/ 28535 h 42485"/>
                <a:gd name="connsiteX3" fmla="*/ 15789 w 42485"/>
                <a:gd name="connsiteY3" fmla="*/ 21454 h 42485"/>
                <a:gd name="connsiteX4" fmla="*/ 22870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15789"/>
                  </a:moveTo>
                  <a:cubicBezTo>
                    <a:pt x="27118" y="15789"/>
                    <a:pt x="29951" y="20037"/>
                    <a:pt x="28535" y="22870"/>
                  </a:cubicBezTo>
                  <a:cubicBezTo>
                    <a:pt x="28535" y="27118"/>
                    <a:pt x="24286" y="29951"/>
                    <a:pt x="21454" y="28535"/>
                  </a:cubicBezTo>
                  <a:cubicBezTo>
                    <a:pt x="17205" y="28535"/>
                    <a:pt x="15789" y="24286"/>
                    <a:pt x="15789" y="21454"/>
                  </a:cubicBezTo>
                  <a:cubicBezTo>
                    <a:pt x="15789" y="18621"/>
                    <a:pt x="20037" y="15789"/>
                    <a:pt x="22870"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34" name="Freeform: Shape 2433">
              <a:extLst>
                <a:ext uri="{FF2B5EF4-FFF2-40B4-BE49-F238E27FC236}">
                  <a16:creationId xmlns:a16="http://schemas.microsoft.com/office/drawing/2014/main" id="{70560A6B-6330-4800-8E76-43665F1D98E9}"/>
                </a:ext>
              </a:extLst>
            </p:cNvPr>
            <p:cNvSpPr/>
            <p:nvPr/>
          </p:nvSpPr>
          <p:spPr>
            <a:xfrm>
              <a:off x="7004984" y="2904583"/>
              <a:ext cx="56648" cy="56648"/>
            </a:xfrm>
            <a:custGeom>
              <a:avLst/>
              <a:gdLst>
                <a:gd name="connsiteX0" fmla="*/ 32783 w 56647"/>
                <a:gd name="connsiteY0" fmla="*/ 16004 h 56647"/>
                <a:gd name="connsiteX1" fmla="*/ 46945 w 56647"/>
                <a:gd name="connsiteY1" fmla="*/ 32999 h 56647"/>
                <a:gd name="connsiteX2" fmla="*/ 29951 w 56647"/>
                <a:gd name="connsiteY2" fmla="*/ 47161 h 56647"/>
                <a:gd name="connsiteX3" fmla="*/ 15789 w 56647"/>
                <a:gd name="connsiteY3" fmla="*/ 30166 h 56647"/>
                <a:gd name="connsiteX4" fmla="*/ 32783 w 56647"/>
                <a:gd name="connsiteY4" fmla="*/ 1600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16004"/>
                  </a:moveTo>
                  <a:cubicBezTo>
                    <a:pt x="41281" y="17420"/>
                    <a:pt x="46945" y="24501"/>
                    <a:pt x="46945" y="32999"/>
                  </a:cubicBezTo>
                  <a:cubicBezTo>
                    <a:pt x="45529" y="41496"/>
                    <a:pt x="38448" y="47161"/>
                    <a:pt x="29951" y="47161"/>
                  </a:cubicBezTo>
                  <a:cubicBezTo>
                    <a:pt x="21454" y="45744"/>
                    <a:pt x="15789" y="38663"/>
                    <a:pt x="15789" y="30166"/>
                  </a:cubicBezTo>
                  <a:cubicBezTo>
                    <a:pt x="17205" y="20253"/>
                    <a:pt x="24286" y="14588"/>
                    <a:pt x="32783" y="1600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35" name="Freeform: Shape 2434">
              <a:extLst>
                <a:ext uri="{FF2B5EF4-FFF2-40B4-BE49-F238E27FC236}">
                  <a16:creationId xmlns:a16="http://schemas.microsoft.com/office/drawing/2014/main" id="{C4A46F7B-6C81-49D3-A0D8-2310CA43C176}"/>
                </a:ext>
              </a:extLst>
            </p:cNvPr>
            <p:cNvSpPr/>
            <p:nvPr/>
          </p:nvSpPr>
          <p:spPr>
            <a:xfrm>
              <a:off x="7105533" y="2974192"/>
              <a:ext cx="42486" cy="42486"/>
            </a:xfrm>
            <a:custGeom>
              <a:avLst/>
              <a:gdLst>
                <a:gd name="connsiteX0" fmla="*/ 29951 w 42485"/>
                <a:gd name="connsiteY0" fmla="*/ 15789 h 42485"/>
                <a:gd name="connsiteX1" fmla="*/ 39864 w 42485"/>
                <a:gd name="connsiteY1" fmla="*/ 28535 h 42485"/>
                <a:gd name="connsiteX2" fmla="*/ 27119 w 42485"/>
                <a:gd name="connsiteY2" fmla="*/ 38448 h 42485"/>
                <a:gd name="connsiteX3" fmla="*/ 15789 w 42485"/>
                <a:gd name="connsiteY3" fmla="*/ 25702 h 42485"/>
                <a:gd name="connsiteX4" fmla="*/ 29951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951" y="15789"/>
                  </a:moveTo>
                  <a:cubicBezTo>
                    <a:pt x="37032" y="15789"/>
                    <a:pt x="41281" y="21454"/>
                    <a:pt x="39864" y="28535"/>
                  </a:cubicBezTo>
                  <a:cubicBezTo>
                    <a:pt x="39864" y="35616"/>
                    <a:pt x="34200" y="39864"/>
                    <a:pt x="27119" y="38448"/>
                  </a:cubicBezTo>
                  <a:cubicBezTo>
                    <a:pt x="20038" y="38448"/>
                    <a:pt x="15789" y="32783"/>
                    <a:pt x="15789" y="25702"/>
                  </a:cubicBezTo>
                  <a:cubicBezTo>
                    <a:pt x="17205" y="20038"/>
                    <a:pt x="22870" y="15789"/>
                    <a:pt x="29951"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36" name="Freeform: Shape 2435">
              <a:extLst>
                <a:ext uri="{FF2B5EF4-FFF2-40B4-BE49-F238E27FC236}">
                  <a16:creationId xmlns:a16="http://schemas.microsoft.com/office/drawing/2014/main" id="{E7922197-C992-4520-A8D0-A7E5ECB90395}"/>
                </a:ext>
              </a:extLst>
            </p:cNvPr>
            <p:cNvSpPr/>
            <p:nvPr/>
          </p:nvSpPr>
          <p:spPr>
            <a:xfrm>
              <a:off x="7082506" y="3371773"/>
              <a:ext cx="42486" cy="42486"/>
            </a:xfrm>
            <a:custGeom>
              <a:avLst/>
              <a:gdLst>
                <a:gd name="connsiteX0" fmla="*/ 23238 w 42485"/>
                <a:gd name="connsiteY0" fmla="*/ 16157 h 42485"/>
                <a:gd name="connsiteX1" fmla="*/ 28903 w 42485"/>
                <a:gd name="connsiteY1" fmla="*/ 23238 h 42485"/>
                <a:gd name="connsiteX2" fmla="*/ 21822 w 42485"/>
                <a:gd name="connsiteY2" fmla="*/ 28903 h 42485"/>
                <a:gd name="connsiteX3" fmla="*/ 16157 w 42485"/>
                <a:gd name="connsiteY3" fmla="*/ 21822 h 42485"/>
                <a:gd name="connsiteX4" fmla="*/ 23238 w 42485"/>
                <a:gd name="connsiteY4" fmla="*/ 16157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6157"/>
                  </a:moveTo>
                  <a:cubicBezTo>
                    <a:pt x="27487" y="16157"/>
                    <a:pt x="28903" y="20406"/>
                    <a:pt x="28903" y="23238"/>
                  </a:cubicBezTo>
                  <a:cubicBezTo>
                    <a:pt x="28903" y="27487"/>
                    <a:pt x="24655" y="30319"/>
                    <a:pt x="21822" y="28903"/>
                  </a:cubicBezTo>
                  <a:cubicBezTo>
                    <a:pt x="17574" y="28903"/>
                    <a:pt x="14741" y="24654"/>
                    <a:pt x="16157" y="21822"/>
                  </a:cubicBezTo>
                  <a:cubicBezTo>
                    <a:pt x="16157" y="17573"/>
                    <a:pt x="20406" y="14741"/>
                    <a:pt x="23238" y="1615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37" name="Freeform: Shape 2436">
              <a:extLst>
                <a:ext uri="{FF2B5EF4-FFF2-40B4-BE49-F238E27FC236}">
                  <a16:creationId xmlns:a16="http://schemas.microsoft.com/office/drawing/2014/main" id="{AEA8F885-3DF8-4792-8488-614C07F3C898}"/>
                </a:ext>
              </a:extLst>
            </p:cNvPr>
            <p:cNvSpPr/>
            <p:nvPr/>
          </p:nvSpPr>
          <p:spPr>
            <a:xfrm>
              <a:off x="6548970" y="2972407"/>
              <a:ext cx="42486" cy="42486"/>
            </a:xfrm>
            <a:custGeom>
              <a:avLst/>
              <a:gdLst>
                <a:gd name="connsiteX0" fmla="*/ 22870 w 42485"/>
                <a:gd name="connsiteY0" fmla="*/ 16157 h 42485"/>
                <a:gd name="connsiteX1" fmla="*/ 28535 w 42485"/>
                <a:gd name="connsiteY1" fmla="*/ 23238 h 42485"/>
                <a:gd name="connsiteX2" fmla="*/ 21454 w 42485"/>
                <a:gd name="connsiteY2" fmla="*/ 28903 h 42485"/>
                <a:gd name="connsiteX3" fmla="*/ 15789 w 42485"/>
                <a:gd name="connsiteY3" fmla="*/ 21822 h 42485"/>
                <a:gd name="connsiteX4" fmla="*/ 22870 w 42485"/>
                <a:gd name="connsiteY4" fmla="*/ 16157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16157"/>
                  </a:moveTo>
                  <a:cubicBezTo>
                    <a:pt x="27118" y="16157"/>
                    <a:pt x="29951" y="20406"/>
                    <a:pt x="28535" y="23238"/>
                  </a:cubicBezTo>
                  <a:cubicBezTo>
                    <a:pt x="28535" y="27487"/>
                    <a:pt x="24286" y="30319"/>
                    <a:pt x="21454" y="28903"/>
                  </a:cubicBezTo>
                  <a:cubicBezTo>
                    <a:pt x="17205" y="28903"/>
                    <a:pt x="15789" y="24655"/>
                    <a:pt x="15789" y="21822"/>
                  </a:cubicBezTo>
                  <a:cubicBezTo>
                    <a:pt x="17205" y="17574"/>
                    <a:pt x="20037" y="14741"/>
                    <a:pt x="22870" y="1615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38" name="Freeform: Shape 2437">
              <a:extLst>
                <a:ext uri="{FF2B5EF4-FFF2-40B4-BE49-F238E27FC236}">
                  <a16:creationId xmlns:a16="http://schemas.microsoft.com/office/drawing/2014/main" id="{DB93927E-663D-461C-B8B6-AE13717DA090}"/>
                </a:ext>
              </a:extLst>
            </p:cNvPr>
            <p:cNvSpPr/>
            <p:nvPr/>
          </p:nvSpPr>
          <p:spPr>
            <a:xfrm>
              <a:off x="6709000" y="2978440"/>
              <a:ext cx="42486" cy="42486"/>
            </a:xfrm>
            <a:custGeom>
              <a:avLst/>
              <a:gdLst>
                <a:gd name="connsiteX0" fmla="*/ 25703 w 42485"/>
                <a:gd name="connsiteY0" fmla="*/ 15789 h 42485"/>
                <a:gd name="connsiteX1" fmla="*/ 34200 w 42485"/>
                <a:gd name="connsiteY1" fmla="*/ 25702 h 42485"/>
                <a:gd name="connsiteX2" fmla="*/ 24286 w 42485"/>
                <a:gd name="connsiteY2" fmla="*/ 34200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31367" y="15789"/>
                    <a:pt x="34200" y="21454"/>
                    <a:pt x="34200" y="25702"/>
                  </a:cubicBezTo>
                  <a:cubicBezTo>
                    <a:pt x="34200" y="31367"/>
                    <a:pt x="28535" y="34200"/>
                    <a:pt x="24286" y="34200"/>
                  </a:cubicBezTo>
                  <a:cubicBezTo>
                    <a:pt x="18622" y="34200"/>
                    <a:pt x="15789" y="28535"/>
                    <a:pt x="15789" y="24286"/>
                  </a:cubicBezTo>
                  <a:cubicBezTo>
                    <a:pt x="17205" y="18621"/>
                    <a:pt x="21454" y="15789"/>
                    <a:pt x="25703"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39" name="Freeform: Shape 2438">
              <a:extLst>
                <a:ext uri="{FF2B5EF4-FFF2-40B4-BE49-F238E27FC236}">
                  <a16:creationId xmlns:a16="http://schemas.microsoft.com/office/drawing/2014/main" id="{F3C98328-BD86-4746-9661-3CF726746AB4}"/>
                </a:ext>
              </a:extLst>
            </p:cNvPr>
            <p:cNvSpPr/>
            <p:nvPr/>
          </p:nvSpPr>
          <p:spPr>
            <a:xfrm>
              <a:off x="6279894" y="3036504"/>
              <a:ext cx="42486" cy="42486"/>
            </a:xfrm>
            <a:custGeom>
              <a:avLst/>
              <a:gdLst>
                <a:gd name="connsiteX0" fmla="*/ 22870 w 42485"/>
                <a:gd name="connsiteY0" fmla="*/ 15789 h 42485"/>
                <a:gd name="connsiteX1" fmla="*/ 28535 w 42485"/>
                <a:gd name="connsiteY1" fmla="*/ 22870 h 42485"/>
                <a:gd name="connsiteX2" fmla="*/ 21454 w 42485"/>
                <a:gd name="connsiteY2" fmla="*/ 28535 h 42485"/>
                <a:gd name="connsiteX3" fmla="*/ 15789 w 42485"/>
                <a:gd name="connsiteY3" fmla="*/ 21454 h 42485"/>
                <a:gd name="connsiteX4" fmla="*/ 22870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15789"/>
                  </a:moveTo>
                  <a:cubicBezTo>
                    <a:pt x="27118" y="15789"/>
                    <a:pt x="29951" y="20038"/>
                    <a:pt x="28535" y="22870"/>
                  </a:cubicBezTo>
                  <a:cubicBezTo>
                    <a:pt x="28535" y="27119"/>
                    <a:pt x="24286" y="29951"/>
                    <a:pt x="21454" y="28535"/>
                  </a:cubicBezTo>
                  <a:cubicBezTo>
                    <a:pt x="17205" y="28535"/>
                    <a:pt x="15789" y="24286"/>
                    <a:pt x="15789" y="21454"/>
                  </a:cubicBezTo>
                  <a:cubicBezTo>
                    <a:pt x="15789" y="18622"/>
                    <a:pt x="18621" y="15789"/>
                    <a:pt x="22870"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40" name="Freeform: Shape 2439">
              <a:extLst>
                <a:ext uri="{FF2B5EF4-FFF2-40B4-BE49-F238E27FC236}">
                  <a16:creationId xmlns:a16="http://schemas.microsoft.com/office/drawing/2014/main" id="{767A7323-A493-421D-A104-C063AE3B4694}"/>
                </a:ext>
              </a:extLst>
            </p:cNvPr>
            <p:cNvSpPr/>
            <p:nvPr/>
          </p:nvSpPr>
          <p:spPr>
            <a:xfrm>
              <a:off x="6742988" y="3078990"/>
              <a:ext cx="113295" cy="113295"/>
            </a:xfrm>
            <a:custGeom>
              <a:avLst/>
              <a:gdLst>
                <a:gd name="connsiteX0" fmla="*/ 56859 w 113295"/>
                <a:gd name="connsiteY0" fmla="*/ 97928 h 113295"/>
                <a:gd name="connsiteX1" fmla="*/ 97928 w 113295"/>
                <a:gd name="connsiteY1" fmla="*/ 56859 h 113295"/>
                <a:gd name="connsiteX2" fmla="*/ 56859 w 113295"/>
                <a:gd name="connsiteY2" fmla="*/ 15789 h 113295"/>
                <a:gd name="connsiteX3" fmla="*/ 15789 w 113295"/>
                <a:gd name="connsiteY3" fmla="*/ 56859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8" y="79518"/>
                    <a:pt x="97928" y="56859"/>
                  </a:cubicBezTo>
                  <a:cubicBezTo>
                    <a:pt x="97928" y="34200"/>
                    <a:pt x="79518" y="15789"/>
                    <a:pt x="56859" y="15789"/>
                  </a:cubicBezTo>
                  <a:cubicBezTo>
                    <a:pt x="34200" y="15789"/>
                    <a:pt x="15789" y="34200"/>
                    <a:pt x="15789" y="56859"/>
                  </a:cubicBezTo>
                  <a:cubicBezTo>
                    <a:pt x="15789" y="79518"/>
                    <a:pt x="34200" y="97928"/>
                    <a:pt x="56859" y="9792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41" name="Freeform: Shape 2440">
              <a:extLst>
                <a:ext uri="{FF2B5EF4-FFF2-40B4-BE49-F238E27FC236}">
                  <a16:creationId xmlns:a16="http://schemas.microsoft.com/office/drawing/2014/main" id="{3F9A85A2-AE97-4D27-8387-B8CBF957C52E}"/>
                </a:ext>
              </a:extLst>
            </p:cNvPr>
            <p:cNvSpPr/>
            <p:nvPr/>
          </p:nvSpPr>
          <p:spPr>
            <a:xfrm>
              <a:off x="6929818" y="3304164"/>
              <a:ext cx="70810" cy="70810"/>
            </a:xfrm>
            <a:custGeom>
              <a:avLst/>
              <a:gdLst>
                <a:gd name="connsiteX0" fmla="*/ 41388 w 70809"/>
                <a:gd name="connsiteY0" fmla="*/ 66772 h 70809"/>
                <a:gd name="connsiteX1" fmla="*/ 66880 w 70809"/>
                <a:gd name="connsiteY1" fmla="*/ 41280 h 70809"/>
                <a:gd name="connsiteX2" fmla="*/ 41388 w 70809"/>
                <a:gd name="connsiteY2" fmla="*/ 15789 h 70809"/>
                <a:gd name="connsiteX3" fmla="*/ 15897 w 70809"/>
                <a:gd name="connsiteY3" fmla="*/ 41280 h 70809"/>
                <a:gd name="connsiteX4" fmla="*/ 41388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388" y="66772"/>
                  </a:moveTo>
                  <a:cubicBezTo>
                    <a:pt x="55550" y="66772"/>
                    <a:pt x="66880" y="55442"/>
                    <a:pt x="66880" y="41280"/>
                  </a:cubicBezTo>
                  <a:cubicBezTo>
                    <a:pt x="66880" y="27119"/>
                    <a:pt x="55550" y="15789"/>
                    <a:pt x="41388" y="15789"/>
                  </a:cubicBezTo>
                  <a:cubicBezTo>
                    <a:pt x="27226" y="15789"/>
                    <a:pt x="15897" y="27119"/>
                    <a:pt x="15897" y="41280"/>
                  </a:cubicBezTo>
                  <a:cubicBezTo>
                    <a:pt x="14481" y="55442"/>
                    <a:pt x="27226" y="66772"/>
                    <a:pt x="41388" y="6677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42" name="Freeform: Shape 2441">
              <a:extLst>
                <a:ext uri="{FF2B5EF4-FFF2-40B4-BE49-F238E27FC236}">
                  <a16:creationId xmlns:a16="http://schemas.microsoft.com/office/drawing/2014/main" id="{C7BFBCC7-E244-42B9-B600-976587934E53}"/>
                </a:ext>
              </a:extLst>
            </p:cNvPr>
            <p:cNvSpPr/>
            <p:nvPr/>
          </p:nvSpPr>
          <p:spPr>
            <a:xfrm>
              <a:off x="6825128" y="3101432"/>
              <a:ext cx="56648" cy="56648"/>
            </a:xfrm>
            <a:custGeom>
              <a:avLst/>
              <a:gdLst>
                <a:gd name="connsiteX0" fmla="*/ 29951 w 56647"/>
                <a:gd name="connsiteY0" fmla="*/ 16006 h 56647"/>
                <a:gd name="connsiteX1" fmla="*/ 42697 w 56647"/>
                <a:gd name="connsiteY1" fmla="*/ 30168 h 56647"/>
                <a:gd name="connsiteX2" fmla="*/ 28535 w 56647"/>
                <a:gd name="connsiteY2" fmla="*/ 42913 h 56647"/>
                <a:gd name="connsiteX3" fmla="*/ 15789 w 56647"/>
                <a:gd name="connsiteY3" fmla="*/ 28752 h 56647"/>
                <a:gd name="connsiteX4" fmla="*/ 29951 w 56647"/>
                <a:gd name="connsiteY4" fmla="*/ 16006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6006"/>
                  </a:moveTo>
                  <a:cubicBezTo>
                    <a:pt x="37032" y="16006"/>
                    <a:pt x="42697" y="23087"/>
                    <a:pt x="42697" y="30168"/>
                  </a:cubicBezTo>
                  <a:cubicBezTo>
                    <a:pt x="42697" y="37249"/>
                    <a:pt x="35616" y="42913"/>
                    <a:pt x="28535" y="42913"/>
                  </a:cubicBezTo>
                  <a:cubicBezTo>
                    <a:pt x="21454" y="42913"/>
                    <a:pt x="15789" y="35832"/>
                    <a:pt x="15789" y="28752"/>
                  </a:cubicBezTo>
                  <a:cubicBezTo>
                    <a:pt x="15789" y="20255"/>
                    <a:pt x="22870" y="14590"/>
                    <a:pt x="29951" y="1600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43" name="Freeform: Shape 2442">
              <a:extLst>
                <a:ext uri="{FF2B5EF4-FFF2-40B4-BE49-F238E27FC236}">
                  <a16:creationId xmlns:a16="http://schemas.microsoft.com/office/drawing/2014/main" id="{CE723A2B-0A83-42FD-A429-5B6795B490A2}"/>
                </a:ext>
              </a:extLst>
            </p:cNvPr>
            <p:cNvSpPr/>
            <p:nvPr/>
          </p:nvSpPr>
          <p:spPr>
            <a:xfrm>
              <a:off x="6779441" y="3529339"/>
              <a:ext cx="42486" cy="42486"/>
            </a:xfrm>
            <a:custGeom>
              <a:avLst/>
              <a:gdLst>
                <a:gd name="connsiteX0" fmla="*/ 23238 w 42485"/>
                <a:gd name="connsiteY0" fmla="*/ 15789 h 42485"/>
                <a:gd name="connsiteX1" fmla="*/ 28903 w 42485"/>
                <a:gd name="connsiteY1" fmla="*/ 22870 h 42485"/>
                <a:gd name="connsiteX2" fmla="*/ 21822 w 42485"/>
                <a:gd name="connsiteY2" fmla="*/ 28535 h 42485"/>
                <a:gd name="connsiteX3" fmla="*/ 16157 w 42485"/>
                <a:gd name="connsiteY3" fmla="*/ 21454 h 42485"/>
                <a:gd name="connsiteX4" fmla="*/ 2323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5789"/>
                  </a:moveTo>
                  <a:cubicBezTo>
                    <a:pt x="27487" y="15789"/>
                    <a:pt x="30319" y="20038"/>
                    <a:pt x="28903" y="22870"/>
                  </a:cubicBezTo>
                  <a:cubicBezTo>
                    <a:pt x="28903" y="27119"/>
                    <a:pt x="24655" y="29951"/>
                    <a:pt x="21822" y="28535"/>
                  </a:cubicBezTo>
                  <a:cubicBezTo>
                    <a:pt x="17574" y="28535"/>
                    <a:pt x="14741" y="24286"/>
                    <a:pt x="16157" y="21454"/>
                  </a:cubicBezTo>
                  <a:cubicBezTo>
                    <a:pt x="16157" y="18621"/>
                    <a:pt x="18990" y="15789"/>
                    <a:pt x="23238"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44" name="Freeform: Shape 2443">
              <a:extLst>
                <a:ext uri="{FF2B5EF4-FFF2-40B4-BE49-F238E27FC236}">
                  <a16:creationId xmlns:a16="http://schemas.microsoft.com/office/drawing/2014/main" id="{C7C3D9EB-C567-4D43-BD98-5CBAA407FA36}"/>
                </a:ext>
              </a:extLst>
            </p:cNvPr>
            <p:cNvSpPr/>
            <p:nvPr/>
          </p:nvSpPr>
          <p:spPr>
            <a:xfrm>
              <a:off x="6885655" y="3410010"/>
              <a:ext cx="42486" cy="42486"/>
            </a:xfrm>
            <a:custGeom>
              <a:avLst/>
              <a:gdLst>
                <a:gd name="connsiteX0" fmla="*/ 23238 w 42485"/>
                <a:gd name="connsiteY0" fmla="*/ 16157 h 42485"/>
                <a:gd name="connsiteX1" fmla="*/ 28903 w 42485"/>
                <a:gd name="connsiteY1" fmla="*/ 23238 h 42485"/>
                <a:gd name="connsiteX2" fmla="*/ 21822 w 42485"/>
                <a:gd name="connsiteY2" fmla="*/ 28903 h 42485"/>
                <a:gd name="connsiteX3" fmla="*/ 16157 w 42485"/>
                <a:gd name="connsiteY3" fmla="*/ 21822 h 42485"/>
                <a:gd name="connsiteX4" fmla="*/ 23238 w 42485"/>
                <a:gd name="connsiteY4" fmla="*/ 16157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6157"/>
                  </a:moveTo>
                  <a:cubicBezTo>
                    <a:pt x="27487" y="16157"/>
                    <a:pt x="30319" y="20406"/>
                    <a:pt x="28903" y="23238"/>
                  </a:cubicBezTo>
                  <a:cubicBezTo>
                    <a:pt x="28903" y="27487"/>
                    <a:pt x="24655" y="30319"/>
                    <a:pt x="21822" y="28903"/>
                  </a:cubicBezTo>
                  <a:cubicBezTo>
                    <a:pt x="17574" y="28903"/>
                    <a:pt x="14741" y="24654"/>
                    <a:pt x="16157" y="21822"/>
                  </a:cubicBezTo>
                  <a:cubicBezTo>
                    <a:pt x="16157" y="17573"/>
                    <a:pt x="18990" y="14741"/>
                    <a:pt x="23238" y="1615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45" name="Freeform: Shape 2444">
              <a:extLst>
                <a:ext uri="{FF2B5EF4-FFF2-40B4-BE49-F238E27FC236}">
                  <a16:creationId xmlns:a16="http://schemas.microsoft.com/office/drawing/2014/main" id="{AF4AB749-13D4-4B52-A680-4D0584AC7296}"/>
                </a:ext>
              </a:extLst>
            </p:cNvPr>
            <p:cNvSpPr/>
            <p:nvPr/>
          </p:nvSpPr>
          <p:spPr>
            <a:xfrm>
              <a:off x="6435675" y="3098817"/>
              <a:ext cx="56648" cy="56648"/>
            </a:xfrm>
            <a:custGeom>
              <a:avLst/>
              <a:gdLst>
                <a:gd name="connsiteX0" fmla="*/ 29951 w 56647"/>
                <a:gd name="connsiteY0" fmla="*/ 15789 h 56647"/>
                <a:gd name="connsiteX1" fmla="*/ 42697 w 56647"/>
                <a:gd name="connsiteY1" fmla="*/ 29951 h 56647"/>
                <a:gd name="connsiteX2" fmla="*/ 28535 w 56647"/>
                <a:gd name="connsiteY2" fmla="*/ 42697 h 56647"/>
                <a:gd name="connsiteX3" fmla="*/ 15789 w 56647"/>
                <a:gd name="connsiteY3" fmla="*/ 28535 h 56647"/>
                <a:gd name="connsiteX4" fmla="*/ 29951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5789"/>
                  </a:moveTo>
                  <a:cubicBezTo>
                    <a:pt x="37032" y="15789"/>
                    <a:pt x="42697" y="22870"/>
                    <a:pt x="42697" y="29951"/>
                  </a:cubicBezTo>
                  <a:cubicBezTo>
                    <a:pt x="42697" y="37032"/>
                    <a:pt x="35616" y="42697"/>
                    <a:pt x="28535" y="42697"/>
                  </a:cubicBezTo>
                  <a:cubicBezTo>
                    <a:pt x="21454" y="42697"/>
                    <a:pt x="15789" y="35616"/>
                    <a:pt x="15789" y="28535"/>
                  </a:cubicBezTo>
                  <a:cubicBezTo>
                    <a:pt x="15789" y="21454"/>
                    <a:pt x="22870" y="15789"/>
                    <a:pt x="29951"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46" name="Freeform: Shape 2445">
              <a:extLst>
                <a:ext uri="{FF2B5EF4-FFF2-40B4-BE49-F238E27FC236}">
                  <a16:creationId xmlns:a16="http://schemas.microsoft.com/office/drawing/2014/main" id="{E963E974-5F0C-4BDF-98AE-0247A2ADE2F8}"/>
                </a:ext>
              </a:extLst>
            </p:cNvPr>
            <p:cNvSpPr/>
            <p:nvPr/>
          </p:nvSpPr>
          <p:spPr>
            <a:xfrm>
              <a:off x="6990822" y="3330801"/>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4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5"/>
                    <a:pt x="31367" y="37303"/>
                    <a:pt x="25703" y="37303"/>
                  </a:cubicBezTo>
                  <a:cubicBezTo>
                    <a:pt x="20038" y="37303"/>
                    <a:pt x="15789" y="31638"/>
                    <a:pt x="15789" y="25974"/>
                  </a:cubicBezTo>
                  <a:cubicBezTo>
                    <a:pt x="15789" y="18893"/>
                    <a:pt x="21454" y="14644"/>
                    <a:pt x="27119" y="1606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47" name="Freeform: Shape 2446">
              <a:extLst>
                <a:ext uri="{FF2B5EF4-FFF2-40B4-BE49-F238E27FC236}">
                  <a16:creationId xmlns:a16="http://schemas.microsoft.com/office/drawing/2014/main" id="{18C21AE3-52D3-4807-8595-C664098FCC0B}"/>
                </a:ext>
              </a:extLst>
            </p:cNvPr>
            <p:cNvSpPr/>
            <p:nvPr/>
          </p:nvSpPr>
          <p:spPr>
            <a:xfrm>
              <a:off x="6316626" y="3638288"/>
              <a:ext cx="99133" cy="99133"/>
            </a:xfrm>
            <a:custGeom>
              <a:avLst/>
              <a:gdLst>
                <a:gd name="connsiteX0" fmla="*/ 55532 w 99133"/>
                <a:gd name="connsiteY0" fmla="*/ 15886 h 99133"/>
                <a:gd name="connsiteX1" fmla="*/ 89520 w 99133"/>
                <a:gd name="connsiteY1" fmla="*/ 55540 h 99133"/>
                <a:gd name="connsiteX2" fmla="*/ 49867 w 99133"/>
                <a:gd name="connsiteY2" fmla="*/ 89528 h 99133"/>
                <a:gd name="connsiteX3" fmla="*/ 15878 w 99133"/>
                <a:gd name="connsiteY3" fmla="*/ 49875 h 99133"/>
                <a:gd name="connsiteX4" fmla="*/ 55532 w 99133"/>
                <a:gd name="connsiteY4" fmla="*/ 15886 h 99133"/>
                <a:gd name="connsiteX5" fmla="*/ 55532 w 99133"/>
                <a:gd name="connsiteY5" fmla="*/ 15886 h 99133"/>
                <a:gd name="connsiteX6" fmla="*/ 54115 w 99133"/>
                <a:gd name="connsiteY6" fmla="*/ 31465 h 99133"/>
                <a:gd name="connsiteX7" fmla="*/ 31456 w 99133"/>
                <a:gd name="connsiteY7" fmla="*/ 49875 h 99133"/>
                <a:gd name="connsiteX8" fmla="*/ 49867 w 99133"/>
                <a:gd name="connsiteY8" fmla="*/ 72534 h 99133"/>
                <a:gd name="connsiteX9" fmla="*/ 72526 w 99133"/>
                <a:gd name="connsiteY9" fmla="*/ 54124 h 99133"/>
                <a:gd name="connsiteX10" fmla="*/ 54115 w 99133"/>
                <a:gd name="connsiteY10" fmla="*/ 31465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55532" y="15886"/>
                  </a:moveTo>
                  <a:cubicBezTo>
                    <a:pt x="75358" y="17303"/>
                    <a:pt x="90936" y="35713"/>
                    <a:pt x="89520" y="55540"/>
                  </a:cubicBezTo>
                  <a:cubicBezTo>
                    <a:pt x="88104" y="75367"/>
                    <a:pt x="69694" y="90945"/>
                    <a:pt x="49867" y="89528"/>
                  </a:cubicBezTo>
                  <a:cubicBezTo>
                    <a:pt x="30040" y="88112"/>
                    <a:pt x="14462" y="69702"/>
                    <a:pt x="15878" y="49875"/>
                  </a:cubicBezTo>
                  <a:cubicBezTo>
                    <a:pt x="17294" y="28632"/>
                    <a:pt x="34289" y="14470"/>
                    <a:pt x="55532" y="15886"/>
                  </a:cubicBezTo>
                  <a:lnTo>
                    <a:pt x="55532" y="15886"/>
                  </a:lnTo>
                  <a:close/>
                  <a:moveTo>
                    <a:pt x="54115" y="31465"/>
                  </a:moveTo>
                  <a:cubicBezTo>
                    <a:pt x="42786" y="30048"/>
                    <a:pt x="32873" y="38545"/>
                    <a:pt x="31456" y="49875"/>
                  </a:cubicBezTo>
                  <a:cubicBezTo>
                    <a:pt x="30040" y="61205"/>
                    <a:pt x="38537" y="71118"/>
                    <a:pt x="49867" y="72534"/>
                  </a:cubicBezTo>
                  <a:cubicBezTo>
                    <a:pt x="61196" y="73950"/>
                    <a:pt x="71110" y="65453"/>
                    <a:pt x="72526" y="54124"/>
                  </a:cubicBezTo>
                  <a:cubicBezTo>
                    <a:pt x="73942" y="42794"/>
                    <a:pt x="65445" y="32881"/>
                    <a:pt x="54115" y="3146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48" name="Freeform: Shape 2447">
              <a:extLst>
                <a:ext uri="{FF2B5EF4-FFF2-40B4-BE49-F238E27FC236}">
                  <a16:creationId xmlns:a16="http://schemas.microsoft.com/office/drawing/2014/main" id="{50EF258E-01F8-4FF9-BB69-709220C05BB8}"/>
                </a:ext>
              </a:extLst>
            </p:cNvPr>
            <p:cNvSpPr/>
            <p:nvPr/>
          </p:nvSpPr>
          <p:spPr>
            <a:xfrm>
              <a:off x="6291042" y="3462778"/>
              <a:ext cx="56648" cy="56648"/>
            </a:xfrm>
            <a:custGeom>
              <a:avLst/>
              <a:gdLst>
                <a:gd name="connsiteX0" fmla="*/ 32965 w 56647"/>
                <a:gd name="connsiteY0" fmla="*/ 15789 h 56647"/>
                <a:gd name="connsiteX1" fmla="*/ 47127 w 56647"/>
                <a:gd name="connsiteY1" fmla="*/ 32783 h 56647"/>
                <a:gd name="connsiteX2" fmla="*/ 30132 w 56647"/>
                <a:gd name="connsiteY2" fmla="*/ 46945 h 56647"/>
                <a:gd name="connsiteX3" fmla="*/ 15970 w 56647"/>
                <a:gd name="connsiteY3" fmla="*/ 29951 h 56647"/>
                <a:gd name="connsiteX4" fmla="*/ 32965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789"/>
                  </a:moveTo>
                  <a:cubicBezTo>
                    <a:pt x="41462" y="17205"/>
                    <a:pt x="48543" y="24286"/>
                    <a:pt x="47127" y="32783"/>
                  </a:cubicBezTo>
                  <a:cubicBezTo>
                    <a:pt x="45710" y="41280"/>
                    <a:pt x="38630" y="48361"/>
                    <a:pt x="30132" y="46945"/>
                  </a:cubicBezTo>
                  <a:cubicBezTo>
                    <a:pt x="21635" y="45529"/>
                    <a:pt x="14554" y="38448"/>
                    <a:pt x="15970" y="29951"/>
                  </a:cubicBezTo>
                  <a:cubicBezTo>
                    <a:pt x="15970" y="22870"/>
                    <a:pt x="24468" y="15789"/>
                    <a:pt x="32965"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49" name="Freeform: Shape 2448">
              <a:extLst>
                <a:ext uri="{FF2B5EF4-FFF2-40B4-BE49-F238E27FC236}">
                  <a16:creationId xmlns:a16="http://schemas.microsoft.com/office/drawing/2014/main" id="{DC707F50-49BC-4981-BB56-50D51D609875}"/>
                </a:ext>
              </a:extLst>
            </p:cNvPr>
            <p:cNvSpPr/>
            <p:nvPr/>
          </p:nvSpPr>
          <p:spPr>
            <a:xfrm>
              <a:off x="6337958" y="3543501"/>
              <a:ext cx="42486" cy="42486"/>
            </a:xfrm>
            <a:custGeom>
              <a:avLst/>
              <a:gdLst>
                <a:gd name="connsiteX0" fmla="*/ 25702 w 42485"/>
                <a:gd name="connsiteY0" fmla="*/ 15789 h 42485"/>
                <a:gd name="connsiteX1" fmla="*/ 34199 w 42485"/>
                <a:gd name="connsiteY1" fmla="*/ 25702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1454"/>
                    <a:pt x="34199" y="25702"/>
                  </a:cubicBezTo>
                  <a:cubicBezTo>
                    <a:pt x="34199" y="31367"/>
                    <a:pt x="28535" y="34200"/>
                    <a:pt x="24286" y="34200"/>
                  </a:cubicBezTo>
                  <a:cubicBezTo>
                    <a:pt x="18621" y="34200"/>
                    <a:pt x="15789" y="29951"/>
                    <a:pt x="15789" y="24286"/>
                  </a:cubicBezTo>
                  <a:cubicBezTo>
                    <a:pt x="17205" y="18621"/>
                    <a:pt x="21454" y="15789"/>
                    <a:pt x="25702"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50" name="Freeform: Shape 2449">
              <a:extLst>
                <a:ext uri="{FF2B5EF4-FFF2-40B4-BE49-F238E27FC236}">
                  <a16:creationId xmlns:a16="http://schemas.microsoft.com/office/drawing/2014/main" id="{D5ED5AB6-9B82-42E3-BDDC-2FFC5ABAA882}"/>
                </a:ext>
              </a:extLst>
            </p:cNvPr>
            <p:cNvSpPr/>
            <p:nvPr/>
          </p:nvSpPr>
          <p:spPr>
            <a:xfrm>
              <a:off x="6435675" y="3527923"/>
              <a:ext cx="42486" cy="42486"/>
            </a:xfrm>
            <a:custGeom>
              <a:avLst/>
              <a:gdLst>
                <a:gd name="connsiteX0" fmla="*/ 25702 w 42485"/>
                <a:gd name="connsiteY0" fmla="*/ 15789 h 42485"/>
                <a:gd name="connsiteX1" fmla="*/ 34199 w 42485"/>
                <a:gd name="connsiteY1" fmla="*/ 25702 h 42485"/>
                <a:gd name="connsiteX2" fmla="*/ 24286 w 42485"/>
                <a:gd name="connsiteY2" fmla="*/ 34199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1454"/>
                    <a:pt x="34199" y="25702"/>
                  </a:cubicBezTo>
                  <a:cubicBezTo>
                    <a:pt x="34199" y="31367"/>
                    <a:pt x="29951" y="34199"/>
                    <a:pt x="24286" y="34199"/>
                  </a:cubicBezTo>
                  <a:cubicBezTo>
                    <a:pt x="18621" y="34199"/>
                    <a:pt x="15789" y="28535"/>
                    <a:pt x="15789" y="24286"/>
                  </a:cubicBezTo>
                  <a:cubicBezTo>
                    <a:pt x="17205" y="20037"/>
                    <a:pt x="21454" y="15789"/>
                    <a:pt x="25702"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51" name="Freeform: Shape 2450">
              <a:extLst>
                <a:ext uri="{FF2B5EF4-FFF2-40B4-BE49-F238E27FC236}">
                  <a16:creationId xmlns:a16="http://schemas.microsoft.com/office/drawing/2014/main" id="{8514EFC5-3D4A-44AB-908D-0AFBA8084052}"/>
                </a:ext>
              </a:extLst>
            </p:cNvPr>
            <p:cNvSpPr/>
            <p:nvPr/>
          </p:nvSpPr>
          <p:spPr>
            <a:xfrm>
              <a:off x="6306694" y="3223334"/>
              <a:ext cx="84971" cy="84971"/>
            </a:xfrm>
            <a:custGeom>
              <a:avLst/>
              <a:gdLst>
                <a:gd name="connsiteX0" fmla="*/ 51301 w 84971"/>
                <a:gd name="connsiteY0" fmla="*/ 15896 h 84971"/>
                <a:gd name="connsiteX1" fmla="*/ 81041 w 84971"/>
                <a:gd name="connsiteY1" fmla="*/ 51301 h 84971"/>
                <a:gd name="connsiteX2" fmla="*/ 45636 w 84971"/>
                <a:gd name="connsiteY2" fmla="*/ 81041 h 84971"/>
                <a:gd name="connsiteX3" fmla="*/ 15896 w 84971"/>
                <a:gd name="connsiteY3" fmla="*/ 45636 h 84971"/>
                <a:gd name="connsiteX4" fmla="*/ 51301 w 84971"/>
                <a:gd name="connsiteY4" fmla="*/ 15896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51301" y="15896"/>
                  </a:moveTo>
                  <a:cubicBezTo>
                    <a:pt x="69711" y="17312"/>
                    <a:pt x="82457" y="32891"/>
                    <a:pt x="81041" y="51301"/>
                  </a:cubicBezTo>
                  <a:cubicBezTo>
                    <a:pt x="79625" y="69711"/>
                    <a:pt x="64047" y="82457"/>
                    <a:pt x="45636" y="81041"/>
                  </a:cubicBezTo>
                  <a:cubicBezTo>
                    <a:pt x="27226" y="79625"/>
                    <a:pt x="14480" y="62630"/>
                    <a:pt x="15896" y="45636"/>
                  </a:cubicBezTo>
                  <a:cubicBezTo>
                    <a:pt x="17313" y="27226"/>
                    <a:pt x="32891" y="14480"/>
                    <a:pt x="51301" y="1589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52" name="Freeform: Shape 2451">
              <a:extLst>
                <a:ext uri="{FF2B5EF4-FFF2-40B4-BE49-F238E27FC236}">
                  <a16:creationId xmlns:a16="http://schemas.microsoft.com/office/drawing/2014/main" id="{AA04E645-2544-4553-9D65-8FBB8446D171}"/>
                </a:ext>
              </a:extLst>
            </p:cNvPr>
            <p:cNvSpPr/>
            <p:nvPr/>
          </p:nvSpPr>
          <p:spPr>
            <a:xfrm>
              <a:off x="6286975" y="3394800"/>
              <a:ext cx="42486" cy="42486"/>
            </a:xfrm>
            <a:custGeom>
              <a:avLst/>
              <a:gdLst>
                <a:gd name="connsiteX0" fmla="*/ 25702 w 42485"/>
                <a:gd name="connsiteY0" fmla="*/ 15789 h 42485"/>
                <a:gd name="connsiteX1" fmla="*/ 34199 w 42485"/>
                <a:gd name="connsiteY1" fmla="*/ 25702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0038"/>
                    <a:pt x="34199" y="25702"/>
                  </a:cubicBezTo>
                  <a:cubicBezTo>
                    <a:pt x="34199" y="31367"/>
                    <a:pt x="29951" y="34200"/>
                    <a:pt x="24286" y="34200"/>
                  </a:cubicBezTo>
                  <a:cubicBezTo>
                    <a:pt x="18621" y="34200"/>
                    <a:pt x="15789" y="28535"/>
                    <a:pt x="15789" y="24286"/>
                  </a:cubicBezTo>
                  <a:cubicBezTo>
                    <a:pt x="15789" y="18621"/>
                    <a:pt x="20037" y="15789"/>
                    <a:pt x="25702"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53" name="Freeform: Shape 2452">
              <a:extLst>
                <a:ext uri="{FF2B5EF4-FFF2-40B4-BE49-F238E27FC236}">
                  <a16:creationId xmlns:a16="http://schemas.microsoft.com/office/drawing/2014/main" id="{696D96A2-AF3B-4FEA-B2E3-E54D59EB5A3C}"/>
                </a:ext>
              </a:extLst>
            </p:cNvPr>
            <p:cNvSpPr/>
            <p:nvPr/>
          </p:nvSpPr>
          <p:spPr>
            <a:xfrm>
              <a:off x="6670763" y="3387445"/>
              <a:ext cx="42486" cy="42486"/>
            </a:xfrm>
            <a:custGeom>
              <a:avLst/>
              <a:gdLst>
                <a:gd name="connsiteX0" fmla="*/ 25702 w 42485"/>
                <a:gd name="connsiteY0" fmla="*/ 16063 h 42485"/>
                <a:gd name="connsiteX1" fmla="*/ 34199 w 42485"/>
                <a:gd name="connsiteY1" fmla="*/ 25977 h 42485"/>
                <a:gd name="connsiteX2" fmla="*/ 24286 w 42485"/>
                <a:gd name="connsiteY2" fmla="*/ 34474 h 42485"/>
                <a:gd name="connsiteX3" fmla="*/ 15789 w 42485"/>
                <a:gd name="connsiteY3" fmla="*/ 24561 h 42485"/>
                <a:gd name="connsiteX4" fmla="*/ 25702 w 42485"/>
                <a:gd name="connsiteY4" fmla="*/ 1606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6063"/>
                  </a:moveTo>
                  <a:cubicBezTo>
                    <a:pt x="31367" y="16063"/>
                    <a:pt x="34199" y="20312"/>
                    <a:pt x="34199" y="25977"/>
                  </a:cubicBezTo>
                  <a:cubicBezTo>
                    <a:pt x="34199" y="31642"/>
                    <a:pt x="28535" y="34474"/>
                    <a:pt x="24286" y="34474"/>
                  </a:cubicBezTo>
                  <a:cubicBezTo>
                    <a:pt x="18621" y="34474"/>
                    <a:pt x="15789" y="28809"/>
                    <a:pt x="15789" y="24561"/>
                  </a:cubicBezTo>
                  <a:cubicBezTo>
                    <a:pt x="15789" y="18896"/>
                    <a:pt x="20037" y="14647"/>
                    <a:pt x="25702" y="1606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54" name="Freeform: Shape 2453">
              <a:extLst>
                <a:ext uri="{FF2B5EF4-FFF2-40B4-BE49-F238E27FC236}">
                  <a16:creationId xmlns:a16="http://schemas.microsoft.com/office/drawing/2014/main" id="{3AD8DF53-3EA7-46B8-9812-71715C4DA024}"/>
                </a:ext>
              </a:extLst>
            </p:cNvPr>
            <p:cNvSpPr/>
            <p:nvPr/>
          </p:nvSpPr>
          <p:spPr>
            <a:xfrm>
              <a:off x="6970995" y="3624223"/>
              <a:ext cx="42486" cy="42486"/>
            </a:xfrm>
            <a:custGeom>
              <a:avLst/>
              <a:gdLst>
                <a:gd name="connsiteX0" fmla="*/ 22870 w 42485"/>
                <a:gd name="connsiteY0" fmla="*/ 15789 h 42485"/>
                <a:gd name="connsiteX1" fmla="*/ 28535 w 42485"/>
                <a:gd name="connsiteY1" fmla="*/ 22870 h 42485"/>
                <a:gd name="connsiteX2" fmla="*/ 21454 w 42485"/>
                <a:gd name="connsiteY2" fmla="*/ 28535 h 42485"/>
                <a:gd name="connsiteX3" fmla="*/ 15789 w 42485"/>
                <a:gd name="connsiteY3" fmla="*/ 21454 h 42485"/>
                <a:gd name="connsiteX4" fmla="*/ 22870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15789"/>
                  </a:moveTo>
                  <a:cubicBezTo>
                    <a:pt x="27119" y="15789"/>
                    <a:pt x="28535" y="20038"/>
                    <a:pt x="28535" y="22870"/>
                  </a:cubicBezTo>
                  <a:cubicBezTo>
                    <a:pt x="28535" y="27119"/>
                    <a:pt x="24286" y="29951"/>
                    <a:pt x="21454" y="28535"/>
                  </a:cubicBezTo>
                  <a:cubicBezTo>
                    <a:pt x="17205" y="28535"/>
                    <a:pt x="15789" y="24286"/>
                    <a:pt x="15789" y="21454"/>
                  </a:cubicBezTo>
                  <a:cubicBezTo>
                    <a:pt x="15789" y="18622"/>
                    <a:pt x="20038" y="15789"/>
                    <a:pt x="22870"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55" name="Freeform: Shape 2454">
              <a:extLst>
                <a:ext uri="{FF2B5EF4-FFF2-40B4-BE49-F238E27FC236}">
                  <a16:creationId xmlns:a16="http://schemas.microsoft.com/office/drawing/2014/main" id="{6EF64B33-9A94-41A2-969A-4B6891EF322D}"/>
                </a:ext>
              </a:extLst>
            </p:cNvPr>
            <p:cNvSpPr/>
            <p:nvPr/>
          </p:nvSpPr>
          <p:spPr>
            <a:xfrm>
              <a:off x="6909945" y="3458394"/>
              <a:ext cx="70810" cy="70810"/>
            </a:xfrm>
            <a:custGeom>
              <a:avLst/>
              <a:gdLst>
                <a:gd name="connsiteX0" fmla="*/ 40018 w 70809"/>
                <a:gd name="connsiteY0" fmla="*/ 15924 h 70809"/>
                <a:gd name="connsiteX1" fmla="*/ 59845 w 70809"/>
                <a:gd name="connsiteY1" fmla="*/ 39999 h 70809"/>
                <a:gd name="connsiteX2" fmla="*/ 35769 w 70809"/>
                <a:gd name="connsiteY2" fmla="*/ 59826 h 70809"/>
                <a:gd name="connsiteX3" fmla="*/ 15943 w 70809"/>
                <a:gd name="connsiteY3" fmla="*/ 35751 h 70809"/>
                <a:gd name="connsiteX4" fmla="*/ 40018 w 70809"/>
                <a:gd name="connsiteY4" fmla="*/ 1592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24"/>
                  </a:moveTo>
                  <a:cubicBezTo>
                    <a:pt x="52764" y="17341"/>
                    <a:pt x="61261" y="27254"/>
                    <a:pt x="59845" y="39999"/>
                  </a:cubicBezTo>
                  <a:cubicBezTo>
                    <a:pt x="58429" y="52745"/>
                    <a:pt x="48515" y="61242"/>
                    <a:pt x="35769" y="59826"/>
                  </a:cubicBezTo>
                  <a:cubicBezTo>
                    <a:pt x="23024" y="58410"/>
                    <a:pt x="14527" y="48497"/>
                    <a:pt x="15943" y="35751"/>
                  </a:cubicBezTo>
                  <a:cubicBezTo>
                    <a:pt x="15943" y="24422"/>
                    <a:pt x="27272" y="14508"/>
                    <a:pt x="40018" y="1592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56" name="Freeform: Shape 2455">
              <a:extLst>
                <a:ext uri="{FF2B5EF4-FFF2-40B4-BE49-F238E27FC236}">
                  <a16:creationId xmlns:a16="http://schemas.microsoft.com/office/drawing/2014/main" id="{0CA0D8B3-1E6E-4ECD-8A3D-9047A09B924C}"/>
                </a:ext>
              </a:extLst>
            </p:cNvPr>
            <p:cNvSpPr/>
            <p:nvPr/>
          </p:nvSpPr>
          <p:spPr>
            <a:xfrm>
              <a:off x="6591456" y="3465610"/>
              <a:ext cx="42486" cy="42486"/>
            </a:xfrm>
            <a:custGeom>
              <a:avLst/>
              <a:gdLst>
                <a:gd name="connsiteX0" fmla="*/ 27118 w 42485"/>
                <a:gd name="connsiteY0" fmla="*/ 15789 h 42485"/>
                <a:gd name="connsiteX1" fmla="*/ 37032 w 42485"/>
                <a:gd name="connsiteY1" fmla="*/ 27119 h 42485"/>
                <a:gd name="connsiteX2" fmla="*/ 25702 w 42485"/>
                <a:gd name="connsiteY2" fmla="*/ 37032 h 42485"/>
                <a:gd name="connsiteX3" fmla="*/ 15789 w 42485"/>
                <a:gd name="connsiteY3" fmla="*/ 25702 h 42485"/>
                <a:gd name="connsiteX4" fmla="*/ 2711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5789"/>
                  </a:moveTo>
                  <a:cubicBezTo>
                    <a:pt x="32783" y="15789"/>
                    <a:pt x="37032" y="21454"/>
                    <a:pt x="37032" y="27119"/>
                  </a:cubicBezTo>
                  <a:cubicBezTo>
                    <a:pt x="37032" y="32783"/>
                    <a:pt x="31367" y="37032"/>
                    <a:pt x="25702" y="37032"/>
                  </a:cubicBezTo>
                  <a:cubicBezTo>
                    <a:pt x="20037" y="37032"/>
                    <a:pt x="15789" y="31367"/>
                    <a:pt x="15789" y="25702"/>
                  </a:cubicBezTo>
                  <a:cubicBezTo>
                    <a:pt x="15789" y="20038"/>
                    <a:pt x="21454" y="15789"/>
                    <a:pt x="27118"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57" name="Freeform: Shape 2456">
              <a:extLst>
                <a:ext uri="{FF2B5EF4-FFF2-40B4-BE49-F238E27FC236}">
                  <a16:creationId xmlns:a16="http://schemas.microsoft.com/office/drawing/2014/main" id="{179AFDA7-34B1-430B-A159-B402AE9F6C71}"/>
                </a:ext>
              </a:extLst>
            </p:cNvPr>
            <p:cNvSpPr/>
            <p:nvPr/>
          </p:nvSpPr>
          <p:spPr>
            <a:xfrm>
              <a:off x="6580126" y="3273008"/>
              <a:ext cx="42486" cy="42486"/>
            </a:xfrm>
            <a:custGeom>
              <a:avLst/>
              <a:gdLst>
                <a:gd name="connsiteX0" fmla="*/ 27119 w 42485"/>
                <a:gd name="connsiteY0" fmla="*/ 15789 h 42485"/>
                <a:gd name="connsiteX1" fmla="*/ 37032 w 42485"/>
                <a:gd name="connsiteY1" fmla="*/ 27118 h 42485"/>
                <a:gd name="connsiteX2" fmla="*/ 25703 w 42485"/>
                <a:gd name="connsiteY2" fmla="*/ 37032 h 42485"/>
                <a:gd name="connsiteX3" fmla="*/ 15789 w 42485"/>
                <a:gd name="connsiteY3" fmla="*/ 25702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8"/>
                  </a:cubicBezTo>
                  <a:cubicBezTo>
                    <a:pt x="37032" y="32783"/>
                    <a:pt x="31367" y="37032"/>
                    <a:pt x="25703" y="37032"/>
                  </a:cubicBezTo>
                  <a:cubicBezTo>
                    <a:pt x="20038" y="37032"/>
                    <a:pt x="15789" y="31367"/>
                    <a:pt x="15789" y="25702"/>
                  </a:cubicBezTo>
                  <a:cubicBezTo>
                    <a:pt x="15789" y="20037"/>
                    <a:pt x="21454" y="15789"/>
                    <a:pt x="27119"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58" name="Freeform: Shape 2457">
              <a:extLst>
                <a:ext uri="{FF2B5EF4-FFF2-40B4-BE49-F238E27FC236}">
                  <a16:creationId xmlns:a16="http://schemas.microsoft.com/office/drawing/2014/main" id="{FF5AA576-6A14-457E-A34C-5B494F1B6297}"/>
                </a:ext>
              </a:extLst>
            </p:cNvPr>
            <p:cNvSpPr/>
            <p:nvPr/>
          </p:nvSpPr>
          <p:spPr>
            <a:xfrm>
              <a:off x="6228911" y="3173875"/>
              <a:ext cx="42486" cy="42486"/>
            </a:xfrm>
            <a:custGeom>
              <a:avLst/>
              <a:gdLst>
                <a:gd name="connsiteX0" fmla="*/ 25703 w 42485"/>
                <a:gd name="connsiteY0" fmla="*/ 15789 h 42485"/>
                <a:gd name="connsiteX1" fmla="*/ 34199 w 42485"/>
                <a:gd name="connsiteY1" fmla="*/ 25702 h 42485"/>
                <a:gd name="connsiteX2" fmla="*/ 24286 w 42485"/>
                <a:gd name="connsiteY2" fmla="*/ 34199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29951" y="15789"/>
                    <a:pt x="34199" y="20037"/>
                    <a:pt x="34199" y="25702"/>
                  </a:cubicBezTo>
                  <a:cubicBezTo>
                    <a:pt x="34199" y="29951"/>
                    <a:pt x="29951" y="34199"/>
                    <a:pt x="24286" y="34199"/>
                  </a:cubicBezTo>
                  <a:cubicBezTo>
                    <a:pt x="20037" y="34199"/>
                    <a:pt x="15789" y="29951"/>
                    <a:pt x="15789" y="24286"/>
                  </a:cubicBezTo>
                  <a:cubicBezTo>
                    <a:pt x="15789" y="18621"/>
                    <a:pt x="20037" y="15789"/>
                    <a:pt x="25703"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59" name="Freeform: Shape 2458">
              <a:extLst>
                <a:ext uri="{FF2B5EF4-FFF2-40B4-BE49-F238E27FC236}">
                  <a16:creationId xmlns:a16="http://schemas.microsoft.com/office/drawing/2014/main" id="{ADFBC57B-0A51-41D4-A836-780B4019C802}"/>
                </a:ext>
              </a:extLst>
            </p:cNvPr>
            <p:cNvSpPr/>
            <p:nvPr/>
          </p:nvSpPr>
          <p:spPr>
            <a:xfrm>
              <a:off x="5730412" y="3431253"/>
              <a:ext cx="42486" cy="42486"/>
            </a:xfrm>
            <a:custGeom>
              <a:avLst/>
              <a:gdLst>
                <a:gd name="connsiteX0" fmla="*/ 22870 w 42485"/>
                <a:gd name="connsiteY0" fmla="*/ 16157 h 42485"/>
                <a:gd name="connsiteX1" fmla="*/ 28535 w 42485"/>
                <a:gd name="connsiteY1" fmla="*/ 23238 h 42485"/>
                <a:gd name="connsiteX2" fmla="*/ 21454 w 42485"/>
                <a:gd name="connsiteY2" fmla="*/ 28903 h 42485"/>
                <a:gd name="connsiteX3" fmla="*/ 15789 w 42485"/>
                <a:gd name="connsiteY3" fmla="*/ 21822 h 42485"/>
                <a:gd name="connsiteX4" fmla="*/ 22870 w 42485"/>
                <a:gd name="connsiteY4" fmla="*/ 16157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16157"/>
                  </a:moveTo>
                  <a:cubicBezTo>
                    <a:pt x="27119" y="16157"/>
                    <a:pt x="28535" y="20406"/>
                    <a:pt x="28535" y="23238"/>
                  </a:cubicBezTo>
                  <a:cubicBezTo>
                    <a:pt x="28535" y="27487"/>
                    <a:pt x="24286" y="30319"/>
                    <a:pt x="21454" y="28903"/>
                  </a:cubicBezTo>
                  <a:cubicBezTo>
                    <a:pt x="17205" y="28903"/>
                    <a:pt x="15789" y="24654"/>
                    <a:pt x="15789" y="21822"/>
                  </a:cubicBezTo>
                  <a:cubicBezTo>
                    <a:pt x="15789" y="17573"/>
                    <a:pt x="18622" y="14741"/>
                    <a:pt x="22870" y="1615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60" name="Freeform: Shape 2459">
              <a:extLst>
                <a:ext uri="{FF2B5EF4-FFF2-40B4-BE49-F238E27FC236}">
                  <a16:creationId xmlns:a16="http://schemas.microsoft.com/office/drawing/2014/main" id="{8FAB6C16-E157-4BED-8D71-477DAB0E6059}"/>
                </a:ext>
              </a:extLst>
            </p:cNvPr>
            <p:cNvSpPr/>
            <p:nvPr/>
          </p:nvSpPr>
          <p:spPr>
            <a:xfrm>
              <a:off x="6140739" y="3479404"/>
              <a:ext cx="42486" cy="42486"/>
            </a:xfrm>
            <a:custGeom>
              <a:avLst/>
              <a:gdLst>
                <a:gd name="connsiteX0" fmla="*/ 23238 w 42485"/>
                <a:gd name="connsiteY0" fmla="*/ 16157 h 42485"/>
                <a:gd name="connsiteX1" fmla="*/ 28903 w 42485"/>
                <a:gd name="connsiteY1" fmla="*/ 23238 h 42485"/>
                <a:gd name="connsiteX2" fmla="*/ 21822 w 42485"/>
                <a:gd name="connsiteY2" fmla="*/ 28903 h 42485"/>
                <a:gd name="connsiteX3" fmla="*/ 16157 w 42485"/>
                <a:gd name="connsiteY3" fmla="*/ 21822 h 42485"/>
                <a:gd name="connsiteX4" fmla="*/ 23238 w 42485"/>
                <a:gd name="connsiteY4" fmla="*/ 16157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6157"/>
                  </a:moveTo>
                  <a:cubicBezTo>
                    <a:pt x="27487" y="16157"/>
                    <a:pt x="28903" y="20406"/>
                    <a:pt x="28903" y="23238"/>
                  </a:cubicBezTo>
                  <a:cubicBezTo>
                    <a:pt x="28903" y="27487"/>
                    <a:pt x="24655" y="30319"/>
                    <a:pt x="21822" y="28903"/>
                  </a:cubicBezTo>
                  <a:cubicBezTo>
                    <a:pt x="17574" y="28903"/>
                    <a:pt x="14741" y="24655"/>
                    <a:pt x="16157" y="21822"/>
                  </a:cubicBezTo>
                  <a:cubicBezTo>
                    <a:pt x="16157" y="17574"/>
                    <a:pt x="18990" y="14741"/>
                    <a:pt x="23238" y="1615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61" name="Freeform: Shape 2460">
              <a:extLst>
                <a:ext uri="{FF2B5EF4-FFF2-40B4-BE49-F238E27FC236}">
                  <a16:creationId xmlns:a16="http://schemas.microsoft.com/office/drawing/2014/main" id="{6B9ECF32-D77D-4AB6-B345-5C22E2227AC2}"/>
                </a:ext>
              </a:extLst>
            </p:cNvPr>
            <p:cNvSpPr/>
            <p:nvPr/>
          </p:nvSpPr>
          <p:spPr>
            <a:xfrm>
              <a:off x="6586839" y="3367893"/>
              <a:ext cx="42486" cy="42486"/>
            </a:xfrm>
            <a:custGeom>
              <a:avLst/>
              <a:gdLst>
                <a:gd name="connsiteX0" fmla="*/ 23238 w 42485"/>
                <a:gd name="connsiteY0" fmla="*/ 15789 h 42485"/>
                <a:gd name="connsiteX1" fmla="*/ 28903 w 42485"/>
                <a:gd name="connsiteY1" fmla="*/ 22870 h 42485"/>
                <a:gd name="connsiteX2" fmla="*/ 21822 w 42485"/>
                <a:gd name="connsiteY2" fmla="*/ 28535 h 42485"/>
                <a:gd name="connsiteX3" fmla="*/ 16157 w 42485"/>
                <a:gd name="connsiteY3" fmla="*/ 21454 h 42485"/>
                <a:gd name="connsiteX4" fmla="*/ 2323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5789"/>
                  </a:moveTo>
                  <a:cubicBezTo>
                    <a:pt x="27487" y="15789"/>
                    <a:pt x="28903" y="20038"/>
                    <a:pt x="28903" y="22870"/>
                  </a:cubicBezTo>
                  <a:cubicBezTo>
                    <a:pt x="28903" y="27119"/>
                    <a:pt x="24655" y="29951"/>
                    <a:pt x="21822" y="28535"/>
                  </a:cubicBezTo>
                  <a:cubicBezTo>
                    <a:pt x="17574" y="28535"/>
                    <a:pt x="14741" y="24286"/>
                    <a:pt x="16157" y="21454"/>
                  </a:cubicBezTo>
                  <a:cubicBezTo>
                    <a:pt x="17574" y="18621"/>
                    <a:pt x="20406" y="15789"/>
                    <a:pt x="23238"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62" name="Freeform: Shape 2461">
              <a:extLst>
                <a:ext uri="{FF2B5EF4-FFF2-40B4-BE49-F238E27FC236}">
                  <a16:creationId xmlns:a16="http://schemas.microsoft.com/office/drawing/2014/main" id="{41012BAF-FD5A-473E-98AD-622F2065A8F4}"/>
                </a:ext>
              </a:extLst>
            </p:cNvPr>
            <p:cNvSpPr/>
            <p:nvPr/>
          </p:nvSpPr>
          <p:spPr>
            <a:xfrm>
              <a:off x="4005491" y="3995266"/>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29" y="55442"/>
                    <a:pt x="55442" y="46945"/>
                    <a:pt x="55442" y="35616"/>
                  </a:cubicBezTo>
                  <a:cubicBezTo>
                    <a:pt x="55442" y="25702"/>
                    <a:pt x="46945" y="15789"/>
                    <a:pt x="35616" y="15789"/>
                  </a:cubicBezTo>
                  <a:cubicBezTo>
                    <a:pt x="25702" y="15789"/>
                    <a:pt x="15789" y="24286"/>
                    <a:pt x="15789" y="35616"/>
                  </a:cubicBezTo>
                  <a:cubicBezTo>
                    <a:pt x="15789" y="46945"/>
                    <a:pt x="25702" y="55442"/>
                    <a:pt x="35616"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63" name="Freeform: Shape 2462">
              <a:extLst>
                <a:ext uri="{FF2B5EF4-FFF2-40B4-BE49-F238E27FC236}">
                  <a16:creationId xmlns:a16="http://schemas.microsoft.com/office/drawing/2014/main" id="{E23534B4-7759-496E-AE57-DCB5A1AC2759}"/>
                </a:ext>
              </a:extLst>
            </p:cNvPr>
            <p:cNvSpPr/>
            <p:nvPr/>
          </p:nvSpPr>
          <p:spPr>
            <a:xfrm>
              <a:off x="3346962" y="4216191"/>
              <a:ext cx="113295" cy="113295"/>
            </a:xfrm>
            <a:custGeom>
              <a:avLst/>
              <a:gdLst>
                <a:gd name="connsiteX0" fmla="*/ 56858 w 113295"/>
                <a:gd name="connsiteY0" fmla="*/ 97928 h 113295"/>
                <a:gd name="connsiteX1" fmla="*/ 97928 w 113295"/>
                <a:gd name="connsiteY1" fmla="*/ 56858 h 113295"/>
                <a:gd name="connsiteX2" fmla="*/ 56858 w 113295"/>
                <a:gd name="connsiteY2" fmla="*/ 15789 h 113295"/>
                <a:gd name="connsiteX3" fmla="*/ 15789 w 113295"/>
                <a:gd name="connsiteY3" fmla="*/ 56858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8"/>
                  </a:cubicBezTo>
                  <a:cubicBezTo>
                    <a:pt x="97928" y="34199"/>
                    <a:pt x="79518" y="15789"/>
                    <a:pt x="56858" y="15789"/>
                  </a:cubicBezTo>
                  <a:cubicBezTo>
                    <a:pt x="34200" y="15789"/>
                    <a:pt x="15789" y="34199"/>
                    <a:pt x="15789" y="56858"/>
                  </a:cubicBezTo>
                  <a:cubicBezTo>
                    <a:pt x="15789" y="79518"/>
                    <a:pt x="34200" y="97928"/>
                    <a:pt x="56858" y="9792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64" name="Freeform: Shape 2463">
              <a:extLst>
                <a:ext uri="{FF2B5EF4-FFF2-40B4-BE49-F238E27FC236}">
                  <a16:creationId xmlns:a16="http://schemas.microsoft.com/office/drawing/2014/main" id="{A36DB1C8-C68D-4C2E-8BF2-B7EF88C37309}"/>
                </a:ext>
              </a:extLst>
            </p:cNvPr>
            <p:cNvSpPr/>
            <p:nvPr/>
          </p:nvSpPr>
          <p:spPr>
            <a:xfrm>
              <a:off x="3759460" y="5558517"/>
              <a:ext cx="113295" cy="113295"/>
            </a:xfrm>
            <a:custGeom>
              <a:avLst/>
              <a:gdLst>
                <a:gd name="connsiteX0" fmla="*/ 73467 w 113295"/>
                <a:gd name="connsiteY0" fmla="*/ 18844 h 113295"/>
                <a:gd name="connsiteX1" fmla="*/ 94709 w 113295"/>
                <a:gd name="connsiteY1" fmla="*/ 72659 h 113295"/>
                <a:gd name="connsiteX2" fmla="*/ 40894 w 113295"/>
                <a:gd name="connsiteY2" fmla="*/ 93902 h 113295"/>
                <a:gd name="connsiteX3" fmla="*/ 19651 w 113295"/>
                <a:gd name="connsiteY3" fmla="*/ 40087 h 113295"/>
                <a:gd name="connsiteX4" fmla="*/ 73467 w 113295"/>
                <a:gd name="connsiteY4" fmla="*/ 18844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73467" y="18844"/>
                  </a:moveTo>
                  <a:cubicBezTo>
                    <a:pt x="94709" y="27341"/>
                    <a:pt x="104623" y="51416"/>
                    <a:pt x="94709" y="72659"/>
                  </a:cubicBezTo>
                  <a:cubicBezTo>
                    <a:pt x="86212" y="93902"/>
                    <a:pt x="62137" y="103816"/>
                    <a:pt x="40894" y="93902"/>
                  </a:cubicBezTo>
                  <a:cubicBezTo>
                    <a:pt x="19651" y="85405"/>
                    <a:pt x="9738" y="61330"/>
                    <a:pt x="19651" y="40087"/>
                  </a:cubicBezTo>
                  <a:cubicBezTo>
                    <a:pt x="28148" y="20260"/>
                    <a:pt x="52224" y="10347"/>
                    <a:pt x="73467" y="1884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65" name="Freeform: Shape 2464">
              <a:extLst>
                <a:ext uri="{FF2B5EF4-FFF2-40B4-BE49-F238E27FC236}">
                  <a16:creationId xmlns:a16="http://schemas.microsoft.com/office/drawing/2014/main" id="{92ED4CCF-DF3F-418E-A749-8FEE3523DE7E}"/>
                </a:ext>
              </a:extLst>
            </p:cNvPr>
            <p:cNvSpPr/>
            <p:nvPr/>
          </p:nvSpPr>
          <p:spPr>
            <a:xfrm>
              <a:off x="3933265" y="4240266"/>
              <a:ext cx="70810" cy="70810"/>
            </a:xfrm>
            <a:custGeom>
              <a:avLst/>
              <a:gdLst>
                <a:gd name="connsiteX0" fmla="*/ 35616 w 70809"/>
                <a:gd name="connsiteY0" fmla="*/ 55443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3"/>
                  </a:moveTo>
                  <a:cubicBezTo>
                    <a:pt x="46945" y="55443"/>
                    <a:pt x="55442" y="46945"/>
                    <a:pt x="55442" y="35616"/>
                  </a:cubicBezTo>
                  <a:cubicBezTo>
                    <a:pt x="55442" y="24286"/>
                    <a:pt x="46945" y="15789"/>
                    <a:pt x="35616" y="15789"/>
                  </a:cubicBezTo>
                  <a:cubicBezTo>
                    <a:pt x="24286" y="15789"/>
                    <a:pt x="15789" y="24286"/>
                    <a:pt x="15789" y="35616"/>
                  </a:cubicBezTo>
                  <a:cubicBezTo>
                    <a:pt x="17205" y="45529"/>
                    <a:pt x="25703" y="55443"/>
                    <a:pt x="35616" y="5544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66" name="Freeform: Shape 2465">
              <a:extLst>
                <a:ext uri="{FF2B5EF4-FFF2-40B4-BE49-F238E27FC236}">
                  <a16:creationId xmlns:a16="http://schemas.microsoft.com/office/drawing/2014/main" id="{C1791FDA-E4CA-4DDB-AEF8-77B9E2A23B21}"/>
                </a:ext>
              </a:extLst>
            </p:cNvPr>
            <p:cNvSpPr/>
            <p:nvPr/>
          </p:nvSpPr>
          <p:spPr>
            <a:xfrm>
              <a:off x="3892195" y="4827986"/>
              <a:ext cx="70810" cy="70810"/>
            </a:xfrm>
            <a:custGeom>
              <a:avLst/>
              <a:gdLst>
                <a:gd name="connsiteX0" fmla="*/ 35616 w 70809"/>
                <a:gd name="connsiteY0" fmla="*/ 55443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3"/>
                  </a:moveTo>
                  <a:cubicBezTo>
                    <a:pt x="46945" y="55443"/>
                    <a:pt x="55442" y="46945"/>
                    <a:pt x="55442" y="35616"/>
                  </a:cubicBezTo>
                  <a:cubicBezTo>
                    <a:pt x="55442" y="24286"/>
                    <a:pt x="46945" y="15789"/>
                    <a:pt x="35616" y="15789"/>
                  </a:cubicBezTo>
                  <a:cubicBezTo>
                    <a:pt x="24286" y="15789"/>
                    <a:pt x="15789" y="24286"/>
                    <a:pt x="15789" y="35616"/>
                  </a:cubicBezTo>
                  <a:cubicBezTo>
                    <a:pt x="15789" y="45529"/>
                    <a:pt x="24286" y="55443"/>
                    <a:pt x="35616" y="5544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67" name="Freeform: Shape 2466">
              <a:extLst>
                <a:ext uri="{FF2B5EF4-FFF2-40B4-BE49-F238E27FC236}">
                  <a16:creationId xmlns:a16="http://schemas.microsoft.com/office/drawing/2014/main" id="{55E6F51E-F422-4BF6-92C5-03B328C145DC}"/>
                </a:ext>
              </a:extLst>
            </p:cNvPr>
            <p:cNvSpPr/>
            <p:nvPr/>
          </p:nvSpPr>
          <p:spPr>
            <a:xfrm>
              <a:off x="3539564" y="4003763"/>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5789" y="46945"/>
                    <a:pt x="25702" y="55442"/>
                    <a:pt x="35616"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68" name="Freeform: Shape 2467">
              <a:extLst>
                <a:ext uri="{FF2B5EF4-FFF2-40B4-BE49-F238E27FC236}">
                  <a16:creationId xmlns:a16="http://schemas.microsoft.com/office/drawing/2014/main" id="{754D7880-25D7-49C0-BF70-142C8F3298B2}"/>
                </a:ext>
              </a:extLst>
            </p:cNvPr>
            <p:cNvSpPr/>
            <p:nvPr/>
          </p:nvSpPr>
          <p:spPr>
            <a:xfrm>
              <a:off x="4045144" y="4619806"/>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5789" y="45529"/>
                    <a:pt x="24286" y="55442"/>
                    <a:pt x="35616"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69" name="Freeform: Shape 2468">
              <a:extLst>
                <a:ext uri="{FF2B5EF4-FFF2-40B4-BE49-F238E27FC236}">
                  <a16:creationId xmlns:a16="http://schemas.microsoft.com/office/drawing/2014/main" id="{6B27782E-96C8-4C84-8F2D-3879066F78B7}"/>
                </a:ext>
              </a:extLst>
            </p:cNvPr>
            <p:cNvSpPr/>
            <p:nvPr/>
          </p:nvSpPr>
          <p:spPr>
            <a:xfrm>
              <a:off x="4021069" y="4757176"/>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8"/>
                    <a:pt x="31367" y="15789"/>
                    <a:pt x="25702" y="15789"/>
                  </a:cubicBezTo>
                  <a:cubicBezTo>
                    <a:pt x="20037" y="15789"/>
                    <a:pt x="15789" y="20038"/>
                    <a:pt x="15789" y="25703"/>
                  </a:cubicBezTo>
                  <a:cubicBezTo>
                    <a:pt x="17205" y="31367"/>
                    <a:pt x="21454" y="35616"/>
                    <a:pt x="25702"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70" name="Freeform: Shape 2469">
              <a:extLst>
                <a:ext uri="{FF2B5EF4-FFF2-40B4-BE49-F238E27FC236}">
                  <a16:creationId xmlns:a16="http://schemas.microsoft.com/office/drawing/2014/main" id="{83A76179-75DA-4173-AD6C-ECE2F081002F}"/>
                </a:ext>
              </a:extLst>
            </p:cNvPr>
            <p:cNvSpPr/>
            <p:nvPr/>
          </p:nvSpPr>
          <p:spPr>
            <a:xfrm>
              <a:off x="3710923" y="4380469"/>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8"/>
                    <a:pt x="31367" y="15789"/>
                    <a:pt x="25702" y="15789"/>
                  </a:cubicBezTo>
                  <a:cubicBezTo>
                    <a:pt x="20038" y="15789"/>
                    <a:pt x="15789" y="20038"/>
                    <a:pt x="15789" y="25703"/>
                  </a:cubicBezTo>
                  <a:cubicBezTo>
                    <a:pt x="17205" y="31367"/>
                    <a:pt x="21454" y="35616"/>
                    <a:pt x="25702"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71" name="Freeform: Shape 2470">
              <a:extLst>
                <a:ext uri="{FF2B5EF4-FFF2-40B4-BE49-F238E27FC236}">
                  <a16:creationId xmlns:a16="http://schemas.microsoft.com/office/drawing/2014/main" id="{D2502C24-18A3-4D8B-9D09-7D4A6273FD15}"/>
                </a:ext>
              </a:extLst>
            </p:cNvPr>
            <p:cNvSpPr/>
            <p:nvPr/>
          </p:nvSpPr>
          <p:spPr>
            <a:xfrm>
              <a:off x="4539395" y="4912957"/>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8"/>
                    <a:pt x="31367" y="15789"/>
                    <a:pt x="25702" y="15789"/>
                  </a:cubicBezTo>
                  <a:cubicBezTo>
                    <a:pt x="20037" y="15789"/>
                    <a:pt x="15789" y="20038"/>
                    <a:pt x="15789" y="25703"/>
                  </a:cubicBezTo>
                  <a:cubicBezTo>
                    <a:pt x="15789" y="31367"/>
                    <a:pt x="20037" y="35616"/>
                    <a:pt x="25702"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72" name="Freeform: Shape 2471">
              <a:extLst>
                <a:ext uri="{FF2B5EF4-FFF2-40B4-BE49-F238E27FC236}">
                  <a16:creationId xmlns:a16="http://schemas.microsoft.com/office/drawing/2014/main" id="{202A1917-08C6-4545-B825-53CA5C2B85B1}"/>
                </a:ext>
              </a:extLst>
            </p:cNvPr>
            <p:cNvSpPr/>
            <p:nvPr/>
          </p:nvSpPr>
          <p:spPr>
            <a:xfrm>
              <a:off x="4174017" y="4890298"/>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8" y="15789"/>
                    <a:pt x="15789" y="20038"/>
                    <a:pt x="15789" y="25703"/>
                  </a:cubicBezTo>
                  <a:cubicBezTo>
                    <a:pt x="15789" y="31367"/>
                    <a:pt x="20038"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73" name="Freeform: Shape 2472">
              <a:extLst>
                <a:ext uri="{FF2B5EF4-FFF2-40B4-BE49-F238E27FC236}">
                  <a16:creationId xmlns:a16="http://schemas.microsoft.com/office/drawing/2014/main" id="{21D2C0A3-6237-4015-83B0-61171C809FF4}"/>
                </a:ext>
              </a:extLst>
            </p:cNvPr>
            <p:cNvSpPr/>
            <p:nvPr/>
          </p:nvSpPr>
          <p:spPr>
            <a:xfrm>
              <a:off x="4317053" y="5019171"/>
              <a:ext cx="70810" cy="70810"/>
            </a:xfrm>
            <a:custGeom>
              <a:avLst/>
              <a:gdLst>
                <a:gd name="connsiteX0" fmla="*/ 66772 w 70809"/>
                <a:gd name="connsiteY0" fmla="*/ 41281 h 70809"/>
                <a:gd name="connsiteX1" fmla="*/ 41280 w 70809"/>
                <a:gd name="connsiteY1" fmla="*/ 66772 h 70809"/>
                <a:gd name="connsiteX2" fmla="*/ 15789 w 70809"/>
                <a:gd name="connsiteY2" fmla="*/ 41281 h 70809"/>
                <a:gd name="connsiteX3" fmla="*/ 41280 w 70809"/>
                <a:gd name="connsiteY3" fmla="*/ 15789 h 70809"/>
                <a:gd name="connsiteX4" fmla="*/ 66772 w 70809"/>
                <a:gd name="connsiteY4" fmla="*/ 41281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6772" y="41281"/>
                  </a:moveTo>
                  <a:cubicBezTo>
                    <a:pt x="66772" y="55359"/>
                    <a:pt x="55359" y="66772"/>
                    <a:pt x="41280" y="66772"/>
                  </a:cubicBezTo>
                  <a:cubicBezTo>
                    <a:pt x="27202" y="66772"/>
                    <a:pt x="15789" y="55359"/>
                    <a:pt x="15789" y="41281"/>
                  </a:cubicBezTo>
                  <a:cubicBezTo>
                    <a:pt x="15789" y="27202"/>
                    <a:pt x="27202" y="15789"/>
                    <a:pt x="41280" y="15789"/>
                  </a:cubicBezTo>
                  <a:cubicBezTo>
                    <a:pt x="55359" y="15789"/>
                    <a:pt x="66772" y="27202"/>
                    <a:pt x="66772" y="4128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74" name="Freeform: Shape 2473">
              <a:extLst>
                <a:ext uri="{FF2B5EF4-FFF2-40B4-BE49-F238E27FC236}">
                  <a16:creationId xmlns:a16="http://schemas.microsoft.com/office/drawing/2014/main" id="{D5714680-6551-4DBB-BD2E-5F34C7970BAF}"/>
                </a:ext>
              </a:extLst>
            </p:cNvPr>
            <p:cNvSpPr/>
            <p:nvPr/>
          </p:nvSpPr>
          <p:spPr>
            <a:xfrm>
              <a:off x="3806666" y="5773246"/>
              <a:ext cx="70810" cy="70810"/>
            </a:xfrm>
            <a:custGeom>
              <a:avLst/>
              <a:gdLst>
                <a:gd name="connsiteX0" fmla="*/ 51752 w 70809"/>
                <a:gd name="connsiteY0" fmla="*/ 17960 h 70809"/>
                <a:gd name="connsiteX1" fmla="*/ 65914 w 70809"/>
                <a:gd name="connsiteY1" fmla="*/ 51949 h 70809"/>
                <a:gd name="connsiteX2" fmla="*/ 31925 w 70809"/>
                <a:gd name="connsiteY2" fmla="*/ 66111 h 70809"/>
                <a:gd name="connsiteX3" fmla="*/ 17763 w 70809"/>
                <a:gd name="connsiteY3" fmla="*/ 32122 h 70809"/>
                <a:gd name="connsiteX4" fmla="*/ 51752 w 70809"/>
                <a:gd name="connsiteY4" fmla="*/ 1796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51752" y="17960"/>
                  </a:moveTo>
                  <a:cubicBezTo>
                    <a:pt x="64497" y="23625"/>
                    <a:pt x="71578" y="39203"/>
                    <a:pt x="65914" y="51949"/>
                  </a:cubicBezTo>
                  <a:cubicBezTo>
                    <a:pt x="60249" y="64694"/>
                    <a:pt x="44671" y="71775"/>
                    <a:pt x="31925" y="66111"/>
                  </a:cubicBezTo>
                  <a:cubicBezTo>
                    <a:pt x="19179" y="60445"/>
                    <a:pt x="12098" y="44868"/>
                    <a:pt x="17763" y="32122"/>
                  </a:cubicBezTo>
                  <a:cubicBezTo>
                    <a:pt x="23428" y="17960"/>
                    <a:pt x="37590" y="12295"/>
                    <a:pt x="51752" y="1796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75" name="Freeform: Shape 2474">
              <a:extLst>
                <a:ext uri="{FF2B5EF4-FFF2-40B4-BE49-F238E27FC236}">
                  <a16:creationId xmlns:a16="http://schemas.microsoft.com/office/drawing/2014/main" id="{AC575745-FB4B-4B15-AD88-BE702A49D622}"/>
                </a:ext>
              </a:extLst>
            </p:cNvPr>
            <p:cNvSpPr/>
            <p:nvPr/>
          </p:nvSpPr>
          <p:spPr>
            <a:xfrm>
              <a:off x="4346793" y="4370556"/>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8"/>
                    <a:pt x="55442" y="15789"/>
                    <a:pt x="41280" y="15789"/>
                  </a:cubicBezTo>
                  <a:cubicBezTo>
                    <a:pt x="27118" y="15789"/>
                    <a:pt x="15789" y="27118"/>
                    <a:pt x="15789" y="41280"/>
                  </a:cubicBezTo>
                  <a:cubicBezTo>
                    <a:pt x="15789" y="54026"/>
                    <a:pt x="27118" y="66772"/>
                    <a:pt x="41280" y="6677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76" name="Freeform: Shape 2475">
              <a:extLst>
                <a:ext uri="{FF2B5EF4-FFF2-40B4-BE49-F238E27FC236}">
                  <a16:creationId xmlns:a16="http://schemas.microsoft.com/office/drawing/2014/main" id="{EC68C2F7-50E4-4FF3-A60F-12AA51A90855}"/>
                </a:ext>
              </a:extLst>
            </p:cNvPr>
            <p:cNvSpPr/>
            <p:nvPr/>
          </p:nvSpPr>
          <p:spPr>
            <a:xfrm>
              <a:off x="3992545" y="5356025"/>
              <a:ext cx="70810" cy="70810"/>
            </a:xfrm>
            <a:custGeom>
              <a:avLst/>
              <a:gdLst>
                <a:gd name="connsiteX0" fmla="*/ 44313 w 70809"/>
                <a:gd name="connsiteY0" fmla="*/ 17405 h 70809"/>
                <a:gd name="connsiteX1" fmla="*/ 55642 w 70809"/>
                <a:gd name="connsiteY1" fmla="*/ 44313 h 70809"/>
                <a:gd name="connsiteX2" fmla="*/ 28735 w 70809"/>
                <a:gd name="connsiteY2" fmla="*/ 55642 h 70809"/>
                <a:gd name="connsiteX3" fmla="*/ 17405 w 70809"/>
                <a:gd name="connsiteY3" fmla="*/ 28735 h 70809"/>
                <a:gd name="connsiteX4" fmla="*/ 44313 w 70809"/>
                <a:gd name="connsiteY4" fmla="*/ 17405 h 70809"/>
                <a:gd name="connsiteX5" fmla="*/ 44313 w 70809"/>
                <a:gd name="connsiteY5" fmla="*/ 17405 h 70809"/>
                <a:gd name="connsiteX6" fmla="*/ 40064 w 70809"/>
                <a:gd name="connsiteY6" fmla="*/ 25902 h 70809"/>
                <a:gd name="connsiteX7" fmla="*/ 24486 w 70809"/>
                <a:gd name="connsiteY7" fmla="*/ 31567 h 70809"/>
                <a:gd name="connsiteX8" fmla="*/ 30151 w 70809"/>
                <a:gd name="connsiteY8" fmla="*/ 47145 h 70809"/>
                <a:gd name="connsiteX9" fmla="*/ 45729 w 70809"/>
                <a:gd name="connsiteY9" fmla="*/ 41480 h 70809"/>
                <a:gd name="connsiteX10" fmla="*/ 40064 w 70809"/>
                <a:gd name="connsiteY10" fmla="*/ 25902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313" y="17405"/>
                  </a:moveTo>
                  <a:cubicBezTo>
                    <a:pt x="55642" y="21654"/>
                    <a:pt x="59891" y="34399"/>
                    <a:pt x="55642" y="44313"/>
                  </a:cubicBezTo>
                  <a:cubicBezTo>
                    <a:pt x="51394" y="55642"/>
                    <a:pt x="38648" y="59891"/>
                    <a:pt x="28735" y="55642"/>
                  </a:cubicBezTo>
                  <a:cubicBezTo>
                    <a:pt x="17405" y="51394"/>
                    <a:pt x="13156" y="38648"/>
                    <a:pt x="17405" y="28735"/>
                  </a:cubicBezTo>
                  <a:cubicBezTo>
                    <a:pt x="21654" y="17405"/>
                    <a:pt x="32983" y="13157"/>
                    <a:pt x="44313" y="17405"/>
                  </a:cubicBezTo>
                  <a:lnTo>
                    <a:pt x="44313" y="17405"/>
                  </a:lnTo>
                  <a:close/>
                  <a:moveTo>
                    <a:pt x="40064" y="25902"/>
                  </a:moveTo>
                  <a:cubicBezTo>
                    <a:pt x="34399" y="23070"/>
                    <a:pt x="27318" y="25902"/>
                    <a:pt x="24486" y="31567"/>
                  </a:cubicBezTo>
                  <a:cubicBezTo>
                    <a:pt x="21654" y="37232"/>
                    <a:pt x="24486" y="44313"/>
                    <a:pt x="30151" y="47145"/>
                  </a:cubicBezTo>
                  <a:cubicBezTo>
                    <a:pt x="35816" y="49978"/>
                    <a:pt x="42897" y="47145"/>
                    <a:pt x="45729" y="41480"/>
                  </a:cubicBezTo>
                  <a:cubicBezTo>
                    <a:pt x="49978" y="34399"/>
                    <a:pt x="47145" y="28735"/>
                    <a:pt x="40064" y="2590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77" name="Freeform: Shape 2476">
              <a:extLst>
                <a:ext uri="{FF2B5EF4-FFF2-40B4-BE49-F238E27FC236}">
                  <a16:creationId xmlns:a16="http://schemas.microsoft.com/office/drawing/2014/main" id="{F5137850-29CB-403B-A1E4-74C9DA841F22}"/>
                </a:ext>
              </a:extLst>
            </p:cNvPr>
            <p:cNvSpPr/>
            <p:nvPr/>
          </p:nvSpPr>
          <p:spPr>
            <a:xfrm>
              <a:off x="3548061" y="4261509"/>
              <a:ext cx="70810" cy="70810"/>
            </a:xfrm>
            <a:custGeom>
              <a:avLst/>
              <a:gdLst>
                <a:gd name="connsiteX0" fmla="*/ 35616 w 70809"/>
                <a:gd name="connsiteY0" fmla="*/ 55443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3"/>
                  </a:moveTo>
                  <a:cubicBezTo>
                    <a:pt x="46945" y="55443"/>
                    <a:pt x="55442" y="46945"/>
                    <a:pt x="55442" y="35616"/>
                  </a:cubicBezTo>
                  <a:cubicBezTo>
                    <a:pt x="55442" y="24286"/>
                    <a:pt x="46945" y="15789"/>
                    <a:pt x="35616" y="15789"/>
                  </a:cubicBezTo>
                  <a:cubicBezTo>
                    <a:pt x="24286" y="15789"/>
                    <a:pt x="15789" y="24286"/>
                    <a:pt x="15789" y="35616"/>
                  </a:cubicBezTo>
                  <a:cubicBezTo>
                    <a:pt x="15789" y="46945"/>
                    <a:pt x="25702" y="55443"/>
                    <a:pt x="35616" y="5544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78" name="Freeform: Shape 2477">
              <a:extLst>
                <a:ext uri="{FF2B5EF4-FFF2-40B4-BE49-F238E27FC236}">
                  <a16:creationId xmlns:a16="http://schemas.microsoft.com/office/drawing/2014/main" id="{316EB968-C7A3-4A40-87B8-892DDA517A7B}"/>
                </a:ext>
              </a:extLst>
            </p:cNvPr>
            <p:cNvSpPr/>
            <p:nvPr/>
          </p:nvSpPr>
          <p:spPr>
            <a:xfrm>
              <a:off x="3858072" y="4629719"/>
              <a:ext cx="70810" cy="70810"/>
            </a:xfrm>
            <a:custGeom>
              <a:avLst/>
              <a:gdLst>
                <a:gd name="connsiteX0" fmla="*/ 35751 w 70809"/>
                <a:gd name="connsiteY0" fmla="*/ 55443 h 70809"/>
                <a:gd name="connsiteX1" fmla="*/ 55578 w 70809"/>
                <a:gd name="connsiteY1" fmla="*/ 35616 h 70809"/>
                <a:gd name="connsiteX2" fmla="*/ 35751 w 70809"/>
                <a:gd name="connsiteY2" fmla="*/ 15789 h 70809"/>
                <a:gd name="connsiteX3" fmla="*/ 15924 w 70809"/>
                <a:gd name="connsiteY3" fmla="*/ 35616 h 70809"/>
                <a:gd name="connsiteX4" fmla="*/ 35751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751" y="55443"/>
                  </a:moveTo>
                  <a:cubicBezTo>
                    <a:pt x="47080" y="55443"/>
                    <a:pt x="55578" y="46945"/>
                    <a:pt x="55578" y="35616"/>
                  </a:cubicBezTo>
                  <a:cubicBezTo>
                    <a:pt x="55578" y="24286"/>
                    <a:pt x="47080" y="15789"/>
                    <a:pt x="35751" y="15789"/>
                  </a:cubicBezTo>
                  <a:cubicBezTo>
                    <a:pt x="24421" y="15789"/>
                    <a:pt x="15924" y="24286"/>
                    <a:pt x="15924" y="35616"/>
                  </a:cubicBezTo>
                  <a:cubicBezTo>
                    <a:pt x="14508" y="45529"/>
                    <a:pt x="24421" y="55443"/>
                    <a:pt x="35751" y="5544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79" name="Freeform: Shape 2478">
              <a:extLst>
                <a:ext uri="{FF2B5EF4-FFF2-40B4-BE49-F238E27FC236}">
                  <a16:creationId xmlns:a16="http://schemas.microsoft.com/office/drawing/2014/main" id="{0F0CE4F7-7D9F-4096-8E25-771BE229193C}"/>
                </a:ext>
              </a:extLst>
            </p:cNvPr>
            <p:cNvSpPr/>
            <p:nvPr/>
          </p:nvSpPr>
          <p:spPr>
            <a:xfrm>
              <a:off x="4420435" y="4373388"/>
              <a:ext cx="84971" cy="84971"/>
            </a:xfrm>
            <a:custGeom>
              <a:avLst/>
              <a:gdLst>
                <a:gd name="connsiteX0" fmla="*/ 45529 w 84971"/>
                <a:gd name="connsiteY0" fmla="*/ 75269 h 84971"/>
                <a:gd name="connsiteX1" fmla="*/ 75269 w 84971"/>
                <a:gd name="connsiteY1" fmla="*/ 45529 h 84971"/>
                <a:gd name="connsiteX2" fmla="*/ 45529 w 84971"/>
                <a:gd name="connsiteY2" fmla="*/ 15789 h 84971"/>
                <a:gd name="connsiteX3" fmla="*/ 15789 w 84971"/>
                <a:gd name="connsiteY3" fmla="*/ 45529 h 84971"/>
                <a:gd name="connsiteX4" fmla="*/ 45529 w 84971"/>
                <a:gd name="connsiteY4" fmla="*/ 7526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529" y="75269"/>
                  </a:moveTo>
                  <a:cubicBezTo>
                    <a:pt x="61107" y="75269"/>
                    <a:pt x="75269" y="62524"/>
                    <a:pt x="75269" y="45529"/>
                  </a:cubicBezTo>
                  <a:cubicBezTo>
                    <a:pt x="75269" y="29951"/>
                    <a:pt x="62523" y="15789"/>
                    <a:pt x="45529" y="15789"/>
                  </a:cubicBezTo>
                  <a:cubicBezTo>
                    <a:pt x="29951" y="15789"/>
                    <a:pt x="15789" y="28535"/>
                    <a:pt x="15789" y="45529"/>
                  </a:cubicBezTo>
                  <a:cubicBezTo>
                    <a:pt x="15789" y="62524"/>
                    <a:pt x="29951" y="75269"/>
                    <a:pt x="45529" y="7526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80" name="Freeform: Shape 2479">
              <a:extLst>
                <a:ext uri="{FF2B5EF4-FFF2-40B4-BE49-F238E27FC236}">
                  <a16:creationId xmlns:a16="http://schemas.microsoft.com/office/drawing/2014/main" id="{E3D76AA2-471A-4645-BF58-65095295C516}"/>
                </a:ext>
              </a:extLst>
            </p:cNvPr>
            <p:cNvSpPr/>
            <p:nvPr/>
          </p:nvSpPr>
          <p:spPr>
            <a:xfrm>
              <a:off x="4567719" y="4731685"/>
              <a:ext cx="84971" cy="84971"/>
            </a:xfrm>
            <a:custGeom>
              <a:avLst/>
              <a:gdLst>
                <a:gd name="connsiteX0" fmla="*/ 75269 w 84971"/>
                <a:gd name="connsiteY0" fmla="*/ 45529 h 84971"/>
                <a:gd name="connsiteX1" fmla="*/ 45529 w 84971"/>
                <a:gd name="connsiteY1" fmla="*/ 75269 h 84971"/>
                <a:gd name="connsiteX2" fmla="*/ 15789 w 84971"/>
                <a:gd name="connsiteY2" fmla="*/ 45529 h 84971"/>
                <a:gd name="connsiteX3" fmla="*/ 45529 w 84971"/>
                <a:gd name="connsiteY3" fmla="*/ 15789 h 84971"/>
                <a:gd name="connsiteX4" fmla="*/ 75269 w 84971"/>
                <a:gd name="connsiteY4" fmla="*/ 4552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75269" y="45529"/>
                  </a:moveTo>
                  <a:cubicBezTo>
                    <a:pt x="75269" y="61954"/>
                    <a:pt x="61954" y="75269"/>
                    <a:pt x="45529" y="75269"/>
                  </a:cubicBezTo>
                  <a:cubicBezTo>
                    <a:pt x="29104" y="75269"/>
                    <a:pt x="15789" y="61954"/>
                    <a:pt x="15789" y="45529"/>
                  </a:cubicBezTo>
                  <a:cubicBezTo>
                    <a:pt x="15789" y="29104"/>
                    <a:pt x="29104" y="15789"/>
                    <a:pt x="45529" y="15789"/>
                  </a:cubicBezTo>
                  <a:cubicBezTo>
                    <a:pt x="61954" y="15789"/>
                    <a:pt x="75269" y="29104"/>
                    <a:pt x="75269" y="4552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81" name="Freeform: Shape 2480">
              <a:extLst>
                <a:ext uri="{FF2B5EF4-FFF2-40B4-BE49-F238E27FC236}">
                  <a16:creationId xmlns:a16="http://schemas.microsoft.com/office/drawing/2014/main" id="{475318D0-E907-4196-81F7-2EC4E32E2101}"/>
                </a:ext>
              </a:extLst>
            </p:cNvPr>
            <p:cNvSpPr/>
            <p:nvPr/>
          </p:nvSpPr>
          <p:spPr>
            <a:xfrm>
              <a:off x="4292823" y="4755760"/>
              <a:ext cx="56648" cy="56648"/>
            </a:xfrm>
            <a:custGeom>
              <a:avLst/>
              <a:gdLst>
                <a:gd name="connsiteX0" fmla="*/ 32938 w 56647"/>
                <a:gd name="connsiteY0" fmla="*/ 49778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8"/>
                  </a:moveTo>
                  <a:cubicBezTo>
                    <a:pt x="42852" y="49778"/>
                    <a:pt x="49933" y="41281"/>
                    <a:pt x="49933" y="32783"/>
                  </a:cubicBezTo>
                  <a:cubicBezTo>
                    <a:pt x="49933" y="22870"/>
                    <a:pt x="41435" y="15789"/>
                    <a:pt x="32938" y="15789"/>
                  </a:cubicBezTo>
                  <a:cubicBezTo>
                    <a:pt x="23025" y="15789"/>
                    <a:pt x="15944" y="24286"/>
                    <a:pt x="15944" y="32783"/>
                  </a:cubicBezTo>
                  <a:cubicBezTo>
                    <a:pt x="14528" y="41281"/>
                    <a:pt x="23025" y="49778"/>
                    <a:pt x="32938" y="4977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82" name="Freeform: Shape 2481">
              <a:extLst>
                <a:ext uri="{FF2B5EF4-FFF2-40B4-BE49-F238E27FC236}">
                  <a16:creationId xmlns:a16="http://schemas.microsoft.com/office/drawing/2014/main" id="{A1C77EED-75A5-47AD-9F59-5821FC43CA5E}"/>
                </a:ext>
              </a:extLst>
            </p:cNvPr>
            <p:cNvSpPr/>
            <p:nvPr/>
          </p:nvSpPr>
          <p:spPr>
            <a:xfrm>
              <a:off x="4237746" y="4442782"/>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1280"/>
                    <a:pt x="49778" y="32783"/>
                  </a:cubicBezTo>
                  <a:cubicBezTo>
                    <a:pt x="49778" y="22870"/>
                    <a:pt x="41280" y="15789"/>
                    <a:pt x="32783" y="15789"/>
                  </a:cubicBezTo>
                  <a:cubicBezTo>
                    <a:pt x="22870" y="15789"/>
                    <a:pt x="15789" y="24286"/>
                    <a:pt x="15789" y="32783"/>
                  </a:cubicBezTo>
                  <a:cubicBezTo>
                    <a:pt x="15789" y="41280"/>
                    <a:pt x="22870" y="49777"/>
                    <a:pt x="32783"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83" name="Freeform: Shape 2482">
              <a:extLst>
                <a:ext uri="{FF2B5EF4-FFF2-40B4-BE49-F238E27FC236}">
                  <a16:creationId xmlns:a16="http://schemas.microsoft.com/office/drawing/2014/main" id="{DBA26219-7C51-4A60-A514-4999BDE6EAF7}"/>
                </a:ext>
              </a:extLst>
            </p:cNvPr>
            <p:cNvSpPr/>
            <p:nvPr/>
          </p:nvSpPr>
          <p:spPr>
            <a:xfrm>
              <a:off x="3362540" y="4524921"/>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1280"/>
                    <a:pt x="49778" y="32783"/>
                  </a:cubicBezTo>
                  <a:cubicBezTo>
                    <a:pt x="49778" y="22870"/>
                    <a:pt x="41280" y="15789"/>
                    <a:pt x="32783" y="15789"/>
                  </a:cubicBezTo>
                  <a:cubicBezTo>
                    <a:pt x="22870" y="15789"/>
                    <a:pt x="15789" y="24286"/>
                    <a:pt x="15789" y="32783"/>
                  </a:cubicBezTo>
                  <a:cubicBezTo>
                    <a:pt x="15789" y="41280"/>
                    <a:pt x="24286" y="49777"/>
                    <a:pt x="32783"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84" name="Freeform: Shape 2483">
              <a:extLst>
                <a:ext uri="{FF2B5EF4-FFF2-40B4-BE49-F238E27FC236}">
                  <a16:creationId xmlns:a16="http://schemas.microsoft.com/office/drawing/2014/main" id="{F9A91A0C-7D06-4786-B305-6D0D3B9F2D75}"/>
                </a:ext>
              </a:extLst>
            </p:cNvPr>
            <p:cNvSpPr/>
            <p:nvPr/>
          </p:nvSpPr>
          <p:spPr>
            <a:xfrm>
              <a:off x="3904067" y="5460149"/>
              <a:ext cx="56648" cy="56648"/>
            </a:xfrm>
            <a:custGeom>
              <a:avLst/>
              <a:gdLst>
                <a:gd name="connsiteX0" fmla="*/ 39322 w 56647"/>
                <a:gd name="connsiteY0" fmla="*/ 16663 h 56647"/>
                <a:gd name="connsiteX1" fmla="*/ 49235 w 56647"/>
                <a:gd name="connsiteY1" fmla="*/ 39322 h 56647"/>
                <a:gd name="connsiteX2" fmla="*/ 26576 w 56647"/>
                <a:gd name="connsiteY2" fmla="*/ 49235 h 56647"/>
                <a:gd name="connsiteX3" fmla="*/ 16663 w 56647"/>
                <a:gd name="connsiteY3" fmla="*/ 26576 h 56647"/>
                <a:gd name="connsiteX4" fmla="*/ 39322 w 56647"/>
                <a:gd name="connsiteY4" fmla="*/ 1666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9322" y="16663"/>
                  </a:moveTo>
                  <a:cubicBezTo>
                    <a:pt x="47819" y="20911"/>
                    <a:pt x="52068" y="30825"/>
                    <a:pt x="49235" y="39322"/>
                  </a:cubicBezTo>
                  <a:cubicBezTo>
                    <a:pt x="44987" y="47819"/>
                    <a:pt x="35073" y="52068"/>
                    <a:pt x="26576" y="49235"/>
                  </a:cubicBezTo>
                  <a:cubicBezTo>
                    <a:pt x="18079" y="44987"/>
                    <a:pt x="13830" y="35073"/>
                    <a:pt x="16663" y="26576"/>
                  </a:cubicBezTo>
                  <a:cubicBezTo>
                    <a:pt x="19495" y="18079"/>
                    <a:pt x="29409" y="13830"/>
                    <a:pt x="39322" y="1666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85" name="Freeform: Shape 2484">
              <a:extLst>
                <a:ext uri="{FF2B5EF4-FFF2-40B4-BE49-F238E27FC236}">
                  <a16:creationId xmlns:a16="http://schemas.microsoft.com/office/drawing/2014/main" id="{0687A263-B7A8-4CF0-9DDB-8D46D5D9FD49}"/>
                </a:ext>
              </a:extLst>
            </p:cNvPr>
            <p:cNvSpPr/>
            <p:nvPr/>
          </p:nvSpPr>
          <p:spPr>
            <a:xfrm>
              <a:off x="4375117" y="4548996"/>
              <a:ext cx="84971" cy="84971"/>
            </a:xfrm>
            <a:custGeom>
              <a:avLst/>
              <a:gdLst>
                <a:gd name="connsiteX0" fmla="*/ 45529 w 84971"/>
                <a:gd name="connsiteY0" fmla="*/ 15789 h 84971"/>
                <a:gd name="connsiteX1" fmla="*/ 75269 w 84971"/>
                <a:gd name="connsiteY1" fmla="*/ 45529 h 84971"/>
                <a:gd name="connsiteX2" fmla="*/ 45529 w 84971"/>
                <a:gd name="connsiteY2" fmla="*/ 75269 h 84971"/>
                <a:gd name="connsiteX3" fmla="*/ 15789 w 84971"/>
                <a:gd name="connsiteY3" fmla="*/ 45529 h 84971"/>
                <a:gd name="connsiteX4" fmla="*/ 45529 w 84971"/>
                <a:gd name="connsiteY4" fmla="*/ 15789 h 84971"/>
                <a:gd name="connsiteX5" fmla="*/ 45529 w 84971"/>
                <a:gd name="connsiteY5" fmla="*/ 15789 h 84971"/>
                <a:gd name="connsiteX6" fmla="*/ 45529 w 84971"/>
                <a:gd name="connsiteY6" fmla="*/ 28535 h 84971"/>
                <a:gd name="connsiteX7" fmla="*/ 28535 w 84971"/>
                <a:gd name="connsiteY7" fmla="*/ 45529 h 84971"/>
                <a:gd name="connsiteX8" fmla="*/ 45529 w 84971"/>
                <a:gd name="connsiteY8" fmla="*/ 62523 h 84971"/>
                <a:gd name="connsiteX9" fmla="*/ 62523 w 84971"/>
                <a:gd name="connsiteY9" fmla="*/ 45529 h 84971"/>
                <a:gd name="connsiteX10" fmla="*/ 45529 w 84971"/>
                <a:gd name="connsiteY10" fmla="*/ 28535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5529" y="15789"/>
                  </a:moveTo>
                  <a:cubicBezTo>
                    <a:pt x="62523" y="15789"/>
                    <a:pt x="75269" y="29951"/>
                    <a:pt x="75269" y="45529"/>
                  </a:cubicBezTo>
                  <a:cubicBezTo>
                    <a:pt x="75269" y="61107"/>
                    <a:pt x="62523" y="75269"/>
                    <a:pt x="45529" y="75269"/>
                  </a:cubicBezTo>
                  <a:cubicBezTo>
                    <a:pt x="28535" y="75269"/>
                    <a:pt x="15789" y="62523"/>
                    <a:pt x="15789" y="45529"/>
                  </a:cubicBezTo>
                  <a:cubicBezTo>
                    <a:pt x="15789" y="28535"/>
                    <a:pt x="28535" y="15789"/>
                    <a:pt x="45529" y="15789"/>
                  </a:cubicBezTo>
                  <a:lnTo>
                    <a:pt x="45529" y="15789"/>
                  </a:lnTo>
                  <a:close/>
                  <a:moveTo>
                    <a:pt x="45529" y="28535"/>
                  </a:moveTo>
                  <a:cubicBezTo>
                    <a:pt x="35616" y="28535"/>
                    <a:pt x="28535" y="35616"/>
                    <a:pt x="28535" y="45529"/>
                  </a:cubicBezTo>
                  <a:cubicBezTo>
                    <a:pt x="28535" y="55442"/>
                    <a:pt x="35616" y="62523"/>
                    <a:pt x="45529" y="62523"/>
                  </a:cubicBezTo>
                  <a:cubicBezTo>
                    <a:pt x="55442" y="62523"/>
                    <a:pt x="62523" y="55442"/>
                    <a:pt x="62523" y="45529"/>
                  </a:cubicBezTo>
                  <a:cubicBezTo>
                    <a:pt x="62523" y="37032"/>
                    <a:pt x="54026" y="28535"/>
                    <a:pt x="45529" y="2853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86" name="Freeform: Shape 2485">
              <a:extLst>
                <a:ext uri="{FF2B5EF4-FFF2-40B4-BE49-F238E27FC236}">
                  <a16:creationId xmlns:a16="http://schemas.microsoft.com/office/drawing/2014/main" id="{9204CA9F-3564-4967-8B5F-15BF54CD086F}"/>
                </a:ext>
              </a:extLst>
            </p:cNvPr>
            <p:cNvSpPr/>
            <p:nvPr/>
          </p:nvSpPr>
          <p:spPr>
            <a:xfrm>
              <a:off x="4598655" y="4602811"/>
              <a:ext cx="42486" cy="42486"/>
            </a:xfrm>
            <a:custGeom>
              <a:avLst/>
              <a:gdLst>
                <a:gd name="connsiteX0" fmla="*/ 25923 w 42485"/>
                <a:gd name="connsiteY0" fmla="*/ 35616 h 42485"/>
                <a:gd name="connsiteX1" fmla="*/ 35836 w 42485"/>
                <a:gd name="connsiteY1" fmla="*/ 25703 h 42485"/>
                <a:gd name="connsiteX2" fmla="*/ 25923 w 42485"/>
                <a:gd name="connsiteY2" fmla="*/ 15789 h 42485"/>
                <a:gd name="connsiteX3" fmla="*/ 16009 w 42485"/>
                <a:gd name="connsiteY3" fmla="*/ 25703 h 42485"/>
                <a:gd name="connsiteX4" fmla="*/ 2592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923" y="35616"/>
                  </a:moveTo>
                  <a:cubicBezTo>
                    <a:pt x="31587" y="35616"/>
                    <a:pt x="35836" y="31367"/>
                    <a:pt x="35836" y="25703"/>
                  </a:cubicBezTo>
                  <a:cubicBezTo>
                    <a:pt x="35836" y="20037"/>
                    <a:pt x="31587" y="15789"/>
                    <a:pt x="25923" y="15789"/>
                  </a:cubicBezTo>
                  <a:cubicBezTo>
                    <a:pt x="20258" y="15789"/>
                    <a:pt x="16009" y="20037"/>
                    <a:pt x="16009" y="25703"/>
                  </a:cubicBezTo>
                  <a:cubicBezTo>
                    <a:pt x="14593" y="31367"/>
                    <a:pt x="20258" y="35616"/>
                    <a:pt x="2592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87" name="Freeform: Shape 2486">
              <a:extLst>
                <a:ext uri="{FF2B5EF4-FFF2-40B4-BE49-F238E27FC236}">
                  <a16:creationId xmlns:a16="http://schemas.microsoft.com/office/drawing/2014/main" id="{6B806E00-7910-4F58-8090-2574CAF9946F}"/>
                </a:ext>
              </a:extLst>
            </p:cNvPr>
            <p:cNvSpPr/>
            <p:nvPr/>
          </p:nvSpPr>
          <p:spPr>
            <a:xfrm>
              <a:off x="3422020" y="4410209"/>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8"/>
                    <a:pt x="31367" y="15789"/>
                    <a:pt x="25702" y="15789"/>
                  </a:cubicBezTo>
                  <a:cubicBezTo>
                    <a:pt x="20038" y="15789"/>
                    <a:pt x="15789" y="20038"/>
                    <a:pt x="15789" y="25703"/>
                  </a:cubicBezTo>
                  <a:cubicBezTo>
                    <a:pt x="17205" y="31367"/>
                    <a:pt x="21454" y="35616"/>
                    <a:pt x="25702"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88" name="Freeform: Shape 2487">
              <a:extLst>
                <a:ext uri="{FF2B5EF4-FFF2-40B4-BE49-F238E27FC236}">
                  <a16:creationId xmlns:a16="http://schemas.microsoft.com/office/drawing/2014/main" id="{639210B0-4EAD-49C3-BF94-D46C3335632B}"/>
                </a:ext>
              </a:extLst>
            </p:cNvPr>
            <p:cNvSpPr/>
            <p:nvPr/>
          </p:nvSpPr>
          <p:spPr>
            <a:xfrm>
              <a:off x="4011155" y="4973853"/>
              <a:ext cx="70810" cy="70810"/>
            </a:xfrm>
            <a:custGeom>
              <a:avLst/>
              <a:gdLst>
                <a:gd name="connsiteX0" fmla="*/ 38448 w 70809"/>
                <a:gd name="connsiteY0" fmla="*/ 61107 h 70809"/>
                <a:gd name="connsiteX1" fmla="*/ 61107 w 70809"/>
                <a:gd name="connsiteY1" fmla="*/ 38448 h 70809"/>
                <a:gd name="connsiteX2" fmla="*/ 38448 w 70809"/>
                <a:gd name="connsiteY2" fmla="*/ 15789 h 70809"/>
                <a:gd name="connsiteX3" fmla="*/ 15789 w 70809"/>
                <a:gd name="connsiteY3" fmla="*/ 38448 h 70809"/>
                <a:gd name="connsiteX4" fmla="*/ 3844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8" y="61107"/>
                  </a:moveTo>
                  <a:cubicBezTo>
                    <a:pt x="51194" y="61107"/>
                    <a:pt x="61107" y="51194"/>
                    <a:pt x="61107" y="38448"/>
                  </a:cubicBezTo>
                  <a:cubicBezTo>
                    <a:pt x="61107" y="25702"/>
                    <a:pt x="51194" y="15789"/>
                    <a:pt x="38448" y="15789"/>
                  </a:cubicBezTo>
                  <a:cubicBezTo>
                    <a:pt x="25703" y="15789"/>
                    <a:pt x="15789" y="25702"/>
                    <a:pt x="15789" y="38448"/>
                  </a:cubicBezTo>
                  <a:cubicBezTo>
                    <a:pt x="15789" y="51194"/>
                    <a:pt x="25703" y="61107"/>
                    <a:pt x="38448" y="6110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89" name="Freeform: Shape 2488">
              <a:extLst>
                <a:ext uri="{FF2B5EF4-FFF2-40B4-BE49-F238E27FC236}">
                  <a16:creationId xmlns:a16="http://schemas.microsoft.com/office/drawing/2014/main" id="{2FA05DF7-A917-4159-A674-32C757F2CC55}"/>
                </a:ext>
              </a:extLst>
            </p:cNvPr>
            <p:cNvSpPr/>
            <p:nvPr/>
          </p:nvSpPr>
          <p:spPr>
            <a:xfrm>
              <a:off x="3640113" y="4017925"/>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0" y="49777"/>
                    <a:pt x="49778" y="42697"/>
                    <a:pt x="49778" y="32783"/>
                  </a:cubicBezTo>
                  <a:cubicBezTo>
                    <a:pt x="49778" y="24286"/>
                    <a:pt x="42697" y="15789"/>
                    <a:pt x="32783" y="15789"/>
                  </a:cubicBezTo>
                  <a:cubicBezTo>
                    <a:pt x="22870" y="15789"/>
                    <a:pt x="15789" y="22870"/>
                    <a:pt x="15789" y="32783"/>
                  </a:cubicBezTo>
                  <a:cubicBezTo>
                    <a:pt x="15789" y="41280"/>
                    <a:pt x="22870" y="49777"/>
                    <a:pt x="32783"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90" name="Freeform: Shape 2489">
              <a:extLst>
                <a:ext uri="{FF2B5EF4-FFF2-40B4-BE49-F238E27FC236}">
                  <a16:creationId xmlns:a16="http://schemas.microsoft.com/office/drawing/2014/main" id="{7EABA76D-6C88-4D0D-A821-F4547388E572}"/>
                </a:ext>
              </a:extLst>
            </p:cNvPr>
            <p:cNvSpPr/>
            <p:nvPr/>
          </p:nvSpPr>
          <p:spPr>
            <a:xfrm>
              <a:off x="3593379" y="3842317"/>
              <a:ext cx="113295" cy="113295"/>
            </a:xfrm>
            <a:custGeom>
              <a:avLst/>
              <a:gdLst>
                <a:gd name="connsiteX0" fmla="*/ 56859 w 113295"/>
                <a:gd name="connsiteY0" fmla="*/ 97928 h 113295"/>
                <a:gd name="connsiteX1" fmla="*/ 97928 w 113295"/>
                <a:gd name="connsiteY1" fmla="*/ 56858 h 113295"/>
                <a:gd name="connsiteX2" fmla="*/ 56859 w 113295"/>
                <a:gd name="connsiteY2" fmla="*/ 15789 h 113295"/>
                <a:gd name="connsiteX3" fmla="*/ 15789 w 113295"/>
                <a:gd name="connsiteY3" fmla="*/ 56858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8" y="79518"/>
                    <a:pt x="97928" y="56858"/>
                  </a:cubicBezTo>
                  <a:cubicBezTo>
                    <a:pt x="97928" y="34200"/>
                    <a:pt x="79518" y="15789"/>
                    <a:pt x="56859" y="15789"/>
                  </a:cubicBezTo>
                  <a:cubicBezTo>
                    <a:pt x="34200" y="15789"/>
                    <a:pt x="15789" y="34200"/>
                    <a:pt x="15789" y="56858"/>
                  </a:cubicBezTo>
                  <a:cubicBezTo>
                    <a:pt x="15789" y="79518"/>
                    <a:pt x="34200" y="97928"/>
                    <a:pt x="56859" y="9792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91" name="Freeform: Shape 2490">
              <a:extLst>
                <a:ext uri="{FF2B5EF4-FFF2-40B4-BE49-F238E27FC236}">
                  <a16:creationId xmlns:a16="http://schemas.microsoft.com/office/drawing/2014/main" id="{A1120AEF-9182-4D25-91F0-85B196C355ED}"/>
                </a:ext>
              </a:extLst>
            </p:cNvPr>
            <p:cNvSpPr/>
            <p:nvPr/>
          </p:nvSpPr>
          <p:spPr>
            <a:xfrm>
              <a:off x="4016820" y="4363475"/>
              <a:ext cx="99133" cy="99133"/>
            </a:xfrm>
            <a:custGeom>
              <a:avLst/>
              <a:gdLst>
                <a:gd name="connsiteX0" fmla="*/ 49778 w 99133"/>
                <a:gd name="connsiteY0" fmla="*/ 83766 h 99133"/>
                <a:gd name="connsiteX1" fmla="*/ 83766 w 99133"/>
                <a:gd name="connsiteY1" fmla="*/ 49777 h 99133"/>
                <a:gd name="connsiteX2" fmla="*/ 49778 w 99133"/>
                <a:gd name="connsiteY2" fmla="*/ 15789 h 99133"/>
                <a:gd name="connsiteX3" fmla="*/ 15789 w 99133"/>
                <a:gd name="connsiteY3" fmla="*/ 49777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7"/>
                  </a:cubicBezTo>
                  <a:cubicBezTo>
                    <a:pt x="83766" y="31367"/>
                    <a:pt x="68188" y="15789"/>
                    <a:pt x="49778" y="15789"/>
                  </a:cubicBezTo>
                  <a:cubicBezTo>
                    <a:pt x="31367" y="15789"/>
                    <a:pt x="15789" y="31367"/>
                    <a:pt x="15789" y="49777"/>
                  </a:cubicBezTo>
                  <a:cubicBezTo>
                    <a:pt x="15789" y="69604"/>
                    <a:pt x="31367" y="83766"/>
                    <a:pt x="49778" y="8376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92" name="Freeform: Shape 2491">
              <a:extLst>
                <a:ext uri="{FF2B5EF4-FFF2-40B4-BE49-F238E27FC236}">
                  <a16:creationId xmlns:a16="http://schemas.microsoft.com/office/drawing/2014/main" id="{E4B8E5D2-6A66-4BF1-858B-57A52879A1F2}"/>
                </a:ext>
              </a:extLst>
            </p:cNvPr>
            <p:cNvSpPr/>
            <p:nvPr/>
          </p:nvSpPr>
          <p:spPr>
            <a:xfrm>
              <a:off x="4002103" y="5552520"/>
              <a:ext cx="42486" cy="42486"/>
            </a:xfrm>
            <a:custGeom>
              <a:avLst/>
              <a:gdLst>
                <a:gd name="connsiteX0" fmla="*/ 24842 w 42485"/>
                <a:gd name="connsiteY0" fmla="*/ 16345 h 42485"/>
                <a:gd name="connsiteX1" fmla="*/ 27674 w 42485"/>
                <a:gd name="connsiteY1" fmla="*/ 24842 h 42485"/>
                <a:gd name="connsiteX2" fmla="*/ 19177 w 42485"/>
                <a:gd name="connsiteY2" fmla="*/ 27674 h 42485"/>
                <a:gd name="connsiteX3" fmla="*/ 16345 w 42485"/>
                <a:gd name="connsiteY3" fmla="*/ 19177 h 42485"/>
                <a:gd name="connsiteX4" fmla="*/ 24842 w 42485"/>
                <a:gd name="connsiteY4" fmla="*/ 1634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6345"/>
                  </a:moveTo>
                  <a:cubicBezTo>
                    <a:pt x="27674" y="17761"/>
                    <a:pt x="29090" y="22009"/>
                    <a:pt x="27674" y="24842"/>
                  </a:cubicBezTo>
                  <a:cubicBezTo>
                    <a:pt x="26258" y="27674"/>
                    <a:pt x="22009" y="29090"/>
                    <a:pt x="19177" y="27674"/>
                  </a:cubicBezTo>
                  <a:cubicBezTo>
                    <a:pt x="16345" y="26258"/>
                    <a:pt x="14928" y="22009"/>
                    <a:pt x="16345" y="19177"/>
                  </a:cubicBezTo>
                  <a:cubicBezTo>
                    <a:pt x="17761" y="16345"/>
                    <a:pt x="20593" y="14928"/>
                    <a:pt x="24842" y="1634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93" name="Freeform: Shape 2492">
              <a:extLst>
                <a:ext uri="{FF2B5EF4-FFF2-40B4-BE49-F238E27FC236}">
                  <a16:creationId xmlns:a16="http://schemas.microsoft.com/office/drawing/2014/main" id="{25396C25-05D8-4996-BADA-B53B594757EB}"/>
                </a:ext>
              </a:extLst>
            </p:cNvPr>
            <p:cNvSpPr/>
            <p:nvPr/>
          </p:nvSpPr>
          <p:spPr>
            <a:xfrm>
              <a:off x="3839845" y="5601274"/>
              <a:ext cx="56648" cy="56648"/>
            </a:xfrm>
            <a:custGeom>
              <a:avLst/>
              <a:gdLst>
                <a:gd name="connsiteX0" fmla="*/ 35567 w 56647"/>
                <a:gd name="connsiteY0" fmla="*/ 17157 h 56647"/>
                <a:gd name="connsiteX1" fmla="*/ 41232 w 56647"/>
                <a:gd name="connsiteY1" fmla="*/ 35567 h 56647"/>
                <a:gd name="connsiteX2" fmla="*/ 22822 w 56647"/>
                <a:gd name="connsiteY2" fmla="*/ 41232 h 56647"/>
                <a:gd name="connsiteX3" fmla="*/ 17157 w 56647"/>
                <a:gd name="connsiteY3" fmla="*/ 22821 h 56647"/>
                <a:gd name="connsiteX4" fmla="*/ 35567 w 56647"/>
                <a:gd name="connsiteY4" fmla="*/ 1715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567" y="17157"/>
                  </a:moveTo>
                  <a:cubicBezTo>
                    <a:pt x="42648" y="19989"/>
                    <a:pt x="44064" y="28486"/>
                    <a:pt x="41232" y="35567"/>
                  </a:cubicBezTo>
                  <a:cubicBezTo>
                    <a:pt x="38400" y="42648"/>
                    <a:pt x="29902" y="44064"/>
                    <a:pt x="22822" y="41232"/>
                  </a:cubicBezTo>
                  <a:cubicBezTo>
                    <a:pt x="15741" y="38400"/>
                    <a:pt x="14324" y="29902"/>
                    <a:pt x="17157" y="22821"/>
                  </a:cubicBezTo>
                  <a:cubicBezTo>
                    <a:pt x="21405" y="15741"/>
                    <a:pt x="29902" y="14324"/>
                    <a:pt x="35567" y="1715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94" name="Freeform: Shape 2493">
              <a:extLst>
                <a:ext uri="{FF2B5EF4-FFF2-40B4-BE49-F238E27FC236}">
                  <a16:creationId xmlns:a16="http://schemas.microsoft.com/office/drawing/2014/main" id="{B41F9F4B-E589-4973-AA1E-875784BAA85D}"/>
                </a:ext>
              </a:extLst>
            </p:cNvPr>
            <p:cNvSpPr/>
            <p:nvPr/>
          </p:nvSpPr>
          <p:spPr>
            <a:xfrm>
              <a:off x="4230297" y="4715738"/>
              <a:ext cx="42486" cy="42486"/>
            </a:xfrm>
            <a:custGeom>
              <a:avLst/>
              <a:gdLst>
                <a:gd name="connsiteX0" fmla="*/ 23238 w 42485"/>
                <a:gd name="connsiteY0" fmla="*/ 16157 h 42485"/>
                <a:gd name="connsiteX1" fmla="*/ 28903 w 42485"/>
                <a:gd name="connsiteY1" fmla="*/ 23238 h 42485"/>
                <a:gd name="connsiteX2" fmla="*/ 21822 w 42485"/>
                <a:gd name="connsiteY2" fmla="*/ 28903 h 42485"/>
                <a:gd name="connsiteX3" fmla="*/ 16157 w 42485"/>
                <a:gd name="connsiteY3" fmla="*/ 21822 h 42485"/>
                <a:gd name="connsiteX4" fmla="*/ 23238 w 42485"/>
                <a:gd name="connsiteY4" fmla="*/ 16157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6157"/>
                  </a:moveTo>
                  <a:cubicBezTo>
                    <a:pt x="27487" y="16157"/>
                    <a:pt x="30319" y="20406"/>
                    <a:pt x="28903" y="23238"/>
                  </a:cubicBezTo>
                  <a:cubicBezTo>
                    <a:pt x="28903" y="27487"/>
                    <a:pt x="24655" y="30319"/>
                    <a:pt x="21822" y="28903"/>
                  </a:cubicBezTo>
                  <a:cubicBezTo>
                    <a:pt x="17574" y="28903"/>
                    <a:pt x="14741" y="24655"/>
                    <a:pt x="16157" y="21822"/>
                  </a:cubicBezTo>
                  <a:cubicBezTo>
                    <a:pt x="16157" y="17574"/>
                    <a:pt x="20406" y="14741"/>
                    <a:pt x="23238" y="1615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95" name="Freeform: Shape 2494">
              <a:extLst>
                <a:ext uri="{FF2B5EF4-FFF2-40B4-BE49-F238E27FC236}">
                  <a16:creationId xmlns:a16="http://schemas.microsoft.com/office/drawing/2014/main" id="{697A99D1-8DA3-4D19-B473-D1B7BCD5E4F6}"/>
                </a:ext>
              </a:extLst>
            </p:cNvPr>
            <p:cNvSpPr/>
            <p:nvPr/>
          </p:nvSpPr>
          <p:spPr>
            <a:xfrm>
              <a:off x="3635309" y="5975961"/>
              <a:ext cx="42486" cy="42486"/>
            </a:xfrm>
            <a:custGeom>
              <a:avLst/>
              <a:gdLst>
                <a:gd name="connsiteX0" fmla="*/ 24842 w 42485"/>
                <a:gd name="connsiteY0" fmla="*/ 16345 h 42485"/>
                <a:gd name="connsiteX1" fmla="*/ 27674 w 42485"/>
                <a:gd name="connsiteY1" fmla="*/ 24842 h 42485"/>
                <a:gd name="connsiteX2" fmla="*/ 19177 w 42485"/>
                <a:gd name="connsiteY2" fmla="*/ 27674 h 42485"/>
                <a:gd name="connsiteX3" fmla="*/ 16345 w 42485"/>
                <a:gd name="connsiteY3" fmla="*/ 19177 h 42485"/>
                <a:gd name="connsiteX4" fmla="*/ 24842 w 42485"/>
                <a:gd name="connsiteY4" fmla="*/ 1634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6345"/>
                  </a:moveTo>
                  <a:cubicBezTo>
                    <a:pt x="27674" y="17761"/>
                    <a:pt x="29090" y="22009"/>
                    <a:pt x="27674" y="24842"/>
                  </a:cubicBezTo>
                  <a:cubicBezTo>
                    <a:pt x="26258" y="27674"/>
                    <a:pt x="22009" y="29090"/>
                    <a:pt x="19177" y="27674"/>
                  </a:cubicBezTo>
                  <a:cubicBezTo>
                    <a:pt x="16345" y="26258"/>
                    <a:pt x="14928" y="22009"/>
                    <a:pt x="16345" y="19177"/>
                  </a:cubicBezTo>
                  <a:cubicBezTo>
                    <a:pt x="17761" y="16345"/>
                    <a:pt x="22009" y="14928"/>
                    <a:pt x="24842" y="1634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96" name="Freeform: Shape 2495">
              <a:extLst>
                <a:ext uri="{FF2B5EF4-FFF2-40B4-BE49-F238E27FC236}">
                  <a16:creationId xmlns:a16="http://schemas.microsoft.com/office/drawing/2014/main" id="{6D8C0496-5F71-49A0-8A37-8DE18ED64521}"/>
                </a:ext>
              </a:extLst>
            </p:cNvPr>
            <p:cNvSpPr/>
            <p:nvPr/>
          </p:nvSpPr>
          <p:spPr>
            <a:xfrm>
              <a:off x="3781177" y="5907066"/>
              <a:ext cx="42486" cy="42486"/>
            </a:xfrm>
            <a:custGeom>
              <a:avLst/>
              <a:gdLst>
                <a:gd name="connsiteX0" fmla="*/ 24842 w 42485"/>
                <a:gd name="connsiteY0" fmla="*/ 17263 h 42485"/>
                <a:gd name="connsiteX1" fmla="*/ 27674 w 42485"/>
                <a:gd name="connsiteY1" fmla="*/ 25759 h 42485"/>
                <a:gd name="connsiteX2" fmla="*/ 19177 w 42485"/>
                <a:gd name="connsiteY2" fmla="*/ 28592 h 42485"/>
                <a:gd name="connsiteX3" fmla="*/ 16345 w 42485"/>
                <a:gd name="connsiteY3" fmla="*/ 20095 h 42485"/>
                <a:gd name="connsiteX4" fmla="*/ 24842 w 42485"/>
                <a:gd name="connsiteY4" fmla="*/ 1726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7263"/>
                  </a:moveTo>
                  <a:cubicBezTo>
                    <a:pt x="27674" y="18679"/>
                    <a:pt x="29090" y="22927"/>
                    <a:pt x="27674" y="25759"/>
                  </a:cubicBezTo>
                  <a:cubicBezTo>
                    <a:pt x="26258" y="28592"/>
                    <a:pt x="22009" y="30008"/>
                    <a:pt x="19177" y="28592"/>
                  </a:cubicBezTo>
                  <a:cubicBezTo>
                    <a:pt x="16345" y="27176"/>
                    <a:pt x="14928" y="22927"/>
                    <a:pt x="16345" y="20095"/>
                  </a:cubicBezTo>
                  <a:cubicBezTo>
                    <a:pt x="16345" y="15846"/>
                    <a:pt x="20593" y="14430"/>
                    <a:pt x="24842" y="1726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97" name="Freeform: Shape 2496">
              <a:extLst>
                <a:ext uri="{FF2B5EF4-FFF2-40B4-BE49-F238E27FC236}">
                  <a16:creationId xmlns:a16="http://schemas.microsoft.com/office/drawing/2014/main" id="{37FDCFFE-B20C-4FC7-83F9-011B22002EB5}"/>
                </a:ext>
              </a:extLst>
            </p:cNvPr>
            <p:cNvSpPr/>
            <p:nvPr/>
          </p:nvSpPr>
          <p:spPr>
            <a:xfrm>
              <a:off x="4138613" y="4674766"/>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3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4"/>
                    <a:pt x="31367" y="37303"/>
                    <a:pt x="25703" y="37303"/>
                  </a:cubicBezTo>
                  <a:cubicBezTo>
                    <a:pt x="20038" y="37303"/>
                    <a:pt x="15789" y="31639"/>
                    <a:pt x="15789" y="25973"/>
                  </a:cubicBezTo>
                  <a:cubicBezTo>
                    <a:pt x="15789" y="18893"/>
                    <a:pt x="21454" y="14644"/>
                    <a:pt x="27119" y="1606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98" name="Freeform: Shape 2497">
              <a:extLst>
                <a:ext uri="{FF2B5EF4-FFF2-40B4-BE49-F238E27FC236}">
                  <a16:creationId xmlns:a16="http://schemas.microsoft.com/office/drawing/2014/main" id="{5F7F3C7D-C5E8-4A48-865B-21F01A0BF538}"/>
                </a:ext>
              </a:extLst>
            </p:cNvPr>
            <p:cNvSpPr/>
            <p:nvPr/>
          </p:nvSpPr>
          <p:spPr>
            <a:xfrm>
              <a:off x="3618716" y="4455374"/>
              <a:ext cx="70810" cy="70810"/>
            </a:xfrm>
            <a:custGeom>
              <a:avLst/>
              <a:gdLst>
                <a:gd name="connsiteX0" fmla="*/ 40018 w 70809"/>
                <a:gd name="connsiteY0" fmla="*/ 15943 h 70809"/>
                <a:gd name="connsiteX1" fmla="*/ 59845 w 70809"/>
                <a:gd name="connsiteY1" fmla="*/ 40018 h 70809"/>
                <a:gd name="connsiteX2" fmla="*/ 35770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2"/>
                    <a:pt x="59845" y="40018"/>
                  </a:cubicBezTo>
                  <a:cubicBezTo>
                    <a:pt x="58429" y="52764"/>
                    <a:pt x="48515" y="61261"/>
                    <a:pt x="35770" y="59845"/>
                  </a:cubicBezTo>
                  <a:cubicBezTo>
                    <a:pt x="23024" y="58429"/>
                    <a:pt x="14527" y="48515"/>
                    <a:pt x="15943" y="35769"/>
                  </a:cubicBezTo>
                  <a:cubicBezTo>
                    <a:pt x="15943" y="23024"/>
                    <a:pt x="27272" y="14527"/>
                    <a:pt x="40018" y="1594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499" name="Freeform: Shape 2498">
              <a:extLst>
                <a:ext uri="{FF2B5EF4-FFF2-40B4-BE49-F238E27FC236}">
                  <a16:creationId xmlns:a16="http://schemas.microsoft.com/office/drawing/2014/main" id="{43A99B27-D64A-47B2-B944-0EFC864D52B2}"/>
                </a:ext>
              </a:extLst>
            </p:cNvPr>
            <p:cNvSpPr/>
            <p:nvPr/>
          </p:nvSpPr>
          <p:spPr>
            <a:xfrm>
              <a:off x="4342437" y="4761306"/>
              <a:ext cx="84971" cy="84971"/>
            </a:xfrm>
            <a:custGeom>
              <a:avLst/>
              <a:gdLst>
                <a:gd name="connsiteX0" fmla="*/ 49885 w 84971"/>
                <a:gd name="connsiteY0" fmla="*/ 15908 h 84971"/>
                <a:gd name="connsiteX1" fmla="*/ 78209 w 84971"/>
                <a:gd name="connsiteY1" fmla="*/ 49897 h 84971"/>
                <a:gd name="connsiteX2" fmla="*/ 44220 w 84971"/>
                <a:gd name="connsiteY2" fmla="*/ 78220 h 84971"/>
                <a:gd name="connsiteX3" fmla="*/ 15897 w 84971"/>
                <a:gd name="connsiteY3" fmla="*/ 44232 h 84971"/>
                <a:gd name="connsiteX4" fmla="*/ 49885 w 84971"/>
                <a:gd name="connsiteY4" fmla="*/ 15908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9885" y="15908"/>
                  </a:moveTo>
                  <a:cubicBezTo>
                    <a:pt x="66879" y="17324"/>
                    <a:pt x="79625" y="32902"/>
                    <a:pt x="78209" y="49897"/>
                  </a:cubicBezTo>
                  <a:cubicBezTo>
                    <a:pt x="76793" y="66891"/>
                    <a:pt x="61215" y="79637"/>
                    <a:pt x="44220" y="78220"/>
                  </a:cubicBezTo>
                  <a:cubicBezTo>
                    <a:pt x="27226" y="76804"/>
                    <a:pt x="14480" y="61226"/>
                    <a:pt x="15897" y="44232"/>
                  </a:cubicBezTo>
                  <a:cubicBezTo>
                    <a:pt x="17313" y="25821"/>
                    <a:pt x="32891" y="14492"/>
                    <a:pt x="49885" y="15908"/>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00" name="Freeform: Shape 2499">
              <a:extLst>
                <a:ext uri="{FF2B5EF4-FFF2-40B4-BE49-F238E27FC236}">
                  <a16:creationId xmlns:a16="http://schemas.microsoft.com/office/drawing/2014/main" id="{65629D3D-2879-45A0-81E2-2164BF75FEDA}"/>
                </a:ext>
              </a:extLst>
            </p:cNvPr>
            <p:cNvSpPr/>
            <p:nvPr/>
          </p:nvSpPr>
          <p:spPr>
            <a:xfrm>
              <a:off x="3491708" y="6386091"/>
              <a:ext cx="70810" cy="70810"/>
            </a:xfrm>
            <a:custGeom>
              <a:avLst/>
              <a:gdLst>
                <a:gd name="connsiteX0" fmla="*/ 48066 w 70809"/>
                <a:gd name="connsiteY0" fmla="*/ 18326 h 70809"/>
                <a:gd name="connsiteX1" fmla="*/ 56564 w 70809"/>
                <a:gd name="connsiteY1" fmla="*/ 48066 h 70809"/>
                <a:gd name="connsiteX2" fmla="*/ 26823 w 70809"/>
                <a:gd name="connsiteY2" fmla="*/ 56563 h 70809"/>
                <a:gd name="connsiteX3" fmla="*/ 18326 w 70809"/>
                <a:gd name="connsiteY3" fmla="*/ 26823 h 70809"/>
                <a:gd name="connsiteX4" fmla="*/ 48066 w 70809"/>
                <a:gd name="connsiteY4" fmla="*/ 18326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8066" y="18326"/>
                  </a:moveTo>
                  <a:cubicBezTo>
                    <a:pt x="59396" y="23991"/>
                    <a:pt x="62228" y="38153"/>
                    <a:pt x="56564" y="48066"/>
                  </a:cubicBezTo>
                  <a:cubicBezTo>
                    <a:pt x="50899" y="59396"/>
                    <a:pt x="36737" y="62228"/>
                    <a:pt x="26823" y="56563"/>
                  </a:cubicBezTo>
                  <a:cubicBezTo>
                    <a:pt x="16910" y="50898"/>
                    <a:pt x="12662" y="36737"/>
                    <a:pt x="18326" y="26823"/>
                  </a:cubicBezTo>
                  <a:cubicBezTo>
                    <a:pt x="23991" y="16910"/>
                    <a:pt x="36737" y="12662"/>
                    <a:pt x="48066" y="1832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01" name="Freeform: Shape 2500">
              <a:extLst>
                <a:ext uri="{FF2B5EF4-FFF2-40B4-BE49-F238E27FC236}">
                  <a16:creationId xmlns:a16="http://schemas.microsoft.com/office/drawing/2014/main" id="{7CD791DB-87C6-41FD-8DD7-8E4B63AA3597}"/>
                </a:ext>
              </a:extLst>
            </p:cNvPr>
            <p:cNvSpPr/>
            <p:nvPr/>
          </p:nvSpPr>
          <p:spPr>
            <a:xfrm>
              <a:off x="4234824" y="4227431"/>
              <a:ext cx="99133" cy="99133"/>
            </a:xfrm>
            <a:custGeom>
              <a:avLst/>
              <a:gdLst>
                <a:gd name="connsiteX0" fmla="*/ 55532 w 99133"/>
                <a:gd name="connsiteY0" fmla="*/ 15878 h 99133"/>
                <a:gd name="connsiteX1" fmla="*/ 89520 w 99133"/>
                <a:gd name="connsiteY1" fmla="*/ 55532 h 99133"/>
                <a:gd name="connsiteX2" fmla="*/ 49867 w 99133"/>
                <a:gd name="connsiteY2" fmla="*/ 89521 h 99133"/>
                <a:gd name="connsiteX3" fmla="*/ 15878 w 99133"/>
                <a:gd name="connsiteY3" fmla="*/ 49867 h 99133"/>
                <a:gd name="connsiteX4" fmla="*/ 55532 w 99133"/>
                <a:gd name="connsiteY4" fmla="*/ 15878 h 99133"/>
                <a:gd name="connsiteX5" fmla="*/ 55532 w 99133"/>
                <a:gd name="connsiteY5" fmla="*/ 15878 h 99133"/>
                <a:gd name="connsiteX6" fmla="*/ 54116 w 99133"/>
                <a:gd name="connsiteY6" fmla="*/ 32873 h 99133"/>
                <a:gd name="connsiteX7" fmla="*/ 31457 w 99133"/>
                <a:gd name="connsiteY7" fmla="*/ 51283 h 99133"/>
                <a:gd name="connsiteX8" fmla="*/ 49867 w 99133"/>
                <a:gd name="connsiteY8" fmla="*/ 73942 h 99133"/>
                <a:gd name="connsiteX9" fmla="*/ 72526 w 99133"/>
                <a:gd name="connsiteY9" fmla="*/ 55532 h 99133"/>
                <a:gd name="connsiteX10" fmla="*/ 54116 w 99133"/>
                <a:gd name="connsiteY10" fmla="*/ 32873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55532" y="15878"/>
                  </a:moveTo>
                  <a:cubicBezTo>
                    <a:pt x="75358" y="17295"/>
                    <a:pt x="90937" y="35705"/>
                    <a:pt x="89520" y="55532"/>
                  </a:cubicBezTo>
                  <a:cubicBezTo>
                    <a:pt x="88104" y="75359"/>
                    <a:pt x="69694" y="90936"/>
                    <a:pt x="49867" y="89521"/>
                  </a:cubicBezTo>
                  <a:cubicBezTo>
                    <a:pt x="30040" y="88104"/>
                    <a:pt x="14462" y="69694"/>
                    <a:pt x="15878" y="49867"/>
                  </a:cubicBezTo>
                  <a:cubicBezTo>
                    <a:pt x="17295" y="30040"/>
                    <a:pt x="34289" y="14462"/>
                    <a:pt x="55532" y="15878"/>
                  </a:cubicBezTo>
                  <a:lnTo>
                    <a:pt x="55532" y="15878"/>
                  </a:lnTo>
                  <a:close/>
                  <a:moveTo>
                    <a:pt x="54116" y="32873"/>
                  </a:moveTo>
                  <a:cubicBezTo>
                    <a:pt x="42786" y="31457"/>
                    <a:pt x="32873" y="39954"/>
                    <a:pt x="31457" y="51283"/>
                  </a:cubicBezTo>
                  <a:cubicBezTo>
                    <a:pt x="30040" y="62613"/>
                    <a:pt x="38538" y="72526"/>
                    <a:pt x="49867" y="73942"/>
                  </a:cubicBezTo>
                  <a:cubicBezTo>
                    <a:pt x="61197" y="75359"/>
                    <a:pt x="71110" y="66861"/>
                    <a:pt x="72526" y="55532"/>
                  </a:cubicBezTo>
                  <a:cubicBezTo>
                    <a:pt x="73942" y="44202"/>
                    <a:pt x="65445" y="34289"/>
                    <a:pt x="54116" y="3287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02" name="Freeform: Shape 2501">
              <a:extLst>
                <a:ext uri="{FF2B5EF4-FFF2-40B4-BE49-F238E27FC236}">
                  <a16:creationId xmlns:a16="http://schemas.microsoft.com/office/drawing/2014/main" id="{314F15E1-241A-434D-9248-A4466E269EB2}"/>
                </a:ext>
              </a:extLst>
            </p:cNvPr>
            <p:cNvSpPr/>
            <p:nvPr/>
          </p:nvSpPr>
          <p:spPr>
            <a:xfrm>
              <a:off x="3892040" y="4962369"/>
              <a:ext cx="56648" cy="56648"/>
            </a:xfrm>
            <a:custGeom>
              <a:avLst/>
              <a:gdLst>
                <a:gd name="connsiteX0" fmla="*/ 35771 w 56647"/>
                <a:gd name="connsiteY0" fmla="*/ 15944 h 56647"/>
                <a:gd name="connsiteX1" fmla="*/ 52765 w 56647"/>
                <a:gd name="connsiteY1" fmla="*/ 35771 h 56647"/>
                <a:gd name="connsiteX2" fmla="*/ 32938 w 56647"/>
                <a:gd name="connsiteY2" fmla="*/ 52765 h 56647"/>
                <a:gd name="connsiteX3" fmla="*/ 15944 w 56647"/>
                <a:gd name="connsiteY3" fmla="*/ 32938 h 56647"/>
                <a:gd name="connsiteX4" fmla="*/ 35771 w 56647"/>
                <a:gd name="connsiteY4" fmla="*/ 1594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44"/>
                  </a:moveTo>
                  <a:cubicBezTo>
                    <a:pt x="45684" y="17360"/>
                    <a:pt x="54181" y="25858"/>
                    <a:pt x="52765" y="35771"/>
                  </a:cubicBezTo>
                  <a:cubicBezTo>
                    <a:pt x="51349" y="45684"/>
                    <a:pt x="42852" y="54181"/>
                    <a:pt x="32938" y="52765"/>
                  </a:cubicBezTo>
                  <a:cubicBezTo>
                    <a:pt x="23025" y="51349"/>
                    <a:pt x="14528" y="42852"/>
                    <a:pt x="15944" y="32938"/>
                  </a:cubicBezTo>
                  <a:cubicBezTo>
                    <a:pt x="15944" y="23025"/>
                    <a:pt x="25857" y="14528"/>
                    <a:pt x="35771" y="1594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03" name="Freeform: Shape 2502">
              <a:extLst>
                <a:ext uri="{FF2B5EF4-FFF2-40B4-BE49-F238E27FC236}">
                  <a16:creationId xmlns:a16="http://schemas.microsoft.com/office/drawing/2014/main" id="{5EC96930-519A-4069-B211-4E2865DBD98E}"/>
                </a:ext>
              </a:extLst>
            </p:cNvPr>
            <p:cNvSpPr/>
            <p:nvPr/>
          </p:nvSpPr>
          <p:spPr>
            <a:xfrm>
              <a:off x="3610219" y="4735779"/>
              <a:ext cx="70810" cy="70810"/>
            </a:xfrm>
            <a:custGeom>
              <a:avLst/>
              <a:gdLst>
                <a:gd name="connsiteX0" fmla="*/ 40018 w 70809"/>
                <a:gd name="connsiteY0" fmla="*/ 15943 h 70809"/>
                <a:gd name="connsiteX1" fmla="*/ 59845 w 70809"/>
                <a:gd name="connsiteY1" fmla="*/ 40018 h 70809"/>
                <a:gd name="connsiteX2" fmla="*/ 35769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3"/>
                    <a:pt x="59845" y="40018"/>
                  </a:cubicBezTo>
                  <a:cubicBezTo>
                    <a:pt x="58429" y="52764"/>
                    <a:pt x="48515" y="61261"/>
                    <a:pt x="35769" y="59845"/>
                  </a:cubicBezTo>
                  <a:cubicBezTo>
                    <a:pt x="23024" y="58429"/>
                    <a:pt x="14527" y="48516"/>
                    <a:pt x="15943" y="35769"/>
                  </a:cubicBezTo>
                  <a:cubicBezTo>
                    <a:pt x="17359" y="23024"/>
                    <a:pt x="28689" y="14527"/>
                    <a:pt x="40018" y="1594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04" name="Freeform: Shape 2503">
              <a:extLst>
                <a:ext uri="{FF2B5EF4-FFF2-40B4-BE49-F238E27FC236}">
                  <a16:creationId xmlns:a16="http://schemas.microsoft.com/office/drawing/2014/main" id="{80A7577B-F200-41FE-AB12-CAD998E535DF}"/>
                </a:ext>
              </a:extLst>
            </p:cNvPr>
            <p:cNvSpPr/>
            <p:nvPr/>
          </p:nvSpPr>
          <p:spPr>
            <a:xfrm>
              <a:off x="3713755" y="4622638"/>
              <a:ext cx="28324" cy="28324"/>
            </a:xfrm>
            <a:custGeom>
              <a:avLst/>
              <a:gdLst>
                <a:gd name="connsiteX0" fmla="*/ 21454 w 28323"/>
                <a:gd name="connsiteY0" fmla="*/ 15789 h 28323"/>
                <a:gd name="connsiteX1" fmla="*/ 25703 w 28323"/>
                <a:gd name="connsiteY1" fmla="*/ 21454 h 28323"/>
                <a:gd name="connsiteX2" fmla="*/ 20038 w 28323"/>
                <a:gd name="connsiteY2" fmla="*/ 25703 h 28323"/>
                <a:gd name="connsiteX3" fmla="*/ 15789 w 28323"/>
                <a:gd name="connsiteY3" fmla="*/ 20038 h 28323"/>
                <a:gd name="connsiteX4" fmla="*/ 21454 w 28323"/>
                <a:gd name="connsiteY4" fmla="*/ 15789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1454" y="15789"/>
                  </a:moveTo>
                  <a:cubicBezTo>
                    <a:pt x="24286" y="15789"/>
                    <a:pt x="25703" y="18622"/>
                    <a:pt x="25703" y="21454"/>
                  </a:cubicBezTo>
                  <a:cubicBezTo>
                    <a:pt x="25703" y="24286"/>
                    <a:pt x="22870" y="25703"/>
                    <a:pt x="20038" y="25703"/>
                  </a:cubicBezTo>
                  <a:cubicBezTo>
                    <a:pt x="17205" y="25703"/>
                    <a:pt x="15789" y="22870"/>
                    <a:pt x="15789" y="20038"/>
                  </a:cubicBezTo>
                  <a:cubicBezTo>
                    <a:pt x="15789" y="17205"/>
                    <a:pt x="18622" y="15789"/>
                    <a:pt x="21454"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05" name="Freeform: Shape 2504">
              <a:extLst>
                <a:ext uri="{FF2B5EF4-FFF2-40B4-BE49-F238E27FC236}">
                  <a16:creationId xmlns:a16="http://schemas.microsoft.com/office/drawing/2014/main" id="{D804F353-F51F-4512-865B-B956416400F7}"/>
                </a:ext>
              </a:extLst>
            </p:cNvPr>
            <p:cNvSpPr/>
            <p:nvPr/>
          </p:nvSpPr>
          <p:spPr>
            <a:xfrm>
              <a:off x="3628784" y="4888611"/>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3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4"/>
                    <a:pt x="31367" y="37303"/>
                    <a:pt x="25703" y="37303"/>
                  </a:cubicBezTo>
                  <a:cubicBezTo>
                    <a:pt x="20038" y="37303"/>
                    <a:pt x="15789" y="31638"/>
                    <a:pt x="15789" y="25973"/>
                  </a:cubicBezTo>
                  <a:cubicBezTo>
                    <a:pt x="15789" y="18893"/>
                    <a:pt x="21454" y="14644"/>
                    <a:pt x="27119" y="1606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06" name="Freeform: Shape 2505">
              <a:extLst>
                <a:ext uri="{FF2B5EF4-FFF2-40B4-BE49-F238E27FC236}">
                  <a16:creationId xmlns:a16="http://schemas.microsoft.com/office/drawing/2014/main" id="{DD90D7F5-0EF9-4AF3-8225-C3F28D1AC5D2}"/>
                </a:ext>
              </a:extLst>
            </p:cNvPr>
            <p:cNvSpPr/>
            <p:nvPr/>
          </p:nvSpPr>
          <p:spPr>
            <a:xfrm>
              <a:off x="3441315" y="6199743"/>
              <a:ext cx="42486" cy="42486"/>
            </a:xfrm>
            <a:custGeom>
              <a:avLst/>
              <a:gdLst>
                <a:gd name="connsiteX0" fmla="*/ 29066 w 42485"/>
                <a:gd name="connsiteY0" fmla="*/ 16320 h 42485"/>
                <a:gd name="connsiteX1" fmla="*/ 33314 w 42485"/>
                <a:gd name="connsiteY1" fmla="*/ 29066 h 42485"/>
                <a:gd name="connsiteX2" fmla="*/ 20569 w 42485"/>
                <a:gd name="connsiteY2" fmla="*/ 33314 h 42485"/>
                <a:gd name="connsiteX3" fmla="*/ 16320 w 42485"/>
                <a:gd name="connsiteY3" fmla="*/ 20569 h 42485"/>
                <a:gd name="connsiteX4" fmla="*/ 29066 w 42485"/>
                <a:gd name="connsiteY4" fmla="*/ 1632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066" y="16320"/>
                  </a:moveTo>
                  <a:cubicBezTo>
                    <a:pt x="33314" y="19152"/>
                    <a:pt x="34731" y="24817"/>
                    <a:pt x="33314" y="29066"/>
                  </a:cubicBezTo>
                  <a:cubicBezTo>
                    <a:pt x="30482" y="33314"/>
                    <a:pt x="24817" y="34731"/>
                    <a:pt x="20569" y="33314"/>
                  </a:cubicBezTo>
                  <a:cubicBezTo>
                    <a:pt x="16320" y="30482"/>
                    <a:pt x="14904" y="24817"/>
                    <a:pt x="16320" y="20569"/>
                  </a:cubicBezTo>
                  <a:cubicBezTo>
                    <a:pt x="19152" y="16320"/>
                    <a:pt x="24817" y="14904"/>
                    <a:pt x="29066" y="1632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07" name="Freeform: Shape 2506">
              <a:extLst>
                <a:ext uri="{FF2B5EF4-FFF2-40B4-BE49-F238E27FC236}">
                  <a16:creationId xmlns:a16="http://schemas.microsoft.com/office/drawing/2014/main" id="{9259E0FE-E38A-40CE-B297-01857FA9A5F9}"/>
                </a:ext>
              </a:extLst>
            </p:cNvPr>
            <p:cNvSpPr/>
            <p:nvPr/>
          </p:nvSpPr>
          <p:spPr>
            <a:xfrm>
              <a:off x="3673571" y="6366854"/>
              <a:ext cx="42486" cy="42486"/>
            </a:xfrm>
            <a:custGeom>
              <a:avLst/>
              <a:gdLst>
                <a:gd name="connsiteX0" fmla="*/ 29066 w 42485"/>
                <a:gd name="connsiteY0" fmla="*/ 16320 h 42485"/>
                <a:gd name="connsiteX1" fmla="*/ 33314 w 42485"/>
                <a:gd name="connsiteY1" fmla="*/ 29066 h 42485"/>
                <a:gd name="connsiteX2" fmla="*/ 20569 w 42485"/>
                <a:gd name="connsiteY2" fmla="*/ 33314 h 42485"/>
                <a:gd name="connsiteX3" fmla="*/ 16320 w 42485"/>
                <a:gd name="connsiteY3" fmla="*/ 20569 h 42485"/>
                <a:gd name="connsiteX4" fmla="*/ 29066 w 42485"/>
                <a:gd name="connsiteY4" fmla="*/ 1632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066" y="16320"/>
                  </a:moveTo>
                  <a:cubicBezTo>
                    <a:pt x="33314" y="19152"/>
                    <a:pt x="34730" y="24817"/>
                    <a:pt x="33314" y="29066"/>
                  </a:cubicBezTo>
                  <a:cubicBezTo>
                    <a:pt x="30482" y="33314"/>
                    <a:pt x="24817" y="34730"/>
                    <a:pt x="20569" y="33314"/>
                  </a:cubicBezTo>
                  <a:cubicBezTo>
                    <a:pt x="16320" y="30482"/>
                    <a:pt x="14904" y="24817"/>
                    <a:pt x="16320" y="20569"/>
                  </a:cubicBezTo>
                  <a:cubicBezTo>
                    <a:pt x="19152" y="16320"/>
                    <a:pt x="24817" y="14904"/>
                    <a:pt x="29066" y="1632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08" name="Freeform: Shape 2507">
              <a:extLst>
                <a:ext uri="{FF2B5EF4-FFF2-40B4-BE49-F238E27FC236}">
                  <a16:creationId xmlns:a16="http://schemas.microsoft.com/office/drawing/2014/main" id="{DDD5700B-99D0-4985-9647-0B27E0E5A6AD}"/>
                </a:ext>
              </a:extLst>
            </p:cNvPr>
            <p:cNvSpPr/>
            <p:nvPr/>
          </p:nvSpPr>
          <p:spPr>
            <a:xfrm>
              <a:off x="3875201" y="4748679"/>
              <a:ext cx="42486" cy="42486"/>
            </a:xfrm>
            <a:custGeom>
              <a:avLst/>
              <a:gdLst>
                <a:gd name="connsiteX0" fmla="*/ 27119 w 42485"/>
                <a:gd name="connsiteY0" fmla="*/ 15789 h 42485"/>
                <a:gd name="connsiteX1" fmla="*/ 37032 w 42485"/>
                <a:gd name="connsiteY1" fmla="*/ 27119 h 42485"/>
                <a:gd name="connsiteX2" fmla="*/ 25702 w 42485"/>
                <a:gd name="connsiteY2" fmla="*/ 37032 h 42485"/>
                <a:gd name="connsiteX3" fmla="*/ 15789 w 42485"/>
                <a:gd name="connsiteY3" fmla="*/ 25703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9"/>
                  </a:cubicBezTo>
                  <a:cubicBezTo>
                    <a:pt x="37032" y="32783"/>
                    <a:pt x="31367" y="37032"/>
                    <a:pt x="25702" y="37032"/>
                  </a:cubicBezTo>
                  <a:cubicBezTo>
                    <a:pt x="20038" y="37032"/>
                    <a:pt x="15789" y="31367"/>
                    <a:pt x="15789" y="25703"/>
                  </a:cubicBezTo>
                  <a:cubicBezTo>
                    <a:pt x="15789" y="20038"/>
                    <a:pt x="20038" y="15789"/>
                    <a:pt x="27119"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09" name="Freeform: Shape 2508">
              <a:extLst>
                <a:ext uri="{FF2B5EF4-FFF2-40B4-BE49-F238E27FC236}">
                  <a16:creationId xmlns:a16="http://schemas.microsoft.com/office/drawing/2014/main" id="{62D4B2CD-1E0C-47F5-B16F-147EBC2FB90F}"/>
                </a:ext>
              </a:extLst>
            </p:cNvPr>
            <p:cNvSpPr/>
            <p:nvPr/>
          </p:nvSpPr>
          <p:spPr>
            <a:xfrm>
              <a:off x="3611789" y="6330564"/>
              <a:ext cx="42486" cy="42486"/>
            </a:xfrm>
            <a:custGeom>
              <a:avLst/>
              <a:gdLst>
                <a:gd name="connsiteX0" fmla="*/ 31367 w 42485"/>
                <a:gd name="connsiteY0" fmla="*/ 17205 h 42485"/>
                <a:gd name="connsiteX1" fmla="*/ 35616 w 42485"/>
                <a:gd name="connsiteY1" fmla="*/ 31367 h 42485"/>
                <a:gd name="connsiteX2" fmla="*/ 21454 w 42485"/>
                <a:gd name="connsiteY2" fmla="*/ 35616 h 42485"/>
                <a:gd name="connsiteX3" fmla="*/ 17205 w 42485"/>
                <a:gd name="connsiteY3" fmla="*/ 21454 h 42485"/>
                <a:gd name="connsiteX4" fmla="*/ 31367 w 42485"/>
                <a:gd name="connsiteY4" fmla="*/ 1720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1367" y="17205"/>
                  </a:moveTo>
                  <a:cubicBezTo>
                    <a:pt x="37032" y="20037"/>
                    <a:pt x="38448" y="27118"/>
                    <a:pt x="35616" y="31367"/>
                  </a:cubicBezTo>
                  <a:cubicBezTo>
                    <a:pt x="32783" y="37032"/>
                    <a:pt x="25702" y="38448"/>
                    <a:pt x="21454" y="35616"/>
                  </a:cubicBezTo>
                  <a:cubicBezTo>
                    <a:pt x="15789" y="32783"/>
                    <a:pt x="14373" y="25703"/>
                    <a:pt x="17205" y="21454"/>
                  </a:cubicBezTo>
                  <a:cubicBezTo>
                    <a:pt x="20038" y="15789"/>
                    <a:pt x="25702" y="14373"/>
                    <a:pt x="31367" y="1720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10" name="Freeform: Shape 2509">
              <a:extLst>
                <a:ext uri="{FF2B5EF4-FFF2-40B4-BE49-F238E27FC236}">
                  <a16:creationId xmlns:a16="http://schemas.microsoft.com/office/drawing/2014/main" id="{75F79A8D-C1B5-41CA-9996-AA86B2951308}"/>
                </a:ext>
              </a:extLst>
            </p:cNvPr>
            <p:cNvSpPr/>
            <p:nvPr/>
          </p:nvSpPr>
          <p:spPr>
            <a:xfrm>
              <a:off x="3520071" y="6073152"/>
              <a:ext cx="70810" cy="70810"/>
            </a:xfrm>
            <a:custGeom>
              <a:avLst/>
              <a:gdLst>
                <a:gd name="connsiteX0" fmla="*/ 50860 w 70809"/>
                <a:gd name="connsiteY0" fmla="*/ 18287 h 70809"/>
                <a:gd name="connsiteX1" fmla="*/ 60773 w 70809"/>
                <a:gd name="connsiteY1" fmla="*/ 50859 h 70809"/>
                <a:gd name="connsiteX2" fmla="*/ 28201 w 70809"/>
                <a:gd name="connsiteY2" fmla="*/ 60773 h 70809"/>
                <a:gd name="connsiteX3" fmla="*/ 18287 w 70809"/>
                <a:gd name="connsiteY3" fmla="*/ 28201 h 70809"/>
                <a:gd name="connsiteX4" fmla="*/ 50860 w 70809"/>
                <a:gd name="connsiteY4" fmla="*/ 1828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50860" y="18287"/>
                  </a:moveTo>
                  <a:cubicBezTo>
                    <a:pt x="62189" y="23952"/>
                    <a:pt x="66438" y="39530"/>
                    <a:pt x="60773" y="50859"/>
                  </a:cubicBezTo>
                  <a:cubicBezTo>
                    <a:pt x="55108" y="62189"/>
                    <a:pt x="39530" y="66438"/>
                    <a:pt x="28201" y="60773"/>
                  </a:cubicBezTo>
                  <a:cubicBezTo>
                    <a:pt x="16871" y="55108"/>
                    <a:pt x="12622" y="39530"/>
                    <a:pt x="18287" y="28201"/>
                  </a:cubicBezTo>
                  <a:cubicBezTo>
                    <a:pt x="25368" y="16871"/>
                    <a:pt x="39530" y="12623"/>
                    <a:pt x="50860" y="1828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11" name="Freeform: Shape 2510">
              <a:extLst>
                <a:ext uri="{FF2B5EF4-FFF2-40B4-BE49-F238E27FC236}">
                  <a16:creationId xmlns:a16="http://schemas.microsoft.com/office/drawing/2014/main" id="{841B6E97-7C9F-4FD9-9E4A-25EFE8B522FB}"/>
                </a:ext>
              </a:extLst>
            </p:cNvPr>
            <p:cNvSpPr/>
            <p:nvPr/>
          </p:nvSpPr>
          <p:spPr>
            <a:xfrm>
              <a:off x="3590015" y="5803210"/>
              <a:ext cx="42486" cy="42486"/>
            </a:xfrm>
            <a:custGeom>
              <a:avLst/>
              <a:gdLst>
                <a:gd name="connsiteX0" fmla="*/ 29066 w 42485"/>
                <a:gd name="connsiteY0" fmla="*/ 16320 h 42485"/>
                <a:gd name="connsiteX1" fmla="*/ 33314 w 42485"/>
                <a:gd name="connsiteY1" fmla="*/ 29066 h 42485"/>
                <a:gd name="connsiteX2" fmla="*/ 20569 w 42485"/>
                <a:gd name="connsiteY2" fmla="*/ 33314 h 42485"/>
                <a:gd name="connsiteX3" fmla="*/ 16320 w 42485"/>
                <a:gd name="connsiteY3" fmla="*/ 20569 h 42485"/>
                <a:gd name="connsiteX4" fmla="*/ 29066 w 42485"/>
                <a:gd name="connsiteY4" fmla="*/ 1632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066" y="16320"/>
                  </a:moveTo>
                  <a:cubicBezTo>
                    <a:pt x="33314" y="19152"/>
                    <a:pt x="34731" y="24817"/>
                    <a:pt x="33314" y="29066"/>
                  </a:cubicBezTo>
                  <a:cubicBezTo>
                    <a:pt x="30482" y="33314"/>
                    <a:pt x="24817" y="34731"/>
                    <a:pt x="20569" y="33314"/>
                  </a:cubicBezTo>
                  <a:cubicBezTo>
                    <a:pt x="16320" y="30482"/>
                    <a:pt x="14904" y="24817"/>
                    <a:pt x="16320" y="20569"/>
                  </a:cubicBezTo>
                  <a:cubicBezTo>
                    <a:pt x="17736" y="16320"/>
                    <a:pt x="23401" y="14904"/>
                    <a:pt x="29066" y="1632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12" name="Freeform: Shape 2511">
              <a:extLst>
                <a:ext uri="{FF2B5EF4-FFF2-40B4-BE49-F238E27FC236}">
                  <a16:creationId xmlns:a16="http://schemas.microsoft.com/office/drawing/2014/main" id="{CD466941-3E5B-4DAC-94E4-F4687EF1D7DE}"/>
                </a:ext>
              </a:extLst>
            </p:cNvPr>
            <p:cNvSpPr/>
            <p:nvPr/>
          </p:nvSpPr>
          <p:spPr>
            <a:xfrm>
              <a:off x="3784034" y="5442081"/>
              <a:ext cx="42486" cy="42486"/>
            </a:xfrm>
            <a:custGeom>
              <a:avLst/>
              <a:gdLst>
                <a:gd name="connsiteX0" fmla="*/ 29066 w 42485"/>
                <a:gd name="connsiteY0" fmla="*/ 16320 h 42485"/>
                <a:gd name="connsiteX1" fmla="*/ 33314 w 42485"/>
                <a:gd name="connsiteY1" fmla="*/ 29066 h 42485"/>
                <a:gd name="connsiteX2" fmla="*/ 20569 w 42485"/>
                <a:gd name="connsiteY2" fmla="*/ 33314 h 42485"/>
                <a:gd name="connsiteX3" fmla="*/ 16320 w 42485"/>
                <a:gd name="connsiteY3" fmla="*/ 20569 h 42485"/>
                <a:gd name="connsiteX4" fmla="*/ 29066 w 42485"/>
                <a:gd name="connsiteY4" fmla="*/ 1632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066" y="16320"/>
                  </a:moveTo>
                  <a:cubicBezTo>
                    <a:pt x="33314" y="19152"/>
                    <a:pt x="34731" y="24817"/>
                    <a:pt x="33314" y="29066"/>
                  </a:cubicBezTo>
                  <a:cubicBezTo>
                    <a:pt x="30482" y="33314"/>
                    <a:pt x="24817" y="34731"/>
                    <a:pt x="20569" y="33314"/>
                  </a:cubicBezTo>
                  <a:cubicBezTo>
                    <a:pt x="16320" y="30482"/>
                    <a:pt x="14904" y="24817"/>
                    <a:pt x="16320" y="20569"/>
                  </a:cubicBezTo>
                  <a:cubicBezTo>
                    <a:pt x="19153" y="16320"/>
                    <a:pt x="24817" y="14904"/>
                    <a:pt x="29066" y="1632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13" name="Freeform: Shape 2512">
              <a:extLst>
                <a:ext uri="{FF2B5EF4-FFF2-40B4-BE49-F238E27FC236}">
                  <a16:creationId xmlns:a16="http://schemas.microsoft.com/office/drawing/2014/main" id="{EEC25609-A619-42B1-BDD2-E66F24289E93}"/>
                </a:ext>
              </a:extLst>
            </p:cNvPr>
            <p:cNvSpPr/>
            <p:nvPr/>
          </p:nvSpPr>
          <p:spPr>
            <a:xfrm>
              <a:off x="3775512" y="6138823"/>
              <a:ext cx="42486" cy="42486"/>
            </a:xfrm>
            <a:custGeom>
              <a:avLst/>
              <a:gdLst>
                <a:gd name="connsiteX0" fmla="*/ 24842 w 42485"/>
                <a:gd name="connsiteY0" fmla="*/ 16345 h 42485"/>
                <a:gd name="connsiteX1" fmla="*/ 27674 w 42485"/>
                <a:gd name="connsiteY1" fmla="*/ 24842 h 42485"/>
                <a:gd name="connsiteX2" fmla="*/ 19177 w 42485"/>
                <a:gd name="connsiteY2" fmla="*/ 27674 h 42485"/>
                <a:gd name="connsiteX3" fmla="*/ 16345 w 42485"/>
                <a:gd name="connsiteY3" fmla="*/ 19177 h 42485"/>
                <a:gd name="connsiteX4" fmla="*/ 24842 w 42485"/>
                <a:gd name="connsiteY4" fmla="*/ 1634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6345"/>
                  </a:moveTo>
                  <a:cubicBezTo>
                    <a:pt x="27674" y="17761"/>
                    <a:pt x="29090" y="22009"/>
                    <a:pt x="27674" y="24842"/>
                  </a:cubicBezTo>
                  <a:cubicBezTo>
                    <a:pt x="26258" y="27674"/>
                    <a:pt x="22009" y="29090"/>
                    <a:pt x="19177" y="27674"/>
                  </a:cubicBezTo>
                  <a:cubicBezTo>
                    <a:pt x="16345" y="26258"/>
                    <a:pt x="14928" y="22009"/>
                    <a:pt x="16345" y="19177"/>
                  </a:cubicBezTo>
                  <a:cubicBezTo>
                    <a:pt x="17761" y="16345"/>
                    <a:pt x="22009" y="14928"/>
                    <a:pt x="24842" y="1634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14" name="Freeform: Shape 2513">
              <a:extLst>
                <a:ext uri="{FF2B5EF4-FFF2-40B4-BE49-F238E27FC236}">
                  <a16:creationId xmlns:a16="http://schemas.microsoft.com/office/drawing/2014/main" id="{2E11F8D3-6FDC-4FD3-BD75-AC0CCECCD004}"/>
                </a:ext>
              </a:extLst>
            </p:cNvPr>
            <p:cNvSpPr/>
            <p:nvPr/>
          </p:nvSpPr>
          <p:spPr>
            <a:xfrm>
              <a:off x="3599044" y="6220101"/>
              <a:ext cx="42486" cy="42486"/>
            </a:xfrm>
            <a:custGeom>
              <a:avLst/>
              <a:gdLst>
                <a:gd name="connsiteX0" fmla="*/ 31367 w 42485"/>
                <a:gd name="connsiteY0" fmla="*/ 17205 h 42485"/>
                <a:gd name="connsiteX1" fmla="*/ 35616 w 42485"/>
                <a:gd name="connsiteY1" fmla="*/ 31367 h 42485"/>
                <a:gd name="connsiteX2" fmla="*/ 21454 w 42485"/>
                <a:gd name="connsiteY2" fmla="*/ 35616 h 42485"/>
                <a:gd name="connsiteX3" fmla="*/ 17205 w 42485"/>
                <a:gd name="connsiteY3" fmla="*/ 21454 h 42485"/>
                <a:gd name="connsiteX4" fmla="*/ 31367 w 42485"/>
                <a:gd name="connsiteY4" fmla="*/ 1720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1367" y="17205"/>
                  </a:moveTo>
                  <a:cubicBezTo>
                    <a:pt x="37032" y="20038"/>
                    <a:pt x="38448" y="25702"/>
                    <a:pt x="35616" y="31367"/>
                  </a:cubicBezTo>
                  <a:cubicBezTo>
                    <a:pt x="32783" y="37032"/>
                    <a:pt x="27119" y="38448"/>
                    <a:pt x="21454" y="35616"/>
                  </a:cubicBezTo>
                  <a:cubicBezTo>
                    <a:pt x="15789" y="32783"/>
                    <a:pt x="14373" y="27119"/>
                    <a:pt x="17205" y="21454"/>
                  </a:cubicBezTo>
                  <a:cubicBezTo>
                    <a:pt x="21454" y="15789"/>
                    <a:pt x="27119" y="14373"/>
                    <a:pt x="31367" y="1720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15" name="Freeform: Shape 2514">
              <a:extLst>
                <a:ext uri="{FF2B5EF4-FFF2-40B4-BE49-F238E27FC236}">
                  <a16:creationId xmlns:a16="http://schemas.microsoft.com/office/drawing/2014/main" id="{9D65928B-8A8E-4FD2-B90E-03F5A5271596}"/>
                </a:ext>
              </a:extLst>
            </p:cNvPr>
            <p:cNvSpPr/>
            <p:nvPr/>
          </p:nvSpPr>
          <p:spPr>
            <a:xfrm>
              <a:off x="3684015" y="6049037"/>
              <a:ext cx="70810" cy="70810"/>
            </a:xfrm>
            <a:custGeom>
              <a:avLst/>
              <a:gdLst>
                <a:gd name="connsiteX0" fmla="*/ 48361 w 70809"/>
                <a:gd name="connsiteY0" fmla="*/ 18326 h 70809"/>
                <a:gd name="connsiteX1" fmla="*/ 56858 w 70809"/>
                <a:gd name="connsiteY1" fmla="*/ 48066 h 70809"/>
                <a:gd name="connsiteX2" fmla="*/ 27119 w 70809"/>
                <a:gd name="connsiteY2" fmla="*/ 56563 h 70809"/>
                <a:gd name="connsiteX3" fmla="*/ 18621 w 70809"/>
                <a:gd name="connsiteY3" fmla="*/ 26823 h 70809"/>
                <a:gd name="connsiteX4" fmla="*/ 48361 w 70809"/>
                <a:gd name="connsiteY4" fmla="*/ 18326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8361" y="18326"/>
                  </a:moveTo>
                  <a:cubicBezTo>
                    <a:pt x="59691" y="23991"/>
                    <a:pt x="62523" y="38153"/>
                    <a:pt x="56858" y="48066"/>
                  </a:cubicBezTo>
                  <a:cubicBezTo>
                    <a:pt x="51194" y="59396"/>
                    <a:pt x="37032" y="62228"/>
                    <a:pt x="27119" y="56563"/>
                  </a:cubicBezTo>
                  <a:cubicBezTo>
                    <a:pt x="15789" y="50899"/>
                    <a:pt x="12957" y="36737"/>
                    <a:pt x="18621" y="26823"/>
                  </a:cubicBezTo>
                  <a:cubicBezTo>
                    <a:pt x="24286" y="16910"/>
                    <a:pt x="38448" y="12661"/>
                    <a:pt x="48361" y="1832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16" name="Freeform: Shape 2515">
              <a:extLst>
                <a:ext uri="{FF2B5EF4-FFF2-40B4-BE49-F238E27FC236}">
                  <a16:creationId xmlns:a16="http://schemas.microsoft.com/office/drawing/2014/main" id="{C6C2492E-8492-45AF-9C8D-F799E8C630EA}"/>
                </a:ext>
              </a:extLst>
            </p:cNvPr>
            <p:cNvSpPr/>
            <p:nvPr/>
          </p:nvSpPr>
          <p:spPr>
            <a:xfrm>
              <a:off x="3682599" y="6190637"/>
              <a:ext cx="42486" cy="42486"/>
            </a:xfrm>
            <a:custGeom>
              <a:avLst/>
              <a:gdLst>
                <a:gd name="connsiteX0" fmla="*/ 32783 w 42485"/>
                <a:gd name="connsiteY0" fmla="*/ 16929 h 42485"/>
                <a:gd name="connsiteX1" fmla="*/ 37032 w 42485"/>
                <a:gd name="connsiteY1" fmla="*/ 32507 h 42485"/>
                <a:gd name="connsiteX2" fmla="*/ 21454 w 42485"/>
                <a:gd name="connsiteY2" fmla="*/ 36756 h 42485"/>
                <a:gd name="connsiteX3" fmla="*/ 17205 w 42485"/>
                <a:gd name="connsiteY3" fmla="*/ 21178 h 42485"/>
                <a:gd name="connsiteX4" fmla="*/ 32783 w 42485"/>
                <a:gd name="connsiteY4" fmla="*/ 1692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3" y="16929"/>
                  </a:moveTo>
                  <a:cubicBezTo>
                    <a:pt x="38448" y="19761"/>
                    <a:pt x="39864" y="26842"/>
                    <a:pt x="37032" y="32507"/>
                  </a:cubicBezTo>
                  <a:cubicBezTo>
                    <a:pt x="34199" y="38172"/>
                    <a:pt x="27118" y="39588"/>
                    <a:pt x="21454" y="36756"/>
                  </a:cubicBezTo>
                  <a:cubicBezTo>
                    <a:pt x="15789" y="33923"/>
                    <a:pt x="14373" y="26842"/>
                    <a:pt x="17205" y="21178"/>
                  </a:cubicBezTo>
                  <a:cubicBezTo>
                    <a:pt x="20038" y="16929"/>
                    <a:pt x="27118" y="14097"/>
                    <a:pt x="32783" y="1692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17" name="Freeform: Shape 2516">
              <a:extLst>
                <a:ext uri="{FF2B5EF4-FFF2-40B4-BE49-F238E27FC236}">
                  <a16:creationId xmlns:a16="http://schemas.microsoft.com/office/drawing/2014/main" id="{C1A321E3-8765-4482-B2D6-560871D85225}"/>
                </a:ext>
              </a:extLst>
            </p:cNvPr>
            <p:cNvSpPr/>
            <p:nvPr/>
          </p:nvSpPr>
          <p:spPr>
            <a:xfrm>
              <a:off x="4013988" y="4421268"/>
              <a:ext cx="42486" cy="42486"/>
            </a:xfrm>
            <a:custGeom>
              <a:avLst/>
              <a:gdLst>
                <a:gd name="connsiteX0" fmla="*/ 27118 w 42485"/>
                <a:gd name="connsiteY0" fmla="*/ 16060 h 42485"/>
                <a:gd name="connsiteX1" fmla="*/ 37032 w 42485"/>
                <a:gd name="connsiteY1" fmla="*/ 27390 h 42485"/>
                <a:gd name="connsiteX2" fmla="*/ 25702 w 42485"/>
                <a:gd name="connsiteY2" fmla="*/ 37303 h 42485"/>
                <a:gd name="connsiteX3" fmla="*/ 15789 w 42485"/>
                <a:gd name="connsiteY3" fmla="*/ 25973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4"/>
                    <a:pt x="31367" y="37303"/>
                    <a:pt x="25702" y="37303"/>
                  </a:cubicBezTo>
                  <a:cubicBezTo>
                    <a:pt x="20037" y="37303"/>
                    <a:pt x="15789" y="31638"/>
                    <a:pt x="15789" y="25973"/>
                  </a:cubicBezTo>
                  <a:cubicBezTo>
                    <a:pt x="17205" y="18893"/>
                    <a:pt x="21454" y="14644"/>
                    <a:pt x="27118" y="1606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18" name="Freeform: Shape 2517">
              <a:extLst>
                <a:ext uri="{FF2B5EF4-FFF2-40B4-BE49-F238E27FC236}">
                  <a16:creationId xmlns:a16="http://schemas.microsoft.com/office/drawing/2014/main" id="{7896EAE2-74BB-4E74-84B7-095DE76FF7D4}"/>
                </a:ext>
              </a:extLst>
            </p:cNvPr>
            <p:cNvSpPr/>
            <p:nvPr/>
          </p:nvSpPr>
          <p:spPr>
            <a:xfrm>
              <a:off x="3598513" y="6407038"/>
              <a:ext cx="42486" cy="42486"/>
            </a:xfrm>
            <a:custGeom>
              <a:avLst/>
              <a:gdLst>
                <a:gd name="connsiteX0" fmla="*/ 29066 w 42485"/>
                <a:gd name="connsiteY0" fmla="*/ 17205 h 42485"/>
                <a:gd name="connsiteX1" fmla="*/ 33314 w 42485"/>
                <a:gd name="connsiteY1" fmla="*/ 29951 h 42485"/>
                <a:gd name="connsiteX2" fmla="*/ 20569 w 42485"/>
                <a:gd name="connsiteY2" fmla="*/ 34200 h 42485"/>
                <a:gd name="connsiteX3" fmla="*/ 16320 w 42485"/>
                <a:gd name="connsiteY3" fmla="*/ 21454 h 42485"/>
                <a:gd name="connsiteX4" fmla="*/ 29066 w 42485"/>
                <a:gd name="connsiteY4" fmla="*/ 1720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066" y="17205"/>
                  </a:moveTo>
                  <a:cubicBezTo>
                    <a:pt x="33314" y="20038"/>
                    <a:pt x="34731" y="25703"/>
                    <a:pt x="33314" y="29951"/>
                  </a:cubicBezTo>
                  <a:cubicBezTo>
                    <a:pt x="30482" y="34200"/>
                    <a:pt x="24817" y="35616"/>
                    <a:pt x="20569" y="34200"/>
                  </a:cubicBezTo>
                  <a:cubicBezTo>
                    <a:pt x="16320" y="31367"/>
                    <a:pt x="14904" y="25703"/>
                    <a:pt x="16320" y="21454"/>
                  </a:cubicBezTo>
                  <a:cubicBezTo>
                    <a:pt x="19152" y="15789"/>
                    <a:pt x="24817" y="14373"/>
                    <a:pt x="29066" y="1720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19" name="Freeform: Shape 2518">
              <a:extLst>
                <a:ext uri="{FF2B5EF4-FFF2-40B4-BE49-F238E27FC236}">
                  <a16:creationId xmlns:a16="http://schemas.microsoft.com/office/drawing/2014/main" id="{F7D7B8EF-3E11-4364-B8B3-F5AC3D1731E7}"/>
                </a:ext>
              </a:extLst>
            </p:cNvPr>
            <p:cNvSpPr/>
            <p:nvPr/>
          </p:nvSpPr>
          <p:spPr>
            <a:xfrm>
              <a:off x="3746328" y="4611037"/>
              <a:ext cx="42486" cy="42486"/>
            </a:xfrm>
            <a:custGeom>
              <a:avLst/>
              <a:gdLst>
                <a:gd name="connsiteX0" fmla="*/ 27119 w 42485"/>
                <a:gd name="connsiteY0" fmla="*/ 16060 h 42485"/>
                <a:gd name="connsiteX1" fmla="*/ 37032 w 42485"/>
                <a:gd name="connsiteY1" fmla="*/ 27390 h 42485"/>
                <a:gd name="connsiteX2" fmla="*/ 25702 w 42485"/>
                <a:gd name="connsiteY2" fmla="*/ 37303 h 42485"/>
                <a:gd name="connsiteX3" fmla="*/ 15789 w 42485"/>
                <a:gd name="connsiteY3" fmla="*/ 25973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4"/>
                    <a:pt x="31367" y="37303"/>
                    <a:pt x="25702" y="37303"/>
                  </a:cubicBezTo>
                  <a:cubicBezTo>
                    <a:pt x="20038" y="37303"/>
                    <a:pt x="15789" y="31639"/>
                    <a:pt x="15789" y="25973"/>
                  </a:cubicBezTo>
                  <a:cubicBezTo>
                    <a:pt x="15789" y="18893"/>
                    <a:pt x="21454" y="14644"/>
                    <a:pt x="27119" y="1606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20" name="Freeform: Shape 2519">
              <a:extLst>
                <a:ext uri="{FF2B5EF4-FFF2-40B4-BE49-F238E27FC236}">
                  <a16:creationId xmlns:a16="http://schemas.microsoft.com/office/drawing/2014/main" id="{2ABCBE09-7CC7-4FE0-BD0E-F7A5E8EB3058}"/>
                </a:ext>
              </a:extLst>
            </p:cNvPr>
            <p:cNvSpPr/>
            <p:nvPr/>
          </p:nvSpPr>
          <p:spPr>
            <a:xfrm>
              <a:off x="3662638" y="5174818"/>
              <a:ext cx="70810" cy="70810"/>
            </a:xfrm>
            <a:custGeom>
              <a:avLst/>
              <a:gdLst>
                <a:gd name="connsiteX0" fmla="*/ 44247 w 70809"/>
                <a:gd name="connsiteY0" fmla="*/ 15924 h 70809"/>
                <a:gd name="connsiteX1" fmla="*/ 66906 w 70809"/>
                <a:gd name="connsiteY1" fmla="*/ 44247 h 70809"/>
                <a:gd name="connsiteX2" fmla="*/ 38583 w 70809"/>
                <a:gd name="connsiteY2" fmla="*/ 66907 h 70809"/>
                <a:gd name="connsiteX3" fmla="*/ 15924 w 70809"/>
                <a:gd name="connsiteY3" fmla="*/ 38583 h 70809"/>
                <a:gd name="connsiteX4" fmla="*/ 44247 w 70809"/>
                <a:gd name="connsiteY4" fmla="*/ 15924 h 70809"/>
                <a:gd name="connsiteX5" fmla="*/ 44247 w 70809"/>
                <a:gd name="connsiteY5" fmla="*/ 15924 h 70809"/>
                <a:gd name="connsiteX6" fmla="*/ 42831 w 70809"/>
                <a:gd name="connsiteY6" fmla="*/ 27253 h 70809"/>
                <a:gd name="connsiteX7" fmla="*/ 27253 w 70809"/>
                <a:gd name="connsiteY7" fmla="*/ 39999 h 70809"/>
                <a:gd name="connsiteX8" fmla="*/ 39999 w 70809"/>
                <a:gd name="connsiteY8" fmla="*/ 55577 h 70809"/>
                <a:gd name="connsiteX9" fmla="*/ 55577 w 70809"/>
                <a:gd name="connsiteY9" fmla="*/ 42831 h 70809"/>
                <a:gd name="connsiteX10" fmla="*/ 42831 w 70809"/>
                <a:gd name="connsiteY10" fmla="*/ 27253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247" y="15924"/>
                  </a:moveTo>
                  <a:cubicBezTo>
                    <a:pt x="58409" y="17340"/>
                    <a:pt x="68323" y="30085"/>
                    <a:pt x="66906" y="44247"/>
                  </a:cubicBezTo>
                  <a:cubicBezTo>
                    <a:pt x="65490" y="58409"/>
                    <a:pt x="52744" y="68323"/>
                    <a:pt x="38583" y="66907"/>
                  </a:cubicBezTo>
                  <a:cubicBezTo>
                    <a:pt x="24421" y="65490"/>
                    <a:pt x="14507" y="52745"/>
                    <a:pt x="15924" y="38583"/>
                  </a:cubicBezTo>
                  <a:cubicBezTo>
                    <a:pt x="17340" y="24421"/>
                    <a:pt x="30085" y="14507"/>
                    <a:pt x="44247" y="15924"/>
                  </a:cubicBezTo>
                  <a:lnTo>
                    <a:pt x="44247" y="15924"/>
                  </a:lnTo>
                  <a:close/>
                  <a:moveTo>
                    <a:pt x="42831" y="27253"/>
                  </a:moveTo>
                  <a:cubicBezTo>
                    <a:pt x="34334" y="25837"/>
                    <a:pt x="27253" y="32918"/>
                    <a:pt x="27253" y="39999"/>
                  </a:cubicBezTo>
                  <a:cubicBezTo>
                    <a:pt x="25837" y="48496"/>
                    <a:pt x="32918" y="55577"/>
                    <a:pt x="39999" y="55577"/>
                  </a:cubicBezTo>
                  <a:cubicBezTo>
                    <a:pt x="48496" y="56993"/>
                    <a:pt x="55577" y="49912"/>
                    <a:pt x="55577" y="42831"/>
                  </a:cubicBezTo>
                  <a:cubicBezTo>
                    <a:pt x="56993" y="34334"/>
                    <a:pt x="51328" y="27253"/>
                    <a:pt x="42831" y="2725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21" name="Freeform: Shape 2520">
              <a:extLst>
                <a:ext uri="{FF2B5EF4-FFF2-40B4-BE49-F238E27FC236}">
                  <a16:creationId xmlns:a16="http://schemas.microsoft.com/office/drawing/2014/main" id="{8BB1C21A-935E-4304-9223-648726F48127}"/>
                </a:ext>
              </a:extLst>
            </p:cNvPr>
            <p:cNvSpPr/>
            <p:nvPr/>
          </p:nvSpPr>
          <p:spPr>
            <a:xfrm>
              <a:off x="3828467" y="5231600"/>
              <a:ext cx="56648" cy="56648"/>
            </a:xfrm>
            <a:custGeom>
              <a:avLst/>
              <a:gdLst>
                <a:gd name="connsiteX0" fmla="*/ 31367 w 56647"/>
                <a:gd name="connsiteY0" fmla="*/ 15789 h 56647"/>
                <a:gd name="connsiteX1" fmla="*/ 44113 w 56647"/>
                <a:gd name="connsiteY1" fmla="*/ 31367 h 56647"/>
                <a:gd name="connsiteX2" fmla="*/ 28535 w 56647"/>
                <a:gd name="connsiteY2" fmla="*/ 44113 h 56647"/>
                <a:gd name="connsiteX3" fmla="*/ 15789 w 56647"/>
                <a:gd name="connsiteY3" fmla="*/ 28535 h 56647"/>
                <a:gd name="connsiteX4" fmla="*/ 31367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5789"/>
                  </a:moveTo>
                  <a:cubicBezTo>
                    <a:pt x="38448" y="15789"/>
                    <a:pt x="44113" y="22870"/>
                    <a:pt x="44113" y="31367"/>
                  </a:cubicBezTo>
                  <a:cubicBezTo>
                    <a:pt x="44113" y="38448"/>
                    <a:pt x="37032" y="44113"/>
                    <a:pt x="28535" y="44113"/>
                  </a:cubicBezTo>
                  <a:cubicBezTo>
                    <a:pt x="21454" y="44113"/>
                    <a:pt x="15789" y="37032"/>
                    <a:pt x="15789" y="28535"/>
                  </a:cubicBezTo>
                  <a:cubicBezTo>
                    <a:pt x="17205" y="21454"/>
                    <a:pt x="24286" y="15789"/>
                    <a:pt x="31367"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22" name="Freeform: Shape 2521">
              <a:extLst>
                <a:ext uri="{FF2B5EF4-FFF2-40B4-BE49-F238E27FC236}">
                  <a16:creationId xmlns:a16="http://schemas.microsoft.com/office/drawing/2014/main" id="{5BCB7BC6-856E-49CE-BCB5-A35A2F87C657}"/>
                </a:ext>
              </a:extLst>
            </p:cNvPr>
            <p:cNvSpPr/>
            <p:nvPr/>
          </p:nvSpPr>
          <p:spPr>
            <a:xfrm>
              <a:off x="3722097" y="5050173"/>
              <a:ext cx="56648" cy="56648"/>
            </a:xfrm>
            <a:custGeom>
              <a:avLst/>
              <a:gdLst>
                <a:gd name="connsiteX0" fmla="*/ 35771 w 56647"/>
                <a:gd name="connsiteY0" fmla="*/ 15944 h 56647"/>
                <a:gd name="connsiteX1" fmla="*/ 52765 w 56647"/>
                <a:gd name="connsiteY1" fmla="*/ 35771 h 56647"/>
                <a:gd name="connsiteX2" fmla="*/ 32938 w 56647"/>
                <a:gd name="connsiteY2" fmla="*/ 52765 h 56647"/>
                <a:gd name="connsiteX3" fmla="*/ 15944 w 56647"/>
                <a:gd name="connsiteY3" fmla="*/ 32938 h 56647"/>
                <a:gd name="connsiteX4" fmla="*/ 35771 w 56647"/>
                <a:gd name="connsiteY4" fmla="*/ 1594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44"/>
                  </a:moveTo>
                  <a:cubicBezTo>
                    <a:pt x="45684" y="17360"/>
                    <a:pt x="54181" y="25857"/>
                    <a:pt x="52765" y="35771"/>
                  </a:cubicBezTo>
                  <a:cubicBezTo>
                    <a:pt x="51349" y="45684"/>
                    <a:pt x="42852" y="54181"/>
                    <a:pt x="32938" y="52765"/>
                  </a:cubicBezTo>
                  <a:cubicBezTo>
                    <a:pt x="23025" y="51349"/>
                    <a:pt x="14528" y="42852"/>
                    <a:pt x="15944" y="32938"/>
                  </a:cubicBezTo>
                  <a:cubicBezTo>
                    <a:pt x="15944" y="23025"/>
                    <a:pt x="25857" y="14528"/>
                    <a:pt x="35771" y="1594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23" name="Freeform: Shape 2522">
              <a:extLst>
                <a:ext uri="{FF2B5EF4-FFF2-40B4-BE49-F238E27FC236}">
                  <a16:creationId xmlns:a16="http://schemas.microsoft.com/office/drawing/2014/main" id="{EC0ABB6B-6E33-429E-94A5-B0FCEED66CA9}"/>
                </a:ext>
              </a:extLst>
            </p:cNvPr>
            <p:cNvSpPr/>
            <p:nvPr/>
          </p:nvSpPr>
          <p:spPr>
            <a:xfrm>
              <a:off x="3617454" y="5506341"/>
              <a:ext cx="56648" cy="56648"/>
            </a:xfrm>
            <a:custGeom>
              <a:avLst/>
              <a:gdLst>
                <a:gd name="connsiteX0" fmla="*/ 35616 w 56647"/>
                <a:gd name="connsiteY0" fmla="*/ 15789 h 56647"/>
                <a:gd name="connsiteX1" fmla="*/ 52610 w 56647"/>
                <a:gd name="connsiteY1" fmla="*/ 35616 h 56647"/>
                <a:gd name="connsiteX2" fmla="*/ 32783 w 56647"/>
                <a:gd name="connsiteY2" fmla="*/ 52610 h 56647"/>
                <a:gd name="connsiteX3" fmla="*/ 15789 w 56647"/>
                <a:gd name="connsiteY3" fmla="*/ 32783 h 56647"/>
                <a:gd name="connsiteX4" fmla="*/ 35616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616" y="15789"/>
                  </a:moveTo>
                  <a:cubicBezTo>
                    <a:pt x="45529" y="17205"/>
                    <a:pt x="52610" y="25703"/>
                    <a:pt x="52610" y="35616"/>
                  </a:cubicBezTo>
                  <a:cubicBezTo>
                    <a:pt x="51194" y="45529"/>
                    <a:pt x="42697" y="52610"/>
                    <a:pt x="32783" y="52610"/>
                  </a:cubicBezTo>
                  <a:cubicBezTo>
                    <a:pt x="22870" y="51194"/>
                    <a:pt x="15789" y="42697"/>
                    <a:pt x="15789" y="32783"/>
                  </a:cubicBezTo>
                  <a:cubicBezTo>
                    <a:pt x="17205" y="22870"/>
                    <a:pt x="25702" y="15789"/>
                    <a:pt x="35616"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24" name="Freeform: Shape 2523">
              <a:extLst>
                <a:ext uri="{FF2B5EF4-FFF2-40B4-BE49-F238E27FC236}">
                  <a16:creationId xmlns:a16="http://schemas.microsoft.com/office/drawing/2014/main" id="{63EA29E8-F653-4F19-9CBD-EDE83D93D191}"/>
                </a:ext>
              </a:extLst>
            </p:cNvPr>
            <p:cNvSpPr/>
            <p:nvPr/>
          </p:nvSpPr>
          <p:spPr>
            <a:xfrm>
              <a:off x="3522014" y="5753327"/>
              <a:ext cx="42486" cy="42486"/>
            </a:xfrm>
            <a:custGeom>
              <a:avLst/>
              <a:gdLst>
                <a:gd name="connsiteX0" fmla="*/ 24842 w 42485"/>
                <a:gd name="connsiteY0" fmla="*/ 16636 h 42485"/>
                <a:gd name="connsiteX1" fmla="*/ 27674 w 42485"/>
                <a:gd name="connsiteY1" fmla="*/ 25133 h 42485"/>
                <a:gd name="connsiteX2" fmla="*/ 19177 w 42485"/>
                <a:gd name="connsiteY2" fmla="*/ 27966 h 42485"/>
                <a:gd name="connsiteX3" fmla="*/ 16345 w 42485"/>
                <a:gd name="connsiteY3" fmla="*/ 19468 h 42485"/>
                <a:gd name="connsiteX4" fmla="*/ 24842 w 42485"/>
                <a:gd name="connsiteY4" fmla="*/ 1663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6636"/>
                  </a:moveTo>
                  <a:cubicBezTo>
                    <a:pt x="27674" y="18052"/>
                    <a:pt x="29090" y="22301"/>
                    <a:pt x="27674" y="25133"/>
                  </a:cubicBezTo>
                  <a:cubicBezTo>
                    <a:pt x="26258" y="27966"/>
                    <a:pt x="22009" y="29382"/>
                    <a:pt x="19177" y="27966"/>
                  </a:cubicBezTo>
                  <a:cubicBezTo>
                    <a:pt x="16345" y="26549"/>
                    <a:pt x="14928" y="22301"/>
                    <a:pt x="16345" y="19468"/>
                  </a:cubicBezTo>
                  <a:cubicBezTo>
                    <a:pt x="17761" y="15220"/>
                    <a:pt x="22009" y="15220"/>
                    <a:pt x="24842" y="1663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25" name="Freeform: Shape 2524">
              <a:extLst>
                <a:ext uri="{FF2B5EF4-FFF2-40B4-BE49-F238E27FC236}">
                  <a16:creationId xmlns:a16="http://schemas.microsoft.com/office/drawing/2014/main" id="{C6FE085D-F149-4F92-9312-CD0DFB9ECA4F}"/>
                </a:ext>
              </a:extLst>
            </p:cNvPr>
            <p:cNvSpPr/>
            <p:nvPr/>
          </p:nvSpPr>
          <p:spPr>
            <a:xfrm>
              <a:off x="3764738" y="5410040"/>
              <a:ext cx="42486" cy="42486"/>
            </a:xfrm>
            <a:custGeom>
              <a:avLst/>
              <a:gdLst>
                <a:gd name="connsiteX0" fmla="*/ 27119 w 42485"/>
                <a:gd name="connsiteY0" fmla="*/ 15789 h 42485"/>
                <a:gd name="connsiteX1" fmla="*/ 37032 w 42485"/>
                <a:gd name="connsiteY1" fmla="*/ 27118 h 42485"/>
                <a:gd name="connsiteX2" fmla="*/ 25702 w 42485"/>
                <a:gd name="connsiteY2" fmla="*/ 37032 h 42485"/>
                <a:gd name="connsiteX3" fmla="*/ 15789 w 42485"/>
                <a:gd name="connsiteY3" fmla="*/ 25703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8"/>
                  </a:cubicBezTo>
                  <a:cubicBezTo>
                    <a:pt x="37032" y="32783"/>
                    <a:pt x="31367" y="37032"/>
                    <a:pt x="25702" y="37032"/>
                  </a:cubicBezTo>
                  <a:cubicBezTo>
                    <a:pt x="20038" y="37032"/>
                    <a:pt x="15789" y="31367"/>
                    <a:pt x="15789" y="25703"/>
                  </a:cubicBezTo>
                  <a:cubicBezTo>
                    <a:pt x="15789" y="20037"/>
                    <a:pt x="21454" y="15789"/>
                    <a:pt x="27119"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26" name="Freeform: Shape 2525">
              <a:extLst>
                <a:ext uri="{FF2B5EF4-FFF2-40B4-BE49-F238E27FC236}">
                  <a16:creationId xmlns:a16="http://schemas.microsoft.com/office/drawing/2014/main" id="{ADABC6D3-B737-4187-9AA7-62A267F355D0}"/>
                </a:ext>
              </a:extLst>
            </p:cNvPr>
            <p:cNvSpPr/>
            <p:nvPr/>
          </p:nvSpPr>
          <p:spPr>
            <a:xfrm>
              <a:off x="4246089" y="5020434"/>
              <a:ext cx="70810" cy="70810"/>
            </a:xfrm>
            <a:custGeom>
              <a:avLst/>
              <a:gdLst>
                <a:gd name="connsiteX0" fmla="*/ 40018 w 70809"/>
                <a:gd name="connsiteY0" fmla="*/ 15943 h 70809"/>
                <a:gd name="connsiteX1" fmla="*/ 59845 w 70809"/>
                <a:gd name="connsiteY1" fmla="*/ 40018 h 70809"/>
                <a:gd name="connsiteX2" fmla="*/ 35769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2"/>
                    <a:pt x="59845" y="40018"/>
                  </a:cubicBezTo>
                  <a:cubicBezTo>
                    <a:pt x="58429" y="52764"/>
                    <a:pt x="48515" y="61261"/>
                    <a:pt x="35769" y="59845"/>
                  </a:cubicBezTo>
                  <a:cubicBezTo>
                    <a:pt x="23024" y="58429"/>
                    <a:pt x="14527" y="48515"/>
                    <a:pt x="15943" y="35769"/>
                  </a:cubicBezTo>
                  <a:cubicBezTo>
                    <a:pt x="15943" y="23024"/>
                    <a:pt x="27272" y="14527"/>
                    <a:pt x="40018" y="1594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27" name="Freeform: Shape 2526">
              <a:extLst>
                <a:ext uri="{FF2B5EF4-FFF2-40B4-BE49-F238E27FC236}">
                  <a16:creationId xmlns:a16="http://schemas.microsoft.com/office/drawing/2014/main" id="{F6897357-4252-4C4E-9EB9-4E23FBF1ED47}"/>
                </a:ext>
              </a:extLst>
            </p:cNvPr>
            <p:cNvSpPr/>
            <p:nvPr/>
          </p:nvSpPr>
          <p:spPr>
            <a:xfrm>
              <a:off x="4093076" y="5347456"/>
              <a:ext cx="42486" cy="42486"/>
            </a:xfrm>
            <a:custGeom>
              <a:avLst/>
              <a:gdLst>
                <a:gd name="connsiteX0" fmla="*/ 27337 w 42485"/>
                <a:gd name="connsiteY0" fmla="*/ 16060 h 42485"/>
                <a:gd name="connsiteX1" fmla="*/ 37250 w 42485"/>
                <a:gd name="connsiteY1" fmla="*/ 27390 h 42485"/>
                <a:gd name="connsiteX2" fmla="*/ 25921 w 42485"/>
                <a:gd name="connsiteY2" fmla="*/ 37303 h 42485"/>
                <a:gd name="connsiteX3" fmla="*/ 16007 w 42485"/>
                <a:gd name="connsiteY3" fmla="*/ 25973 h 42485"/>
                <a:gd name="connsiteX4" fmla="*/ 27337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16060"/>
                  </a:moveTo>
                  <a:cubicBezTo>
                    <a:pt x="33002" y="16060"/>
                    <a:pt x="37250" y="21725"/>
                    <a:pt x="37250" y="27390"/>
                  </a:cubicBezTo>
                  <a:cubicBezTo>
                    <a:pt x="37250" y="33054"/>
                    <a:pt x="31586" y="37303"/>
                    <a:pt x="25921" y="37303"/>
                  </a:cubicBezTo>
                  <a:cubicBezTo>
                    <a:pt x="20256" y="37303"/>
                    <a:pt x="16007" y="31639"/>
                    <a:pt x="16007" y="25973"/>
                  </a:cubicBezTo>
                  <a:cubicBezTo>
                    <a:pt x="14591" y="18893"/>
                    <a:pt x="20256" y="14644"/>
                    <a:pt x="27337" y="1606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28" name="Freeform: Shape 2527">
              <a:extLst>
                <a:ext uri="{FF2B5EF4-FFF2-40B4-BE49-F238E27FC236}">
                  <a16:creationId xmlns:a16="http://schemas.microsoft.com/office/drawing/2014/main" id="{2439DA0A-B317-4B91-96A9-0B122C3095EA}"/>
                </a:ext>
              </a:extLst>
            </p:cNvPr>
            <p:cNvSpPr/>
            <p:nvPr/>
          </p:nvSpPr>
          <p:spPr>
            <a:xfrm>
              <a:off x="4222168" y="5239826"/>
              <a:ext cx="42486" cy="42486"/>
            </a:xfrm>
            <a:custGeom>
              <a:avLst/>
              <a:gdLst>
                <a:gd name="connsiteX0" fmla="*/ 27119 w 42485"/>
                <a:gd name="connsiteY0" fmla="*/ 16060 h 42485"/>
                <a:gd name="connsiteX1" fmla="*/ 37032 w 42485"/>
                <a:gd name="connsiteY1" fmla="*/ 27390 h 42485"/>
                <a:gd name="connsiteX2" fmla="*/ 25702 w 42485"/>
                <a:gd name="connsiteY2" fmla="*/ 37303 h 42485"/>
                <a:gd name="connsiteX3" fmla="*/ 15789 w 42485"/>
                <a:gd name="connsiteY3" fmla="*/ 25974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5"/>
                    <a:pt x="31367" y="37303"/>
                    <a:pt x="25702" y="37303"/>
                  </a:cubicBezTo>
                  <a:cubicBezTo>
                    <a:pt x="20038" y="37303"/>
                    <a:pt x="15789" y="31639"/>
                    <a:pt x="15789" y="25974"/>
                  </a:cubicBezTo>
                  <a:cubicBezTo>
                    <a:pt x="15789" y="18893"/>
                    <a:pt x="21454" y="14644"/>
                    <a:pt x="27119" y="1606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29" name="Freeform: Shape 2528">
              <a:extLst>
                <a:ext uri="{FF2B5EF4-FFF2-40B4-BE49-F238E27FC236}">
                  <a16:creationId xmlns:a16="http://schemas.microsoft.com/office/drawing/2014/main" id="{0E49144F-A6D3-4B37-8970-303E1A6632EE}"/>
                </a:ext>
              </a:extLst>
            </p:cNvPr>
            <p:cNvSpPr/>
            <p:nvPr/>
          </p:nvSpPr>
          <p:spPr>
            <a:xfrm>
              <a:off x="4138458" y="5140784"/>
              <a:ext cx="56648" cy="56648"/>
            </a:xfrm>
            <a:custGeom>
              <a:avLst/>
              <a:gdLst>
                <a:gd name="connsiteX0" fmla="*/ 35771 w 56647"/>
                <a:gd name="connsiteY0" fmla="*/ 15969 h 56647"/>
                <a:gd name="connsiteX1" fmla="*/ 52765 w 56647"/>
                <a:gd name="connsiteY1" fmla="*/ 35795 h 56647"/>
                <a:gd name="connsiteX2" fmla="*/ 32938 w 56647"/>
                <a:gd name="connsiteY2" fmla="*/ 52790 h 56647"/>
                <a:gd name="connsiteX3" fmla="*/ 15944 w 56647"/>
                <a:gd name="connsiteY3" fmla="*/ 32963 h 56647"/>
                <a:gd name="connsiteX4" fmla="*/ 35771 w 56647"/>
                <a:gd name="connsiteY4" fmla="*/ 1596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69"/>
                  </a:moveTo>
                  <a:cubicBezTo>
                    <a:pt x="45684" y="17385"/>
                    <a:pt x="54181" y="25882"/>
                    <a:pt x="52765" y="35795"/>
                  </a:cubicBezTo>
                  <a:cubicBezTo>
                    <a:pt x="51349" y="45709"/>
                    <a:pt x="42852" y="54206"/>
                    <a:pt x="32938" y="52790"/>
                  </a:cubicBezTo>
                  <a:cubicBezTo>
                    <a:pt x="23025" y="51373"/>
                    <a:pt x="14528" y="42876"/>
                    <a:pt x="15944" y="32963"/>
                  </a:cubicBezTo>
                  <a:cubicBezTo>
                    <a:pt x="17360" y="21633"/>
                    <a:pt x="25857" y="14552"/>
                    <a:pt x="35771" y="1596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30" name="Freeform: Shape 2529">
              <a:extLst>
                <a:ext uri="{FF2B5EF4-FFF2-40B4-BE49-F238E27FC236}">
                  <a16:creationId xmlns:a16="http://schemas.microsoft.com/office/drawing/2014/main" id="{F6DD4CB5-87CD-4696-9A4C-8B7F7FFDEA4B}"/>
                </a:ext>
              </a:extLst>
            </p:cNvPr>
            <p:cNvSpPr/>
            <p:nvPr/>
          </p:nvSpPr>
          <p:spPr>
            <a:xfrm>
              <a:off x="4154036" y="5404196"/>
              <a:ext cx="56648" cy="56648"/>
            </a:xfrm>
            <a:custGeom>
              <a:avLst/>
              <a:gdLst>
                <a:gd name="connsiteX0" fmla="*/ 35771 w 56647"/>
                <a:gd name="connsiteY0" fmla="*/ 15969 h 56647"/>
                <a:gd name="connsiteX1" fmla="*/ 52765 w 56647"/>
                <a:gd name="connsiteY1" fmla="*/ 35795 h 56647"/>
                <a:gd name="connsiteX2" fmla="*/ 32938 w 56647"/>
                <a:gd name="connsiteY2" fmla="*/ 52790 h 56647"/>
                <a:gd name="connsiteX3" fmla="*/ 15944 w 56647"/>
                <a:gd name="connsiteY3" fmla="*/ 32963 h 56647"/>
                <a:gd name="connsiteX4" fmla="*/ 35771 w 56647"/>
                <a:gd name="connsiteY4" fmla="*/ 1596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69"/>
                  </a:moveTo>
                  <a:cubicBezTo>
                    <a:pt x="45684" y="17385"/>
                    <a:pt x="54181" y="25882"/>
                    <a:pt x="52765" y="35795"/>
                  </a:cubicBezTo>
                  <a:cubicBezTo>
                    <a:pt x="51349" y="45709"/>
                    <a:pt x="42852" y="54205"/>
                    <a:pt x="32938" y="52790"/>
                  </a:cubicBezTo>
                  <a:cubicBezTo>
                    <a:pt x="23025" y="51373"/>
                    <a:pt x="14528" y="42876"/>
                    <a:pt x="15944" y="32963"/>
                  </a:cubicBezTo>
                  <a:cubicBezTo>
                    <a:pt x="15944" y="21633"/>
                    <a:pt x="25857" y="14552"/>
                    <a:pt x="35771" y="1596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31" name="Freeform: Shape 2530">
              <a:extLst>
                <a:ext uri="{FF2B5EF4-FFF2-40B4-BE49-F238E27FC236}">
                  <a16:creationId xmlns:a16="http://schemas.microsoft.com/office/drawing/2014/main" id="{6ACE3D7D-978B-4443-8079-497887C95447}"/>
                </a:ext>
              </a:extLst>
            </p:cNvPr>
            <p:cNvSpPr/>
            <p:nvPr/>
          </p:nvSpPr>
          <p:spPr>
            <a:xfrm>
              <a:off x="4131532" y="5342063"/>
              <a:ext cx="56648" cy="56648"/>
            </a:xfrm>
            <a:custGeom>
              <a:avLst/>
              <a:gdLst>
                <a:gd name="connsiteX0" fmla="*/ 31367 w 56647"/>
                <a:gd name="connsiteY0" fmla="*/ 15789 h 56647"/>
                <a:gd name="connsiteX1" fmla="*/ 44113 w 56647"/>
                <a:gd name="connsiteY1" fmla="*/ 31367 h 56647"/>
                <a:gd name="connsiteX2" fmla="*/ 28535 w 56647"/>
                <a:gd name="connsiteY2" fmla="*/ 44113 h 56647"/>
                <a:gd name="connsiteX3" fmla="*/ 15789 w 56647"/>
                <a:gd name="connsiteY3" fmla="*/ 28535 h 56647"/>
                <a:gd name="connsiteX4" fmla="*/ 31367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5789"/>
                  </a:moveTo>
                  <a:cubicBezTo>
                    <a:pt x="38448" y="17205"/>
                    <a:pt x="44113" y="22870"/>
                    <a:pt x="44113" y="31367"/>
                  </a:cubicBezTo>
                  <a:cubicBezTo>
                    <a:pt x="42697" y="38448"/>
                    <a:pt x="37032" y="44113"/>
                    <a:pt x="28535" y="44113"/>
                  </a:cubicBezTo>
                  <a:cubicBezTo>
                    <a:pt x="21454" y="42697"/>
                    <a:pt x="15789" y="37032"/>
                    <a:pt x="15789" y="28535"/>
                  </a:cubicBezTo>
                  <a:cubicBezTo>
                    <a:pt x="15789" y="21454"/>
                    <a:pt x="22870" y="15789"/>
                    <a:pt x="31367"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32" name="Freeform: Shape 2531">
              <a:extLst>
                <a:ext uri="{FF2B5EF4-FFF2-40B4-BE49-F238E27FC236}">
                  <a16:creationId xmlns:a16="http://schemas.microsoft.com/office/drawing/2014/main" id="{DDBFB66A-D81E-44DC-849A-A962BA06AE8C}"/>
                </a:ext>
              </a:extLst>
            </p:cNvPr>
            <p:cNvSpPr/>
            <p:nvPr/>
          </p:nvSpPr>
          <p:spPr>
            <a:xfrm>
              <a:off x="3788679" y="4274135"/>
              <a:ext cx="70810" cy="70810"/>
            </a:xfrm>
            <a:custGeom>
              <a:avLst/>
              <a:gdLst>
                <a:gd name="connsiteX0" fmla="*/ 44247 w 70809"/>
                <a:gd name="connsiteY0" fmla="*/ 15909 h 70809"/>
                <a:gd name="connsiteX1" fmla="*/ 66907 w 70809"/>
                <a:gd name="connsiteY1" fmla="*/ 44233 h 70809"/>
                <a:gd name="connsiteX2" fmla="*/ 38583 w 70809"/>
                <a:gd name="connsiteY2" fmla="*/ 66892 h 70809"/>
                <a:gd name="connsiteX3" fmla="*/ 15924 w 70809"/>
                <a:gd name="connsiteY3" fmla="*/ 38568 h 70809"/>
                <a:gd name="connsiteX4" fmla="*/ 44247 w 70809"/>
                <a:gd name="connsiteY4" fmla="*/ 15909 h 70809"/>
                <a:gd name="connsiteX5" fmla="*/ 44247 w 70809"/>
                <a:gd name="connsiteY5" fmla="*/ 15909 h 70809"/>
                <a:gd name="connsiteX6" fmla="*/ 42831 w 70809"/>
                <a:gd name="connsiteY6" fmla="*/ 27239 h 70809"/>
                <a:gd name="connsiteX7" fmla="*/ 27253 w 70809"/>
                <a:gd name="connsiteY7" fmla="*/ 39984 h 70809"/>
                <a:gd name="connsiteX8" fmla="*/ 39999 w 70809"/>
                <a:gd name="connsiteY8" fmla="*/ 55563 h 70809"/>
                <a:gd name="connsiteX9" fmla="*/ 55577 w 70809"/>
                <a:gd name="connsiteY9" fmla="*/ 42817 h 70809"/>
                <a:gd name="connsiteX10" fmla="*/ 42831 w 70809"/>
                <a:gd name="connsiteY10" fmla="*/ 27239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247" y="15909"/>
                  </a:moveTo>
                  <a:cubicBezTo>
                    <a:pt x="58409" y="17325"/>
                    <a:pt x="68323" y="30071"/>
                    <a:pt x="66907" y="44233"/>
                  </a:cubicBezTo>
                  <a:cubicBezTo>
                    <a:pt x="65490" y="58395"/>
                    <a:pt x="52745" y="68308"/>
                    <a:pt x="38583" y="66892"/>
                  </a:cubicBezTo>
                  <a:cubicBezTo>
                    <a:pt x="24421" y="65476"/>
                    <a:pt x="14507" y="52730"/>
                    <a:pt x="15924" y="38568"/>
                  </a:cubicBezTo>
                  <a:cubicBezTo>
                    <a:pt x="17340" y="25822"/>
                    <a:pt x="30085" y="14493"/>
                    <a:pt x="44247" y="15909"/>
                  </a:cubicBezTo>
                  <a:lnTo>
                    <a:pt x="44247" y="15909"/>
                  </a:lnTo>
                  <a:close/>
                  <a:moveTo>
                    <a:pt x="42831" y="27239"/>
                  </a:moveTo>
                  <a:cubicBezTo>
                    <a:pt x="34334" y="25822"/>
                    <a:pt x="27253" y="32903"/>
                    <a:pt x="27253" y="39984"/>
                  </a:cubicBezTo>
                  <a:cubicBezTo>
                    <a:pt x="25837" y="48482"/>
                    <a:pt x="32918" y="55563"/>
                    <a:pt x="39999" y="55563"/>
                  </a:cubicBezTo>
                  <a:cubicBezTo>
                    <a:pt x="48496" y="56979"/>
                    <a:pt x="55577" y="49898"/>
                    <a:pt x="55577" y="42817"/>
                  </a:cubicBezTo>
                  <a:cubicBezTo>
                    <a:pt x="56993" y="35736"/>
                    <a:pt x="49912" y="28655"/>
                    <a:pt x="42831" y="2723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33" name="Freeform: Shape 2532">
              <a:extLst>
                <a:ext uri="{FF2B5EF4-FFF2-40B4-BE49-F238E27FC236}">
                  <a16:creationId xmlns:a16="http://schemas.microsoft.com/office/drawing/2014/main" id="{DB1E1331-FAA7-4983-9D54-84C9BF849129}"/>
                </a:ext>
              </a:extLst>
            </p:cNvPr>
            <p:cNvSpPr/>
            <p:nvPr/>
          </p:nvSpPr>
          <p:spPr>
            <a:xfrm>
              <a:off x="3756087" y="3968358"/>
              <a:ext cx="70810" cy="70810"/>
            </a:xfrm>
            <a:custGeom>
              <a:avLst/>
              <a:gdLst>
                <a:gd name="connsiteX0" fmla="*/ 40018 w 70809"/>
                <a:gd name="connsiteY0" fmla="*/ 15789 h 70809"/>
                <a:gd name="connsiteX1" fmla="*/ 59845 w 70809"/>
                <a:gd name="connsiteY1" fmla="*/ 39864 h 70809"/>
                <a:gd name="connsiteX2" fmla="*/ 35770 w 70809"/>
                <a:gd name="connsiteY2" fmla="*/ 59691 h 70809"/>
                <a:gd name="connsiteX3" fmla="*/ 15943 w 70809"/>
                <a:gd name="connsiteY3" fmla="*/ 35616 h 70809"/>
                <a:gd name="connsiteX4" fmla="*/ 40018 w 70809"/>
                <a:gd name="connsiteY4" fmla="*/ 1578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789"/>
                  </a:moveTo>
                  <a:cubicBezTo>
                    <a:pt x="52764" y="17205"/>
                    <a:pt x="61261" y="27118"/>
                    <a:pt x="59845" y="39864"/>
                  </a:cubicBezTo>
                  <a:cubicBezTo>
                    <a:pt x="58429" y="52610"/>
                    <a:pt x="48515" y="61107"/>
                    <a:pt x="35770" y="59691"/>
                  </a:cubicBezTo>
                  <a:cubicBezTo>
                    <a:pt x="23024" y="58275"/>
                    <a:pt x="14527" y="48361"/>
                    <a:pt x="15943" y="35616"/>
                  </a:cubicBezTo>
                  <a:cubicBezTo>
                    <a:pt x="17359" y="24286"/>
                    <a:pt x="28689" y="15789"/>
                    <a:pt x="40018"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34" name="Freeform: Shape 2533">
              <a:extLst>
                <a:ext uri="{FF2B5EF4-FFF2-40B4-BE49-F238E27FC236}">
                  <a16:creationId xmlns:a16="http://schemas.microsoft.com/office/drawing/2014/main" id="{F98DB794-2257-43C9-B47D-6CE71134E77C}"/>
                </a:ext>
              </a:extLst>
            </p:cNvPr>
            <p:cNvSpPr/>
            <p:nvPr/>
          </p:nvSpPr>
          <p:spPr>
            <a:xfrm>
              <a:off x="4066206" y="4060410"/>
              <a:ext cx="56648" cy="56648"/>
            </a:xfrm>
            <a:custGeom>
              <a:avLst/>
              <a:gdLst>
                <a:gd name="connsiteX0" fmla="*/ 32965 w 56647"/>
                <a:gd name="connsiteY0" fmla="*/ 15789 h 56647"/>
                <a:gd name="connsiteX1" fmla="*/ 47127 w 56647"/>
                <a:gd name="connsiteY1" fmla="*/ 32783 h 56647"/>
                <a:gd name="connsiteX2" fmla="*/ 30132 w 56647"/>
                <a:gd name="connsiteY2" fmla="*/ 46945 h 56647"/>
                <a:gd name="connsiteX3" fmla="*/ 15970 w 56647"/>
                <a:gd name="connsiteY3" fmla="*/ 29951 h 56647"/>
                <a:gd name="connsiteX4" fmla="*/ 32965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789"/>
                  </a:moveTo>
                  <a:cubicBezTo>
                    <a:pt x="41462" y="17205"/>
                    <a:pt x="48543" y="24286"/>
                    <a:pt x="47127" y="32783"/>
                  </a:cubicBezTo>
                  <a:cubicBezTo>
                    <a:pt x="45710" y="41280"/>
                    <a:pt x="38629" y="48361"/>
                    <a:pt x="30132" y="46945"/>
                  </a:cubicBezTo>
                  <a:cubicBezTo>
                    <a:pt x="21635" y="45529"/>
                    <a:pt x="14554" y="38448"/>
                    <a:pt x="15970" y="29951"/>
                  </a:cubicBezTo>
                  <a:cubicBezTo>
                    <a:pt x="15970" y="21454"/>
                    <a:pt x="24467" y="15789"/>
                    <a:pt x="32965"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35" name="Freeform: Shape 2534">
              <a:extLst>
                <a:ext uri="{FF2B5EF4-FFF2-40B4-BE49-F238E27FC236}">
                  <a16:creationId xmlns:a16="http://schemas.microsoft.com/office/drawing/2014/main" id="{D907BCF6-64AE-42C0-BD8D-FDE480066882}"/>
                </a:ext>
              </a:extLst>
            </p:cNvPr>
            <p:cNvSpPr/>
            <p:nvPr/>
          </p:nvSpPr>
          <p:spPr>
            <a:xfrm>
              <a:off x="3671269" y="4312492"/>
              <a:ext cx="42486" cy="42486"/>
            </a:xfrm>
            <a:custGeom>
              <a:avLst/>
              <a:gdLst>
                <a:gd name="connsiteX0" fmla="*/ 25703 w 42485"/>
                <a:gd name="connsiteY0" fmla="*/ 15789 h 42485"/>
                <a:gd name="connsiteX1" fmla="*/ 34200 w 42485"/>
                <a:gd name="connsiteY1" fmla="*/ 25703 h 42485"/>
                <a:gd name="connsiteX2" fmla="*/ 24286 w 42485"/>
                <a:gd name="connsiteY2" fmla="*/ 34199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31367" y="15789"/>
                    <a:pt x="34200" y="21454"/>
                    <a:pt x="34200" y="25703"/>
                  </a:cubicBezTo>
                  <a:cubicBezTo>
                    <a:pt x="34200" y="31367"/>
                    <a:pt x="28535" y="34199"/>
                    <a:pt x="24286" y="34199"/>
                  </a:cubicBezTo>
                  <a:cubicBezTo>
                    <a:pt x="18622" y="34199"/>
                    <a:pt x="15789" y="28535"/>
                    <a:pt x="15789" y="24286"/>
                  </a:cubicBezTo>
                  <a:cubicBezTo>
                    <a:pt x="15789" y="20037"/>
                    <a:pt x="20038" y="15789"/>
                    <a:pt x="25703"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36" name="Freeform: Shape 2535">
              <a:extLst>
                <a:ext uri="{FF2B5EF4-FFF2-40B4-BE49-F238E27FC236}">
                  <a16:creationId xmlns:a16="http://schemas.microsoft.com/office/drawing/2014/main" id="{725704E8-A583-4906-91D3-6AF67EE9AD42}"/>
                </a:ext>
              </a:extLst>
            </p:cNvPr>
            <p:cNvSpPr/>
            <p:nvPr/>
          </p:nvSpPr>
          <p:spPr>
            <a:xfrm>
              <a:off x="3879450" y="4068907"/>
              <a:ext cx="42486" cy="42486"/>
            </a:xfrm>
            <a:custGeom>
              <a:avLst/>
              <a:gdLst>
                <a:gd name="connsiteX0" fmla="*/ 25702 w 42485"/>
                <a:gd name="connsiteY0" fmla="*/ 15789 h 42485"/>
                <a:gd name="connsiteX1" fmla="*/ 34199 w 42485"/>
                <a:gd name="connsiteY1" fmla="*/ 25703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0038"/>
                    <a:pt x="34199" y="25703"/>
                  </a:cubicBezTo>
                  <a:cubicBezTo>
                    <a:pt x="34199" y="31367"/>
                    <a:pt x="28535" y="34200"/>
                    <a:pt x="24286" y="34200"/>
                  </a:cubicBezTo>
                  <a:cubicBezTo>
                    <a:pt x="18621" y="34200"/>
                    <a:pt x="15789" y="29951"/>
                    <a:pt x="15789" y="24286"/>
                  </a:cubicBezTo>
                  <a:cubicBezTo>
                    <a:pt x="15789" y="18622"/>
                    <a:pt x="20037" y="15789"/>
                    <a:pt x="25702"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37" name="Freeform: Shape 2536">
              <a:extLst>
                <a:ext uri="{FF2B5EF4-FFF2-40B4-BE49-F238E27FC236}">
                  <a16:creationId xmlns:a16="http://schemas.microsoft.com/office/drawing/2014/main" id="{71096569-4CF9-44EB-98C7-2848F05F84DB}"/>
                </a:ext>
              </a:extLst>
            </p:cNvPr>
            <p:cNvSpPr/>
            <p:nvPr/>
          </p:nvSpPr>
          <p:spPr>
            <a:xfrm>
              <a:off x="3668330" y="4096869"/>
              <a:ext cx="84971" cy="84971"/>
            </a:xfrm>
            <a:custGeom>
              <a:avLst/>
              <a:gdLst>
                <a:gd name="connsiteX0" fmla="*/ 51301 w 84971"/>
                <a:gd name="connsiteY0" fmla="*/ 16151 h 84971"/>
                <a:gd name="connsiteX1" fmla="*/ 81041 w 84971"/>
                <a:gd name="connsiteY1" fmla="*/ 51556 h 84971"/>
                <a:gd name="connsiteX2" fmla="*/ 45636 w 84971"/>
                <a:gd name="connsiteY2" fmla="*/ 81296 h 84971"/>
                <a:gd name="connsiteX3" fmla="*/ 15896 w 84971"/>
                <a:gd name="connsiteY3" fmla="*/ 45891 h 84971"/>
                <a:gd name="connsiteX4" fmla="*/ 51301 w 84971"/>
                <a:gd name="connsiteY4" fmla="*/ 16151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51301" y="16151"/>
                  </a:moveTo>
                  <a:cubicBezTo>
                    <a:pt x="69712" y="17567"/>
                    <a:pt x="82457" y="33145"/>
                    <a:pt x="81041" y="51556"/>
                  </a:cubicBezTo>
                  <a:cubicBezTo>
                    <a:pt x="79625" y="69966"/>
                    <a:pt x="62631" y="82712"/>
                    <a:pt x="45636" y="81296"/>
                  </a:cubicBezTo>
                  <a:cubicBezTo>
                    <a:pt x="27226" y="79879"/>
                    <a:pt x="14480" y="62885"/>
                    <a:pt x="15896" y="45891"/>
                  </a:cubicBezTo>
                  <a:cubicBezTo>
                    <a:pt x="17313" y="27481"/>
                    <a:pt x="34307" y="13319"/>
                    <a:pt x="51301" y="1615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38" name="Freeform: Shape 2537">
              <a:extLst>
                <a:ext uri="{FF2B5EF4-FFF2-40B4-BE49-F238E27FC236}">
                  <a16:creationId xmlns:a16="http://schemas.microsoft.com/office/drawing/2014/main" id="{6FFE5B35-2591-4DDF-8D19-9B5387B3B4E9}"/>
                </a:ext>
              </a:extLst>
            </p:cNvPr>
            <p:cNvSpPr/>
            <p:nvPr/>
          </p:nvSpPr>
          <p:spPr>
            <a:xfrm>
              <a:off x="4225000" y="4136610"/>
              <a:ext cx="42486" cy="42486"/>
            </a:xfrm>
            <a:custGeom>
              <a:avLst/>
              <a:gdLst>
                <a:gd name="connsiteX0" fmla="*/ 25702 w 42485"/>
                <a:gd name="connsiteY0" fmla="*/ 16064 h 42485"/>
                <a:gd name="connsiteX1" fmla="*/ 34200 w 42485"/>
                <a:gd name="connsiteY1" fmla="*/ 25977 h 42485"/>
                <a:gd name="connsiteX2" fmla="*/ 24286 w 42485"/>
                <a:gd name="connsiteY2" fmla="*/ 34474 h 42485"/>
                <a:gd name="connsiteX3" fmla="*/ 15789 w 42485"/>
                <a:gd name="connsiteY3" fmla="*/ 24561 h 42485"/>
                <a:gd name="connsiteX4" fmla="*/ 25702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6064"/>
                  </a:moveTo>
                  <a:cubicBezTo>
                    <a:pt x="29951" y="16064"/>
                    <a:pt x="34200" y="20312"/>
                    <a:pt x="34200" y="25977"/>
                  </a:cubicBezTo>
                  <a:cubicBezTo>
                    <a:pt x="34200" y="30225"/>
                    <a:pt x="29951" y="34474"/>
                    <a:pt x="24286" y="34474"/>
                  </a:cubicBezTo>
                  <a:cubicBezTo>
                    <a:pt x="20038" y="34474"/>
                    <a:pt x="15789" y="30225"/>
                    <a:pt x="15789" y="24561"/>
                  </a:cubicBezTo>
                  <a:cubicBezTo>
                    <a:pt x="15789" y="18896"/>
                    <a:pt x="20038" y="14647"/>
                    <a:pt x="25702" y="1606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39" name="Freeform: Shape 2538">
              <a:extLst>
                <a:ext uri="{FF2B5EF4-FFF2-40B4-BE49-F238E27FC236}">
                  <a16:creationId xmlns:a16="http://schemas.microsoft.com/office/drawing/2014/main" id="{30E1128A-C8E5-42E4-B92F-BF5F12BE4646}"/>
                </a:ext>
              </a:extLst>
            </p:cNvPr>
            <p:cNvSpPr/>
            <p:nvPr/>
          </p:nvSpPr>
          <p:spPr>
            <a:xfrm>
              <a:off x="3968670" y="4020482"/>
              <a:ext cx="42486" cy="42486"/>
            </a:xfrm>
            <a:custGeom>
              <a:avLst/>
              <a:gdLst>
                <a:gd name="connsiteX0" fmla="*/ 25703 w 42485"/>
                <a:gd name="connsiteY0" fmla="*/ 16063 h 42485"/>
                <a:gd name="connsiteX1" fmla="*/ 34200 w 42485"/>
                <a:gd name="connsiteY1" fmla="*/ 25977 h 42485"/>
                <a:gd name="connsiteX2" fmla="*/ 24286 w 42485"/>
                <a:gd name="connsiteY2" fmla="*/ 34474 h 42485"/>
                <a:gd name="connsiteX3" fmla="*/ 15789 w 42485"/>
                <a:gd name="connsiteY3" fmla="*/ 24561 h 42485"/>
                <a:gd name="connsiteX4" fmla="*/ 25703 w 42485"/>
                <a:gd name="connsiteY4" fmla="*/ 1606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3"/>
                  </a:moveTo>
                  <a:cubicBezTo>
                    <a:pt x="29951" y="16063"/>
                    <a:pt x="34200" y="20312"/>
                    <a:pt x="34200" y="25977"/>
                  </a:cubicBezTo>
                  <a:cubicBezTo>
                    <a:pt x="34200" y="30225"/>
                    <a:pt x="29951" y="34474"/>
                    <a:pt x="24286" y="34474"/>
                  </a:cubicBezTo>
                  <a:cubicBezTo>
                    <a:pt x="20038" y="34474"/>
                    <a:pt x="15789" y="30225"/>
                    <a:pt x="15789" y="24561"/>
                  </a:cubicBezTo>
                  <a:cubicBezTo>
                    <a:pt x="17205" y="18896"/>
                    <a:pt x="21454" y="14647"/>
                    <a:pt x="25703" y="1606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40" name="Freeform: Shape 2539">
              <a:extLst>
                <a:ext uri="{FF2B5EF4-FFF2-40B4-BE49-F238E27FC236}">
                  <a16:creationId xmlns:a16="http://schemas.microsoft.com/office/drawing/2014/main" id="{09B3CCE1-ADF0-42BC-A83E-F47F6DEFE287}"/>
                </a:ext>
              </a:extLst>
            </p:cNvPr>
            <p:cNvSpPr/>
            <p:nvPr/>
          </p:nvSpPr>
          <p:spPr>
            <a:xfrm>
              <a:off x="3642946" y="4002072"/>
              <a:ext cx="42486" cy="42486"/>
            </a:xfrm>
            <a:custGeom>
              <a:avLst/>
              <a:gdLst>
                <a:gd name="connsiteX0" fmla="*/ 25703 w 42485"/>
                <a:gd name="connsiteY0" fmla="*/ 16064 h 42485"/>
                <a:gd name="connsiteX1" fmla="*/ 34200 w 42485"/>
                <a:gd name="connsiteY1" fmla="*/ 25977 h 42485"/>
                <a:gd name="connsiteX2" fmla="*/ 24286 w 42485"/>
                <a:gd name="connsiteY2" fmla="*/ 34474 h 42485"/>
                <a:gd name="connsiteX3" fmla="*/ 15789 w 42485"/>
                <a:gd name="connsiteY3" fmla="*/ 24561 h 42485"/>
                <a:gd name="connsiteX4" fmla="*/ 25703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4"/>
                  </a:moveTo>
                  <a:cubicBezTo>
                    <a:pt x="29951" y="16064"/>
                    <a:pt x="34200" y="20312"/>
                    <a:pt x="34200" y="25977"/>
                  </a:cubicBezTo>
                  <a:cubicBezTo>
                    <a:pt x="34200" y="30225"/>
                    <a:pt x="29951" y="34474"/>
                    <a:pt x="24286" y="34474"/>
                  </a:cubicBezTo>
                  <a:cubicBezTo>
                    <a:pt x="20038" y="34474"/>
                    <a:pt x="15789" y="30225"/>
                    <a:pt x="15789" y="24561"/>
                  </a:cubicBezTo>
                  <a:cubicBezTo>
                    <a:pt x="15789" y="18896"/>
                    <a:pt x="20038" y="14647"/>
                    <a:pt x="25703" y="1606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41" name="Freeform: Shape 2540">
              <a:extLst>
                <a:ext uri="{FF2B5EF4-FFF2-40B4-BE49-F238E27FC236}">
                  <a16:creationId xmlns:a16="http://schemas.microsoft.com/office/drawing/2014/main" id="{5D0C9687-DD11-497B-8057-62988B1D92E5}"/>
                </a:ext>
              </a:extLst>
            </p:cNvPr>
            <p:cNvSpPr/>
            <p:nvPr/>
          </p:nvSpPr>
          <p:spPr>
            <a:xfrm>
              <a:off x="3686848" y="4183619"/>
              <a:ext cx="42486" cy="42486"/>
            </a:xfrm>
            <a:custGeom>
              <a:avLst/>
              <a:gdLst>
                <a:gd name="connsiteX0" fmla="*/ 25702 w 42485"/>
                <a:gd name="connsiteY0" fmla="*/ 15789 h 42485"/>
                <a:gd name="connsiteX1" fmla="*/ 34200 w 42485"/>
                <a:gd name="connsiteY1" fmla="*/ 25703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29951" y="15789"/>
                    <a:pt x="34200" y="20038"/>
                    <a:pt x="34200" y="25703"/>
                  </a:cubicBezTo>
                  <a:cubicBezTo>
                    <a:pt x="34200" y="29951"/>
                    <a:pt x="29951" y="34200"/>
                    <a:pt x="24286" y="34200"/>
                  </a:cubicBezTo>
                  <a:cubicBezTo>
                    <a:pt x="20038" y="34200"/>
                    <a:pt x="15789" y="29951"/>
                    <a:pt x="15789" y="24286"/>
                  </a:cubicBezTo>
                  <a:cubicBezTo>
                    <a:pt x="17205" y="18622"/>
                    <a:pt x="21454" y="15789"/>
                    <a:pt x="25702"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42" name="Freeform: Shape 2541">
              <a:extLst>
                <a:ext uri="{FF2B5EF4-FFF2-40B4-BE49-F238E27FC236}">
                  <a16:creationId xmlns:a16="http://schemas.microsoft.com/office/drawing/2014/main" id="{313B34B9-E5F2-4DCE-89C8-E373526B4F57}"/>
                </a:ext>
              </a:extLst>
            </p:cNvPr>
            <p:cNvSpPr/>
            <p:nvPr/>
          </p:nvSpPr>
          <p:spPr>
            <a:xfrm>
              <a:off x="4080180" y="4180787"/>
              <a:ext cx="42486" cy="42486"/>
            </a:xfrm>
            <a:custGeom>
              <a:avLst/>
              <a:gdLst>
                <a:gd name="connsiteX0" fmla="*/ 23238 w 42485"/>
                <a:gd name="connsiteY0" fmla="*/ 15789 h 42485"/>
                <a:gd name="connsiteX1" fmla="*/ 28903 w 42485"/>
                <a:gd name="connsiteY1" fmla="*/ 22870 h 42485"/>
                <a:gd name="connsiteX2" fmla="*/ 21822 w 42485"/>
                <a:gd name="connsiteY2" fmla="*/ 28535 h 42485"/>
                <a:gd name="connsiteX3" fmla="*/ 16157 w 42485"/>
                <a:gd name="connsiteY3" fmla="*/ 21454 h 42485"/>
                <a:gd name="connsiteX4" fmla="*/ 2323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5789"/>
                  </a:moveTo>
                  <a:cubicBezTo>
                    <a:pt x="27487" y="15789"/>
                    <a:pt x="30319" y="20037"/>
                    <a:pt x="28903" y="22870"/>
                  </a:cubicBezTo>
                  <a:cubicBezTo>
                    <a:pt x="28903" y="27118"/>
                    <a:pt x="24654" y="29951"/>
                    <a:pt x="21822" y="28535"/>
                  </a:cubicBezTo>
                  <a:cubicBezTo>
                    <a:pt x="17574" y="28535"/>
                    <a:pt x="14741" y="24286"/>
                    <a:pt x="16157" y="21454"/>
                  </a:cubicBezTo>
                  <a:cubicBezTo>
                    <a:pt x="16157" y="18621"/>
                    <a:pt x="18990" y="15789"/>
                    <a:pt x="23238"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43" name="Freeform: Shape 2542">
              <a:extLst>
                <a:ext uri="{FF2B5EF4-FFF2-40B4-BE49-F238E27FC236}">
                  <a16:creationId xmlns:a16="http://schemas.microsoft.com/office/drawing/2014/main" id="{587408DA-A476-4B32-88D0-197CCB15A7CF}"/>
                </a:ext>
              </a:extLst>
            </p:cNvPr>
            <p:cNvSpPr/>
            <p:nvPr/>
          </p:nvSpPr>
          <p:spPr>
            <a:xfrm>
              <a:off x="3465922" y="4659459"/>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7205" y="46945"/>
                    <a:pt x="25703" y="55442"/>
                    <a:pt x="35616"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44" name="Freeform: Shape 2543">
              <a:extLst>
                <a:ext uri="{FF2B5EF4-FFF2-40B4-BE49-F238E27FC236}">
                  <a16:creationId xmlns:a16="http://schemas.microsoft.com/office/drawing/2014/main" id="{104756DD-12C6-4BA8-88C4-BF6C354F5501}"/>
                </a:ext>
              </a:extLst>
            </p:cNvPr>
            <p:cNvSpPr/>
            <p:nvPr/>
          </p:nvSpPr>
          <p:spPr>
            <a:xfrm>
              <a:off x="4595935" y="4407377"/>
              <a:ext cx="70810" cy="70810"/>
            </a:xfrm>
            <a:custGeom>
              <a:avLst/>
              <a:gdLst>
                <a:gd name="connsiteX0" fmla="*/ 41388 w 70809"/>
                <a:gd name="connsiteY0" fmla="*/ 66772 h 70809"/>
                <a:gd name="connsiteX1" fmla="*/ 66879 w 70809"/>
                <a:gd name="connsiteY1" fmla="*/ 41280 h 70809"/>
                <a:gd name="connsiteX2" fmla="*/ 41388 w 70809"/>
                <a:gd name="connsiteY2" fmla="*/ 15789 h 70809"/>
                <a:gd name="connsiteX3" fmla="*/ 15897 w 70809"/>
                <a:gd name="connsiteY3" fmla="*/ 41280 h 70809"/>
                <a:gd name="connsiteX4" fmla="*/ 41388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388" y="66772"/>
                  </a:moveTo>
                  <a:cubicBezTo>
                    <a:pt x="55550" y="66772"/>
                    <a:pt x="66879" y="55442"/>
                    <a:pt x="66879" y="41280"/>
                  </a:cubicBezTo>
                  <a:cubicBezTo>
                    <a:pt x="66879" y="27118"/>
                    <a:pt x="55550" y="15789"/>
                    <a:pt x="41388" y="15789"/>
                  </a:cubicBezTo>
                  <a:cubicBezTo>
                    <a:pt x="27226" y="15789"/>
                    <a:pt x="15897" y="27118"/>
                    <a:pt x="15897" y="41280"/>
                  </a:cubicBezTo>
                  <a:cubicBezTo>
                    <a:pt x="14481" y="54026"/>
                    <a:pt x="27226" y="66772"/>
                    <a:pt x="41388" y="6677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45" name="Freeform: Shape 2544">
              <a:extLst>
                <a:ext uri="{FF2B5EF4-FFF2-40B4-BE49-F238E27FC236}">
                  <a16:creationId xmlns:a16="http://schemas.microsoft.com/office/drawing/2014/main" id="{AAFC6ECF-B542-4997-9A58-29D631809D56}"/>
                </a:ext>
              </a:extLst>
            </p:cNvPr>
            <p:cNvSpPr/>
            <p:nvPr/>
          </p:nvSpPr>
          <p:spPr>
            <a:xfrm>
              <a:off x="3849710" y="3829571"/>
              <a:ext cx="42486" cy="42486"/>
            </a:xfrm>
            <a:custGeom>
              <a:avLst/>
              <a:gdLst>
                <a:gd name="connsiteX0" fmla="*/ 25702 w 42485"/>
                <a:gd name="connsiteY0" fmla="*/ 15789 h 42485"/>
                <a:gd name="connsiteX1" fmla="*/ 34200 w 42485"/>
                <a:gd name="connsiteY1" fmla="*/ 25703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29951" y="15789"/>
                    <a:pt x="34200" y="20038"/>
                    <a:pt x="34200" y="25703"/>
                  </a:cubicBezTo>
                  <a:cubicBezTo>
                    <a:pt x="34200" y="29951"/>
                    <a:pt x="29951" y="34200"/>
                    <a:pt x="24286" y="34200"/>
                  </a:cubicBezTo>
                  <a:cubicBezTo>
                    <a:pt x="20038" y="34200"/>
                    <a:pt x="15789" y="29951"/>
                    <a:pt x="15789" y="24286"/>
                  </a:cubicBezTo>
                  <a:cubicBezTo>
                    <a:pt x="15789" y="20038"/>
                    <a:pt x="20038" y="15789"/>
                    <a:pt x="25702"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46" name="Freeform: Shape 2545">
              <a:extLst>
                <a:ext uri="{FF2B5EF4-FFF2-40B4-BE49-F238E27FC236}">
                  <a16:creationId xmlns:a16="http://schemas.microsoft.com/office/drawing/2014/main" id="{858E4BEB-0C0D-47C4-A172-67FFFB736CF1}"/>
                </a:ext>
              </a:extLst>
            </p:cNvPr>
            <p:cNvSpPr/>
            <p:nvPr/>
          </p:nvSpPr>
          <p:spPr>
            <a:xfrm>
              <a:off x="3406442" y="4030670"/>
              <a:ext cx="42486" cy="42486"/>
            </a:xfrm>
            <a:custGeom>
              <a:avLst/>
              <a:gdLst>
                <a:gd name="connsiteX0" fmla="*/ 25702 w 42485"/>
                <a:gd name="connsiteY0" fmla="*/ 15789 h 42485"/>
                <a:gd name="connsiteX1" fmla="*/ 34200 w 42485"/>
                <a:gd name="connsiteY1" fmla="*/ 25702 h 42485"/>
                <a:gd name="connsiteX2" fmla="*/ 24286 w 42485"/>
                <a:gd name="connsiteY2" fmla="*/ 34199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29951" y="15789"/>
                    <a:pt x="34200" y="20037"/>
                    <a:pt x="34200" y="25702"/>
                  </a:cubicBezTo>
                  <a:cubicBezTo>
                    <a:pt x="34200" y="29951"/>
                    <a:pt x="29951" y="34199"/>
                    <a:pt x="24286" y="34199"/>
                  </a:cubicBezTo>
                  <a:cubicBezTo>
                    <a:pt x="20038" y="34199"/>
                    <a:pt x="15789" y="29951"/>
                    <a:pt x="15789" y="24286"/>
                  </a:cubicBezTo>
                  <a:cubicBezTo>
                    <a:pt x="15789" y="18621"/>
                    <a:pt x="20038" y="15789"/>
                    <a:pt x="25702"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47" name="Freeform: Shape 2546">
              <a:extLst>
                <a:ext uri="{FF2B5EF4-FFF2-40B4-BE49-F238E27FC236}">
                  <a16:creationId xmlns:a16="http://schemas.microsoft.com/office/drawing/2014/main" id="{DF76F185-55DB-485F-B751-8E2AD440D31B}"/>
                </a:ext>
              </a:extLst>
            </p:cNvPr>
            <p:cNvSpPr/>
            <p:nvPr/>
          </p:nvSpPr>
          <p:spPr>
            <a:xfrm>
              <a:off x="3291730" y="4390383"/>
              <a:ext cx="42486" cy="42486"/>
            </a:xfrm>
            <a:custGeom>
              <a:avLst/>
              <a:gdLst>
                <a:gd name="connsiteX0" fmla="*/ 25702 w 42485"/>
                <a:gd name="connsiteY0" fmla="*/ 15789 h 42485"/>
                <a:gd name="connsiteX1" fmla="*/ 34199 w 42485"/>
                <a:gd name="connsiteY1" fmla="*/ 25703 h 42485"/>
                <a:gd name="connsiteX2" fmla="*/ 24286 w 42485"/>
                <a:gd name="connsiteY2" fmla="*/ 34199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29951" y="15789"/>
                    <a:pt x="34199" y="20037"/>
                    <a:pt x="34199" y="25703"/>
                  </a:cubicBezTo>
                  <a:cubicBezTo>
                    <a:pt x="34199" y="29951"/>
                    <a:pt x="29951" y="34199"/>
                    <a:pt x="24286" y="34199"/>
                  </a:cubicBezTo>
                  <a:cubicBezTo>
                    <a:pt x="20037" y="34199"/>
                    <a:pt x="15789" y="29951"/>
                    <a:pt x="15789" y="24286"/>
                  </a:cubicBezTo>
                  <a:cubicBezTo>
                    <a:pt x="17205" y="18622"/>
                    <a:pt x="21454" y="15789"/>
                    <a:pt x="25702"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48" name="Freeform: Shape 2547">
              <a:extLst>
                <a:ext uri="{FF2B5EF4-FFF2-40B4-BE49-F238E27FC236}">
                  <a16:creationId xmlns:a16="http://schemas.microsoft.com/office/drawing/2014/main" id="{316ECB3D-6B4F-4D0D-83D1-3F9B2B248915}"/>
                </a:ext>
              </a:extLst>
            </p:cNvPr>
            <p:cNvSpPr/>
            <p:nvPr/>
          </p:nvSpPr>
          <p:spPr>
            <a:xfrm>
              <a:off x="4189227" y="4054745"/>
              <a:ext cx="42486" cy="42486"/>
            </a:xfrm>
            <a:custGeom>
              <a:avLst/>
              <a:gdLst>
                <a:gd name="connsiteX0" fmla="*/ 23238 w 42485"/>
                <a:gd name="connsiteY0" fmla="*/ 15789 h 42485"/>
                <a:gd name="connsiteX1" fmla="*/ 28903 w 42485"/>
                <a:gd name="connsiteY1" fmla="*/ 22870 h 42485"/>
                <a:gd name="connsiteX2" fmla="*/ 21822 w 42485"/>
                <a:gd name="connsiteY2" fmla="*/ 28535 h 42485"/>
                <a:gd name="connsiteX3" fmla="*/ 16157 w 42485"/>
                <a:gd name="connsiteY3" fmla="*/ 21454 h 42485"/>
                <a:gd name="connsiteX4" fmla="*/ 2323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5789"/>
                  </a:moveTo>
                  <a:cubicBezTo>
                    <a:pt x="27487" y="15789"/>
                    <a:pt x="30319" y="20038"/>
                    <a:pt x="28903" y="22870"/>
                  </a:cubicBezTo>
                  <a:cubicBezTo>
                    <a:pt x="28903" y="27119"/>
                    <a:pt x="24655" y="29951"/>
                    <a:pt x="21822" y="28535"/>
                  </a:cubicBezTo>
                  <a:cubicBezTo>
                    <a:pt x="17574" y="28535"/>
                    <a:pt x="14741" y="24286"/>
                    <a:pt x="16157" y="21454"/>
                  </a:cubicBezTo>
                  <a:cubicBezTo>
                    <a:pt x="16157" y="18622"/>
                    <a:pt x="20406" y="15789"/>
                    <a:pt x="23238"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49" name="Freeform: Shape 2548">
              <a:extLst>
                <a:ext uri="{FF2B5EF4-FFF2-40B4-BE49-F238E27FC236}">
                  <a16:creationId xmlns:a16="http://schemas.microsoft.com/office/drawing/2014/main" id="{FE7E787C-F8C3-45A3-A491-A2D465CE74CB}"/>
                </a:ext>
              </a:extLst>
            </p:cNvPr>
            <p:cNvSpPr/>
            <p:nvPr/>
          </p:nvSpPr>
          <p:spPr>
            <a:xfrm>
              <a:off x="3371037" y="4135468"/>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29" y="55442"/>
                    <a:pt x="55442" y="46945"/>
                    <a:pt x="55442" y="35616"/>
                  </a:cubicBezTo>
                  <a:cubicBezTo>
                    <a:pt x="55442" y="25703"/>
                    <a:pt x="46945" y="15789"/>
                    <a:pt x="35616" y="15789"/>
                  </a:cubicBezTo>
                  <a:cubicBezTo>
                    <a:pt x="25702" y="15789"/>
                    <a:pt x="15789" y="24286"/>
                    <a:pt x="15789" y="35616"/>
                  </a:cubicBezTo>
                  <a:cubicBezTo>
                    <a:pt x="15789" y="46945"/>
                    <a:pt x="24286" y="55442"/>
                    <a:pt x="35616"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50" name="Freeform: Shape 2549">
              <a:extLst>
                <a:ext uri="{FF2B5EF4-FFF2-40B4-BE49-F238E27FC236}">
                  <a16:creationId xmlns:a16="http://schemas.microsoft.com/office/drawing/2014/main" id="{C5C73519-3AF0-46A9-AFA2-5590D9FDD6A4}"/>
                </a:ext>
              </a:extLst>
            </p:cNvPr>
            <p:cNvSpPr/>
            <p:nvPr/>
          </p:nvSpPr>
          <p:spPr>
            <a:xfrm>
              <a:off x="3429101" y="3900381"/>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29" y="55442"/>
                    <a:pt x="55442" y="46945"/>
                    <a:pt x="55442" y="35616"/>
                  </a:cubicBezTo>
                  <a:cubicBezTo>
                    <a:pt x="55442" y="25703"/>
                    <a:pt x="46945" y="15789"/>
                    <a:pt x="35616" y="15789"/>
                  </a:cubicBezTo>
                  <a:cubicBezTo>
                    <a:pt x="25702" y="15789"/>
                    <a:pt x="15789" y="24286"/>
                    <a:pt x="15789" y="35616"/>
                  </a:cubicBezTo>
                  <a:cubicBezTo>
                    <a:pt x="15789" y="46945"/>
                    <a:pt x="25702" y="55442"/>
                    <a:pt x="35616"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51" name="Freeform: Shape 2550">
              <a:extLst>
                <a:ext uri="{FF2B5EF4-FFF2-40B4-BE49-F238E27FC236}">
                  <a16:creationId xmlns:a16="http://schemas.microsoft.com/office/drawing/2014/main" id="{11D267A9-7863-4AFE-89E2-60828B381BE2}"/>
                </a:ext>
              </a:extLst>
            </p:cNvPr>
            <p:cNvSpPr/>
            <p:nvPr/>
          </p:nvSpPr>
          <p:spPr>
            <a:xfrm>
              <a:off x="4475511" y="5029085"/>
              <a:ext cx="56648" cy="56648"/>
            </a:xfrm>
            <a:custGeom>
              <a:avLst/>
              <a:gdLst>
                <a:gd name="connsiteX0" fmla="*/ 32938 w 56647"/>
                <a:gd name="connsiteY0" fmla="*/ 49777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7"/>
                  </a:moveTo>
                  <a:cubicBezTo>
                    <a:pt x="42852" y="49777"/>
                    <a:pt x="49933" y="41280"/>
                    <a:pt x="49933" y="32783"/>
                  </a:cubicBezTo>
                  <a:cubicBezTo>
                    <a:pt x="49933" y="22870"/>
                    <a:pt x="41435" y="15789"/>
                    <a:pt x="32938" y="15789"/>
                  </a:cubicBezTo>
                  <a:cubicBezTo>
                    <a:pt x="23025" y="15789"/>
                    <a:pt x="15944" y="24286"/>
                    <a:pt x="15944" y="32783"/>
                  </a:cubicBezTo>
                  <a:cubicBezTo>
                    <a:pt x="14528" y="41280"/>
                    <a:pt x="23025" y="49777"/>
                    <a:pt x="32938"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52" name="Freeform: Shape 2551">
              <a:extLst>
                <a:ext uri="{FF2B5EF4-FFF2-40B4-BE49-F238E27FC236}">
                  <a16:creationId xmlns:a16="http://schemas.microsoft.com/office/drawing/2014/main" id="{36AFD172-85C5-45B1-9C78-480BBF37B74C}"/>
                </a:ext>
              </a:extLst>
            </p:cNvPr>
            <p:cNvSpPr/>
            <p:nvPr/>
          </p:nvSpPr>
          <p:spPr>
            <a:xfrm>
              <a:off x="4698008" y="4522088"/>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8" y="15789"/>
                    <a:pt x="15789" y="20038"/>
                    <a:pt x="15789" y="25703"/>
                  </a:cubicBezTo>
                  <a:cubicBezTo>
                    <a:pt x="17205" y="31367"/>
                    <a:pt x="21454"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53" name="Freeform: Shape 2552">
              <a:extLst>
                <a:ext uri="{FF2B5EF4-FFF2-40B4-BE49-F238E27FC236}">
                  <a16:creationId xmlns:a16="http://schemas.microsoft.com/office/drawing/2014/main" id="{A3E1C295-F27F-4F1D-A991-C230B976913A}"/>
                </a:ext>
              </a:extLst>
            </p:cNvPr>
            <p:cNvSpPr/>
            <p:nvPr/>
          </p:nvSpPr>
          <p:spPr>
            <a:xfrm>
              <a:off x="4399192" y="4308244"/>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7"/>
                    <a:pt x="31367" y="15789"/>
                    <a:pt x="25702" y="15789"/>
                  </a:cubicBezTo>
                  <a:cubicBezTo>
                    <a:pt x="20038" y="15789"/>
                    <a:pt x="15789" y="20037"/>
                    <a:pt x="15789" y="25702"/>
                  </a:cubicBezTo>
                  <a:cubicBezTo>
                    <a:pt x="15789" y="31367"/>
                    <a:pt x="20038" y="35616"/>
                    <a:pt x="25702"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54" name="Freeform: Shape 2553">
              <a:extLst>
                <a:ext uri="{FF2B5EF4-FFF2-40B4-BE49-F238E27FC236}">
                  <a16:creationId xmlns:a16="http://schemas.microsoft.com/office/drawing/2014/main" id="{433B18EB-349D-4549-B27B-90BE8CF98816}"/>
                </a:ext>
              </a:extLst>
            </p:cNvPr>
            <p:cNvSpPr/>
            <p:nvPr/>
          </p:nvSpPr>
          <p:spPr>
            <a:xfrm>
              <a:off x="3518321" y="4796830"/>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7"/>
                    <a:pt x="31367" y="15789"/>
                    <a:pt x="25702" y="15789"/>
                  </a:cubicBezTo>
                  <a:cubicBezTo>
                    <a:pt x="20037" y="15789"/>
                    <a:pt x="15789" y="20037"/>
                    <a:pt x="15789" y="25702"/>
                  </a:cubicBezTo>
                  <a:cubicBezTo>
                    <a:pt x="17205" y="31367"/>
                    <a:pt x="21454" y="35616"/>
                    <a:pt x="25702"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55" name="Freeform: Shape 2554">
              <a:extLst>
                <a:ext uri="{FF2B5EF4-FFF2-40B4-BE49-F238E27FC236}">
                  <a16:creationId xmlns:a16="http://schemas.microsoft.com/office/drawing/2014/main" id="{1B66F26D-BE13-4E8F-9897-83B806CE9F22}"/>
                </a:ext>
              </a:extLst>
            </p:cNvPr>
            <p:cNvSpPr/>
            <p:nvPr/>
          </p:nvSpPr>
          <p:spPr>
            <a:xfrm>
              <a:off x="3637281" y="4966772"/>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7"/>
                    <a:pt x="31367" y="15789"/>
                    <a:pt x="25702" y="15789"/>
                  </a:cubicBezTo>
                  <a:cubicBezTo>
                    <a:pt x="20038" y="15789"/>
                    <a:pt x="15789" y="20037"/>
                    <a:pt x="15789" y="25702"/>
                  </a:cubicBezTo>
                  <a:cubicBezTo>
                    <a:pt x="17205" y="31367"/>
                    <a:pt x="21454" y="35616"/>
                    <a:pt x="25702"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56" name="Freeform: Shape 2555">
              <a:extLst>
                <a:ext uri="{FF2B5EF4-FFF2-40B4-BE49-F238E27FC236}">
                  <a16:creationId xmlns:a16="http://schemas.microsoft.com/office/drawing/2014/main" id="{745590C6-29DD-4A06-A417-67F3411DDD68}"/>
                </a:ext>
              </a:extLst>
            </p:cNvPr>
            <p:cNvSpPr/>
            <p:nvPr/>
          </p:nvSpPr>
          <p:spPr>
            <a:xfrm>
              <a:off x="3967254" y="5704608"/>
              <a:ext cx="56648" cy="56648"/>
            </a:xfrm>
            <a:custGeom>
              <a:avLst/>
              <a:gdLst>
                <a:gd name="connsiteX0" fmla="*/ 32783 w 56647"/>
                <a:gd name="connsiteY0" fmla="*/ 15789 h 56647"/>
                <a:gd name="connsiteX1" fmla="*/ 46945 w 56647"/>
                <a:gd name="connsiteY1" fmla="*/ 32783 h 56647"/>
                <a:gd name="connsiteX2" fmla="*/ 29951 w 56647"/>
                <a:gd name="connsiteY2" fmla="*/ 46945 h 56647"/>
                <a:gd name="connsiteX3" fmla="*/ 15789 w 56647"/>
                <a:gd name="connsiteY3" fmla="*/ 29951 h 56647"/>
                <a:gd name="connsiteX4" fmla="*/ 32783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15789"/>
                  </a:moveTo>
                  <a:cubicBezTo>
                    <a:pt x="41280" y="17205"/>
                    <a:pt x="48361" y="24286"/>
                    <a:pt x="46945" y="32783"/>
                  </a:cubicBezTo>
                  <a:cubicBezTo>
                    <a:pt x="45529" y="41281"/>
                    <a:pt x="38448" y="48362"/>
                    <a:pt x="29951" y="46945"/>
                  </a:cubicBezTo>
                  <a:cubicBezTo>
                    <a:pt x="21454" y="45529"/>
                    <a:pt x="15789" y="38448"/>
                    <a:pt x="15789" y="29951"/>
                  </a:cubicBezTo>
                  <a:cubicBezTo>
                    <a:pt x="17205" y="21454"/>
                    <a:pt x="24286" y="15789"/>
                    <a:pt x="32783"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57" name="Freeform: Shape 2556">
              <a:extLst>
                <a:ext uri="{FF2B5EF4-FFF2-40B4-BE49-F238E27FC236}">
                  <a16:creationId xmlns:a16="http://schemas.microsoft.com/office/drawing/2014/main" id="{83CEFBDD-6FA2-4E8B-87E8-D7829A4E9E32}"/>
                </a:ext>
              </a:extLst>
            </p:cNvPr>
            <p:cNvSpPr/>
            <p:nvPr/>
          </p:nvSpPr>
          <p:spPr>
            <a:xfrm>
              <a:off x="3601695" y="5342063"/>
              <a:ext cx="56648" cy="56648"/>
            </a:xfrm>
            <a:custGeom>
              <a:avLst/>
              <a:gdLst>
                <a:gd name="connsiteX0" fmla="*/ 32965 w 56647"/>
                <a:gd name="connsiteY0" fmla="*/ 15789 h 56647"/>
                <a:gd name="connsiteX1" fmla="*/ 47127 w 56647"/>
                <a:gd name="connsiteY1" fmla="*/ 32783 h 56647"/>
                <a:gd name="connsiteX2" fmla="*/ 30132 w 56647"/>
                <a:gd name="connsiteY2" fmla="*/ 46945 h 56647"/>
                <a:gd name="connsiteX3" fmla="*/ 15970 w 56647"/>
                <a:gd name="connsiteY3" fmla="*/ 29951 h 56647"/>
                <a:gd name="connsiteX4" fmla="*/ 32965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789"/>
                  </a:moveTo>
                  <a:cubicBezTo>
                    <a:pt x="41462" y="17205"/>
                    <a:pt x="48543" y="24286"/>
                    <a:pt x="47127" y="32783"/>
                  </a:cubicBezTo>
                  <a:cubicBezTo>
                    <a:pt x="45710" y="41280"/>
                    <a:pt x="38630" y="46945"/>
                    <a:pt x="30132" y="46945"/>
                  </a:cubicBezTo>
                  <a:cubicBezTo>
                    <a:pt x="21635" y="45529"/>
                    <a:pt x="14554" y="38448"/>
                    <a:pt x="15970" y="29951"/>
                  </a:cubicBezTo>
                  <a:cubicBezTo>
                    <a:pt x="15970" y="21454"/>
                    <a:pt x="24468" y="15789"/>
                    <a:pt x="32965"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58" name="Freeform: Shape 2557">
              <a:extLst>
                <a:ext uri="{FF2B5EF4-FFF2-40B4-BE49-F238E27FC236}">
                  <a16:creationId xmlns:a16="http://schemas.microsoft.com/office/drawing/2014/main" id="{E2A378C6-A8D8-41C8-8BC3-36657F7F576D}"/>
                </a:ext>
              </a:extLst>
            </p:cNvPr>
            <p:cNvSpPr/>
            <p:nvPr/>
          </p:nvSpPr>
          <p:spPr>
            <a:xfrm>
              <a:off x="3637099" y="5087149"/>
              <a:ext cx="56648" cy="56648"/>
            </a:xfrm>
            <a:custGeom>
              <a:avLst/>
              <a:gdLst>
                <a:gd name="connsiteX0" fmla="*/ 32965 w 56647"/>
                <a:gd name="connsiteY0" fmla="*/ 15789 h 56647"/>
                <a:gd name="connsiteX1" fmla="*/ 47127 w 56647"/>
                <a:gd name="connsiteY1" fmla="*/ 32783 h 56647"/>
                <a:gd name="connsiteX2" fmla="*/ 30132 w 56647"/>
                <a:gd name="connsiteY2" fmla="*/ 46945 h 56647"/>
                <a:gd name="connsiteX3" fmla="*/ 15970 w 56647"/>
                <a:gd name="connsiteY3" fmla="*/ 29951 h 56647"/>
                <a:gd name="connsiteX4" fmla="*/ 32965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789"/>
                  </a:moveTo>
                  <a:cubicBezTo>
                    <a:pt x="41462" y="17205"/>
                    <a:pt x="47127" y="24286"/>
                    <a:pt x="47127" y="32783"/>
                  </a:cubicBezTo>
                  <a:cubicBezTo>
                    <a:pt x="45710" y="41280"/>
                    <a:pt x="38630" y="46945"/>
                    <a:pt x="30132" y="46945"/>
                  </a:cubicBezTo>
                  <a:cubicBezTo>
                    <a:pt x="21635" y="45529"/>
                    <a:pt x="14554" y="38448"/>
                    <a:pt x="15970" y="29951"/>
                  </a:cubicBezTo>
                  <a:cubicBezTo>
                    <a:pt x="17387" y="21454"/>
                    <a:pt x="24468" y="15789"/>
                    <a:pt x="32965"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59" name="Freeform: Shape 2558">
              <a:extLst>
                <a:ext uri="{FF2B5EF4-FFF2-40B4-BE49-F238E27FC236}">
                  <a16:creationId xmlns:a16="http://schemas.microsoft.com/office/drawing/2014/main" id="{E211A09A-1663-4E52-B4D8-91FBF56D0EA1}"/>
                </a:ext>
              </a:extLst>
            </p:cNvPr>
            <p:cNvSpPr/>
            <p:nvPr/>
          </p:nvSpPr>
          <p:spPr>
            <a:xfrm>
              <a:off x="3610373" y="5224519"/>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8"/>
                    <a:pt x="31367" y="15789"/>
                    <a:pt x="25702" y="15789"/>
                  </a:cubicBezTo>
                  <a:cubicBezTo>
                    <a:pt x="20037" y="15789"/>
                    <a:pt x="15789" y="20038"/>
                    <a:pt x="15789" y="25703"/>
                  </a:cubicBezTo>
                  <a:cubicBezTo>
                    <a:pt x="15789" y="31367"/>
                    <a:pt x="21454" y="35616"/>
                    <a:pt x="25702"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60" name="Freeform: Shape 2559">
              <a:extLst>
                <a:ext uri="{FF2B5EF4-FFF2-40B4-BE49-F238E27FC236}">
                  <a16:creationId xmlns:a16="http://schemas.microsoft.com/office/drawing/2014/main" id="{2E287B20-8B73-4D4E-B928-3B5A12CDA7A3}"/>
                </a:ext>
              </a:extLst>
            </p:cNvPr>
            <p:cNvSpPr/>
            <p:nvPr/>
          </p:nvSpPr>
          <p:spPr>
            <a:xfrm>
              <a:off x="4053641" y="5560156"/>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8" y="15789"/>
                    <a:pt x="15789" y="20037"/>
                    <a:pt x="15789" y="25702"/>
                  </a:cubicBezTo>
                  <a:cubicBezTo>
                    <a:pt x="17205" y="31367"/>
                    <a:pt x="21454"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61" name="Freeform: Shape 2560">
              <a:extLst>
                <a:ext uri="{FF2B5EF4-FFF2-40B4-BE49-F238E27FC236}">
                  <a16:creationId xmlns:a16="http://schemas.microsoft.com/office/drawing/2014/main" id="{9110DDF8-E53F-4C57-973D-4DFAD545B6CC}"/>
                </a:ext>
              </a:extLst>
            </p:cNvPr>
            <p:cNvSpPr/>
            <p:nvPr/>
          </p:nvSpPr>
          <p:spPr>
            <a:xfrm>
              <a:off x="3988496" y="5605474"/>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8"/>
                    <a:pt x="31367" y="15789"/>
                    <a:pt x="25702" y="15789"/>
                  </a:cubicBezTo>
                  <a:cubicBezTo>
                    <a:pt x="20038" y="15789"/>
                    <a:pt x="15789" y="20038"/>
                    <a:pt x="15789" y="25703"/>
                  </a:cubicBezTo>
                  <a:cubicBezTo>
                    <a:pt x="15789" y="31367"/>
                    <a:pt x="20038" y="35616"/>
                    <a:pt x="25702"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62" name="Freeform: Shape 2561">
              <a:extLst>
                <a:ext uri="{FF2B5EF4-FFF2-40B4-BE49-F238E27FC236}">
                  <a16:creationId xmlns:a16="http://schemas.microsoft.com/office/drawing/2014/main" id="{D154688B-66C0-4DF3-918F-08841E919870}"/>
                </a:ext>
              </a:extLst>
            </p:cNvPr>
            <p:cNvSpPr/>
            <p:nvPr/>
          </p:nvSpPr>
          <p:spPr>
            <a:xfrm>
              <a:off x="4311388" y="5176369"/>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7"/>
                    <a:pt x="31367" y="15789"/>
                    <a:pt x="25702" y="15789"/>
                  </a:cubicBezTo>
                  <a:cubicBezTo>
                    <a:pt x="20037" y="15789"/>
                    <a:pt x="15789" y="20037"/>
                    <a:pt x="15789" y="25703"/>
                  </a:cubicBezTo>
                  <a:cubicBezTo>
                    <a:pt x="15789" y="31367"/>
                    <a:pt x="20037" y="35616"/>
                    <a:pt x="25702"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63" name="Freeform: Shape 2562">
              <a:extLst>
                <a:ext uri="{FF2B5EF4-FFF2-40B4-BE49-F238E27FC236}">
                  <a16:creationId xmlns:a16="http://schemas.microsoft.com/office/drawing/2014/main" id="{3F2C5A06-9428-4F8D-A36B-DC767B5549B9}"/>
                </a:ext>
              </a:extLst>
            </p:cNvPr>
            <p:cNvSpPr/>
            <p:nvPr/>
          </p:nvSpPr>
          <p:spPr>
            <a:xfrm>
              <a:off x="3897860" y="5686197"/>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5789" y="46945"/>
                    <a:pt x="25703" y="55442"/>
                    <a:pt x="35616" y="5544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64" name="Freeform: Shape 2563">
              <a:extLst>
                <a:ext uri="{FF2B5EF4-FFF2-40B4-BE49-F238E27FC236}">
                  <a16:creationId xmlns:a16="http://schemas.microsoft.com/office/drawing/2014/main" id="{76DA7FAA-E17B-40FE-896F-0A2A7E82ECBC}"/>
                </a:ext>
              </a:extLst>
            </p:cNvPr>
            <p:cNvSpPr/>
            <p:nvPr/>
          </p:nvSpPr>
          <p:spPr>
            <a:xfrm>
              <a:off x="3947427" y="3917375"/>
              <a:ext cx="42486" cy="42486"/>
            </a:xfrm>
            <a:custGeom>
              <a:avLst/>
              <a:gdLst>
                <a:gd name="connsiteX0" fmla="*/ 24286 w 42485"/>
                <a:gd name="connsiteY0" fmla="*/ 15789 h 42485"/>
                <a:gd name="connsiteX1" fmla="*/ 31367 w 42485"/>
                <a:gd name="connsiteY1" fmla="*/ 24286 h 42485"/>
                <a:gd name="connsiteX2" fmla="*/ 22870 w 42485"/>
                <a:gd name="connsiteY2" fmla="*/ 31367 h 42485"/>
                <a:gd name="connsiteX3" fmla="*/ 15789 w 42485"/>
                <a:gd name="connsiteY3" fmla="*/ 22870 h 42485"/>
                <a:gd name="connsiteX4" fmla="*/ 24286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15789"/>
                  </a:moveTo>
                  <a:cubicBezTo>
                    <a:pt x="28535" y="15789"/>
                    <a:pt x="31367" y="20037"/>
                    <a:pt x="31367" y="24286"/>
                  </a:cubicBezTo>
                  <a:cubicBezTo>
                    <a:pt x="31367" y="28535"/>
                    <a:pt x="27119" y="31367"/>
                    <a:pt x="22870" y="31367"/>
                  </a:cubicBezTo>
                  <a:cubicBezTo>
                    <a:pt x="18622" y="31367"/>
                    <a:pt x="15789" y="27118"/>
                    <a:pt x="15789" y="22870"/>
                  </a:cubicBezTo>
                  <a:cubicBezTo>
                    <a:pt x="17205" y="18621"/>
                    <a:pt x="20038" y="15789"/>
                    <a:pt x="24286"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65" name="Freeform: Shape 2564">
              <a:extLst>
                <a:ext uri="{FF2B5EF4-FFF2-40B4-BE49-F238E27FC236}">
                  <a16:creationId xmlns:a16="http://schemas.microsoft.com/office/drawing/2014/main" id="{971A2292-907A-4FEE-B237-33544A4F9AD4}"/>
                </a:ext>
              </a:extLst>
            </p:cNvPr>
            <p:cNvSpPr/>
            <p:nvPr/>
          </p:nvSpPr>
          <p:spPr>
            <a:xfrm>
              <a:off x="3485748" y="3830987"/>
              <a:ext cx="42486" cy="42486"/>
            </a:xfrm>
            <a:custGeom>
              <a:avLst/>
              <a:gdLst>
                <a:gd name="connsiteX0" fmla="*/ 24286 w 42485"/>
                <a:gd name="connsiteY0" fmla="*/ 15789 h 42485"/>
                <a:gd name="connsiteX1" fmla="*/ 31367 w 42485"/>
                <a:gd name="connsiteY1" fmla="*/ 24286 h 42485"/>
                <a:gd name="connsiteX2" fmla="*/ 22870 w 42485"/>
                <a:gd name="connsiteY2" fmla="*/ 31367 h 42485"/>
                <a:gd name="connsiteX3" fmla="*/ 15789 w 42485"/>
                <a:gd name="connsiteY3" fmla="*/ 22870 h 42485"/>
                <a:gd name="connsiteX4" fmla="*/ 24286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15789"/>
                  </a:moveTo>
                  <a:cubicBezTo>
                    <a:pt x="28535" y="15789"/>
                    <a:pt x="31367" y="20038"/>
                    <a:pt x="31367" y="24286"/>
                  </a:cubicBezTo>
                  <a:cubicBezTo>
                    <a:pt x="31367" y="28535"/>
                    <a:pt x="27119" y="31367"/>
                    <a:pt x="22870" y="31367"/>
                  </a:cubicBezTo>
                  <a:cubicBezTo>
                    <a:pt x="18621" y="31367"/>
                    <a:pt x="15789" y="27119"/>
                    <a:pt x="15789" y="22870"/>
                  </a:cubicBezTo>
                  <a:cubicBezTo>
                    <a:pt x="17205" y="18621"/>
                    <a:pt x="20038" y="15789"/>
                    <a:pt x="24286"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66" name="Freeform: Shape 2565">
              <a:extLst>
                <a:ext uri="{FF2B5EF4-FFF2-40B4-BE49-F238E27FC236}">
                  <a16:creationId xmlns:a16="http://schemas.microsoft.com/office/drawing/2014/main" id="{4A18F385-2368-47B8-AD52-7D5283BFD7B1}"/>
                </a:ext>
              </a:extLst>
            </p:cNvPr>
            <p:cNvSpPr/>
            <p:nvPr/>
          </p:nvSpPr>
          <p:spPr>
            <a:xfrm>
              <a:off x="3631616" y="3775756"/>
              <a:ext cx="42486" cy="42486"/>
            </a:xfrm>
            <a:custGeom>
              <a:avLst/>
              <a:gdLst>
                <a:gd name="connsiteX0" fmla="*/ 24286 w 42485"/>
                <a:gd name="connsiteY0" fmla="*/ 15789 h 42485"/>
                <a:gd name="connsiteX1" fmla="*/ 31367 w 42485"/>
                <a:gd name="connsiteY1" fmla="*/ 24286 h 42485"/>
                <a:gd name="connsiteX2" fmla="*/ 22870 w 42485"/>
                <a:gd name="connsiteY2" fmla="*/ 31367 h 42485"/>
                <a:gd name="connsiteX3" fmla="*/ 15789 w 42485"/>
                <a:gd name="connsiteY3" fmla="*/ 22870 h 42485"/>
                <a:gd name="connsiteX4" fmla="*/ 24286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15789"/>
                  </a:moveTo>
                  <a:cubicBezTo>
                    <a:pt x="28535" y="15789"/>
                    <a:pt x="31367" y="20037"/>
                    <a:pt x="31367" y="24286"/>
                  </a:cubicBezTo>
                  <a:cubicBezTo>
                    <a:pt x="31367" y="28535"/>
                    <a:pt x="27118" y="31367"/>
                    <a:pt x="22870" y="31367"/>
                  </a:cubicBezTo>
                  <a:cubicBezTo>
                    <a:pt x="18621" y="31367"/>
                    <a:pt x="15789" y="27118"/>
                    <a:pt x="15789" y="22870"/>
                  </a:cubicBezTo>
                  <a:cubicBezTo>
                    <a:pt x="15789" y="18621"/>
                    <a:pt x="20037" y="15789"/>
                    <a:pt x="24286"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67" name="Freeform: Shape 2566">
              <a:extLst>
                <a:ext uri="{FF2B5EF4-FFF2-40B4-BE49-F238E27FC236}">
                  <a16:creationId xmlns:a16="http://schemas.microsoft.com/office/drawing/2014/main" id="{18464B21-43F1-477D-B2AE-AB84AFF24B53}"/>
                </a:ext>
              </a:extLst>
            </p:cNvPr>
            <p:cNvSpPr/>
            <p:nvPr/>
          </p:nvSpPr>
          <p:spPr>
            <a:xfrm>
              <a:off x="3539382" y="5671854"/>
              <a:ext cx="56648" cy="56648"/>
            </a:xfrm>
            <a:custGeom>
              <a:avLst/>
              <a:gdLst>
                <a:gd name="connsiteX0" fmla="*/ 32965 w 56647"/>
                <a:gd name="connsiteY0" fmla="*/ 15970 h 56647"/>
                <a:gd name="connsiteX1" fmla="*/ 47127 w 56647"/>
                <a:gd name="connsiteY1" fmla="*/ 32965 h 56647"/>
                <a:gd name="connsiteX2" fmla="*/ 30132 w 56647"/>
                <a:gd name="connsiteY2" fmla="*/ 47127 h 56647"/>
                <a:gd name="connsiteX3" fmla="*/ 15970 w 56647"/>
                <a:gd name="connsiteY3" fmla="*/ 30132 h 56647"/>
                <a:gd name="connsiteX4" fmla="*/ 32965 w 56647"/>
                <a:gd name="connsiteY4" fmla="*/ 1597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970"/>
                  </a:moveTo>
                  <a:cubicBezTo>
                    <a:pt x="41462" y="17387"/>
                    <a:pt x="47127" y="24468"/>
                    <a:pt x="47127" y="32965"/>
                  </a:cubicBezTo>
                  <a:cubicBezTo>
                    <a:pt x="45710" y="41462"/>
                    <a:pt x="38629" y="47127"/>
                    <a:pt x="30132" y="47127"/>
                  </a:cubicBezTo>
                  <a:cubicBezTo>
                    <a:pt x="21635" y="45710"/>
                    <a:pt x="14554" y="38630"/>
                    <a:pt x="15970" y="30132"/>
                  </a:cubicBezTo>
                  <a:cubicBezTo>
                    <a:pt x="17386" y="21635"/>
                    <a:pt x="24467" y="14554"/>
                    <a:pt x="32965" y="1597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68" name="Freeform: Shape 2567">
              <a:extLst>
                <a:ext uri="{FF2B5EF4-FFF2-40B4-BE49-F238E27FC236}">
                  <a16:creationId xmlns:a16="http://schemas.microsoft.com/office/drawing/2014/main" id="{8180AA17-2785-4257-A977-2E289CCA1F22}"/>
                </a:ext>
              </a:extLst>
            </p:cNvPr>
            <p:cNvSpPr/>
            <p:nvPr/>
          </p:nvSpPr>
          <p:spPr>
            <a:xfrm>
              <a:off x="3613206" y="5453942"/>
              <a:ext cx="56648" cy="56648"/>
            </a:xfrm>
            <a:custGeom>
              <a:avLst/>
              <a:gdLst>
                <a:gd name="connsiteX0" fmla="*/ 32783 w 56647"/>
                <a:gd name="connsiteY0" fmla="*/ 15789 h 56647"/>
                <a:gd name="connsiteX1" fmla="*/ 46945 w 56647"/>
                <a:gd name="connsiteY1" fmla="*/ 32783 h 56647"/>
                <a:gd name="connsiteX2" fmla="*/ 29951 w 56647"/>
                <a:gd name="connsiteY2" fmla="*/ 46945 h 56647"/>
                <a:gd name="connsiteX3" fmla="*/ 15789 w 56647"/>
                <a:gd name="connsiteY3" fmla="*/ 29951 h 56647"/>
                <a:gd name="connsiteX4" fmla="*/ 32783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15789"/>
                  </a:moveTo>
                  <a:cubicBezTo>
                    <a:pt x="41280" y="17205"/>
                    <a:pt x="48361" y="24286"/>
                    <a:pt x="46945" y="32783"/>
                  </a:cubicBezTo>
                  <a:cubicBezTo>
                    <a:pt x="45529" y="41280"/>
                    <a:pt x="38448" y="46945"/>
                    <a:pt x="29951" y="46945"/>
                  </a:cubicBezTo>
                  <a:cubicBezTo>
                    <a:pt x="21454" y="45529"/>
                    <a:pt x="15789" y="38448"/>
                    <a:pt x="15789" y="29951"/>
                  </a:cubicBezTo>
                  <a:cubicBezTo>
                    <a:pt x="15789" y="21454"/>
                    <a:pt x="24286" y="15789"/>
                    <a:pt x="32783"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69" name="Freeform: Shape 2568">
              <a:extLst>
                <a:ext uri="{FF2B5EF4-FFF2-40B4-BE49-F238E27FC236}">
                  <a16:creationId xmlns:a16="http://schemas.microsoft.com/office/drawing/2014/main" id="{B2AC2893-C5C9-4925-96AF-D3F8A5A78344}"/>
                </a:ext>
              </a:extLst>
            </p:cNvPr>
            <p:cNvSpPr/>
            <p:nvPr/>
          </p:nvSpPr>
          <p:spPr>
            <a:xfrm>
              <a:off x="3539564" y="5990678"/>
              <a:ext cx="42486" cy="42486"/>
            </a:xfrm>
            <a:custGeom>
              <a:avLst/>
              <a:gdLst>
                <a:gd name="connsiteX0" fmla="*/ 27118 w 42485"/>
                <a:gd name="connsiteY0" fmla="*/ 15789 h 42485"/>
                <a:gd name="connsiteX1" fmla="*/ 37032 w 42485"/>
                <a:gd name="connsiteY1" fmla="*/ 27118 h 42485"/>
                <a:gd name="connsiteX2" fmla="*/ 25702 w 42485"/>
                <a:gd name="connsiteY2" fmla="*/ 37032 h 42485"/>
                <a:gd name="connsiteX3" fmla="*/ 15789 w 42485"/>
                <a:gd name="connsiteY3" fmla="*/ 25703 h 42485"/>
                <a:gd name="connsiteX4" fmla="*/ 2711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5789"/>
                  </a:moveTo>
                  <a:cubicBezTo>
                    <a:pt x="32783" y="15789"/>
                    <a:pt x="37032" y="21454"/>
                    <a:pt x="37032" y="27118"/>
                  </a:cubicBezTo>
                  <a:cubicBezTo>
                    <a:pt x="37032" y="32783"/>
                    <a:pt x="31367" y="37032"/>
                    <a:pt x="25702" y="37032"/>
                  </a:cubicBezTo>
                  <a:cubicBezTo>
                    <a:pt x="20037" y="37032"/>
                    <a:pt x="15789" y="31367"/>
                    <a:pt x="15789" y="25703"/>
                  </a:cubicBezTo>
                  <a:cubicBezTo>
                    <a:pt x="15789" y="20037"/>
                    <a:pt x="21454" y="15789"/>
                    <a:pt x="27118"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70" name="Freeform: Shape 2569">
              <a:extLst>
                <a:ext uri="{FF2B5EF4-FFF2-40B4-BE49-F238E27FC236}">
                  <a16:creationId xmlns:a16="http://schemas.microsoft.com/office/drawing/2014/main" id="{CE2E622B-28CF-4A42-99A3-B6972988E1CC}"/>
                </a:ext>
              </a:extLst>
            </p:cNvPr>
            <p:cNvSpPr/>
            <p:nvPr/>
          </p:nvSpPr>
          <p:spPr>
            <a:xfrm>
              <a:off x="3492829" y="6262587"/>
              <a:ext cx="42486" cy="42486"/>
            </a:xfrm>
            <a:custGeom>
              <a:avLst/>
              <a:gdLst>
                <a:gd name="connsiteX0" fmla="*/ 27119 w 42485"/>
                <a:gd name="connsiteY0" fmla="*/ 15789 h 42485"/>
                <a:gd name="connsiteX1" fmla="*/ 37032 w 42485"/>
                <a:gd name="connsiteY1" fmla="*/ 27118 h 42485"/>
                <a:gd name="connsiteX2" fmla="*/ 25702 w 42485"/>
                <a:gd name="connsiteY2" fmla="*/ 37032 h 42485"/>
                <a:gd name="connsiteX3" fmla="*/ 15789 w 42485"/>
                <a:gd name="connsiteY3" fmla="*/ 25702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8"/>
                  </a:cubicBezTo>
                  <a:cubicBezTo>
                    <a:pt x="37032" y="32783"/>
                    <a:pt x="31367" y="37032"/>
                    <a:pt x="25702" y="37032"/>
                  </a:cubicBezTo>
                  <a:cubicBezTo>
                    <a:pt x="20038" y="37032"/>
                    <a:pt x="15789" y="31367"/>
                    <a:pt x="15789" y="25702"/>
                  </a:cubicBezTo>
                  <a:cubicBezTo>
                    <a:pt x="15789" y="20037"/>
                    <a:pt x="20038" y="15789"/>
                    <a:pt x="27119"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71" name="Freeform: Shape 2570">
              <a:extLst>
                <a:ext uri="{FF2B5EF4-FFF2-40B4-BE49-F238E27FC236}">
                  <a16:creationId xmlns:a16="http://schemas.microsoft.com/office/drawing/2014/main" id="{FA8E4052-641A-4D79-B3BA-BD6642B2A03B}"/>
                </a:ext>
              </a:extLst>
            </p:cNvPr>
            <p:cNvSpPr/>
            <p:nvPr/>
          </p:nvSpPr>
          <p:spPr>
            <a:xfrm>
              <a:off x="3732166" y="6448108"/>
              <a:ext cx="42486" cy="42486"/>
            </a:xfrm>
            <a:custGeom>
              <a:avLst/>
              <a:gdLst>
                <a:gd name="connsiteX0" fmla="*/ 31367 w 42485"/>
                <a:gd name="connsiteY0" fmla="*/ 17205 h 42485"/>
                <a:gd name="connsiteX1" fmla="*/ 35616 w 42485"/>
                <a:gd name="connsiteY1" fmla="*/ 31367 h 42485"/>
                <a:gd name="connsiteX2" fmla="*/ 21454 w 42485"/>
                <a:gd name="connsiteY2" fmla="*/ 35616 h 42485"/>
                <a:gd name="connsiteX3" fmla="*/ 17205 w 42485"/>
                <a:gd name="connsiteY3" fmla="*/ 21454 h 42485"/>
                <a:gd name="connsiteX4" fmla="*/ 31367 w 42485"/>
                <a:gd name="connsiteY4" fmla="*/ 1720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1367" y="17205"/>
                  </a:moveTo>
                  <a:cubicBezTo>
                    <a:pt x="37032" y="20038"/>
                    <a:pt x="38448" y="27119"/>
                    <a:pt x="35616" y="31367"/>
                  </a:cubicBezTo>
                  <a:cubicBezTo>
                    <a:pt x="32783" y="37032"/>
                    <a:pt x="25702" y="38448"/>
                    <a:pt x="21454" y="35616"/>
                  </a:cubicBezTo>
                  <a:cubicBezTo>
                    <a:pt x="15789" y="32783"/>
                    <a:pt x="14373" y="25702"/>
                    <a:pt x="17205" y="21454"/>
                  </a:cubicBezTo>
                  <a:cubicBezTo>
                    <a:pt x="18621" y="15789"/>
                    <a:pt x="25702" y="14373"/>
                    <a:pt x="31367" y="1720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72" name="Freeform: Shape 2571">
              <a:extLst>
                <a:ext uri="{FF2B5EF4-FFF2-40B4-BE49-F238E27FC236}">
                  <a16:creationId xmlns:a16="http://schemas.microsoft.com/office/drawing/2014/main" id="{C60869E5-6BAD-468F-949E-BCAB49EF5972}"/>
                </a:ext>
              </a:extLst>
            </p:cNvPr>
            <p:cNvSpPr/>
            <p:nvPr/>
          </p:nvSpPr>
          <p:spPr>
            <a:xfrm>
              <a:off x="3647194" y="6466518"/>
              <a:ext cx="42486" cy="42486"/>
            </a:xfrm>
            <a:custGeom>
              <a:avLst/>
              <a:gdLst>
                <a:gd name="connsiteX0" fmla="*/ 31367 w 42485"/>
                <a:gd name="connsiteY0" fmla="*/ 17205 h 42485"/>
                <a:gd name="connsiteX1" fmla="*/ 35616 w 42485"/>
                <a:gd name="connsiteY1" fmla="*/ 31367 h 42485"/>
                <a:gd name="connsiteX2" fmla="*/ 21454 w 42485"/>
                <a:gd name="connsiteY2" fmla="*/ 35616 h 42485"/>
                <a:gd name="connsiteX3" fmla="*/ 17205 w 42485"/>
                <a:gd name="connsiteY3" fmla="*/ 21454 h 42485"/>
                <a:gd name="connsiteX4" fmla="*/ 31367 w 42485"/>
                <a:gd name="connsiteY4" fmla="*/ 1720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1367" y="17205"/>
                  </a:moveTo>
                  <a:cubicBezTo>
                    <a:pt x="37032" y="20037"/>
                    <a:pt x="38448" y="27118"/>
                    <a:pt x="35616" y="31367"/>
                  </a:cubicBezTo>
                  <a:cubicBezTo>
                    <a:pt x="32783" y="37032"/>
                    <a:pt x="25702" y="38448"/>
                    <a:pt x="21454" y="35616"/>
                  </a:cubicBezTo>
                  <a:cubicBezTo>
                    <a:pt x="15789" y="32783"/>
                    <a:pt x="14373" y="25702"/>
                    <a:pt x="17205" y="21454"/>
                  </a:cubicBezTo>
                  <a:cubicBezTo>
                    <a:pt x="18621" y="15789"/>
                    <a:pt x="25702" y="14373"/>
                    <a:pt x="31367" y="1720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73" name="Freeform: Shape 2572">
              <a:extLst>
                <a:ext uri="{FF2B5EF4-FFF2-40B4-BE49-F238E27FC236}">
                  <a16:creationId xmlns:a16="http://schemas.microsoft.com/office/drawing/2014/main" id="{B7FE1F14-75D1-4EE7-9001-33E332832850}"/>
                </a:ext>
              </a:extLst>
            </p:cNvPr>
            <p:cNvSpPr/>
            <p:nvPr/>
          </p:nvSpPr>
          <p:spPr>
            <a:xfrm>
              <a:off x="3944594" y="6314986"/>
              <a:ext cx="42486" cy="42486"/>
            </a:xfrm>
            <a:custGeom>
              <a:avLst/>
              <a:gdLst>
                <a:gd name="connsiteX0" fmla="*/ 31367 w 42485"/>
                <a:gd name="connsiteY0" fmla="*/ 17205 h 42485"/>
                <a:gd name="connsiteX1" fmla="*/ 35616 w 42485"/>
                <a:gd name="connsiteY1" fmla="*/ 31367 h 42485"/>
                <a:gd name="connsiteX2" fmla="*/ 21454 w 42485"/>
                <a:gd name="connsiteY2" fmla="*/ 35616 h 42485"/>
                <a:gd name="connsiteX3" fmla="*/ 17205 w 42485"/>
                <a:gd name="connsiteY3" fmla="*/ 21454 h 42485"/>
                <a:gd name="connsiteX4" fmla="*/ 31367 w 42485"/>
                <a:gd name="connsiteY4" fmla="*/ 1720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1367" y="17205"/>
                  </a:moveTo>
                  <a:cubicBezTo>
                    <a:pt x="37032" y="20038"/>
                    <a:pt x="38448" y="27119"/>
                    <a:pt x="35616" y="31367"/>
                  </a:cubicBezTo>
                  <a:cubicBezTo>
                    <a:pt x="32783" y="37032"/>
                    <a:pt x="25702" y="38448"/>
                    <a:pt x="21454" y="35616"/>
                  </a:cubicBezTo>
                  <a:cubicBezTo>
                    <a:pt x="15789" y="32783"/>
                    <a:pt x="14373" y="25703"/>
                    <a:pt x="17205" y="21454"/>
                  </a:cubicBezTo>
                  <a:cubicBezTo>
                    <a:pt x="18621" y="15789"/>
                    <a:pt x="25702" y="14373"/>
                    <a:pt x="31367" y="1720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74" name="Freeform: Shape 2573">
              <a:extLst>
                <a:ext uri="{FF2B5EF4-FFF2-40B4-BE49-F238E27FC236}">
                  <a16:creationId xmlns:a16="http://schemas.microsoft.com/office/drawing/2014/main" id="{CF761472-8B0E-4483-A47F-70D70E810F7A}"/>
                </a:ext>
              </a:extLst>
            </p:cNvPr>
            <p:cNvSpPr/>
            <p:nvPr/>
          </p:nvSpPr>
          <p:spPr>
            <a:xfrm>
              <a:off x="3750021" y="5983042"/>
              <a:ext cx="42486" cy="42486"/>
            </a:xfrm>
            <a:custGeom>
              <a:avLst/>
              <a:gdLst>
                <a:gd name="connsiteX0" fmla="*/ 24842 w 42485"/>
                <a:gd name="connsiteY0" fmla="*/ 16345 h 42485"/>
                <a:gd name="connsiteX1" fmla="*/ 27674 w 42485"/>
                <a:gd name="connsiteY1" fmla="*/ 24842 h 42485"/>
                <a:gd name="connsiteX2" fmla="*/ 19177 w 42485"/>
                <a:gd name="connsiteY2" fmla="*/ 27674 h 42485"/>
                <a:gd name="connsiteX3" fmla="*/ 16345 w 42485"/>
                <a:gd name="connsiteY3" fmla="*/ 19177 h 42485"/>
                <a:gd name="connsiteX4" fmla="*/ 24842 w 42485"/>
                <a:gd name="connsiteY4" fmla="*/ 1634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6345"/>
                  </a:moveTo>
                  <a:cubicBezTo>
                    <a:pt x="27674" y="17761"/>
                    <a:pt x="29090" y="22009"/>
                    <a:pt x="27674" y="24842"/>
                  </a:cubicBezTo>
                  <a:cubicBezTo>
                    <a:pt x="26258" y="27674"/>
                    <a:pt x="22009" y="29090"/>
                    <a:pt x="19177" y="27674"/>
                  </a:cubicBezTo>
                  <a:cubicBezTo>
                    <a:pt x="16345" y="26258"/>
                    <a:pt x="14928" y="22009"/>
                    <a:pt x="16345" y="19177"/>
                  </a:cubicBezTo>
                  <a:cubicBezTo>
                    <a:pt x="17761" y="16345"/>
                    <a:pt x="22009" y="14928"/>
                    <a:pt x="24842" y="1634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75" name="Freeform: Shape 2574">
              <a:extLst>
                <a:ext uri="{FF2B5EF4-FFF2-40B4-BE49-F238E27FC236}">
                  <a16:creationId xmlns:a16="http://schemas.microsoft.com/office/drawing/2014/main" id="{5FEE86C6-8F77-4579-A2E3-411DB1666278}"/>
                </a:ext>
              </a:extLst>
            </p:cNvPr>
            <p:cNvSpPr/>
            <p:nvPr/>
          </p:nvSpPr>
          <p:spPr>
            <a:xfrm>
              <a:off x="3686292" y="5709717"/>
              <a:ext cx="42486" cy="42486"/>
            </a:xfrm>
            <a:custGeom>
              <a:avLst/>
              <a:gdLst>
                <a:gd name="connsiteX0" fmla="*/ 24842 w 42485"/>
                <a:gd name="connsiteY0" fmla="*/ 16345 h 42485"/>
                <a:gd name="connsiteX1" fmla="*/ 27674 w 42485"/>
                <a:gd name="connsiteY1" fmla="*/ 24841 h 42485"/>
                <a:gd name="connsiteX2" fmla="*/ 19177 w 42485"/>
                <a:gd name="connsiteY2" fmla="*/ 27674 h 42485"/>
                <a:gd name="connsiteX3" fmla="*/ 16345 w 42485"/>
                <a:gd name="connsiteY3" fmla="*/ 19177 h 42485"/>
                <a:gd name="connsiteX4" fmla="*/ 24842 w 42485"/>
                <a:gd name="connsiteY4" fmla="*/ 1634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6345"/>
                  </a:moveTo>
                  <a:cubicBezTo>
                    <a:pt x="27674" y="17760"/>
                    <a:pt x="29090" y="22009"/>
                    <a:pt x="27674" y="24841"/>
                  </a:cubicBezTo>
                  <a:cubicBezTo>
                    <a:pt x="26258" y="27674"/>
                    <a:pt x="22009" y="29090"/>
                    <a:pt x="19177" y="27674"/>
                  </a:cubicBezTo>
                  <a:cubicBezTo>
                    <a:pt x="16345" y="26258"/>
                    <a:pt x="14928" y="22009"/>
                    <a:pt x="16345" y="19177"/>
                  </a:cubicBezTo>
                  <a:cubicBezTo>
                    <a:pt x="17761" y="16345"/>
                    <a:pt x="22009" y="14928"/>
                    <a:pt x="24842" y="1634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76" name="Freeform: Shape 2575">
              <a:extLst>
                <a:ext uri="{FF2B5EF4-FFF2-40B4-BE49-F238E27FC236}">
                  <a16:creationId xmlns:a16="http://schemas.microsoft.com/office/drawing/2014/main" id="{0BA9312A-E479-4891-AB91-6F2987ACB96B}"/>
                </a:ext>
              </a:extLst>
            </p:cNvPr>
            <p:cNvSpPr/>
            <p:nvPr/>
          </p:nvSpPr>
          <p:spPr>
            <a:xfrm>
              <a:off x="4400608" y="5108120"/>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3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4"/>
                    <a:pt x="31367" y="37303"/>
                    <a:pt x="25703" y="37303"/>
                  </a:cubicBezTo>
                  <a:cubicBezTo>
                    <a:pt x="20038" y="37303"/>
                    <a:pt x="15789" y="31638"/>
                    <a:pt x="15789" y="25973"/>
                  </a:cubicBezTo>
                  <a:cubicBezTo>
                    <a:pt x="15789" y="18893"/>
                    <a:pt x="21454" y="14644"/>
                    <a:pt x="27119" y="1606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77" name="Freeform: Shape 2576">
              <a:extLst>
                <a:ext uri="{FF2B5EF4-FFF2-40B4-BE49-F238E27FC236}">
                  <a16:creationId xmlns:a16="http://schemas.microsoft.com/office/drawing/2014/main" id="{98BE628C-FBE8-4B98-A9B3-D1B01CE8BB78}"/>
                </a:ext>
              </a:extLst>
            </p:cNvPr>
            <p:cNvSpPr/>
            <p:nvPr/>
          </p:nvSpPr>
          <p:spPr>
            <a:xfrm>
              <a:off x="5438542" y="3523554"/>
              <a:ext cx="70810" cy="70810"/>
            </a:xfrm>
            <a:custGeom>
              <a:avLst/>
              <a:gdLst>
                <a:gd name="connsiteX0" fmla="*/ 44247 w 70809"/>
                <a:gd name="connsiteY0" fmla="*/ 15909 h 70809"/>
                <a:gd name="connsiteX1" fmla="*/ 66906 w 70809"/>
                <a:gd name="connsiteY1" fmla="*/ 44233 h 70809"/>
                <a:gd name="connsiteX2" fmla="*/ 38582 w 70809"/>
                <a:gd name="connsiteY2" fmla="*/ 66892 h 70809"/>
                <a:gd name="connsiteX3" fmla="*/ 15924 w 70809"/>
                <a:gd name="connsiteY3" fmla="*/ 38568 h 70809"/>
                <a:gd name="connsiteX4" fmla="*/ 44247 w 70809"/>
                <a:gd name="connsiteY4" fmla="*/ 15909 h 70809"/>
                <a:gd name="connsiteX5" fmla="*/ 44247 w 70809"/>
                <a:gd name="connsiteY5" fmla="*/ 15909 h 70809"/>
                <a:gd name="connsiteX6" fmla="*/ 42831 w 70809"/>
                <a:gd name="connsiteY6" fmla="*/ 27239 h 70809"/>
                <a:gd name="connsiteX7" fmla="*/ 27253 w 70809"/>
                <a:gd name="connsiteY7" fmla="*/ 39984 h 70809"/>
                <a:gd name="connsiteX8" fmla="*/ 39999 w 70809"/>
                <a:gd name="connsiteY8" fmla="*/ 55562 h 70809"/>
                <a:gd name="connsiteX9" fmla="*/ 55577 w 70809"/>
                <a:gd name="connsiteY9" fmla="*/ 42817 h 70809"/>
                <a:gd name="connsiteX10" fmla="*/ 42831 w 70809"/>
                <a:gd name="connsiteY10" fmla="*/ 27239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247" y="15909"/>
                  </a:moveTo>
                  <a:cubicBezTo>
                    <a:pt x="58409" y="17325"/>
                    <a:pt x="68322" y="30071"/>
                    <a:pt x="66906" y="44233"/>
                  </a:cubicBezTo>
                  <a:cubicBezTo>
                    <a:pt x="65490" y="58395"/>
                    <a:pt x="52744" y="68308"/>
                    <a:pt x="38582" y="66892"/>
                  </a:cubicBezTo>
                  <a:cubicBezTo>
                    <a:pt x="24420" y="65476"/>
                    <a:pt x="14507" y="52730"/>
                    <a:pt x="15924" y="38568"/>
                  </a:cubicBezTo>
                  <a:cubicBezTo>
                    <a:pt x="17339" y="25822"/>
                    <a:pt x="30085" y="14493"/>
                    <a:pt x="44247" y="15909"/>
                  </a:cubicBezTo>
                  <a:lnTo>
                    <a:pt x="44247" y="15909"/>
                  </a:lnTo>
                  <a:close/>
                  <a:moveTo>
                    <a:pt x="42831" y="27239"/>
                  </a:moveTo>
                  <a:cubicBezTo>
                    <a:pt x="34334" y="25822"/>
                    <a:pt x="27253" y="32903"/>
                    <a:pt x="27253" y="39984"/>
                  </a:cubicBezTo>
                  <a:cubicBezTo>
                    <a:pt x="25837" y="48481"/>
                    <a:pt x="32918" y="55562"/>
                    <a:pt x="39999" y="55562"/>
                  </a:cubicBezTo>
                  <a:cubicBezTo>
                    <a:pt x="48496" y="56978"/>
                    <a:pt x="55577" y="49898"/>
                    <a:pt x="55577" y="42817"/>
                  </a:cubicBezTo>
                  <a:cubicBezTo>
                    <a:pt x="56993" y="35736"/>
                    <a:pt x="51328" y="28655"/>
                    <a:pt x="42831" y="2723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78" name="Freeform: Shape 2577">
              <a:extLst>
                <a:ext uri="{FF2B5EF4-FFF2-40B4-BE49-F238E27FC236}">
                  <a16:creationId xmlns:a16="http://schemas.microsoft.com/office/drawing/2014/main" id="{C8692B2F-1FA6-4942-9042-723B32B9B686}"/>
                </a:ext>
              </a:extLst>
            </p:cNvPr>
            <p:cNvSpPr/>
            <p:nvPr/>
          </p:nvSpPr>
          <p:spPr>
            <a:xfrm>
              <a:off x="5665147" y="3632601"/>
              <a:ext cx="84971" cy="84971"/>
            </a:xfrm>
            <a:custGeom>
              <a:avLst/>
              <a:gdLst>
                <a:gd name="connsiteX0" fmla="*/ 45648 w 84971"/>
                <a:gd name="connsiteY0" fmla="*/ 15909 h 84971"/>
                <a:gd name="connsiteX1" fmla="*/ 69724 w 84971"/>
                <a:gd name="connsiteY1" fmla="*/ 45649 h 84971"/>
                <a:gd name="connsiteX2" fmla="*/ 39984 w 84971"/>
                <a:gd name="connsiteY2" fmla="*/ 69724 h 84971"/>
                <a:gd name="connsiteX3" fmla="*/ 15909 w 84971"/>
                <a:gd name="connsiteY3" fmla="*/ 39984 h 84971"/>
                <a:gd name="connsiteX4" fmla="*/ 45648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8" y="15909"/>
                  </a:moveTo>
                  <a:cubicBezTo>
                    <a:pt x="59810" y="17325"/>
                    <a:pt x="71140" y="30071"/>
                    <a:pt x="69724" y="45649"/>
                  </a:cubicBezTo>
                  <a:cubicBezTo>
                    <a:pt x="68308" y="59811"/>
                    <a:pt x="55562" y="71140"/>
                    <a:pt x="39984" y="69724"/>
                  </a:cubicBezTo>
                  <a:cubicBezTo>
                    <a:pt x="25822" y="68308"/>
                    <a:pt x="14493" y="55562"/>
                    <a:pt x="15909" y="39984"/>
                  </a:cubicBezTo>
                  <a:cubicBezTo>
                    <a:pt x="18741" y="25822"/>
                    <a:pt x="31487" y="14493"/>
                    <a:pt x="45648" y="1590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79" name="Freeform: Shape 2578">
              <a:extLst>
                <a:ext uri="{FF2B5EF4-FFF2-40B4-BE49-F238E27FC236}">
                  <a16:creationId xmlns:a16="http://schemas.microsoft.com/office/drawing/2014/main" id="{C0CF7110-0A6E-419B-848D-D8E4E8EDA573}"/>
                </a:ext>
              </a:extLst>
            </p:cNvPr>
            <p:cNvSpPr/>
            <p:nvPr/>
          </p:nvSpPr>
          <p:spPr>
            <a:xfrm>
              <a:off x="5717485" y="3309829"/>
              <a:ext cx="56648" cy="56648"/>
            </a:xfrm>
            <a:custGeom>
              <a:avLst/>
              <a:gdLst>
                <a:gd name="connsiteX0" fmla="*/ 32965 w 56647"/>
                <a:gd name="connsiteY0" fmla="*/ 15789 h 56647"/>
                <a:gd name="connsiteX1" fmla="*/ 47127 w 56647"/>
                <a:gd name="connsiteY1" fmla="*/ 32783 h 56647"/>
                <a:gd name="connsiteX2" fmla="*/ 30132 w 56647"/>
                <a:gd name="connsiteY2" fmla="*/ 46945 h 56647"/>
                <a:gd name="connsiteX3" fmla="*/ 15970 w 56647"/>
                <a:gd name="connsiteY3" fmla="*/ 29951 h 56647"/>
                <a:gd name="connsiteX4" fmla="*/ 32965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789"/>
                  </a:moveTo>
                  <a:cubicBezTo>
                    <a:pt x="41462" y="17205"/>
                    <a:pt x="48543" y="24286"/>
                    <a:pt x="47127" y="32783"/>
                  </a:cubicBezTo>
                  <a:cubicBezTo>
                    <a:pt x="45710" y="41280"/>
                    <a:pt x="38630" y="48361"/>
                    <a:pt x="30132" y="46945"/>
                  </a:cubicBezTo>
                  <a:cubicBezTo>
                    <a:pt x="21635" y="45529"/>
                    <a:pt x="14554" y="38448"/>
                    <a:pt x="15970" y="29951"/>
                  </a:cubicBezTo>
                  <a:cubicBezTo>
                    <a:pt x="15970" y="21454"/>
                    <a:pt x="23051" y="15789"/>
                    <a:pt x="32965"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80" name="Freeform: Shape 2579">
              <a:extLst>
                <a:ext uri="{FF2B5EF4-FFF2-40B4-BE49-F238E27FC236}">
                  <a16:creationId xmlns:a16="http://schemas.microsoft.com/office/drawing/2014/main" id="{D4793AE3-2A1C-4703-B361-37D603219BFC}"/>
                </a:ext>
              </a:extLst>
            </p:cNvPr>
            <p:cNvSpPr/>
            <p:nvPr/>
          </p:nvSpPr>
          <p:spPr>
            <a:xfrm>
              <a:off x="5394593" y="3714678"/>
              <a:ext cx="56648" cy="56648"/>
            </a:xfrm>
            <a:custGeom>
              <a:avLst/>
              <a:gdLst>
                <a:gd name="connsiteX0" fmla="*/ 32964 w 56647"/>
                <a:gd name="connsiteY0" fmla="*/ 15970 h 56647"/>
                <a:gd name="connsiteX1" fmla="*/ 47126 w 56647"/>
                <a:gd name="connsiteY1" fmla="*/ 32965 h 56647"/>
                <a:gd name="connsiteX2" fmla="*/ 30132 w 56647"/>
                <a:gd name="connsiteY2" fmla="*/ 47127 h 56647"/>
                <a:gd name="connsiteX3" fmla="*/ 15970 w 56647"/>
                <a:gd name="connsiteY3" fmla="*/ 30132 h 56647"/>
                <a:gd name="connsiteX4" fmla="*/ 32964 w 56647"/>
                <a:gd name="connsiteY4" fmla="*/ 1597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4" y="15970"/>
                  </a:moveTo>
                  <a:cubicBezTo>
                    <a:pt x="41462" y="17386"/>
                    <a:pt x="48543" y="24467"/>
                    <a:pt x="47126" y="32965"/>
                  </a:cubicBezTo>
                  <a:cubicBezTo>
                    <a:pt x="45710" y="41462"/>
                    <a:pt x="38630" y="48543"/>
                    <a:pt x="30132" y="47127"/>
                  </a:cubicBezTo>
                  <a:cubicBezTo>
                    <a:pt x="21635" y="45710"/>
                    <a:pt x="14554" y="38629"/>
                    <a:pt x="15970" y="30132"/>
                  </a:cubicBezTo>
                  <a:cubicBezTo>
                    <a:pt x="15970" y="21635"/>
                    <a:pt x="24468" y="14554"/>
                    <a:pt x="32964" y="1597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81" name="Freeform: Shape 2580">
              <a:extLst>
                <a:ext uri="{FF2B5EF4-FFF2-40B4-BE49-F238E27FC236}">
                  <a16:creationId xmlns:a16="http://schemas.microsoft.com/office/drawing/2014/main" id="{516D49FA-9E1A-4D55-BDD0-AEDB5803D8A5}"/>
                </a:ext>
              </a:extLst>
            </p:cNvPr>
            <p:cNvSpPr/>
            <p:nvPr/>
          </p:nvSpPr>
          <p:spPr>
            <a:xfrm>
              <a:off x="5321132" y="3561911"/>
              <a:ext cx="42486" cy="42486"/>
            </a:xfrm>
            <a:custGeom>
              <a:avLst/>
              <a:gdLst>
                <a:gd name="connsiteX0" fmla="*/ 25703 w 42485"/>
                <a:gd name="connsiteY0" fmla="*/ 15789 h 42485"/>
                <a:gd name="connsiteX1" fmla="*/ 34200 w 42485"/>
                <a:gd name="connsiteY1" fmla="*/ 25702 h 42485"/>
                <a:gd name="connsiteX2" fmla="*/ 24286 w 42485"/>
                <a:gd name="connsiteY2" fmla="*/ 34200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31367" y="15789"/>
                    <a:pt x="34200" y="21454"/>
                    <a:pt x="34200" y="25702"/>
                  </a:cubicBezTo>
                  <a:cubicBezTo>
                    <a:pt x="34200" y="31367"/>
                    <a:pt x="29951" y="34200"/>
                    <a:pt x="24286" y="34200"/>
                  </a:cubicBezTo>
                  <a:cubicBezTo>
                    <a:pt x="18622" y="34200"/>
                    <a:pt x="15789" y="28535"/>
                    <a:pt x="15789" y="24286"/>
                  </a:cubicBezTo>
                  <a:cubicBezTo>
                    <a:pt x="15789" y="20038"/>
                    <a:pt x="21454" y="15789"/>
                    <a:pt x="25703"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82" name="Freeform: Shape 2581">
              <a:extLst>
                <a:ext uri="{FF2B5EF4-FFF2-40B4-BE49-F238E27FC236}">
                  <a16:creationId xmlns:a16="http://schemas.microsoft.com/office/drawing/2014/main" id="{F91F31B4-C822-45EB-8436-F2FFA1BC46F8}"/>
                </a:ext>
              </a:extLst>
            </p:cNvPr>
            <p:cNvSpPr/>
            <p:nvPr/>
          </p:nvSpPr>
          <p:spPr>
            <a:xfrm>
              <a:off x="5874863" y="3386029"/>
              <a:ext cx="42486" cy="42486"/>
            </a:xfrm>
            <a:custGeom>
              <a:avLst/>
              <a:gdLst>
                <a:gd name="connsiteX0" fmla="*/ 25703 w 42485"/>
                <a:gd name="connsiteY0" fmla="*/ 16064 h 42485"/>
                <a:gd name="connsiteX1" fmla="*/ 34199 w 42485"/>
                <a:gd name="connsiteY1" fmla="*/ 25977 h 42485"/>
                <a:gd name="connsiteX2" fmla="*/ 24286 w 42485"/>
                <a:gd name="connsiteY2" fmla="*/ 34474 h 42485"/>
                <a:gd name="connsiteX3" fmla="*/ 15789 w 42485"/>
                <a:gd name="connsiteY3" fmla="*/ 24561 h 42485"/>
                <a:gd name="connsiteX4" fmla="*/ 25703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4"/>
                  </a:moveTo>
                  <a:cubicBezTo>
                    <a:pt x="29951" y="16064"/>
                    <a:pt x="34199" y="20312"/>
                    <a:pt x="34199" y="25977"/>
                  </a:cubicBezTo>
                  <a:cubicBezTo>
                    <a:pt x="34199" y="30225"/>
                    <a:pt x="29951" y="34474"/>
                    <a:pt x="24286" y="34474"/>
                  </a:cubicBezTo>
                  <a:cubicBezTo>
                    <a:pt x="20037" y="34474"/>
                    <a:pt x="15789" y="30225"/>
                    <a:pt x="15789" y="24561"/>
                  </a:cubicBezTo>
                  <a:cubicBezTo>
                    <a:pt x="17205" y="18896"/>
                    <a:pt x="21454" y="14647"/>
                    <a:pt x="25703" y="1606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83" name="Freeform: Shape 2582">
              <a:extLst>
                <a:ext uri="{FF2B5EF4-FFF2-40B4-BE49-F238E27FC236}">
                  <a16:creationId xmlns:a16="http://schemas.microsoft.com/office/drawing/2014/main" id="{A8E3D48E-D637-4730-90DF-3B3C0400600B}"/>
                </a:ext>
              </a:extLst>
            </p:cNvPr>
            <p:cNvSpPr/>
            <p:nvPr/>
          </p:nvSpPr>
          <p:spPr>
            <a:xfrm>
              <a:off x="6062998" y="3354929"/>
              <a:ext cx="56648" cy="56648"/>
            </a:xfrm>
            <a:custGeom>
              <a:avLst/>
              <a:gdLst>
                <a:gd name="connsiteX0" fmla="*/ 30169 w 56647"/>
                <a:gd name="connsiteY0" fmla="*/ 16007 h 56647"/>
                <a:gd name="connsiteX1" fmla="*/ 41499 w 56647"/>
                <a:gd name="connsiteY1" fmla="*/ 30169 h 56647"/>
                <a:gd name="connsiteX2" fmla="*/ 27337 w 56647"/>
                <a:gd name="connsiteY2" fmla="*/ 41499 h 56647"/>
                <a:gd name="connsiteX3" fmla="*/ 16007 w 56647"/>
                <a:gd name="connsiteY3" fmla="*/ 27337 h 56647"/>
                <a:gd name="connsiteX4" fmla="*/ 30169 w 56647"/>
                <a:gd name="connsiteY4" fmla="*/ 1600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0169" y="16007"/>
                  </a:moveTo>
                  <a:cubicBezTo>
                    <a:pt x="37250" y="16007"/>
                    <a:pt x="42915" y="23088"/>
                    <a:pt x="41499" y="30169"/>
                  </a:cubicBezTo>
                  <a:cubicBezTo>
                    <a:pt x="41499" y="37250"/>
                    <a:pt x="34418" y="42915"/>
                    <a:pt x="27337" y="41499"/>
                  </a:cubicBezTo>
                  <a:cubicBezTo>
                    <a:pt x="20256" y="41499"/>
                    <a:pt x="14592" y="34418"/>
                    <a:pt x="16007" y="27337"/>
                  </a:cubicBezTo>
                  <a:cubicBezTo>
                    <a:pt x="16007" y="20256"/>
                    <a:pt x="23088" y="14591"/>
                    <a:pt x="30169" y="1600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84" name="Freeform: Shape 2583">
              <a:extLst>
                <a:ext uri="{FF2B5EF4-FFF2-40B4-BE49-F238E27FC236}">
                  <a16:creationId xmlns:a16="http://schemas.microsoft.com/office/drawing/2014/main" id="{0F5B9344-B73C-4194-884F-0DB41A34849A}"/>
                </a:ext>
              </a:extLst>
            </p:cNvPr>
            <p:cNvSpPr/>
            <p:nvPr/>
          </p:nvSpPr>
          <p:spPr>
            <a:xfrm>
              <a:off x="5900235" y="3481069"/>
              <a:ext cx="84971" cy="84971"/>
            </a:xfrm>
            <a:custGeom>
              <a:avLst/>
              <a:gdLst>
                <a:gd name="connsiteX0" fmla="*/ 45649 w 84971"/>
                <a:gd name="connsiteY0" fmla="*/ 15909 h 84971"/>
                <a:gd name="connsiteX1" fmla="*/ 71140 w 84971"/>
                <a:gd name="connsiteY1" fmla="*/ 45648 h 84971"/>
                <a:gd name="connsiteX2" fmla="*/ 41400 w 84971"/>
                <a:gd name="connsiteY2" fmla="*/ 71140 h 84971"/>
                <a:gd name="connsiteX3" fmla="*/ 15908 w 84971"/>
                <a:gd name="connsiteY3" fmla="*/ 41400 h 84971"/>
                <a:gd name="connsiteX4" fmla="*/ 45649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9" y="15909"/>
                  </a:moveTo>
                  <a:cubicBezTo>
                    <a:pt x="61227" y="17325"/>
                    <a:pt x="72556" y="30070"/>
                    <a:pt x="71140" y="45648"/>
                  </a:cubicBezTo>
                  <a:cubicBezTo>
                    <a:pt x="69724" y="61227"/>
                    <a:pt x="56978" y="72556"/>
                    <a:pt x="41400" y="71140"/>
                  </a:cubicBezTo>
                  <a:cubicBezTo>
                    <a:pt x="25822" y="69724"/>
                    <a:pt x="14493" y="56978"/>
                    <a:pt x="15908" y="41400"/>
                  </a:cubicBezTo>
                  <a:cubicBezTo>
                    <a:pt x="15908" y="25822"/>
                    <a:pt x="30070" y="14492"/>
                    <a:pt x="45649" y="1590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85" name="Freeform: Shape 2584">
              <a:extLst>
                <a:ext uri="{FF2B5EF4-FFF2-40B4-BE49-F238E27FC236}">
                  <a16:creationId xmlns:a16="http://schemas.microsoft.com/office/drawing/2014/main" id="{6BD214FB-9D68-4A75-83F2-31D9991A093C}"/>
                </a:ext>
              </a:extLst>
            </p:cNvPr>
            <p:cNvSpPr/>
            <p:nvPr/>
          </p:nvSpPr>
          <p:spPr>
            <a:xfrm>
              <a:off x="5767233" y="3709195"/>
              <a:ext cx="42486" cy="42486"/>
            </a:xfrm>
            <a:custGeom>
              <a:avLst/>
              <a:gdLst>
                <a:gd name="connsiteX0" fmla="*/ 25703 w 42485"/>
                <a:gd name="connsiteY0" fmla="*/ 15789 h 42485"/>
                <a:gd name="connsiteX1" fmla="*/ 34200 w 42485"/>
                <a:gd name="connsiteY1" fmla="*/ 25703 h 42485"/>
                <a:gd name="connsiteX2" fmla="*/ 24286 w 42485"/>
                <a:gd name="connsiteY2" fmla="*/ 34200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29951" y="15789"/>
                    <a:pt x="34200" y="20038"/>
                    <a:pt x="34200" y="25703"/>
                  </a:cubicBezTo>
                  <a:cubicBezTo>
                    <a:pt x="34200" y="29951"/>
                    <a:pt x="29951" y="34200"/>
                    <a:pt x="24286" y="34200"/>
                  </a:cubicBezTo>
                  <a:cubicBezTo>
                    <a:pt x="20038" y="34200"/>
                    <a:pt x="15789" y="29951"/>
                    <a:pt x="15789" y="24286"/>
                  </a:cubicBezTo>
                  <a:cubicBezTo>
                    <a:pt x="17205" y="20038"/>
                    <a:pt x="21454" y="15789"/>
                    <a:pt x="25703"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86" name="Freeform: Shape 2585">
              <a:extLst>
                <a:ext uri="{FF2B5EF4-FFF2-40B4-BE49-F238E27FC236}">
                  <a16:creationId xmlns:a16="http://schemas.microsoft.com/office/drawing/2014/main" id="{8AF083D4-5F56-4509-A8FC-2966386EF324}"/>
                </a:ext>
              </a:extLst>
            </p:cNvPr>
            <p:cNvSpPr/>
            <p:nvPr/>
          </p:nvSpPr>
          <p:spPr>
            <a:xfrm>
              <a:off x="5619949" y="3269901"/>
              <a:ext cx="42486" cy="42486"/>
            </a:xfrm>
            <a:custGeom>
              <a:avLst/>
              <a:gdLst>
                <a:gd name="connsiteX0" fmla="*/ 25703 w 42485"/>
                <a:gd name="connsiteY0" fmla="*/ 16063 h 42485"/>
                <a:gd name="connsiteX1" fmla="*/ 34199 w 42485"/>
                <a:gd name="connsiteY1" fmla="*/ 25977 h 42485"/>
                <a:gd name="connsiteX2" fmla="*/ 24286 w 42485"/>
                <a:gd name="connsiteY2" fmla="*/ 34474 h 42485"/>
                <a:gd name="connsiteX3" fmla="*/ 15789 w 42485"/>
                <a:gd name="connsiteY3" fmla="*/ 24561 h 42485"/>
                <a:gd name="connsiteX4" fmla="*/ 25703 w 42485"/>
                <a:gd name="connsiteY4" fmla="*/ 1606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3"/>
                  </a:moveTo>
                  <a:cubicBezTo>
                    <a:pt x="29951" y="16063"/>
                    <a:pt x="34199" y="20312"/>
                    <a:pt x="34199" y="25977"/>
                  </a:cubicBezTo>
                  <a:cubicBezTo>
                    <a:pt x="34199" y="30225"/>
                    <a:pt x="29951" y="34474"/>
                    <a:pt x="24286" y="34474"/>
                  </a:cubicBezTo>
                  <a:cubicBezTo>
                    <a:pt x="20037" y="34474"/>
                    <a:pt x="15789" y="30225"/>
                    <a:pt x="15789" y="24561"/>
                  </a:cubicBezTo>
                  <a:cubicBezTo>
                    <a:pt x="15789" y="18896"/>
                    <a:pt x="20037" y="14647"/>
                    <a:pt x="25703" y="1606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87" name="Freeform: Shape 2586">
              <a:extLst>
                <a:ext uri="{FF2B5EF4-FFF2-40B4-BE49-F238E27FC236}">
                  <a16:creationId xmlns:a16="http://schemas.microsoft.com/office/drawing/2014/main" id="{6D1FED2A-5220-481E-873F-EBBA4F6A036A}"/>
                </a:ext>
              </a:extLst>
            </p:cNvPr>
            <p:cNvSpPr/>
            <p:nvPr/>
          </p:nvSpPr>
          <p:spPr>
            <a:xfrm>
              <a:off x="5761568" y="2873642"/>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9"/>
                    <a:pt x="55442" y="15789"/>
                    <a:pt x="41280" y="15789"/>
                  </a:cubicBezTo>
                  <a:cubicBezTo>
                    <a:pt x="27118" y="15789"/>
                    <a:pt x="15789" y="27119"/>
                    <a:pt x="15789" y="41280"/>
                  </a:cubicBezTo>
                  <a:cubicBezTo>
                    <a:pt x="15789" y="55442"/>
                    <a:pt x="27118" y="66772"/>
                    <a:pt x="41280" y="6677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88" name="Freeform: Shape 2587">
              <a:extLst>
                <a:ext uri="{FF2B5EF4-FFF2-40B4-BE49-F238E27FC236}">
                  <a16:creationId xmlns:a16="http://schemas.microsoft.com/office/drawing/2014/main" id="{A9E3AF15-C098-45CA-8E46-AA7A0AB5700D}"/>
                </a:ext>
              </a:extLst>
            </p:cNvPr>
            <p:cNvSpPr/>
            <p:nvPr/>
          </p:nvSpPr>
          <p:spPr>
            <a:xfrm>
              <a:off x="5543474" y="2642803"/>
              <a:ext cx="56648" cy="56648"/>
            </a:xfrm>
            <a:custGeom>
              <a:avLst/>
              <a:gdLst>
                <a:gd name="connsiteX0" fmla="*/ 46945 w 56647"/>
                <a:gd name="connsiteY0" fmla="*/ 31367 h 56647"/>
                <a:gd name="connsiteX1" fmla="*/ 31367 w 56647"/>
                <a:gd name="connsiteY1" fmla="*/ 46945 h 56647"/>
                <a:gd name="connsiteX2" fmla="*/ 15789 w 56647"/>
                <a:gd name="connsiteY2" fmla="*/ 31367 h 56647"/>
                <a:gd name="connsiteX3" fmla="*/ 31367 w 56647"/>
                <a:gd name="connsiteY3" fmla="*/ 15789 h 56647"/>
                <a:gd name="connsiteX4" fmla="*/ 46945 w 56647"/>
                <a:gd name="connsiteY4" fmla="*/ 3136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46945" y="31367"/>
                  </a:moveTo>
                  <a:cubicBezTo>
                    <a:pt x="46945" y="39971"/>
                    <a:pt x="39970" y="46945"/>
                    <a:pt x="31367" y="46945"/>
                  </a:cubicBezTo>
                  <a:cubicBezTo>
                    <a:pt x="22763" y="46945"/>
                    <a:pt x="15789" y="39971"/>
                    <a:pt x="15789" y="31367"/>
                  </a:cubicBezTo>
                  <a:cubicBezTo>
                    <a:pt x="15789" y="22764"/>
                    <a:pt x="22763" y="15789"/>
                    <a:pt x="31367" y="15789"/>
                  </a:cubicBezTo>
                  <a:cubicBezTo>
                    <a:pt x="39970" y="15789"/>
                    <a:pt x="46945" y="22764"/>
                    <a:pt x="46945" y="3136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89" name="Freeform: Shape 2588">
              <a:extLst>
                <a:ext uri="{FF2B5EF4-FFF2-40B4-BE49-F238E27FC236}">
                  <a16:creationId xmlns:a16="http://schemas.microsoft.com/office/drawing/2014/main" id="{DDE95BAE-8FE3-42CE-A731-112FFEAE7B29}"/>
                </a:ext>
              </a:extLst>
            </p:cNvPr>
            <p:cNvSpPr/>
            <p:nvPr/>
          </p:nvSpPr>
          <p:spPr>
            <a:xfrm>
              <a:off x="5525064" y="2719278"/>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1" y="86599"/>
                    <a:pt x="86599" y="71020"/>
                    <a:pt x="86599" y="51194"/>
                  </a:cubicBezTo>
                  <a:cubicBezTo>
                    <a:pt x="86599" y="31367"/>
                    <a:pt x="71021" y="15789"/>
                    <a:pt x="51194" y="15789"/>
                  </a:cubicBezTo>
                  <a:cubicBezTo>
                    <a:pt x="31367" y="15789"/>
                    <a:pt x="15789" y="31367"/>
                    <a:pt x="15789" y="51194"/>
                  </a:cubicBezTo>
                  <a:cubicBezTo>
                    <a:pt x="15789" y="71020"/>
                    <a:pt x="31367" y="86599"/>
                    <a:pt x="51194" y="8659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90" name="Freeform: Shape 2589">
              <a:extLst>
                <a:ext uri="{FF2B5EF4-FFF2-40B4-BE49-F238E27FC236}">
                  <a16:creationId xmlns:a16="http://schemas.microsoft.com/office/drawing/2014/main" id="{2AC3196F-20E2-4804-B7EE-0A5FAB995E1D}"/>
                </a:ext>
              </a:extLst>
            </p:cNvPr>
            <p:cNvSpPr/>
            <p:nvPr/>
          </p:nvSpPr>
          <p:spPr>
            <a:xfrm>
              <a:off x="5505237" y="2521011"/>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1" y="49777"/>
                    <a:pt x="49778" y="42697"/>
                    <a:pt x="49778" y="32783"/>
                  </a:cubicBezTo>
                  <a:cubicBezTo>
                    <a:pt x="49778" y="24286"/>
                    <a:pt x="42697" y="15789"/>
                    <a:pt x="32783" y="15789"/>
                  </a:cubicBezTo>
                  <a:cubicBezTo>
                    <a:pt x="22870" y="15789"/>
                    <a:pt x="15789" y="22870"/>
                    <a:pt x="15789" y="32783"/>
                  </a:cubicBezTo>
                  <a:cubicBezTo>
                    <a:pt x="17205" y="42697"/>
                    <a:pt x="24286" y="49777"/>
                    <a:pt x="32783"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91" name="Freeform: Shape 2590">
              <a:extLst>
                <a:ext uri="{FF2B5EF4-FFF2-40B4-BE49-F238E27FC236}">
                  <a16:creationId xmlns:a16="http://schemas.microsoft.com/office/drawing/2014/main" id="{C667F9E1-F5B0-4F63-909D-AF82A6654798}"/>
                </a:ext>
              </a:extLst>
            </p:cNvPr>
            <p:cNvSpPr/>
            <p:nvPr/>
          </p:nvSpPr>
          <p:spPr>
            <a:xfrm>
              <a:off x="5628446" y="2750434"/>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92" name="Freeform: Shape 2591">
              <a:extLst>
                <a:ext uri="{FF2B5EF4-FFF2-40B4-BE49-F238E27FC236}">
                  <a16:creationId xmlns:a16="http://schemas.microsoft.com/office/drawing/2014/main" id="{3B5B411B-9D4C-498F-A3D0-7F0A573BE2A0}"/>
                </a:ext>
              </a:extLst>
            </p:cNvPr>
            <p:cNvSpPr/>
            <p:nvPr/>
          </p:nvSpPr>
          <p:spPr>
            <a:xfrm>
              <a:off x="5728996" y="2504017"/>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1280"/>
                    <a:pt x="49778" y="32783"/>
                  </a:cubicBezTo>
                  <a:cubicBezTo>
                    <a:pt x="49778" y="22870"/>
                    <a:pt x="41280" y="15789"/>
                    <a:pt x="32783" y="15789"/>
                  </a:cubicBezTo>
                  <a:cubicBezTo>
                    <a:pt x="22870" y="15789"/>
                    <a:pt x="15789" y="24286"/>
                    <a:pt x="15789" y="32783"/>
                  </a:cubicBezTo>
                  <a:cubicBezTo>
                    <a:pt x="15789" y="41280"/>
                    <a:pt x="22870" y="49777"/>
                    <a:pt x="32783" y="4977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93" name="Freeform: Shape 2592">
              <a:extLst>
                <a:ext uri="{FF2B5EF4-FFF2-40B4-BE49-F238E27FC236}">
                  <a16:creationId xmlns:a16="http://schemas.microsoft.com/office/drawing/2014/main" id="{DD6BB834-E744-4454-83D8-F46B03A48B24}"/>
                </a:ext>
              </a:extLst>
            </p:cNvPr>
            <p:cNvSpPr/>
            <p:nvPr/>
          </p:nvSpPr>
          <p:spPr>
            <a:xfrm>
              <a:off x="5736077" y="2679624"/>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94" name="Freeform: Shape 2593">
              <a:extLst>
                <a:ext uri="{FF2B5EF4-FFF2-40B4-BE49-F238E27FC236}">
                  <a16:creationId xmlns:a16="http://schemas.microsoft.com/office/drawing/2014/main" id="{A3A982F5-CD59-4FE6-86EE-69346CFA3775}"/>
                </a:ext>
              </a:extLst>
            </p:cNvPr>
            <p:cNvSpPr/>
            <p:nvPr/>
          </p:nvSpPr>
          <p:spPr>
            <a:xfrm>
              <a:off x="5561885" y="2556416"/>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1454"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95" name="Freeform: Shape 2594">
              <a:extLst>
                <a:ext uri="{FF2B5EF4-FFF2-40B4-BE49-F238E27FC236}">
                  <a16:creationId xmlns:a16="http://schemas.microsoft.com/office/drawing/2014/main" id="{277A144D-80FF-4FBE-AA45-A7CBBCB7456E}"/>
                </a:ext>
              </a:extLst>
            </p:cNvPr>
            <p:cNvSpPr/>
            <p:nvPr/>
          </p:nvSpPr>
          <p:spPr>
            <a:xfrm>
              <a:off x="5821048" y="2573410"/>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1454" y="35616"/>
                    <a:pt x="25702"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96" name="Freeform: Shape 2595">
              <a:extLst>
                <a:ext uri="{FF2B5EF4-FFF2-40B4-BE49-F238E27FC236}">
                  <a16:creationId xmlns:a16="http://schemas.microsoft.com/office/drawing/2014/main" id="{31D990F4-42D9-4357-B857-A3FB97885F60}"/>
                </a:ext>
              </a:extLst>
            </p:cNvPr>
            <p:cNvSpPr/>
            <p:nvPr/>
          </p:nvSpPr>
          <p:spPr>
            <a:xfrm>
              <a:off x="5651105" y="2723526"/>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97" name="Freeform: Shape 2596">
              <a:extLst>
                <a:ext uri="{FF2B5EF4-FFF2-40B4-BE49-F238E27FC236}">
                  <a16:creationId xmlns:a16="http://schemas.microsoft.com/office/drawing/2014/main" id="{EB75D140-9726-4B15-8EDA-E187F84D7D3D}"/>
                </a:ext>
              </a:extLst>
            </p:cNvPr>
            <p:cNvSpPr/>
            <p:nvPr/>
          </p:nvSpPr>
          <p:spPr>
            <a:xfrm>
              <a:off x="5407366" y="3217777"/>
              <a:ext cx="70810" cy="70810"/>
            </a:xfrm>
            <a:custGeom>
              <a:avLst/>
              <a:gdLst>
                <a:gd name="connsiteX0" fmla="*/ 40018 w 70809"/>
                <a:gd name="connsiteY0" fmla="*/ 15789 h 70809"/>
                <a:gd name="connsiteX1" fmla="*/ 59845 w 70809"/>
                <a:gd name="connsiteY1" fmla="*/ 39864 h 70809"/>
                <a:gd name="connsiteX2" fmla="*/ 35769 w 70809"/>
                <a:gd name="connsiteY2" fmla="*/ 59691 h 70809"/>
                <a:gd name="connsiteX3" fmla="*/ 15943 w 70809"/>
                <a:gd name="connsiteY3" fmla="*/ 35616 h 70809"/>
                <a:gd name="connsiteX4" fmla="*/ 40018 w 70809"/>
                <a:gd name="connsiteY4" fmla="*/ 1578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789"/>
                  </a:moveTo>
                  <a:cubicBezTo>
                    <a:pt x="52764" y="17205"/>
                    <a:pt x="61261" y="27119"/>
                    <a:pt x="59845" y="39864"/>
                  </a:cubicBezTo>
                  <a:cubicBezTo>
                    <a:pt x="58429" y="52610"/>
                    <a:pt x="48515" y="61107"/>
                    <a:pt x="35769" y="59691"/>
                  </a:cubicBezTo>
                  <a:cubicBezTo>
                    <a:pt x="23024" y="58275"/>
                    <a:pt x="14527" y="48361"/>
                    <a:pt x="15943" y="35616"/>
                  </a:cubicBezTo>
                  <a:cubicBezTo>
                    <a:pt x="15943" y="24286"/>
                    <a:pt x="27272" y="15789"/>
                    <a:pt x="40018"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98" name="Freeform: Shape 2597">
              <a:extLst>
                <a:ext uri="{FF2B5EF4-FFF2-40B4-BE49-F238E27FC236}">
                  <a16:creationId xmlns:a16="http://schemas.microsoft.com/office/drawing/2014/main" id="{EA550274-6A4E-4631-AB0D-29049CFC64B0}"/>
                </a:ext>
              </a:extLst>
            </p:cNvPr>
            <p:cNvSpPr/>
            <p:nvPr/>
          </p:nvSpPr>
          <p:spPr>
            <a:xfrm>
              <a:off x="5529313" y="3318326"/>
              <a:ext cx="42486" cy="42486"/>
            </a:xfrm>
            <a:custGeom>
              <a:avLst/>
              <a:gdLst>
                <a:gd name="connsiteX0" fmla="*/ 25702 w 42485"/>
                <a:gd name="connsiteY0" fmla="*/ 15789 h 42485"/>
                <a:gd name="connsiteX1" fmla="*/ 34199 w 42485"/>
                <a:gd name="connsiteY1" fmla="*/ 25702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1454"/>
                    <a:pt x="34199" y="25702"/>
                  </a:cubicBezTo>
                  <a:cubicBezTo>
                    <a:pt x="34199" y="31367"/>
                    <a:pt x="29951" y="34200"/>
                    <a:pt x="24286" y="34200"/>
                  </a:cubicBezTo>
                  <a:cubicBezTo>
                    <a:pt x="18621" y="34200"/>
                    <a:pt x="15789" y="28535"/>
                    <a:pt x="15789" y="24286"/>
                  </a:cubicBezTo>
                  <a:cubicBezTo>
                    <a:pt x="15789" y="20038"/>
                    <a:pt x="21454" y="15789"/>
                    <a:pt x="25702"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599" name="Freeform: Shape 2598">
              <a:extLst>
                <a:ext uri="{FF2B5EF4-FFF2-40B4-BE49-F238E27FC236}">
                  <a16:creationId xmlns:a16="http://schemas.microsoft.com/office/drawing/2014/main" id="{9E080557-A832-409F-8077-730774942C01}"/>
                </a:ext>
              </a:extLst>
            </p:cNvPr>
            <p:cNvSpPr/>
            <p:nvPr/>
          </p:nvSpPr>
          <p:spPr>
            <a:xfrm>
              <a:off x="5319609" y="3346288"/>
              <a:ext cx="84971" cy="84971"/>
            </a:xfrm>
            <a:custGeom>
              <a:avLst/>
              <a:gdLst>
                <a:gd name="connsiteX0" fmla="*/ 51301 w 84971"/>
                <a:gd name="connsiteY0" fmla="*/ 16151 h 84971"/>
                <a:gd name="connsiteX1" fmla="*/ 81041 w 84971"/>
                <a:gd name="connsiteY1" fmla="*/ 51556 h 84971"/>
                <a:gd name="connsiteX2" fmla="*/ 45636 w 84971"/>
                <a:gd name="connsiteY2" fmla="*/ 81295 h 84971"/>
                <a:gd name="connsiteX3" fmla="*/ 15896 w 84971"/>
                <a:gd name="connsiteY3" fmla="*/ 45891 h 84971"/>
                <a:gd name="connsiteX4" fmla="*/ 51301 w 84971"/>
                <a:gd name="connsiteY4" fmla="*/ 16151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51301" y="16151"/>
                  </a:moveTo>
                  <a:cubicBezTo>
                    <a:pt x="69712" y="17567"/>
                    <a:pt x="82457" y="34561"/>
                    <a:pt x="81041" y="51556"/>
                  </a:cubicBezTo>
                  <a:cubicBezTo>
                    <a:pt x="79625" y="69966"/>
                    <a:pt x="62631" y="82712"/>
                    <a:pt x="45636" y="81295"/>
                  </a:cubicBezTo>
                  <a:cubicBezTo>
                    <a:pt x="27226" y="79879"/>
                    <a:pt x="14480" y="64301"/>
                    <a:pt x="15896" y="45891"/>
                  </a:cubicBezTo>
                  <a:cubicBezTo>
                    <a:pt x="17313" y="27480"/>
                    <a:pt x="32891" y="13318"/>
                    <a:pt x="51301" y="1615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00" name="Freeform: Shape 2599">
              <a:extLst>
                <a:ext uri="{FF2B5EF4-FFF2-40B4-BE49-F238E27FC236}">
                  <a16:creationId xmlns:a16="http://schemas.microsoft.com/office/drawing/2014/main" id="{E8500CE6-2AA7-40C2-9182-FB8C29C25AD3}"/>
                </a:ext>
              </a:extLst>
            </p:cNvPr>
            <p:cNvSpPr/>
            <p:nvPr/>
          </p:nvSpPr>
          <p:spPr>
            <a:xfrm>
              <a:off x="5292809" y="3251491"/>
              <a:ext cx="42486" cy="42486"/>
            </a:xfrm>
            <a:custGeom>
              <a:avLst/>
              <a:gdLst>
                <a:gd name="connsiteX0" fmla="*/ 25703 w 42485"/>
                <a:gd name="connsiteY0" fmla="*/ 16064 h 42485"/>
                <a:gd name="connsiteX1" fmla="*/ 34200 w 42485"/>
                <a:gd name="connsiteY1" fmla="*/ 25977 h 42485"/>
                <a:gd name="connsiteX2" fmla="*/ 24286 w 42485"/>
                <a:gd name="connsiteY2" fmla="*/ 34474 h 42485"/>
                <a:gd name="connsiteX3" fmla="*/ 15789 w 42485"/>
                <a:gd name="connsiteY3" fmla="*/ 24561 h 42485"/>
                <a:gd name="connsiteX4" fmla="*/ 25703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4"/>
                  </a:moveTo>
                  <a:cubicBezTo>
                    <a:pt x="29951" y="16064"/>
                    <a:pt x="34200" y="20312"/>
                    <a:pt x="34200" y="25977"/>
                  </a:cubicBezTo>
                  <a:cubicBezTo>
                    <a:pt x="34200" y="30225"/>
                    <a:pt x="29951" y="34474"/>
                    <a:pt x="24286" y="34474"/>
                  </a:cubicBezTo>
                  <a:cubicBezTo>
                    <a:pt x="20038" y="34474"/>
                    <a:pt x="15789" y="30225"/>
                    <a:pt x="15789" y="24561"/>
                  </a:cubicBezTo>
                  <a:cubicBezTo>
                    <a:pt x="17205" y="18896"/>
                    <a:pt x="21454" y="14647"/>
                    <a:pt x="25703" y="1606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01" name="Freeform: Shape 2600">
              <a:extLst>
                <a:ext uri="{FF2B5EF4-FFF2-40B4-BE49-F238E27FC236}">
                  <a16:creationId xmlns:a16="http://schemas.microsoft.com/office/drawing/2014/main" id="{463C66F1-A760-4B77-963F-256750A4775A}"/>
                </a:ext>
              </a:extLst>
            </p:cNvPr>
            <p:cNvSpPr/>
            <p:nvPr/>
          </p:nvSpPr>
          <p:spPr>
            <a:xfrm>
              <a:off x="5338127" y="3433038"/>
              <a:ext cx="42486" cy="42486"/>
            </a:xfrm>
            <a:custGeom>
              <a:avLst/>
              <a:gdLst>
                <a:gd name="connsiteX0" fmla="*/ 25702 w 42485"/>
                <a:gd name="connsiteY0" fmla="*/ 15789 h 42485"/>
                <a:gd name="connsiteX1" fmla="*/ 34199 w 42485"/>
                <a:gd name="connsiteY1" fmla="*/ 25703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29951" y="15789"/>
                    <a:pt x="34199" y="20038"/>
                    <a:pt x="34199" y="25703"/>
                  </a:cubicBezTo>
                  <a:cubicBezTo>
                    <a:pt x="34199" y="29951"/>
                    <a:pt x="29951" y="34200"/>
                    <a:pt x="24286" y="34200"/>
                  </a:cubicBezTo>
                  <a:cubicBezTo>
                    <a:pt x="20037" y="34200"/>
                    <a:pt x="15789" y="29951"/>
                    <a:pt x="15789" y="24286"/>
                  </a:cubicBezTo>
                  <a:cubicBezTo>
                    <a:pt x="15789" y="20038"/>
                    <a:pt x="20037" y="15789"/>
                    <a:pt x="25702"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02" name="Freeform: Shape 2601">
              <a:extLst>
                <a:ext uri="{FF2B5EF4-FFF2-40B4-BE49-F238E27FC236}">
                  <a16:creationId xmlns:a16="http://schemas.microsoft.com/office/drawing/2014/main" id="{4A8E70D9-C64C-43B1-8613-6D4FF177DF23}"/>
                </a:ext>
              </a:extLst>
            </p:cNvPr>
            <p:cNvSpPr/>
            <p:nvPr/>
          </p:nvSpPr>
          <p:spPr>
            <a:xfrm>
              <a:off x="5641192" y="2839654"/>
              <a:ext cx="70810" cy="70810"/>
            </a:xfrm>
            <a:custGeom>
              <a:avLst/>
              <a:gdLst>
                <a:gd name="connsiteX0" fmla="*/ 55442 w 70809"/>
                <a:gd name="connsiteY0" fmla="*/ 35616 h 70809"/>
                <a:gd name="connsiteX1" fmla="*/ 35616 w 70809"/>
                <a:gd name="connsiteY1" fmla="*/ 55442 h 70809"/>
                <a:gd name="connsiteX2" fmla="*/ 15789 w 70809"/>
                <a:gd name="connsiteY2" fmla="*/ 35616 h 70809"/>
                <a:gd name="connsiteX3" fmla="*/ 35616 w 70809"/>
                <a:gd name="connsiteY3" fmla="*/ 15789 h 70809"/>
                <a:gd name="connsiteX4" fmla="*/ 55442 w 70809"/>
                <a:gd name="connsiteY4" fmla="*/ 35616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55442" y="35616"/>
                  </a:moveTo>
                  <a:cubicBezTo>
                    <a:pt x="55442" y="46565"/>
                    <a:pt x="46566" y="55442"/>
                    <a:pt x="35616" y="55442"/>
                  </a:cubicBezTo>
                  <a:cubicBezTo>
                    <a:pt x="24666" y="55442"/>
                    <a:pt x="15789" y="46565"/>
                    <a:pt x="15789" y="35616"/>
                  </a:cubicBezTo>
                  <a:cubicBezTo>
                    <a:pt x="15789" y="24666"/>
                    <a:pt x="24666" y="15789"/>
                    <a:pt x="35616" y="15789"/>
                  </a:cubicBezTo>
                  <a:cubicBezTo>
                    <a:pt x="46566" y="15789"/>
                    <a:pt x="55442" y="24666"/>
                    <a:pt x="55442"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03" name="Freeform: Shape 2602">
              <a:extLst>
                <a:ext uri="{FF2B5EF4-FFF2-40B4-BE49-F238E27FC236}">
                  <a16:creationId xmlns:a16="http://schemas.microsoft.com/office/drawing/2014/main" id="{EA0A0BD7-0A24-48A8-ADC8-6DC83B54611B}"/>
                </a:ext>
              </a:extLst>
            </p:cNvPr>
            <p:cNvSpPr/>
            <p:nvPr/>
          </p:nvSpPr>
          <p:spPr>
            <a:xfrm>
              <a:off x="5523648" y="2947284"/>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8" y="29951"/>
                    <a:pt x="29951" y="27118"/>
                    <a:pt x="29951" y="22870"/>
                  </a:cubicBezTo>
                  <a:cubicBezTo>
                    <a:pt x="29951" y="18621"/>
                    <a:pt x="27118" y="15789"/>
                    <a:pt x="22870" y="15789"/>
                  </a:cubicBezTo>
                  <a:cubicBezTo>
                    <a:pt x="18621" y="15789"/>
                    <a:pt x="15789" y="18621"/>
                    <a:pt x="15789" y="22870"/>
                  </a:cubicBezTo>
                  <a:cubicBezTo>
                    <a:pt x="15789" y="27118"/>
                    <a:pt x="20037" y="29951"/>
                    <a:pt x="22870" y="29951"/>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04" name="Freeform: Shape 2603">
              <a:extLst>
                <a:ext uri="{FF2B5EF4-FFF2-40B4-BE49-F238E27FC236}">
                  <a16:creationId xmlns:a16="http://schemas.microsoft.com/office/drawing/2014/main" id="{4142F0B7-BF0F-4B93-B619-396DCF584189}"/>
                </a:ext>
              </a:extLst>
            </p:cNvPr>
            <p:cNvSpPr/>
            <p:nvPr/>
          </p:nvSpPr>
          <p:spPr>
            <a:xfrm>
              <a:off x="6153853" y="2960030"/>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5789" y="37032"/>
                    <a:pt x="22870" y="44113"/>
                    <a:pt x="29951" y="4411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05" name="Freeform: Shape 2604">
              <a:extLst>
                <a:ext uri="{FF2B5EF4-FFF2-40B4-BE49-F238E27FC236}">
                  <a16:creationId xmlns:a16="http://schemas.microsoft.com/office/drawing/2014/main" id="{66248DA3-7D12-4FE2-8404-95C223717AD0}"/>
                </a:ext>
              </a:extLst>
            </p:cNvPr>
            <p:cNvSpPr/>
            <p:nvPr/>
          </p:nvSpPr>
          <p:spPr>
            <a:xfrm>
              <a:off x="6050336" y="2764596"/>
              <a:ext cx="70810" cy="70810"/>
            </a:xfrm>
            <a:custGeom>
              <a:avLst/>
              <a:gdLst>
                <a:gd name="connsiteX0" fmla="*/ 37167 w 70809"/>
                <a:gd name="connsiteY0" fmla="*/ 58275 h 70809"/>
                <a:gd name="connsiteX1" fmla="*/ 58410 w 70809"/>
                <a:gd name="connsiteY1" fmla="*/ 37032 h 70809"/>
                <a:gd name="connsiteX2" fmla="*/ 37167 w 70809"/>
                <a:gd name="connsiteY2" fmla="*/ 15789 h 70809"/>
                <a:gd name="connsiteX3" fmla="*/ 15924 w 70809"/>
                <a:gd name="connsiteY3" fmla="*/ 37032 h 70809"/>
                <a:gd name="connsiteX4" fmla="*/ 37167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167" y="58275"/>
                  </a:moveTo>
                  <a:cubicBezTo>
                    <a:pt x="48497" y="58275"/>
                    <a:pt x="58410" y="48361"/>
                    <a:pt x="58410" y="37032"/>
                  </a:cubicBezTo>
                  <a:cubicBezTo>
                    <a:pt x="58410" y="25702"/>
                    <a:pt x="48497" y="15789"/>
                    <a:pt x="37167" y="15789"/>
                  </a:cubicBezTo>
                  <a:cubicBezTo>
                    <a:pt x="25837" y="15789"/>
                    <a:pt x="15924" y="25702"/>
                    <a:pt x="15924" y="37032"/>
                  </a:cubicBezTo>
                  <a:cubicBezTo>
                    <a:pt x="14508" y="48361"/>
                    <a:pt x="24421" y="58275"/>
                    <a:pt x="37167" y="5827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06" name="Freeform: Shape 2605">
              <a:extLst>
                <a:ext uri="{FF2B5EF4-FFF2-40B4-BE49-F238E27FC236}">
                  <a16:creationId xmlns:a16="http://schemas.microsoft.com/office/drawing/2014/main" id="{D8169657-02DD-4D1F-A303-636BFA423BCD}"/>
                </a:ext>
              </a:extLst>
            </p:cNvPr>
            <p:cNvSpPr/>
            <p:nvPr/>
          </p:nvSpPr>
          <p:spPr>
            <a:xfrm>
              <a:off x="5445622" y="3046418"/>
              <a:ext cx="70810" cy="70810"/>
            </a:xfrm>
            <a:custGeom>
              <a:avLst/>
              <a:gdLst>
                <a:gd name="connsiteX0" fmla="*/ 37167 w 70809"/>
                <a:gd name="connsiteY0" fmla="*/ 58275 h 70809"/>
                <a:gd name="connsiteX1" fmla="*/ 58410 w 70809"/>
                <a:gd name="connsiteY1" fmla="*/ 37032 h 70809"/>
                <a:gd name="connsiteX2" fmla="*/ 37167 w 70809"/>
                <a:gd name="connsiteY2" fmla="*/ 15789 h 70809"/>
                <a:gd name="connsiteX3" fmla="*/ 15924 w 70809"/>
                <a:gd name="connsiteY3" fmla="*/ 37032 h 70809"/>
                <a:gd name="connsiteX4" fmla="*/ 37167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167" y="58275"/>
                  </a:moveTo>
                  <a:cubicBezTo>
                    <a:pt x="48496" y="58275"/>
                    <a:pt x="58410" y="48361"/>
                    <a:pt x="58410" y="37032"/>
                  </a:cubicBezTo>
                  <a:cubicBezTo>
                    <a:pt x="58410" y="25702"/>
                    <a:pt x="48496" y="15789"/>
                    <a:pt x="37167" y="15789"/>
                  </a:cubicBezTo>
                  <a:cubicBezTo>
                    <a:pt x="25837" y="15789"/>
                    <a:pt x="15924" y="25702"/>
                    <a:pt x="15924" y="37032"/>
                  </a:cubicBezTo>
                  <a:cubicBezTo>
                    <a:pt x="14508" y="48361"/>
                    <a:pt x="24421" y="58275"/>
                    <a:pt x="37167" y="5827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07" name="Freeform: Shape 2606">
              <a:extLst>
                <a:ext uri="{FF2B5EF4-FFF2-40B4-BE49-F238E27FC236}">
                  <a16:creationId xmlns:a16="http://schemas.microsoft.com/office/drawing/2014/main" id="{3F3383D9-3329-419A-BF0B-E2F48167604B}"/>
                </a:ext>
              </a:extLst>
            </p:cNvPr>
            <p:cNvSpPr/>
            <p:nvPr/>
          </p:nvSpPr>
          <p:spPr>
            <a:xfrm>
              <a:off x="5458322" y="2967111"/>
              <a:ext cx="56648" cy="56648"/>
            </a:xfrm>
            <a:custGeom>
              <a:avLst/>
              <a:gdLst>
                <a:gd name="connsiteX0" fmla="*/ 32964 w 56647"/>
                <a:gd name="connsiteY0" fmla="*/ 15789 h 56647"/>
                <a:gd name="connsiteX1" fmla="*/ 47126 w 56647"/>
                <a:gd name="connsiteY1" fmla="*/ 32783 h 56647"/>
                <a:gd name="connsiteX2" fmla="*/ 30132 w 56647"/>
                <a:gd name="connsiteY2" fmla="*/ 46945 h 56647"/>
                <a:gd name="connsiteX3" fmla="*/ 15970 w 56647"/>
                <a:gd name="connsiteY3" fmla="*/ 29951 h 56647"/>
                <a:gd name="connsiteX4" fmla="*/ 32964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4" y="15789"/>
                  </a:moveTo>
                  <a:cubicBezTo>
                    <a:pt x="41462" y="17205"/>
                    <a:pt x="48543" y="24286"/>
                    <a:pt x="47126" y="32783"/>
                  </a:cubicBezTo>
                  <a:cubicBezTo>
                    <a:pt x="45710" y="41280"/>
                    <a:pt x="38630" y="48361"/>
                    <a:pt x="30132" y="46945"/>
                  </a:cubicBezTo>
                  <a:cubicBezTo>
                    <a:pt x="21635" y="45529"/>
                    <a:pt x="14554" y="38448"/>
                    <a:pt x="15970" y="29951"/>
                  </a:cubicBezTo>
                  <a:cubicBezTo>
                    <a:pt x="15970" y="21454"/>
                    <a:pt x="23051" y="15789"/>
                    <a:pt x="32964"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08" name="Freeform: Shape 2607">
              <a:extLst>
                <a:ext uri="{FF2B5EF4-FFF2-40B4-BE49-F238E27FC236}">
                  <a16:creationId xmlns:a16="http://schemas.microsoft.com/office/drawing/2014/main" id="{91C963A3-E9DF-4B74-AFB0-75F6AD2AAE46}"/>
                </a:ext>
              </a:extLst>
            </p:cNvPr>
            <p:cNvSpPr/>
            <p:nvPr/>
          </p:nvSpPr>
          <p:spPr>
            <a:xfrm>
              <a:off x="5744466" y="3969379"/>
              <a:ext cx="84971" cy="84971"/>
            </a:xfrm>
            <a:custGeom>
              <a:avLst/>
              <a:gdLst>
                <a:gd name="connsiteX0" fmla="*/ 48469 w 84971"/>
                <a:gd name="connsiteY0" fmla="*/ 16184 h 84971"/>
                <a:gd name="connsiteX1" fmla="*/ 75377 w 84971"/>
                <a:gd name="connsiteY1" fmla="*/ 48757 h 84971"/>
                <a:gd name="connsiteX2" fmla="*/ 42805 w 84971"/>
                <a:gd name="connsiteY2" fmla="*/ 75664 h 84971"/>
                <a:gd name="connsiteX3" fmla="*/ 15897 w 84971"/>
                <a:gd name="connsiteY3" fmla="*/ 43092 h 84971"/>
                <a:gd name="connsiteX4" fmla="*/ 48469 w 84971"/>
                <a:gd name="connsiteY4" fmla="*/ 1618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8469" y="16184"/>
                  </a:moveTo>
                  <a:cubicBezTo>
                    <a:pt x="64047" y="17600"/>
                    <a:pt x="76793" y="31762"/>
                    <a:pt x="75377" y="48757"/>
                  </a:cubicBezTo>
                  <a:cubicBezTo>
                    <a:pt x="73961" y="64335"/>
                    <a:pt x="59799" y="77081"/>
                    <a:pt x="42805" y="75664"/>
                  </a:cubicBezTo>
                  <a:cubicBezTo>
                    <a:pt x="27226" y="74248"/>
                    <a:pt x="14481" y="60086"/>
                    <a:pt x="15897" y="43092"/>
                  </a:cubicBezTo>
                  <a:cubicBezTo>
                    <a:pt x="18729" y="26098"/>
                    <a:pt x="32891" y="13352"/>
                    <a:pt x="48469" y="1618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09" name="Freeform: Shape 2608">
              <a:extLst>
                <a:ext uri="{FF2B5EF4-FFF2-40B4-BE49-F238E27FC236}">
                  <a16:creationId xmlns:a16="http://schemas.microsoft.com/office/drawing/2014/main" id="{E38706B4-FC2A-4A18-B0FB-2B23D26A5744}"/>
                </a:ext>
              </a:extLst>
            </p:cNvPr>
            <p:cNvSpPr/>
            <p:nvPr/>
          </p:nvSpPr>
          <p:spPr>
            <a:xfrm>
              <a:off x="5686510" y="3772923"/>
              <a:ext cx="56648" cy="56648"/>
            </a:xfrm>
            <a:custGeom>
              <a:avLst/>
              <a:gdLst>
                <a:gd name="connsiteX0" fmla="*/ 29951 w 56647"/>
                <a:gd name="connsiteY0" fmla="*/ 15789 h 56647"/>
                <a:gd name="connsiteX1" fmla="*/ 42697 w 56647"/>
                <a:gd name="connsiteY1" fmla="*/ 29951 h 56647"/>
                <a:gd name="connsiteX2" fmla="*/ 28535 w 56647"/>
                <a:gd name="connsiteY2" fmla="*/ 42697 h 56647"/>
                <a:gd name="connsiteX3" fmla="*/ 15789 w 56647"/>
                <a:gd name="connsiteY3" fmla="*/ 28535 h 56647"/>
                <a:gd name="connsiteX4" fmla="*/ 29951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5789"/>
                  </a:moveTo>
                  <a:cubicBezTo>
                    <a:pt x="37032" y="15789"/>
                    <a:pt x="42697" y="22870"/>
                    <a:pt x="42697" y="29951"/>
                  </a:cubicBezTo>
                  <a:cubicBezTo>
                    <a:pt x="42697" y="37032"/>
                    <a:pt x="35616" y="42697"/>
                    <a:pt x="28535" y="42697"/>
                  </a:cubicBezTo>
                  <a:cubicBezTo>
                    <a:pt x="21454" y="42697"/>
                    <a:pt x="15789" y="35616"/>
                    <a:pt x="15789" y="28535"/>
                  </a:cubicBezTo>
                  <a:cubicBezTo>
                    <a:pt x="15789" y="20038"/>
                    <a:pt x="21454" y="15789"/>
                    <a:pt x="29951"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10" name="Freeform: Shape 2609">
              <a:extLst>
                <a:ext uri="{FF2B5EF4-FFF2-40B4-BE49-F238E27FC236}">
                  <a16:creationId xmlns:a16="http://schemas.microsoft.com/office/drawing/2014/main" id="{96F6C9BD-5BCC-412A-A4B6-2EC0E2E98227}"/>
                </a:ext>
              </a:extLst>
            </p:cNvPr>
            <p:cNvSpPr/>
            <p:nvPr/>
          </p:nvSpPr>
          <p:spPr>
            <a:xfrm>
              <a:off x="5499573" y="4051696"/>
              <a:ext cx="56648" cy="56648"/>
            </a:xfrm>
            <a:custGeom>
              <a:avLst/>
              <a:gdLst>
                <a:gd name="connsiteX0" fmla="*/ 29951 w 56647"/>
                <a:gd name="connsiteY0" fmla="*/ 16006 h 56647"/>
                <a:gd name="connsiteX1" fmla="*/ 42697 w 56647"/>
                <a:gd name="connsiteY1" fmla="*/ 30168 h 56647"/>
                <a:gd name="connsiteX2" fmla="*/ 28535 w 56647"/>
                <a:gd name="connsiteY2" fmla="*/ 42913 h 56647"/>
                <a:gd name="connsiteX3" fmla="*/ 15789 w 56647"/>
                <a:gd name="connsiteY3" fmla="*/ 28752 h 56647"/>
                <a:gd name="connsiteX4" fmla="*/ 29951 w 56647"/>
                <a:gd name="connsiteY4" fmla="*/ 16006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6006"/>
                  </a:moveTo>
                  <a:cubicBezTo>
                    <a:pt x="37032" y="16006"/>
                    <a:pt x="42697" y="23087"/>
                    <a:pt x="42697" y="30168"/>
                  </a:cubicBezTo>
                  <a:cubicBezTo>
                    <a:pt x="42697" y="37249"/>
                    <a:pt x="35616" y="42913"/>
                    <a:pt x="28535" y="42913"/>
                  </a:cubicBezTo>
                  <a:cubicBezTo>
                    <a:pt x="21454" y="42913"/>
                    <a:pt x="15789" y="35832"/>
                    <a:pt x="15789" y="28752"/>
                  </a:cubicBezTo>
                  <a:cubicBezTo>
                    <a:pt x="15789" y="20254"/>
                    <a:pt x="21454" y="14590"/>
                    <a:pt x="29951" y="1600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11" name="Freeform: Shape 2610">
              <a:extLst>
                <a:ext uri="{FF2B5EF4-FFF2-40B4-BE49-F238E27FC236}">
                  <a16:creationId xmlns:a16="http://schemas.microsoft.com/office/drawing/2014/main" id="{45C75F53-9FBA-4E1D-93D8-D7F935A7A129}"/>
                </a:ext>
              </a:extLst>
            </p:cNvPr>
            <p:cNvSpPr/>
            <p:nvPr/>
          </p:nvSpPr>
          <p:spPr>
            <a:xfrm>
              <a:off x="5313870" y="3840901"/>
              <a:ext cx="56648" cy="56648"/>
            </a:xfrm>
            <a:custGeom>
              <a:avLst/>
              <a:gdLst>
                <a:gd name="connsiteX0" fmla="*/ 32965 w 56647"/>
                <a:gd name="connsiteY0" fmla="*/ 15789 h 56647"/>
                <a:gd name="connsiteX1" fmla="*/ 47127 w 56647"/>
                <a:gd name="connsiteY1" fmla="*/ 32783 h 56647"/>
                <a:gd name="connsiteX2" fmla="*/ 30132 w 56647"/>
                <a:gd name="connsiteY2" fmla="*/ 46945 h 56647"/>
                <a:gd name="connsiteX3" fmla="*/ 15970 w 56647"/>
                <a:gd name="connsiteY3" fmla="*/ 29951 h 56647"/>
                <a:gd name="connsiteX4" fmla="*/ 32965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789"/>
                  </a:moveTo>
                  <a:cubicBezTo>
                    <a:pt x="41462" y="17205"/>
                    <a:pt x="48543" y="24286"/>
                    <a:pt x="47127" y="32783"/>
                  </a:cubicBezTo>
                  <a:cubicBezTo>
                    <a:pt x="45710" y="41280"/>
                    <a:pt x="38630" y="48361"/>
                    <a:pt x="30132" y="46945"/>
                  </a:cubicBezTo>
                  <a:cubicBezTo>
                    <a:pt x="21635" y="45529"/>
                    <a:pt x="14554" y="38448"/>
                    <a:pt x="15970" y="29951"/>
                  </a:cubicBezTo>
                  <a:cubicBezTo>
                    <a:pt x="15970" y="22870"/>
                    <a:pt x="23051" y="15789"/>
                    <a:pt x="32965"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12" name="Freeform: Shape 2611">
              <a:extLst>
                <a:ext uri="{FF2B5EF4-FFF2-40B4-BE49-F238E27FC236}">
                  <a16:creationId xmlns:a16="http://schemas.microsoft.com/office/drawing/2014/main" id="{BE6E7385-D69F-4261-AC8A-2C13AAB81F19}"/>
                </a:ext>
              </a:extLst>
            </p:cNvPr>
            <p:cNvSpPr/>
            <p:nvPr/>
          </p:nvSpPr>
          <p:spPr>
            <a:xfrm>
              <a:off x="5554804" y="3838068"/>
              <a:ext cx="56648" cy="56648"/>
            </a:xfrm>
            <a:custGeom>
              <a:avLst/>
              <a:gdLst>
                <a:gd name="connsiteX0" fmla="*/ 29951 w 56647"/>
                <a:gd name="connsiteY0" fmla="*/ 15789 h 56647"/>
                <a:gd name="connsiteX1" fmla="*/ 41281 w 56647"/>
                <a:gd name="connsiteY1" fmla="*/ 29951 h 56647"/>
                <a:gd name="connsiteX2" fmla="*/ 27119 w 56647"/>
                <a:gd name="connsiteY2" fmla="*/ 41280 h 56647"/>
                <a:gd name="connsiteX3" fmla="*/ 15789 w 56647"/>
                <a:gd name="connsiteY3" fmla="*/ 27119 h 56647"/>
                <a:gd name="connsiteX4" fmla="*/ 29951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5789"/>
                  </a:moveTo>
                  <a:cubicBezTo>
                    <a:pt x="37032" y="15789"/>
                    <a:pt x="41281" y="22870"/>
                    <a:pt x="41281" y="29951"/>
                  </a:cubicBezTo>
                  <a:cubicBezTo>
                    <a:pt x="41281" y="37032"/>
                    <a:pt x="34200" y="41280"/>
                    <a:pt x="27119" y="41280"/>
                  </a:cubicBezTo>
                  <a:cubicBezTo>
                    <a:pt x="20038" y="41280"/>
                    <a:pt x="15789" y="34200"/>
                    <a:pt x="15789" y="27119"/>
                  </a:cubicBezTo>
                  <a:cubicBezTo>
                    <a:pt x="17205" y="20038"/>
                    <a:pt x="22870" y="15789"/>
                    <a:pt x="29951"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13" name="Freeform: Shape 2612">
              <a:extLst>
                <a:ext uri="{FF2B5EF4-FFF2-40B4-BE49-F238E27FC236}">
                  <a16:creationId xmlns:a16="http://schemas.microsoft.com/office/drawing/2014/main" id="{930A8C2C-B8D6-4C04-B574-07C852C903F2}"/>
                </a:ext>
              </a:extLst>
            </p:cNvPr>
            <p:cNvSpPr/>
            <p:nvPr/>
          </p:nvSpPr>
          <p:spPr>
            <a:xfrm>
              <a:off x="5244658" y="3748630"/>
              <a:ext cx="56648" cy="56648"/>
            </a:xfrm>
            <a:custGeom>
              <a:avLst/>
              <a:gdLst>
                <a:gd name="connsiteX0" fmla="*/ 29951 w 56647"/>
                <a:gd name="connsiteY0" fmla="*/ 16007 h 56647"/>
                <a:gd name="connsiteX1" fmla="*/ 41280 w 56647"/>
                <a:gd name="connsiteY1" fmla="*/ 30169 h 56647"/>
                <a:gd name="connsiteX2" fmla="*/ 27118 w 56647"/>
                <a:gd name="connsiteY2" fmla="*/ 41499 h 56647"/>
                <a:gd name="connsiteX3" fmla="*/ 15789 w 56647"/>
                <a:gd name="connsiteY3" fmla="*/ 27337 h 56647"/>
                <a:gd name="connsiteX4" fmla="*/ 29951 w 56647"/>
                <a:gd name="connsiteY4" fmla="*/ 1600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6007"/>
                  </a:moveTo>
                  <a:cubicBezTo>
                    <a:pt x="37032" y="16007"/>
                    <a:pt x="41280" y="23088"/>
                    <a:pt x="41280" y="30169"/>
                  </a:cubicBezTo>
                  <a:cubicBezTo>
                    <a:pt x="41280" y="37250"/>
                    <a:pt x="34199" y="41499"/>
                    <a:pt x="27118" y="41499"/>
                  </a:cubicBezTo>
                  <a:cubicBezTo>
                    <a:pt x="20037" y="41499"/>
                    <a:pt x="15789" y="34418"/>
                    <a:pt x="15789" y="27337"/>
                  </a:cubicBezTo>
                  <a:cubicBezTo>
                    <a:pt x="15789" y="20256"/>
                    <a:pt x="22870" y="14591"/>
                    <a:pt x="29951" y="1600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14" name="Freeform: Shape 2613">
              <a:extLst>
                <a:ext uri="{FF2B5EF4-FFF2-40B4-BE49-F238E27FC236}">
                  <a16:creationId xmlns:a16="http://schemas.microsoft.com/office/drawing/2014/main" id="{ABF0D657-39F2-4FA3-A45C-E3C4D30D3F99}"/>
                </a:ext>
              </a:extLst>
            </p:cNvPr>
            <p:cNvSpPr/>
            <p:nvPr/>
          </p:nvSpPr>
          <p:spPr>
            <a:xfrm>
              <a:off x="5587377" y="4031868"/>
              <a:ext cx="56648" cy="56648"/>
            </a:xfrm>
            <a:custGeom>
              <a:avLst/>
              <a:gdLst>
                <a:gd name="connsiteX0" fmla="*/ 29951 w 56647"/>
                <a:gd name="connsiteY0" fmla="*/ 16007 h 56647"/>
                <a:gd name="connsiteX1" fmla="*/ 41280 w 56647"/>
                <a:gd name="connsiteY1" fmla="*/ 30169 h 56647"/>
                <a:gd name="connsiteX2" fmla="*/ 27118 w 56647"/>
                <a:gd name="connsiteY2" fmla="*/ 41499 h 56647"/>
                <a:gd name="connsiteX3" fmla="*/ 15789 w 56647"/>
                <a:gd name="connsiteY3" fmla="*/ 27337 h 56647"/>
                <a:gd name="connsiteX4" fmla="*/ 29951 w 56647"/>
                <a:gd name="connsiteY4" fmla="*/ 1600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6007"/>
                  </a:moveTo>
                  <a:cubicBezTo>
                    <a:pt x="37032" y="16007"/>
                    <a:pt x="41280" y="23088"/>
                    <a:pt x="41280" y="30169"/>
                  </a:cubicBezTo>
                  <a:cubicBezTo>
                    <a:pt x="41280" y="37250"/>
                    <a:pt x="34199" y="41499"/>
                    <a:pt x="27118" y="41499"/>
                  </a:cubicBezTo>
                  <a:cubicBezTo>
                    <a:pt x="20037" y="41499"/>
                    <a:pt x="15789" y="34418"/>
                    <a:pt x="15789" y="27337"/>
                  </a:cubicBezTo>
                  <a:cubicBezTo>
                    <a:pt x="17205" y="20256"/>
                    <a:pt x="22870" y="14591"/>
                    <a:pt x="29951" y="1600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15" name="Freeform: Shape 2614">
              <a:extLst>
                <a:ext uri="{FF2B5EF4-FFF2-40B4-BE49-F238E27FC236}">
                  <a16:creationId xmlns:a16="http://schemas.microsoft.com/office/drawing/2014/main" id="{9FA37D0C-7E0B-497E-9DC9-9BD170F66EE6}"/>
                </a:ext>
              </a:extLst>
            </p:cNvPr>
            <p:cNvSpPr/>
            <p:nvPr/>
          </p:nvSpPr>
          <p:spPr>
            <a:xfrm>
              <a:off x="7170559" y="3675206"/>
              <a:ext cx="70810" cy="70810"/>
            </a:xfrm>
            <a:custGeom>
              <a:avLst/>
              <a:gdLst>
                <a:gd name="connsiteX0" fmla="*/ 41400 w 70809"/>
                <a:gd name="connsiteY0" fmla="*/ 66772 h 70809"/>
                <a:gd name="connsiteX1" fmla="*/ 66892 w 70809"/>
                <a:gd name="connsiteY1" fmla="*/ 41280 h 70809"/>
                <a:gd name="connsiteX2" fmla="*/ 41400 w 70809"/>
                <a:gd name="connsiteY2" fmla="*/ 15789 h 70809"/>
                <a:gd name="connsiteX3" fmla="*/ 15909 w 70809"/>
                <a:gd name="connsiteY3" fmla="*/ 41280 h 70809"/>
                <a:gd name="connsiteX4" fmla="*/ 4140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400" y="66772"/>
                  </a:moveTo>
                  <a:cubicBezTo>
                    <a:pt x="55562" y="66772"/>
                    <a:pt x="66892" y="55442"/>
                    <a:pt x="66892" y="41280"/>
                  </a:cubicBezTo>
                  <a:cubicBezTo>
                    <a:pt x="66892" y="27119"/>
                    <a:pt x="55562" y="15789"/>
                    <a:pt x="41400" y="15789"/>
                  </a:cubicBezTo>
                  <a:cubicBezTo>
                    <a:pt x="27238" y="15789"/>
                    <a:pt x="15909" y="27119"/>
                    <a:pt x="15909" y="41280"/>
                  </a:cubicBezTo>
                  <a:cubicBezTo>
                    <a:pt x="14492" y="55442"/>
                    <a:pt x="25822" y="66772"/>
                    <a:pt x="41400" y="6677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16" name="Freeform: Shape 2615">
              <a:extLst>
                <a:ext uri="{FF2B5EF4-FFF2-40B4-BE49-F238E27FC236}">
                  <a16:creationId xmlns:a16="http://schemas.microsoft.com/office/drawing/2014/main" id="{A5A3D542-76A3-46BA-8384-CCA1F3630562}"/>
                </a:ext>
              </a:extLst>
            </p:cNvPr>
            <p:cNvSpPr/>
            <p:nvPr/>
          </p:nvSpPr>
          <p:spPr>
            <a:xfrm>
              <a:off x="6068882" y="4268590"/>
              <a:ext cx="70810" cy="70810"/>
            </a:xfrm>
            <a:custGeom>
              <a:avLst/>
              <a:gdLst>
                <a:gd name="connsiteX0" fmla="*/ 41280 w 70809"/>
                <a:gd name="connsiteY0" fmla="*/ 66772 h 70809"/>
                <a:gd name="connsiteX1" fmla="*/ 66772 w 70809"/>
                <a:gd name="connsiteY1" fmla="*/ 41281 h 70809"/>
                <a:gd name="connsiteX2" fmla="*/ 41280 w 70809"/>
                <a:gd name="connsiteY2" fmla="*/ 15789 h 70809"/>
                <a:gd name="connsiteX3" fmla="*/ 15789 w 70809"/>
                <a:gd name="connsiteY3" fmla="*/ 41281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3"/>
                    <a:pt x="66772" y="41281"/>
                  </a:cubicBezTo>
                  <a:cubicBezTo>
                    <a:pt x="66772" y="27119"/>
                    <a:pt x="55442" y="15789"/>
                    <a:pt x="41280" y="15789"/>
                  </a:cubicBezTo>
                  <a:cubicBezTo>
                    <a:pt x="27118" y="15789"/>
                    <a:pt x="15789" y="27119"/>
                    <a:pt x="15789" y="41281"/>
                  </a:cubicBezTo>
                  <a:cubicBezTo>
                    <a:pt x="15789" y="55443"/>
                    <a:pt x="27118" y="66772"/>
                    <a:pt x="41280" y="6677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17" name="Freeform: Shape 2616">
              <a:extLst>
                <a:ext uri="{FF2B5EF4-FFF2-40B4-BE49-F238E27FC236}">
                  <a16:creationId xmlns:a16="http://schemas.microsoft.com/office/drawing/2014/main" id="{A12C6EFB-C658-4312-A38B-148B9DE0C726}"/>
                </a:ext>
              </a:extLst>
            </p:cNvPr>
            <p:cNvSpPr/>
            <p:nvPr/>
          </p:nvSpPr>
          <p:spPr>
            <a:xfrm>
              <a:off x="6499404" y="3669542"/>
              <a:ext cx="42486" cy="42486"/>
            </a:xfrm>
            <a:custGeom>
              <a:avLst/>
              <a:gdLst>
                <a:gd name="connsiteX0" fmla="*/ 27118 w 42485"/>
                <a:gd name="connsiteY0" fmla="*/ 15789 h 42485"/>
                <a:gd name="connsiteX1" fmla="*/ 37032 w 42485"/>
                <a:gd name="connsiteY1" fmla="*/ 27118 h 42485"/>
                <a:gd name="connsiteX2" fmla="*/ 25702 w 42485"/>
                <a:gd name="connsiteY2" fmla="*/ 37032 h 42485"/>
                <a:gd name="connsiteX3" fmla="*/ 15789 w 42485"/>
                <a:gd name="connsiteY3" fmla="*/ 25702 h 42485"/>
                <a:gd name="connsiteX4" fmla="*/ 2711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5789"/>
                  </a:moveTo>
                  <a:cubicBezTo>
                    <a:pt x="32783" y="15789"/>
                    <a:pt x="37032" y="21454"/>
                    <a:pt x="37032" y="27118"/>
                  </a:cubicBezTo>
                  <a:cubicBezTo>
                    <a:pt x="37032" y="32783"/>
                    <a:pt x="31367" y="37032"/>
                    <a:pt x="25702" y="37032"/>
                  </a:cubicBezTo>
                  <a:cubicBezTo>
                    <a:pt x="20037" y="37032"/>
                    <a:pt x="15789" y="31367"/>
                    <a:pt x="15789" y="25702"/>
                  </a:cubicBezTo>
                  <a:cubicBezTo>
                    <a:pt x="15789" y="20037"/>
                    <a:pt x="21454" y="15789"/>
                    <a:pt x="27118"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18" name="Freeform: Shape 2617">
              <a:extLst>
                <a:ext uri="{FF2B5EF4-FFF2-40B4-BE49-F238E27FC236}">
                  <a16:creationId xmlns:a16="http://schemas.microsoft.com/office/drawing/2014/main" id="{3F29DC38-0D35-4CF8-B57A-35D6E22A45C9}"/>
                </a:ext>
              </a:extLst>
            </p:cNvPr>
            <p:cNvSpPr/>
            <p:nvPr/>
          </p:nvSpPr>
          <p:spPr>
            <a:xfrm>
              <a:off x="6499250" y="4410055"/>
              <a:ext cx="70810" cy="70810"/>
            </a:xfrm>
            <a:custGeom>
              <a:avLst/>
              <a:gdLst>
                <a:gd name="connsiteX0" fmla="*/ 40018 w 70809"/>
                <a:gd name="connsiteY0" fmla="*/ 15943 h 70809"/>
                <a:gd name="connsiteX1" fmla="*/ 59845 w 70809"/>
                <a:gd name="connsiteY1" fmla="*/ 40018 h 70809"/>
                <a:gd name="connsiteX2" fmla="*/ 35769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3"/>
                    <a:pt x="59845" y="40018"/>
                  </a:cubicBezTo>
                  <a:cubicBezTo>
                    <a:pt x="58429" y="52764"/>
                    <a:pt x="48515" y="61261"/>
                    <a:pt x="35769" y="59845"/>
                  </a:cubicBezTo>
                  <a:cubicBezTo>
                    <a:pt x="23024" y="58429"/>
                    <a:pt x="14527" y="48516"/>
                    <a:pt x="15943" y="35769"/>
                  </a:cubicBezTo>
                  <a:cubicBezTo>
                    <a:pt x="17359" y="23024"/>
                    <a:pt x="27272" y="14527"/>
                    <a:pt x="40018" y="1594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19" name="Freeform: Shape 2618">
              <a:extLst>
                <a:ext uri="{FF2B5EF4-FFF2-40B4-BE49-F238E27FC236}">
                  <a16:creationId xmlns:a16="http://schemas.microsoft.com/office/drawing/2014/main" id="{7D24F335-1A61-4415-92AF-ADC2A67EB230}"/>
                </a:ext>
              </a:extLst>
            </p:cNvPr>
            <p:cNvSpPr/>
            <p:nvPr/>
          </p:nvSpPr>
          <p:spPr>
            <a:xfrm>
              <a:off x="6615377" y="4057424"/>
              <a:ext cx="70810" cy="70810"/>
            </a:xfrm>
            <a:custGeom>
              <a:avLst/>
              <a:gdLst>
                <a:gd name="connsiteX0" fmla="*/ 40018 w 70809"/>
                <a:gd name="connsiteY0" fmla="*/ 15943 h 70809"/>
                <a:gd name="connsiteX1" fmla="*/ 59845 w 70809"/>
                <a:gd name="connsiteY1" fmla="*/ 40018 h 70809"/>
                <a:gd name="connsiteX2" fmla="*/ 35770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2"/>
                    <a:pt x="59845" y="40018"/>
                  </a:cubicBezTo>
                  <a:cubicBezTo>
                    <a:pt x="58429" y="52764"/>
                    <a:pt x="48515" y="61261"/>
                    <a:pt x="35770" y="59845"/>
                  </a:cubicBezTo>
                  <a:cubicBezTo>
                    <a:pt x="23024" y="58429"/>
                    <a:pt x="14527" y="48515"/>
                    <a:pt x="15943" y="35769"/>
                  </a:cubicBezTo>
                  <a:cubicBezTo>
                    <a:pt x="17359" y="23024"/>
                    <a:pt x="28689" y="14527"/>
                    <a:pt x="40018" y="1594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20" name="Freeform: Shape 2619">
              <a:extLst>
                <a:ext uri="{FF2B5EF4-FFF2-40B4-BE49-F238E27FC236}">
                  <a16:creationId xmlns:a16="http://schemas.microsoft.com/office/drawing/2014/main" id="{FF1CA900-3D52-4945-8E53-5EF697061DAA}"/>
                </a:ext>
              </a:extLst>
            </p:cNvPr>
            <p:cNvSpPr/>
            <p:nvPr/>
          </p:nvSpPr>
          <p:spPr>
            <a:xfrm>
              <a:off x="6898662" y="4418599"/>
              <a:ext cx="84971" cy="84971"/>
            </a:xfrm>
            <a:custGeom>
              <a:avLst/>
              <a:gdLst>
                <a:gd name="connsiteX0" fmla="*/ 49885 w 84971"/>
                <a:gd name="connsiteY0" fmla="*/ 15897 h 84971"/>
                <a:gd name="connsiteX1" fmla="*/ 78209 w 84971"/>
                <a:gd name="connsiteY1" fmla="*/ 49885 h 84971"/>
                <a:gd name="connsiteX2" fmla="*/ 44220 w 84971"/>
                <a:gd name="connsiteY2" fmla="*/ 78209 h 84971"/>
                <a:gd name="connsiteX3" fmla="*/ 15896 w 84971"/>
                <a:gd name="connsiteY3" fmla="*/ 44220 h 84971"/>
                <a:gd name="connsiteX4" fmla="*/ 49885 w 84971"/>
                <a:gd name="connsiteY4" fmla="*/ 1589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9885" y="15897"/>
                  </a:moveTo>
                  <a:cubicBezTo>
                    <a:pt x="66879" y="17313"/>
                    <a:pt x="79625" y="32891"/>
                    <a:pt x="78209" y="49885"/>
                  </a:cubicBezTo>
                  <a:cubicBezTo>
                    <a:pt x="76793" y="66879"/>
                    <a:pt x="61215" y="79625"/>
                    <a:pt x="44220" y="78209"/>
                  </a:cubicBezTo>
                  <a:cubicBezTo>
                    <a:pt x="27226" y="76793"/>
                    <a:pt x="14481" y="61215"/>
                    <a:pt x="15896" y="44220"/>
                  </a:cubicBezTo>
                  <a:cubicBezTo>
                    <a:pt x="17313" y="27226"/>
                    <a:pt x="32891" y="14480"/>
                    <a:pt x="49885" y="1589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21" name="Freeform: Shape 2620">
              <a:extLst>
                <a:ext uri="{FF2B5EF4-FFF2-40B4-BE49-F238E27FC236}">
                  <a16:creationId xmlns:a16="http://schemas.microsoft.com/office/drawing/2014/main" id="{CA28E708-25E7-4C7E-8CFD-9D5E894D741F}"/>
                </a:ext>
              </a:extLst>
            </p:cNvPr>
            <p:cNvSpPr/>
            <p:nvPr/>
          </p:nvSpPr>
          <p:spPr>
            <a:xfrm>
              <a:off x="6238825" y="4687603"/>
              <a:ext cx="56648" cy="56648"/>
            </a:xfrm>
            <a:custGeom>
              <a:avLst/>
              <a:gdLst>
                <a:gd name="connsiteX0" fmla="*/ 35616 w 56647"/>
                <a:gd name="connsiteY0" fmla="*/ 15969 h 56647"/>
                <a:gd name="connsiteX1" fmla="*/ 52610 w 56647"/>
                <a:gd name="connsiteY1" fmla="*/ 35795 h 56647"/>
                <a:gd name="connsiteX2" fmla="*/ 32783 w 56647"/>
                <a:gd name="connsiteY2" fmla="*/ 52790 h 56647"/>
                <a:gd name="connsiteX3" fmla="*/ 15789 w 56647"/>
                <a:gd name="connsiteY3" fmla="*/ 32963 h 56647"/>
                <a:gd name="connsiteX4" fmla="*/ 35616 w 56647"/>
                <a:gd name="connsiteY4" fmla="*/ 1596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616" y="15969"/>
                  </a:moveTo>
                  <a:cubicBezTo>
                    <a:pt x="45529" y="17385"/>
                    <a:pt x="52610" y="25882"/>
                    <a:pt x="52610" y="35795"/>
                  </a:cubicBezTo>
                  <a:cubicBezTo>
                    <a:pt x="51194" y="45709"/>
                    <a:pt x="42697" y="52790"/>
                    <a:pt x="32783" y="52790"/>
                  </a:cubicBezTo>
                  <a:cubicBezTo>
                    <a:pt x="22870" y="51373"/>
                    <a:pt x="15789" y="42876"/>
                    <a:pt x="15789" y="32963"/>
                  </a:cubicBezTo>
                  <a:cubicBezTo>
                    <a:pt x="15789" y="21633"/>
                    <a:pt x="25702" y="14552"/>
                    <a:pt x="35616" y="1596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22" name="Freeform: Shape 2621">
              <a:extLst>
                <a:ext uri="{FF2B5EF4-FFF2-40B4-BE49-F238E27FC236}">
                  <a16:creationId xmlns:a16="http://schemas.microsoft.com/office/drawing/2014/main" id="{CA0DE10A-1311-4090-9CC9-2E024D68EE24}"/>
                </a:ext>
              </a:extLst>
            </p:cNvPr>
            <p:cNvSpPr/>
            <p:nvPr/>
          </p:nvSpPr>
          <p:spPr>
            <a:xfrm>
              <a:off x="6196204" y="4428485"/>
              <a:ext cx="70810" cy="70810"/>
            </a:xfrm>
            <a:custGeom>
              <a:avLst/>
              <a:gdLst>
                <a:gd name="connsiteX0" fmla="*/ 44247 w 70809"/>
                <a:gd name="connsiteY0" fmla="*/ 15924 h 70809"/>
                <a:gd name="connsiteX1" fmla="*/ 66906 w 70809"/>
                <a:gd name="connsiteY1" fmla="*/ 44247 h 70809"/>
                <a:gd name="connsiteX2" fmla="*/ 38582 w 70809"/>
                <a:gd name="connsiteY2" fmla="*/ 66906 h 70809"/>
                <a:gd name="connsiteX3" fmla="*/ 15924 w 70809"/>
                <a:gd name="connsiteY3" fmla="*/ 38582 h 70809"/>
                <a:gd name="connsiteX4" fmla="*/ 44247 w 70809"/>
                <a:gd name="connsiteY4" fmla="*/ 15924 h 70809"/>
                <a:gd name="connsiteX5" fmla="*/ 44247 w 70809"/>
                <a:gd name="connsiteY5" fmla="*/ 15924 h 70809"/>
                <a:gd name="connsiteX6" fmla="*/ 44247 w 70809"/>
                <a:gd name="connsiteY6" fmla="*/ 27253 h 70809"/>
                <a:gd name="connsiteX7" fmla="*/ 28669 w 70809"/>
                <a:gd name="connsiteY7" fmla="*/ 39999 h 70809"/>
                <a:gd name="connsiteX8" fmla="*/ 41415 w 70809"/>
                <a:gd name="connsiteY8" fmla="*/ 55577 h 70809"/>
                <a:gd name="connsiteX9" fmla="*/ 56993 w 70809"/>
                <a:gd name="connsiteY9" fmla="*/ 42831 h 70809"/>
                <a:gd name="connsiteX10" fmla="*/ 44247 w 70809"/>
                <a:gd name="connsiteY10" fmla="*/ 27253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247" y="15924"/>
                  </a:moveTo>
                  <a:cubicBezTo>
                    <a:pt x="58409" y="17339"/>
                    <a:pt x="68322" y="30085"/>
                    <a:pt x="66906" y="44247"/>
                  </a:cubicBezTo>
                  <a:cubicBezTo>
                    <a:pt x="65490" y="58409"/>
                    <a:pt x="52744" y="68322"/>
                    <a:pt x="38582" y="66906"/>
                  </a:cubicBezTo>
                  <a:cubicBezTo>
                    <a:pt x="24420" y="65490"/>
                    <a:pt x="14507" y="52744"/>
                    <a:pt x="15924" y="38582"/>
                  </a:cubicBezTo>
                  <a:cubicBezTo>
                    <a:pt x="17339" y="24420"/>
                    <a:pt x="30085" y="14507"/>
                    <a:pt x="44247" y="15924"/>
                  </a:cubicBezTo>
                  <a:lnTo>
                    <a:pt x="44247" y="15924"/>
                  </a:lnTo>
                  <a:close/>
                  <a:moveTo>
                    <a:pt x="44247" y="27253"/>
                  </a:moveTo>
                  <a:cubicBezTo>
                    <a:pt x="35750" y="25837"/>
                    <a:pt x="28669" y="32918"/>
                    <a:pt x="28669" y="39999"/>
                  </a:cubicBezTo>
                  <a:cubicBezTo>
                    <a:pt x="27253" y="48496"/>
                    <a:pt x="34334" y="55577"/>
                    <a:pt x="41415" y="55577"/>
                  </a:cubicBezTo>
                  <a:cubicBezTo>
                    <a:pt x="49912" y="56993"/>
                    <a:pt x="56993" y="49912"/>
                    <a:pt x="56993" y="42831"/>
                  </a:cubicBezTo>
                  <a:cubicBezTo>
                    <a:pt x="56993" y="34334"/>
                    <a:pt x="51328" y="27253"/>
                    <a:pt x="44247" y="2725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23" name="Freeform: Shape 2622">
              <a:extLst>
                <a:ext uri="{FF2B5EF4-FFF2-40B4-BE49-F238E27FC236}">
                  <a16:creationId xmlns:a16="http://schemas.microsoft.com/office/drawing/2014/main" id="{CF6F5222-8B8D-4D54-B7DE-E612A87E67D8}"/>
                </a:ext>
              </a:extLst>
            </p:cNvPr>
            <p:cNvSpPr/>
            <p:nvPr/>
          </p:nvSpPr>
          <p:spPr>
            <a:xfrm>
              <a:off x="6152347" y="4095482"/>
              <a:ext cx="99133" cy="99133"/>
            </a:xfrm>
            <a:custGeom>
              <a:avLst/>
              <a:gdLst>
                <a:gd name="connsiteX0" fmla="*/ 55532 w 99133"/>
                <a:gd name="connsiteY0" fmla="*/ 16122 h 99133"/>
                <a:gd name="connsiteX1" fmla="*/ 89520 w 99133"/>
                <a:gd name="connsiteY1" fmla="*/ 55775 h 99133"/>
                <a:gd name="connsiteX2" fmla="*/ 49867 w 99133"/>
                <a:gd name="connsiteY2" fmla="*/ 89764 h 99133"/>
                <a:gd name="connsiteX3" fmla="*/ 15878 w 99133"/>
                <a:gd name="connsiteY3" fmla="*/ 50110 h 99133"/>
                <a:gd name="connsiteX4" fmla="*/ 55532 w 99133"/>
                <a:gd name="connsiteY4" fmla="*/ 16122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532" y="16122"/>
                  </a:moveTo>
                  <a:cubicBezTo>
                    <a:pt x="75358" y="17538"/>
                    <a:pt x="90936" y="35948"/>
                    <a:pt x="89520" y="55775"/>
                  </a:cubicBezTo>
                  <a:cubicBezTo>
                    <a:pt x="88104" y="75602"/>
                    <a:pt x="69694" y="91180"/>
                    <a:pt x="49867" y="89764"/>
                  </a:cubicBezTo>
                  <a:cubicBezTo>
                    <a:pt x="30040" y="88347"/>
                    <a:pt x="14462" y="69937"/>
                    <a:pt x="15878" y="50110"/>
                  </a:cubicBezTo>
                  <a:cubicBezTo>
                    <a:pt x="17295" y="28868"/>
                    <a:pt x="35705" y="13289"/>
                    <a:pt x="55532" y="1612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24" name="Freeform: Shape 2623">
              <a:extLst>
                <a:ext uri="{FF2B5EF4-FFF2-40B4-BE49-F238E27FC236}">
                  <a16:creationId xmlns:a16="http://schemas.microsoft.com/office/drawing/2014/main" id="{E4CA04E9-C826-442A-87FC-9744082DB924}"/>
                </a:ext>
              </a:extLst>
            </p:cNvPr>
            <p:cNvSpPr/>
            <p:nvPr/>
          </p:nvSpPr>
          <p:spPr>
            <a:xfrm>
              <a:off x="6810812" y="3955477"/>
              <a:ext cx="70810" cy="70810"/>
            </a:xfrm>
            <a:custGeom>
              <a:avLst/>
              <a:gdLst>
                <a:gd name="connsiteX0" fmla="*/ 40018 w 70809"/>
                <a:gd name="connsiteY0" fmla="*/ 15924 h 70809"/>
                <a:gd name="connsiteX1" fmla="*/ 59845 w 70809"/>
                <a:gd name="connsiteY1" fmla="*/ 40000 h 70809"/>
                <a:gd name="connsiteX2" fmla="*/ 35769 w 70809"/>
                <a:gd name="connsiteY2" fmla="*/ 59826 h 70809"/>
                <a:gd name="connsiteX3" fmla="*/ 15943 w 70809"/>
                <a:gd name="connsiteY3" fmla="*/ 35751 h 70809"/>
                <a:gd name="connsiteX4" fmla="*/ 40018 w 70809"/>
                <a:gd name="connsiteY4" fmla="*/ 1592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24"/>
                  </a:moveTo>
                  <a:cubicBezTo>
                    <a:pt x="52764" y="17340"/>
                    <a:pt x="61261" y="27254"/>
                    <a:pt x="59845" y="40000"/>
                  </a:cubicBezTo>
                  <a:cubicBezTo>
                    <a:pt x="58429" y="52745"/>
                    <a:pt x="48515" y="61242"/>
                    <a:pt x="35769" y="59826"/>
                  </a:cubicBezTo>
                  <a:cubicBezTo>
                    <a:pt x="23024" y="58410"/>
                    <a:pt x="14527" y="48497"/>
                    <a:pt x="15943" y="35751"/>
                  </a:cubicBezTo>
                  <a:cubicBezTo>
                    <a:pt x="17359" y="24421"/>
                    <a:pt x="28689" y="14508"/>
                    <a:pt x="40018" y="1592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25" name="Freeform: Shape 2624">
              <a:extLst>
                <a:ext uri="{FF2B5EF4-FFF2-40B4-BE49-F238E27FC236}">
                  <a16:creationId xmlns:a16="http://schemas.microsoft.com/office/drawing/2014/main" id="{8C88A447-1238-4A4A-A01C-71FFF59961CA}"/>
                </a:ext>
              </a:extLst>
            </p:cNvPr>
            <p:cNvSpPr/>
            <p:nvPr/>
          </p:nvSpPr>
          <p:spPr>
            <a:xfrm>
              <a:off x="6640933" y="4375888"/>
              <a:ext cx="99133" cy="99133"/>
            </a:xfrm>
            <a:custGeom>
              <a:avLst/>
              <a:gdLst>
                <a:gd name="connsiteX0" fmla="*/ 55532 w 99133"/>
                <a:gd name="connsiteY0" fmla="*/ 16122 h 99133"/>
                <a:gd name="connsiteX1" fmla="*/ 89520 w 99133"/>
                <a:gd name="connsiteY1" fmla="*/ 55775 h 99133"/>
                <a:gd name="connsiteX2" fmla="*/ 49867 w 99133"/>
                <a:gd name="connsiteY2" fmla="*/ 89764 h 99133"/>
                <a:gd name="connsiteX3" fmla="*/ 15878 w 99133"/>
                <a:gd name="connsiteY3" fmla="*/ 50110 h 99133"/>
                <a:gd name="connsiteX4" fmla="*/ 55532 w 99133"/>
                <a:gd name="connsiteY4" fmla="*/ 16122 h 99133"/>
                <a:gd name="connsiteX5" fmla="*/ 55532 w 99133"/>
                <a:gd name="connsiteY5" fmla="*/ 16122 h 99133"/>
                <a:gd name="connsiteX6" fmla="*/ 54115 w 99133"/>
                <a:gd name="connsiteY6" fmla="*/ 31700 h 99133"/>
                <a:gd name="connsiteX7" fmla="*/ 31457 w 99133"/>
                <a:gd name="connsiteY7" fmla="*/ 50110 h 99133"/>
                <a:gd name="connsiteX8" fmla="*/ 49867 w 99133"/>
                <a:gd name="connsiteY8" fmla="*/ 72770 h 99133"/>
                <a:gd name="connsiteX9" fmla="*/ 72526 w 99133"/>
                <a:gd name="connsiteY9" fmla="*/ 54359 h 99133"/>
                <a:gd name="connsiteX10" fmla="*/ 54115 w 99133"/>
                <a:gd name="connsiteY10" fmla="*/ 31700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55532" y="16122"/>
                  </a:moveTo>
                  <a:cubicBezTo>
                    <a:pt x="75358" y="17538"/>
                    <a:pt x="90936" y="35948"/>
                    <a:pt x="89520" y="55775"/>
                  </a:cubicBezTo>
                  <a:cubicBezTo>
                    <a:pt x="88104" y="75602"/>
                    <a:pt x="69694" y="91180"/>
                    <a:pt x="49867" y="89764"/>
                  </a:cubicBezTo>
                  <a:cubicBezTo>
                    <a:pt x="30040" y="88348"/>
                    <a:pt x="14462" y="69937"/>
                    <a:pt x="15878" y="50110"/>
                  </a:cubicBezTo>
                  <a:cubicBezTo>
                    <a:pt x="17295" y="28868"/>
                    <a:pt x="35705" y="13289"/>
                    <a:pt x="55532" y="16122"/>
                  </a:cubicBezTo>
                  <a:lnTo>
                    <a:pt x="55532" y="16122"/>
                  </a:lnTo>
                  <a:close/>
                  <a:moveTo>
                    <a:pt x="54115" y="31700"/>
                  </a:moveTo>
                  <a:cubicBezTo>
                    <a:pt x="42786" y="30284"/>
                    <a:pt x="32873" y="38781"/>
                    <a:pt x="31457" y="50110"/>
                  </a:cubicBezTo>
                  <a:cubicBezTo>
                    <a:pt x="30040" y="61440"/>
                    <a:pt x="38538" y="71353"/>
                    <a:pt x="49867" y="72770"/>
                  </a:cubicBezTo>
                  <a:cubicBezTo>
                    <a:pt x="61196" y="74186"/>
                    <a:pt x="71110" y="65689"/>
                    <a:pt x="72526" y="54359"/>
                  </a:cubicBezTo>
                  <a:cubicBezTo>
                    <a:pt x="73942" y="43029"/>
                    <a:pt x="65445" y="33116"/>
                    <a:pt x="54115" y="3170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26" name="Freeform: Shape 2625">
              <a:extLst>
                <a:ext uri="{FF2B5EF4-FFF2-40B4-BE49-F238E27FC236}">
                  <a16:creationId xmlns:a16="http://schemas.microsoft.com/office/drawing/2014/main" id="{9DB682E7-82AA-4556-B065-B54F77178250}"/>
                </a:ext>
              </a:extLst>
            </p:cNvPr>
            <p:cNvSpPr/>
            <p:nvPr/>
          </p:nvSpPr>
          <p:spPr>
            <a:xfrm>
              <a:off x="6292640" y="4534834"/>
              <a:ext cx="42486" cy="42486"/>
            </a:xfrm>
            <a:custGeom>
              <a:avLst/>
              <a:gdLst>
                <a:gd name="connsiteX0" fmla="*/ 25703 w 42485"/>
                <a:gd name="connsiteY0" fmla="*/ 15789 h 42485"/>
                <a:gd name="connsiteX1" fmla="*/ 34199 w 42485"/>
                <a:gd name="connsiteY1" fmla="*/ 25702 h 42485"/>
                <a:gd name="connsiteX2" fmla="*/ 24286 w 42485"/>
                <a:gd name="connsiteY2" fmla="*/ 34199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31367" y="15789"/>
                    <a:pt x="34199" y="20037"/>
                    <a:pt x="34199" y="25702"/>
                  </a:cubicBezTo>
                  <a:cubicBezTo>
                    <a:pt x="34199" y="31367"/>
                    <a:pt x="28535" y="34199"/>
                    <a:pt x="24286" y="34199"/>
                  </a:cubicBezTo>
                  <a:cubicBezTo>
                    <a:pt x="18622" y="34199"/>
                    <a:pt x="15789" y="28535"/>
                    <a:pt x="15789" y="24286"/>
                  </a:cubicBezTo>
                  <a:cubicBezTo>
                    <a:pt x="15789" y="18621"/>
                    <a:pt x="20037" y="15789"/>
                    <a:pt x="25703"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27" name="Freeform: Shape 2626">
              <a:extLst>
                <a:ext uri="{FF2B5EF4-FFF2-40B4-BE49-F238E27FC236}">
                  <a16:creationId xmlns:a16="http://schemas.microsoft.com/office/drawing/2014/main" id="{4D87BEFA-90BC-45C4-A174-36B16C788D4E}"/>
                </a:ext>
              </a:extLst>
            </p:cNvPr>
            <p:cNvSpPr/>
            <p:nvPr/>
          </p:nvSpPr>
          <p:spPr>
            <a:xfrm>
              <a:off x="6432843" y="3891609"/>
              <a:ext cx="42486" cy="42486"/>
            </a:xfrm>
            <a:custGeom>
              <a:avLst/>
              <a:gdLst>
                <a:gd name="connsiteX0" fmla="*/ 25703 w 42485"/>
                <a:gd name="connsiteY0" fmla="*/ 16064 h 42485"/>
                <a:gd name="connsiteX1" fmla="*/ 34200 w 42485"/>
                <a:gd name="connsiteY1" fmla="*/ 25977 h 42485"/>
                <a:gd name="connsiteX2" fmla="*/ 24286 w 42485"/>
                <a:gd name="connsiteY2" fmla="*/ 34474 h 42485"/>
                <a:gd name="connsiteX3" fmla="*/ 15789 w 42485"/>
                <a:gd name="connsiteY3" fmla="*/ 24561 h 42485"/>
                <a:gd name="connsiteX4" fmla="*/ 25703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4"/>
                  </a:moveTo>
                  <a:cubicBezTo>
                    <a:pt x="31367" y="16064"/>
                    <a:pt x="34200" y="21728"/>
                    <a:pt x="34200" y="25977"/>
                  </a:cubicBezTo>
                  <a:cubicBezTo>
                    <a:pt x="34200" y="31641"/>
                    <a:pt x="28535" y="34474"/>
                    <a:pt x="24286" y="34474"/>
                  </a:cubicBezTo>
                  <a:cubicBezTo>
                    <a:pt x="18622" y="34474"/>
                    <a:pt x="15789" y="28809"/>
                    <a:pt x="15789" y="24561"/>
                  </a:cubicBezTo>
                  <a:cubicBezTo>
                    <a:pt x="15789" y="18896"/>
                    <a:pt x="20038" y="14647"/>
                    <a:pt x="25703" y="1606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28" name="Freeform: Shape 2627">
              <a:extLst>
                <a:ext uri="{FF2B5EF4-FFF2-40B4-BE49-F238E27FC236}">
                  <a16:creationId xmlns:a16="http://schemas.microsoft.com/office/drawing/2014/main" id="{44DAA6F5-A75D-48A7-B6D7-65A5C0344B2D}"/>
                </a:ext>
              </a:extLst>
            </p:cNvPr>
            <p:cNvSpPr/>
            <p:nvPr/>
          </p:nvSpPr>
          <p:spPr>
            <a:xfrm>
              <a:off x="6890118" y="4564419"/>
              <a:ext cx="56648" cy="56648"/>
            </a:xfrm>
            <a:custGeom>
              <a:avLst/>
              <a:gdLst>
                <a:gd name="connsiteX0" fmla="*/ 35771 w 56647"/>
                <a:gd name="connsiteY0" fmla="*/ 15944 h 56647"/>
                <a:gd name="connsiteX1" fmla="*/ 52765 w 56647"/>
                <a:gd name="connsiteY1" fmla="*/ 35771 h 56647"/>
                <a:gd name="connsiteX2" fmla="*/ 32938 w 56647"/>
                <a:gd name="connsiteY2" fmla="*/ 52765 h 56647"/>
                <a:gd name="connsiteX3" fmla="*/ 15944 w 56647"/>
                <a:gd name="connsiteY3" fmla="*/ 32938 h 56647"/>
                <a:gd name="connsiteX4" fmla="*/ 35771 w 56647"/>
                <a:gd name="connsiteY4" fmla="*/ 1594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44"/>
                  </a:moveTo>
                  <a:cubicBezTo>
                    <a:pt x="45684" y="17360"/>
                    <a:pt x="54181" y="25857"/>
                    <a:pt x="52765" y="35771"/>
                  </a:cubicBezTo>
                  <a:cubicBezTo>
                    <a:pt x="51349" y="45684"/>
                    <a:pt x="42852" y="54181"/>
                    <a:pt x="32938" y="52765"/>
                  </a:cubicBezTo>
                  <a:cubicBezTo>
                    <a:pt x="23025" y="51349"/>
                    <a:pt x="14528" y="42852"/>
                    <a:pt x="15944" y="32938"/>
                  </a:cubicBezTo>
                  <a:cubicBezTo>
                    <a:pt x="15944" y="23025"/>
                    <a:pt x="24441" y="14528"/>
                    <a:pt x="35771" y="1594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29" name="Freeform: Shape 2628">
              <a:extLst>
                <a:ext uri="{FF2B5EF4-FFF2-40B4-BE49-F238E27FC236}">
                  <a16:creationId xmlns:a16="http://schemas.microsoft.com/office/drawing/2014/main" id="{7D15DA89-B92A-41F7-85D9-241FDB6D8F5C}"/>
                </a:ext>
              </a:extLst>
            </p:cNvPr>
            <p:cNvSpPr/>
            <p:nvPr/>
          </p:nvSpPr>
          <p:spPr>
            <a:xfrm>
              <a:off x="6235872" y="3761474"/>
              <a:ext cx="84971" cy="84971"/>
            </a:xfrm>
            <a:custGeom>
              <a:avLst/>
              <a:gdLst>
                <a:gd name="connsiteX0" fmla="*/ 45649 w 84971"/>
                <a:gd name="connsiteY0" fmla="*/ 15909 h 84971"/>
                <a:gd name="connsiteX1" fmla="*/ 69724 w 84971"/>
                <a:gd name="connsiteY1" fmla="*/ 45649 h 84971"/>
                <a:gd name="connsiteX2" fmla="*/ 39984 w 84971"/>
                <a:gd name="connsiteY2" fmla="*/ 69724 h 84971"/>
                <a:gd name="connsiteX3" fmla="*/ 15909 w 84971"/>
                <a:gd name="connsiteY3" fmla="*/ 39984 h 84971"/>
                <a:gd name="connsiteX4" fmla="*/ 45649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9" y="15909"/>
                  </a:moveTo>
                  <a:cubicBezTo>
                    <a:pt x="59811" y="17325"/>
                    <a:pt x="71140" y="30071"/>
                    <a:pt x="69724" y="45649"/>
                  </a:cubicBezTo>
                  <a:cubicBezTo>
                    <a:pt x="68308" y="59811"/>
                    <a:pt x="55562" y="71140"/>
                    <a:pt x="39984" y="69724"/>
                  </a:cubicBezTo>
                  <a:cubicBezTo>
                    <a:pt x="25822" y="68308"/>
                    <a:pt x="14493" y="55562"/>
                    <a:pt x="15909" y="39984"/>
                  </a:cubicBezTo>
                  <a:cubicBezTo>
                    <a:pt x="17325" y="25822"/>
                    <a:pt x="30071" y="14493"/>
                    <a:pt x="45649" y="1590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30" name="Freeform: Shape 2629">
              <a:extLst>
                <a:ext uri="{FF2B5EF4-FFF2-40B4-BE49-F238E27FC236}">
                  <a16:creationId xmlns:a16="http://schemas.microsoft.com/office/drawing/2014/main" id="{7CA3AEEE-EAC3-4575-8DC6-FF8CFF2F14F3}"/>
                </a:ext>
              </a:extLst>
            </p:cNvPr>
            <p:cNvSpPr/>
            <p:nvPr/>
          </p:nvSpPr>
          <p:spPr>
            <a:xfrm>
              <a:off x="6240240" y="4160685"/>
              <a:ext cx="42486" cy="42486"/>
            </a:xfrm>
            <a:custGeom>
              <a:avLst/>
              <a:gdLst>
                <a:gd name="connsiteX0" fmla="*/ 25703 w 42485"/>
                <a:gd name="connsiteY0" fmla="*/ 16063 h 42485"/>
                <a:gd name="connsiteX1" fmla="*/ 34200 w 42485"/>
                <a:gd name="connsiteY1" fmla="*/ 25977 h 42485"/>
                <a:gd name="connsiteX2" fmla="*/ 24286 w 42485"/>
                <a:gd name="connsiteY2" fmla="*/ 34474 h 42485"/>
                <a:gd name="connsiteX3" fmla="*/ 15789 w 42485"/>
                <a:gd name="connsiteY3" fmla="*/ 24561 h 42485"/>
                <a:gd name="connsiteX4" fmla="*/ 25703 w 42485"/>
                <a:gd name="connsiteY4" fmla="*/ 1606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3"/>
                  </a:moveTo>
                  <a:cubicBezTo>
                    <a:pt x="31367" y="16063"/>
                    <a:pt x="34200" y="21728"/>
                    <a:pt x="34200" y="25977"/>
                  </a:cubicBezTo>
                  <a:cubicBezTo>
                    <a:pt x="34200" y="31642"/>
                    <a:pt x="28535" y="34474"/>
                    <a:pt x="24286" y="34474"/>
                  </a:cubicBezTo>
                  <a:cubicBezTo>
                    <a:pt x="20038" y="34474"/>
                    <a:pt x="15789" y="28809"/>
                    <a:pt x="15789" y="24561"/>
                  </a:cubicBezTo>
                  <a:cubicBezTo>
                    <a:pt x="17205" y="18896"/>
                    <a:pt x="21454" y="14648"/>
                    <a:pt x="25703" y="1606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31" name="Freeform: Shape 2630">
              <a:extLst>
                <a:ext uri="{FF2B5EF4-FFF2-40B4-BE49-F238E27FC236}">
                  <a16:creationId xmlns:a16="http://schemas.microsoft.com/office/drawing/2014/main" id="{7D04A7A6-D743-40B6-8280-B724C70720A1}"/>
                </a:ext>
              </a:extLst>
            </p:cNvPr>
            <p:cNvSpPr/>
            <p:nvPr/>
          </p:nvSpPr>
          <p:spPr>
            <a:xfrm>
              <a:off x="6608296" y="4337830"/>
              <a:ext cx="70810" cy="70810"/>
            </a:xfrm>
            <a:custGeom>
              <a:avLst/>
              <a:gdLst>
                <a:gd name="connsiteX0" fmla="*/ 40018 w 70809"/>
                <a:gd name="connsiteY0" fmla="*/ 15943 h 70809"/>
                <a:gd name="connsiteX1" fmla="*/ 59845 w 70809"/>
                <a:gd name="connsiteY1" fmla="*/ 40018 h 70809"/>
                <a:gd name="connsiteX2" fmla="*/ 35770 w 70809"/>
                <a:gd name="connsiteY2" fmla="*/ 59845 h 70809"/>
                <a:gd name="connsiteX3" fmla="*/ 15943 w 70809"/>
                <a:gd name="connsiteY3" fmla="*/ 35770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3"/>
                    <a:pt x="59845" y="40018"/>
                  </a:cubicBezTo>
                  <a:cubicBezTo>
                    <a:pt x="58429" y="52764"/>
                    <a:pt x="48515" y="61261"/>
                    <a:pt x="35770" y="59845"/>
                  </a:cubicBezTo>
                  <a:cubicBezTo>
                    <a:pt x="23024" y="58429"/>
                    <a:pt x="14527" y="48515"/>
                    <a:pt x="15943" y="35770"/>
                  </a:cubicBezTo>
                  <a:cubicBezTo>
                    <a:pt x="17359" y="23024"/>
                    <a:pt x="27273" y="14527"/>
                    <a:pt x="40018" y="1594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32" name="Freeform: Shape 2631">
              <a:extLst>
                <a:ext uri="{FF2B5EF4-FFF2-40B4-BE49-F238E27FC236}">
                  <a16:creationId xmlns:a16="http://schemas.microsoft.com/office/drawing/2014/main" id="{96CB61AC-F805-461F-97CE-9FE744506E09}"/>
                </a:ext>
              </a:extLst>
            </p:cNvPr>
            <p:cNvSpPr/>
            <p:nvPr/>
          </p:nvSpPr>
          <p:spPr>
            <a:xfrm>
              <a:off x="6516217" y="3733270"/>
              <a:ext cx="56648" cy="56648"/>
            </a:xfrm>
            <a:custGeom>
              <a:avLst/>
              <a:gdLst>
                <a:gd name="connsiteX0" fmla="*/ 35796 w 56647"/>
                <a:gd name="connsiteY0" fmla="*/ 15789 h 56647"/>
                <a:gd name="connsiteX1" fmla="*/ 51374 w 56647"/>
                <a:gd name="connsiteY1" fmla="*/ 35616 h 56647"/>
                <a:gd name="connsiteX2" fmla="*/ 31548 w 56647"/>
                <a:gd name="connsiteY2" fmla="*/ 51194 h 56647"/>
                <a:gd name="connsiteX3" fmla="*/ 15969 w 56647"/>
                <a:gd name="connsiteY3" fmla="*/ 31367 h 56647"/>
                <a:gd name="connsiteX4" fmla="*/ 35796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96" y="15789"/>
                  </a:moveTo>
                  <a:cubicBezTo>
                    <a:pt x="45709" y="17205"/>
                    <a:pt x="52790" y="25702"/>
                    <a:pt x="51374" y="35616"/>
                  </a:cubicBezTo>
                  <a:cubicBezTo>
                    <a:pt x="49958" y="45529"/>
                    <a:pt x="41461" y="52610"/>
                    <a:pt x="31548" y="51194"/>
                  </a:cubicBezTo>
                  <a:cubicBezTo>
                    <a:pt x="21634" y="49777"/>
                    <a:pt x="14554" y="41280"/>
                    <a:pt x="15969" y="31367"/>
                  </a:cubicBezTo>
                  <a:cubicBezTo>
                    <a:pt x="18802" y="22870"/>
                    <a:pt x="27299" y="15789"/>
                    <a:pt x="35796"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33" name="Freeform: Shape 2632">
              <a:extLst>
                <a:ext uri="{FF2B5EF4-FFF2-40B4-BE49-F238E27FC236}">
                  <a16:creationId xmlns:a16="http://schemas.microsoft.com/office/drawing/2014/main" id="{3BAE7CBA-4C1A-4D74-B084-9BDFBA937E2E}"/>
                </a:ext>
              </a:extLst>
            </p:cNvPr>
            <p:cNvSpPr/>
            <p:nvPr/>
          </p:nvSpPr>
          <p:spPr>
            <a:xfrm>
              <a:off x="6149604" y="4286726"/>
              <a:ext cx="42486" cy="42486"/>
            </a:xfrm>
            <a:custGeom>
              <a:avLst/>
              <a:gdLst>
                <a:gd name="connsiteX0" fmla="*/ 25703 w 42485"/>
                <a:gd name="connsiteY0" fmla="*/ 16064 h 42485"/>
                <a:gd name="connsiteX1" fmla="*/ 34200 w 42485"/>
                <a:gd name="connsiteY1" fmla="*/ 25977 h 42485"/>
                <a:gd name="connsiteX2" fmla="*/ 24286 w 42485"/>
                <a:gd name="connsiteY2" fmla="*/ 34474 h 42485"/>
                <a:gd name="connsiteX3" fmla="*/ 15789 w 42485"/>
                <a:gd name="connsiteY3" fmla="*/ 24560 h 42485"/>
                <a:gd name="connsiteX4" fmla="*/ 25703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4"/>
                  </a:moveTo>
                  <a:cubicBezTo>
                    <a:pt x="31367" y="16064"/>
                    <a:pt x="34200" y="20312"/>
                    <a:pt x="34200" y="25977"/>
                  </a:cubicBezTo>
                  <a:cubicBezTo>
                    <a:pt x="34200" y="31641"/>
                    <a:pt x="28535" y="34474"/>
                    <a:pt x="24286" y="34474"/>
                  </a:cubicBezTo>
                  <a:cubicBezTo>
                    <a:pt x="18622" y="34474"/>
                    <a:pt x="15789" y="28809"/>
                    <a:pt x="15789" y="24560"/>
                  </a:cubicBezTo>
                  <a:cubicBezTo>
                    <a:pt x="15789" y="18896"/>
                    <a:pt x="20038" y="14647"/>
                    <a:pt x="25703" y="1606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34" name="Freeform: Shape 2633">
              <a:extLst>
                <a:ext uri="{FF2B5EF4-FFF2-40B4-BE49-F238E27FC236}">
                  <a16:creationId xmlns:a16="http://schemas.microsoft.com/office/drawing/2014/main" id="{CC9D170D-61F5-410E-BEFE-E6D7ADA9FAAF}"/>
                </a:ext>
              </a:extLst>
            </p:cNvPr>
            <p:cNvSpPr/>
            <p:nvPr/>
          </p:nvSpPr>
          <p:spPr>
            <a:xfrm>
              <a:off x="6202004" y="3959861"/>
              <a:ext cx="28324" cy="28324"/>
            </a:xfrm>
            <a:custGeom>
              <a:avLst/>
              <a:gdLst>
                <a:gd name="connsiteX0" fmla="*/ 21454 w 28323"/>
                <a:gd name="connsiteY0" fmla="*/ 15789 h 28323"/>
                <a:gd name="connsiteX1" fmla="*/ 25702 w 28323"/>
                <a:gd name="connsiteY1" fmla="*/ 21454 h 28323"/>
                <a:gd name="connsiteX2" fmla="*/ 20037 w 28323"/>
                <a:gd name="connsiteY2" fmla="*/ 25702 h 28323"/>
                <a:gd name="connsiteX3" fmla="*/ 15789 w 28323"/>
                <a:gd name="connsiteY3" fmla="*/ 20037 h 28323"/>
                <a:gd name="connsiteX4" fmla="*/ 21454 w 28323"/>
                <a:gd name="connsiteY4" fmla="*/ 15789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1454" y="15789"/>
                  </a:moveTo>
                  <a:cubicBezTo>
                    <a:pt x="24286" y="15789"/>
                    <a:pt x="25702" y="18621"/>
                    <a:pt x="25702" y="21454"/>
                  </a:cubicBezTo>
                  <a:cubicBezTo>
                    <a:pt x="25702" y="24286"/>
                    <a:pt x="22870" y="25702"/>
                    <a:pt x="20037" y="25702"/>
                  </a:cubicBezTo>
                  <a:cubicBezTo>
                    <a:pt x="17205" y="25702"/>
                    <a:pt x="15789" y="22870"/>
                    <a:pt x="15789" y="20037"/>
                  </a:cubicBezTo>
                  <a:cubicBezTo>
                    <a:pt x="15789" y="17205"/>
                    <a:pt x="18621" y="15789"/>
                    <a:pt x="21454"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35" name="Freeform: Shape 2634">
              <a:extLst>
                <a:ext uri="{FF2B5EF4-FFF2-40B4-BE49-F238E27FC236}">
                  <a16:creationId xmlns:a16="http://schemas.microsoft.com/office/drawing/2014/main" id="{63F928D6-08D4-45FE-8B24-26B843586A12}"/>
                </a:ext>
              </a:extLst>
            </p:cNvPr>
            <p:cNvSpPr/>
            <p:nvPr/>
          </p:nvSpPr>
          <p:spPr>
            <a:xfrm>
              <a:off x="6710416" y="4224688"/>
              <a:ext cx="28324" cy="28324"/>
            </a:xfrm>
            <a:custGeom>
              <a:avLst/>
              <a:gdLst>
                <a:gd name="connsiteX0" fmla="*/ 21454 w 28323"/>
                <a:gd name="connsiteY0" fmla="*/ 15789 h 28323"/>
                <a:gd name="connsiteX1" fmla="*/ 25703 w 28323"/>
                <a:gd name="connsiteY1" fmla="*/ 21454 h 28323"/>
                <a:gd name="connsiteX2" fmla="*/ 20037 w 28323"/>
                <a:gd name="connsiteY2" fmla="*/ 25703 h 28323"/>
                <a:gd name="connsiteX3" fmla="*/ 15789 w 28323"/>
                <a:gd name="connsiteY3" fmla="*/ 20038 h 28323"/>
                <a:gd name="connsiteX4" fmla="*/ 21454 w 28323"/>
                <a:gd name="connsiteY4" fmla="*/ 15789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1454" y="15789"/>
                  </a:moveTo>
                  <a:cubicBezTo>
                    <a:pt x="24286" y="15789"/>
                    <a:pt x="25703" y="18622"/>
                    <a:pt x="25703" y="21454"/>
                  </a:cubicBezTo>
                  <a:cubicBezTo>
                    <a:pt x="25703" y="24286"/>
                    <a:pt x="22870" y="25703"/>
                    <a:pt x="20037" y="25703"/>
                  </a:cubicBezTo>
                  <a:cubicBezTo>
                    <a:pt x="17205" y="25703"/>
                    <a:pt x="15789" y="22870"/>
                    <a:pt x="15789" y="20038"/>
                  </a:cubicBezTo>
                  <a:cubicBezTo>
                    <a:pt x="17205" y="17205"/>
                    <a:pt x="18622" y="15789"/>
                    <a:pt x="21454"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36" name="Freeform: Shape 2635">
              <a:extLst>
                <a:ext uri="{FF2B5EF4-FFF2-40B4-BE49-F238E27FC236}">
                  <a16:creationId xmlns:a16="http://schemas.microsoft.com/office/drawing/2014/main" id="{A3182B61-E041-4AF7-9DBA-E1865795A369}"/>
                </a:ext>
              </a:extLst>
            </p:cNvPr>
            <p:cNvSpPr/>
            <p:nvPr/>
          </p:nvSpPr>
          <p:spPr>
            <a:xfrm>
              <a:off x="6626861" y="4490661"/>
              <a:ext cx="42486" cy="42486"/>
            </a:xfrm>
            <a:custGeom>
              <a:avLst/>
              <a:gdLst>
                <a:gd name="connsiteX0" fmla="*/ 27118 w 42485"/>
                <a:gd name="connsiteY0" fmla="*/ 16060 h 42485"/>
                <a:gd name="connsiteX1" fmla="*/ 37032 w 42485"/>
                <a:gd name="connsiteY1" fmla="*/ 27390 h 42485"/>
                <a:gd name="connsiteX2" fmla="*/ 25702 w 42485"/>
                <a:gd name="connsiteY2" fmla="*/ 37303 h 42485"/>
                <a:gd name="connsiteX3" fmla="*/ 15789 w 42485"/>
                <a:gd name="connsiteY3" fmla="*/ 25973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4"/>
                    <a:pt x="31367" y="37303"/>
                    <a:pt x="25702" y="37303"/>
                  </a:cubicBezTo>
                  <a:cubicBezTo>
                    <a:pt x="20037" y="37303"/>
                    <a:pt x="15789" y="31639"/>
                    <a:pt x="15789" y="25973"/>
                  </a:cubicBezTo>
                  <a:cubicBezTo>
                    <a:pt x="15789" y="18893"/>
                    <a:pt x="20037" y="14644"/>
                    <a:pt x="27118" y="1606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37" name="Freeform: Shape 2636">
              <a:extLst>
                <a:ext uri="{FF2B5EF4-FFF2-40B4-BE49-F238E27FC236}">
                  <a16:creationId xmlns:a16="http://schemas.microsoft.com/office/drawing/2014/main" id="{5F470E7D-0E91-4B3A-B779-3B68AC62F448}"/>
                </a:ext>
              </a:extLst>
            </p:cNvPr>
            <p:cNvSpPr/>
            <p:nvPr/>
          </p:nvSpPr>
          <p:spPr>
            <a:xfrm>
              <a:off x="6090125" y="4490932"/>
              <a:ext cx="42486" cy="42486"/>
            </a:xfrm>
            <a:custGeom>
              <a:avLst/>
              <a:gdLst>
                <a:gd name="connsiteX0" fmla="*/ 27118 w 42485"/>
                <a:gd name="connsiteY0" fmla="*/ 15789 h 42485"/>
                <a:gd name="connsiteX1" fmla="*/ 37032 w 42485"/>
                <a:gd name="connsiteY1" fmla="*/ 27118 h 42485"/>
                <a:gd name="connsiteX2" fmla="*/ 25702 w 42485"/>
                <a:gd name="connsiteY2" fmla="*/ 37032 h 42485"/>
                <a:gd name="connsiteX3" fmla="*/ 15789 w 42485"/>
                <a:gd name="connsiteY3" fmla="*/ 25702 h 42485"/>
                <a:gd name="connsiteX4" fmla="*/ 2711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5789"/>
                  </a:moveTo>
                  <a:cubicBezTo>
                    <a:pt x="32783" y="15789"/>
                    <a:pt x="37032" y="21454"/>
                    <a:pt x="37032" y="27118"/>
                  </a:cubicBezTo>
                  <a:cubicBezTo>
                    <a:pt x="37032" y="32783"/>
                    <a:pt x="31367" y="37032"/>
                    <a:pt x="25702" y="37032"/>
                  </a:cubicBezTo>
                  <a:cubicBezTo>
                    <a:pt x="20037" y="37032"/>
                    <a:pt x="15789" y="31367"/>
                    <a:pt x="15789" y="25702"/>
                  </a:cubicBezTo>
                  <a:cubicBezTo>
                    <a:pt x="15789" y="20037"/>
                    <a:pt x="20037" y="15789"/>
                    <a:pt x="27118"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38" name="Freeform: Shape 2637">
              <a:extLst>
                <a:ext uri="{FF2B5EF4-FFF2-40B4-BE49-F238E27FC236}">
                  <a16:creationId xmlns:a16="http://schemas.microsoft.com/office/drawing/2014/main" id="{58B36DFC-91C6-4063-B609-3775FB7BA0E3}"/>
                </a:ext>
              </a:extLst>
            </p:cNvPr>
            <p:cNvSpPr/>
            <p:nvPr/>
          </p:nvSpPr>
          <p:spPr>
            <a:xfrm>
              <a:off x="6554635" y="4190428"/>
              <a:ext cx="42486" cy="42486"/>
            </a:xfrm>
            <a:custGeom>
              <a:avLst/>
              <a:gdLst>
                <a:gd name="connsiteX0" fmla="*/ 27118 w 42485"/>
                <a:gd name="connsiteY0" fmla="*/ 16060 h 42485"/>
                <a:gd name="connsiteX1" fmla="*/ 37032 w 42485"/>
                <a:gd name="connsiteY1" fmla="*/ 27390 h 42485"/>
                <a:gd name="connsiteX2" fmla="*/ 25703 w 42485"/>
                <a:gd name="connsiteY2" fmla="*/ 37303 h 42485"/>
                <a:gd name="connsiteX3" fmla="*/ 15789 w 42485"/>
                <a:gd name="connsiteY3" fmla="*/ 25974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5"/>
                    <a:pt x="31367" y="37303"/>
                    <a:pt x="25703" y="37303"/>
                  </a:cubicBezTo>
                  <a:cubicBezTo>
                    <a:pt x="20037" y="37303"/>
                    <a:pt x="15789" y="31639"/>
                    <a:pt x="15789" y="25974"/>
                  </a:cubicBezTo>
                  <a:cubicBezTo>
                    <a:pt x="15789" y="18893"/>
                    <a:pt x="21454" y="14644"/>
                    <a:pt x="27118" y="1606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39" name="Freeform: Shape 2638">
              <a:extLst>
                <a:ext uri="{FF2B5EF4-FFF2-40B4-BE49-F238E27FC236}">
                  <a16:creationId xmlns:a16="http://schemas.microsoft.com/office/drawing/2014/main" id="{2EA11A7E-C5D0-41D8-94E0-6615A6F72072}"/>
                </a:ext>
              </a:extLst>
            </p:cNvPr>
            <p:cNvSpPr/>
            <p:nvPr/>
          </p:nvSpPr>
          <p:spPr>
            <a:xfrm>
              <a:off x="6234576" y="3939763"/>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4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5"/>
                    <a:pt x="31367" y="37303"/>
                    <a:pt x="25703" y="37303"/>
                  </a:cubicBezTo>
                  <a:cubicBezTo>
                    <a:pt x="20038" y="37303"/>
                    <a:pt x="15789" y="31638"/>
                    <a:pt x="15789" y="25974"/>
                  </a:cubicBezTo>
                  <a:cubicBezTo>
                    <a:pt x="15789" y="18893"/>
                    <a:pt x="21454" y="14644"/>
                    <a:pt x="27119" y="1606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40" name="Freeform: Shape 2639">
              <a:extLst>
                <a:ext uri="{FF2B5EF4-FFF2-40B4-BE49-F238E27FC236}">
                  <a16:creationId xmlns:a16="http://schemas.microsoft.com/office/drawing/2014/main" id="{E3744CE5-B57F-4230-82B3-91FE5887CAB4}"/>
                </a:ext>
              </a:extLst>
            </p:cNvPr>
            <p:cNvSpPr/>
            <p:nvPr/>
          </p:nvSpPr>
          <p:spPr>
            <a:xfrm>
              <a:off x="6689173" y="3809744"/>
              <a:ext cx="42486" cy="42486"/>
            </a:xfrm>
            <a:custGeom>
              <a:avLst/>
              <a:gdLst>
                <a:gd name="connsiteX0" fmla="*/ 25703 w 42485"/>
                <a:gd name="connsiteY0" fmla="*/ 15789 h 42485"/>
                <a:gd name="connsiteX1" fmla="*/ 34199 w 42485"/>
                <a:gd name="connsiteY1" fmla="*/ 25702 h 42485"/>
                <a:gd name="connsiteX2" fmla="*/ 24286 w 42485"/>
                <a:gd name="connsiteY2" fmla="*/ 34200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31367" y="15789"/>
                    <a:pt x="34199" y="21454"/>
                    <a:pt x="34199" y="25702"/>
                  </a:cubicBezTo>
                  <a:cubicBezTo>
                    <a:pt x="34199" y="31367"/>
                    <a:pt x="28535" y="34200"/>
                    <a:pt x="24286" y="34200"/>
                  </a:cubicBezTo>
                  <a:cubicBezTo>
                    <a:pt x="18622" y="34200"/>
                    <a:pt x="15789" y="29951"/>
                    <a:pt x="15789" y="24286"/>
                  </a:cubicBezTo>
                  <a:cubicBezTo>
                    <a:pt x="15789" y="18621"/>
                    <a:pt x="20037" y="15789"/>
                    <a:pt x="25703"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41" name="Freeform: Shape 2640">
              <a:extLst>
                <a:ext uri="{FF2B5EF4-FFF2-40B4-BE49-F238E27FC236}">
                  <a16:creationId xmlns:a16="http://schemas.microsoft.com/office/drawing/2014/main" id="{81F496E8-3E69-4353-90FD-AE1F34257FE7}"/>
                </a:ext>
              </a:extLst>
            </p:cNvPr>
            <p:cNvSpPr/>
            <p:nvPr/>
          </p:nvSpPr>
          <p:spPr>
            <a:xfrm>
              <a:off x="6966747" y="3873473"/>
              <a:ext cx="42486" cy="42486"/>
            </a:xfrm>
            <a:custGeom>
              <a:avLst/>
              <a:gdLst>
                <a:gd name="connsiteX0" fmla="*/ 25702 w 42485"/>
                <a:gd name="connsiteY0" fmla="*/ 15789 h 42485"/>
                <a:gd name="connsiteX1" fmla="*/ 34199 w 42485"/>
                <a:gd name="connsiteY1" fmla="*/ 25702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1454"/>
                    <a:pt x="34199" y="25702"/>
                  </a:cubicBezTo>
                  <a:cubicBezTo>
                    <a:pt x="34199" y="31367"/>
                    <a:pt x="29951" y="34200"/>
                    <a:pt x="24286" y="34200"/>
                  </a:cubicBezTo>
                  <a:cubicBezTo>
                    <a:pt x="18621" y="34200"/>
                    <a:pt x="15789" y="28535"/>
                    <a:pt x="15789" y="24286"/>
                  </a:cubicBezTo>
                  <a:cubicBezTo>
                    <a:pt x="17205" y="18621"/>
                    <a:pt x="21454" y="15789"/>
                    <a:pt x="25702"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42" name="Freeform: Shape 2641">
              <a:extLst>
                <a:ext uri="{FF2B5EF4-FFF2-40B4-BE49-F238E27FC236}">
                  <a16:creationId xmlns:a16="http://schemas.microsoft.com/office/drawing/2014/main" id="{7FE5B556-C953-48E7-9D9A-1C8F674D6A14}"/>
                </a:ext>
              </a:extLst>
            </p:cNvPr>
            <p:cNvSpPr/>
            <p:nvPr/>
          </p:nvSpPr>
          <p:spPr>
            <a:xfrm>
              <a:off x="6871862" y="4350729"/>
              <a:ext cx="42486" cy="42486"/>
            </a:xfrm>
            <a:custGeom>
              <a:avLst/>
              <a:gdLst>
                <a:gd name="connsiteX0" fmla="*/ 27119 w 42485"/>
                <a:gd name="connsiteY0" fmla="*/ 15789 h 42485"/>
                <a:gd name="connsiteX1" fmla="*/ 37032 w 42485"/>
                <a:gd name="connsiteY1" fmla="*/ 27118 h 42485"/>
                <a:gd name="connsiteX2" fmla="*/ 25703 w 42485"/>
                <a:gd name="connsiteY2" fmla="*/ 37032 h 42485"/>
                <a:gd name="connsiteX3" fmla="*/ 15789 w 42485"/>
                <a:gd name="connsiteY3" fmla="*/ 25702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8"/>
                  </a:cubicBezTo>
                  <a:cubicBezTo>
                    <a:pt x="37032" y="32783"/>
                    <a:pt x="31367" y="37032"/>
                    <a:pt x="25703" y="37032"/>
                  </a:cubicBezTo>
                  <a:cubicBezTo>
                    <a:pt x="20038" y="37032"/>
                    <a:pt x="15789" y="31367"/>
                    <a:pt x="15789" y="25702"/>
                  </a:cubicBezTo>
                  <a:cubicBezTo>
                    <a:pt x="15789" y="20037"/>
                    <a:pt x="21454" y="15789"/>
                    <a:pt x="27119"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43" name="Freeform: Shape 2642">
              <a:extLst>
                <a:ext uri="{FF2B5EF4-FFF2-40B4-BE49-F238E27FC236}">
                  <a16:creationId xmlns:a16="http://schemas.microsoft.com/office/drawing/2014/main" id="{EFE278B9-33B8-4982-BC78-C44C16787EDF}"/>
                </a:ext>
              </a:extLst>
            </p:cNvPr>
            <p:cNvSpPr/>
            <p:nvPr/>
          </p:nvSpPr>
          <p:spPr>
            <a:xfrm>
              <a:off x="6487939" y="3992298"/>
              <a:ext cx="70810" cy="70810"/>
            </a:xfrm>
            <a:custGeom>
              <a:avLst/>
              <a:gdLst>
                <a:gd name="connsiteX0" fmla="*/ 41416 w 70809"/>
                <a:gd name="connsiteY0" fmla="*/ 15924 h 70809"/>
                <a:gd name="connsiteX1" fmla="*/ 62658 w 70809"/>
                <a:gd name="connsiteY1" fmla="*/ 41416 h 70809"/>
                <a:gd name="connsiteX2" fmla="*/ 37167 w 70809"/>
                <a:gd name="connsiteY2" fmla="*/ 62658 h 70809"/>
                <a:gd name="connsiteX3" fmla="*/ 15924 w 70809"/>
                <a:gd name="connsiteY3" fmla="*/ 37167 h 70809"/>
                <a:gd name="connsiteX4" fmla="*/ 41416 w 70809"/>
                <a:gd name="connsiteY4" fmla="*/ 1592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416" y="15924"/>
                  </a:moveTo>
                  <a:cubicBezTo>
                    <a:pt x="54161" y="17340"/>
                    <a:pt x="64075" y="28670"/>
                    <a:pt x="62658" y="41416"/>
                  </a:cubicBezTo>
                  <a:cubicBezTo>
                    <a:pt x="61242" y="54161"/>
                    <a:pt x="49913" y="64074"/>
                    <a:pt x="37167" y="62658"/>
                  </a:cubicBezTo>
                  <a:cubicBezTo>
                    <a:pt x="24421" y="61242"/>
                    <a:pt x="14508" y="49912"/>
                    <a:pt x="15924" y="37167"/>
                  </a:cubicBezTo>
                  <a:cubicBezTo>
                    <a:pt x="17340" y="24421"/>
                    <a:pt x="28670" y="14508"/>
                    <a:pt x="41416" y="1592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44" name="Freeform: Shape 2643">
              <a:extLst>
                <a:ext uri="{FF2B5EF4-FFF2-40B4-BE49-F238E27FC236}">
                  <a16:creationId xmlns:a16="http://schemas.microsoft.com/office/drawing/2014/main" id="{D28BBE4E-8126-4BE7-AB7A-4A0B4E909387}"/>
                </a:ext>
              </a:extLst>
            </p:cNvPr>
            <p:cNvSpPr/>
            <p:nvPr/>
          </p:nvSpPr>
          <p:spPr>
            <a:xfrm>
              <a:off x="6234576" y="4513375"/>
              <a:ext cx="56648" cy="56648"/>
            </a:xfrm>
            <a:custGeom>
              <a:avLst/>
              <a:gdLst>
                <a:gd name="connsiteX0" fmla="*/ 31367 w 56647"/>
                <a:gd name="connsiteY0" fmla="*/ 16006 h 56647"/>
                <a:gd name="connsiteX1" fmla="*/ 44113 w 56647"/>
                <a:gd name="connsiteY1" fmla="*/ 31584 h 56647"/>
                <a:gd name="connsiteX2" fmla="*/ 28535 w 56647"/>
                <a:gd name="connsiteY2" fmla="*/ 44330 h 56647"/>
                <a:gd name="connsiteX3" fmla="*/ 15789 w 56647"/>
                <a:gd name="connsiteY3" fmla="*/ 28752 h 56647"/>
                <a:gd name="connsiteX4" fmla="*/ 31367 w 56647"/>
                <a:gd name="connsiteY4" fmla="*/ 16006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6006"/>
                  </a:moveTo>
                  <a:cubicBezTo>
                    <a:pt x="38448" y="17422"/>
                    <a:pt x="44113" y="23087"/>
                    <a:pt x="44113" y="31584"/>
                  </a:cubicBezTo>
                  <a:cubicBezTo>
                    <a:pt x="42697" y="38665"/>
                    <a:pt x="37032" y="44330"/>
                    <a:pt x="28535" y="44330"/>
                  </a:cubicBezTo>
                  <a:cubicBezTo>
                    <a:pt x="21454" y="44330"/>
                    <a:pt x="15789" y="37249"/>
                    <a:pt x="15789" y="28752"/>
                  </a:cubicBezTo>
                  <a:cubicBezTo>
                    <a:pt x="17205" y="20254"/>
                    <a:pt x="24286" y="14590"/>
                    <a:pt x="31367" y="1600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45" name="Freeform: Shape 2644">
              <a:extLst>
                <a:ext uri="{FF2B5EF4-FFF2-40B4-BE49-F238E27FC236}">
                  <a16:creationId xmlns:a16="http://schemas.microsoft.com/office/drawing/2014/main" id="{A59B9F49-8B5A-4E9C-A8A5-94DDE43445D5}"/>
                </a:ext>
              </a:extLst>
            </p:cNvPr>
            <p:cNvSpPr/>
            <p:nvPr/>
          </p:nvSpPr>
          <p:spPr>
            <a:xfrm>
              <a:off x="6234576" y="4081379"/>
              <a:ext cx="42486" cy="42486"/>
            </a:xfrm>
            <a:custGeom>
              <a:avLst/>
              <a:gdLst>
                <a:gd name="connsiteX0" fmla="*/ 25703 w 42485"/>
                <a:gd name="connsiteY0" fmla="*/ 16064 h 42485"/>
                <a:gd name="connsiteX1" fmla="*/ 34200 w 42485"/>
                <a:gd name="connsiteY1" fmla="*/ 25977 h 42485"/>
                <a:gd name="connsiteX2" fmla="*/ 24286 w 42485"/>
                <a:gd name="connsiteY2" fmla="*/ 34474 h 42485"/>
                <a:gd name="connsiteX3" fmla="*/ 15789 w 42485"/>
                <a:gd name="connsiteY3" fmla="*/ 24560 h 42485"/>
                <a:gd name="connsiteX4" fmla="*/ 25703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4"/>
                  </a:moveTo>
                  <a:cubicBezTo>
                    <a:pt x="31367" y="16064"/>
                    <a:pt x="34200" y="20312"/>
                    <a:pt x="34200" y="25977"/>
                  </a:cubicBezTo>
                  <a:cubicBezTo>
                    <a:pt x="34200" y="31641"/>
                    <a:pt x="28535" y="34474"/>
                    <a:pt x="24286" y="34474"/>
                  </a:cubicBezTo>
                  <a:cubicBezTo>
                    <a:pt x="18622" y="34474"/>
                    <a:pt x="15789" y="30225"/>
                    <a:pt x="15789" y="24560"/>
                  </a:cubicBezTo>
                  <a:cubicBezTo>
                    <a:pt x="17205" y="18896"/>
                    <a:pt x="21454" y="14647"/>
                    <a:pt x="25703" y="1606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46" name="Freeform: Shape 2645">
              <a:extLst>
                <a:ext uri="{FF2B5EF4-FFF2-40B4-BE49-F238E27FC236}">
                  <a16:creationId xmlns:a16="http://schemas.microsoft.com/office/drawing/2014/main" id="{C882C6AA-1C2E-47AE-A5FE-BFB08C2254E6}"/>
                </a:ext>
              </a:extLst>
            </p:cNvPr>
            <p:cNvSpPr/>
            <p:nvPr/>
          </p:nvSpPr>
          <p:spPr>
            <a:xfrm>
              <a:off x="6182177" y="3651131"/>
              <a:ext cx="42486" cy="42486"/>
            </a:xfrm>
            <a:custGeom>
              <a:avLst/>
              <a:gdLst>
                <a:gd name="connsiteX0" fmla="*/ 25702 w 42485"/>
                <a:gd name="connsiteY0" fmla="*/ 15789 h 42485"/>
                <a:gd name="connsiteX1" fmla="*/ 34199 w 42485"/>
                <a:gd name="connsiteY1" fmla="*/ 25702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1454"/>
                    <a:pt x="34199" y="25702"/>
                  </a:cubicBezTo>
                  <a:cubicBezTo>
                    <a:pt x="34199" y="29951"/>
                    <a:pt x="28535" y="34200"/>
                    <a:pt x="24286" y="34200"/>
                  </a:cubicBezTo>
                  <a:cubicBezTo>
                    <a:pt x="18621" y="34200"/>
                    <a:pt x="15789" y="28535"/>
                    <a:pt x="15789" y="24286"/>
                  </a:cubicBezTo>
                  <a:cubicBezTo>
                    <a:pt x="15789" y="18621"/>
                    <a:pt x="21454" y="15789"/>
                    <a:pt x="25702"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47" name="Freeform: Shape 2646">
              <a:extLst>
                <a:ext uri="{FF2B5EF4-FFF2-40B4-BE49-F238E27FC236}">
                  <a16:creationId xmlns:a16="http://schemas.microsoft.com/office/drawing/2014/main" id="{99AD87C3-6690-4124-8DCD-FCD9DF0B8F86}"/>
                </a:ext>
              </a:extLst>
            </p:cNvPr>
            <p:cNvSpPr/>
            <p:nvPr/>
          </p:nvSpPr>
          <p:spPr>
            <a:xfrm>
              <a:off x="6897354" y="3863288"/>
              <a:ext cx="42486" cy="42486"/>
            </a:xfrm>
            <a:custGeom>
              <a:avLst/>
              <a:gdLst>
                <a:gd name="connsiteX0" fmla="*/ 27118 w 42485"/>
                <a:gd name="connsiteY0" fmla="*/ 16060 h 42485"/>
                <a:gd name="connsiteX1" fmla="*/ 37032 w 42485"/>
                <a:gd name="connsiteY1" fmla="*/ 27390 h 42485"/>
                <a:gd name="connsiteX2" fmla="*/ 25702 w 42485"/>
                <a:gd name="connsiteY2" fmla="*/ 37303 h 42485"/>
                <a:gd name="connsiteX3" fmla="*/ 15789 w 42485"/>
                <a:gd name="connsiteY3" fmla="*/ 25974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5"/>
                    <a:pt x="31367" y="37303"/>
                    <a:pt x="25702" y="37303"/>
                  </a:cubicBezTo>
                  <a:cubicBezTo>
                    <a:pt x="20037" y="37303"/>
                    <a:pt x="15789" y="31638"/>
                    <a:pt x="15789" y="25974"/>
                  </a:cubicBezTo>
                  <a:cubicBezTo>
                    <a:pt x="15789" y="18893"/>
                    <a:pt x="21454" y="14644"/>
                    <a:pt x="27118" y="1606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48" name="Freeform: Shape 2647">
              <a:extLst>
                <a:ext uri="{FF2B5EF4-FFF2-40B4-BE49-F238E27FC236}">
                  <a16:creationId xmlns:a16="http://schemas.microsoft.com/office/drawing/2014/main" id="{631805E4-51F7-44E8-A79F-FF86C73BB457}"/>
                </a:ext>
              </a:extLst>
            </p:cNvPr>
            <p:cNvSpPr/>
            <p:nvPr/>
          </p:nvSpPr>
          <p:spPr>
            <a:xfrm>
              <a:off x="5918765" y="3846565"/>
              <a:ext cx="56648" cy="56648"/>
            </a:xfrm>
            <a:custGeom>
              <a:avLst/>
              <a:gdLst>
                <a:gd name="connsiteX0" fmla="*/ 35616 w 56647"/>
                <a:gd name="connsiteY0" fmla="*/ 15789 h 56647"/>
                <a:gd name="connsiteX1" fmla="*/ 52610 w 56647"/>
                <a:gd name="connsiteY1" fmla="*/ 35616 h 56647"/>
                <a:gd name="connsiteX2" fmla="*/ 32783 w 56647"/>
                <a:gd name="connsiteY2" fmla="*/ 52610 h 56647"/>
                <a:gd name="connsiteX3" fmla="*/ 15789 w 56647"/>
                <a:gd name="connsiteY3" fmla="*/ 32783 h 56647"/>
                <a:gd name="connsiteX4" fmla="*/ 35616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616" y="15789"/>
                  </a:moveTo>
                  <a:cubicBezTo>
                    <a:pt x="45529" y="17205"/>
                    <a:pt x="52610" y="25702"/>
                    <a:pt x="52610" y="35616"/>
                  </a:cubicBezTo>
                  <a:cubicBezTo>
                    <a:pt x="51194" y="45529"/>
                    <a:pt x="42697" y="52610"/>
                    <a:pt x="32783" y="52610"/>
                  </a:cubicBezTo>
                  <a:cubicBezTo>
                    <a:pt x="22870" y="51194"/>
                    <a:pt x="15789" y="42697"/>
                    <a:pt x="15789" y="32783"/>
                  </a:cubicBezTo>
                  <a:cubicBezTo>
                    <a:pt x="15789" y="22870"/>
                    <a:pt x="24286" y="15789"/>
                    <a:pt x="35616"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49" name="Freeform: Shape 2648">
              <a:extLst>
                <a:ext uri="{FF2B5EF4-FFF2-40B4-BE49-F238E27FC236}">
                  <a16:creationId xmlns:a16="http://schemas.microsoft.com/office/drawing/2014/main" id="{260F6C38-4768-4A7F-AB57-6F98D6D77D3C}"/>
                </a:ext>
              </a:extLst>
            </p:cNvPr>
            <p:cNvSpPr/>
            <p:nvPr/>
          </p:nvSpPr>
          <p:spPr>
            <a:xfrm>
              <a:off x="6166599" y="4643881"/>
              <a:ext cx="56648" cy="56648"/>
            </a:xfrm>
            <a:custGeom>
              <a:avLst/>
              <a:gdLst>
                <a:gd name="connsiteX0" fmla="*/ 31367 w 56647"/>
                <a:gd name="connsiteY0" fmla="*/ 15789 h 56647"/>
                <a:gd name="connsiteX1" fmla="*/ 44113 w 56647"/>
                <a:gd name="connsiteY1" fmla="*/ 31367 h 56647"/>
                <a:gd name="connsiteX2" fmla="*/ 28535 w 56647"/>
                <a:gd name="connsiteY2" fmla="*/ 44113 h 56647"/>
                <a:gd name="connsiteX3" fmla="*/ 15789 w 56647"/>
                <a:gd name="connsiteY3" fmla="*/ 28535 h 56647"/>
                <a:gd name="connsiteX4" fmla="*/ 31367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5789"/>
                  </a:moveTo>
                  <a:cubicBezTo>
                    <a:pt x="38448" y="17205"/>
                    <a:pt x="44113" y="22870"/>
                    <a:pt x="44113" y="31367"/>
                  </a:cubicBezTo>
                  <a:cubicBezTo>
                    <a:pt x="42697" y="38448"/>
                    <a:pt x="37032" y="44113"/>
                    <a:pt x="28535" y="44113"/>
                  </a:cubicBezTo>
                  <a:cubicBezTo>
                    <a:pt x="21454" y="44113"/>
                    <a:pt x="15789" y="37032"/>
                    <a:pt x="15789" y="28535"/>
                  </a:cubicBezTo>
                  <a:cubicBezTo>
                    <a:pt x="15789" y="21454"/>
                    <a:pt x="22870" y="15789"/>
                    <a:pt x="31367"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50" name="Freeform: Shape 2649">
              <a:extLst>
                <a:ext uri="{FF2B5EF4-FFF2-40B4-BE49-F238E27FC236}">
                  <a16:creationId xmlns:a16="http://schemas.microsoft.com/office/drawing/2014/main" id="{EFF98CA4-0DC0-44F3-A66C-38F52F99CC10}"/>
                </a:ext>
              </a:extLst>
            </p:cNvPr>
            <p:cNvSpPr/>
            <p:nvPr/>
          </p:nvSpPr>
          <p:spPr>
            <a:xfrm>
              <a:off x="6717362" y="3655245"/>
              <a:ext cx="70810" cy="70810"/>
            </a:xfrm>
            <a:custGeom>
              <a:avLst/>
              <a:gdLst>
                <a:gd name="connsiteX0" fmla="*/ 41415 w 70809"/>
                <a:gd name="connsiteY0" fmla="*/ 15924 h 70809"/>
                <a:gd name="connsiteX1" fmla="*/ 62658 w 70809"/>
                <a:gd name="connsiteY1" fmla="*/ 41415 h 70809"/>
                <a:gd name="connsiteX2" fmla="*/ 37167 w 70809"/>
                <a:gd name="connsiteY2" fmla="*/ 62658 h 70809"/>
                <a:gd name="connsiteX3" fmla="*/ 15924 w 70809"/>
                <a:gd name="connsiteY3" fmla="*/ 37167 h 70809"/>
                <a:gd name="connsiteX4" fmla="*/ 41415 w 70809"/>
                <a:gd name="connsiteY4" fmla="*/ 1592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415" y="15924"/>
                  </a:moveTo>
                  <a:cubicBezTo>
                    <a:pt x="54161" y="17340"/>
                    <a:pt x="64074" y="28670"/>
                    <a:pt x="62658" y="41415"/>
                  </a:cubicBezTo>
                  <a:cubicBezTo>
                    <a:pt x="61242" y="54161"/>
                    <a:pt x="49912" y="64074"/>
                    <a:pt x="37167" y="62658"/>
                  </a:cubicBezTo>
                  <a:cubicBezTo>
                    <a:pt x="24421" y="61242"/>
                    <a:pt x="14508" y="49912"/>
                    <a:pt x="15924" y="37167"/>
                  </a:cubicBezTo>
                  <a:cubicBezTo>
                    <a:pt x="17340" y="24421"/>
                    <a:pt x="28670" y="14508"/>
                    <a:pt x="41415" y="1592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51" name="Freeform: Shape 2650">
              <a:extLst>
                <a:ext uri="{FF2B5EF4-FFF2-40B4-BE49-F238E27FC236}">
                  <a16:creationId xmlns:a16="http://schemas.microsoft.com/office/drawing/2014/main" id="{53808FD6-40F8-4D97-BF5C-B4987B004142}"/>
                </a:ext>
              </a:extLst>
            </p:cNvPr>
            <p:cNvSpPr/>
            <p:nvPr/>
          </p:nvSpPr>
          <p:spPr>
            <a:xfrm>
              <a:off x="6843538" y="3765842"/>
              <a:ext cx="42486" cy="42486"/>
            </a:xfrm>
            <a:custGeom>
              <a:avLst/>
              <a:gdLst>
                <a:gd name="connsiteX0" fmla="*/ 27119 w 42485"/>
                <a:gd name="connsiteY0" fmla="*/ 15789 h 42485"/>
                <a:gd name="connsiteX1" fmla="*/ 37032 w 42485"/>
                <a:gd name="connsiteY1" fmla="*/ 27119 h 42485"/>
                <a:gd name="connsiteX2" fmla="*/ 25703 w 42485"/>
                <a:gd name="connsiteY2" fmla="*/ 37032 h 42485"/>
                <a:gd name="connsiteX3" fmla="*/ 15789 w 42485"/>
                <a:gd name="connsiteY3" fmla="*/ 25703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9"/>
                  </a:cubicBezTo>
                  <a:cubicBezTo>
                    <a:pt x="37032" y="32783"/>
                    <a:pt x="31367" y="37032"/>
                    <a:pt x="25703" y="37032"/>
                  </a:cubicBezTo>
                  <a:cubicBezTo>
                    <a:pt x="20038" y="37032"/>
                    <a:pt x="15789" y="31367"/>
                    <a:pt x="15789" y="25703"/>
                  </a:cubicBezTo>
                  <a:cubicBezTo>
                    <a:pt x="15789" y="18622"/>
                    <a:pt x="21454" y="15789"/>
                    <a:pt x="27119"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52" name="Freeform: Shape 2651">
              <a:extLst>
                <a:ext uri="{FF2B5EF4-FFF2-40B4-BE49-F238E27FC236}">
                  <a16:creationId xmlns:a16="http://schemas.microsoft.com/office/drawing/2014/main" id="{9FAC87C8-49D0-4441-AB97-91BB5C2F9B8B}"/>
                </a:ext>
              </a:extLst>
            </p:cNvPr>
            <p:cNvSpPr/>
            <p:nvPr/>
          </p:nvSpPr>
          <p:spPr>
            <a:xfrm>
              <a:off x="5918547" y="3648080"/>
              <a:ext cx="56648" cy="56648"/>
            </a:xfrm>
            <a:custGeom>
              <a:avLst/>
              <a:gdLst>
                <a:gd name="connsiteX0" fmla="*/ 30169 w 56647"/>
                <a:gd name="connsiteY0" fmla="*/ 16007 h 56647"/>
                <a:gd name="connsiteX1" fmla="*/ 41499 w 56647"/>
                <a:gd name="connsiteY1" fmla="*/ 30169 h 56647"/>
                <a:gd name="connsiteX2" fmla="*/ 27337 w 56647"/>
                <a:gd name="connsiteY2" fmla="*/ 41499 h 56647"/>
                <a:gd name="connsiteX3" fmla="*/ 16007 w 56647"/>
                <a:gd name="connsiteY3" fmla="*/ 27337 h 56647"/>
                <a:gd name="connsiteX4" fmla="*/ 30169 w 56647"/>
                <a:gd name="connsiteY4" fmla="*/ 1600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0169" y="16007"/>
                  </a:moveTo>
                  <a:cubicBezTo>
                    <a:pt x="37250" y="16007"/>
                    <a:pt x="42915" y="23088"/>
                    <a:pt x="41499" y="30169"/>
                  </a:cubicBezTo>
                  <a:cubicBezTo>
                    <a:pt x="41499" y="37250"/>
                    <a:pt x="34418" y="42915"/>
                    <a:pt x="27337" y="41499"/>
                  </a:cubicBezTo>
                  <a:cubicBezTo>
                    <a:pt x="20256" y="41499"/>
                    <a:pt x="14591" y="34418"/>
                    <a:pt x="16007" y="27337"/>
                  </a:cubicBezTo>
                  <a:cubicBezTo>
                    <a:pt x="16007" y="20256"/>
                    <a:pt x="23088" y="14591"/>
                    <a:pt x="30169" y="1600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53" name="Freeform: Shape 2652">
              <a:extLst>
                <a:ext uri="{FF2B5EF4-FFF2-40B4-BE49-F238E27FC236}">
                  <a16:creationId xmlns:a16="http://schemas.microsoft.com/office/drawing/2014/main" id="{6CFCA81B-E273-4320-9977-95A3DAEB2F8F}"/>
                </a:ext>
              </a:extLst>
            </p:cNvPr>
            <p:cNvSpPr/>
            <p:nvPr/>
          </p:nvSpPr>
          <p:spPr>
            <a:xfrm>
              <a:off x="5920000" y="3686536"/>
              <a:ext cx="56648" cy="56648"/>
            </a:xfrm>
            <a:custGeom>
              <a:avLst/>
              <a:gdLst>
                <a:gd name="connsiteX0" fmla="*/ 32964 w 56647"/>
                <a:gd name="connsiteY0" fmla="*/ 15789 h 56647"/>
                <a:gd name="connsiteX1" fmla="*/ 47126 w 56647"/>
                <a:gd name="connsiteY1" fmla="*/ 32783 h 56647"/>
                <a:gd name="connsiteX2" fmla="*/ 30132 w 56647"/>
                <a:gd name="connsiteY2" fmla="*/ 46945 h 56647"/>
                <a:gd name="connsiteX3" fmla="*/ 15970 w 56647"/>
                <a:gd name="connsiteY3" fmla="*/ 29951 h 56647"/>
                <a:gd name="connsiteX4" fmla="*/ 32964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4" y="15789"/>
                  </a:moveTo>
                  <a:cubicBezTo>
                    <a:pt x="41462" y="17205"/>
                    <a:pt x="48543" y="24286"/>
                    <a:pt x="47126" y="32783"/>
                  </a:cubicBezTo>
                  <a:cubicBezTo>
                    <a:pt x="45710" y="41280"/>
                    <a:pt x="38629" y="48361"/>
                    <a:pt x="30132" y="46945"/>
                  </a:cubicBezTo>
                  <a:cubicBezTo>
                    <a:pt x="21635" y="45529"/>
                    <a:pt x="14554" y="38448"/>
                    <a:pt x="15970" y="29951"/>
                  </a:cubicBezTo>
                  <a:cubicBezTo>
                    <a:pt x="15970" y="21454"/>
                    <a:pt x="23051" y="15789"/>
                    <a:pt x="32964"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54" name="Freeform: Shape 2653">
              <a:extLst>
                <a:ext uri="{FF2B5EF4-FFF2-40B4-BE49-F238E27FC236}">
                  <a16:creationId xmlns:a16="http://schemas.microsoft.com/office/drawing/2014/main" id="{6BFE093C-06DF-4BC6-8FEF-159504FCF1B3}"/>
                </a:ext>
              </a:extLst>
            </p:cNvPr>
            <p:cNvSpPr/>
            <p:nvPr/>
          </p:nvSpPr>
          <p:spPr>
            <a:xfrm>
              <a:off x="6058814" y="3941296"/>
              <a:ext cx="70810" cy="70810"/>
            </a:xfrm>
            <a:custGeom>
              <a:avLst/>
              <a:gdLst>
                <a:gd name="connsiteX0" fmla="*/ 38603 w 70809"/>
                <a:gd name="connsiteY0" fmla="*/ 15943 h 70809"/>
                <a:gd name="connsiteX1" fmla="*/ 57013 w 70809"/>
                <a:gd name="connsiteY1" fmla="*/ 38602 h 70809"/>
                <a:gd name="connsiteX2" fmla="*/ 34354 w 70809"/>
                <a:gd name="connsiteY2" fmla="*/ 57013 h 70809"/>
                <a:gd name="connsiteX3" fmla="*/ 15943 w 70809"/>
                <a:gd name="connsiteY3" fmla="*/ 34354 h 70809"/>
                <a:gd name="connsiteX4" fmla="*/ 38603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603" y="15943"/>
                  </a:moveTo>
                  <a:cubicBezTo>
                    <a:pt x="49932" y="17359"/>
                    <a:pt x="58429" y="27273"/>
                    <a:pt x="57013" y="38602"/>
                  </a:cubicBezTo>
                  <a:cubicBezTo>
                    <a:pt x="55597" y="49932"/>
                    <a:pt x="45684" y="58429"/>
                    <a:pt x="34354" y="57013"/>
                  </a:cubicBezTo>
                  <a:cubicBezTo>
                    <a:pt x="23024" y="55597"/>
                    <a:pt x="14527" y="45683"/>
                    <a:pt x="15943" y="34354"/>
                  </a:cubicBezTo>
                  <a:cubicBezTo>
                    <a:pt x="17360" y="23024"/>
                    <a:pt x="27273" y="14527"/>
                    <a:pt x="38603" y="1594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55" name="Freeform: Shape 2654">
              <a:extLst>
                <a:ext uri="{FF2B5EF4-FFF2-40B4-BE49-F238E27FC236}">
                  <a16:creationId xmlns:a16="http://schemas.microsoft.com/office/drawing/2014/main" id="{0E24A5A5-C58C-4DA6-883B-64B1016520A3}"/>
                </a:ext>
              </a:extLst>
            </p:cNvPr>
            <p:cNvSpPr/>
            <p:nvPr/>
          </p:nvSpPr>
          <p:spPr>
            <a:xfrm>
              <a:off x="7012065" y="4023318"/>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3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4"/>
                    <a:pt x="31367" y="37303"/>
                    <a:pt x="25703" y="37303"/>
                  </a:cubicBezTo>
                  <a:cubicBezTo>
                    <a:pt x="20038" y="37303"/>
                    <a:pt x="15789" y="31639"/>
                    <a:pt x="15789" y="25973"/>
                  </a:cubicBezTo>
                  <a:cubicBezTo>
                    <a:pt x="15789" y="18893"/>
                    <a:pt x="21454" y="14644"/>
                    <a:pt x="27119" y="1606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56" name="Freeform: Shape 2655">
              <a:extLst>
                <a:ext uri="{FF2B5EF4-FFF2-40B4-BE49-F238E27FC236}">
                  <a16:creationId xmlns:a16="http://schemas.microsoft.com/office/drawing/2014/main" id="{9044180A-BC76-4F6A-AC8F-44392822A507}"/>
                </a:ext>
              </a:extLst>
            </p:cNvPr>
            <p:cNvSpPr/>
            <p:nvPr/>
          </p:nvSpPr>
          <p:spPr>
            <a:xfrm>
              <a:off x="6914348" y="3939759"/>
              <a:ext cx="42486" cy="42486"/>
            </a:xfrm>
            <a:custGeom>
              <a:avLst/>
              <a:gdLst>
                <a:gd name="connsiteX0" fmla="*/ 25703 w 42485"/>
                <a:gd name="connsiteY0" fmla="*/ 16063 h 42485"/>
                <a:gd name="connsiteX1" fmla="*/ 34200 w 42485"/>
                <a:gd name="connsiteY1" fmla="*/ 25977 h 42485"/>
                <a:gd name="connsiteX2" fmla="*/ 24286 w 42485"/>
                <a:gd name="connsiteY2" fmla="*/ 34474 h 42485"/>
                <a:gd name="connsiteX3" fmla="*/ 15789 w 42485"/>
                <a:gd name="connsiteY3" fmla="*/ 24561 h 42485"/>
                <a:gd name="connsiteX4" fmla="*/ 25703 w 42485"/>
                <a:gd name="connsiteY4" fmla="*/ 1606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3"/>
                  </a:moveTo>
                  <a:cubicBezTo>
                    <a:pt x="31367" y="16063"/>
                    <a:pt x="34200" y="20312"/>
                    <a:pt x="34200" y="25977"/>
                  </a:cubicBezTo>
                  <a:cubicBezTo>
                    <a:pt x="34200" y="31642"/>
                    <a:pt x="29951" y="34474"/>
                    <a:pt x="24286" y="34474"/>
                  </a:cubicBezTo>
                  <a:cubicBezTo>
                    <a:pt x="18622" y="34474"/>
                    <a:pt x="15789" y="30225"/>
                    <a:pt x="15789" y="24561"/>
                  </a:cubicBezTo>
                  <a:cubicBezTo>
                    <a:pt x="17205" y="18896"/>
                    <a:pt x="21454" y="14647"/>
                    <a:pt x="25703" y="1606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57" name="Freeform: Shape 2656">
              <a:extLst>
                <a:ext uri="{FF2B5EF4-FFF2-40B4-BE49-F238E27FC236}">
                  <a16:creationId xmlns:a16="http://schemas.microsoft.com/office/drawing/2014/main" id="{BAA19C26-AD5F-489A-B06F-9825ECC430B5}"/>
                </a:ext>
              </a:extLst>
            </p:cNvPr>
            <p:cNvSpPr/>
            <p:nvPr/>
          </p:nvSpPr>
          <p:spPr>
            <a:xfrm>
              <a:off x="6744405" y="4213139"/>
              <a:ext cx="42486" cy="42486"/>
            </a:xfrm>
            <a:custGeom>
              <a:avLst/>
              <a:gdLst>
                <a:gd name="connsiteX0" fmla="*/ 27119 w 42485"/>
                <a:gd name="connsiteY0" fmla="*/ 16009 h 42485"/>
                <a:gd name="connsiteX1" fmla="*/ 37032 w 42485"/>
                <a:gd name="connsiteY1" fmla="*/ 27338 h 42485"/>
                <a:gd name="connsiteX2" fmla="*/ 25703 w 42485"/>
                <a:gd name="connsiteY2" fmla="*/ 37252 h 42485"/>
                <a:gd name="connsiteX3" fmla="*/ 15789 w 42485"/>
                <a:gd name="connsiteY3" fmla="*/ 25923 h 42485"/>
                <a:gd name="connsiteX4" fmla="*/ 27119 w 42485"/>
                <a:gd name="connsiteY4" fmla="*/ 1600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09"/>
                  </a:moveTo>
                  <a:cubicBezTo>
                    <a:pt x="32783" y="16009"/>
                    <a:pt x="37032" y="21674"/>
                    <a:pt x="37032" y="27338"/>
                  </a:cubicBezTo>
                  <a:cubicBezTo>
                    <a:pt x="37032" y="33004"/>
                    <a:pt x="31367" y="37252"/>
                    <a:pt x="25703" y="37252"/>
                  </a:cubicBezTo>
                  <a:cubicBezTo>
                    <a:pt x="20038" y="37252"/>
                    <a:pt x="15789" y="31587"/>
                    <a:pt x="15789" y="25923"/>
                  </a:cubicBezTo>
                  <a:cubicBezTo>
                    <a:pt x="15789" y="20258"/>
                    <a:pt x="21454" y="14593"/>
                    <a:pt x="27119" y="1600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58" name="Freeform: Shape 2657">
              <a:extLst>
                <a:ext uri="{FF2B5EF4-FFF2-40B4-BE49-F238E27FC236}">
                  <a16:creationId xmlns:a16="http://schemas.microsoft.com/office/drawing/2014/main" id="{23177C6A-9035-4ACA-876E-C2987C040ED4}"/>
                </a:ext>
              </a:extLst>
            </p:cNvPr>
            <p:cNvSpPr/>
            <p:nvPr/>
          </p:nvSpPr>
          <p:spPr>
            <a:xfrm>
              <a:off x="6659299" y="4776868"/>
              <a:ext cx="70810" cy="70810"/>
            </a:xfrm>
            <a:custGeom>
              <a:avLst/>
              <a:gdLst>
                <a:gd name="connsiteX0" fmla="*/ 44247 w 70809"/>
                <a:gd name="connsiteY0" fmla="*/ 15923 h 70809"/>
                <a:gd name="connsiteX1" fmla="*/ 66907 w 70809"/>
                <a:gd name="connsiteY1" fmla="*/ 44247 h 70809"/>
                <a:gd name="connsiteX2" fmla="*/ 38583 w 70809"/>
                <a:gd name="connsiteY2" fmla="*/ 66906 h 70809"/>
                <a:gd name="connsiteX3" fmla="*/ 15924 w 70809"/>
                <a:gd name="connsiteY3" fmla="*/ 38583 h 70809"/>
                <a:gd name="connsiteX4" fmla="*/ 44247 w 70809"/>
                <a:gd name="connsiteY4" fmla="*/ 15923 h 70809"/>
                <a:gd name="connsiteX5" fmla="*/ 44247 w 70809"/>
                <a:gd name="connsiteY5" fmla="*/ 15923 h 70809"/>
                <a:gd name="connsiteX6" fmla="*/ 44247 w 70809"/>
                <a:gd name="connsiteY6" fmla="*/ 27253 h 70809"/>
                <a:gd name="connsiteX7" fmla="*/ 28669 w 70809"/>
                <a:gd name="connsiteY7" fmla="*/ 39999 h 70809"/>
                <a:gd name="connsiteX8" fmla="*/ 41415 w 70809"/>
                <a:gd name="connsiteY8" fmla="*/ 55577 h 70809"/>
                <a:gd name="connsiteX9" fmla="*/ 56993 w 70809"/>
                <a:gd name="connsiteY9" fmla="*/ 42831 h 70809"/>
                <a:gd name="connsiteX10" fmla="*/ 44247 w 70809"/>
                <a:gd name="connsiteY10" fmla="*/ 27253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247" y="15923"/>
                  </a:moveTo>
                  <a:cubicBezTo>
                    <a:pt x="58409" y="17340"/>
                    <a:pt x="68323" y="30085"/>
                    <a:pt x="66907" y="44247"/>
                  </a:cubicBezTo>
                  <a:cubicBezTo>
                    <a:pt x="65490" y="58409"/>
                    <a:pt x="52745" y="68323"/>
                    <a:pt x="38583" y="66906"/>
                  </a:cubicBezTo>
                  <a:cubicBezTo>
                    <a:pt x="24421" y="65490"/>
                    <a:pt x="14507" y="52745"/>
                    <a:pt x="15924" y="38583"/>
                  </a:cubicBezTo>
                  <a:cubicBezTo>
                    <a:pt x="17340" y="24421"/>
                    <a:pt x="30085" y="14508"/>
                    <a:pt x="44247" y="15923"/>
                  </a:cubicBezTo>
                  <a:lnTo>
                    <a:pt x="44247" y="15923"/>
                  </a:lnTo>
                  <a:close/>
                  <a:moveTo>
                    <a:pt x="44247" y="27253"/>
                  </a:moveTo>
                  <a:cubicBezTo>
                    <a:pt x="35750" y="25837"/>
                    <a:pt x="28669" y="32918"/>
                    <a:pt x="28669" y="39999"/>
                  </a:cubicBezTo>
                  <a:cubicBezTo>
                    <a:pt x="27253" y="48496"/>
                    <a:pt x="34334" y="55577"/>
                    <a:pt x="41415" y="55577"/>
                  </a:cubicBezTo>
                  <a:cubicBezTo>
                    <a:pt x="49912" y="56993"/>
                    <a:pt x="56993" y="49912"/>
                    <a:pt x="56993" y="42831"/>
                  </a:cubicBezTo>
                  <a:cubicBezTo>
                    <a:pt x="56993" y="34334"/>
                    <a:pt x="51328" y="27253"/>
                    <a:pt x="44247" y="2725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59" name="Freeform: Shape 2658">
              <a:extLst>
                <a:ext uri="{FF2B5EF4-FFF2-40B4-BE49-F238E27FC236}">
                  <a16:creationId xmlns:a16="http://schemas.microsoft.com/office/drawing/2014/main" id="{F39161A8-FC94-4815-A761-EAEC46806685}"/>
                </a:ext>
              </a:extLst>
            </p:cNvPr>
            <p:cNvSpPr/>
            <p:nvPr/>
          </p:nvSpPr>
          <p:spPr>
            <a:xfrm>
              <a:off x="6400151" y="4902924"/>
              <a:ext cx="84971" cy="84971"/>
            </a:xfrm>
            <a:custGeom>
              <a:avLst/>
              <a:gdLst>
                <a:gd name="connsiteX0" fmla="*/ 45649 w 84971"/>
                <a:gd name="connsiteY0" fmla="*/ 15909 h 84971"/>
                <a:gd name="connsiteX1" fmla="*/ 71140 w 84971"/>
                <a:gd name="connsiteY1" fmla="*/ 45648 h 84971"/>
                <a:gd name="connsiteX2" fmla="*/ 41400 w 84971"/>
                <a:gd name="connsiteY2" fmla="*/ 71140 h 84971"/>
                <a:gd name="connsiteX3" fmla="*/ 15909 w 84971"/>
                <a:gd name="connsiteY3" fmla="*/ 41400 h 84971"/>
                <a:gd name="connsiteX4" fmla="*/ 45649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9" y="15909"/>
                  </a:moveTo>
                  <a:cubicBezTo>
                    <a:pt x="61226" y="17324"/>
                    <a:pt x="72556" y="30070"/>
                    <a:pt x="71140" y="45648"/>
                  </a:cubicBezTo>
                  <a:cubicBezTo>
                    <a:pt x="69724" y="61226"/>
                    <a:pt x="56978" y="72556"/>
                    <a:pt x="41400" y="71140"/>
                  </a:cubicBezTo>
                  <a:cubicBezTo>
                    <a:pt x="25822" y="69724"/>
                    <a:pt x="14492" y="56978"/>
                    <a:pt x="15909" y="41400"/>
                  </a:cubicBezTo>
                  <a:cubicBezTo>
                    <a:pt x="17325" y="25822"/>
                    <a:pt x="31487" y="14492"/>
                    <a:pt x="45649" y="1590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60" name="Freeform: Shape 2659">
              <a:extLst>
                <a:ext uri="{FF2B5EF4-FFF2-40B4-BE49-F238E27FC236}">
                  <a16:creationId xmlns:a16="http://schemas.microsoft.com/office/drawing/2014/main" id="{06091AD0-DE0C-4507-89E8-A7522B6F5583}"/>
                </a:ext>
              </a:extLst>
            </p:cNvPr>
            <p:cNvSpPr/>
            <p:nvPr/>
          </p:nvSpPr>
          <p:spPr>
            <a:xfrm>
              <a:off x="6513566" y="5057409"/>
              <a:ext cx="56648" cy="56648"/>
            </a:xfrm>
            <a:custGeom>
              <a:avLst/>
              <a:gdLst>
                <a:gd name="connsiteX0" fmla="*/ 35616 w 56647"/>
                <a:gd name="connsiteY0" fmla="*/ 15789 h 56647"/>
                <a:gd name="connsiteX1" fmla="*/ 52610 w 56647"/>
                <a:gd name="connsiteY1" fmla="*/ 35616 h 56647"/>
                <a:gd name="connsiteX2" fmla="*/ 32783 w 56647"/>
                <a:gd name="connsiteY2" fmla="*/ 52610 h 56647"/>
                <a:gd name="connsiteX3" fmla="*/ 15789 w 56647"/>
                <a:gd name="connsiteY3" fmla="*/ 32783 h 56647"/>
                <a:gd name="connsiteX4" fmla="*/ 35616 w 56647"/>
                <a:gd name="connsiteY4" fmla="*/ 15789 h 56647"/>
                <a:gd name="connsiteX5" fmla="*/ 35616 w 56647"/>
                <a:gd name="connsiteY5" fmla="*/ 15789 h 56647"/>
                <a:gd name="connsiteX6" fmla="*/ 35616 w 56647"/>
                <a:gd name="connsiteY6" fmla="*/ 24286 h 56647"/>
                <a:gd name="connsiteX7" fmla="*/ 24286 w 56647"/>
                <a:gd name="connsiteY7" fmla="*/ 34199 h 56647"/>
                <a:gd name="connsiteX8" fmla="*/ 34199 w 56647"/>
                <a:gd name="connsiteY8" fmla="*/ 45529 h 56647"/>
                <a:gd name="connsiteX9" fmla="*/ 45529 w 56647"/>
                <a:gd name="connsiteY9" fmla="*/ 35616 h 56647"/>
                <a:gd name="connsiteX10" fmla="*/ 35616 w 56647"/>
                <a:gd name="connsiteY10" fmla="*/ 24286 h 5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647" h="56647">
                  <a:moveTo>
                    <a:pt x="35616" y="15789"/>
                  </a:moveTo>
                  <a:cubicBezTo>
                    <a:pt x="45529" y="17205"/>
                    <a:pt x="52610" y="25702"/>
                    <a:pt x="52610" y="35616"/>
                  </a:cubicBezTo>
                  <a:cubicBezTo>
                    <a:pt x="51194" y="45529"/>
                    <a:pt x="42697" y="52610"/>
                    <a:pt x="32783" y="52610"/>
                  </a:cubicBezTo>
                  <a:cubicBezTo>
                    <a:pt x="22870" y="51194"/>
                    <a:pt x="15789" y="42697"/>
                    <a:pt x="15789" y="32783"/>
                  </a:cubicBezTo>
                  <a:cubicBezTo>
                    <a:pt x="17205" y="22870"/>
                    <a:pt x="25702" y="15789"/>
                    <a:pt x="35616" y="15789"/>
                  </a:cubicBezTo>
                  <a:lnTo>
                    <a:pt x="35616" y="15789"/>
                  </a:lnTo>
                  <a:close/>
                  <a:moveTo>
                    <a:pt x="35616" y="24286"/>
                  </a:moveTo>
                  <a:cubicBezTo>
                    <a:pt x="29951" y="24286"/>
                    <a:pt x="24286" y="28535"/>
                    <a:pt x="24286" y="34199"/>
                  </a:cubicBezTo>
                  <a:cubicBezTo>
                    <a:pt x="24286" y="39864"/>
                    <a:pt x="28535" y="45529"/>
                    <a:pt x="34199" y="45529"/>
                  </a:cubicBezTo>
                  <a:cubicBezTo>
                    <a:pt x="39864" y="45529"/>
                    <a:pt x="45529" y="41280"/>
                    <a:pt x="45529" y="35616"/>
                  </a:cubicBezTo>
                  <a:cubicBezTo>
                    <a:pt x="45529" y="29951"/>
                    <a:pt x="41280" y="24286"/>
                    <a:pt x="35616" y="2428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61" name="Freeform: Shape 2660">
              <a:extLst>
                <a:ext uri="{FF2B5EF4-FFF2-40B4-BE49-F238E27FC236}">
                  <a16:creationId xmlns:a16="http://schemas.microsoft.com/office/drawing/2014/main" id="{C5B5CA0D-E180-41BB-8DA3-F78391BC7C1C}"/>
                </a:ext>
              </a:extLst>
            </p:cNvPr>
            <p:cNvSpPr/>
            <p:nvPr/>
          </p:nvSpPr>
          <p:spPr>
            <a:xfrm>
              <a:off x="6563132" y="4643881"/>
              <a:ext cx="56648" cy="56648"/>
            </a:xfrm>
            <a:custGeom>
              <a:avLst/>
              <a:gdLst>
                <a:gd name="connsiteX0" fmla="*/ 31367 w 56647"/>
                <a:gd name="connsiteY0" fmla="*/ 15789 h 56647"/>
                <a:gd name="connsiteX1" fmla="*/ 44113 w 56647"/>
                <a:gd name="connsiteY1" fmla="*/ 31367 h 56647"/>
                <a:gd name="connsiteX2" fmla="*/ 28535 w 56647"/>
                <a:gd name="connsiteY2" fmla="*/ 44113 h 56647"/>
                <a:gd name="connsiteX3" fmla="*/ 15789 w 56647"/>
                <a:gd name="connsiteY3" fmla="*/ 28535 h 56647"/>
                <a:gd name="connsiteX4" fmla="*/ 31367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5789"/>
                  </a:moveTo>
                  <a:cubicBezTo>
                    <a:pt x="38448" y="15789"/>
                    <a:pt x="44113" y="22870"/>
                    <a:pt x="44113" y="31367"/>
                  </a:cubicBezTo>
                  <a:cubicBezTo>
                    <a:pt x="44113" y="39864"/>
                    <a:pt x="37032" y="44113"/>
                    <a:pt x="28535" y="44113"/>
                  </a:cubicBezTo>
                  <a:cubicBezTo>
                    <a:pt x="21454" y="44113"/>
                    <a:pt x="15789" y="37032"/>
                    <a:pt x="15789" y="28535"/>
                  </a:cubicBezTo>
                  <a:cubicBezTo>
                    <a:pt x="17205" y="21454"/>
                    <a:pt x="24286" y="15789"/>
                    <a:pt x="31367"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62" name="Freeform: Shape 2661">
              <a:extLst>
                <a:ext uri="{FF2B5EF4-FFF2-40B4-BE49-F238E27FC236}">
                  <a16:creationId xmlns:a16="http://schemas.microsoft.com/office/drawing/2014/main" id="{AF2502E6-0F18-4526-96FE-878B521DB7D7}"/>
                </a:ext>
              </a:extLst>
            </p:cNvPr>
            <p:cNvSpPr/>
            <p:nvPr/>
          </p:nvSpPr>
          <p:spPr>
            <a:xfrm>
              <a:off x="6826544" y="4834850"/>
              <a:ext cx="56648" cy="56648"/>
            </a:xfrm>
            <a:custGeom>
              <a:avLst/>
              <a:gdLst>
                <a:gd name="connsiteX0" fmla="*/ 31367 w 56647"/>
                <a:gd name="connsiteY0" fmla="*/ 16006 h 56647"/>
                <a:gd name="connsiteX1" fmla="*/ 44113 w 56647"/>
                <a:gd name="connsiteY1" fmla="*/ 31584 h 56647"/>
                <a:gd name="connsiteX2" fmla="*/ 28535 w 56647"/>
                <a:gd name="connsiteY2" fmla="*/ 44330 h 56647"/>
                <a:gd name="connsiteX3" fmla="*/ 15789 w 56647"/>
                <a:gd name="connsiteY3" fmla="*/ 28752 h 56647"/>
                <a:gd name="connsiteX4" fmla="*/ 31367 w 56647"/>
                <a:gd name="connsiteY4" fmla="*/ 16006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6006"/>
                  </a:moveTo>
                  <a:cubicBezTo>
                    <a:pt x="38448" y="16006"/>
                    <a:pt x="44113" y="23087"/>
                    <a:pt x="44113" y="31584"/>
                  </a:cubicBezTo>
                  <a:cubicBezTo>
                    <a:pt x="42697" y="38665"/>
                    <a:pt x="37032" y="44330"/>
                    <a:pt x="28535" y="44330"/>
                  </a:cubicBezTo>
                  <a:cubicBezTo>
                    <a:pt x="21454" y="44330"/>
                    <a:pt x="15789" y="37249"/>
                    <a:pt x="15789" y="28752"/>
                  </a:cubicBezTo>
                  <a:cubicBezTo>
                    <a:pt x="17205" y="20255"/>
                    <a:pt x="24286" y="14590"/>
                    <a:pt x="31367" y="1600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63" name="Freeform: Shape 2662">
              <a:extLst>
                <a:ext uri="{FF2B5EF4-FFF2-40B4-BE49-F238E27FC236}">
                  <a16:creationId xmlns:a16="http://schemas.microsoft.com/office/drawing/2014/main" id="{344A3CFA-9A5B-417E-9EDB-6EEDD5A7FB53}"/>
                </a:ext>
              </a:extLst>
            </p:cNvPr>
            <p:cNvSpPr/>
            <p:nvPr/>
          </p:nvSpPr>
          <p:spPr>
            <a:xfrm>
              <a:off x="6720175" y="4652223"/>
              <a:ext cx="56648" cy="56648"/>
            </a:xfrm>
            <a:custGeom>
              <a:avLst/>
              <a:gdLst>
                <a:gd name="connsiteX0" fmla="*/ 35771 w 56647"/>
                <a:gd name="connsiteY0" fmla="*/ 15944 h 56647"/>
                <a:gd name="connsiteX1" fmla="*/ 52765 w 56647"/>
                <a:gd name="connsiteY1" fmla="*/ 35771 h 56647"/>
                <a:gd name="connsiteX2" fmla="*/ 32938 w 56647"/>
                <a:gd name="connsiteY2" fmla="*/ 52765 h 56647"/>
                <a:gd name="connsiteX3" fmla="*/ 15944 w 56647"/>
                <a:gd name="connsiteY3" fmla="*/ 32938 h 56647"/>
                <a:gd name="connsiteX4" fmla="*/ 35771 w 56647"/>
                <a:gd name="connsiteY4" fmla="*/ 1594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44"/>
                  </a:moveTo>
                  <a:cubicBezTo>
                    <a:pt x="45684" y="17360"/>
                    <a:pt x="54181" y="25858"/>
                    <a:pt x="52765" y="35771"/>
                  </a:cubicBezTo>
                  <a:cubicBezTo>
                    <a:pt x="51349" y="45684"/>
                    <a:pt x="42852" y="54181"/>
                    <a:pt x="32938" y="52765"/>
                  </a:cubicBezTo>
                  <a:cubicBezTo>
                    <a:pt x="23025" y="51349"/>
                    <a:pt x="14528" y="42852"/>
                    <a:pt x="15944" y="32938"/>
                  </a:cubicBezTo>
                  <a:cubicBezTo>
                    <a:pt x="15944" y="23025"/>
                    <a:pt x="24441" y="14528"/>
                    <a:pt x="35771" y="1594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64" name="Freeform: Shape 2663">
              <a:extLst>
                <a:ext uri="{FF2B5EF4-FFF2-40B4-BE49-F238E27FC236}">
                  <a16:creationId xmlns:a16="http://schemas.microsoft.com/office/drawing/2014/main" id="{BA9B0313-7AC3-405A-B091-F3CF90948D1B}"/>
                </a:ext>
              </a:extLst>
            </p:cNvPr>
            <p:cNvSpPr/>
            <p:nvPr/>
          </p:nvSpPr>
          <p:spPr>
            <a:xfrm>
              <a:off x="6393034" y="5315000"/>
              <a:ext cx="56648" cy="56648"/>
            </a:xfrm>
            <a:custGeom>
              <a:avLst/>
              <a:gdLst>
                <a:gd name="connsiteX0" fmla="*/ 35771 w 56647"/>
                <a:gd name="connsiteY0" fmla="*/ 15944 h 56647"/>
                <a:gd name="connsiteX1" fmla="*/ 52765 w 56647"/>
                <a:gd name="connsiteY1" fmla="*/ 35771 h 56647"/>
                <a:gd name="connsiteX2" fmla="*/ 32938 w 56647"/>
                <a:gd name="connsiteY2" fmla="*/ 52765 h 56647"/>
                <a:gd name="connsiteX3" fmla="*/ 15944 w 56647"/>
                <a:gd name="connsiteY3" fmla="*/ 32938 h 56647"/>
                <a:gd name="connsiteX4" fmla="*/ 35771 w 56647"/>
                <a:gd name="connsiteY4" fmla="*/ 1594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44"/>
                  </a:moveTo>
                  <a:cubicBezTo>
                    <a:pt x="45684" y="17360"/>
                    <a:pt x="54181" y="25857"/>
                    <a:pt x="52765" y="35771"/>
                  </a:cubicBezTo>
                  <a:cubicBezTo>
                    <a:pt x="51349" y="45684"/>
                    <a:pt x="42852" y="54181"/>
                    <a:pt x="32938" y="52765"/>
                  </a:cubicBezTo>
                  <a:cubicBezTo>
                    <a:pt x="23025" y="51349"/>
                    <a:pt x="14528" y="42852"/>
                    <a:pt x="15944" y="32938"/>
                  </a:cubicBezTo>
                  <a:cubicBezTo>
                    <a:pt x="15944" y="23025"/>
                    <a:pt x="24441" y="14528"/>
                    <a:pt x="35771" y="1594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65" name="Freeform: Shape 2664">
              <a:extLst>
                <a:ext uri="{FF2B5EF4-FFF2-40B4-BE49-F238E27FC236}">
                  <a16:creationId xmlns:a16="http://schemas.microsoft.com/office/drawing/2014/main" id="{698F93C7-B603-40C6-906A-EC12C4CC872F}"/>
                </a:ext>
              </a:extLst>
            </p:cNvPr>
            <p:cNvSpPr/>
            <p:nvPr/>
          </p:nvSpPr>
          <p:spPr>
            <a:xfrm>
              <a:off x="6337958" y="5203005"/>
              <a:ext cx="42486" cy="42486"/>
            </a:xfrm>
            <a:custGeom>
              <a:avLst/>
              <a:gdLst>
                <a:gd name="connsiteX0" fmla="*/ 27118 w 42485"/>
                <a:gd name="connsiteY0" fmla="*/ 16060 h 42485"/>
                <a:gd name="connsiteX1" fmla="*/ 37032 w 42485"/>
                <a:gd name="connsiteY1" fmla="*/ 27390 h 42485"/>
                <a:gd name="connsiteX2" fmla="*/ 25702 w 42485"/>
                <a:gd name="connsiteY2" fmla="*/ 37303 h 42485"/>
                <a:gd name="connsiteX3" fmla="*/ 15789 w 42485"/>
                <a:gd name="connsiteY3" fmla="*/ 25974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5"/>
                    <a:pt x="31367" y="37303"/>
                    <a:pt x="25702" y="37303"/>
                  </a:cubicBezTo>
                  <a:cubicBezTo>
                    <a:pt x="20037" y="37303"/>
                    <a:pt x="15789" y="31639"/>
                    <a:pt x="15789" y="25974"/>
                  </a:cubicBezTo>
                  <a:cubicBezTo>
                    <a:pt x="17205" y="18893"/>
                    <a:pt x="21454" y="14644"/>
                    <a:pt x="27118" y="1606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66" name="Freeform: Shape 2665">
              <a:extLst>
                <a:ext uri="{FF2B5EF4-FFF2-40B4-BE49-F238E27FC236}">
                  <a16:creationId xmlns:a16="http://schemas.microsoft.com/office/drawing/2014/main" id="{EECF00D8-79D0-4452-8755-EE3F552A874E}"/>
                </a:ext>
              </a:extLst>
            </p:cNvPr>
            <p:cNvSpPr/>
            <p:nvPr/>
          </p:nvSpPr>
          <p:spPr>
            <a:xfrm>
              <a:off x="6615531" y="5108392"/>
              <a:ext cx="56648" cy="56648"/>
            </a:xfrm>
            <a:custGeom>
              <a:avLst/>
              <a:gdLst>
                <a:gd name="connsiteX0" fmla="*/ 35616 w 56647"/>
                <a:gd name="connsiteY0" fmla="*/ 15789 h 56647"/>
                <a:gd name="connsiteX1" fmla="*/ 52610 w 56647"/>
                <a:gd name="connsiteY1" fmla="*/ 35616 h 56647"/>
                <a:gd name="connsiteX2" fmla="*/ 32783 w 56647"/>
                <a:gd name="connsiteY2" fmla="*/ 52610 h 56647"/>
                <a:gd name="connsiteX3" fmla="*/ 15789 w 56647"/>
                <a:gd name="connsiteY3" fmla="*/ 32783 h 56647"/>
                <a:gd name="connsiteX4" fmla="*/ 35616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616" y="15789"/>
                  </a:moveTo>
                  <a:cubicBezTo>
                    <a:pt x="45529" y="17205"/>
                    <a:pt x="52610" y="25702"/>
                    <a:pt x="52610" y="35616"/>
                  </a:cubicBezTo>
                  <a:cubicBezTo>
                    <a:pt x="51194" y="45529"/>
                    <a:pt x="42697" y="52610"/>
                    <a:pt x="32783" y="52610"/>
                  </a:cubicBezTo>
                  <a:cubicBezTo>
                    <a:pt x="22870" y="51194"/>
                    <a:pt x="15789" y="42697"/>
                    <a:pt x="15789" y="32783"/>
                  </a:cubicBezTo>
                  <a:cubicBezTo>
                    <a:pt x="17205" y="22870"/>
                    <a:pt x="25703" y="15789"/>
                    <a:pt x="35616"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67" name="Freeform: Shape 2666">
              <a:extLst>
                <a:ext uri="{FF2B5EF4-FFF2-40B4-BE49-F238E27FC236}">
                  <a16:creationId xmlns:a16="http://schemas.microsoft.com/office/drawing/2014/main" id="{B065CE73-052A-43D9-BA15-F37792B947F9}"/>
                </a:ext>
              </a:extLst>
            </p:cNvPr>
            <p:cNvSpPr/>
            <p:nvPr/>
          </p:nvSpPr>
          <p:spPr>
            <a:xfrm>
              <a:off x="6295338" y="4939730"/>
              <a:ext cx="70810" cy="70810"/>
            </a:xfrm>
            <a:custGeom>
              <a:avLst/>
              <a:gdLst>
                <a:gd name="connsiteX0" fmla="*/ 44247 w 70809"/>
                <a:gd name="connsiteY0" fmla="*/ 15923 h 70809"/>
                <a:gd name="connsiteX1" fmla="*/ 66906 w 70809"/>
                <a:gd name="connsiteY1" fmla="*/ 44247 h 70809"/>
                <a:gd name="connsiteX2" fmla="*/ 38582 w 70809"/>
                <a:gd name="connsiteY2" fmla="*/ 66906 h 70809"/>
                <a:gd name="connsiteX3" fmla="*/ 15924 w 70809"/>
                <a:gd name="connsiteY3" fmla="*/ 38583 h 70809"/>
                <a:gd name="connsiteX4" fmla="*/ 44247 w 70809"/>
                <a:gd name="connsiteY4" fmla="*/ 15923 h 70809"/>
                <a:gd name="connsiteX5" fmla="*/ 44247 w 70809"/>
                <a:gd name="connsiteY5" fmla="*/ 15923 h 70809"/>
                <a:gd name="connsiteX6" fmla="*/ 42831 w 70809"/>
                <a:gd name="connsiteY6" fmla="*/ 27253 h 70809"/>
                <a:gd name="connsiteX7" fmla="*/ 27253 w 70809"/>
                <a:gd name="connsiteY7" fmla="*/ 39999 h 70809"/>
                <a:gd name="connsiteX8" fmla="*/ 39999 w 70809"/>
                <a:gd name="connsiteY8" fmla="*/ 55577 h 70809"/>
                <a:gd name="connsiteX9" fmla="*/ 55577 w 70809"/>
                <a:gd name="connsiteY9" fmla="*/ 42831 h 70809"/>
                <a:gd name="connsiteX10" fmla="*/ 42831 w 70809"/>
                <a:gd name="connsiteY10" fmla="*/ 27253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247" y="15923"/>
                  </a:moveTo>
                  <a:cubicBezTo>
                    <a:pt x="58409" y="17340"/>
                    <a:pt x="68322" y="30085"/>
                    <a:pt x="66906" y="44247"/>
                  </a:cubicBezTo>
                  <a:cubicBezTo>
                    <a:pt x="65490" y="58409"/>
                    <a:pt x="52744" y="68323"/>
                    <a:pt x="38582" y="66906"/>
                  </a:cubicBezTo>
                  <a:cubicBezTo>
                    <a:pt x="24420" y="65490"/>
                    <a:pt x="14507" y="52745"/>
                    <a:pt x="15924" y="38583"/>
                  </a:cubicBezTo>
                  <a:cubicBezTo>
                    <a:pt x="17339" y="24421"/>
                    <a:pt x="30085" y="14508"/>
                    <a:pt x="44247" y="15923"/>
                  </a:cubicBezTo>
                  <a:lnTo>
                    <a:pt x="44247" y="15923"/>
                  </a:lnTo>
                  <a:close/>
                  <a:moveTo>
                    <a:pt x="42831" y="27253"/>
                  </a:moveTo>
                  <a:cubicBezTo>
                    <a:pt x="34334" y="25837"/>
                    <a:pt x="27253" y="32918"/>
                    <a:pt x="27253" y="39999"/>
                  </a:cubicBezTo>
                  <a:cubicBezTo>
                    <a:pt x="25837" y="48496"/>
                    <a:pt x="32918" y="55577"/>
                    <a:pt x="39999" y="55577"/>
                  </a:cubicBezTo>
                  <a:cubicBezTo>
                    <a:pt x="48496" y="56993"/>
                    <a:pt x="55577" y="49912"/>
                    <a:pt x="55577" y="42831"/>
                  </a:cubicBezTo>
                  <a:cubicBezTo>
                    <a:pt x="56993" y="34334"/>
                    <a:pt x="51328" y="27253"/>
                    <a:pt x="42831" y="2725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68" name="Freeform: Shape 2667">
              <a:extLst>
                <a:ext uri="{FF2B5EF4-FFF2-40B4-BE49-F238E27FC236}">
                  <a16:creationId xmlns:a16="http://schemas.microsoft.com/office/drawing/2014/main" id="{3F78315D-8996-43E6-B0CB-4664630A6CB6}"/>
                </a:ext>
              </a:extLst>
            </p:cNvPr>
            <p:cNvSpPr/>
            <p:nvPr/>
          </p:nvSpPr>
          <p:spPr>
            <a:xfrm>
              <a:off x="6551803" y="4888882"/>
              <a:ext cx="56648" cy="56648"/>
            </a:xfrm>
            <a:custGeom>
              <a:avLst/>
              <a:gdLst>
                <a:gd name="connsiteX0" fmla="*/ 31367 w 56647"/>
                <a:gd name="connsiteY0" fmla="*/ 15789 h 56647"/>
                <a:gd name="connsiteX1" fmla="*/ 44113 w 56647"/>
                <a:gd name="connsiteY1" fmla="*/ 31367 h 56647"/>
                <a:gd name="connsiteX2" fmla="*/ 28535 w 56647"/>
                <a:gd name="connsiteY2" fmla="*/ 44113 h 56647"/>
                <a:gd name="connsiteX3" fmla="*/ 15789 w 56647"/>
                <a:gd name="connsiteY3" fmla="*/ 28535 h 56647"/>
                <a:gd name="connsiteX4" fmla="*/ 31367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5789"/>
                  </a:moveTo>
                  <a:cubicBezTo>
                    <a:pt x="38448" y="15789"/>
                    <a:pt x="44113" y="22870"/>
                    <a:pt x="44113" y="31367"/>
                  </a:cubicBezTo>
                  <a:cubicBezTo>
                    <a:pt x="44113" y="38448"/>
                    <a:pt x="37032" y="44113"/>
                    <a:pt x="28535" y="44113"/>
                  </a:cubicBezTo>
                  <a:cubicBezTo>
                    <a:pt x="21454" y="44113"/>
                    <a:pt x="15789" y="37032"/>
                    <a:pt x="15789" y="28535"/>
                  </a:cubicBezTo>
                  <a:cubicBezTo>
                    <a:pt x="17205" y="21454"/>
                    <a:pt x="24286" y="15789"/>
                    <a:pt x="31367"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69" name="Freeform: Shape 2668">
              <a:extLst>
                <a:ext uri="{FF2B5EF4-FFF2-40B4-BE49-F238E27FC236}">
                  <a16:creationId xmlns:a16="http://schemas.microsoft.com/office/drawing/2014/main" id="{0EDEB90E-3398-44F4-97D5-72D29B619EEC}"/>
                </a:ext>
              </a:extLst>
            </p:cNvPr>
            <p:cNvSpPr/>
            <p:nvPr/>
          </p:nvSpPr>
          <p:spPr>
            <a:xfrm>
              <a:off x="6527608" y="5176235"/>
              <a:ext cx="84971" cy="84971"/>
            </a:xfrm>
            <a:custGeom>
              <a:avLst/>
              <a:gdLst>
                <a:gd name="connsiteX0" fmla="*/ 45649 w 84971"/>
                <a:gd name="connsiteY0" fmla="*/ 15923 h 84971"/>
                <a:gd name="connsiteX1" fmla="*/ 71140 w 84971"/>
                <a:gd name="connsiteY1" fmla="*/ 45663 h 84971"/>
                <a:gd name="connsiteX2" fmla="*/ 41400 w 84971"/>
                <a:gd name="connsiteY2" fmla="*/ 71154 h 84971"/>
                <a:gd name="connsiteX3" fmla="*/ 15909 w 84971"/>
                <a:gd name="connsiteY3" fmla="*/ 41414 h 84971"/>
                <a:gd name="connsiteX4" fmla="*/ 45649 w 84971"/>
                <a:gd name="connsiteY4" fmla="*/ 15923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9" y="15923"/>
                  </a:moveTo>
                  <a:cubicBezTo>
                    <a:pt x="61226" y="17339"/>
                    <a:pt x="72556" y="30085"/>
                    <a:pt x="71140" y="45663"/>
                  </a:cubicBezTo>
                  <a:cubicBezTo>
                    <a:pt x="69724" y="61241"/>
                    <a:pt x="56978" y="72570"/>
                    <a:pt x="41400" y="71154"/>
                  </a:cubicBezTo>
                  <a:cubicBezTo>
                    <a:pt x="25822" y="69738"/>
                    <a:pt x="14492" y="56992"/>
                    <a:pt x="15909" y="41414"/>
                  </a:cubicBezTo>
                  <a:cubicBezTo>
                    <a:pt x="17325" y="24420"/>
                    <a:pt x="31487" y="14507"/>
                    <a:pt x="45649" y="1592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70" name="Freeform: Shape 2669">
              <a:extLst>
                <a:ext uri="{FF2B5EF4-FFF2-40B4-BE49-F238E27FC236}">
                  <a16:creationId xmlns:a16="http://schemas.microsoft.com/office/drawing/2014/main" id="{4A5463FA-C262-49DA-804A-0B4DD7DFB4FF}"/>
                </a:ext>
              </a:extLst>
            </p:cNvPr>
            <p:cNvSpPr/>
            <p:nvPr/>
          </p:nvSpPr>
          <p:spPr>
            <a:xfrm>
              <a:off x="6259948" y="5041711"/>
              <a:ext cx="84971" cy="84971"/>
            </a:xfrm>
            <a:custGeom>
              <a:avLst/>
              <a:gdLst>
                <a:gd name="connsiteX0" fmla="*/ 45648 w 84971"/>
                <a:gd name="connsiteY0" fmla="*/ 15909 h 84971"/>
                <a:gd name="connsiteX1" fmla="*/ 71140 w 84971"/>
                <a:gd name="connsiteY1" fmla="*/ 45649 h 84971"/>
                <a:gd name="connsiteX2" fmla="*/ 41400 w 84971"/>
                <a:gd name="connsiteY2" fmla="*/ 71140 h 84971"/>
                <a:gd name="connsiteX3" fmla="*/ 15909 w 84971"/>
                <a:gd name="connsiteY3" fmla="*/ 41400 h 84971"/>
                <a:gd name="connsiteX4" fmla="*/ 45648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8" y="15909"/>
                  </a:moveTo>
                  <a:cubicBezTo>
                    <a:pt x="61226" y="17325"/>
                    <a:pt x="72556" y="30070"/>
                    <a:pt x="71140" y="45649"/>
                  </a:cubicBezTo>
                  <a:cubicBezTo>
                    <a:pt x="69724" y="61227"/>
                    <a:pt x="56978" y="72556"/>
                    <a:pt x="41400" y="71140"/>
                  </a:cubicBezTo>
                  <a:cubicBezTo>
                    <a:pt x="25822" y="69724"/>
                    <a:pt x="14492" y="56978"/>
                    <a:pt x="15909" y="41400"/>
                  </a:cubicBezTo>
                  <a:cubicBezTo>
                    <a:pt x="15909" y="25822"/>
                    <a:pt x="30070" y="14492"/>
                    <a:pt x="45648" y="1590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71" name="Freeform: Shape 2670">
              <a:extLst>
                <a:ext uri="{FF2B5EF4-FFF2-40B4-BE49-F238E27FC236}">
                  <a16:creationId xmlns:a16="http://schemas.microsoft.com/office/drawing/2014/main" id="{F098095B-FCEA-441D-B435-05A6B93D9DDD}"/>
                </a:ext>
              </a:extLst>
            </p:cNvPr>
            <p:cNvSpPr/>
            <p:nvPr/>
          </p:nvSpPr>
          <p:spPr>
            <a:xfrm>
              <a:off x="6762815" y="5012090"/>
              <a:ext cx="42486" cy="42486"/>
            </a:xfrm>
            <a:custGeom>
              <a:avLst/>
              <a:gdLst>
                <a:gd name="connsiteX0" fmla="*/ 27118 w 42485"/>
                <a:gd name="connsiteY0" fmla="*/ 15789 h 42485"/>
                <a:gd name="connsiteX1" fmla="*/ 37032 w 42485"/>
                <a:gd name="connsiteY1" fmla="*/ 27119 h 42485"/>
                <a:gd name="connsiteX2" fmla="*/ 25702 w 42485"/>
                <a:gd name="connsiteY2" fmla="*/ 37032 h 42485"/>
                <a:gd name="connsiteX3" fmla="*/ 15789 w 42485"/>
                <a:gd name="connsiteY3" fmla="*/ 25703 h 42485"/>
                <a:gd name="connsiteX4" fmla="*/ 2711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5789"/>
                  </a:moveTo>
                  <a:cubicBezTo>
                    <a:pt x="32783" y="15789"/>
                    <a:pt x="37032" y="21454"/>
                    <a:pt x="37032" y="27119"/>
                  </a:cubicBezTo>
                  <a:cubicBezTo>
                    <a:pt x="37032" y="32783"/>
                    <a:pt x="31367" y="37032"/>
                    <a:pt x="25702" y="37032"/>
                  </a:cubicBezTo>
                  <a:cubicBezTo>
                    <a:pt x="20037" y="37032"/>
                    <a:pt x="15789" y="31367"/>
                    <a:pt x="15789" y="25703"/>
                  </a:cubicBezTo>
                  <a:cubicBezTo>
                    <a:pt x="15789" y="20038"/>
                    <a:pt x="20037" y="15789"/>
                    <a:pt x="27118"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72" name="Freeform: Shape 2671">
              <a:extLst>
                <a:ext uri="{FF2B5EF4-FFF2-40B4-BE49-F238E27FC236}">
                  <a16:creationId xmlns:a16="http://schemas.microsoft.com/office/drawing/2014/main" id="{CF42C029-5A57-4A0D-9183-C6573E47595A}"/>
                </a:ext>
              </a:extLst>
            </p:cNvPr>
            <p:cNvSpPr/>
            <p:nvPr/>
          </p:nvSpPr>
          <p:spPr>
            <a:xfrm>
              <a:off x="7242750" y="4622484"/>
              <a:ext cx="70810" cy="70810"/>
            </a:xfrm>
            <a:custGeom>
              <a:avLst/>
              <a:gdLst>
                <a:gd name="connsiteX0" fmla="*/ 40018 w 70809"/>
                <a:gd name="connsiteY0" fmla="*/ 15943 h 70809"/>
                <a:gd name="connsiteX1" fmla="*/ 59845 w 70809"/>
                <a:gd name="connsiteY1" fmla="*/ 40018 h 70809"/>
                <a:gd name="connsiteX2" fmla="*/ 35769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3"/>
                    <a:pt x="59845" y="40018"/>
                  </a:cubicBezTo>
                  <a:cubicBezTo>
                    <a:pt x="58429" y="52764"/>
                    <a:pt x="48515" y="61261"/>
                    <a:pt x="35769" y="59845"/>
                  </a:cubicBezTo>
                  <a:cubicBezTo>
                    <a:pt x="23024" y="58429"/>
                    <a:pt x="14527" y="48516"/>
                    <a:pt x="15943" y="35769"/>
                  </a:cubicBezTo>
                  <a:cubicBezTo>
                    <a:pt x="17359" y="23024"/>
                    <a:pt x="28689" y="14527"/>
                    <a:pt x="40018" y="1594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73" name="Freeform: Shape 2672">
              <a:extLst>
                <a:ext uri="{FF2B5EF4-FFF2-40B4-BE49-F238E27FC236}">
                  <a16:creationId xmlns:a16="http://schemas.microsoft.com/office/drawing/2014/main" id="{6D1D1F46-7CFC-406D-9648-C8C983D87323}"/>
                </a:ext>
              </a:extLst>
            </p:cNvPr>
            <p:cNvSpPr/>
            <p:nvPr/>
          </p:nvSpPr>
          <p:spPr>
            <a:xfrm>
              <a:off x="7089955" y="4949507"/>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4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5"/>
                    <a:pt x="31367" y="37303"/>
                    <a:pt x="25703" y="37303"/>
                  </a:cubicBezTo>
                  <a:cubicBezTo>
                    <a:pt x="20038" y="37303"/>
                    <a:pt x="15789" y="31639"/>
                    <a:pt x="15789" y="25974"/>
                  </a:cubicBezTo>
                  <a:cubicBezTo>
                    <a:pt x="15789" y="18893"/>
                    <a:pt x="21454" y="14644"/>
                    <a:pt x="27119" y="1606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74" name="Freeform: Shape 2673">
              <a:extLst>
                <a:ext uri="{FF2B5EF4-FFF2-40B4-BE49-F238E27FC236}">
                  <a16:creationId xmlns:a16="http://schemas.microsoft.com/office/drawing/2014/main" id="{C01E6685-A893-4D52-B301-27F8984E2C86}"/>
                </a:ext>
              </a:extLst>
            </p:cNvPr>
            <p:cNvSpPr/>
            <p:nvPr/>
          </p:nvSpPr>
          <p:spPr>
            <a:xfrm>
              <a:off x="7220245" y="4841876"/>
              <a:ext cx="42486" cy="42486"/>
            </a:xfrm>
            <a:custGeom>
              <a:avLst/>
              <a:gdLst>
                <a:gd name="connsiteX0" fmla="*/ 27118 w 42485"/>
                <a:gd name="connsiteY0" fmla="*/ 16060 h 42485"/>
                <a:gd name="connsiteX1" fmla="*/ 37032 w 42485"/>
                <a:gd name="connsiteY1" fmla="*/ 27390 h 42485"/>
                <a:gd name="connsiteX2" fmla="*/ 25703 w 42485"/>
                <a:gd name="connsiteY2" fmla="*/ 37303 h 42485"/>
                <a:gd name="connsiteX3" fmla="*/ 15789 w 42485"/>
                <a:gd name="connsiteY3" fmla="*/ 25974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5"/>
                    <a:pt x="31367" y="37303"/>
                    <a:pt x="25703" y="37303"/>
                  </a:cubicBezTo>
                  <a:cubicBezTo>
                    <a:pt x="20037" y="37303"/>
                    <a:pt x="15789" y="31639"/>
                    <a:pt x="15789" y="25974"/>
                  </a:cubicBezTo>
                  <a:cubicBezTo>
                    <a:pt x="15789" y="18893"/>
                    <a:pt x="21454" y="14644"/>
                    <a:pt x="27118" y="1606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75" name="Freeform: Shape 2674">
              <a:extLst>
                <a:ext uri="{FF2B5EF4-FFF2-40B4-BE49-F238E27FC236}">
                  <a16:creationId xmlns:a16="http://schemas.microsoft.com/office/drawing/2014/main" id="{1E8D6866-241D-4E6F-82D7-D07556F906D3}"/>
                </a:ext>
              </a:extLst>
            </p:cNvPr>
            <p:cNvSpPr/>
            <p:nvPr/>
          </p:nvSpPr>
          <p:spPr>
            <a:xfrm>
              <a:off x="7136535" y="4742859"/>
              <a:ext cx="56648" cy="56648"/>
            </a:xfrm>
            <a:custGeom>
              <a:avLst/>
              <a:gdLst>
                <a:gd name="connsiteX0" fmla="*/ 35771 w 56647"/>
                <a:gd name="connsiteY0" fmla="*/ 15944 h 56647"/>
                <a:gd name="connsiteX1" fmla="*/ 52765 w 56647"/>
                <a:gd name="connsiteY1" fmla="*/ 35771 h 56647"/>
                <a:gd name="connsiteX2" fmla="*/ 32938 w 56647"/>
                <a:gd name="connsiteY2" fmla="*/ 52765 h 56647"/>
                <a:gd name="connsiteX3" fmla="*/ 15944 w 56647"/>
                <a:gd name="connsiteY3" fmla="*/ 32938 h 56647"/>
                <a:gd name="connsiteX4" fmla="*/ 35771 w 56647"/>
                <a:gd name="connsiteY4" fmla="*/ 1594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44"/>
                  </a:moveTo>
                  <a:cubicBezTo>
                    <a:pt x="45684" y="17360"/>
                    <a:pt x="54181" y="25858"/>
                    <a:pt x="52765" y="35771"/>
                  </a:cubicBezTo>
                  <a:cubicBezTo>
                    <a:pt x="51349" y="45684"/>
                    <a:pt x="42852" y="54181"/>
                    <a:pt x="32938" y="52765"/>
                  </a:cubicBezTo>
                  <a:cubicBezTo>
                    <a:pt x="23025" y="51349"/>
                    <a:pt x="14528" y="42852"/>
                    <a:pt x="15944" y="32938"/>
                  </a:cubicBezTo>
                  <a:cubicBezTo>
                    <a:pt x="15944" y="23025"/>
                    <a:pt x="25857" y="14528"/>
                    <a:pt x="35771" y="15944"/>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76" name="Freeform: Shape 2675">
              <a:extLst>
                <a:ext uri="{FF2B5EF4-FFF2-40B4-BE49-F238E27FC236}">
                  <a16:creationId xmlns:a16="http://schemas.microsoft.com/office/drawing/2014/main" id="{B0C45CC1-5709-41C6-B1C6-77120A399F24}"/>
                </a:ext>
              </a:extLst>
            </p:cNvPr>
            <p:cNvSpPr/>
            <p:nvPr/>
          </p:nvSpPr>
          <p:spPr>
            <a:xfrm>
              <a:off x="7152113" y="5006246"/>
              <a:ext cx="56648" cy="56648"/>
            </a:xfrm>
            <a:custGeom>
              <a:avLst/>
              <a:gdLst>
                <a:gd name="connsiteX0" fmla="*/ 35771 w 56647"/>
                <a:gd name="connsiteY0" fmla="*/ 15969 h 56647"/>
                <a:gd name="connsiteX1" fmla="*/ 52765 w 56647"/>
                <a:gd name="connsiteY1" fmla="*/ 35795 h 56647"/>
                <a:gd name="connsiteX2" fmla="*/ 32938 w 56647"/>
                <a:gd name="connsiteY2" fmla="*/ 52790 h 56647"/>
                <a:gd name="connsiteX3" fmla="*/ 15944 w 56647"/>
                <a:gd name="connsiteY3" fmla="*/ 32963 h 56647"/>
                <a:gd name="connsiteX4" fmla="*/ 35771 w 56647"/>
                <a:gd name="connsiteY4" fmla="*/ 1596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69"/>
                  </a:moveTo>
                  <a:cubicBezTo>
                    <a:pt x="45684" y="17385"/>
                    <a:pt x="54181" y="25882"/>
                    <a:pt x="52765" y="35795"/>
                  </a:cubicBezTo>
                  <a:cubicBezTo>
                    <a:pt x="51349" y="45709"/>
                    <a:pt x="42852" y="54206"/>
                    <a:pt x="32938" y="52790"/>
                  </a:cubicBezTo>
                  <a:cubicBezTo>
                    <a:pt x="23025" y="51373"/>
                    <a:pt x="14528" y="42876"/>
                    <a:pt x="15944" y="32963"/>
                  </a:cubicBezTo>
                  <a:cubicBezTo>
                    <a:pt x="15944" y="21633"/>
                    <a:pt x="25857" y="14552"/>
                    <a:pt x="35771" y="1596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77" name="Freeform: Shape 2676">
              <a:extLst>
                <a:ext uri="{FF2B5EF4-FFF2-40B4-BE49-F238E27FC236}">
                  <a16:creationId xmlns:a16="http://schemas.microsoft.com/office/drawing/2014/main" id="{58F7354C-7BC8-41B3-A0CF-22BBB450224B}"/>
                </a:ext>
              </a:extLst>
            </p:cNvPr>
            <p:cNvSpPr/>
            <p:nvPr/>
          </p:nvSpPr>
          <p:spPr>
            <a:xfrm>
              <a:off x="7128193" y="4944113"/>
              <a:ext cx="56648" cy="56648"/>
            </a:xfrm>
            <a:custGeom>
              <a:avLst/>
              <a:gdLst>
                <a:gd name="connsiteX0" fmla="*/ 31367 w 56647"/>
                <a:gd name="connsiteY0" fmla="*/ 15789 h 56647"/>
                <a:gd name="connsiteX1" fmla="*/ 44113 w 56647"/>
                <a:gd name="connsiteY1" fmla="*/ 31367 h 56647"/>
                <a:gd name="connsiteX2" fmla="*/ 28535 w 56647"/>
                <a:gd name="connsiteY2" fmla="*/ 44113 h 56647"/>
                <a:gd name="connsiteX3" fmla="*/ 15789 w 56647"/>
                <a:gd name="connsiteY3" fmla="*/ 28535 h 56647"/>
                <a:gd name="connsiteX4" fmla="*/ 31367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5789"/>
                  </a:moveTo>
                  <a:cubicBezTo>
                    <a:pt x="38448" y="15789"/>
                    <a:pt x="44113" y="22870"/>
                    <a:pt x="44113" y="31367"/>
                  </a:cubicBezTo>
                  <a:cubicBezTo>
                    <a:pt x="42697" y="38448"/>
                    <a:pt x="37032" y="44113"/>
                    <a:pt x="28535" y="44113"/>
                  </a:cubicBezTo>
                  <a:cubicBezTo>
                    <a:pt x="21454" y="44113"/>
                    <a:pt x="15789" y="37032"/>
                    <a:pt x="15789" y="28535"/>
                  </a:cubicBezTo>
                  <a:cubicBezTo>
                    <a:pt x="17205" y="21454"/>
                    <a:pt x="24286" y="15789"/>
                    <a:pt x="31367"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78" name="Freeform: Shape 2677">
              <a:extLst>
                <a:ext uri="{FF2B5EF4-FFF2-40B4-BE49-F238E27FC236}">
                  <a16:creationId xmlns:a16="http://schemas.microsoft.com/office/drawing/2014/main" id="{B55D4CF8-36F2-4183-BFB9-96E010F72DFD}"/>
                </a:ext>
              </a:extLst>
            </p:cNvPr>
            <p:cNvSpPr/>
            <p:nvPr/>
          </p:nvSpPr>
          <p:spPr>
            <a:xfrm>
              <a:off x="5903187" y="4016237"/>
              <a:ext cx="42486" cy="42486"/>
            </a:xfrm>
            <a:custGeom>
              <a:avLst/>
              <a:gdLst>
                <a:gd name="connsiteX0" fmla="*/ 27118 w 42485"/>
                <a:gd name="connsiteY0" fmla="*/ 16060 h 42485"/>
                <a:gd name="connsiteX1" fmla="*/ 37032 w 42485"/>
                <a:gd name="connsiteY1" fmla="*/ 27390 h 42485"/>
                <a:gd name="connsiteX2" fmla="*/ 25703 w 42485"/>
                <a:gd name="connsiteY2" fmla="*/ 37303 h 42485"/>
                <a:gd name="connsiteX3" fmla="*/ 15789 w 42485"/>
                <a:gd name="connsiteY3" fmla="*/ 25973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4"/>
                    <a:pt x="31367" y="37303"/>
                    <a:pt x="25703" y="37303"/>
                  </a:cubicBezTo>
                  <a:cubicBezTo>
                    <a:pt x="20037" y="37303"/>
                    <a:pt x="15789" y="31639"/>
                    <a:pt x="15789" y="25973"/>
                  </a:cubicBezTo>
                  <a:cubicBezTo>
                    <a:pt x="17205" y="18893"/>
                    <a:pt x="21454" y="14644"/>
                    <a:pt x="27118" y="1606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79" name="Freeform: Shape 2678">
              <a:extLst>
                <a:ext uri="{FF2B5EF4-FFF2-40B4-BE49-F238E27FC236}">
                  <a16:creationId xmlns:a16="http://schemas.microsoft.com/office/drawing/2014/main" id="{48CE392B-46D7-43D0-BF1D-BDA63BFBA0AD}"/>
                </a:ext>
              </a:extLst>
            </p:cNvPr>
            <p:cNvSpPr/>
            <p:nvPr/>
          </p:nvSpPr>
          <p:spPr>
            <a:xfrm>
              <a:off x="7244320" y="3989601"/>
              <a:ext cx="42486" cy="42486"/>
            </a:xfrm>
            <a:custGeom>
              <a:avLst/>
              <a:gdLst>
                <a:gd name="connsiteX0" fmla="*/ 27118 w 42485"/>
                <a:gd name="connsiteY0" fmla="*/ 15789 h 42485"/>
                <a:gd name="connsiteX1" fmla="*/ 37032 w 42485"/>
                <a:gd name="connsiteY1" fmla="*/ 27118 h 42485"/>
                <a:gd name="connsiteX2" fmla="*/ 25702 w 42485"/>
                <a:gd name="connsiteY2" fmla="*/ 37032 h 42485"/>
                <a:gd name="connsiteX3" fmla="*/ 15789 w 42485"/>
                <a:gd name="connsiteY3" fmla="*/ 25702 h 42485"/>
                <a:gd name="connsiteX4" fmla="*/ 2711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5789"/>
                  </a:moveTo>
                  <a:cubicBezTo>
                    <a:pt x="32783" y="15789"/>
                    <a:pt x="37032" y="21454"/>
                    <a:pt x="37032" y="27118"/>
                  </a:cubicBezTo>
                  <a:cubicBezTo>
                    <a:pt x="37032" y="32783"/>
                    <a:pt x="31367" y="37032"/>
                    <a:pt x="25702" y="37032"/>
                  </a:cubicBezTo>
                  <a:cubicBezTo>
                    <a:pt x="20037" y="37032"/>
                    <a:pt x="15789" y="31367"/>
                    <a:pt x="15789" y="25702"/>
                  </a:cubicBezTo>
                  <a:cubicBezTo>
                    <a:pt x="17205" y="20037"/>
                    <a:pt x="21454" y="15789"/>
                    <a:pt x="27118"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80" name="Freeform: Shape 2679">
              <a:extLst>
                <a:ext uri="{FF2B5EF4-FFF2-40B4-BE49-F238E27FC236}">
                  <a16:creationId xmlns:a16="http://schemas.microsoft.com/office/drawing/2014/main" id="{5FE2F8A8-DB8B-4140-8769-C0C1850A6376}"/>
                </a:ext>
              </a:extLst>
            </p:cNvPr>
            <p:cNvSpPr/>
            <p:nvPr/>
          </p:nvSpPr>
          <p:spPr>
            <a:xfrm>
              <a:off x="7098453" y="3829571"/>
              <a:ext cx="42486" cy="42486"/>
            </a:xfrm>
            <a:custGeom>
              <a:avLst/>
              <a:gdLst>
                <a:gd name="connsiteX0" fmla="*/ 27119 w 42485"/>
                <a:gd name="connsiteY0" fmla="*/ 15789 h 42485"/>
                <a:gd name="connsiteX1" fmla="*/ 37032 w 42485"/>
                <a:gd name="connsiteY1" fmla="*/ 27119 h 42485"/>
                <a:gd name="connsiteX2" fmla="*/ 25703 w 42485"/>
                <a:gd name="connsiteY2" fmla="*/ 37032 h 42485"/>
                <a:gd name="connsiteX3" fmla="*/ 15789 w 42485"/>
                <a:gd name="connsiteY3" fmla="*/ 25703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9"/>
                  </a:cubicBezTo>
                  <a:cubicBezTo>
                    <a:pt x="37032" y="32783"/>
                    <a:pt x="31367" y="37032"/>
                    <a:pt x="25703" y="37032"/>
                  </a:cubicBezTo>
                  <a:cubicBezTo>
                    <a:pt x="20038" y="37032"/>
                    <a:pt x="15789" y="31367"/>
                    <a:pt x="15789" y="25703"/>
                  </a:cubicBezTo>
                  <a:cubicBezTo>
                    <a:pt x="15789" y="20038"/>
                    <a:pt x="21454" y="15789"/>
                    <a:pt x="27119"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81" name="Freeform: Shape 2680">
              <a:extLst>
                <a:ext uri="{FF2B5EF4-FFF2-40B4-BE49-F238E27FC236}">
                  <a16:creationId xmlns:a16="http://schemas.microsoft.com/office/drawing/2014/main" id="{AB5BE16F-C8DD-497E-8F7D-AD53AFD8068D}"/>
                </a:ext>
              </a:extLst>
            </p:cNvPr>
            <p:cNvSpPr/>
            <p:nvPr/>
          </p:nvSpPr>
          <p:spPr>
            <a:xfrm>
              <a:off x="7288068" y="3771353"/>
              <a:ext cx="70810" cy="70810"/>
            </a:xfrm>
            <a:custGeom>
              <a:avLst/>
              <a:gdLst>
                <a:gd name="connsiteX0" fmla="*/ 40018 w 70809"/>
                <a:gd name="connsiteY0" fmla="*/ 15943 h 70809"/>
                <a:gd name="connsiteX1" fmla="*/ 59845 w 70809"/>
                <a:gd name="connsiteY1" fmla="*/ 40018 h 70809"/>
                <a:gd name="connsiteX2" fmla="*/ 35770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2"/>
                    <a:pt x="59845" y="40018"/>
                  </a:cubicBezTo>
                  <a:cubicBezTo>
                    <a:pt x="58429" y="52764"/>
                    <a:pt x="48515" y="61261"/>
                    <a:pt x="35770" y="59845"/>
                  </a:cubicBezTo>
                  <a:cubicBezTo>
                    <a:pt x="23024" y="58429"/>
                    <a:pt x="14527" y="48515"/>
                    <a:pt x="15943" y="35769"/>
                  </a:cubicBezTo>
                  <a:cubicBezTo>
                    <a:pt x="17359" y="23024"/>
                    <a:pt x="28689" y="14527"/>
                    <a:pt x="40018" y="1594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82" name="Freeform: Shape 2681">
              <a:extLst>
                <a:ext uri="{FF2B5EF4-FFF2-40B4-BE49-F238E27FC236}">
                  <a16:creationId xmlns:a16="http://schemas.microsoft.com/office/drawing/2014/main" id="{CD77AACF-32C5-48BE-A9C7-660DABB630EE}"/>
                </a:ext>
              </a:extLst>
            </p:cNvPr>
            <p:cNvSpPr/>
            <p:nvPr/>
          </p:nvSpPr>
          <p:spPr>
            <a:xfrm>
              <a:off x="7180411" y="4084305"/>
              <a:ext cx="56648" cy="56648"/>
            </a:xfrm>
            <a:custGeom>
              <a:avLst/>
              <a:gdLst>
                <a:gd name="connsiteX0" fmla="*/ 34380 w 56647"/>
                <a:gd name="connsiteY0" fmla="*/ 15969 h 56647"/>
                <a:gd name="connsiteX1" fmla="*/ 49958 w 56647"/>
                <a:gd name="connsiteY1" fmla="*/ 34380 h 56647"/>
                <a:gd name="connsiteX2" fmla="*/ 31547 w 56647"/>
                <a:gd name="connsiteY2" fmla="*/ 49958 h 56647"/>
                <a:gd name="connsiteX3" fmla="*/ 15969 w 56647"/>
                <a:gd name="connsiteY3" fmla="*/ 31548 h 56647"/>
                <a:gd name="connsiteX4" fmla="*/ 34380 w 56647"/>
                <a:gd name="connsiteY4" fmla="*/ 1596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380" y="15969"/>
                  </a:moveTo>
                  <a:cubicBezTo>
                    <a:pt x="44293" y="17386"/>
                    <a:pt x="51374" y="25883"/>
                    <a:pt x="49958" y="34380"/>
                  </a:cubicBezTo>
                  <a:cubicBezTo>
                    <a:pt x="48542" y="44293"/>
                    <a:pt x="40044" y="51374"/>
                    <a:pt x="31547" y="49958"/>
                  </a:cubicBezTo>
                  <a:cubicBezTo>
                    <a:pt x="21634" y="48542"/>
                    <a:pt x="14553" y="40045"/>
                    <a:pt x="15969" y="31548"/>
                  </a:cubicBezTo>
                  <a:cubicBezTo>
                    <a:pt x="15969" y="21634"/>
                    <a:pt x="24466" y="14553"/>
                    <a:pt x="34380" y="1596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83" name="Freeform: Shape 2682">
              <a:extLst>
                <a:ext uri="{FF2B5EF4-FFF2-40B4-BE49-F238E27FC236}">
                  <a16:creationId xmlns:a16="http://schemas.microsoft.com/office/drawing/2014/main" id="{67339E44-3222-4364-9328-F96059161C08}"/>
                </a:ext>
              </a:extLst>
            </p:cNvPr>
            <p:cNvSpPr/>
            <p:nvPr/>
          </p:nvSpPr>
          <p:spPr>
            <a:xfrm>
              <a:off x="6952368" y="4312492"/>
              <a:ext cx="56648" cy="56648"/>
            </a:xfrm>
            <a:custGeom>
              <a:avLst/>
              <a:gdLst>
                <a:gd name="connsiteX0" fmla="*/ 31584 w 56647"/>
                <a:gd name="connsiteY0" fmla="*/ 15789 h 56647"/>
                <a:gd name="connsiteX1" fmla="*/ 44330 w 56647"/>
                <a:gd name="connsiteY1" fmla="*/ 31367 h 56647"/>
                <a:gd name="connsiteX2" fmla="*/ 28752 w 56647"/>
                <a:gd name="connsiteY2" fmla="*/ 44113 h 56647"/>
                <a:gd name="connsiteX3" fmla="*/ 16006 w 56647"/>
                <a:gd name="connsiteY3" fmla="*/ 28535 h 56647"/>
                <a:gd name="connsiteX4" fmla="*/ 31584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584" y="15789"/>
                  </a:moveTo>
                  <a:cubicBezTo>
                    <a:pt x="40081" y="17205"/>
                    <a:pt x="45746" y="24286"/>
                    <a:pt x="44330" y="31367"/>
                  </a:cubicBezTo>
                  <a:cubicBezTo>
                    <a:pt x="42913" y="39864"/>
                    <a:pt x="35833" y="45529"/>
                    <a:pt x="28752" y="44113"/>
                  </a:cubicBezTo>
                  <a:cubicBezTo>
                    <a:pt x="20254" y="42697"/>
                    <a:pt x="14590" y="35616"/>
                    <a:pt x="16006" y="28535"/>
                  </a:cubicBezTo>
                  <a:cubicBezTo>
                    <a:pt x="16006" y="21454"/>
                    <a:pt x="24503" y="15789"/>
                    <a:pt x="31584" y="1578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84" name="Freeform: Shape 2683">
              <a:extLst>
                <a:ext uri="{FF2B5EF4-FFF2-40B4-BE49-F238E27FC236}">
                  <a16:creationId xmlns:a16="http://schemas.microsoft.com/office/drawing/2014/main" id="{405967CC-8443-4474-88A9-53CDAF3EE170}"/>
                </a:ext>
              </a:extLst>
            </p:cNvPr>
            <p:cNvSpPr/>
            <p:nvPr/>
          </p:nvSpPr>
          <p:spPr>
            <a:xfrm>
              <a:off x="7419928" y="1127479"/>
              <a:ext cx="70810" cy="70810"/>
            </a:xfrm>
            <a:custGeom>
              <a:avLst/>
              <a:gdLst>
                <a:gd name="connsiteX0" fmla="*/ 39864 w 70809"/>
                <a:gd name="connsiteY0" fmla="*/ 63940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4026" y="63940"/>
                    <a:pt x="63939" y="52610"/>
                    <a:pt x="63939" y="39864"/>
                  </a:cubicBezTo>
                  <a:cubicBezTo>
                    <a:pt x="63939" y="25702"/>
                    <a:pt x="52610" y="15789"/>
                    <a:pt x="39864" y="15789"/>
                  </a:cubicBezTo>
                  <a:cubicBezTo>
                    <a:pt x="25702" y="15789"/>
                    <a:pt x="15789" y="27119"/>
                    <a:pt x="15789" y="39864"/>
                  </a:cubicBezTo>
                  <a:cubicBezTo>
                    <a:pt x="15789" y="52610"/>
                    <a:pt x="27118" y="63940"/>
                    <a:pt x="39864" y="6394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85" name="Freeform: Shape 2684">
              <a:extLst>
                <a:ext uri="{FF2B5EF4-FFF2-40B4-BE49-F238E27FC236}">
                  <a16:creationId xmlns:a16="http://schemas.microsoft.com/office/drawing/2014/main" id="{42644D97-64DE-42C1-9B38-42B72B4645FA}"/>
                </a:ext>
              </a:extLst>
            </p:cNvPr>
            <p:cNvSpPr/>
            <p:nvPr/>
          </p:nvSpPr>
          <p:spPr>
            <a:xfrm>
              <a:off x="10105027" y="4808159"/>
              <a:ext cx="42486" cy="42486"/>
            </a:xfrm>
            <a:custGeom>
              <a:avLst/>
              <a:gdLst>
                <a:gd name="connsiteX0" fmla="*/ 25703 w 42485"/>
                <a:gd name="connsiteY0" fmla="*/ 35616 h 42485"/>
                <a:gd name="connsiteX1" fmla="*/ 35615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5" y="31367"/>
                    <a:pt x="35615" y="25703"/>
                  </a:cubicBezTo>
                  <a:cubicBezTo>
                    <a:pt x="35615" y="20037"/>
                    <a:pt x="31367" y="15789"/>
                    <a:pt x="25703" y="15789"/>
                  </a:cubicBezTo>
                  <a:cubicBezTo>
                    <a:pt x="20037" y="15789"/>
                    <a:pt x="15789" y="20037"/>
                    <a:pt x="15789" y="25703"/>
                  </a:cubicBezTo>
                  <a:cubicBezTo>
                    <a:pt x="15789" y="31367"/>
                    <a:pt x="20037" y="35616"/>
                    <a:pt x="25703" y="3561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86" name="Freeform: Shape 2685">
              <a:extLst>
                <a:ext uri="{FF2B5EF4-FFF2-40B4-BE49-F238E27FC236}">
                  <a16:creationId xmlns:a16="http://schemas.microsoft.com/office/drawing/2014/main" id="{D5157C2A-8EE3-4FD5-9CFC-73397D86FF1E}"/>
                </a:ext>
              </a:extLst>
            </p:cNvPr>
            <p:cNvSpPr/>
            <p:nvPr/>
          </p:nvSpPr>
          <p:spPr>
            <a:xfrm>
              <a:off x="7919649" y="1937568"/>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87" name="Freeform: Shape 2686">
              <a:extLst>
                <a:ext uri="{FF2B5EF4-FFF2-40B4-BE49-F238E27FC236}">
                  <a16:creationId xmlns:a16="http://schemas.microsoft.com/office/drawing/2014/main" id="{528693EB-2B8A-425D-996A-3A2496519F77}"/>
                </a:ext>
              </a:extLst>
            </p:cNvPr>
            <p:cNvSpPr/>
            <p:nvPr/>
          </p:nvSpPr>
          <p:spPr>
            <a:xfrm>
              <a:off x="7857955" y="2246037"/>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88" name="Freeform: Shape 2687">
              <a:extLst>
                <a:ext uri="{FF2B5EF4-FFF2-40B4-BE49-F238E27FC236}">
                  <a16:creationId xmlns:a16="http://schemas.microsoft.com/office/drawing/2014/main" id="{613C8461-7CBF-47C5-9988-B7F7E2B0DAA2}"/>
                </a:ext>
              </a:extLst>
            </p:cNvPr>
            <p:cNvSpPr/>
            <p:nvPr/>
          </p:nvSpPr>
          <p:spPr>
            <a:xfrm>
              <a:off x="7027463" y="1996889"/>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89" name="Freeform: Shape 2688">
              <a:extLst>
                <a:ext uri="{FF2B5EF4-FFF2-40B4-BE49-F238E27FC236}">
                  <a16:creationId xmlns:a16="http://schemas.microsoft.com/office/drawing/2014/main" id="{641FBA08-70F0-4800-967A-AB812A7B352C}"/>
                </a:ext>
              </a:extLst>
            </p:cNvPr>
            <p:cNvSpPr/>
            <p:nvPr/>
          </p:nvSpPr>
          <p:spPr>
            <a:xfrm>
              <a:off x="7478301" y="1005043"/>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90" name="Freeform: Shape 2689">
              <a:extLst>
                <a:ext uri="{FF2B5EF4-FFF2-40B4-BE49-F238E27FC236}">
                  <a16:creationId xmlns:a16="http://schemas.microsoft.com/office/drawing/2014/main" id="{41D3A057-EF59-45A1-A73B-58D237A1B2B5}"/>
                </a:ext>
              </a:extLst>
            </p:cNvPr>
            <p:cNvSpPr/>
            <p:nvPr/>
          </p:nvSpPr>
          <p:spPr>
            <a:xfrm>
              <a:off x="6614588" y="1311138"/>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91" name="Freeform: Shape 2690">
              <a:extLst>
                <a:ext uri="{FF2B5EF4-FFF2-40B4-BE49-F238E27FC236}">
                  <a16:creationId xmlns:a16="http://schemas.microsoft.com/office/drawing/2014/main" id="{FF691C02-616D-4F90-9517-8CB56A8E5CAB}"/>
                </a:ext>
              </a:extLst>
            </p:cNvPr>
            <p:cNvSpPr/>
            <p:nvPr/>
          </p:nvSpPr>
          <p:spPr>
            <a:xfrm>
              <a:off x="7416608" y="2696876"/>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92" name="Freeform: Shape 2691">
              <a:extLst>
                <a:ext uri="{FF2B5EF4-FFF2-40B4-BE49-F238E27FC236}">
                  <a16:creationId xmlns:a16="http://schemas.microsoft.com/office/drawing/2014/main" id="{9F4D736F-C8AA-42D7-8D10-C9855EDA3CB7}"/>
                </a:ext>
              </a:extLst>
            </p:cNvPr>
            <p:cNvSpPr/>
            <p:nvPr/>
          </p:nvSpPr>
          <p:spPr>
            <a:xfrm>
              <a:off x="9414537" y="1194870"/>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93" name="Freeform: Shape 2692">
              <a:extLst>
                <a:ext uri="{FF2B5EF4-FFF2-40B4-BE49-F238E27FC236}">
                  <a16:creationId xmlns:a16="http://schemas.microsoft.com/office/drawing/2014/main" id="{7AFF7B06-D6FE-44C2-824D-BD58D0DFA5CA}"/>
                </a:ext>
              </a:extLst>
            </p:cNvPr>
            <p:cNvSpPr/>
            <p:nvPr/>
          </p:nvSpPr>
          <p:spPr>
            <a:xfrm>
              <a:off x="9889105" y="1681301"/>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94" name="Freeform: Shape 2693">
              <a:extLst>
                <a:ext uri="{FF2B5EF4-FFF2-40B4-BE49-F238E27FC236}">
                  <a16:creationId xmlns:a16="http://schemas.microsoft.com/office/drawing/2014/main" id="{AF0D3277-57F9-4A67-BA3C-A6B19564C948}"/>
                </a:ext>
              </a:extLst>
            </p:cNvPr>
            <p:cNvSpPr/>
            <p:nvPr/>
          </p:nvSpPr>
          <p:spPr>
            <a:xfrm>
              <a:off x="10268758" y="1643338"/>
              <a:ext cx="126815" cy="126813"/>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95" name="Freeform: Shape 2694">
              <a:extLst>
                <a:ext uri="{FF2B5EF4-FFF2-40B4-BE49-F238E27FC236}">
                  <a16:creationId xmlns:a16="http://schemas.microsoft.com/office/drawing/2014/main" id="{03EBDA81-D327-499E-9533-2D0BFEE1C891}"/>
                </a:ext>
              </a:extLst>
            </p:cNvPr>
            <p:cNvSpPr/>
            <p:nvPr/>
          </p:nvSpPr>
          <p:spPr>
            <a:xfrm>
              <a:off x="9414536" y="2091804"/>
              <a:ext cx="126815" cy="126813"/>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96" name="Freeform: Shape 2695">
              <a:extLst>
                <a:ext uri="{FF2B5EF4-FFF2-40B4-BE49-F238E27FC236}">
                  <a16:creationId xmlns:a16="http://schemas.microsoft.com/office/drawing/2014/main" id="{700E83C3-45A9-4B58-9821-D5CEC940A268}"/>
                </a:ext>
              </a:extLst>
            </p:cNvPr>
            <p:cNvSpPr/>
            <p:nvPr/>
          </p:nvSpPr>
          <p:spPr>
            <a:xfrm>
              <a:off x="9267421" y="2893823"/>
              <a:ext cx="126815" cy="126813"/>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97" name="Freeform: Shape 2696">
              <a:extLst>
                <a:ext uri="{FF2B5EF4-FFF2-40B4-BE49-F238E27FC236}">
                  <a16:creationId xmlns:a16="http://schemas.microsoft.com/office/drawing/2014/main" id="{ADAA7C57-ABC0-47E0-B111-2D34F45C0256}"/>
                </a:ext>
              </a:extLst>
            </p:cNvPr>
            <p:cNvSpPr/>
            <p:nvPr/>
          </p:nvSpPr>
          <p:spPr>
            <a:xfrm>
              <a:off x="8726414" y="846063"/>
              <a:ext cx="126815" cy="126813"/>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98" name="Freeform: Shape 2697">
              <a:extLst>
                <a:ext uri="{FF2B5EF4-FFF2-40B4-BE49-F238E27FC236}">
                  <a16:creationId xmlns:a16="http://schemas.microsoft.com/office/drawing/2014/main" id="{B4D94A2C-560C-4C28-83B4-F6183A2BA255}"/>
                </a:ext>
              </a:extLst>
            </p:cNvPr>
            <p:cNvSpPr/>
            <p:nvPr/>
          </p:nvSpPr>
          <p:spPr>
            <a:xfrm>
              <a:off x="6154257" y="1480872"/>
              <a:ext cx="85217" cy="8521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699" name="Freeform: Shape 2698">
              <a:extLst>
                <a:ext uri="{FF2B5EF4-FFF2-40B4-BE49-F238E27FC236}">
                  <a16:creationId xmlns:a16="http://schemas.microsoft.com/office/drawing/2014/main" id="{7E4B5B9A-EA31-484D-B718-7579B59C1EA4}"/>
                </a:ext>
              </a:extLst>
            </p:cNvPr>
            <p:cNvSpPr/>
            <p:nvPr/>
          </p:nvSpPr>
          <p:spPr>
            <a:xfrm>
              <a:off x="7108139" y="2470346"/>
              <a:ext cx="75933" cy="7593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00" name="Freeform: Shape 2699">
              <a:extLst>
                <a:ext uri="{FF2B5EF4-FFF2-40B4-BE49-F238E27FC236}">
                  <a16:creationId xmlns:a16="http://schemas.microsoft.com/office/drawing/2014/main" id="{BB5267C2-AB05-4B44-A03B-432920084C55}"/>
                </a:ext>
              </a:extLst>
            </p:cNvPr>
            <p:cNvSpPr/>
            <p:nvPr/>
          </p:nvSpPr>
          <p:spPr>
            <a:xfrm>
              <a:off x="6866109" y="2809662"/>
              <a:ext cx="75933" cy="7593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01" name="Freeform: Shape 2700">
              <a:extLst>
                <a:ext uri="{FF2B5EF4-FFF2-40B4-BE49-F238E27FC236}">
                  <a16:creationId xmlns:a16="http://schemas.microsoft.com/office/drawing/2014/main" id="{5F2C01EB-2C90-4AF2-BCB8-D2EF189EE544}"/>
                </a:ext>
              </a:extLst>
            </p:cNvPr>
            <p:cNvSpPr/>
            <p:nvPr/>
          </p:nvSpPr>
          <p:spPr>
            <a:xfrm>
              <a:off x="6374932" y="2401534"/>
              <a:ext cx="75933" cy="7593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02" name="Freeform: Shape 2701">
              <a:extLst>
                <a:ext uri="{FF2B5EF4-FFF2-40B4-BE49-F238E27FC236}">
                  <a16:creationId xmlns:a16="http://schemas.microsoft.com/office/drawing/2014/main" id="{4D677518-631D-4774-91FA-04D46BE3B4D4}"/>
                </a:ext>
              </a:extLst>
            </p:cNvPr>
            <p:cNvSpPr/>
            <p:nvPr/>
          </p:nvSpPr>
          <p:spPr>
            <a:xfrm>
              <a:off x="5888499" y="2392043"/>
              <a:ext cx="75933" cy="7593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03" name="Freeform: Shape 2702">
              <a:extLst>
                <a:ext uri="{FF2B5EF4-FFF2-40B4-BE49-F238E27FC236}">
                  <a16:creationId xmlns:a16="http://schemas.microsoft.com/office/drawing/2014/main" id="{3934F235-B22D-44FE-AE7A-5365D7393364}"/>
                </a:ext>
              </a:extLst>
            </p:cNvPr>
            <p:cNvSpPr/>
            <p:nvPr/>
          </p:nvSpPr>
          <p:spPr>
            <a:xfrm>
              <a:off x="7233899" y="3208299"/>
              <a:ext cx="75933" cy="7593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04" name="Freeform: Shape 2703">
              <a:extLst>
                <a:ext uri="{FF2B5EF4-FFF2-40B4-BE49-F238E27FC236}">
                  <a16:creationId xmlns:a16="http://schemas.microsoft.com/office/drawing/2014/main" id="{2A896B39-1395-43EB-8E65-B582D588AF84}"/>
                </a:ext>
              </a:extLst>
            </p:cNvPr>
            <p:cNvSpPr/>
            <p:nvPr/>
          </p:nvSpPr>
          <p:spPr>
            <a:xfrm>
              <a:off x="9846383" y="2785362"/>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6685"/>
                    <a:pt x="95095" y="55442"/>
                  </a:cubicBezTo>
                  <a:cubicBezTo>
                    <a:pt x="95095" y="34199"/>
                    <a:pt x="76685" y="15789"/>
                    <a:pt x="55442" y="15789"/>
                  </a:cubicBezTo>
                  <a:cubicBezTo>
                    <a:pt x="34199" y="15789"/>
                    <a:pt x="15789" y="34199"/>
                    <a:pt x="15789" y="55442"/>
                  </a:cubicBezTo>
                  <a:cubicBezTo>
                    <a:pt x="15789" y="78101"/>
                    <a:pt x="34199" y="95096"/>
                    <a:pt x="55442" y="9509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05" name="Freeform: Shape 2704">
              <a:extLst>
                <a:ext uri="{FF2B5EF4-FFF2-40B4-BE49-F238E27FC236}">
                  <a16:creationId xmlns:a16="http://schemas.microsoft.com/office/drawing/2014/main" id="{3F4FD6C5-D375-415D-AC5E-C245975C84BB}"/>
                </a:ext>
              </a:extLst>
            </p:cNvPr>
            <p:cNvSpPr/>
            <p:nvPr/>
          </p:nvSpPr>
          <p:spPr>
            <a:xfrm>
              <a:off x="9208100" y="3303213"/>
              <a:ext cx="75933" cy="7593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06" name="Freeform: Shape 2705">
              <a:extLst>
                <a:ext uri="{FF2B5EF4-FFF2-40B4-BE49-F238E27FC236}">
                  <a16:creationId xmlns:a16="http://schemas.microsoft.com/office/drawing/2014/main" id="{2DD41953-5AA0-4CA8-94DC-EFE105407171}"/>
                </a:ext>
              </a:extLst>
            </p:cNvPr>
            <p:cNvSpPr/>
            <p:nvPr/>
          </p:nvSpPr>
          <p:spPr>
            <a:xfrm>
              <a:off x="10533462" y="1168977"/>
              <a:ext cx="111260" cy="111258"/>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07" name="Freeform: Shape 2706">
              <a:extLst>
                <a:ext uri="{FF2B5EF4-FFF2-40B4-BE49-F238E27FC236}">
                  <a16:creationId xmlns:a16="http://schemas.microsoft.com/office/drawing/2014/main" id="{C3CEB2B7-3617-43F1-A6E1-DF2047D1937E}"/>
                </a:ext>
              </a:extLst>
            </p:cNvPr>
            <p:cNvSpPr/>
            <p:nvPr/>
          </p:nvSpPr>
          <p:spPr>
            <a:xfrm>
              <a:off x="10608445" y="1961209"/>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3" y="15789"/>
                    <a:pt x="15789" y="25702"/>
                    <a:pt x="15789" y="37032"/>
                  </a:cubicBezTo>
                  <a:cubicBezTo>
                    <a:pt x="15789" y="49777"/>
                    <a:pt x="25703" y="58275"/>
                    <a:pt x="37032" y="5827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08" name="Freeform: Shape 2707">
              <a:extLst>
                <a:ext uri="{FF2B5EF4-FFF2-40B4-BE49-F238E27FC236}">
                  <a16:creationId xmlns:a16="http://schemas.microsoft.com/office/drawing/2014/main" id="{C6006926-2A35-40BE-A1FE-F97581747AC5}"/>
                </a:ext>
              </a:extLst>
            </p:cNvPr>
            <p:cNvSpPr/>
            <p:nvPr/>
          </p:nvSpPr>
          <p:spPr>
            <a:xfrm>
              <a:off x="10911006" y="1567407"/>
              <a:ext cx="126815" cy="126813"/>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09" name="Freeform: Shape 2708">
              <a:extLst>
                <a:ext uri="{FF2B5EF4-FFF2-40B4-BE49-F238E27FC236}">
                  <a16:creationId xmlns:a16="http://schemas.microsoft.com/office/drawing/2014/main" id="{81214705-8019-4A49-B79E-D2E031E4807A}"/>
                </a:ext>
              </a:extLst>
            </p:cNvPr>
            <p:cNvSpPr/>
            <p:nvPr/>
          </p:nvSpPr>
          <p:spPr>
            <a:xfrm>
              <a:off x="8650853" y="3531843"/>
              <a:ext cx="99133" cy="99133"/>
            </a:xfrm>
            <a:custGeom>
              <a:avLst/>
              <a:gdLst>
                <a:gd name="connsiteX0" fmla="*/ 49778 w 99133"/>
                <a:gd name="connsiteY0" fmla="*/ 83766 h 99133"/>
                <a:gd name="connsiteX1" fmla="*/ 83766 w 99133"/>
                <a:gd name="connsiteY1" fmla="*/ 49777 h 99133"/>
                <a:gd name="connsiteX2" fmla="*/ 49778 w 99133"/>
                <a:gd name="connsiteY2" fmla="*/ 15789 h 99133"/>
                <a:gd name="connsiteX3" fmla="*/ 15789 w 99133"/>
                <a:gd name="connsiteY3" fmla="*/ 49777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7"/>
                  </a:cubicBezTo>
                  <a:cubicBezTo>
                    <a:pt x="83766" y="31367"/>
                    <a:pt x="68188" y="15789"/>
                    <a:pt x="49778" y="15789"/>
                  </a:cubicBezTo>
                  <a:cubicBezTo>
                    <a:pt x="31367" y="15789"/>
                    <a:pt x="15789" y="31367"/>
                    <a:pt x="15789" y="49777"/>
                  </a:cubicBezTo>
                  <a:cubicBezTo>
                    <a:pt x="17205" y="68188"/>
                    <a:pt x="31367" y="83766"/>
                    <a:pt x="49778" y="8376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10" name="Freeform: Shape 2709">
              <a:extLst>
                <a:ext uri="{FF2B5EF4-FFF2-40B4-BE49-F238E27FC236}">
                  <a16:creationId xmlns:a16="http://schemas.microsoft.com/office/drawing/2014/main" id="{9312BE59-6889-4600-BA80-038FE597153B}"/>
                </a:ext>
              </a:extLst>
            </p:cNvPr>
            <p:cNvSpPr/>
            <p:nvPr/>
          </p:nvSpPr>
          <p:spPr>
            <a:xfrm>
              <a:off x="9111184" y="4272169"/>
              <a:ext cx="99133" cy="99133"/>
            </a:xfrm>
            <a:custGeom>
              <a:avLst/>
              <a:gdLst>
                <a:gd name="connsiteX0" fmla="*/ 49778 w 99133"/>
                <a:gd name="connsiteY0" fmla="*/ 83766 h 99133"/>
                <a:gd name="connsiteX1" fmla="*/ 83766 w 99133"/>
                <a:gd name="connsiteY1" fmla="*/ 49777 h 99133"/>
                <a:gd name="connsiteX2" fmla="*/ 49778 w 99133"/>
                <a:gd name="connsiteY2" fmla="*/ 15789 h 99133"/>
                <a:gd name="connsiteX3" fmla="*/ 15789 w 99133"/>
                <a:gd name="connsiteY3" fmla="*/ 49777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7"/>
                  </a:cubicBezTo>
                  <a:cubicBezTo>
                    <a:pt x="83766" y="31367"/>
                    <a:pt x="68188" y="15789"/>
                    <a:pt x="49778" y="15789"/>
                  </a:cubicBezTo>
                  <a:cubicBezTo>
                    <a:pt x="31367" y="15789"/>
                    <a:pt x="15789" y="31367"/>
                    <a:pt x="15789" y="49777"/>
                  </a:cubicBezTo>
                  <a:cubicBezTo>
                    <a:pt x="17205" y="68188"/>
                    <a:pt x="31367" y="83766"/>
                    <a:pt x="49778" y="8376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11" name="Freeform: Shape 2710">
              <a:extLst>
                <a:ext uri="{FF2B5EF4-FFF2-40B4-BE49-F238E27FC236}">
                  <a16:creationId xmlns:a16="http://schemas.microsoft.com/office/drawing/2014/main" id="{C69C7BD3-56F4-45A4-BDAB-36B641C3BAF2}"/>
                </a:ext>
              </a:extLst>
            </p:cNvPr>
            <p:cNvSpPr/>
            <p:nvPr/>
          </p:nvSpPr>
          <p:spPr>
            <a:xfrm>
              <a:off x="9826167" y="4349660"/>
              <a:ext cx="70810" cy="70810"/>
            </a:xfrm>
            <a:custGeom>
              <a:avLst/>
              <a:gdLst>
                <a:gd name="connsiteX0" fmla="*/ 41280 w 70809"/>
                <a:gd name="connsiteY0" fmla="*/ 66772 h 70809"/>
                <a:gd name="connsiteX1" fmla="*/ 66772 w 70809"/>
                <a:gd name="connsiteY1" fmla="*/ 41281 h 70809"/>
                <a:gd name="connsiteX2" fmla="*/ 41280 w 70809"/>
                <a:gd name="connsiteY2" fmla="*/ 15789 h 70809"/>
                <a:gd name="connsiteX3" fmla="*/ 15789 w 70809"/>
                <a:gd name="connsiteY3" fmla="*/ 41281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3"/>
                    <a:pt x="66772" y="41281"/>
                  </a:cubicBezTo>
                  <a:cubicBezTo>
                    <a:pt x="66772" y="27119"/>
                    <a:pt x="55442" y="15789"/>
                    <a:pt x="41280" y="15789"/>
                  </a:cubicBezTo>
                  <a:cubicBezTo>
                    <a:pt x="27118" y="15789"/>
                    <a:pt x="15789" y="27119"/>
                    <a:pt x="15789" y="41281"/>
                  </a:cubicBezTo>
                  <a:cubicBezTo>
                    <a:pt x="15789" y="54026"/>
                    <a:pt x="27118" y="66772"/>
                    <a:pt x="41280" y="6677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12" name="Freeform: Shape 2711">
              <a:extLst>
                <a:ext uri="{FF2B5EF4-FFF2-40B4-BE49-F238E27FC236}">
                  <a16:creationId xmlns:a16="http://schemas.microsoft.com/office/drawing/2014/main" id="{8765FE53-CE34-48B3-ABDF-41DD27397332}"/>
                </a:ext>
              </a:extLst>
            </p:cNvPr>
            <p:cNvSpPr/>
            <p:nvPr/>
          </p:nvSpPr>
          <p:spPr>
            <a:xfrm>
              <a:off x="10042095" y="4532368"/>
              <a:ext cx="70810" cy="70810"/>
            </a:xfrm>
            <a:custGeom>
              <a:avLst/>
              <a:gdLst>
                <a:gd name="connsiteX0" fmla="*/ 41280 w 70809"/>
                <a:gd name="connsiteY0" fmla="*/ 66772 h 70809"/>
                <a:gd name="connsiteX1" fmla="*/ 66772 w 70809"/>
                <a:gd name="connsiteY1" fmla="*/ 41281 h 70809"/>
                <a:gd name="connsiteX2" fmla="*/ 41280 w 70809"/>
                <a:gd name="connsiteY2" fmla="*/ 15789 h 70809"/>
                <a:gd name="connsiteX3" fmla="*/ 15789 w 70809"/>
                <a:gd name="connsiteY3" fmla="*/ 41281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3"/>
                    <a:pt x="66772" y="41281"/>
                  </a:cubicBezTo>
                  <a:cubicBezTo>
                    <a:pt x="66772" y="27119"/>
                    <a:pt x="55442" y="15789"/>
                    <a:pt x="41280" y="15789"/>
                  </a:cubicBezTo>
                  <a:cubicBezTo>
                    <a:pt x="27118" y="15789"/>
                    <a:pt x="15789" y="27119"/>
                    <a:pt x="15789" y="41281"/>
                  </a:cubicBezTo>
                  <a:cubicBezTo>
                    <a:pt x="15789" y="54026"/>
                    <a:pt x="27118" y="66772"/>
                    <a:pt x="41280" y="6677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13" name="Freeform: Shape 2712">
              <a:extLst>
                <a:ext uri="{FF2B5EF4-FFF2-40B4-BE49-F238E27FC236}">
                  <a16:creationId xmlns:a16="http://schemas.microsoft.com/office/drawing/2014/main" id="{AE132DA9-C864-4C24-923C-5A8424B757B5}"/>
                </a:ext>
              </a:extLst>
            </p:cNvPr>
            <p:cNvSpPr/>
            <p:nvPr/>
          </p:nvSpPr>
          <p:spPr>
            <a:xfrm>
              <a:off x="6647142" y="4383006"/>
              <a:ext cx="84971" cy="84971"/>
            </a:xfrm>
            <a:custGeom>
              <a:avLst/>
              <a:gdLst>
                <a:gd name="connsiteX0" fmla="*/ 49885 w 84971"/>
                <a:gd name="connsiteY0" fmla="*/ 15897 h 84971"/>
                <a:gd name="connsiteX1" fmla="*/ 78209 w 84971"/>
                <a:gd name="connsiteY1" fmla="*/ 49885 h 84971"/>
                <a:gd name="connsiteX2" fmla="*/ 44220 w 84971"/>
                <a:gd name="connsiteY2" fmla="*/ 78209 h 84971"/>
                <a:gd name="connsiteX3" fmla="*/ 15896 w 84971"/>
                <a:gd name="connsiteY3" fmla="*/ 44220 h 84971"/>
                <a:gd name="connsiteX4" fmla="*/ 49885 w 84971"/>
                <a:gd name="connsiteY4" fmla="*/ 1589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9885" y="15897"/>
                  </a:moveTo>
                  <a:cubicBezTo>
                    <a:pt x="66879" y="17313"/>
                    <a:pt x="79625" y="32891"/>
                    <a:pt x="78209" y="49885"/>
                  </a:cubicBezTo>
                  <a:cubicBezTo>
                    <a:pt x="76793" y="66879"/>
                    <a:pt x="61215" y="79625"/>
                    <a:pt x="44220" y="78209"/>
                  </a:cubicBezTo>
                  <a:cubicBezTo>
                    <a:pt x="27226" y="76793"/>
                    <a:pt x="14481" y="61215"/>
                    <a:pt x="15896" y="44220"/>
                  </a:cubicBezTo>
                  <a:cubicBezTo>
                    <a:pt x="17313" y="27226"/>
                    <a:pt x="32891" y="14480"/>
                    <a:pt x="49885" y="1589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14" name="Freeform: Shape 2713">
              <a:extLst>
                <a:ext uri="{FF2B5EF4-FFF2-40B4-BE49-F238E27FC236}">
                  <a16:creationId xmlns:a16="http://schemas.microsoft.com/office/drawing/2014/main" id="{14B8AD1B-A5EC-4E8B-873D-E401E1D4B8F8}"/>
                </a:ext>
              </a:extLst>
            </p:cNvPr>
            <p:cNvSpPr/>
            <p:nvPr/>
          </p:nvSpPr>
          <p:spPr>
            <a:xfrm>
              <a:off x="6322063" y="3645053"/>
              <a:ext cx="84971" cy="84971"/>
            </a:xfrm>
            <a:custGeom>
              <a:avLst/>
              <a:gdLst>
                <a:gd name="connsiteX0" fmla="*/ 49885 w 84971"/>
                <a:gd name="connsiteY0" fmla="*/ 15897 h 84971"/>
                <a:gd name="connsiteX1" fmla="*/ 78209 w 84971"/>
                <a:gd name="connsiteY1" fmla="*/ 49885 h 84971"/>
                <a:gd name="connsiteX2" fmla="*/ 44220 w 84971"/>
                <a:gd name="connsiteY2" fmla="*/ 78209 h 84971"/>
                <a:gd name="connsiteX3" fmla="*/ 15896 w 84971"/>
                <a:gd name="connsiteY3" fmla="*/ 44220 h 84971"/>
                <a:gd name="connsiteX4" fmla="*/ 49885 w 84971"/>
                <a:gd name="connsiteY4" fmla="*/ 1589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9885" y="15897"/>
                  </a:moveTo>
                  <a:cubicBezTo>
                    <a:pt x="66879" y="17313"/>
                    <a:pt x="79625" y="32891"/>
                    <a:pt x="78209" y="49885"/>
                  </a:cubicBezTo>
                  <a:cubicBezTo>
                    <a:pt x="76793" y="66879"/>
                    <a:pt x="61215" y="79625"/>
                    <a:pt x="44220" y="78209"/>
                  </a:cubicBezTo>
                  <a:cubicBezTo>
                    <a:pt x="27226" y="76793"/>
                    <a:pt x="14481" y="61215"/>
                    <a:pt x="15896" y="44220"/>
                  </a:cubicBezTo>
                  <a:cubicBezTo>
                    <a:pt x="17313" y="27226"/>
                    <a:pt x="32891" y="14480"/>
                    <a:pt x="49885" y="1589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15" name="Freeform: Shape 2714">
              <a:extLst>
                <a:ext uri="{FF2B5EF4-FFF2-40B4-BE49-F238E27FC236}">
                  <a16:creationId xmlns:a16="http://schemas.microsoft.com/office/drawing/2014/main" id="{B1DCD11B-5A9B-4BD8-AF59-ABB2D233F96E}"/>
                </a:ext>
              </a:extLst>
            </p:cNvPr>
            <p:cNvSpPr/>
            <p:nvPr/>
          </p:nvSpPr>
          <p:spPr>
            <a:xfrm>
              <a:off x="5437531" y="3521407"/>
              <a:ext cx="84971" cy="84971"/>
            </a:xfrm>
            <a:custGeom>
              <a:avLst/>
              <a:gdLst>
                <a:gd name="connsiteX0" fmla="*/ 45649 w 84971"/>
                <a:gd name="connsiteY0" fmla="*/ 15909 h 84971"/>
                <a:gd name="connsiteX1" fmla="*/ 71140 w 84971"/>
                <a:gd name="connsiteY1" fmla="*/ 45648 h 84971"/>
                <a:gd name="connsiteX2" fmla="*/ 41400 w 84971"/>
                <a:gd name="connsiteY2" fmla="*/ 71140 h 84971"/>
                <a:gd name="connsiteX3" fmla="*/ 15908 w 84971"/>
                <a:gd name="connsiteY3" fmla="*/ 41400 h 84971"/>
                <a:gd name="connsiteX4" fmla="*/ 45649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9" y="15909"/>
                  </a:moveTo>
                  <a:cubicBezTo>
                    <a:pt x="61227" y="17325"/>
                    <a:pt x="72556" y="30070"/>
                    <a:pt x="71140" y="45648"/>
                  </a:cubicBezTo>
                  <a:cubicBezTo>
                    <a:pt x="69724" y="61227"/>
                    <a:pt x="56978" y="72556"/>
                    <a:pt x="41400" y="71140"/>
                  </a:cubicBezTo>
                  <a:cubicBezTo>
                    <a:pt x="25822" y="69724"/>
                    <a:pt x="14493" y="56978"/>
                    <a:pt x="15908" y="41400"/>
                  </a:cubicBezTo>
                  <a:cubicBezTo>
                    <a:pt x="15908" y="25822"/>
                    <a:pt x="30070" y="14492"/>
                    <a:pt x="45649" y="1590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16" name="Freeform: Shape 2715">
              <a:extLst>
                <a:ext uri="{FF2B5EF4-FFF2-40B4-BE49-F238E27FC236}">
                  <a16:creationId xmlns:a16="http://schemas.microsoft.com/office/drawing/2014/main" id="{96A51211-1657-49E2-A937-63F5689CD9BC}"/>
                </a:ext>
              </a:extLst>
            </p:cNvPr>
            <p:cNvSpPr/>
            <p:nvPr/>
          </p:nvSpPr>
          <p:spPr>
            <a:xfrm>
              <a:off x="6196839" y="4425458"/>
              <a:ext cx="84971" cy="84971"/>
            </a:xfrm>
            <a:custGeom>
              <a:avLst/>
              <a:gdLst>
                <a:gd name="connsiteX0" fmla="*/ 45649 w 84971"/>
                <a:gd name="connsiteY0" fmla="*/ 15909 h 84971"/>
                <a:gd name="connsiteX1" fmla="*/ 71140 w 84971"/>
                <a:gd name="connsiteY1" fmla="*/ 45648 h 84971"/>
                <a:gd name="connsiteX2" fmla="*/ 41400 w 84971"/>
                <a:gd name="connsiteY2" fmla="*/ 71140 h 84971"/>
                <a:gd name="connsiteX3" fmla="*/ 15908 w 84971"/>
                <a:gd name="connsiteY3" fmla="*/ 41400 h 84971"/>
                <a:gd name="connsiteX4" fmla="*/ 45649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9" y="15909"/>
                  </a:moveTo>
                  <a:cubicBezTo>
                    <a:pt x="61227" y="17325"/>
                    <a:pt x="72556" y="30070"/>
                    <a:pt x="71140" y="45648"/>
                  </a:cubicBezTo>
                  <a:cubicBezTo>
                    <a:pt x="69724" y="61227"/>
                    <a:pt x="56978" y="72556"/>
                    <a:pt x="41400" y="71140"/>
                  </a:cubicBezTo>
                  <a:cubicBezTo>
                    <a:pt x="25822" y="69724"/>
                    <a:pt x="14493" y="56978"/>
                    <a:pt x="15908" y="41400"/>
                  </a:cubicBezTo>
                  <a:cubicBezTo>
                    <a:pt x="15908" y="25822"/>
                    <a:pt x="30070" y="14492"/>
                    <a:pt x="45649" y="1590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17" name="Freeform: Shape 2716">
              <a:extLst>
                <a:ext uri="{FF2B5EF4-FFF2-40B4-BE49-F238E27FC236}">
                  <a16:creationId xmlns:a16="http://schemas.microsoft.com/office/drawing/2014/main" id="{52508AC9-D683-43F7-8367-E6DE29F5943B}"/>
                </a:ext>
              </a:extLst>
            </p:cNvPr>
            <p:cNvSpPr/>
            <p:nvPr/>
          </p:nvSpPr>
          <p:spPr>
            <a:xfrm>
              <a:off x="6038474" y="1765057"/>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2" y="58275"/>
                    <a:pt x="58275" y="48361"/>
                    <a:pt x="58275" y="37032"/>
                  </a:cubicBezTo>
                  <a:cubicBezTo>
                    <a:pt x="58275" y="25702"/>
                    <a:pt x="48362" y="15789"/>
                    <a:pt x="37032" y="15789"/>
                  </a:cubicBezTo>
                  <a:cubicBezTo>
                    <a:pt x="25703" y="15789"/>
                    <a:pt x="15789" y="25702"/>
                    <a:pt x="15789" y="37032"/>
                  </a:cubicBezTo>
                  <a:cubicBezTo>
                    <a:pt x="15789" y="48361"/>
                    <a:pt x="25703" y="58275"/>
                    <a:pt x="37032" y="58275"/>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18" name="Freeform: Shape 2717">
              <a:extLst>
                <a:ext uri="{FF2B5EF4-FFF2-40B4-BE49-F238E27FC236}">
                  <a16:creationId xmlns:a16="http://schemas.microsoft.com/office/drawing/2014/main" id="{09BAD74C-8E0C-441A-A3EB-EEF15C4427AD}"/>
                </a:ext>
              </a:extLst>
            </p:cNvPr>
            <p:cNvSpPr/>
            <p:nvPr/>
          </p:nvSpPr>
          <p:spPr>
            <a:xfrm>
              <a:off x="4237494" y="4225851"/>
              <a:ext cx="99133" cy="99133"/>
            </a:xfrm>
            <a:custGeom>
              <a:avLst/>
              <a:gdLst>
                <a:gd name="connsiteX0" fmla="*/ 49778 w 99133"/>
                <a:gd name="connsiteY0" fmla="*/ 83766 h 99133"/>
                <a:gd name="connsiteX1" fmla="*/ 83766 w 99133"/>
                <a:gd name="connsiteY1" fmla="*/ 49777 h 99133"/>
                <a:gd name="connsiteX2" fmla="*/ 49778 w 99133"/>
                <a:gd name="connsiteY2" fmla="*/ 15789 h 99133"/>
                <a:gd name="connsiteX3" fmla="*/ 15789 w 99133"/>
                <a:gd name="connsiteY3" fmla="*/ 49777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7"/>
                  </a:cubicBezTo>
                  <a:cubicBezTo>
                    <a:pt x="83766" y="31367"/>
                    <a:pt x="68188" y="15789"/>
                    <a:pt x="49778" y="15789"/>
                  </a:cubicBezTo>
                  <a:cubicBezTo>
                    <a:pt x="31367" y="15789"/>
                    <a:pt x="15789" y="31367"/>
                    <a:pt x="15789" y="49777"/>
                  </a:cubicBezTo>
                  <a:cubicBezTo>
                    <a:pt x="15789" y="69604"/>
                    <a:pt x="31367" y="83766"/>
                    <a:pt x="49778" y="83766"/>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19" name="Freeform: Shape 2718">
              <a:extLst>
                <a:ext uri="{FF2B5EF4-FFF2-40B4-BE49-F238E27FC236}">
                  <a16:creationId xmlns:a16="http://schemas.microsoft.com/office/drawing/2014/main" id="{03F2D3EA-0601-4B00-BB95-0499E8B86E03}"/>
                </a:ext>
              </a:extLst>
            </p:cNvPr>
            <p:cNvSpPr/>
            <p:nvPr/>
          </p:nvSpPr>
          <p:spPr>
            <a:xfrm>
              <a:off x="4375261" y="4552120"/>
              <a:ext cx="70810" cy="70810"/>
            </a:xfrm>
            <a:custGeom>
              <a:avLst/>
              <a:gdLst>
                <a:gd name="connsiteX0" fmla="*/ 41388 w 70809"/>
                <a:gd name="connsiteY0" fmla="*/ 66772 h 70809"/>
                <a:gd name="connsiteX1" fmla="*/ 66879 w 70809"/>
                <a:gd name="connsiteY1" fmla="*/ 41280 h 70809"/>
                <a:gd name="connsiteX2" fmla="*/ 41388 w 70809"/>
                <a:gd name="connsiteY2" fmla="*/ 15789 h 70809"/>
                <a:gd name="connsiteX3" fmla="*/ 15897 w 70809"/>
                <a:gd name="connsiteY3" fmla="*/ 41280 h 70809"/>
                <a:gd name="connsiteX4" fmla="*/ 41388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388" y="66772"/>
                  </a:moveTo>
                  <a:cubicBezTo>
                    <a:pt x="55550" y="66772"/>
                    <a:pt x="66879" y="55442"/>
                    <a:pt x="66879" y="41280"/>
                  </a:cubicBezTo>
                  <a:cubicBezTo>
                    <a:pt x="66879" y="27118"/>
                    <a:pt x="55550" y="15789"/>
                    <a:pt x="41388" y="15789"/>
                  </a:cubicBezTo>
                  <a:cubicBezTo>
                    <a:pt x="27226" y="15789"/>
                    <a:pt x="15897" y="27118"/>
                    <a:pt x="15897" y="41280"/>
                  </a:cubicBezTo>
                  <a:cubicBezTo>
                    <a:pt x="14481" y="54026"/>
                    <a:pt x="27226" y="66772"/>
                    <a:pt x="41388" y="6677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20" name="Freeform: Shape 2719">
              <a:extLst>
                <a:ext uri="{FF2B5EF4-FFF2-40B4-BE49-F238E27FC236}">
                  <a16:creationId xmlns:a16="http://schemas.microsoft.com/office/drawing/2014/main" id="{BB579F6F-F895-4C67-A42E-BEA9F2696D10}"/>
                </a:ext>
              </a:extLst>
            </p:cNvPr>
            <p:cNvSpPr/>
            <p:nvPr/>
          </p:nvSpPr>
          <p:spPr>
            <a:xfrm>
              <a:off x="3663410" y="5176177"/>
              <a:ext cx="70810" cy="70810"/>
            </a:xfrm>
            <a:custGeom>
              <a:avLst/>
              <a:gdLst>
                <a:gd name="connsiteX0" fmla="*/ 41388 w 70809"/>
                <a:gd name="connsiteY0" fmla="*/ 66772 h 70809"/>
                <a:gd name="connsiteX1" fmla="*/ 66879 w 70809"/>
                <a:gd name="connsiteY1" fmla="*/ 41280 h 70809"/>
                <a:gd name="connsiteX2" fmla="*/ 41388 w 70809"/>
                <a:gd name="connsiteY2" fmla="*/ 15789 h 70809"/>
                <a:gd name="connsiteX3" fmla="*/ 15897 w 70809"/>
                <a:gd name="connsiteY3" fmla="*/ 41280 h 70809"/>
                <a:gd name="connsiteX4" fmla="*/ 41388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388" y="66772"/>
                  </a:moveTo>
                  <a:cubicBezTo>
                    <a:pt x="55550" y="66772"/>
                    <a:pt x="66879" y="55442"/>
                    <a:pt x="66879" y="41280"/>
                  </a:cubicBezTo>
                  <a:cubicBezTo>
                    <a:pt x="66879" y="27118"/>
                    <a:pt x="55550" y="15789"/>
                    <a:pt x="41388" y="15789"/>
                  </a:cubicBezTo>
                  <a:cubicBezTo>
                    <a:pt x="27226" y="15789"/>
                    <a:pt x="15897" y="27118"/>
                    <a:pt x="15897" y="41280"/>
                  </a:cubicBezTo>
                  <a:cubicBezTo>
                    <a:pt x="14481" y="54026"/>
                    <a:pt x="27226" y="66772"/>
                    <a:pt x="41388" y="66772"/>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21" name="Freeform: Shape 2720">
              <a:extLst>
                <a:ext uri="{FF2B5EF4-FFF2-40B4-BE49-F238E27FC236}">
                  <a16:creationId xmlns:a16="http://schemas.microsoft.com/office/drawing/2014/main" id="{FAC9CBC8-F98F-4398-AC47-14533D893FBB}"/>
                </a:ext>
              </a:extLst>
            </p:cNvPr>
            <p:cNvSpPr/>
            <p:nvPr/>
          </p:nvSpPr>
          <p:spPr>
            <a:xfrm>
              <a:off x="3997428" y="5361485"/>
              <a:ext cx="56648" cy="56648"/>
            </a:xfrm>
            <a:custGeom>
              <a:avLst/>
              <a:gdLst>
                <a:gd name="connsiteX0" fmla="*/ 35771 w 56647"/>
                <a:gd name="connsiteY0" fmla="*/ 15969 h 56647"/>
                <a:gd name="connsiteX1" fmla="*/ 52765 w 56647"/>
                <a:gd name="connsiteY1" fmla="*/ 35795 h 56647"/>
                <a:gd name="connsiteX2" fmla="*/ 32938 w 56647"/>
                <a:gd name="connsiteY2" fmla="*/ 52790 h 56647"/>
                <a:gd name="connsiteX3" fmla="*/ 15944 w 56647"/>
                <a:gd name="connsiteY3" fmla="*/ 32963 h 56647"/>
                <a:gd name="connsiteX4" fmla="*/ 35771 w 56647"/>
                <a:gd name="connsiteY4" fmla="*/ 1596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69"/>
                  </a:moveTo>
                  <a:cubicBezTo>
                    <a:pt x="45684" y="17385"/>
                    <a:pt x="54181" y="25882"/>
                    <a:pt x="52765" y="35795"/>
                  </a:cubicBezTo>
                  <a:cubicBezTo>
                    <a:pt x="51349" y="45709"/>
                    <a:pt x="42852" y="54205"/>
                    <a:pt x="32938" y="52790"/>
                  </a:cubicBezTo>
                  <a:cubicBezTo>
                    <a:pt x="23025" y="51373"/>
                    <a:pt x="14528" y="42876"/>
                    <a:pt x="15944" y="32963"/>
                  </a:cubicBezTo>
                  <a:cubicBezTo>
                    <a:pt x="15944" y="21633"/>
                    <a:pt x="25857" y="14552"/>
                    <a:pt x="35771" y="1596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22" name="Freeform: Shape 2721">
              <a:extLst>
                <a:ext uri="{FF2B5EF4-FFF2-40B4-BE49-F238E27FC236}">
                  <a16:creationId xmlns:a16="http://schemas.microsoft.com/office/drawing/2014/main" id="{3C1351D2-D3F0-4D2D-A2EA-AF08E08166FC}"/>
                </a:ext>
              </a:extLst>
            </p:cNvPr>
            <p:cNvSpPr/>
            <p:nvPr/>
          </p:nvSpPr>
          <p:spPr>
            <a:xfrm>
              <a:off x="3793267" y="4280604"/>
              <a:ext cx="70810" cy="70810"/>
            </a:xfrm>
            <a:custGeom>
              <a:avLst/>
              <a:gdLst>
                <a:gd name="connsiteX0" fmla="*/ 35616 w 70809"/>
                <a:gd name="connsiteY0" fmla="*/ 55443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3"/>
                  </a:moveTo>
                  <a:cubicBezTo>
                    <a:pt x="46945" y="55443"/>
                    <a:pt x="55442" y="46945"/>
                    <a:pt x="55442" y="35616"/>
                  </a:cubicBezTo>
                  <a:cubicBezTo>
                    <a:pt x="55442" y="24286"/>
                    <a:pt x="46945" y="15789"/>
                    <a:pt x="35616" y="15789"/>
                  </a:cubicBezTo>
                  <a:cubicBezTo>
                    <a:pt x="24286" y="15789"/>
                    <a:pt x="15789" y="24286"/>
                    <a:pt x="15789" y="35616"/>
                  </a:cubicBezTo>
                  <a:cubicBezTo>
                    <a:pt x="17205" y="45529"/>
                    <a:pt x="25703" y="55443"/>
                    <a:pt x="35616" y="55443"/>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23" name="Freeform: Shape 2722">
              <a:extLst>
                <a:ext uri="{FF2B5EF4-FFF2-40B4-BE49-F238E27FC236}">
                  <a16:creationId xmlns:a16="http://schemas.microsoft.com/office/drawing/2014/main" id="{BA02B67B-80CF-4DC4-B7EC-AC7F0582AE03}"/>
                </a:ext>
              </a:extLst>
            </p:cNvPr>
            <p:cNvSpPr/>
            <p:nvPr/>
          </p:nvSpPr>
          <p:spPr>
            <a:xfrm>
              <a:off x="2794843" y="2999667"/>
              <a:ext cx="70810" cy="70810"/>
            </a:xfrm>
            <a:custGeom>
              <a:avLst/>
              <a:gdLst>
                <a:gd name="connsiteX0" fmla="*/ 39864 w 70809"/>
                <a:gd name="connsiteY0" fmla="*/ 63940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4026" y="63940"/>
                    <a:pt x="63940" y="52610"/>
                    <a:pt x="63940" y="39864"/>
                  </a:cubicBezTo>
                  <a:cubicBezTo>
                    <a:pt x="63940" y="25703"/>
                    <a:pt x="52610" y="15789"/>
                    <a:pt x="39864" y="15789"/>
                  </a:cubicBezTo>
                  <a:cubicBezTo>
                    <a:pt x="25702" y="15789"/>
                    <a:pt x="15789" y="27119"/>
                    <a:pt x="15789" y="39864"/>
                  </a:cubicBezTo>
                  <a:cubicBezTo>
                    <a:pt x="15789" y="52610"/>
                    <a:pt x="27119" y="63940"/>
                    <a:pt x="39864" y="6394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24" name="Freeform: Shape 2723">
              <a:extLst>
                <a:ext uri="{FF2B5EF4-FFF2-40B4-BE49-F238E27FC236}">
                  <a16:creationId xmlns:a16="http://schemas.microsoft.com/office/drawing/2014/main" id="{4CF27316-7466-46F7-AF4C-3A550B768BC8}"/>
                </a:ext>
              </a:extLst>
            </p:cNvPr>
            <p:cNvSpPr/>
            <p:nvPr/>
          </p:nvSpPr>
          <p:spPr>
            <a:xfrm>
              <a:off x="2339258" y="3253561"/>
              <a:ext cx="70810" cy="70810"/>
            </a:xfrm>
            <a:custGeom>
              <a:avLst/>
              <a:gdLst>
                <a:gd name="connsiteX0" fmla="*/ 39864 w 70809"/>
                <a:gd name="connsiteY0" fmla="*/ 63940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4026" y="63940"/>
                    <a:pt x="63940" y="52610"/>
                    <a:pt x="63940" y="39864"/>
                  </a:cubicBezTo>
                  <a:cubicBezTo>
                    <a:pt x="63940" y="25703"/>
                    <a:pt x="52610" y="15789"/>
                    <a:pt x="39864" y="15789"/>
                  </a:cubicBezTo>
                  <a:cubicBezTo>
                    <a:pt x="25702" y="15789"/>
                    <a:pt x="15789" y="27119"/>
                    <a:pt x="15789" y="39864"/>
                  </a:cubicBezTo>
                  <a:cubicBezTo>
                    <a:pt x="15789" y="52610"/>
                    <a:pt x="27119" y="63940"/>
                    <a:pt x="39864" y="6394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25" name="Freeform: Shape 2724">
              <a:extLst>
                <a:ext uri="{FF2B5EF4-FFF2-40B4-BE49-F238E27FC236}">
                  <a16:creationId xmlns:a16="http://schemas.microsoft.com/office/drawing/2014/main" id="{AAE92C0F-6DE6-4B79-9DFA-9A71F760492D}"/>
                </a:ext>
              </a:extLst>
            </p:cNvPr>
            <p:cNvSpPr/>
            <p:nvPr/>
          </p:nvSpPr>
          <p:spPr>
            <a:xfrm>
              <a:off x="2626371" y="3372202"/>
              <a:ext cx="70810" cy="70810"/>
            </a:xfrm>
            <a:custGeom>
              <a:avLst/>
              <a:gdLst>
                <a:gd name="connsiteX0" fmla="*/ 39864 w 70809"/>
                <a:gd name="connsiteY0" fmla="*/ 63940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4026" y="63940"/>
                    <a:pt x="63940" y="52610"/>
                    <a:pt x="63940" y="39864"/>
                  </a:cubicBezTo>
                  <a:cubicBezTo>
                    <a:pt x="63940" y="25703"/>
                    <a:pt x="52610" y="15789"/>
                    <a:pt x="39864" y="15789"/>
                  </a:cubicBezTo>
                  <a:cubicBezTo>
                    <a:pt x="25702" y="15789"/>
                    <a:pt x="15789" y="27119"/>
                    <a:pt x="15789" y="39864"/>
                  </a:cubicBezTo>
                  <a:cubicBezTo>
                    <a:pt x="15789" y="52610"/>
                    <a:pt x="27119" y="63940"/>
                    <a:pt x="39864" y="63940"/>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26" name="Freeform: Shape 2725">
              <a:extLst>
                <a:ext uri="{FF2B5EF4-FFF2-40B4-BE49-F238E27FC236}">
                  <a16:creationId xmlns:a16="http://schemas.microsoft.com/office/drawing/2014/main" id="{C28EA8E7-3409-4343-9CA7-DB99712D476A}"/>
                </a:ext>
              </a:extLst>
            </p:cNvPr>
            <p:cNvSpPr/>
            <p:nvPr/>
          </p:nvSpPr>
          <p:spPr>
            <a:xfrm>
              <a:off x="2760066" y="2503641"/>
              <a:ext cx="107387" cy="107387"/>
            </a:xfrm>
            <a:custGeom>
              <a:avLst/>
              <a:gdLst>
                <a:gd name="connsiteX0" fmla="*/ 44220 w 84971"/>
                <a:gd name="connsiteY0" fmla="*/ 72437 h 84971"/>
                <a:gd name="connsiteX1" fmla="*/ 72544 w 84971"/>
                <a:gd name="connsiteY1" fmla="*/ 44113 h 84971"/>
                <a:gd name="connsiteX2" fmla="*/ 44220 w 84971"/>
                <a:gd name="connsiteY2" fmla="*/ 15789 h 84971"/>
                <a:gd name="connsiteX3" fmla="*/ 15896 w 84971"/>
                <a:gd name="connsiteY3" fmla="*/ 44113 h 84971"/>
                <a:gd name="connsiteX4" fmla="*/ 44220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220" y="72437"/>
                  </a:moveTo>
                  <a:cubicBezTo>
                    <a:pt x="59798" y="72437"/>
                    <a:pt x="72544" y="59691"/>
                    <a:pt x="72544" y="44113"/>
                  </a:cubicBezTo>
                  <a:cubicBezTo>
                    <a:pt x="72544" y="28535"/>
                    <a:pt x="59798" y="15789"/>
                    <a:pt x="44220" y="15789"/>
                  </a:cubicBezTo>
                  <a:cubicBezTo>
                    <a:pt x="28642" y="15789"/>
                    <a:pt x="15896" y="28535"/>
                    <a:pt x="15896" y="44113"/>
                  </a:cubicBezTo>
                  <a:cubicBezTo>
                    <a:pt x="14480" y="59691"/>
                    <a:pt x="27226" y="72437"/>
                    <a:pt x="44220" y="7243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27" name="Freeform: Shape 2726">
              <a:extLst>
                <a:ext uri="{FF2B5EF4-FFF2-40B4-BE49-F238E27FC236}">
                  <a16:creationId xmlns:a16="http://schemas.microsoft.com/office/drawing/2014/main" id="{48C99ABA-7334-4016-9C30-4E4ED4AF4057}"/>
                </a:ext>
              </a:extLst>
            </p:cNvPr>
            <p:cNvSpPr/>
            <p:nvPr/>
          </p:nvSpPr>
          <p:spPr>
            <a:xfrm>
              <a:off x="2149560" y="2597823"/>
              <a:ext cx="84971" cy="84971"/>
            </a:xfrm>
            <a:custGeom>
              <a:avLst/>
              <a:gdLst>
                <a:gd name="connsiteX0" fmla="*/ 44220 w 84971"/>
                <a:gd name="connsiteY0" fmla="*/ 72437 h 84971"/>
                <a:gd name="connsiteX1" fmla="*/ 72544 w 84971"/>
                <a:gd name="connsiteY1" fmla="*/ 44113 h 84971"/>
                <a:gd name="connsiteX2" fmla="*/ 44220 w 84971"/>
                <a:gd name="connsiteY2" fmla="*/ 15789 h 84971"/>
                <a:gd name="connsiteX3" fmla="*/ 15896 w 84971"/>
                <a:gd name="connsiteY3" fmla="*/ 44113 h 84971"/>
                <a:gd name="connsiteX4" fmla="*/ 44220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220" y="72437"/>
                  </a:moveTo>
                  <a:cubicBezTo>
                    <a:pt x="59798" y="72437"/>
                    <a:pt x="72544" y="59691"/>
                    <a:pt x="72544" y="44113"/>
                  </a:cubicBezTo>
                  <a:cubicBezTo>
                    <a:pt x="72544" y="28535"/>
                    <a:pt x="59798" y="15789"/>
                    <a:pt x="44220" y="15789"/>
                  </a:cubicBezTo>
                  <a:cubicBezTo>
                    <a:pt x="28642" y="15789"/>
                    <a:pt x="15896" y="28535"/>
                    <a:pt x="15896" y="44113"/>
                  </a:cubicBezTo>
                  <a:cubicBezTo>
                    <a:pt x="14480" y="59691"/>
                    <a:pt x="27226" y="72437"/>
                    <a:pt x="44220" y="72437"/>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28" name="Freeform: Shape 2727">
              <a:extLst>
                <a:ext uri="{FF2B5EF4-FFF2-40B4-BE49-F238E27FC236}">
                  <a16:creationId xmlns:a16="http://schemas.microsoft.com/office/drawing/2014/main" id="{2F36CC56-C971-4D0B-8370-E2BC479A5371}"/>
                </a:ext>
              </a:extLst>
            </p:cNvPr>
            <p:cNvSpPr/>
            <p:nvPr/>
          </p:nvSpPr>
          <p:spPr>
            <a:xfrm>
              <a:off x="2215492" y="1568044"/>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7205" y="71020"/>
                    <a:pt x="32783" y="86599"/>
                    <a:pt x="51194" y="8659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sp>
          <p:nvSpPr>
            <p:cNvPr id="2729" name="Freeform: Shape 2728">
              <a:extLst>
                <a:ext uri="{FF2B5EF4-FFF2-40B4-BE49-F238E27FC236}">
                  <a16:creationId xmlns:a16="http://schemas.microsoft.com/office/drawing/2014/main" id="{BA84EBF4-502C-43D1-AE61-3C4DB65DAE95}"/>
                </a:ext>
              </a:extLst>
            </p:cNvPr>
            <p:cNvSpPr/>
            <p:nvPr/>
          </p:nvSpPr>
          <p:spPr>
            <a:xfrm>
              <a:off x="1047787" y="1504504"/>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5789" y="71020"/>
                    <a:pt x="31367" y="86599"/>
                    <a:pt x="51194" y="86599"/>
                  </a:cubicBezTo>
                  <a:close/>
                </a:path>
              </a:pathLst>
            </a:custGeom>
            <a:grpFill/>
            <a:ln w="14159" cap="flat">
              <a:noFill/>
              <a:prstDash val="solid"/>
              <a:miter/>
            </a:ln>
          </p:spPr>
          <p:txBody>
            <a:bodyPr rtlCol="0" anchor="ctr"/>
            <a:lstStyle/>
            <a:p>
              <a:pPr defTabSz="932384">
                <a:defRPr/>
              </a:pPr>
              <a:endParaRPr lang="en-US" dirty="0">
                <a:solidFill>
                  <a:srgbClr val="1A1A1A"/>
                </a:solidFill>
                <a:latin typeface="Segoe UI"/>
              </a:endParaRPr>
            </a:p>
          </p:txBody>
        </p:sp>
      </p:grpSp>
      <p:sp>
        <p:nvSpPr>
          <p:cNvPr id="2" name="Rectangle 1">
            <a:extLst>
              <a:ext uri="{FF2B5EF4-FFF2-40B4-BE49-F238E27FC236}">
                <a16:creationId xmlns:a16="http://schemas.microsoft.com/office/drawing/2014/main" id="{58716C42-42D8-44C0-964F-71B07ED42E21}"/>
              </a:ext>
            </a:extLst>
          </p:cNvPr>
          <p:cNvSpPr/>
          <p:nvPr/>
        </p:nvSpPr>
        <p:spPr bwMode="auto">
          <a:xfrm>
            <a:off x="151510" y="201237"/>
            <a:ext cx="12133456" cy="6592052"/>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dirty="0">
              <a:gradFill>
                <a:gsLst>
                  <a:gs pos="0">
                    <a:srgbClr val="FFFFFF"/>
                  </a:gs>
                  <a:gs pos="100000">
                    <a:srgbClr val="FFFFFF"/>
                  </a:gs>
                </a:gsLst>
                <a:lin ang="5400000" scaled="0"/>
              </a:gradFill>
              <a:latin typeface="Segoe UI"/>
              <a:cs typeface="Segoe UI" pitchFamily="34" charset="0"/>
            </a:endParaRPr>
          </a:p>
        </p:txBody>
      </p:sp>
      <p:sp>
        <p:nvSpPr>
          <p:cNvPr id="1014" name="Rectangle 1013">
            <a:extLst>
              <a:ext uri="{FF2B5EF4-FFF2-40B4-BE49-F238E27FC236}">
                <a16:creationId xmlns:a16="http://schemas.microsoft.com/office/drawing/2014/main" id="{4465C109-4EB1-489E-B5B1-836C5FE18FD3}"/>
              </a:ext>
            </a:extLst>
          </p:cNvPr>
          <p:cNvSpPr/>
          <p:nvPr/>
        </p:nvSpPr>
        <p:spPr>
          <a:xfrm>
            <a:off x="949184" y="3295236"/>
            <a:ext cx="2144684" cy="922223"/>
          </a:xfrm>
          <a:prstGeom prst="rect">
            <a:avLst/>
          </a:prstGeom>
        </p:spPr>
        <p:txBody>
          <a:bodyPr wrap="square" lIns="0" tIns="0" rIns="0" bIns="0" anchor="ctr" anchorCtr="0">
            <a:spAutoFit/>
          </a:bodyPr>
          <a:lstStyle/>
          <a:p>
            <a:pPr algn="ctr" defTabSz="950791">
              <a:lnSpc>
                <a:spcPct val="90000"/>
              </a:lnSpc>
              <a:defRPr/>
            </a:pPr>
            <a:r>
              <a:rPr lang="en-US" sz="3264" dirty="0">
                <a:gradFill>
                  <a:gsLst>
                    <a:gs pos="100000">
                      <a:srgbClr val="505050"/>
                    </a:gs>
                    <a:gs pos="0">
                      <a:srgbClr val="505050"/>
                    </a:gs>
                  </a:gsLst>
                  <a:lin ang="5400000" scaled="1"/>
                </a:gradFill>
                <a:latin typeface="Segoe UI" panose="020B0502040204020203" pitchFamily="34" charset="0"/>
                <a:cs typeface="Segoe UI" panose="020B0502040204020203" pitchFamily="34" charset="0"/>
              </a:rPr>
              <a:t>Azure</a:t>
            </a:r>
          </a:p>
          <a:p>
            <a:pPr algn="ctr" defTabSz="950791">
              <a:lnSpc>
                <a:spcPct val="90000"/>
              </a:lnSpc>
              <a:defRPr/>
            </a:pPr>
            <a:r>
              <a:rPr lang="zh-CN" altLang="en-US" sz="3264">
                <a:gradFill>
                  <a:gsLst>
                    <a:gs pos="100000">
                      <a:srgbClr val="505050"/>
                    </a:gs>
                    <a:gs pos="0">
                      <a:srgbClr val="505050"/>
                    </a:gs>
                  </a:gsLst>
                  <a:lin ang="5400000" scaled="1"/>
                </a:gradFill>
                <a:latin typeface="Segoe UI" panose="020B0502040204020203" pitchFamily="34" charset="0"/>
                <a:cs typeface="Segoe UI" panose="020B0502040204020203" pitchFamily="34" charset="0"/>
              </a:rPr>
              <a:t>公有云</a:t>
            </a:r>
            <a:endParaRPr lang="en-US" sz="3264" dirty="0">
              <a:gradFill>
                <a:gsLst>
                  <a:gs pos="100000">
                    <a:srgbClr val="505050"/>
                  </a:gs>
                  <a:gs pos="0">
                    <a:srgbClr val="505050"/>
                  </a:gs>
                </a:gsLst>
                <a:lin ang="5400000" scaled="1"/>
              </a:gradFill>
              <a:latin typeface="Segoe UI" panose="020B0502040204020203" pitchFamily="34" charset="0"/>
              <a:cs typeface="Segoe UI" panose="020B0502040204020203" pitchFamily="34" charset="0"/>
            </a:endParaRPr>
          </a:p>
        </p:txBody>
      </p:sp>
      <p:sp>
        <p:nvSpPr>
          <p:cNvPr id="1015" name="Rectangle 1014">
            <a:extLst>
              <a:ext uri="{FF2B5EF4-FFF2-40B4-BE49-F238E27FC236}">
                <a16:creationId xmlns:a16="http://schemas.microsoft.com/office/drawing/2014/main" id="{1289E4E2-0170-4928-ACB6-2AF4C1463702}"/>
              </a:ext>
            </a:extLst>
          </p:cNvPr>
          <p:cNvSpPr/>
          <p:nvPr/>
        </p:nvSpPr>
        <p:spPr>
          <a:xfrm>
            <a:off x="3199967" y="3310009"/>
            <a:ext cx="2659783" cy="922223"/>
          </a:xfrm>
          <a:prstGeom prst="rect">
            <a:avLst/>
          </a:prstGeom>
        </p:spPr>
        <p:txBody>
          <a:bodyPr wrap="square" lIns="0" tIns="0" rIns="0" bIns="0" anchor="ctr" anchorCtr="0">
            <a:spAutoFit/>
          </a:bodyPr>
          <a:lstStyle/>
          <a:p>
            <a:pPr algn="ctr" defTabSz="950791">
              <a:lnSpc>
                <a:spcPct val="90000"/>
              </a:lnSpc>
              <a:defRPr/>
            </a:pPr>
            <a:r>
              <a:rPr lang="en-US" sz="3264" dirty="0">
                <a:gradFill>
                  <a:gsLst>
                    <a:gs pos="100000">
                      <a:srgbClr val="505050"/>
                    </a:gs>
                    <a:gs pos="0">
                      <a:srgbClr val="505050"/>
                    </a:gs>
                  </a:gsLst>
                  <a:lin ang="5400000" scaled="1"/>
                </a:gradFill>
                <a:latin typeface="Segoe UI" panose="020B0502040204020203" pitchFamily="34" charset="0"/>
                <a:cs typeface="Segoe UI" panose="020B0502040204020203" pitchFamily="34" charset="0"/>
              </a:rPr>
              <a:t>Azure Stack</a:t>
            </a:r>
            <a:br>
              <a:rPr lang="en-US" sz="3264" dirty="0">
                <a:gradFill>
                  <a:gsLst>
                    <a:gs pos="100000">
                      <a:srgbClr val="505050"/>
                    </a:gs>
                    <a:gs pos="0">
                      <a:srgbClr val="505050"/>
                    </a:gs>
                  </a:gsLst>
                  <a:lin ang="5400000" scaled="1"/>
                </a:gradFill>
                <a:latin typeface="Segoe UI" panose="020B0502040204020203" pitchFamily="34" charset="0"/>
                <a:cs typeface="Segoe UI" panose="020B0502040204020203" pitchFamily="34" charset="0"/>
              </a:rPr>
            </a:br>
            <a:r>
              <a:rPr lang="zh-CN" altLang="en-US" sz="3264">
                <a:gradFill>
                  <a:gsLst>
                    <a:gs pos="100000">
                      <a:srgbClr val="505050"/>
                    </a:gs>
                    <a:gs pos="0">
                      <a:srgbClr val="505050"/>
                    </a:gs>
                  </a:gsLst>
                  <a:lin ang="5400000" scaled="1"/>
                </a:gradFill>
                <a:latin typeface="Segoe UI" panose="020B0502040204020203" pitchFamily="34" charset="0"/>
                <a:cs typeface="Segoe UI" panose="020B0502040204020203" pitchFamily="34" charset="0"/>
              </a:rPr>
              <a:t>混合云</a:t>
            </a:r>
            <a:endParaRPr lang="en-US" sz="3264" dirty="0">
              <a:gradFill>
                <a:gsLst>
                  <a:gs pos="100000">
                    <a:srgbClr val="505050"/>
                  </a:gs>
                  <a:gs pos="0">
                    <a:srgbClr val="505050"/>
                  </a:gs>
                </a:gsLst>
                <a:lin ang="5400000" scaled="1"/>
              </a:gradFill>
              <a:latin typeface="Segoe UI" panose="020B0502040204020203" pitchFamily="34" charset="0"/>
              <a:cs typeface="Segoe UI" panose="020B0502040204020203" pitchFamily="34" charset="0"/>
            </a:endParaRPr>
          </a:p>
        </p:txBody>
      </p:sp>
      <p:sp>
        <p:nvSpPr>
          <p:cNvPr id="1016" name="Rectangle 1015">
            <a:extLst>
              <a:ext uri="{FF2B5EF4-FFF2-40B4-BE49-F238E27FC236}">
                <a16:creationId xmlns:a16="http://schemas.microsoft.com/office/drawing/2014/main" id="{71D0A884-9814-48C6-8ED4-25B33DD0C57C}"/>
              </a:ext>
            </a:extLst>
          </p:cNvPr>
          <p:cNvSpPr/>
          <p:nvPr/>
        </p:nvSpPr>
        <p:spPr>
          <a:xfrm>
            <a:off x="5965848" y="3310009"/>
            <a:ext cx="3324313" cy="922223"/>
          </a:xfrm>
          <a:prstGeom prst="rect">
            <a:avLst/>
          </a:prstGeom>
        </p:spPr>
        <p:txBody>
          <a:bodyPr wrap="square" lIns="0" tIns="0" rIns="0" bIns="0" anchor="ctr" anchorCtr="0">
            <a:spAutoFit/>
          </a:bodyPr>
          <a:lstStyle/>
          <a:p>
            <a:pPr algn="ctr" defTabSz="950791">
              <a:lnSpc>
                <a:spcPct val="90000"/>
              </a:lnSpc>
              <a:defRPr/>
            </a:pPr>
            <a:r>
              <a:rPr lang="en-US" sz="3264" dirty="0">
                <a:gradFill>
                  <a:gsLst>
                    <a:gs pos="100000">
                      <a:srgbClr val="505050"/>
                    </a:gs>
                    <a:gs pos="0">
                      <a:srgbClr val="505050"/>
                    </a:gs>
                  </a:gsLst>
                  <a:lin ang="5400000" scaled="1"/>
                </a:gradFill>
                <a:latin typeface="Segoe UI" panose="020B0502040204020203" pitchFamily="34" charset="0"/>
                <a:cs typeface="Segoe UI" panose="020B0502040204020203" pitchFamily="34" charset="0"/>
              </a:rPr>
              <a:t>Azure IoT Edge</a:t>
            </a:r>
            <a:br>
              <a:rPr lang="en-US" sz="3264" dirty="0">
                <a:gradFill>
                  <a:gsLst>
                    <a:gs pos="100000">
                      <a:srgbClr val="505050"/>
                    </a:gs>
                    <a:gs pos="0">
                      <a:srgbClr val="505050"/>
                    </a:gs>
                  </a:gsLst>
                  <a:lin ang="5400000" scaled="1"/>
                </a:gradFill>
                <a:latin typeface="Segoe UI" panose="020B0502040204020203" pitchFamily="34" charset="0"/>
                <a:cs typeface="Segoe UI" panose="020B0502040204020203" pitchFamily="34" charset="0"/>
              </a:rPr>
            </a:br>
            <a:r>
              <a:rPr lang="zh-CN" altLang="en-US" sz="3264">
                <a:gradFill>
                  <a:gsLst>
                    <a:gs pos="100000">
                      <a:srgbClr val="505050"/>
                    </a:gs>
                    <a:gs pos="0">
                      <a:srgbClr val="505050"/>
                    </a:gs>
                  </a:gsLst>
                  <a:lin ang="5400000" scaled="1"/>
                </a:gradFill>
                <a:latin typeface="Segoe UI" panose="020B0502040204020203" pitchFamily="34" charset="0"/>
                <a:cs typeface="Segoe UI" panose="020B0502040204020203" pitchFamily="34" charset="0"/>
              </a:rPr>
              <a:t>物联网</a:t>
            </a:r>
            <a:endParaRPr lang="en-US" sz="3264" dirty="0">
              <a:gradFill>
                <a:gsLst>
                  <a:gs pos="100000">
                    <a:srgbClr val="505050"/>
                  </a:gs>
                  <a:gs pos="0">
                    <a:srgbClr val="505050"/>
                  </a:gs>
                </a:gsLst>
                <a:lin ang="5400000" scaled="1"/>
              </a:gradFill>
              <a:latin typeface="Segoe UI" panose="020B0502040204020203" pitchFamily="34" charset="0"/>
              <a:cs typeface="Segoe UI" panose="020B0502040204020203" pitchFamily="34" charset="0"/>
            </a:endParaRPr>
          </a:p>
        </p:txBody>
      </p:sp>
      <p:sp>
        <p:nvSpPr>
          <p:cNvPr id="1018" name="Rectangle 1017">
            <a:extLst>
              <a:ext uri="{FF2B5EF4-FFF2-40B4-BE49-F238E27FC236}">
                <a16:creationId xmlns:a16="http://schemas.microsoft.com/office/drawing/2014/main" id="{D1FB7626-B465-43F3-BD39-C7E08B418FAB}"/>
              </a:ext>
            </a:extLst>
          </p:cNvPr>
          <p:cNvSpPr/>
          <p:nvPr/>
        </p:nvSpPr>
        <p:spPr>
          <a:xfrm>
            <a:off x="9396257" y="3291065"/>
            <a:ext cx="1979122" cy="922223"/>
          </a:xfrm>
          <a:prstGeom prst="rect">
            <a:avLst/>
          </a:prstGeom>
        </p:spPr>
        <p:txBody>
          <a:bodyPr wrap="square" lIns="0" tIns="0" rIns="0" bIns="0" anchor="ctr" anchorCtr="0">
            <a:spAutoFit/>
          </a:bodyPr>
          <a:lstStyle/>
          <a:p>
            <a:pPr algn="ctr" defTabSz="950791">
              <a:lnSpc>
                <a:spcPct val="90000"/>
              </a:lnSpc>
              <a:defRPr/>
            </a:pPr>
            <a:r>
              <a:rPr lang="en-US" sz="3264" dirty="0">
                <a:gradFill>
                  <a:gsLst>
                    <a:gs pos="100000">
                      <a:srgbClr val="505050"/>
                    </a:gs>
                    <a:gs pos="0">
                      <a:srgbClr val="505050"/>
                    </a:gs>
                  </a:gsLst>
                  <a:lin ang="5400000" scaled="1"/>
                </a:gradFill>
                <a:latin typeface="Segoe UI" panose="020B0502040204020203" pitchFamily="34" charset="0"/>
                <a:cs typeface="Segoe UI" panose="020B0502040204020203" pitchFamily="34" charset="0"/>
              </a:rPr>
              <a:t>Azure</a:t>
            </a:r>
            <a:br>
              <a:rPr lang="en-US" sz="3264" dirty="0">
                <a:gradFill>
                  <a:gsLst>
                    <a:gs pos="100000">
                      <a:srgbClr val="505050"/>
                    </a:gs>
                    <a:gs pos="0">
                      <a:srgbClr val="505050"/>
                    </a:gs>
                  </a:gsLst>
                  <a:lin ang="5400000" scaled="1"/>
                </a:gradFill>
                <a:latin typeface="Segoe UI" panose="020B0502040204020203" pitchFamily="34" charset="0"/>
                <a:cs typeface="Segoe UI" panose="020B0502040204020203" pitchFamily="34" charset="0"/>
              </a:rPr>
            </a:br>
            <a:r>
              <a:rPr lang="en-US" sz="3264" dirty="0">
                <a:gradFill>
                  <a:gsLst>
                    <a:gs pos="100000">
                      <a:srgbClr val="505050"/>
                    </a:gs>
                    <a:gs pos="0">
                      <a:srgbClr val="505050"/>
                    </a:gs>
                  </a:gsLst>
                  <a:lin ang="5400000" scaled="1"/>
                </a:gradFill>
                <a:latin typeface="Segoe UI" panose="020B0502040204020203" pitchFamily="34" charset="0"/>
                <a:cs typeface="Segoe UI" panose="020B0502040204020203" pitchFamily="34" charset="0"/>
              </a:rPr>
              <a:t>Sphere</a:t>
            </a:r>
          </a:p>
        </p:txBody>
      </p:sp>
      <p:sp>
        <p:nvSpPr>
          <p:cNvPr id="908" name="Title 2">
            <a:extLst>
              <a:ext uri="{FF2B5EF4-FFF2-40B4-BE49-F238E27FC236}">
                <a16:creationId xmlns:a16="http://schemas.microsoft.com/office/drawing/2014/main" id="{B7ABB775-B965-494E-BFE0-07D8A769D69F}"/>
              </a:ext>
            </a:extLst>
          </p:cNvPr>
          <p:cNvSpPr txBox="1">
            <a:spLocks/>
          </p:cNvSpPr>
          <p:nvPr/>
        </p:nvSpPr>
        <p:spPr>
          <a:xfrm>
            <a:off x="600100" y="1186955"/>
            <a:ext cx="11236276" cy="564947"/>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51121"/>
            <a:r>
              <a:rPr lang="en-US" sz="3672" dirty="0">
                <a:gradFill>
                  <a:gsLst>
                    <a:gs pos="1250">
                      <a:srgbClr val="1A1A1A"/>
                    </a:gs>
                    <a:gs pos="100000">
                      <a:srgbClr val="1A1A1A"/>
                    </a:gs>
                  </a:gsLst>
                  <a:lin ang="5400000" scaled="0"/>
                </a:gradFill>
                <a:latin typeface="Segoe UI Semibold"/>
              </a:rPr>
              <a:t>Azure</a:t>
            </a:r>
            <a:r>
              <a:rPr lang="zh-CN" altLang="en-US" sz="3672">
                <a:gradFill>
                  <a:gsLst>
                    <a:gs pos="1250">
                      <a:srgbClr val="1A1A1A"/>
                    </a:gs>
                    <a:gs pos="100000">
                      <a:srgbClr val="1A1A1A"/>
                    </a:gs>
                  </a:gsLst>
                  <a:lin ang="5400000" scaled="0"/>
                </a:gradFill>
                <a:latin typeface="Segoe UI Semibold"/>
              </a:rPr>
              <a:t>：</a:t>
            </a:r>
            <a:r>
              <a:rPr lang="zh-CN" altLang="en-US" sz="3672" b="0">
                <a:gradFill>
                  <a:gsLst>
                    <a:gs pos="1250">
                      <a:srgbClr val="1A1A1A"/>
                    </a:gs>
                    <a:gs pos="100000">
                      <a:srgbClr val="1A1A1A"/>
                    </a:gs>
                  </a:gsLst>
                  <a:lin ang="5400000" scaled="0"/>
                </a:gradFill>
                <a:latin typeface="Segoe UI Semibold"/>
              </a:rPr>
              <a:t>世界的计算机</a:t>
            </a:r>
            <a:endParaRPr lang="en-US" sz="3672" b="0" dirty="0">
              <a:gradFill>
                <a:gsLst>
                  <a:gs pos="1250">
                    <a:srgbClr val="1A1A1A"/>
                  </a:gs>
                  <a:gs pos="100000">
                    <a:srgbClr val="1A1A1A"/>
                  </a:gs>
                </a:gsLst>
                <a:lin ang="5400000" scaled="0"/>
              </a:gradFill>
              <a:latin typeface="Segoe UI Semibold"/>
            </a:endParaRPr>
          </a:p>
        </p:txBody>
      </p:sp>
      <p:grpSp>
        <p:nvGrpSpPr>
          <p:cNvPr id="911" name="Group 910">
            <a:extLst>
              <a:ext uri="{FF2B5EF4-FFF2-40B4-BE49-F238E27FC236}">
                <a16:creationId xmlns:a16="http://schemas.microsoft.com/office/drawing/2014/main" id="{D20055A4-5E77-4ED5-9571-C67FE1E76CF1}"/>
              </a:ext>
            </a:extLst>
          </p:cNvPr>
          <p:cNvGrpSpPr/>
          <p:nvPr/>
        </p:nvGrpSpPr>
        <p:grpSpPr>
          <a:xfrm>
            <a:off x="176602" y="7449193"/>
            <a:ext cx="12120981" cy="789788"/>
            <a:chOff x="171449" y="150989"/>
            <a:chExt cx="11886080" cy="774482"/>
          </a:xfrm>
        </p:grpSpPr>
        <p:grpSp>
          <p:nvGrpSpPr>
            <p:cNvPr id="912" name="Group 911">
              <a:extLst>
                <a:ext uri="{FF2B5EF4-FFF2-40B4-BE49-F238E27FC236}">
                  <a16:creationId xmlns:a16="http://schemas.microsoft.com/office/drawing/2014/main" id="{B076BA99-A835-41F4-8D6F-FD6458C63A55}"/>
                </a:ext>
              </a:extLst>
            </p:cNvPr>
            <p:cNvGrpSpPr/>
            <p:nvPr/>
          </p:nvGrpSpPr>
          <p:grpSpPr>
            <a:xfrm>
              <a:off x="171449" y="150989"/>
              <a:ext cx="11886080" cy="774482"/>
              <a:chOff x="171449" y="150989"/>
              <a:chExt cx="11886080" cy="774482"/>
            </a:xfrm>
          </p:grpSpPr>
          <p:sp>
            <p:nvSpPr>
              <p:cNvPr id="927" name="矩形 3">
                <a:extLst>
                  <a:ext uri="{FF2B5EF4-FFF2-40B4-BE49-F238E27FC236}">
                    <a16:creationId xmlns:a16="http://schemas.microsoft.com/office/drawing/2014/main" id="{9577E9DC-9D0D-46E6-A7AF-AC2056CC85BC}"/>
                  </a:ext>
                </a:extLst>
              </p:cNvPr>
              <p:cNvSpPr/>
              <p:nvPr/>
            </p:nvSpPr>
            <p:spPr bwMode="auto">
              <a:xfrm>
                <a:off x="1039608" y="150989"/>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8" name="矩形 4">
                <a:extLst>
                  <a:ext uri="{FF2B5EF4-FFF2-40B4-BE49-F238E27FC236}">
                    <a16:creationId xmlns:a16="http://schemas.microsoft.com/office/drawing/2014/main" id="{61902772-0675-4161-81AD-8FDE006E746B}"/>
                  </a:ext>
                </a:extLst>
              </p:cNvPr>
              <p:cNvSpPr/>
              <p:nvPr/>
            </p:nvSpPr>
            <p:spPr bwMode="auto">
              <a:xfrm>
                <a:off x="1893277" y="150989"/>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9" name="矩形 5">
                <a:extLst>
                  <a:ext uri="{FF2B5EF4-FFF2-40B4-BE49-F238E27FC236}">
                    <a16:creationId xmlns:a16="http://schemas.microsoft.com/office/drawing/2014/main" id="{2AB2FC5F-5FD6-4EAB-8097-27C9FCEDA9E0}"/>
                  </a:ext>
                </a:extLst>
              </p:cNvPr>
              <p:cNvSpPr/>
              <p:nvPr/>
            </p:nvSpPr>
            <p:spPr bwMode="auto">
              <a:xfrm>
                <a:off x="2746946" y="150989"/>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0" name="矩形 6">
                <a:extLst>
                  <a:ext uri="{FF2B5EF4-FFF2-40B4-BE49-F238E27FC236}">
                    <a16:creationId xmlns:a16="http://schemas.microsoft.com/office/drawing/2014/main" id="{37541EFF-002C-47C5-8D2E-D1EAF9F4BBA4}"/>
                  </a:ext>
                </a:extLst>
              </p:cNvPr>
              <p:cNvSpPr/>
              <p:nvPr/>
            </p:nvSpPr>
            <p:spPr bwMode="auto">
              <a:xfrm>
                <a:off x="3600616" y="150989"/>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1" name="矩形 7">
                <a:extLst>
                  <a:ext uri="{FF2B5EF4-FFF2-40B4-BE49-F238E27FC236}">
                    <a16:creationId xmlns:a16="http://schemas.microsoft.com/office/drawing/2014/main" id="{AC6DE202-AEAA-430C-802E-3481AAFBBA83}"/>
                  </a:ext>
                </a:extLst>
              </p:cNvPr>
              <p:cNvSpPr/>
              <p:nvPr/>
            </p:nvSpPr>
            <p:spPr bwMode="auto">
              <a:xfrm>
                <a:off x="4454285" y="150989"/>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2" name="矩形 8">
                <a:extLst>
                  <a:ext uri="{FF2B5EF4-FFF2-40B4-BE49-F238E27FC236}">
                    <a16:creationId xmlns:a16="http://schemas.microsoft.com/office/drawing/2014/main" id="{7C6ADE97-4FAA-4A6B-9B97-A6FBBC7E252A}"/>
                  </a:ext>
                </a:extLst>
              </p:cNvPr>
              <p:cNvSpPr/>
              <p:nvPr/>
            </p:nvSpPr>
            <p:spPr bwMode="auto">
              <a:xfrm>
                <a:off x="5307955" y="150989"/>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3" name="矩形 9">
                <a:extLst>
                  <a:ext uri="{FF2B5EF4-FFF2-40B4-BE49-F238E27FC236}">
                    <a16:creationId xmlns:a16="http://schemas.microsoft.com/office/drawing/2014/main" id="{BED6678D-ED1D-4A60-AF7B-EB7E679895E9}"/>
                  </a:ext>
                </a:extLst>
              </p:cNvPr>
              <p:cNvSpPr/>
              <p:nvPr/>
            </p:nvSpPr>
            <p:spPr bwMode="auto">
              <a:xfrm>
                <a:off x="6161624" y="150989"/>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4" name="矩形 10">
                <a:extLst>
                  <a:ext uri="{FF2B5EF4-FFF2-40B4-BE49-F238E27FC236}">
                    <a16:creationId xmlns:a16="http://schemas.microsoft.com/office/drawing/2014/main" id="{1F0C028A-5C12-46D6-9C03-8061138A4C01}"/>
                  </a:ext>
                </a:extLst>
              </p:cNvPr>
              <p:cNvSpPr/>
              <p:nvPr/>
            </p:nvSpPr>
            <p:spPr bwMode="auto">
              <a:xfrm>
                <a:off x="7015293" y="150989"/>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5" name="矩形 11">
                <a:extLst>
                  <a:ext uri="{FF2B5EF4-FFF2-40B4-BE49-F238E27FC236}">
                    <a16:creationId xmlns:a16="http://schemas.microsoft.com/office/drawing/2014/main" id="{7687B0D5-7152-45D6-B94E-18F49615E3AC}"/>
                  </a:ext>
                </a:extLst>
              </p:cNvPr>
              <p:cNvSpPr/>
              <p:nvPr/>
            </p:nvSpPr>
            <p:spPr bwMode="auto">
              <a:xfrm>
                <a:off x="7868963" y="150989"/>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6" name="矩形 12">
                <a:extLst>
                  <a:ext uri="{FF2B5EF4-FFF2-40B4-BE49-F238E27FC236}">
                    <a16:creationId xmlns:a16="http://schemas.microsoft.com/office/drawing/2014/main" id="{A613C694-7718-43A8-A0F4-0E53BC417B0F}"/>
                  </a:ext>
                </a:extLst>
              </p:cNvPr>
              <p:cNvSpPr/>
              <p:nvPr/>
            </p:nvSpPr>
            <p:spPr bwMode="auto">
              <a:xfrm>
                <a:off x="8722632" y="150989"/>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7" name="矩形 13">
                <a:extLst>
                  <a:ext uri="{FF2B5EF4-FFF2-40B4-BE49-F238E27FC236}">
                    <a16:creationId xmlns:a16="http://schemas.microsoft.com/office/drawing/2014/main" id="{7A0C660C-2D8E-4C93-8F90-27AB0A8A08AE}"/>
                  </a:ext>
                </a:extLst>
              </p:cNvPr>
              <p:cNvSpPr/>
              <p:nvPr/>
            </p:nvSpPr>
            <p:spPr bwMode="auto">
              <a:xfrm>
                <a:off x="9576301" y="150989"/>
                <a:ext cx="759398" cy="774482"/>
              </a:xfrm>
              <a:prstGeom prst="rect">
                <a:avLst/>
              </a:prstGeom>
              <a:solidFill>
                <a:srgbClr val="F05B49"/>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8" name="矩形 14">
                <a:extLst>
                  <a:ext uri="{FF2B5EF4-FFF2-40B4-BE49-F238E27FC236}">
                    <a16:creationId xmlns:a16="http://schemas.microsoft.com/office/drawing/2014/main" id="{953A51E7-81B9-4687-83C5-A0A266C293E0}"/>
                  </a:ext>
                </a:extLst>
              </p:cNvPr>
              <p:cNvSpPr/>
              <p:nvPr/>
            </p:nvSpPr>
            <p:spPr bwMode="auto">
              <a:xfrm>
                <a:off x="10429973" y="150989"/>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9" name="矩形 87">
                <a:extLst>
                  <a:ext uri="{FF2B5EF4-FFF2-40B4-BE49-F238E27FC236}">
                    <a16:creationId xmlns:a16="http://schemas.microsoft.com/office/drawing/2014/main" id="{63465722-8D6B-4692-B1C0-C19CA2225CD1}"/>
                  </a:ext>
                </a:extLst>
              </p:cNvPr>
              <p:cNvSpPr/>
              <p:nvPr/>
            </p:nvSpPr>
            <p:spPr bwMode="auto">
              <a:xfrm>
                <a:off x="11298131" y="150989"/>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0" name="矩形 101">
                <a:extLst>
                  <a:ext uri="{FF2B5EF4-FFF2-40B4-BE49-F238E27FC236}">
                    <a16:creationId xmlns:a16="http://schemas.microsoft.com/office/drawing/2014/main" id="{71BE52F0-ED3B-4BE6-8254-73C528D57628}"/>
                  </a:ext>
                </a:extLst>
              </p:cNvPr>
              <p:cNvSpPr/>
              <p:nvPr/>
            </p:nvSpPr>
            <p:spPr bwMode="auto">
              <a:xfrm>
                <a:off x="171449" y="150989"/>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913" name="Picture 207">
              <a:extLst>
                <a:ext uri="{FF2B5EF4-FFF2-40B4-BE49-F238E27FC236}">
                  <a16:creationId xmlns:a16="http://schemas.microsoft.com/office/drawing/2014/main" id="{58553D57-3FE4-4357-919F-773B178EA9C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82285" y="347868"/>
              <a:ext cx="652712" cy="404573"/>
            </a:xfrm>
            <a:prstGeom prst="rect">
              <a:avLst/>
            </a:prstGeom>
            <a:solidFill>
              <a:schemeClr val="bg1"/>
            </a:solidFill>
            <a:ln>
              <a:noFill/>
            </a:ln>
          </p:spPr>
        </p:pic>
        <p:pic>
          <p:nvPicPr>
            <p:cNvPr id="914" name="Picture 208">
              <a:extLst>
                <a:ext uri="{FF2B5EF4-FFF2-40B4-BE49-F238E27FC236}">
                  <a16:creationId xmlns:a16="http://schemas.microsoft.com/office/drawing/2014/main" id="{1F86715E-CD18-43EE-9448-770E600F6E0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945909" y="403126"/>
              <a:ext cx="669759" cy="250777"/>
            </a:xfrm>
            <a:prstGeom prst="rect">
              <a:avLst/>
            </a:prstGeom>
            <a:solidFill>
              <a:schemeClr val="bg1"/>
            </a:solidFill>
            <a:ln>
              <a:noFill/>
            </a:ln>
          </p:spPr>
        </p:pic>
        <p:pic>
          <p:nvPicPr>
            <p:cNvPr id="915" name="图片 258">
              <a:extLst>
                <a:ext uri="{FF2B5EF4-FFF2-40B4-BE49-F238E27FC236}">
                  <a16:creationId xmlns:a16="http://schemas.microsoft.com/office/drawing/2014/main" id="{6F257AC7-1F31-4738-B8C8-1E86BF85904E}"/>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348408" y="416065"/>
              <a:ext cx="683791" cy="327511"/>
            </a:xfrm>
            <a:prstGeom prst="rect">
              <a:avLst/>
            </a:prstGeom>
            <a:solidFill>
              <a:schemeClr val="bg1"/>
            </a:solidFill>
            <a:ln>
              <a:noFill/>
            </a:ln>
          </p:spPr>
        </p:pic>
        <p:pic>
          <p:nvPicPr>
            <p:cNvPr id="916" name="Picture 214">
              <a:extLst>
                <a:ext uri="{FF2B5EF4-FFF2-40B4-BE49-F238E27FC236}">
                  <a16:creationId xmlns:a16="http://schemas.microsoft.com/office/drawing/2014/main" id="{E67F783F-5510-43AD-925D-012EF6582269}"/>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0469027" y="444152"/>
              <a:ext cx="685801" cy="297181"/>
            </a:xfrm>
            <a:prstGeom prst="rect">
              <a:avLst/>
            </a:prstGeom>
            <a:solidFill>
              <a:schemeClr val="bg1"/>
            </a:solidFill>
            <a:ln>
              <a:noFill/>
            </a:ln>
          </p:spPr>
        </p:pic>
        <p:pic>
          <p:nvPicPr>
            <p:cNvPr id="917" name="Picture 222">
              <a:extLst>
                <a:ext uri="{FF2B5EF4-FFF2-40B4-BE49-F238E27FC236}">
                  <a16:creationId xmlns:a16="http://schemas.microsoft.com/office/drawing/2014/main" id="{DE9FB216-A827-480B-A826-1753FE85F18A}"/>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1344505" y="379595"/>
              <a:ext cx="664627" cy="437254"/>
            </a:xfrm>
            <a:prstGeom prst="rect">
              <a:avLst/>
            </a:prstGeom>
            <a:solidFill>
              <a:schemeClr val="bg1"/>
            </a:solidFill>
            <a:ln>
              <a:noFill/>
            </a:ln>
          </p:spPr>
        </p:pic>
        <p:pic>
          <p:nvPicPr>
            <p:cNvPr id="918" name="图片 268">
              <a:extLst>
                <a:ext uri="{FF2B5EF4-FFF2-40B4-BE49-F238E27FC236}">
                  <a16:creationId xmlns:a16="http://schemas.microsoft.com/office/drawing/2014/main" id="{DBEEC256-EFC2-4456-9BE6-D38BDE26FD7B}"/>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l="4183" t="4038" r="6609" b="4448"/>
            <a:stretch/>
          </p:blipFill>
          <p:spPr>
            <a:xfrm>
              <a:off x="6244357" y="255588"/>
              <a:ext cx="595386" cy="610784"/>
            </a:xfrm>
            <a:prstGeom prst="rect">
              <a:avLst/>
            </a:prstGeom>
          </p:spPr>
        </p:pic>
        <p:pic>
          <p:nvPicPr>
            <p:cNvPr id="919" name="图片 273">
              <a:extLst>
                <a:ext uri="{FF2B5EF4-FFF2-40B4-BE49-F238E27FC236}">
                  <a16:creationId xmlns:a16="http://schemas.microsoft.com/office/drawing/2014/main" id="{7AF059AF-94F7-4D72-B65E-3204163FB998}"/>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728643" y="274627"/>
              <a:ext cx="525980" cy="525980"/>
            </a:xfrm>
            <a:prstGeom prst="rect">
              <a:avLst/>
            </a:prstGeom>
          </p:spPr>
        </p:pic>
        <p:pic>
          <p:nvPicPr>
            <p:cNvPr id="920" name="Picture Placeholder 61">
              <a:extLst>
                <a:ext uri="{FF2B5EF4-FFF2-40B4-BE49-F238E27FC236}">
                  <a16:creationId xmlns:a16="http://schemas.microsoft.com/office/drawing/2014/main" id="{0B51F117-7F29-4257-9370-9CCDB8C95BE3}"/>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l="-9262" r="-9317" b="-8610"/>
            <a:stretch/>
          </p:blipFill>
          <p:spPr>
            <a:xfrm>
              <a:off x="2761725" y="348045"/>
              <a:ext cx="732519" cy="406787"/>
            </a:xfrm>
            <a:prstGeom prst="rect">
              <a:avLst/>
            </a:prstGeom>
            <a:ln>
              <a:noFill/>
            </a:ln>
          </p:spPr>
        </p:pic>
        <p:pic>
          <p:nvPicPr>
            <p:cNvPr id="921" name="图片 298">
              <a:extLst>
                <a:ext uri="{FF2B5EF4-FFF2-40B4-BE49-F238E27FC236}">
                  <a16:creationId xmlns:a16="http://schemas.microsoft.com/office/drawing/2014/main" id="{31671BB6-1E48-4E4D-B350-E6E2A7B671A7}"/>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065230" y="458158"/>
              <a:ext cx="675811" cy="178813"/>
            </a:xfrm>
            <a:prstGeom prst="rect">
              <a:avLst/>
            </a:prstGeom>
          </p:spPr>
        </p:pic>
        <p:pic>
          <p:nvPicPr>
            <p:cNvPr id="922" name="图片 300">
              <a:extLst>
                <a:ext uri="{FF2B5EF4-FFF2-40B4-BE49-F238E27FC236}">
                  <a16:creationId xmlns:a16="http://schemas.microsoft.com/office/drawing/2014/main" id="{C1F7E046-533E-41A2-BFB8-3AC332EA846B}"/>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907326" y="379548"/>
              <a:ext cx="676406" cy="344352"/>
            </a:xfrm>
            <a:prstGeom prst="rect">
              <a:avLst/>
            </a:prstGeom>
          </p:spPr>
        </p:pic>
        <p:pic>
          <p:nvPicPr>
            <p:cNvPr id="923" name="图片 302">
              <a:extLst>
                <a:ext uri="{FF2B5EF4-FFF2-40B4-BE49-F238E27FC236}">
                  <a16:creationId xmlns:a16="http://schemas.microsoft.com/office/drawing/2014/main" id="{9EE9DE28-EE2A-4D64-9191-70BB5846AEF6}"/>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4529138" y="242888"/>
              <a:ext cx="614362" cy="542925"/>
            </a:xfrm>
            <a:prstGeom prst="rect">
              <a:avLst/>
            </a:prstGeom>
          </p:spPr>
        </p:pic>
        <p:pic>
          <p:nvPicPr>
            <p:cNvPr id="924" name="图片 305">
              <a:extLst>
                <a:ext uri="{FF2B5EF4-FFF2-40B4-BE49-F238E27FC236}">
                  <a16:creationId xmlns:a16="http://schemas.microsoft.com/office/drawing/2014/main" id="{C079F719-BF7D-445C-957C-42D175D72E4E}"/>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9647737" y="255588"/>
              <a:ext cx="631245" cy="631245"/>
            </a:xfrm>
            <a:prstGeom prst="rect">
              <a:avLst/>
            </a:prstGeom>
          </p:spPr>
        </p:pic>
        <p:pic>
          <p:nvPicPr>
            <p:cNvPr id="925" name="图片 307">
              <a:extLst>
                <a:ext uri="{FF2B5EF4-FFF2-40B4-BE49-F238E27FC236}">
                  <a16:creationId xmlns:a16="http://schemas.microsoft.com/office/drawing/2014/main" id="{CB51620B-C06F-49CD-BED8-73FAD11AD10E}"/>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8796049" y="238003"/>
              <a:ext cx="616259" cy="616259"/>
            </a:xfrm>
            <a:prstGeom prst="rect">
              <a:avLst/>
            </a:prstGeom>
          </p:spPr>
        </p:pic>
        <p:pic>
          <p:nvPicPr>
            <p:cNvPr id="926" name="图片 1" descr="image001">
              <a:extLst>
                <a:ext uri="{FF2B5EF4-FFF2-40B4-BE49-F238E27FC236}">
                  <a16:creationId xmlns:a16="http://schemas.microsoft.com/office/drawing/2014/main" id="{70C7B655-32D3-42D0-8EA1-E4298BB8883D}"/>
                </a:ext>
              </a:extLst>
            </p:cNvPr>
            <p:cNvPicPr>
              <a:picLocks noChangeAspect="1" noChangeArrowheads="1"/>
            </p:cNvPicPr>
            <p:nvPr/>
          </p:nvPicPr>
          <p:blipFill rotWithShape="1">
            <a:blip r:embed="rId16" cstate="email">
              <a:extLst>
                <a:ext uri="{28A0092B-C50C-407E-A947-70E740481C1C}">
                  <a14:useLocalDpi xmlns:a14="http://schemas.microsoft.com/office/drawing/2010/main"/>
                </a:ext>
              </a:extLst>
            </a:blip>
            <a:srcRect/>
            <a:stretch/>
          </p:blipFill>
          <p:spPr bwMode="auto">
            <a:xfrm>
              <a:off x="218720" y="383382"/>
              <a:ext cx="674595" cy="340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41" name="Group 940">
            <a:extLst>
              <a:ext uri="{FF2B5EF4-FFF2-40B4-BE49-F238E27FC236}">
                <a16:creationId xmlns:a16="http://schemas.microsoft.com/office/drawing/2014/main" id="{E4550CCD-17C4-4CFD-B17B-BBFFDBB3DD59}"/>
              </a:ext>
            </a:extLst>
          </p:cNvPr>
          <p:cNvGrpSpPr/>
          <p:nvPr/>
        </p:nvGrpSpPr>
        <p:grpSpPr>
          <a:xfrm>
            <a:off x="176602" y="9118663"/>
            <a:ext cx="12120981" cy="906129"/>
            <a:chOff x="171449" y="1788105"/>
            <a:chExt cx="11886080" cy="888568"/>
          </a:xfrm>
        </p:grpSpPr>
        <p:grpSp>
          <p:nvGrpSpPr>
            <p:cNvPr id="1017" name="Group 1016">
              <a:extLst>
                <a:ext uri="{FF2B5EF4-FFF2-40B4-BE49-F238E27FC236}">
                  <a16:creationId xmlns:a16="http://schemas.microsoft.com/office/drawing/2014/main" id="{8736A1FA-808D-48C0-910A-0003D2F85E50}"/>
                </a:ext>
              </a:extLst>
            </p:cNvPr>
            <p:cNvGrpSpPr/>
            <p:nvPr/>
          </p:nvGrpSpPr>
          <p:grpSpPr>
            <a:xfrm>
              <a:off x="171449" y="1802455"/>
              <a:ext cx="11886080" cy="774482"/>
              <a:chOff x="171449" y="1802455"/>
              <a:chExt cx="11886080" cy="774482"/>
            </a:xfrm>
          </p:grpSpPr>
          <p:sp>
            <p:nvSpPr>
              <p:cNvPr id="1033" name="矩形 27">
                <a:extLst>
                  <a:ext uri="{FF2B5EF4-FFF2-40B4-BE49-F238E27FC236}">
                    <a16:creationId xmlns:a16="http://schemas.microsoft.com/office/drawing/2014/main" id="{9CEE2217-BB8E-4EB3-A84A-215DEC8C3B24}"/>
                  </a:ext>
                </a:extLst>
              </p:cNvPr>
              <p:cNvSpPr/>
              <p:nvPr/>
            </p:nvSpPr>
            <p:spPr bwMode="auto">
              <a:xfrm>
                <a:off x="1039608" y="1802455"/>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4" name="矩形 28">
                <a:extLst>
                  <a:ext uri="{FF2B5EF4-FFF2-40B4-BE49-F238E27FC236}">
                    <a16:creationId xmlns:a16="http://schemas.microsoft.com/office/drawing/2014/main" id="{A8F00541-649C-4719-9B1C-702FC500AC5A}"/>
                  </a:ext>
                </a:extLst>
              </p:cNvPr>
              <p:cNvSpPr/>
              <p:nvPr/>
            </p:nvSpPr>
            <p:spPr bwMode="auto">
              <a:xfrm>
                <a:off x="1893277" y="1802455"/>
                <a:ext cx="759398" cy="774482"/>
              </a:xfrm>
              <a:prstGeom prst="rect">
                <a:avLst/>
              </a:prstGeom>
              <a:solidFill>
                <a:srgbClr val="F38313"/>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5" name="矩形 29">
                <a:extLst>
                  <a:ext uri="{FF2B5EF4-FFF2-40B4-BE49-F238E27FC236}">
                    <a16:creationId xmlns:a16="http://schemas.microsoft.com/office/drawing/2014/main" id="{49AA73C5-C2FD-464A-B346-F7689C81D728}"/>
                  </a:ext>
                </a:extLst>
              </p:cNvPr>
              <p:cNvSpPr/>
              <p:nvPr/>
            </p:nvSpPr>
            <p:spPr bwMode="auto">
              <a:xfrm>
                <a:off x="2746946" y="1802455"/>
                <a:ext cx="759398" cy="774482"/>
              </a:xfrm>
              <a:prstGeom prst="rect">
                <a:avLst/>
              </a:prstGeom>
              <a:solidFill>
                <a:srgbClr val="C0000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6" name="矩形 30">
                <a:extLst>
                  <a:ext uri="{FF2B5EF4-FFF2-40B4-BE49-F238E27FC236}">
                    <a16:creationId xmlns:a16="http://schemas.microsoft.com/office/drawing/2014/main" id="{E79B1D5D-19B2-48C7-89F8-7B3DDFD568C2}"/>
                  </a:ext>
                </a:extLst>
              </p:cNvPr>
              <p:cNvSpPr/>
              <p:nvPr/>
            </p:nvSpPr>
            <p:spPr bwMode="auto">
              <a:xfrm>
                <a:off x="3600616" y="1802455"/>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7" name="矩形 31">
                <a:extLst>
                  <a:ext uri="{FF2B5EF4-FFF2-40B4-BE49-F238E27FC236}">
                    <a16:creationId xmlns:a16="http://schemas.microsoft.com/office/drawing/2014/main" id="{724F7717-47D5-4A76-905D-FB6AE48CF4F0}"/>
                  </a:ext>
                </a:extLst>
              </p:cNvPr>
              <p:cNvSpPr/>
              <p:nvPr/>
            </p:nvSpPr>
            <p:spPr bwMode="auto">
              <a:xfrm>
                <a:off x="4454285" y="1802455"/>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8" name="矩形 32">
                <a:extLst>
                  <a:ext uri="{FF2B5EF4-FFF2-40B4-BE49-F238E27FC236}">
                    <a16:creationId xmlns:a16="http://schemas.microsoft.com/office/drawing/2014/main" id="{1CBB201D-B1C0-4BA7-94B3-95D342D403CB}"/>
                  </a:ext>
                </a:extLst>
              </p:cNvPr>
              <p:cNvSpPr/>
              <p:nvPr/>
            </p:nvSpPr>
            <p:spPr bwMode="auto">
              <a:xfrm>
                <a:off x="5307955" y="1802455"/>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9" name="矩形 33">
                <a:extLst>
                  <a:ext uri="{FF2B5EF4-FFF2-40B4-BE49-F238E27FC236}">
                    <a16:creationId xmlns:a16="http://schemas.microsoft.com/office/drawing/2014/main" id="{5614D9C2-91D6-4E5D-8EF4-D2FD52848AE5}"/>
                  </a:ext>
                </a:extLst>
              </p:cNvPr>
              <p:cNvSpPr/>
              <p:nvPr/>
            </p:nvSpPr>
            <p:spPr bwMode="auto">
              <a:xfrm>
                <a:off x="6161624" y="1802455"/>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0" name="矩形 34">
                <a:extLst>
                  <a:ext uri="{FF2B5EF4-FFF2-40B4-BE49-F238E27FC236}">
                    <a16:creationId xmlns:a16="http://schemas.microsoft.com/office/drawing/2014/main" id="{FBDB2AA2-CA99-43ED-89E8-93BF795303FD}"/>
                  </a:ext>
                </a:extLst>
              </p:cNvPr>
              <p:cNvSpPr/>
              <p:nvPr/>
            </p:nvSpPr>
            <p:spPr bwMode="auto">
              <a:xfrm>
                <a:off x="7015293" y="1802455"/>
                <a:ext cx="759398" cy="774482"/>
              </a:xfrm>
              <a:prstGeom prst="rect">
                <a:avLst/>
              </a:prstGeom>
              <a:solidFill>
                <a:schemeClr val="bg2"/>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1" name="矩形 35">
                <a:extLst>
                  <a:ext uri="{FF2B5EF4-FFF2-40B4-BE49-F238E27FC236}">
                    <a16:creationId xmlns:a16="http://schemas.microsoft.com/office/drawing/2014/main" id="{C4C5C574-2B03-4AD9-9D48-11BCA0141C4C}"/>
                  </a:ext>
                </a:extLst>
              </p:cNvPr>
              <p:cNvSpPr/>
              <p:nvPr/>
            </p:nvSpPr>
            <p:spPr bwMode="auto">
              <a:xfrm>
                <a:off x="7868963" y="1802455"/>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2" name="矩形 36">
                <a:extLst>
                  <a:ext uri="{FF2B5EF4-FFF2-40B4-BE49-F238E27FC236}">
                    <a16:creationId xmlns:a16="http://schemas.microsoft.com/office/drawing/2014/main" id="{EB6EAC52-DF12-455C-A8D5-08CF35685DD5}"/>
                  </a:ext>
                </a:extLst>
              </p:cNvPr>
              <p:cNvSpPr/>
              <p:nvPr/>
            </p:nvSpPr>
            <p:spPr bwMode="auto">
              <a:xfrm>
                <a:off x="8722632" y="1802455"/>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3" name="矩形 37">
                <a:extLst>
                  <a:ext uri="{FF2B5EF4-FFF2-40B4-BE49-F238E27FC236}">
                    <a16:creationId xmlns:a16="http://schemas.microsoft.com/office/drawing/2014/main" id="{E358D216-BB64-40D6-890F-0D1B56F66509}"/>
                  </a:ext>
                </a:extLst>
              </p:cNvPr>
              <p:cNvSpPr/>
              <p:nvPr/>
            </p:nvSpPr>
            <p:spPr bwMode="auto">
              <a:xfrm>
                <a:off x="9576301" y="1802455"/>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4" name="矩形 38">
                <a:extLst>
                  <a:ext uri="{FF2B5EF4-FFF2-40B4-BE49-F238E27FC236}">
                    <a16:creationId xmlns:a16="http://schemas.microsoft.com/office/drawing/2014/main" id="{278415E8-B52D-44FF-ABDD-B3390136CA13}"/>
                  </a:ext>
                </a:extLst>
              </p:cNvPr>
              <p:cNvSpPr/>
              <p:nvPr/>
            </p:nvSpPr>
            <p:spPr bwMode="auto">
              <a:xfrm>
                <a:off x="10429973" y="1802455"/>
                <a:ext cx="759398" cy="774482"/>
              </a:xfrm>
              <a:prstGeom prst="rect">
                <a:avLst/>
              </a:prstGeom>
              <a:solidFill>
                <a:srgbClr val="0078B3"/>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5" name="矩形 89">
                <a:extLst>
                  <a:ext uri="{FF2B5EF4-FFF2-40B4-BE49-F238E27FC236}">
                    <a16:creationId xmlns:a16="http://schemas.microsoft.com/office/drawing/2014/main" id="{3F7554A5-D93B-4E4F-B7C4-6C5C18159489}"/>
                  </a:ext>
                </a:extLst>
              </p:cNvPr>
              <p:cNvSpPr/>
              <p:nvPr/>
            </p:nvSpPr>
            <p:spPr bwMode="auto">
              <a:xfrm>
                <a:off x="11298131" y="1802455"/>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6" name="矩形 103">
                <a:extLst>
                  <a:ext uri="{FF2B5EF4-FFF2-40B4-BE49-F238E27FC236}">
                    <a16:creationId xmlns:a16="http://schemas.microsoft.com/office/drawing/2014/main" id="{527DF193-7047-47B5-96F8-09DA6E7432E3}"/>
                  </a:ext>
                </a:extLst>
              </p:cNvPr>
              <p:cNvSpPr/>
              <p:nvPr/>
            </p:nvSpPr>
            <p:spPr bwMode="auto">
              <a:xfrm>
                <a:off x="171449" y="1802455"/>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1019" name="Picture 212">
              <a:extLst>
                <a:ext uri="{FF2B5EF4-FFF2-40B4-BE49-F238E27FC236}">
                  <a16:creationId xmlns:a16="http://schemas.microsoft.com/office/drawing/2014/main" id="{31D0445A-BC7F-41B5-8D66-B1AEFA10FD73}"/>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497526" y="2087542"/>
              <a:ext cx="686680" cy="223475"/>
            </a:xfrm>
            <a:prstGeom prst="rect">
              <a:avLst/>
            </a:prstGeom>
            <a:solidFill>
              <a:schemeClr val="bg1"/>
            </a:solidFill>
            <a:ln>
              <a:noFill/>
            </a:ln>
          </p:spPr>
        </p:pic>
        <p:pic>
          <p:nvPicPr>
            <p:cNvPr id="1020" name="Picture 252">
              <a:extLst>
                <a:ext uri="{FF2B5EF4-FFF2-40B4-BE49-F238E27FC236}">
                  <a16:creationId xmlns:a16="http://schemas.microsoft.com/office/drawing/2014/main" id="{5780C4B2-745D-4D1B-B4CB-6AFA34947CDF}"/>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7913827" y="2073917"/>
              <a:ext cx="643372" cy="117315"/>
            </a:xfrm>
            <a:prstGeom prst="rect">
              <a:avLst/>
            </a:prstGeom>
            <a:solidFill>
              <a:schemeClr val="bg1"/>
            </a:solidFill>
            <a:ln>
              <a:noFill/>
            </a:ln>
          </p:spPr>
        </p:pic>
        <p:pic>
          <p:nvPicPr>
            <p:cNvPr id="1021" name="Picture 256">
              <a:extLst>
                <a:ext uri="{FF2B5EF4-FFF2-40B4-BE49-F238E27FC236}">
                  <a16:creationId xmlns:a16="http://schemas.microsoft.com/office/drawing/2014/main" id="{7A4533FE-D530-4870-906D-6DDC6374C7CE}"/>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111770" y="1928865"/>
              <a:ext cx="631748" cy="549818"/>
            </a:xfrm>
            <a:prstGeom prst="rect">
              <a:avLst/>
            </a:prstGeom>
            <a:solidFill>
              <a:schemeClr val="bg1"/>
            </a:solidFill>
            <a:ln>
              <a:noFill/>
            </a:ln>
          </p:spPr>
        </p:pic>
        <p:pic>
          <p:nvPicPr>
            <p:cNvPr id="1022" name="图片 271">
              <a:extLst>
                <a:ext uri="{FF2B5EF4-FFF2-40B4-BE49-F238E27FC236}">
                  <a16:creationId xmlns:a16="http://schemas.microsoft.com/office/drawing/2014/main" id="{898441CA-2FAD-4B7D-8BBF-2B8AC558B60E}"/>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5359190" y="1854847"/>
              <a:ext cx="669988" cy="669987"/>
            </a:xfrm>
            <a:prstGeom prst="rect">
              <a:avLst/>
            </a:prstGeom>
          </p:spPr>
        </p:pic>
        <p:pic>
          <p:nvPicPr>
            <p:cNvPr id="1023" name="Picture 4" descr="C:\Users\york.yang2\Desktop\CNTV.png">
              <a:extLst>
                <a:ext uri="{FF2B5EF4-FFF2-40B4-BE49-F238E27FC236}">
                  <a16:creationId xmlns:a16="http://schemas.microsoft.com/office/drawing/2014/main" id="{4D195572-CF69-4268-A9CB-3CF0A9B1FD83}"/>
                </a:ext>
              </a:extLst>
            </p:cNvPr>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9631350" y="2082810"/>
              <a:ext cx="704539" cy="327389"/>
            </a:xfrm>
            <a:prstGeom prst="rect">
              <a:avLst/>
            </a:prstGeom>
            <a:noFill/>
            <a:extLst>
              <a:ext uri="{909E8E84-426E-40DD-AFC4-6F175D3DCCD1}">
                <a14:hiddenFill xmlns:a14="http://schemas.microsoft.com/office/drawing/2010/main">
                  <a:solidFill>
                    <a:srgbClr val="FFFFFF"/>
                  </a:solidFill>
                </a14:hiddenFill>
              </a:ext>
            </a:extLst>
          </p:spPr>
        </p:pic>
        <p:pic>
          <p:nvPicPr>
            <p:cNvPr id="1024" name="Picture 2" descr="See the source image">
              <a:extLst>
                <a:ext uri="{FF2B5EF4-FFF2-40B4-BE49-F238E27FC236}">
                  <a16:creationId xmlns:a16="http://schemas.microsoft.com/office/drawing/2014/main" id="{2AA22466-DABF-4B34-BFD7-43A0864DACD5}"/>
                </a:ext>
              </a:extLst>
            </p:cNvPr>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8778294" y="1907200"/>
              <a:ext cx="651767" cy="488476"/>
            </a:xfrm>
            <a:prstGeom prst="rect">
              <a:avLst/>
            </a:prstGeom>
            <a:noFill/>
            <a:extLst>
              <a:ext uri="{909E8E84-426E-40DD-AFC4-6F175D3DCCD1}">
                <a14:hiddenFill xmlns:a14="http://schemas.microsoft.com/office/drawing/2010/main">
                  <a:solidFill>
                    <a:srgbClr val="FFFFFF"/>
                  </a:solidFill>
                </a14:hiddenFill>
              </a:ext>
            </a:extLst>
          </p:spPr>
        </p:pic>
        <p:pic>
          <p:nvPicPr>
            <p:cNvPr id="1025" name="图片 306">
              <a:extLst>
                <a:ext uri="{FF2B5EF4-FFF2-40B4-BE49-F238E27FC236}">
                  <a16:creationId xmlns:a16="http://schemas.microsoft.com/office/drawing/2014/main" id="{10B15288-BED8-4AA5-967E-861EC43F6543}"/>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6202372" y="2118030"/>
              <a:ext cx="684000" cy="133380"/>
            </a:xfrm>
            <a:prstGeom prst="rect">
              <a:avLst/>
            </a:prstGeom>
          </p:spPr>
        </p:pic>
        <p:pic>
          <p:nvPicPr>
            <p:cNvPr id="1026" name="图片 308">
              <a:extLst>
                <a:ext uri="{FF2B5EF4-FFF2-40B4-BE49-F238E27FC236}">
                  <a16:creationId xmlns:a16="http://schemas.microsoft.com/office/drawing/2014/main" id="{FFC4204D-A9DE-4EF7-9BB2-17CFDA546CD8}"/>
                </a:ext>
              </a:extLst>
            </p:cNvPr>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1950030" y="1852605"/>
              <a:ext cx="651693" cy="651693"/>
            </a:xfrm>
            <a:prstGeom prst="rect">
              <a:avLst/>
            </a:prstGeom>
          </p:spPr>
        </p:pic>
        <p:pic>
          <p:nvPicPr>
            <p:cNvPr id="1027" name="图片 312">
              <a:extLst>
                <a:ext uri="{FF2B5EF4-FFF2-40B4-BE49-F238E27FC236}">
                  <a16:creationId xmlns:a16="http://schemas.microsoft.com/office/drawing/2014/main" id="{7BBCD07E-1E9A-4D18-8055-2A3A6B07A48C}"/>
                </a:ext>
              </a:extLst>
            </p:cNvPr>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6966306" y="1788105"/>
              <a:ext cx="888566" cy="888568"/>
            </a:xfrm>
            <a:prstGeom prst="rect">
              <a:avLst/>
            </a:prstGeom>
          </p:spPr>
        </p:pic>
        <p:pic>
          <p:nvPicPr>
            <p:cNvPr id="1028" name="图片 328">
              <a:extLst>
                <a:ext uri="{FF2B5EF4-FFF2-40B4-BE49-F238E27FC236}">
                  <a16:creationId xmlns:a16="http://schemas.microsoft.com/office/drawing/2014/main" id="{955C71AD-F689-49B9-84F8-3FF8D98D1D94}"/>
                </a:ext>
              </a:extLst>
            </p:cNvPr>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10502961" y="1904912"/>
              <a:ext cx="607287" cy="607287"/>
            </a:xfrm>
            <a:prstGeom prst="rect">
              <a:avLst/>
            </a:prstGeom>
            <a:solidFill>
              <a:srgbClr val="0078B3"/>
            </a:solidFill>
          </p:spPr>
        </p:pic>
        <p:pic>
          <p:nvPicPr>
            <p:cNvPr id="1029" name="图片 1" descr="image001">
              <a:extLst>
                <a:ext uri="{FF2B5EF4-FFF2-40B4-BE49-F238E27FC236}">
                  <a16:creationId xmlns:a16="http://schemas.microsoft.com/office/drawing/2014/main" id="{665C3777-6B78-49CF-92A8-A917B3E2AB48}"/>
                </a:ext>
              </a:extLst>
            </p:cNvPr>
            <p:cNvPicPr>
              <a:picLocks noChangeAspect="1" noChangeArrowheads="1"/>
            </p:cNvPicPr>
            <p:nvPr/>
          </p:nvPicPr>
          <p:blipFill rotWithShape="1">
            <a:blip r:embed="rId27" cstate="email">
              <a:extLst>
                <a:ext uri="{28A0092B-C50C-407E-A947-70E740481C1C}">
                  <a14:useLocalDpi xmlns:a14="http://schemas.microsoft.com/office/drawing/2010/main"/>
                </a:ext>
              </a:extLst>
            </a:blip>
            <a:srcRect/>
            <a:stretch/>
          </p:blipFill>
          <p:spPr bwMode="auto">
            <a:xfrm>
              <a:off x="11324273" y="2110741"/>
              <a:ext cx="688432" cy="205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图片 358">
              <a:extLst>
                <a:ext uri="{FF2B5EF4-FFF2-40B4-BE49-F238E27FC236}">
                  <a16:creationId xmlns:a16="http://schemas.microsoft.com/office/drawing/2014/main" id="{827DA496-8C19-4551-B232-8A0218B5CFFE}"/>
                </a:ext>
              </a:extLst>
            </p:cNvPr>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225750" y="1980512"/>
              <a:ext cx="663283" cy="411126"/>
            </a:xfrm>
            <a:prstGeom prst="rect">
              <a:avLst/>
            </a:prstGeom>
          </p:spPr>
        </p:pic>
        <p:pic>
          <p:nvPicPr>
            <p:cNvPr id="1031" name="图片 367">
              <a:extLst>
                <a:ext uri="{FF2B5EF4-FFF2-40B4-BE49-F238E27FC236}">
                  <a16:creationId xmlns:a16="http://schemas.microsoft.com/office/drawing/2014/main" id="{23CCBEF1-7CB1-447E-931B-A6FCC70611EE}"/>
                </a:ext>
              </a:extLst>
            </p:cNvPr>
            <p:cNvPicPr>
              <a:picLocks noChangeAspect="1"/>
            </p:cNvPicPr>
            <p:nvPr/>
          </p:nvPicPr>
          <p:blipFill rotWithShape="1">
            <a:blip r:embed="rId29" cstate="email">
              <a:extLst>
                <a:ext uri="{28A0092B-C50C-407E-A947-70E740481C1C}">
                  <a14:useLocalDpi xmlns:a14="http://schemas.microsoft.com/office/drawing/2010/main"/>
                </a:ext>
              </a:extLst>
            </a:blip>
            <a:srcRect t="24378" r="6082" b="27290"/>
            <a:stretch/>
          </p:blipFill>
          <p:spPr>
            <a:xfrm>
              <a:off x="3653007" y="2028825"/>
              <a:ext cx="657056" cy="338138"/>
            </a:xfrm>
            <a:prstGeom prst="rect">
              <a:avLst/>
            </a:prstGeom>
          </p:spPr>
        </p:pic>
        <p:pic>
          <p:nvPicPr>
            <p:cNvPr id="1032" name="图片 389">
              <a:extLst>
                <a:ext uri="{FF2B5EF4-FFF2-40B4-BE49-F238E27FC236}">
                  <a16:creationId xmlns:a16="http://schemas.microsoft.com/office/drawing/2014/main" id="{1B497D48-2F76-4175-B69D-558860DAC2EE}"/>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2752392" y="1813489"/>
              <a:ext cx="746139" cy="746139"/>
            </a:xfrm>
            <a:prstGeom prst="rect">
              <a:avLst/>
            </a:prstGeom>
          </p:spPr>
        </p:pic>
      </p:grpSp>
      <p:grpSp>
        <p:nvGrpSpPr>
          <p:cNvPr id="1047" name="Group 1046">
            <a:extLst>
              <a:ext uri="{FF2B5EF4-FFF2-40B4-BE49-F238E27FC236}">
                <a16:creationId xmlns:a16="http://schemas.microsoft.com/office/drawing/2014/main" id="{0E015C6B-6DA4-4D27-9A1C-9E632AF8BC8E}"/>
              </a:ext>
            </a:extLst>
          </p:cNvPr>
          <p:cNvGrpSpPr/>
          <p:nvPr/>
        </p:nvGrpSpPr>
        <p:grpSpPr>
          <a:xfrm>
            <a:off x="176602" y="9869037"/>
            <a:ext cx="12120981" cy="1101137"/>
            <a:chOff x="171449" y="2523938"/>
            <a:chExt cx="11886080" cy="1079797"/>
          </a:xfrm>
        </p:grpSpPr>
        <p:grpSp>
          <p:nvGrpSpPr>
            <p:cNvPr id="1048" name="Group 1047">
              <a:extLst>
                <a:ext uri="{FF2B5EF4-FFF2-40B4-BE49-F238E27FC236}">
                  <a16:creationId xmlns:a16="http://schemas.microsoft.com/office/drawing/2014/main" id="{6F9D466C-3786-4A94-9B64-9C2871985E04}"/>
                </a:ext>
              </a:extLst>
            </p:cNvPr>
            <p:cNvGrpSpPr/>
            <p:nvPr/>
          </p:nvGrpSpPr>
          <p:grpSpPr>
            <a:xfrm>
              <a:off x="171449" y="2628187"/>
              <a:ext cx="11886080" cy="774482"/>
              <a:chOff x="171449" y="2628187"/>
              <a:chExt cx="11886080" cy="774482"/>
            </a:xfrm>
          </p:grpSpPr>
          <p:sp>
            <p:nvSpPr>
              <p:cNvPr id="1063" name="矩形 39">
                <a:extLst>
                  <a:ext uri="{FF2B5EF4-FFF2-40B4-BE49-F238E27FC236}">
                    <a16:creationId xmlns:a16="http://schemas.microsoft.com/office/drawing/2014/main" id="{C96F4772-F354-4002-9001-952A09F5EA8E}"/>
                  </a:ext>
                </a:extLst>
              </p:cNvPr>
              <p:cNvSpPr/>
              <p:nvPr/>
            </p:nvSpPr>
            <p:spPr bwMode="auto">
              <a:xfrm>
                <a:off x="1039608" y="2628187"/>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4" name="矩形 40">
                <a:extLst>
                  <a:ext uri="{FF2B5EF4-FFF2-40B4-BE49-F238E27FC236}">
                    <a16:creationId xmlns:a16="http://schemas.microsoft.com/office/drawing/2014/main" id="{16EC7B25-A822-4813-9650-D1873A496FEF}"/>
                  </a:ext>
                </a:extLst>
              </p:cNvPr>
              <p:cNvSpPr/>
              <p:nvPr/>
            </p:nvSpPr>
            <p:spPr bwMode="auto">
              <a:xfrm>
                <a:off x="1893277" y="2628187"/>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5" name="矩形 41">
                <a:extLst>
                  <a:ext uri="{FF2B5EF4-FFF2-40B4-BE49-F238E27FC236}">
                    <a16:creationId xmlns:a16="http://schemas.microsoft.com/office/drawing/2014/main" id="{CAF115A4-B4E7-4C57-AD35-F11606F2A909}"/>
                  </a:ext>
                </a:extLst>
              </p:cNvPr>
              <p:cNvSpPr/>
              <p:nvPr/>
            </p:nvSpPr>
            <p:spPr bwMode="auto">
              <a:xfrm>
                <a:off x="2746946" y="2628187"/>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6" name="矩形 42">
                <a:extLst>
                  <a:ext uri="{FF2B5EF4-FFF2-40B4-BE49-F238E27FC236}">
                    <a16:creationId xmlns:a16="http://schemas.microsoft.com/office/drawing/2014/main" id="{2A8F405E-9AD9-4B01-8692-25D634E037D6}"/>
                  </a:ext>
                </a:extLst>
              </p:cNvPr>
              <p:cNvSpPr/>
              <p:nvPr/>
            </p:nvSpPr>
            <p:spPr bwMode="auto">
              <a:xfrm>
                <a:off x="3600616" y="2628187"/>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7" name="矩形 43">
                <a:extLst>
                  <a:ext uri="{FF2B5EF4-FFF2-40B4-BE49-F238E27FC236}">
                    <a16:creationId xmlns:a16="http://schemas.microsoft.com/office/drawing/2014/main" id="{F56F27DF-0C27-4495-85F3-FC1EDDEC1AC4}"/>
                  </a:ext>
                </a:extLst>
              </p:cNvPr>
              <p:cNvSpPr/>
              <p:nvPr/>
            </p:nvSpPr>
            <p:spPr bwMode="auto">
              <a:xfrm>
                <a:off x="4454285" y="2628187"/>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8" name="矩形 44">
                <a:extLst>
                  <a:ext uri="{FF2B5EF4-FFF2-40B4-BE49-F238E27FC236}">
                    <a16:creationId xmlns:a16="http://schemas.microsoft.com/office/drawing/2014/main" id="{F09AB5E2-2861-4D0B-B822-274399CEA28F}"/>
                  </a:ext>
                </a:extLst>
              </p:cNvPr>
              <p:cNvSpPr/>
              <p:nvPr/>
            </p:nvSpPr>
            <p:spPr bwMode="auto">
              <a:xfrm>
                <a:off x="5307955" y="2628187"/>
                <a:ext cx="759398" cy="774482"/>
              </a:xfrm>
              <a:prstGeom prst="rect">
                <a:avLst/>
              </a:prstGeom>
              <a:solidFill>
                <a:schemeClr val="accent5"/>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9" name="矩形 45">
                <a:extLst>
                  <a:ext uri="{FF2B5EF4-FFF2-40B4-BE49-F238E27FC236}">
                    <a16:creationId xmlns:a16="http://schemas.microsoft.com/office/drawing/2014/main" id="{4783099D-F731-4EFA-978D-8DE7BF1120E5}"/>
                  </a:ext>
                </a:extLst>
              </p:cNvPr>
              <p:cNvSpPr/>
              <p:nvPr/>
            </p:nvSpPr>
            <p:spPr bwMode="auto">
              <a:xfrm>
                <a:off x="6161624" y="2628187"/>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0" name="矩形 46">
                <a:extLst>
                  <a:ext uri="{FF2B5EF4-FFF2-40B4-BE49-F238E27FC236}">
                    <a16:creationId xmlns:a16="http://schemas.microsoft.com/office/drawing/2014/main" id="{E962CBC5-4E0C-4B84-B1D7-DDA10B1C13BA}"/>
                  </a:ext>
                </a:extLst>
              </p:cNvPr>
              <p:cNvSpPr/>
              <p:nvPr/>
            </p:nvSpPr>
            <p:spPr bwMode="auto">
              <a:xfrm>
                <a:off x="7015293" y="2628187"/>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1" name="矩形 47">
                <a:extLst>
                  <a:ext uri="{FF2B5EF4-FFF2-40B4-BE49-F238E27FC236}">
                    <a16:creationId xmlns:a16="http://schemas.microsoft.com/office/drawing/2014/main" id="{AA4E0AF8-32AE-43E7-8199-F3A96D791455}"/>
                  </a:ext>
                </a:extLst>
              </p:cNvPr>
              <p:cNvSpPr/>
              <p:nvPr/>
            </p:nvSpPr>
            <p:spPr bwMode="auto">
              <a:xfrm>
                <a:off x="7868963" y="2628187"/>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2" name="矩形 48">
                <a:extLst>
                  <a:ext uri="{FF2B5EF4-FFF2-40B4-BE49-F238E27FC236}">
                    <a16:creationId xmlns:a16="http://schemas.microsoft.com/office/drawing/2014/main" id="{47D6AC85-A916-4D37-B7EF-E773E1F64DE0}"/>
                  </a:ext>
                </a:extLst>
              </p:cNvPr>
              <p:cNvSpPr/>
              <p:nvPr/>
            </p:nvSpPr>
            <p:spPr bwMode="auto">
              <a:xfrm>
                <a:off x="8722632" y="2628187"/>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3" name="矩形 49">
                <a:extLst>
                  <a:ext uri="{FF2B5EF4-FFF2-40B4-BE49-F238E27FC236}">
                    <a16:creationId xmlns:a16="http://schemas.microsoft.com/office/drawing/2014/main" id="{72679D99-9A63-4B51-9D58-08B1769C48BE}"/>
                  </a:ext>
                </a:extLst>
              </p:cNvPr>
              <p:cNvSpPr/>
              <p:nvPr/>
            </p:nvSpPr>
            <p:spPr bwMode="auto">
              <a:xfrm>
                <a:off x="9576301" y="2628187"/>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4" name="矩形 50">
                <a:extLst>
                  <a:ext uri="{FF2B5EF4-FFF2-40B4-BE49-F238E27FC236}">
                    <a16:creationId xmlns:a16="http://schemas.microsoft.com/office/drawing/2014/main" id="{47A98D15-5E8D-48D4-AB12-9023B06B057C}"/>
                  </a:ext>
                </a:extLst>
              </p:cNvPr>
              <p:cNvSpPr/>
              <p:nvPr/>
            </p:nvSpPr>
            <p:spPr bwMode="auto">
              <a:xfrm>
                <a:off x="10429973" y="2628187"/>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5" name="矩形 90">
                <a:extLst>
                  <a:ext uri="{FF2B5EF4-FFF2-40B4-BE49-F238E27FC236}">
                    <a16:creationId xmlns:a16="http://schemas.microsoft.com/office/drawing/2014/main" id="{FC8B6491-AAE3-43B1-80ED-6D178EEA1920}"/>
                  </a:ext>
                </a:extLst>
              </p:cNvPr>
              <p:cNvSpPr/>
              <p:nvPr/>
            </p:nvSpPr>
            <p:spPr bwMode="auto">
              <a:xfrm>
                <a:off x="11298131" y="2628187"/>
                <a:ext cx="759398" cy="774482"/>
              </a:xfrm>
              <a:prstGeom prst="rect">
                <a:avLst/>
              </a:prstGeom>
              <a:solidFill>
                <a:srgbClr val="FFB63D"/>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6" name="矩形 104">
                <a:extLst>
                  <a:ext uri="{FF2B5EF4-FFF2-40B4-BE49-F238E27FC236}">
                    <a16:creationId xmlns:a16="http://schemas.microsoft.com/office/drawing/2014/main" id="{C6A09C51-B0C6-4A30-AFB7-82D93923D5FC}"/>
                  </a:ext>
                </a:extLst>
              </p:cNvPr>
              <p:cNvSpPr/>
              <p:nvPr/>
            </p:nvSpPr>
            <p:spPr bwMode="auto">
              <a:xfrm>
                <a:off x="171449" y="2628187"/>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1049" name="图片 266">
              <a:extLst>
                <a:ext uri="{FF2B5EF4-FFF2-40B4-BE49-F238E27FC236}">
                  <a16:creationId xmlns:a16="http://schemas.microsoft.com/office/drawing/2014/main" id="{F03A2B86-BDA8-4A0F-BAAE-A60EE8A4FBD1}"/>
                </a:ext>
              </a:extLst>
            </p:cNvPr>
            <p:cNvPicPr>
              <a:picLocks noChangeAspect="1"/>
            </p:cNvPicPr>
            <p:nvPr/>
          </p:nvPicPr>
          <p:blipFill rotWithShape="1">
            <a:blip r:embed="rId31" cstate="email">
              <a:extLst>
                <a:ext uri="{28A0092B-C50C-407E-A947-70E740481C1C}">
                  <a14:useLocalDpi xmlns:a14="http://schemas.microsoft.com/office/drawing/2010/main"/>
                </a:ext>
              </a:extLst>
            </a:blip>
            <a:srcRect l="9290" t="6327" r="10582" b="12537"/>
            <a:stretch/>
          </p:blipFill>
          <p:spPr>
            <a:xfrm>
              <a:off x="1092201" y="2674938"/>
              <a:ext cx="642938" cy="681037"/>
            </a:xfrm>
            <a:prstGeom prst="rect">
              <a:avLst/>
            </a:prstGeom>
          </p:spPr>
        </p:pic>
        <p:pic>
          <p:nvPicPr>
            <p:cNvPr id="1050" name="Picture 215">
              <a:extLst>
                <a:ext uri="{FF2B5EF4-FFF2-40B4-BE49-F238E27FC236}">
                  <a16:creationId xmlns:a16="http://schemas.microsoft.com/office/drawing/2014/main" id="{DED38E44-6826-414F-9953-40C40171E6EA}"/>
                </a:ext>
              </a:extLst>
            </p:cNvPr>
            <p:cNvPicPr>
              <a:picLocks noChangeAspect="1"/>
            </p:cNvPicPr>
            <p:nvPr/>
          </p:nvPicPr>
          <p:blipFill rotWithShape="1">
            <a:blip r:embed="rId32" cstate="email">
              <a:extLst>
                <a:ext uri="{28A0092B-C50C-407E-A947-70E740481C1C}">
                  <a14:useLocalDpi xmlns:a14="http://schemas.microsoft.com/office/drawing/2010/main"/>
                </a:ext>
              </a:extLst>
            </a:blip>
            <a:srcRect/>
            <a:stretch/>
          </p:blipFill>
          <p:spPr>
            <a:xfrm>
              <a:off x="2790825" y="2781826"/>
              <a:ext cx="650082" cy="511928"/>
            </a:xfrm>
            <a:prstGeom prst="rect">
              <a:avLst/>
            </a:prstGeom>
            <a:solidFill>
              <a:schemeClr val="bg1"/>
            </a:solidFill>
            <a:ln>
              <a:noFill/>
            </a:ln>
          </p:spPr>
        </p:pic>
        <p:pic>
          <p:nvPicPr>
            <p:cNvPr id="1051" name="Picture 230">
              <a:extLst>
                <a:ext uri="{FF2B5EF4-FFF2-40B4-BE49-F238E27FC236}">
                  <a16:creationId xmlns:a16="http://schemas.microsoft.com/office/drawing/2014/main" id="{B798475B-EC42-43C7-938D-A630AE6C5947}"/>
                </a:ext>
              </a:extLst>
            </p:cNvPr>
            <p:cNvPicPr>
              <a:picLocks noChangeAspect="1"/>
            </p:cNvPicPr>
            <p:nvPr/>
          </p:nvPicPr>
          <p:blipFill>
            <a:blip r:embed="rId33" cstate="email">
              <a:extLst>
                <a:ext uri="{28A0092B-C50C-407E-A947-70E740481C1C}">
                  <a14:useLocalDpi xmlns:a14="http://schemas.microsoft.com/office/drawing/2010/main"/>
                </a:ext>
              </a:extLst>
            </a:blip>
            <a:stretch>
              <a:fillRect/>
            </a:stretch>
          </p:blipFill>
          <p:spPr>
            <a:xfrm>
              <a:off x="1936752" y="2909890"/>
              <a:ext cx="678098" cy="223838"/>
            </a:xfrm>
            <a:prstGeom prst="rect">
              <a:avLst/>
            </a:prstGeom>
            <a:solidFill>
              <a:schemeClr val="bg1"/>
            </a:solidFill>
            <a:ln>
              <a:noFill/>
            </a:ln>
          </p:spPr>
        </p:pic>
        <p:pic>
          <p:nvPicPr>
            <p:cNvPr id="1052" name="Picture 232">
              <a:extLst>
                <a:ext uri="{FF2B5EF4-FFF2-40B4-BE49-F238E27FC236}">
                  <a16:creationId xmlns:a16="http://schemas.microsoft.com/office/drawing/2014/main" id="{26BA95EF-5265-4C89-8E90-752807EC2870}"/>
                </a:ext>
              </a:extLst>
            </p:cNvPr>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a:off x="3649777" y="2801211"/>
              <a:ext cx="678383" cy="420486"/>
            </a:xfrm>
            <a:prstGeom prst="rect">
              <a:avLst/>
            </a:prstGeom>
            <a:solidFill>
              <a:schemeClr val="bg1"/>
            </a:solidFill>
            <a:ln>
              <a:noFill/>
            </a:ln>
          </p:spPr>
        </p:pic>
        <p:pic>
          <p:nvPicPr>
            <p:cNvPr id="1053" name="Picture 237">
              <a:extLst>
                <a:ext uri="{FF2B5EF4-FFF2-40B4-BE49-F238E27FC236}">
                  <a16:creationId xmlns:a16="http://schemas.microsoft.com/office/drawing/2014/main" id="{3DE7DC33-37EA-4C2C-BC04-87A2C0E88C59}"/>
                </a:ext>
              </a:extLst>
            </p:cNvPr>
            <p:cNvPicPr>
              <a:picLocks noChangeAspect="1"/>
            </p:cNvPicPr>
            <p:nvPr/>
          </p:nvPicPr>
          <p:blipFill>
            <a:blip r:embed="rId35" cstate="email">
              <a:extLst>
                <a:ext uri="{28A0092B-C50C-407E-A947-70E740481C1C}">
                  <a14:useLocalDpi xmlns:a14="http://schemas.microsoft.com/office/drawing/2010/main"/>
                </a:ext>
              </a:extLst>
            </a:blip>
            <a:stretch>
              <a:fillRect/>
            </a:stretch>
          </p:blipFill>
          <p:spPr>
            <a:xfrm>
              <a:off x="4495318" y="2725128"/>
              <a:ext cx="681818" cy="591956"/>
            </a:xfrm>
            <a:prstGeom prst="rect">
              <a:avLst/>
            </a:prstGeom>
            <a:solidFill>
              <a:schemeClr val="bg1"/>
            </a:solidFill>
            <a:ln>
              <a:noFill/>
            </a:ln>
          </p:spPr>
        </p:pic>
        <p:pic>
          <p:nvPicPr>
            <p:cNvPr id="1054" name="Picture 6">
              <a:extLst>
                <a:ext uri="{FF2B5EF4-FFF2-40B4-BE49-F238E27FC236}">
                  <a16:creationId xmlns:a16="http://schemas.microsoft.com/office/drawing/2014/main" id="{345698E2-4C27-46E5-BBDB-2FD8A85320C4}"/>
                </a:ext>
              </a:extLst>
            </p:cNvPr>
            <p:cNvPicPr>
              <a:picLocks noChangeAspect="1"/>
            </p:cNvPicPr>
            <p:nvPr/>
          </p:nvPicPr>
          <p:blipFill rotWithShape="1">
            <a:blip r:embed="rId36" cstate="email">
              <a:extLst>
                <a:ext uri="{28A0092B-C50C-407E-A947-70E740481C1C}">
                  <a14:useLocalDpi xmlns:a14="http://schemas.microsoft.com/office/drawing/2010/main"/>
                </a:ext>
              </a:extLst>
            </a:blip>
            <a:srcRect l="5471" r="5959"/>
            <a:stretch/>
          </p:blipFill>
          <p:spPr>
            <a:xfrm>
              <a:off x="7896162" y="2809339"/>
              <a:ext cx="685801" cy="336309"/>
            </a:xfrm>
            <a:prstGeom prst="rect">
              <a:avLst/>
            </a:prstGeom>
          </p:spPr>
        </p:pic>
        <p:pic>
          <p:nvPicPr>
            <p:cNvPr id="1055" name="Picture 31" descr="C:\Users\york.yang2\Desktop\Deck For Cloud China George\smartisan.png">
              <a:extLst>
                <a:ext uri="{FF2B5EF4-FFF2-40B4-BE49-F238E27FC236}">
                  <a16:creationId xmlns:a16="http://schemas.microsoft.com/office/drawing/2014/main" id="{F1DC05E9-1664-4024-9DA9-32760BDF12AB}"/>
                </a:ext>
              </a:extLst>
            </p:cNvPr>
            <p:cNvPicPr>
              <a:picLocks noChangeAspect="1" noChangeArrowheads="1"/>
            </p:cNvPicPr>
            <p:nvPr/>
          </p:nvPicPr>
          <p:blipFill>
            <a:blip r:embed="rId37" cstate="email">
              <a:extLst>
                <a:ext uri="{28A0092B-C50C-407E-A947-70E740481C1C}">
                  <a14:useLocalDpi xmlns:a14="http://schemas.microsoft.com/office/drawing/2010/main"/>
                </a:ext>
              </a:extLst>
            </a:blip>
            <a:srcRect/>
            <a:stretch>
              <a:fillRect/>
            </a:stretch>
          </p:blipFill>
          <p:spPr bwMode="auto">
            <a:xfrm>
              <a:off x="6170485" y="2624304"/>
              <a:ext cx="769781" cy="769781"/>
            </a:xfrm>
            <a:prstGeom prst="rect">
              <a:avLst/>
            </a:prstGeom>
            <a:noFill/>
            <a:extLst>
              <a:ext uri="{909E8E84-426E-40DD-AFC4-6F175D3DCCD1}">
                <a14:hiddenFill xmlns:a14="http://schemas.microsoft.com/office/drawing/2010/main">
                  <a:solidFill>
                    <a:srgbClr val="FFFFFF"/>
                  </a:solidFill>
                </a14:hiddenFill>
              </a:ext>
            </a:extLst>
          </p:spPr>
        </p:pic>
        <p:pic>
          <p:nvPicPr>
            <p:cNvPr id="1056" name="图片 299">
              <a:extLst>
                <a:ext uri="{FF2B5EF4-FFF2-40B4-BE49-F238E27FC236}">
                  <a16:creationId xmlns:a16="http://schemas.microsoft.com/office/drawing/2014/main" id="{DDB5EABC-E635-41B1-BBC9-96E3341074A9}"/>
                </a:ext>
              </a:extLst>
            </p:cNvPr>
            <p:cNvPicPr>
              <a:picLocks noChangeAspect="1"/>
            </p:cNvPicPr>
            <p:nvPr/>
          </p:nvPicPr>
          <p:blipFill>
            <a:blip r:embed="rId38" cstate="email">
              <a:extLst>
                <a:ext uri="{28A0092B-C50C-407E-A947-70E740481C1C}">
                  <a14:useLocalDpi xmlns:a14="http://schemas.microsoft.com/office/drawing/2010/main"/>
                </a:ext>
              </a:extLst>
            </a:blip>
            <a:stretch>
              <a:fillRect/>
            </a:stretch>
          </p:blipFill>
          <p:spPr>
            <a:xfrm>
              <a:off x="7088504" y="2927345"/>
              <a:ext cx="652537" cy="180101"/>
            </a:xfrm>
            <a:prstGeom prst="rect">
              <a:avLst/>
            </a:prstGeom>
          </p:spPr>
        </p:pic>
        <p:pic>
          <p:nvPicPr>
            <p:cNvPr id="1057" name="图片 314">
              <a:extLst>
                <a:ext uri="{FF2B5EF4-FFF2-40B4-BE49-F238E27FC236}">
                  <a16:creationId xmlns:a16="http://schemas.microsoft.com/office/drawing/2014/main" id="{B61E1FD9-7907-4792-9112-B383CC786EC3}"/>
                </a:ext>
              </a:extLst>
            </p:cNvPr>
            <p:cNvPicPr>
              <a:picLocks noChangeAspect="1"/>
            </p:cNvPicPr>
            <p:nvPr/>
          </p:nvPicPr>
          <p:blipFill>
            <a:blip r:embed="rId39" cstate="email">
              <a:extLst>
                <a:ext uri="{28A0092B-C50C-407E-A947-70E740481C1C}">
                  <a14:useLocalDpi xmlns:a14="http://schemas.microsoft.com/office/drawing/2010/main"/>
                </a:ext>
              </a:extLst>
            </a:blip>
            <a:stretch>
              <a:fillRect/>
            </a:stretch>
          </p:blipFill>
          <p:spPr>
            <a:xfrm>
              <a:off x="11344505" y="2701027"/>
              <a:ext cx="673525" cy="673525"/>
            </a:xfrm>
            <a:prstGeom prst="rect">
              <a:avLst/>
            </a:prstGeom>
          </p:spPr>
        </p:pic>
        <p:pic>
          <p:nvPicPr>
            <p:cNvPr id="1058" name="图片 335">
              <a:extLst>
                <a:ext uri="{FF2B5EF4-FFF2-40B4-BE49-F238E27FC236}">
                  <a16:creationId xmlns:a16="http://schemas.microsoft.com/office/drawing/2014/main" id="{F322E554-4E6E-41F4-8FCD-409B4014EE36}"/>
                </a:ext>
              </a:extLst>
            </p:cNvPr>
            <p:cNvPicPr>
              <a:picLocks noChangeAspect="1"/>
            </p:cNvPicPr>
            <p:nvPr/>
          </p:nvPicPr>
          <p:blipFill>
            <a:blip r:embed="rId40" cstate="email">
              <a:extLst>
                <a:ext uri="{28A0092B-C50C-407E-A947-70E740481C1C}">
                  <a14:useLocalDpi xmlns:a14="http://schemas.microsoft.com/office/drawing/2010/main"/>
                </a:ext>
              </a:extLst>
            </a:blip>
            <a:stretch>
              <a:fillRect/>
            </a:stretch>
          </p:blipFill>
          <p:spPr>
            <a:xfrm>
              <a:off x="9631350" y="2690778"/>
              <a:ext cx="664172" cy="664172"/>
            </a:xfrm>
            <a:prstGeom prst="rect">
              <a:avLst/>
            </a:prstGeom>
          </p:spPr>
        </p:pic>
        <p:pic>
          <p:nvPicPr>
            <p:cNvPr id="1059" name="图片 1" descr="image001">
              <a:extLst>
                <a:ext uri="{FF2B5EF4-FFF2-40B4-BE49-F238E27FC236}">
                  <a16:creationId xmlns:a16="http://schemas.microsoft.com/office/drawing/2014/main" id="{E3F3667D-37EF-4C8A-9174-8B749628AD22}"/>
                </a:ext>
              </a:extLst>
            </p:cNvPr>
            <p:cNvPicPr>
              <a:picLocks noChangeAspect="1" noChangeArrowheads="1"/>
            </p:cNvPicPr>
            <p:nvPr/>
          </p:nvPicPr>
          <p:blipFill rotWithShape="1">
            <a:blip r:embed="rId41" cstate="email">
              <a:extLst>
                <a:ext uri="{28A0092B-C50C-407E-A947-70E740481C1C}">
                  <a14:useLocalDpi xmlns:a14="http://schemas.microsoft.com/office/drawing/2010/main"/>
                </a:ext>
              </a:extLst>
            </a:blip>
            <a:srcRect/>
            <a:stretch/>
          </p:blipFill>
          <p:spPr bwMode="auto">
            <a:xfrm>
              <a:off x="8764764" y="2875947"/>
              <a:ext cx="680981" cy="27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0" name="图片 362">
              <a:extLst>
                <a:ext uri="{FF2B5EF4-FFF2-40B4-BE49-F238E27FC236}">
                  <a16:creationId xmlns:a16="http://schemas.microsoft.com/office/drawing/2014/main" id="{4B739862-776D-4144-9E9F-D2085AF1E911}"/>
                </a:ext>
              </a:extLst>
            </p:cNvPr>
            <p:cNvPicPr>
              <a:picLocks noChangeAspect="1"/>
            </p:cNvPicPr>
            <p:nvPr/>
          </p:nvPicPr>
          <p:blipFill rotWithShape="1">
            <a:blip r:embed="rId42" cstate="email">
              <a:extLst>
                <a:ext uri="{28A0092B-C50C-407E-A947-70E740481C1C}">
                  <a14:useLocalDpi xmlns:a14="http://schemas.microsoft.com/office/drawing/2010/main"/>
                </a:ext>
              </a:extLst>
            </a:blip>
            <a:srcRect/>
            <a:stretch/>
          </p:blipFill>
          <p:spPr>
            <a:xfrm>
              <a:off x="272322" y="2719308"/>
              <a:ext cx="582807" cy="583304"/>
            </a:xfrm>
            <a:prstGeom prst="rect">
              <a:avLst/>
            </a:prstGeom>
          </p:spPr>
        </p:pic>
        <p:pic>
          <p:nvPicPr>
            <p:cNvPr id="1061" name="图片 372">
              <a:extLst>
                <a:ext uri="{FF2B5EF4-FFF2-40B4-BE49-F238E27FC236}">
                  <a16:creationId xmlns:a16="http://schemas.microsoft.com/office/drawing/2014/main" id="{59060BEA-3F39-40B5-8767-42631C1A7F93}"/>
                </a:ext>
              </a:extLst>
            </p:cNvPr>
            <p:cNvPicPr>
              <a:picLocks noChangeAspect="1"/>
            </p:cNvPicPr>
            <p:nvPr/>
          </p:nvPicPr>
          <p:blipFill>
            <a:blip r:embed="rId43" cstate="email">
              <a:extLst>
                <a:ext uri="{28A0092B-C50C-407E-A947-70E740481C1C}">
                  <a14:useLocalDpi xmlns:a14="http://schemas.microsoft.com/office/drawing/2010/main"/>
                </a:ext>
              </a:extLst>
            </a:blip>
            <a:stretch>
              <a:fillRect/>
            </a:stretch>
          </p:blipFill>
          <p:spPr>
            <a:xfrm>
              <a:off x="10475681" y="2817171"/>
              <a:ext cx="667463" cy="417165"/>
            </a:xfrm>
            <a:prstGeom prst="rect">
              <a:avLst/>
            </a:prstGeom>
          </p:spPr>
        </p:pic>
        <p:pic>
          <p:nvPicPr>
            <p:cNvPr id="1062" name="图片 392">
              <a:extLst>
                <a:ext uri="{FF2B5EF4-FFF2-40B4-BE49-F238E27FC236}">
                  <a16:creationId xmlns:a16="http://schemas.microsoft.com/office/drawing/2014/main" id="{8E209B75-73E0-4222-B54D-ED14A52AFB96}"/>
                </a:ext>
              </a:extLst>
            </p:cNvPr>
            <p:cNvPicPr>
              <a:picLocks noChangeAspect="1"/>
            </p:cNvPicPr>
            <p:nvPr/>
          </p:nvPicPr>
          <p:blipFill>
            <a:blip r:embed="rId44" cstate="email">
              <a:extLst>
                <a:ext uri="{28A0092B-C50C-407E-A947-70E740481C1C}">
                  <a14:useLocalDpi xmlns:a14="http://schemas.microsoft.com/office/drawing/2010/main"/>
                </a:ext>
              </a:extLst>
            </a:blip>
            <a:stretch>
              <a:fillRect/>
            </a:stretch>
          </p:blipFill>
          <p:spPr>
            <a:xfrm>
              <a:off x="5154510" y="2523938"/>
              <a:ext cx="1079797" cy="1079797"/>
            </a:xfrm>
            <a:prstGeom prst="rect">
              <a:avLst/>
            </a:prstGeom>
          </p:spPr>
        </p:pic>
      </p:grpSp>
      <p:grpSp>
        <p:nvGrpSpPr>
          <p:cNvPr id="1077" name="Group 1076">
            <a:extLst>
              <a:ext uri="{FF2B5EF4-FFF2-40B4-BE49-F238E27FC236}">
                <a16:creationId xmlns:a16="http://schemas.microsoft.com/office/drawing/2014/main" id="{661D83E8-FE1A-4DB3-9B57-35DD13CC13B1}"/>
              </a:ext>
            </a:extLst>
          </p:cNvPr>
          <p:cNvGrpSpPr/>
          <p:nvPr/>
        </p:nvGrpSpPr>
        <p:grpSpPr>
          <a:xfrm>
            <a:off x="176602" y="12414346"/>
            <a:ext cx="12120981" cy="1052171"/>
            <a:chOff x="171449" y="5019918"/>
            <a:chExt cx="11886080" cy="1031780"/>
          </a:xfrm>
        </p:grpSpPr>
        <p:grpSp>
          <p:nvGrpSpPr>
            <p:cNvPr id="1078" name="Group 1077">
              <a:extLst>
                <a:ext uri="{FF2B5EF4-FFF2-40B4-BE49-F238E27FC236}">
                  <a16:creationId xmlns:a16="http://schemas.microsoft.com/office/drawing/2014/main" id="{02D013EB-4072-4779-B28A-EAAB7994192F}"/>
                </a:ext>
              </a:extLst>
            </p:cNvPr>
            <p:cNvGrpSpPr/>
            <p:nvPr/>
          </p:nvGrpSpPr>
          <p:grpSpPr>
            <a:xfrm>
              <a:off x="171449" y="5105385"/>
              <a:ext cx="11886080" cy="774482"/>
              <a:chOff x="171449" y="5105385"/>
              <a:chExt cx="11886080" cy="774482"/>
            </a:xfrm>
          </p:grpSpPr>
          <p:sp>
            <p:nvSpPr>
              <p:cNvPr id="1093" name="矩形 75">
                <a:extLst>
                  <a:ext uri="{FF2B5EF4-FFF2-40B4-BE49-F238E27FC236}">
                    <a16:creationId xmlns:a16="http://schemas.microsoft.com/office/drawing/2014/main" id="{5C054081-6910-419B-A8FD-E9BDFF303DD1}"/>
                  </a:ext>
                </a:extLst>
              </p:cNvPr>
              <p:cNvSpPr/>
              <p:nvPr/>
            </p:nvSpPr>
            <p:spPr bwMode="auto">
              <a:xfrm>
                <a:off x="1039608" y="5105385"/>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94" name="矩形 76">
                <a:extLst>
                  <a:ext uri="{FF2B5EF4-FFF2-40B4-BE49-F238E27FC236}">
                    <a16:creationId xmlns:a16="http://schemas.microsoft.com/office/drawing/2014/main" id="{29E3129A-BDA3-4558-AFF8-35E89C56F32E}"/>
                  </a:ext>
                </a:extLst>
              </p:cNvPr>
              <p:cNvSpPr/>
              <p:nvPr/>
            </p:nvSpPr>
            <p:spPr bwMode="auto">
              <a:xfrm>
                <a:off x="1893277" y="5105385"/>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95" name="矩形 77">
                <a:extLst>
                  <a:ext uri="{FF2B5EF4-FFF2-40B4-BE49-F238E27FC236}">
                    <a16:creationId xmlns:a16="http://schemas.microsoft.com/office/drawing/2014/main" id="{C2E6C8FB-844E-4AAD-A17C-18FA4697DE01}"/>
                  </a:ext>
                </a:extLst>
              </p:cNvPr>
              <p:cNvSpPr/>
              <p:nvPr/>
            </p:nvSpPr>
            <p:spPr bwMode="auto">
              <a:xfrm>
                <a:off x="2746946" y="5105385"/>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96" name="矩形 78">
                <a:extLst>
                  <a:ext uri="{FF2B5EF4-FFF2-40B4-BE49-F238E27FC236}">
                    <a16:creationId xmlns:a16="http://schemas.microsoft.com/office/drawing/2014/main" id="{07BCDDD4-9856-42FB-BD95-0AF7EF28D7E9}"/>
                  </a:ext>
                </a:extLst>
              </p:cNvPr>
              <p:cNvSpPr/>
              <p:nvPr/>
            </p:nvSpPr>
            <p:spPr bwMode="auto">
              <a:xfrm>
                <a:off x="3600616" y="5105385"/>
                <a:ext cx="759398" cy="774482"/>
              </a:xfrm>
              <a:prstGeom prst="rect">
                <a:avLst/>
              </a:prstGeom>
              <a:solidFill>
                <a:srgbClr val="183B75"/>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97" name="矩形 79">
                <a:extLst>
                  <a:ext uri="{FF2B5EF4-FFF2-40B4-BE49-F238E27FC236}">
                    <a16:creationId xmlns:a16="http://schemas.microsoft.com/office/drawing/2014/main" id="{91C5144B-E3D9-4C86-AC1A-859C3071F7E1}"/>
                  </a:ext>
                </a:extLst>
              </p:cNvPr>
              <p:cNvSpPr/>
              <p:nvPr/>
            </p:nvSpPr>
            <p:spPr bwMode="auto">
              <a:xfrm>
                <a:off x="4454285" y="5105385"/>
                <a:ext cx="759398" cy="774482"/>
              </a:xfrm>
              <a:prstGeom prst="rect">
                <a:avLst/>
              </a:prstGeom>
              <a:solidFill>
                <a:srgbClr val="4B4948"/>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98" name="矩形 80">
                <a:extLst>
                  <a:ext uri="{FF2B5EF4-FFF2-40B4-BE49-F238E27FC236}">
                    <a16:creationId xmlns:a16="http://schemas.microsoft.com/office/drawing/2014/main" id="{687B6EA6-B9D4-4FD4-BADF-C719DD9E5807}"/>
                  </a:ext>
                </a:extLst>
              </p:cNvPr>
              <p:cNvSpPr/>
              <p:nvPr/>
            </p:nvSpPr>
            <p:spPr bwMode="auto">
              <a:xfrm>
                <a:off x="5307955" y="5105385"/>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99" name="矩形 81">
                <a:extLst>
                  <a:ext uri="{FF2B5EF4-FFF2-40B4-BE49-F238E27FC236}">
                    <a16:creationId xmlns:a16="http://schemas.microsoft.com/office/drawing/2014/main" id="{A604610A-2DDA-4553-82B4-BD011114D6C9}"/>
                  </a:ext>
                </a:extLst>
              </p:cNvPr>
              <p:cNvSpPr/>
              <p:nvPr/>
            </p:nvSpPr>
            <p:spPr bwMode="auto">
              <a:xfrm>
                <a:off x="6161624" y="5105385"/>
                <a:ext cx="759398" cy="774482"/>
              </a:xfrm>
              <a:prstGeom prst="rect">
                <a:avLst/>
              </a:prstGeom>
              <a:solidFill>
                <a:srgbClr val="7030A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00" name="矩形 82">
                <a:extLst>
                  <a:ext uri="{FF2B5EF4-FFF2-40B4-BE49-F238E27FC236}">
                    <a16:creationId xmlns:a16="http://schemas.microsoft.com/office/drawing/2014/main" id="{2696BB31-8BBD-4714-A69B-B467B33EBFC0}"/>
                  </a:ext>
                </a:extLst>
              </p:cNvPr>
              <p:cNvSpPr/>
              <p:nvPr/>
            </p:nvSpPr>
            <p:spPr bwMode="auto">
              <a:xfrm>
                <a:off x="7015293" y="5105385"/>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01" name="矩形 83">
                <a:extLst>
                  <a:ext uri="{FF2B5EF4-FFF2-40B4-BE49-F238E27FC236}">
                    <a16:creationId xmlns:a16="http://schemas.microsoft.com/office/drawing/2014/main" id="{5CAA9D37-7767-4142-BAA4-75D9C83BB347}"/>
                  </a:ext>
                </a:extLst>
              </p:cNvPr>
              <p:cNvSpPr/>
              <p:nvPr/>
            </p:nvSpPr>
            <p:spPr bwMode="auto">
              <a:xfrm>
                <a:off x="7868963" y="5105385"/>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02" name="矩形 84">
                <a:extLst>
                  <a:ext uri="{FF2B5EF4-FFF2-40B4-BE49-F238E27FC236}">
                    <a16:creationId xmlns:a16="http://schemas.microsoft.com/office/drawing/2014/main" id="{077CE152-79B7-4484-A0E3-94CBA995A69D}"/>
                  </a:ext>
                </a:extLst>
              </p:cNvPr>
              <p:cNvSpPr/>
              <p:nvPr/>
            </p:nvSpPr>
            <p:spPr bwMode="auto">
              <a:xfrm>
                <a:off x="8722632" y="5105385"/>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03" name="矩形 85">
                <a:extLst>
                  <a:ext uri="{FF2B5EF4-FFF2-40B4-BE49-F238E27FC236}">
                    <a16:creationId xmlns:a16="http://schemas.microsoft.com/office/drawing/2014/main" id="{438ACD3E-8AE8-44D2-8C57-C0E23706BF6D}"/>
                  </a:ext>
                </a:extLst>
              </p:cNvPr>
              <p:cNvSpPr/>
              <p:nvPr/>
            </p:nvSpPr>
            <p:spPr bwMode="auto">
              <a:xfrm>
                <a:off x="9576301" y="5105385"/>
                <a:ext cx="759398" cy="774482"/>
              </a:xfrm>
              <a:prstGeom prst="rect">
                <a:avLst/>
              </a:prstGeom>
              <a:solidFill>
                <a:srgbClr val="04000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04" name="矩形 86">
                <a:extLst>
                  <a:ext uri="{FF2B5EF4-FFF2-40B4-BE49-F238E27FC236}">
                    <a16:creationId xmlns:a16="http://schemas.microsoft.com/office/drawing/2014/main" id="{19D64AD1-C8D9-4890-9C46-1C0970BC1A95}"/>
                  </a:ext>
                </a:extLst>
              </p:cNvPr>
              <p:cNvSpPr/>
              <p:nvPr/>
            </p:nvSpPr>
            <p:spPr bwMode="auto">
              <a:xfrm>
                <a:off x="10429973" y="5105385"/>
                <a:ext cx="759398" cy="774482"/>
              </a:xfrm>
              <a:prstGeom prst="rect">
                <a:avLst/>
              </a:prstGeom>
              <a:solidFill>
                <a:srgbClr val="E60012"/>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05" name="矩形 93">
                <a:extLst>
                  <a:ext uri="{FF2B5EF4-FFF2-40B4-BE49-F238E27FC236}">
                    <a16:creationId xmlns:a16="http://schemas.microsoft.com/office/drawing/2014/main" id="{3E6978CD-A0FC-4D45-8E8F-193371648651}"/>
                  </a:ext>
                </a:extLst>
              </p:cNvPr>
              <p:cNvSpPr/>
              <p:nvPr/>
            </p:nvSpPr>
            <p:spPr bwMode="auto">
              <a:xfrm>
                <a:off x="11298131" y="5105385"/>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06" name="矩形 107">
                <a:extLst>
                  <a:ext uri="{FF2B5EF4-FFF2-40B4-BE49-F238E27FC236}">
                    <a16:creationId xmlns:a16="http://schemas.microsoft.com/office/drawing/2014/main" id="{77BFC76C-0507-42A3-AD2C-467F9BA546D9}"/>
                  </a:ext>
                </a:extLst>
              </p:cNvPr>
              <p:cNvSpPr/>
              <p:nvPr/>
            </p:nvSpPr>
            <p:spPr bwMode="auto">
              <a:xfrm>
                <a:off x="171449" y="5105385"/>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1079" name="Picture 2" descr="C:\Users\york.yang2\Desktop\Deck For Cloud China George\HNA.png">
              <a:extLst>
                <a:ext uri="{FF2B5EF4-FFF2-40B4-BE49-F238E27FC236}">
                  <a16:creationId xmlns:a16="http://schemas.microsoft.com/office/drawing/2014/main" id="{0AD29BD8-97DE-4164-9A94-32A4EB063D9B}"/>
                </a:ext>
              </a:extLst>
            </p:cNvPr>
            <p:cNvPicPr>
              <a:picLocks noChangeAspect="1" noChangeArrowheads="1"/>
            </p:cNvPicPr>
            <p:nvPr/>
          </p:nvPicPr>
          <p:blipFill>
            <a:blip r:embed="rId45" cstate="email">
              <a:extLst>
                <a:ext uri="{28A0092B-C50C-407E-A947-70E740481C1C}">
                  <a14:useLocalDpi xmlns:a14="http://schemas.microsoft.com/office/drawing/2010/main"/>
                </a:ext>
              </a:extLst>
            </a:blip>
            <a:srcRect/>
            <a:stretch>
              <a:fillRect/>
            </a:stretch>
          </p:blipFill>
          <p:spPr bwMode="auto">
            <a:xfrm>
              <a:off x="2747218" y="5259074"/>
              <a:ext cx="757927" cy="540681"/>
            </a:xfrm>
            <a:prstGeom prst="rect">
              <a:avLst/>
            </a:prstGeom>
            <a:noFill/>
            <a:extLst>
              <a:ext uri="{909E8E84-426E-40DD-AFC4-6F175D3DCCD1}">
                <a14:hiddenFill xmlns:a14="http://schemas.microsoft.com/office/drawing/2010/main">
                  <a:solidFill>
                    <a:srgbClr val="FFFFFF"/>
                  </a:solidFill>
                </a14:hiddenFill>
              </a:ext>
            </a:extLst>
          </p:spPr>
        </p:pic>
        <p:pic>
          <p:nvPicPr>
            <p:cNvPr id="1080" name="Picture 27">
              <a:extLst>
                <a:ext uri="{FF2B5EF4-FFF2-40B4-BE49-F238E27FC236}">
                  <a16:creationId xmlns:a16="http://schemas.microsoft.com/office/drawing/2014/main" id="{2059F123-2AF3-4C0F-BD9C-2A04B05003A2}"/>
                </a:ext>
              </a:extLst>
            </p:cNvPr>
            <p:cNvPicPr>
              <a:picLocks noChangeAspect="1"/>
            </p:cNvPicPr>
            <p:nvPr/>
          </p:nvPicPr>
          <p:blipFill rotWithShape="1">
            <a:blip r:embed="rId46" cstate="email">
              <a:extLst>
                <a:ext uri="{28A0092B-C50C-407E-A947-70E740481C1C}">
                  <a14:useLocalDpi xmlns:a14="http://schemas.microsoft.com/office/drawing/2010/main"/>
                </a:ext>
              </a:extLst>
            </a:blip>
            <a:srcRect/>
            <a:stretch/>
          </p:blipFill>
          <p:spPr>
            <a:xfrm>
              <a:off x="1069967" y="5328580"/>
              <a:ext cx="700590" cy="361020"/>
            </a:xfrm>
            <a:prstGeom prst="rect">
              <a:avLst/>
            </a:prstGeom>
          </p:spPr>
        </p:pic>
        <p:pic>
          <p:nvPicPr>
            <p:cNvPr id="1081" name="Picture 7" descr="C:\Users\york.yang2\Desktop\abbot.png">
              <a:extLst>
                <a:ext uri="{FF2B5EF4-FFF2-40B4-BE49-F238E27FC236}">
                  <a16:creationId xmlns:a16="http://schemas.microsoft.com/office/drawing/2014/main" id="{98706C2B-EC24-4199-ABF4-9159748EE441}"/>
                </a:ext>
              </a:extLst>
            </p:cNvPr>
            <p:cNvPicPr>
              <a:picLocks noChangeAspect="1" noChangeArrowheads="1"/>
            </p:cNvPicPr>
            <p:nvPr/>
          </p:nvPicPr>
          <p:blipFill>
            <a:blip r:embed="rId47" cstate="email">
              <a:extLst>
                <a:ext uri="{28A0092B-C50C-407E-A947-70E740481C1C}">
                  <a14:useLocalDpi xmlns:a14="http://schemas.microsoft.com/office/drawing/2010/main"/>
                </a:ext>
              </a:extLst>
            </a:blip>
            <a:srcRect/>
            <a:stretch>
              <a:fillRect/>
            </a:stretch>
          </p:blipFill>
          <p:spPr bwMode="auto">
            <a:xfrm>
              <a:off x="1914694" y="5353728"/>
              <a:ext cx="722091" cy="258281"/>
            </a:xfrm>
            <a:prstGeom prst="rect">
              <a:avLst/>
            </a:prstGeom>
            <a:noFill/>
            <a:extLst>
              <a:ext uri="{909E8E84-426E-40DD-AFC4-6F175D3DCCD1}">
                <a14:hiddenFill xmlns:a14="http://schemas.microsoft.com/office/drawing/2010/main">
                  <a:solidFill>
                    <a:srgbClr val="FFFFFF"/>
                  </a:solidFill>
                </a14:hiddenFill>
              </a:ext>
            </a:extLst>
          </p:spPr>
        </p:pic>
        <p:pic>
          <p:nvPicPr>
            <p:cNvPr id="1082" name="图片 309">
              <a:extLst>
                <a:ext uri="{FF2B5EF4-FFF2-40B4-BE49-F238E27FC236}">
                  <a16:creationId xmlns:a16="http://schemas.microsoft.com/office/drawing/2014/main" id="{1AC7331F-8A9D-43D3-9EE7-31368B361840}"/>
                </a:ext>
              </a:extLst>
            </p:cNvPr>
            <p:cNvPicPr>
              <a:picLocks noChangeAspect="1"/>
            </p:cNvPicPr>
            <p:nvPr/>
          </p:nvPicPr>
          <p:blipFill>
            <a:blip r:embed="rId48" cstate="email">
              <a:extLst>
                <a:ext uri="{28A0092B-C50C-407E-A947-70E740481C1C}">
                  <a14:useLocalDpi xmlns:a14="http://schemas.microsoft.com/office/drawing/2010/main"/>
                </a:ext>
              </a:extLst>
            </a:blip>
            <a:stretch>
              <a:fillRect/>
            </a:stretch>
          </p:blipFill>
          <p:spPr>
            <a:xfrm>
              <a:off x="3666433" y="5390436"/>
              <a:ext cx="638595" cy="203740"/>
            </a:xfrm>
            <a:prstGeom prst="rect">
              <a:avLst/>
            </a:prstGeom>
          </p:spPr>
        </p:pic>
        <p:pic>
          <p:nvPicPr>
            <p:cNvPr id="1083" name="图片 336">
              <a:extLst>
                <a:ext uri="{FF2B5EF4-FFF2-40B4-BE49-F238E27FC236}">
                  <a16:creationId xmlns:a16="http://schemas.microsoft.com/office/drawing/2014/main" id="{74D1F043-0412-4197-A4CD-7203FF371017}"/>
                </a:ext>
              </a:extLst>
            </p:cNvPr>
            <p:cNvPicPr>
              <a:picLocks noChangeAspect="1"/>
            </p:cNvPicPr>
            <p:nvPr/>
          </p:nvPicPr>
          <p:blipFill>
            <a:blip r:embed="rId49" cstate="email">
              <a:extLst>
                <a:ext uri="{28A0092B-C50C-407E-A947-70E740481C1C}">
                  <a14:useLocalDpi xmlns:a14="http://schemas.microsoft.com/office/drawing/2010/main"/>
                </a:ext>
              </a:extLst>
            </a:blip>
            <a:stretch>
              <a:fillRect/>
            </a:stretch>
          </p:blipFill>
          <p:spPr>
            <a:xfrm>
              <a:off x="9621824" y="5304895"/>
              <a:ext cx="675110" cy="400356"/>
            </a:xfrm>
            <a:prstGeom prst="rect">
              <a:avLst/>
            </a:prstGeom>
          </p:spPr>
        </p:pic>
        <p:pic>
          <p:nvPicPr>
            <p:cNvPr id="1084" name="图片 337">
              <a:extLst>
                <a:ext uri="{FF2B5EF4-FFF2-40B4-BE49-F238E27FC236}">
                  <a16:creationId xmlns:a16="http://schemas.microsoft.com/office/drawing/2014/main" id="{ECA88CE6-3109-4942-AFDB-F3DF223803F9}"/>
                </a:ext>
              </a:extLst>
            </p:cNvPr>
            <p:cNvPicPr>
              <a:picLocks noChangeAspect="1"/>
            </p:cNvPicPr>
            <p:nvPr/>
          </p:nvPicPr>
          <p:blipFill rotWithShape="1">
            <a:blip r:embed="rId50" cstate="email">
              <a:extLst>
                <a:ext uri="{28A0092B-C50C-407E-A947-70E740481C1C}">
                  <a14:useLocalDpi xmlns:a14="http://schemas.microsoft.com/office/drawing/2010/main"/>
                </a:ext>
              </a:extLst>
            </a:blip>
            <a:srcRect/>
            <a:stretch/>
          </p:blipFill>
          <p:spPr>
            <a:xfrm>
              <a:off x="7927371" y="5365569"/>
              <a:ext cx="636425" cy="177873"/>
            </a:xfrm>
            <a:prstGeom prst="rect">
              <a:avLst/>
            </a:prstGeom>
          </p:spPr>
        </p:pic>
        <p:pic>
          <p:nvPicPr>
            <p:cNvPr id="1085" name="图片 338">
              <a:extLst>
                <a:ext uri="{FF2B5EF4-FFF2-40B4-BE49-F238E27FC236}">
                  <a16:creationId xmlns:a16="http://schemas.microsoft.com/office/drawing/2014/main" id="{8BB4D556-2155-427E-BED2-5592CB70FAD2}"/>
                </a:ext>
              </a:extLst>
            </p:cNvPr>
            <p:cNvPicPr>
              <a:picLocks noChangeAspect="1"/>
            </p:cNvPicPr>
            <p:nvPr/>
          </p:nvPicPr>
          <p:blipFill>
            <a:blip r:embed="rId51" cstate="email">
              <a:extLst>
                <a:ext uri="{28A0092B-C50C-407E-A947-70E740481C1C}">
                  <a14:useLocalDpi xmlns:a14="http://schemas.microsoft.com/office/drawing/2010/main"/>
                </a:ext>
              </a:extLst>
            </a:blip>
            <a:stretch>
              <a:fillRect/>
            </a:stretch>
          </p:blipFill>
          <p:spPr>
            <a:xfrm>
              <a:off x="212663" y="5217460"/>
              <a:ext cx="699358" cy="527386"/>
            </a:xfrm>
            <a:prstGeom prst="rect">
              <a:avLst/>
            </a:prstGeom>
          </p:spPr>
        </p:pic>
        <p:pic>
          <p:nvPicPr>
            <p:cNvPr id="1086" name="图片 1" descr="image001">
              <a:extLst>
                <a:ext uri="{FF2B5EF4-FFF2-40B4-BE49-F238E27FC236}">
                  <a16:creationId xmlns:a16="http://schemas.microsoft.com/office/drawing/2014/main" id="{12945FE7-2A33-44E8-A367-C1357CB95422}"/>
                </a:ext>
              </a:extLst>
            </p:cNvPr>
            <p:cNvPicPr>
              <a:picLocks noChangeAspect="1" noChangeArrowheads="1"/>
            </p:cNvPicPr>
            <p:nvPr/>
          </p:nvPicPr>
          <p:blipFill rotWithShape="1">
            <a:blip r:embed="rId52" cstate="email">
              <a:extLst>
                <a:ext uri="{28A0092B-C50C-407E-A947-70E740481C1C}">
                  <a14:useLocalDpi xmlns:a14="http://schemas.microsoft.com/office/drawing/2010/main"/>
                </a:ext>
              </a:extLst>
            </a:blip>
            <a:srcRect/>
            <a:stretch/>
          </p:blipFill>
          <p:spPr bwMode="auto">
            <a:xfrm>
              <a:off x="11314696" y="5398672"/>
              <a:ext cx="722278" cy="249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87" name="图片 1" descr="image001">
              <a:extLst>
                <a:ext uri="{FF2B5EF4-FFF2-40B4-BE49-F238E27FC236}">
                  <a16:creationId xmlns:a16="http://schemas.microsoft.com/office/drawing/2014/main" id="{E4DAEFEC-7AB3-47D3-A299-032C9A991E40}"/>
                </a:ext>
              </a:extLst>
            </p:cNvPr>
            <p:cNvPicPr>
              <a:picLocks noChangeAspect="1" noChangeArrowheads="1"/>
            </p:cNvPicPr>
            <p:nvPr/>
          </p:nvPicPr>
          <p:blipFill rotWithShape="1">
            <a:blip r:embed="rId53" cstate="email">
              <a:extLst>
                <a:ext uri="{28A0092B-C50C-407E-A947-70E740481C1C}">
                  <a14:useLocalDpi xmlns:a14="http://schemas.microsoft.com/office/drawing/2010/main"/>
                </a:ext>
              </a:extLst>
            </a:blip>
            <a:srcRect/>
            <a:stretch/>
          </p:blipFill>
          <p:spPr bwMode="auto">
            <a:xfrm>
              <a:off x="5359939" y="5428535"/>
              <a:ext cx="669306" cy="150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88" name="图片 359">
              <a:extLst>
                <a:ext uri="{FF2B5EF4-FFF2-40B4-BE49-F238E27FC236}">
                  <a16:creationId xmlns:a16="http://schemas.microsoft.com/office/drawing/2014/main" id="{819C1729-F2C6-47F0-B2AC-1B558653EBD3}"/>
                </a:ext>
              </a:extLst>
            </p:cNvPr>
            <p:cNvPicPr>
              <a:picLocks noChangeAspect="1"/>
            </p:cNvPicPr>
            <p:nvPr/>
          </p:nvPicPr>
          <p:blipFill rotWithShape="1">
            <a:blip r:embed="rId54" cstate="hqprint">
              <a:extLst>
                <a:ext uri="{28A0092B-C50C-407E-A947-70E740481C1C}">
                  <a14:useLocalDpi xmlns:a14="http://schemas.microsoft.com/office/drawing/2010/main"/>
                </a:ext>
              </a:extLst>
            </a:blip>
            <a:srcRect/>
            <a:stretch/>
          </p:blipFill>
          <p:spPr>
            <a:xfrm>
              <a:off x="10497346" y="5175567"/>
              <a:ext cx="625602" cy="648989"/>
            </a:xfrm>
            <a:prstGeom prst="rect">
              <a:avLst/>
            </a:prstGeom>
          </p:spPr>
        </p:pic>
        <p:pic>
          <p:nvPicPr>
            <p:cNvPr id="1089" name="图片 369">
              <a:extLst>
                <a:ext uri="{FF2B5EF4-FFF2-40B4-BE49-F238E27FC236}">
                  <a16:creationId xmlns:a16="http://schemas.microsoft.com/office/drawing/2014/main" id="{CBB796EF-90A3-4A63-93C7-71DDD103D594}"/>
                </a:ext>
              </a:extLst>
            </p:cNvPr>
            <p:cNvPicPr>
              <a:picLocks noChangeAspect="1"/>
            </p:cNvPicPr>
            <p:nvPr/>
          </p:nvPicPr>
          <p:blipFill>
            <a:blip r:embed="rId55" cstate="email">
              <a:extLst>
                <a:ext uri="{28A0092B-C50C-407E-A947-70E740481C1C}">
                  <a14:useLocalDpi xmlns:a14="http://schemas.microsoft.com/office/drawing/2010/main"/>
                </a:ext>
              </a:extLst>
            </a:blip>
            <a:stretch>
              <a:fillRect/>
            </a:stretch>
          </p:blipFill>
          <p:spPr>
            <a:xfrm>
              <a:off x="4502559" y="5182493"/>
              <a:ext cx="659570" cy="659570"/>
            </a:xfrm>
            <a:prstGeom prst="rect">
              <a:avLst/>
            </a:prstGeom>
          </p:spPr>
        </p:pic>
        <p:pic>
          <p:nvPicPr>
            <p:cNvPr id="1090" name="图片 373">
              <a:extLst>
                <a:ext uri="{FF2B5EF4-FFF2-40B4-BE49-F238E27FC236}">
                  <a16:creationId xmlns:a16="http://schemas.microsoft.com/office/drawing/2014/main" id="{0CBF8E60-1AE7-4D5E-89FD-0C60FCE66359}"/>
                </a:ext>
              </a:extLst>
            </p:cNvPr>
            <p:cNvPicPr>
              <a:picLocks noChangeAspect="1"/>
            </p:cNvPicPr>
            <p:nvPr/>
          </p:nvPicPr>
          <p:blipFill>
            <a:blip r:embed="rId56" cstate="email">
              <a:extLst>
                <a:ext uri="{28A0092B-C50C-407E-A947-70E740481C1C}">
                  <a14:useLocalDpi xmlns:a14="http://schemas.microsoft.com/office/drawing/2010/main"/>
                </a:ext>
              </a:extLst>
            </a:blip>
            <a:stretch>
              <a:fillRect/>
            </a:stretch>
          </p:blipFill>
          <p:spPr>
            <a:xfrm>
              <a:off x="8796049" y="5315223"/>
              <a:ext cx="623584" cy="389740"/>
            </a:xfrm>
            <a:prstGeom prst="rect">
              <a:avLst/>
            </a:prstGeom>
          </p:spPr>
        </p:pic>
        <p:pic>
          <p:nvPicPr>
            <p:cNvPr id="1091" name="Picture 221">
              <a:extLst>
                <a:ext uri="{FF2B5EF4-FFF2-40B4-BE49-F238E27FC236}">
                  <a16:creationId xmlns:a16="http://schemas.microsoft.com/office/drawing/2014/main" id="{24469A9F-0C0D-4660-AB2E-A8BB8A03B7E5}"/>
                </a:ext>
              </a:extLst>
            </p:cNvPr>
            <p:cNvPicPr>
              <a:picLocks noChangeAspect="1"/>
            </p:cNvPicPr>
            <p:nvPr/>
          </p:nvPicPr>
          <p:blipFill rotWithShape="1">
            <a:blip r:embed="rId57" cstate="hqprint">
              <a:extLst>
                <a:ext uri="{28A0092B-C50C-407E-A947-70E740481C1C}">
                  <a14:useLocalDpi xmlns:a14="http://schemas.microsoft.com/office/drawing/2010/main"/>
                </a:ext>
              </a:extLst>
            </a:blip>
            <a:srcRect/>
            <a:stretch/>
          </p:blipFill>
          <p:spPr>
            <a:xfrm>
              <a:off x="7075921" y="5323651"/>
              <a:ext cx="665120" cy="304800"/>
            </a:xfrm>
            <a:prstGeom prst="rect">
              <a:avLst/>
            </a:prstGeom>
            <a:solidFill>
              <a:schemeClr val="bg1"/>
            </a:solidFill>
            <a:ln>
              <a:noFill/>
            </a:ln>
          </p:spPr>
        </p:pic>
        <p:pic>
          <p:nvPicPr>
            <p:cNvPr id="1092" name="图片 394">
              <a:extLst>
                <a:ext uri="{FF2B5EF4-FFF2-40B4-BE49-F238E27FC236}">
                  <a16:creationId xmlns:a16="http://schemas.microsoft.com/office/drawing/2014/main" id="{88B373AF-766F-43EE-B6FC-77B593C22BFE}"/>
                </a:ext>
              </a:extLst>
            </p:cNvPr>
            <p:cNvPicPr>
              <a:picLocks noChangeAspect="1"/>
            </p:cNvPicPr>
            <p:nvPr/>
          </p:nvPicPr>
          <p:blipFill>
            <a:blip r:embed="rId58" cstate="email">
              <a:extLst>
                <a:ext uri="{28A0092B-C50C-407E-A947-70E740481C1C}">
                  <a14:useLocalDpi xmlns:a14="http://schemas.microsoft.com/office/drawing/2010/main"/>
                </a:ext>
              </a:extLst>
            </a:blip>
            <a:stretch>
              <a:fillRect/>
            </a:stretch>
          </p:blipFill>
          <p:spPr>
            <a:xfrm>
              <a:off x="6020250" y="5019918"/>
              <a:ext cx="1031780" cy="1031780"/>
            </a:xfrm>
            <a:prstGeom prst="rect">
              <a:avLst/>
            </a:prstGeom>
          </p:spPr>
        </p:pic>
      </p:grpSp>
      <p:grpSp>
        <p:nvGrpSpPr>
          <p:cNvPr id="1107" name="Group 1106">
            <a:extLst>
              <a:ext uri="{FF2B5EF4-FFF2-40B4-BE49-F238E27FC236}">
                <a16:creationId xmlns:a16="http://schemas.microsoft.com/office/drawing/2014/main" id="{54C93F99-6745-40A3-8A5D-BE7E51CE03E7}"/>
              </a:ext>
            </a:extLst>
          </p:cNvPr>
          <p:cNvGrpSpPr/>
          <p:nvPr/>
        </p:nvGrpSpPr>
        <p:grpSpPr>
          <a:xfrm>
            <a:off x="176602" y="8102563"/>
            <a:ext cx="12120981" cy="1175551"/>
            <a:chOff x="171449" y="791697"/>
            <a:chExt cx="11886080" cy="1152769"/>
          </a:xfrm>
        </p:grpSpPr>
        <p:grpSp>
          <p:nvGrpSpPr>
            <p:cNvPr id="1108" name="Group 1107">
              <a:extLst>
                <a:ext uri="{FF2B5EF4-FFF2-40B4-BE49-F238E27FC236}">
                  <a16:creationId xmlns:a16="http://schemas.microsoft.com/office/drawing/2014/main" id="{5FA20678-C942-4AA2-9173-6ABA3A4E72ED}"/>
                </a:ext>
              </a:extLst>
            </p:cNvPr>
            <p:cNvGrpSpPr/>
            <p:nvPr/>
          </p:nvGrpSpPr>
          <p:grpSpPr>
            <a:xfrm>
              <a:off x="171449" y="976721"/>
              <a:ext cx="11886080" cy="774482"/>
              <a:chOff x="171449" y="976721"/>
              <a:chExt cx="11886080" cy="774482"/>
            </a:xfrm>
          </p:grpSpPr>
          <p:sp>
            <p:nvSpPr>
              <p:cNvPr id="1123" name="矩形 15">
                <a:extLst>
                  <a:ext uri="{FF2B5EF4-FFF2-40B4-BE49-F238E27FC236}">
                    <a16:creationId xmlns:a16="http://schemas.microsoft.com/office/drawing/2014/main" id="{EE0A00BB-E303-46DE-85B2-815E11F5979C}"/>
                  </a:ext>
                </a:extLst>
              </p:cNvPr>
              <p:cNvSpPr/>
              <p:nvPr/>
            </p:nvSpPr>
            <p:spPr bwMode="auto">
              <a:xfrm>
                <a:off x="1039608" y="976721"/>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4" name="矩形 16">
                <a:extLst>
                  <a:ext uri="{FF2B5EF4-FFF2-40B4-BE49-F238E27FC236}">
                    <a16:creationId xmlns:a16="http://schemas.microsoft.com/office/drawing/2014/main" id="{EB1C2F87-4965-40BA-9639-A9C6E2D24328}"/>
                  </a:ext>
                </a:extLst>
              </p:cNvPr>
              <p:cNvSpPr/>
              <p:nvPr/>
            </p:nvSpPr>
            <p:spPr bwMode="auto">
              <a:xfrm>
                <a:off x="1893277" y="976721"/>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5" name="矩形 17">
                <a:extLst>
                  <a:ext uri="{FF2B5EF4-FFF2-40B4-BE49-F238E27FC236}">
                    <a16:creationId xmlns:a16="http://schemas.microsoft.com/office/drawing/2014/main" id="{18A7A2A3-58B2-4FEC-96E6-8EDDD9106264}"/>
                  </a:ext>
                </a:extLst>
              </p:cNvPr>
              <p:cNvSpPr/>
              <p:nvPr/>
            </p:nvSpPr>
            <p:spPr bwMode="auto">
              <a:xfrm>
                <a:off x="2746946" y="976721"/>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6" name="矩形 18">
                <a:extLst>
                  <a:ext uri="{FF2B5EF4-FFF2-40B4-BE49-F238E27FC236}">
                    <a16:creationId xmlns:a16="http://schemas.microsoft.com/office/drawing/2014/main" id="{EF6869AE-EACE-4476-901F-BF0A0DD76102}"/>
                  </a:ext>
                </a:extLst>
              </p:cNvPr>
              <p:cNvSpPr/>
              <p:nvPr/>
            </p:nvSpPr>
            <p:spPr bwMode="auto">
              <a:xfrm>
                <a:off x="3600616" y="976721"/>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7" name="矩形 19">
                <a:extLst>
                  <a:ext uri="{FF2B5EF4-FFF2-40B4-BE49-F238E27FC236}">
                    <a16:creationId xmlns:a16="http://schemas.microsoft.com/office/drawing/2014/main" id="{3F2AACD5-8E6C-46C1-ADE0-0759173CDD9A}"/>
                  </a:ext>
                </a:extLst>
              </p:cNvPr>
              <p:cNvSpPr/>
              <p:nvPr/>
            </p:nvSpPr>
            <p:spPr bwMode="auto">
              <a:xfrm>
                <a:off x="4454285" y="976721"/>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8" name="矩形 20">
                <a:extLst>
                  <a:ext uri="{FF2B5EF4-FFF2-40B4-BE49-F238E27FC236}">
                    <a16:creationId xmlns:a16="http://schemas.microsoft.com/office/drawing/2014/main" id="{3CA92F1A-6C59-462F-A974-99007F1A787E}"/>
                  </a:ext>
                </a:extLst>
              </p:cNvPr>
              <p:cNvSpPr/>
              <p:nvPr/>
            </p:nvSpPr>
            <p:spPr bwMode="auto">
              <a:xfrm>
                <a:off x="5307955" y="976721"/>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9" name="矩形 21">
                <a:extLst>
                  <a:ext uri="{FF2B5EF4-FFF2-40B4-BE49-F238E27FC236}">
                    <a16:creationId xmlns:a16="http://schemas.microsoft.com/office/drawing/2014/main" id="{F420B9A2-1F48-4971-AD77-218B3E2D61EF}"/>
                  </a:ext>
                </a:extLst>
              </p:cNvPr>
              <p:cNvSpPr/>
              <p:nvPr/>
            </p:nvSpPr>
            <p:spPr bwMode="auto">
              <a:xfrm>
                <a:off x="6161624" y="976721"/>
                <a:ext cx="759398" cy="774482"/>
              </a:xfrm>
              <a:prstGeom prst="rect">
                <a:avLst/>
              </a:prstGeom>
              <a:solidFill>
                <a:srgbClr val="003365"/>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0" name="矩形 22">
                <a:extLst>
                  <a:ext uri="{FF2B5EF4-FFF2-40B4-BE49-F238E27FC236}">
                    <a16:creationId xmlns:a16="http://schemas.microsoft.com/office/drawing/2014/main" id="{61A9B5FA-424C-4584-8E6F-25EE9A27233F}"/>
                  </a:ext>
                </a:extLst>
              </p:cNvPr>
              <p:cNvSpPr/>
              <p:nvPr/>
            </p:nvSpPr>
            <p:spPr bwMode="auto">
              <a:xfrm>
                <a:off x="7015293" y="976721"/>
                <a:ext cx="759398" cy="774482"/>
              </a:xfrm>
              <a:prstGeom prst="rect">
                <a:avLst/>
              </a:prstGeom>
              <a:solidFill>
                <a:srgbClr val="FF660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1" name="矩形 23">
                <a:extLst>
                  <a:ext uri="{FF2B5EF4-FFF2-40B4-BE49-F238E27FC236}">
                    <a16:creationId xmlns:a16="http://schemas.microsoft.com/office/drawing/2014/main" id="{16986048-8706-4535-9C44-E89DE0932918}"/>
                  </a:ext>
                </a:extLst>
              </p:cNvPr>
              <p:cNvSpPr/>
              <p:nvPr/>
            </p:nvSpPr>
            <p:spPr bwMode="auto">
              <a:xfrm>
                <a:off x="7868963" y="976721"/>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2" name="矩形 24">
                <a:extLst>
                  <a:ext uri="{FF2B5EF4-FFF2-40B4-BE49-F238E27FC236}">
                    <a16:creationId xmlns:a16="http://schemas.microsoft.com/office/drawing/2014/main" id="{F8149696-39AC-4A90-86B2-AFEC06460A5E}"/>
                  </a:ext>
                </a:extLst>
              </p:cNvPr>
              <p:cNvSpPr/>
              <p:nvPr/>
            </p:nvSpPr>
            <p:spPr bwMode="auto">
              <a:xfrm>
                <a:off x="8722632" y="976721"/>
                <a:ext cx="759398" cy="774482"/>
              </a:xfrm>
              <a:prstGeom prst="rect">
                <a:avLst/>
              </a:prstGeom>
              <a:solidFill>
                <a:srgbClr val="F1F2F2"/>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3" name="矩形 25">
                <a:extLst>
                  <a:ext uri="{FF2B5EF4-FFF2-40B4-BE49-F238E27FC236}">
                    <a16:creationId xmlns:a16="http://schemas.microsoft.com/office/drawing/2014/main" id="{08C49414-136B-4A3A-B7EE-99D54BDD2083}"/>
                  </a:ext>
                </a:extLst>
              </p:cNvPr>
              <p:cNvSpPr/>
              <p:nvPr/>
            </p:nvSpPr>
            <p:spPr bwMode="auto">
              <a:xfrm>
                <a:off x="9576301" y="976721"/>
                <a:ext cx="759398" cy="774482"/>
              </a:xfrm>
              <a:prstGeom prst="rect">
                <a:avLst/>
              </a:prstGeom>
              <a:solidFill>
                <a:srgbClr val="FF5543"/>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4" name="矩形 26">
                <a:extLst>
                  <a:ext uri="{FF2B5EF4-FFF2-40B4-BE49-F238E27FC236}">
                    <a16:creationId xmlns:a16="http://schemas.microsoft.com/office/drawing/2014/main" id="{C5D9C5A6-92A0-42E4-BC07-2AFBB41D8D01}"/>
                  </a:ext>
                </a:extLst>
              </p:cNvPr>
              <p:cNvSpPr/>
              <p:nvPr/>
            </p:nvSpPr>
            <p:spPr bwMode="auto">
              <a:xfrm>
                <a:off x="10429973" y="976721"/>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5" name="矩形 88">
                <a:extLst>
                  <a:ext uri="{FF2B5EF4-FFF2-40B4-BE49-F238E27FC236}">
                    <a16:creationId xmlns:a16="http://schemas.microsoft.com/office/drawing/2014/main" id="{044C6DE7-FA21-4E22-9CF8-EB3405693C53}"/>
                  </a:ext>
                </a:extLst>
              </p:cNvPr>
              <p:cNvSpPr/>
              <p:nvPr/>
            </p:nvSpPr>
            <p:spPr bwMode="auto">
              <a:xfrm>
                <a:off x="11298131" y="976721"/>
                <a:ext cx="759398" cy="774482"/>
              </a:xfrm>
              <a:prstGeom prst="rect">
                <a:avLst/>
              </a:prstGeom>
              <a:solidFill>
                <a:srgbClr val="D11175"/>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6" name="矩形 102">
                <a:extLst>
                  <a:ext uri="{FF2B5EF4-FFF2-40B4-BE49-F238E27FC236}">
                    <a16:creationId xmlns:a16="http://schemas.microsoft.com/office/drawing/2014/main" id="{57C454BE-FDE9-4DA6-A717-3A64EA722CA6}"/>
                  </a:ext>
                </a:extLst>
              </p:cNvPr>
              <p:cNvSpPr/>
              <p:nvPr/>
            </p:nvSpPr>
            <p:spPr bwMode="auto">
              <a:xfrm>
                <a:off x="171449" y="976721"/>
                <a:ext cx="759398" cy="774482"/>
              </a:xfrm>
              <a:prstGeom prst="rect">
                <a:avLst/>
              </a:prstGeom>
              <a:solidFill>
                <a:srgbClr val="FF660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1109" name="图片 379">
              <a:extLst>
                <a:ext uri="{FF2B5EF4-FFF2-40B4-BE49-F238E27FC236}">
                  <a16:creationId xmlns:a16="http://schemas.microsoft.com/office/drawing/2014/main" id="{F839084B-F1AA-483D-8229-3D0F8F66F02B}"/>
                </a:ext>
              </a:extLst>
            </p:cNvPr>
            <p:cNvPicPr>
              <a:picLocks noChangeAspect="1"/>
            </p:cNvPicPr>
            <p:nvPr/>
          </p:nvPicPr>
          <p:blipFill>
            <a:blip r:embed="rId59" cstate="email">
              <a:extLst>
                <a:ext uri="{28A0092B-C50C-407E-A947-70E740481C1C}">
                  <a14:useLocalDpi xmlns:a14="http://schemas.microsoft.com/office/drawing/2010/main"/>
                </a:ext>
              </a:extLst>
            </a:blip>
            <a:stretch>
              <a:fillRect/>
            </a:stretch>
          </p:blipFill>
          <p:spPr>
            <a:xfrm>
              <a:off x="7947808" y="1262148"/>
              <a:ext cx="609391" cy="159860"/>
            </a:xfrm>
            <a:prstGeom prst="rect">
              <a:avLst/>
            </a:prstGeom>
            <a:solidFill>
              <a:schemeClr val="bg1"/>
            </a:solidFill>
            <a:ln>
              <a:noFill/>
            </a:ln>
          </p:spPr>
        </p:pic>
        <p:pic>
          <p:nvPicPr>
            <p:cNvPr id="1110" name="图片 270">
              <a:extLst>
                <a:ext uri="{FF2B5EF4-FFF2-40B4-BE49-F238E27FC236}">
                  <a16:creationId xmlns:a16="http://schemas.microsoft.com/office/drawing/2014/main" id="{26850BEF-1C80-455C-A19E-0DE2D72137A8}"/>
                </a:ext>
              </a:extLst>
            </p:cNvPr>
            <p:cNvPicPr>
              <a:picLocks noChangeAspect="1"/>
            </p:cNvPicPr>
            <p:nvPr/>
          </p:nvPicPr>
          <p:blipFill>
            <a:blip r:embed="rId60" cstate="email">
              <a:extLst>
                <a:ext uri="{28A0092B-C50C-407E-A947-70E740481C1C}">
                  <a14:useLocalDpi xmlns:a14="http://schemas.microsoft.com/office/drawing/2010/main"/>
                </a:ext>
              </a:extLst>
            </a:blip>
            <a:stretch>
              <a:fillRect/>
            </a:stretch>
          </p:blipFill>
          <p:spPr>
            <a:xfrm>
              <a:off x="11355610" y="1228087"/>
              <a:ext cx="638886" cy="319443"/>
            </a:xfrm>
            <a:prstGeom prst="rect">
              <a:avLst/>
            </a:prstGeom>
          </p:spPr>
        </p:pic>
        <p:pic>
          <p:nvPicPr>
            <p:cNvPr id="1111" name="图片 272">
              <a:extLst>
                <a:ext uri="{FF2B5EF4-FFF2-40B4-BE49-F238E27FC236}">
                  <a16:creationId xmlns:a16="http://schemas.microsoft.com/office/drawing/2014/main" id="{42D32121-0569-4F99-92C7-8EAE1278A942}"/>
                </a:ext>
              </a:extLst>
            </p:cNvPr>
            <p:cNvPicPr>
              <a:picLocks noChangeAspect="1"/>
            </p:cNvPicPr>
            <p:nvPr/>
          </p:nvPicPr>
          <p:blipFill rotWithShape="1">
            <a:blip r:embed="rId61" cstate="email">
              <a:extLst>
                <a:ext uri="{28A0092B-C50C-407E-A947-70E740481C1C}">
                  <a14:useLocalDpi xmlns:a14="http://schemas.microsoft.com/office/drawing/2010/main"/>
                </a:ext>
              </a:extLst>
            </a:blip>
            <a:srcRect/>
            <a:stretch/>
          </p:blipFill>
          <p:spPr>
            <a:xfrm>
              <a:off x="1091250" y="1089371"/>
              <a:ext cx="652809" cy="543426"/>
            </a:xfrm>
            <a:prstGeom prst="rect">
              <a:avLst/>
            </a:prstGeom>
          </p:spPr>
        </p:pic>
        <p:pic>
          <p:nvPicPr>
            <p:cNvPr id="1112" name="图片 276">
              <a:extLst>
                <a:ext uri="{FF2B5EF4-FFF2-40B4-BE49-F238E27FC236}">
                  <a16:creationId xmlns:a16="http://schemas.microsoft.com/office/drawing/2014/main" id="{D5427740-1118-41B0-AB2E-A7318675BF8D}"/>
                </a:ext>
              </a:extLst>
            </p:cNvPr>
            <p:cNvPicPr>
              <a:picLocks noChangeAspect="1"/>
            </p:cNvPicPr>
            <p:nvPr/>
          </p:nvPicPr>
          <p:blipFill>
            <a:blip r:embed="rId62" cstate="email">
              <a:extLst>
                <a:ext uri="{28A0092B-C50C-407E-A947-70E740481C1C}">
                  <a14:useLocalDpi xmlns:a14="http://schemas.microsoft.com/office/drawing/2010/main"/>
                </a:ext>
              </a:extLst>
            </a:blip>
            <a:stretch>
              <a:fillRect/>
            </a:stretch>
          </p:blipFill>
          <p:spPr>
            <a:xfrm>
              <a:off x="3685335" y="1194788"/>
              <a:ext cx="619693" cy="322918"/>
            </a:xfrm>
            <a:prstGeom prst="rect">
              <a:avLst/>
            </a:prstGeom>
          </p:spPr>
        </p:pic>
        <p:pic>
          <p:nvPicPr>
            <p:cNvPr id="1113" name="Picture 235">
              <a:extLst>
                <a:ext uri="{FF2B5EF4-FFF2-40B4-BE49-F238E27FC236}">
                  <a16:creationId xmlns:a16="http://schemas.microsoft.com/office/drawing/2014/main" id="{3CC84998-B20B-4353-BD69-7472A6C7F890}"/>
                </a:ext>
              </a:extLst>
            </p:cNvPr>
            <p:cNvPicPr>
              <a:picLocks noChangeAspect="1"/>
            </p:cNvPicPr>
            <p:nvPr/>
          </p:nvPicPr>
          <p:blipFill>
            <a:blip r:embed="rId63" cstate="email">
              <a:extLst>
                <a:ext uri="{28A0092B-C50C-407E-A947-70E740481C1C}">
                  <a14:useLocalDpi xmlns:a14="http://schemas.microsoft.com/office/drawing/2010/main"/>
                </a:ext>
              </a:extLst>
            </a:blip>
            <a:stretch>
              <a:fillRect/>
            </a:stretch>
          </p:blipFill>
          <p:spPr>
            <a:xfrm>
              <a:off x="203515" y="1172739"/>
              <a:ext cx="686207" cy="396344"/>
            </a:xfrm>
            <a:prstGeom prst="rect">
              <a:avLst/>
            </a:prstGeom>
            <a:solidFill>
              <a:schemeClr val="bg1"/>
            </a:solidFill>
            <a:ln>
              <a:noFill/>
            </a:ln>
          </p:spPr>
        </p:pic>
        <p:pic>
          <p:nvPicPr>
            <p:cNvPr id="1114" name="922310D1-EB2E-4CEE-A874-B720AF4D076D" descr="image4.JPG">
              <a:extLst>
                <a:ext uri="{FF2B5EF4-FFF2-40B4-BE49-F238E27FC236}">
                  <a16:creationId xmlns:a16="http://schemas.microsoft.com/office/drawing/2014/main" id="{EF6D900F-F268-4F19-81C6-ED1385B00813}"/>
                </a:ext>
              </a:extLst>
            </p:cNvPr>
            <p:cNvPicPr>
              <a:picLocks noChangeAspect="1" noChangeArrowheads="1"/>
            </p:cNvPicPr>
            <p:nvPr/>
          </p:nvPicPr>
          <p:blipFill rotWithShape="1">
            <a:blip r:embed="rId64" cstate="email">
              <a:extLst>
                <a:ext uri="{28A0092B-C50C-407E-A947-70E740481C1C}">
                  <a14:useLocalDpi xmlns:a14="http://schemas.microsoft.com/office/drawing/2010/main"/>
                </a:ext>
              </a:extLst>
            </a:blip>
            <a:srcRect l="1230" t="19351" r="-1230" b="27074"/>
            <a:stretch/>
          </p:blipFill>
          <p:spPr bwMode="auto">
            <a:xfrm>
              <a:off x="5367847" y="1240376"/>
              <a:ext cx="659499" cy="229661"/>
            </a:xfrm>
            <a:prstGeom prst="rect">
              <a:avLst/>
            </a:prstGeom>
            <a:solidFill>
              <a:schemeClr val="bg1"/>
            </a:solidFill>
            <a:ln>
              <a:noFill/>
            </a:ln>
          </p:spPr>
        </p:pic>
        <p:pic>
          <p:nvPicPr>
            <p:cNvPr id="1115" name="图片 297">
              <a:extLst>
                <a:ext uri="{FF2B5EF4-FFF2-40B4-BE49-F238E27FC236}">
                  <a16:creationId xmlns:a16="http://schemas.microsoft.com/office/drawing/2014/main" id="{DE56703A-0395-4206-B81E-0FF7B2338FCF}"/>
                </a:ext>
              </a:extLst>
            </p:cNvPr>
            <p:cNvPicPr>
              <a:picLocks noChangeAspect="1"/>
            </p:cNvPicPr>
            <p:nvPr/>
          </p:nvPicPr>
          <p:blipFill>
            <a:blip r:embed="rId65" cstate="email">
              <a:extLst>
                <a:ext uri="{28A0092B-C50C-407E-A947-70E740481C1C}">
                  <a14:useLocalDpi xmlns:a14="http://schemas.microsoft.com/office/drawing/2010/main"/>
                </a:ext>
              </a:extLst>
            </a:blip>
            <a:stretch>
              <a:fillRect/>
            </a:stretch>
          </p:blipFill>
          <p:spPr>
            <a:xfrm>
              <a:off x="2810453" y="1132140"/>
              <a:ext cx="630018" cy="472513"/>
            </a:xfrm>
            <a:prstGeom prst="rect">
              <a:avLst/>
            </a:prstGeom>
          </p:spPr>
        </p:pic>
        <p:pic>
          <p:nvPicPr>
            <p:cNvPr id="1116" name="图片 310">
              <a:extLst>
                <a:ext uri="{FF2B5EF4-FFF2-40B4-BE49-F238E27FC236}">
                  <a16:creationId xmlns:a16="http://schemas.microsoft.com/office/drawing/2014/main" id="{252A3958-689A-4CC0-9F7D-D5A5DBEBD4E2}"/>
                </a:ext>
              </a:extLst>
            </p:cNvPr>
            <p:cNvPicPr>
              <a:picLocks noChangeAspect="1"/>
            </p:cNvPicPr>
            <p:nvPr/>
          </p:nvPicPr>
          <p:blipFill>
            <a:blip r:embed="rId66" cstate="email">
              <a:extLst>
                <a:ext uri="{28A0092B-C50C-407E-A947-70E740481C1C}">
                  <a14:useLocalDpi xmlns:a14="http://schemas.microsoft.com/office/drawing/2010/main"/>
                </a:ext>
              </a:extLst>
            </a:blip>
            <a:stretch>
              <a:fillRect/>
            </a:stretch>
          </p:blipFill>
          <p:spPr>
            <a:xfrm>
              <a:off x="1840553" y="938206"/>
              <a:ext cx="860636" cy="860636"/>
            </a:xfrm>
            <a:prstGeom prst="rect">
              <a:avLst/>
            </a:prstGeom>
          </p:spPr>
        </p:pic>
        <p:pic>
          <p:nvPicPr>
            <p:cNvPr id="1117" name="图片 311">
              <a:extLst>
                <a:ext uri="{FF2B5EF4-FFF2-40B4-BE49-F238E27FC236}">
                  <a16:creationId xmlns:a16="http://schemas.microsoft.com/office/drawing/2014/main" id="{359CCF16-B674-43AD-8ADC-BAFEEE19B7E3}"/>
                </a:ext>
              </a:extLst>
            </p:cNvPr>
            <p:cNvPicPr>
              <a:picLocks noChangeAspect="1"/>
            </p:cNvPicPr>
            <p:nvPr/>
          </p:nvPicPr>
          <p:blipFill>
            <a:blip r:embed="rId67">
              <a:extLst>
                <a:ext uri="{28A0092B-C50C-407E-A947-70E740481C1C}">
                  <a14:useLocalDpi xmlns:a14="http://schemas.microsoft.com/office/drawing/2010/main"/>
                </a:ext>
              </a:extLst>
            </a:blip>
            <a:stretch>
              <a:fillRect/>
            </a:stretch>
          </p:blipFill>
          <p:spPr>
            <a:xfrm>
              <a:off x="9067603" y="1031718"/>
              <a:ext cx="1814725" cy="631208"/>
            </a:xfrm>
            <a:prstGeom prst="rect">
              <a:avLst/>
            </a:prstGeom>
          </p:spPr>
        </p:pic>
        <p:pic>
          <p:nvPicPr>
            <p:cNvPr id="1118" name="图片 315">
              <a:extLst>
                <a:ext uri="{FF2B5EF4-FFF2-40B4-BE49-F238E27FC236}">
                  <a16:creationId xmlns:a16="http://schemas.microsoft.com/office/drawing/2014/main" id="{8AA22584-1E1B-40B2-82C8-B199704B8AA5}"/>
                </a:ext>
              </a:extLst>
            </p:cNvPr>
            <p:cNvPicPr>
              <a:picLocks noChangeAspect="1"/>
            </p:cNvPicPr>
            <p:nvPr/>
          </p:nvPicPr>
          <p:blipFill>
            <a:blip r:embed="rId68" cstate="email">
              <a:extLst>
                <a:ext uri="{28A0092B-C50C-407E-A947-70E740481C1C}">
                  <a14:useLocalDpi xmlns:a14="http://schemas.microsoft.com/office/drawing/2010/main"/>
                </a:ext>
              </a:extLst>
            </a:blip>
            <a:stretch>
              <a:fillRect/>
            </a:stretch>
          </p:blipFill>
          <p:spPr>
            <a:xfrm>
              <a:off x="8523334" y="791697"/>
              <a:ext cx="1152769" cy="1152769"/>
            </a:xfrm>
            <a:prstGeom prst="rect">
              <a:avLst/>
            </a:prstGeom>
          </p:spPr>
        </p:pic>
        <p:pic>
          <p:nvPicPr>
            <p:cNvPr id="1119" name="图片 316">
              <a:extLst>
                <a:ext uri="{FF2B5EF4-FFF2-40B4-BE49-F238E27FC236}">
                  <a16:creationId xmlns:a16="http://schemas.microsoft.com/office/drawing/2014/main" id="{340B980B-E724-40B5-A6CD-7B2095877F07}"/>
                </a:ext>
              </a:extLst>
            </p:cNvPr>
            <p:cNvPicPr>
              <a:picLocks noChangeAspect="1"/>
            </p:cNvPicPr>
            <p:nvPr/>
          </p:nvPicPr>
          <p:blipFill>
            <a:blip r:embed="rId69" cstate="email">
              <a:extLst>
                <a:ext uri="{28A0092B-C50C-407E-A947-70E740481C1C}">
                  <a14:useLocalDpi xmlns:a14="http://schemas.microsoft.com/office/drawing/2010/main"/>
                </a:ext>
              </a:extLst>
            </a:blip>
            <a:stretch>
              <a:fillRect/>
            </a:stretch>
          </p:blipFill>
          <p:spPr>
            <a:xfrm>
              <a:off x="6955827" y="934489"/>
              <a:ext cx="918679" cy="918679"/>
            </a:xfrm>
            <a:prstGeom prst="rect">
              <a:avLst/>
            </a:prstGeom>
          </p:spPr>
        </p:pic>
        <p:pic>
          <p:nvPicPr>
            <p:cNvPr id="1120" name="图片 331">
              <a:extLst>
                <a:ext uri="{FF2B5EF4-FFF2-40B4-BE49-F238E27FC236}">
                  <a16:creationId xmlns:a16="http://schemas.microsoft.com/office/drawing/2014/main" id="{2D248E19-28BD-4EB1-BAC7-50C21F573190}"/>
                </a:ext>
              </a:extLst>
            </p:cNvPr>
            <p:cNvPicPr>
              <a:picLocks noChangeAspect="1"/>
            </p:cNvPicPr>
            <p:nvPr/>
          </p:nvPicPr>
          <p:blipFill>
            <a:blip r:embed="rId70" cstate="email">
              <a:extLst>
                <a:ext uri="{28A0092B-C50C-407E-A947-70E740481C1C}">
                  <a14:useLocalDpi xmlns:a14="http://schemas.microsoft.com/office/drawing/2010/main"/>
                </a:ext>
              </a:extLst>
            </a:blip>
            <a:stretch>
              <a:fillRect/>
            </a:stretch>
          </p:blipFill>
          <p:spPr>
            <a:xfrm>
              <a:off x="4586008" y="1107832"/>
              <a:ext cx="506462" cy="508145"/>
            </a:xfrm>
            <a:prstGeom prst="rect">
              <a:avLst/>
            </a:prstGeom>
          </p:spPr>
        </p:pic>
        <p:pic>
          <p:nvPicPr>
            <p:cNvPr id="1121" name="图片 1" descr="image001">
              <a:extLst>
                <a:ext uri="{FF2B5EF4-FFF2-40B4-BE49-F238E27FC236}">
                  <a16:creationId xmlns:a16="http://schemas.microsoft.com/office/drawing/2014/main" id="{2FBC6FCE-1111-4737-86D9-908CAECD5CD3}"/>
                </a:ext>
              </a:extLst>
            </p:cNvPr>
            <p:cNvPicPr>
              <a:picLocks noChangeAspect="1" noChangeArrowheads="1"/>
            </p:cNvPicPr>
            <p:nvPr/>
          </p:nvPicPr>
          <p:blipFill rotWithShape="1">
            <a:blip r:embed="rId71" cstate="email">
              <a:extLst>
                <a:ext uri="{28A0092B-C50C-407E-A947-70E740481C1C}">
                  <a14:useLocalDpi xmlns:a14="http://schemas.microsoft.com/office/drawing/2010/main"/>
                </a:ext>
              </a:extLst>
            </a:blip>
            <a:srcRect/>
            <a:stretch/>
          </p:blipFill>
          <p:spPr bwMode="auto">
            <a:xfrm>
              <a:off x="10472263" y="1255606"/>
              <a:ext cx="683276" cy="249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2" name="图片 395">
              <a:extLst>
                <a:ext uri="{FF2B5EF4-FFF2-40B4-BE49-F238E27FC236}">
                  <a16:creationId xmlns:a16="http://schemas.microsoft.com/office/drawing/2014/main" id="{FBEF10E9-B085-4154-A4DE-A8C85AEDEA7C}"/>
                </a:ext>
              </a:extLst>
            </p:cNvPr>
            <p:cNvPicPr>
              <a:picLocks noChangeAspect="1"/>
            </p:cNvPicPr>
            <p:nvPr/>
          </p:nvPicPr>
          <p:blipFill>
            <a:blip r:embed="rId72" cstate="email">
              <a:extLst>
                <a:ext uri="{28A0092B-C50C-407E-A947-70E740481C1C}">
                  <a14:useLocalDpi xmlns:a14="http://schemas.microsoft.com/office/drawing/2010/main"/>
                </a:ext>
              </a:extLst>
            </a:blip>
            <a:stretch>
              <a:fillRect/>
            </a:stretch>
          </p:blipFill>
          <p:spPr>
            <a:xfrm>
              <a:off x="6145772" y="971096"/>
              <a:ext cx="793543" cy="793543"/>
            </a:xfrm>
            <a:prstGeom prst="rect">
              <a:avLst/>
            </a:prstGeom>
          </p:spPr>
        </p:pic>
      </p:grpSp>
      <p:grpSp>
        <p:nvGrpSpPr>
          <p:cNvPr id="1137" name="Group 1136">
            <a:extLst>
              <a:ext uri="{FF2B5EF4-FFF2-40B4-BE49-F238E27FC236}">
                <a16:creationId xmlns:a16="http://schemas.microsoft.com/office/drawing/2014/main" id="{C523536E-35FA-4397-A1CD-991802283B3E}"/>
              </a:ext>
            </a:extLst>
          </p:cNvPr>
          <p:cNvGrpSpPr/>
          <p:nvPr/>
        </p:nvGrpSpPr>
        <p:grpSpPr>
          <a:xfrm>
            <a:off x="176602" y="10794386"/>
            <a:ext cx="12120981" cy="870925"/>
            <a:chOff x="171449" y="3431354"/>
            <a:chExt cx="11886080" cy="854047"/>
          </a:xfrm>
        </p:grpSpPr>
        <p:grpSp>
          <p:nvGrpSpPr>
            <p:cNvPr id="1138" name="Group 1137">
              <a:extLst>
                <a:ext uri="{FF2B5EF4-FFF2-40B4-BE49-F238E27FC236}">
                  <a16:creationId xmlns:a16="http://schemas.microsoft.com/office/drawing/2014/main" id="{EDAD9464-8BA5-40E6-8401-AB3D4F16AD13}"/>
                </a:ext>
              </a:extLst>
            </p:cNvPr>
            <p:cNvGrpSpPr/>
            <p:nvPr/>
          </p:nvGrpSpPr>
          <p:grpSpPr>
            <a:xfrm>
              <a:off x="171449" y="3453919"/>
              <a:ext cx="11886080" cy="774482"/>
              <a:chOff x="171449" y="3453919"/>
              <a:chExt cx="11886080" cy="774482"/>
            </a:xfrm>
          </p:grpSpPr>
          <p:sp>
            <p:nvSpPr>
              <p:cNvPr id="1153" name="矩形 51">
                <a:extLst>
                  <a:ext uri="{FF2B5EF4-FFF2-40B4-BE49-F238E27FC236}">
                    <a16:creationId xmlns:a16="http://schemas.microsoft.com/office/drawing/2014/main" id="{01026026-7010-49FB-930D-17A291754AE0}"/>
                  </a:ext>
                </a:extLst>
              </p:cNvPr>
              <p:cNvSpPr/>
              <p:nvPr/>
            </p:nvSpPr>
            <p:spPr bwMode="auto">
              <a:xfrm>
                <a:off x="1039608" y="3453919"/>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4" name="矩形 52">
                <a:extLst>
                  <a:ext uri="{FF2B5EF4-FFF2-40B4-BE49-F238E27FC236}">
                    <a16:creationId xmlns:a16="http://schemas.microsoft.com/office/drawing/2014/main" id="{A4E0BC81-D7A5-4532-8FCA-835CBEE6D686}"/>
                  </a:ext>
                </a:extLst>
              </p:cNvPr>
              <p:cNvSpPr/>
              <p:nvPr/>
            </p:nvSpPr>
            <p:spPr bwMode="auto">
              <a:xfrm>
                <a:off x="1893277" y="3453919"/>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5" name="矩形 53">
                <a:extLst>
                  <a:ext uri="{FF2B5EF4-FFF2-40B4-BE49-F238E27FC236}">
                    <a16:creationId xmlns:a16="http://schemas.microsoft.com/office/drawing/2014/main" id="{C6063508-811E-4DDE-B3EB-00802A5E7572}"/>
                  </a:ext>
                </a:extLst>
              </p:cNvPr>
              <p:cNvSpPr/>
              <p:nvPr/>
            </p:nvSpPr>
            <p:spPr bwMode="auto">
              <a:xfrm>
                <a:off x="2746946" y="3453919"/>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6" name="矩形 54">
                <a:extLst>
                  <a:ext uri="{FF2B5EF4-FFF2-40B4-BE49-F238E27FC236}">
                    <a16:creationId xmlns:a16="http://schemas.microsoft.com/office/drawing/2014/main" id="{E04A7214-4AF1-4620-ABF3-141FA9015A23}"/>
                  </a:ext>
                </a:extLst>
              </p:cNvPr>
              <p:cNvSpPr/>
              <p:nvPr/>
            </p:nvSpPr>
            <p:spPr bwMode="auto">
              <a:xfrm>
                <a:off x="3600616" y="3453919"/>
                <a:ext cx="759398" cy="774482"/>
              </a:xfrm>
              <a:prstGeom prst="rect">
                <a:avLst/>
              </a:prstGeom>
              <a:solidFill>
                <a:schemeClr val="accent4"/>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7" name="矩形 55">
                <a:extLst>
                  <a:ext uri="{FF2B5EF4-FFF2-40B4-BE49-F238E27FC236}">
                    <a16:creationId xmlns:a16="http://schemas.microsoft.com/office/drawing/2014/main" id="{23AEEA45-B2C7-40EF-900B-17D7A47D7D80}"/>
                  </a:ext>
                </a:extLst>
              </p:cNvPr>
              <p:cNvSpPr/>
              <p:nvPr/>
            </p:nvSpPr>
            <p:spPr bwMode="auto">
              <a:xfrm>
                <a:off x="4454285" y="3453919"/>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8" name="矩形 56">
                <a:extLst>
                  <a:ext uri="{FF2B5EF4-FFF2-40B4-BE49-F238E27FC236}">
                    <a16:creationId xmlns:a16="http://schemas.microsoft.com/office/drawing/2014/main" id="{F79F7854-6B04-4D95-BC00-BD412EC04C58}"/>
                  </a:ext>
                </a:extLst>
              </p:cNvPr>
              <p:cNvSpPr/>
              <p:nvPr/>
            </p:nvSpPr>
            <p:spPr bwMode="auto">
              <a:xfrm>
                <a:off x="5307955" y="3453919"/>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9" name="矩形 57">
                <a:extLst>
                  <a:ext uri="{FF2B5EF4-FFF2-40B4-BE49-F238E27FC236}">
                    <a16:creationId xmlns:a16="http://schemas.microsoft.com/office/drawing/2014/main" id="{A9E6F5F4-78AF-4797-9C3C-57619F8C29BB}"/>
                  </a:ext>
                </a:extLst>
              </p:cNvPr>
              <p:cNvSpPr/>
              <p:nvPr/>
            </p:nvSpPr>
            <p:spPr bwMode="auto">
              <a:xfrm>
                <a:off x="6161624" y="3453919"/>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0" name="矩形 58">
                <a:extLst>
                  <a:ext uri="{FF2B5EF4-FFF2-40B4-BE49-F238E27FC236}">
                    <a16:creationId xmlns:a16="http://schemas.microsoft.com/office/drawing/2014/main" id="{C0155A02-D1A8-4734-9C3F-30F3F1DF75E9}"/>
                  </a:ext>
                </a:extLst>
              </p:cNvPr>
              <p:cNvSpPr/>
              <p:nvPr/>
            </p:nvSpPr>
            <p:spPr bwMode="auto">
              <a:xfrm>
                <a:off x="7868963" y="3453919"/>
                <a:ext cx="759398" cy="774482"/>
              </a:xfrm>
              <a:prstGeom prst="rect">
                <a:avLst/>
              </a:prstGeom>
              <a:solidFill>
                <a:srgbClr val="FFC00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1" name="矩形 59">
                <a:extLst>
                  <a:ext uri="{FF2B5EF4-FFF2-40B4-BE49-F238E27FC236}">
                    <a16:creationId xmlns:a16="http://schemas.microsoft.com/office/drawing/2014/main" id="{11FBE752-BABF-4CC1-9E7E-C234D1D0C30F}"/>
                  </a:ext>
                </a:extLst>
              </p:cNvPr>
              <p:cNvSpPr/>
              <p:nvPr/>
            </p:nvSpPr>
            <p:spPr bwMode="auto">
              <a:xfrm>
                <a:off x="7015293" y="3453919"/>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2" name="矩形 60">
                <a:extLst>
                  <a:ext uri="{FF2B5EF4-FFF2-40B4-BE49-F238E27FC236}">
                    <a16:creationId xmlns:a16="http://schemas.microsoft.com/office/drawing/2014/main" id="{8437BB7B-065B-4279-90F1-28EF863E0880}"/>
                  </a:ext>
                </a:extLst>
              </p:cNvPr>
              <p:cNvSpPr/>
              <p:nvPr/>
            </p:nvSpPr>
            <p:spPr bwMode="auto">
              <a:xfrm>
                <a:off x="8722632" y="3453919"/>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3" name="矩形 61">
                <a:extLst>
                  <a:ext uri="{FF2B5EF4-FFF2-40B4-BE49-F238E27FC236}">
                    <a16:creationId xmlns:a16="http://schemas.microsoft.com/office/drawing/2014/main" id="{5116C769-AFBC-42A0-8C3C-07EB6D60DB62}"/>
                  </a:ext>
                </a:extLst>
              </p:cNvPr>
              <p:cNvSpPr/>
              <p:nvPr/>
            </p:nvSpPr>
            <p:spPr bwMode="auto">
              <a:xfrm>
                <a:off x="9576301" y="3453919"/>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4" name="矩形 62">
                <a:extLst>
                  <a:ext uri="{FF2B5EF4-FFF2-40B4-BE49-F238E27FC236}">
                    <a16:creationId xmlns:a16="http://schemas.microsoft.com/office/drawing/2014/main" id="{B43DBE51-7639-4FBA-BBDE-76AB04F3C6EE}"/>
                  </a:ext>
                </a:extLst>
              </p:cNvPr>
              <p:cNvSpPr/>
              <p:nvPr/>
            </p:nvSpPr>
            <p:spPr bwMode="auto">
              <a:xfrm>
                <a:off x="10429973" y="3453919"/>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5" name="矩形 91">
                <a:extLst>
                  <a:ext uri="{FF2B5EF4-FFF2-40B4-BE49-F238E27FC236}">
                    <a16:creationId xmlns:a16="http://schemas.microsoft.com/office/drawing/2014/main" id="{D47EBF1B-D6D8-4C2E-9D82-4C532B1FB07D}"/>
                  </a:ext>
                </a:extLst>
              </p:cNvPr>
              <p:cNvSpPr/>
              <p:nvPr/>
            </p:nvSpPr>
            <p:spPr bwMode="auto">
              <a:xfrm>
                <a:off x="11298131" y="3453919"/>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6" name="矩形 105">
                <a:extLst>
                  <a:ext uri="{FF2B5EF4-FFF2-40B4-BE49-F238E27FC236}">
                    <a16:creationId xmlns:a16="http://schemas.microsoft.com/office/drawing/2014/main" id="{3B4C789E-A808-4123-A641-1A76DED050DA}"/>
                  </a:ext>
                </a:extLst>
              </p:cNvPr>
              <p:cNvSpPr/>
              <p:nvPr/>
            </p:nvSpPr>
            <p:spPr bwMode="auto">
              <a:xfrm>
                <a:off x="171449" y="3453919"/>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1139" name="Picture 223">
              <a:extLst>
                <a:ext uri="{FF2B5EF4-FFF2-40B4-BE49-F238E27FC236}">
                  <a16:creationId xmlns:a16="http://schemas.microsoft.com/office/drawing/2014/main" id="{0F7519AC-98DE-4425-994B-D28B239E3DA8}"/>
                </a:ext>
              </a:extLst>
            </p:cNvPr>
            <p:cNvPicPr>
              <a:picLocks noChangeAspect="1"/>
            </p:cNvPicPr>
            <p:nvPr/>
          </p:nvPicPr>
          <p:blipFill rotWithShape="1">
            <a:blip r:embed="rId73" cstate="email">
              <a:extLst>
                <a:ext uri="{28A0092B-C50C-407E-A947-70E740481C1C}">
                  <a14:useLocalDpi xmlns:a14="http://schemas.microsoft.com/office/drawing/2010/main"/>
                </a:ext>
              </a:extLst>
            </a:blip>
            <a:srcRect l="8639" r="11254" b="5264"/>
            <a:stretch/>
          </p:blipFill>
          <p:spPr>
            <a:xfrm>
              <a:off x="1079822" y="3669084"/>
              <a:ext cx="651257" cy="348480"/>
            </a:xfrm>
            <a:prstGeom prst="rect">
              <a:avLst/>
            </a:prstGeom>
            <a:solidFill>
              <a:schemeClr val="bg1"/>
            </a:solidFill>
            <a:ln>
              <a:noFill/>
            </a:ln>
          </p:spPr>
        </p:pic>
        <p:pic>
          <p:nvPicPr>
            <p:cNvPr id="1140" name="图片 265">
              <a:extLst>
                <a:ext uri="{FF2B5EF4-FFF2-40B4-BE49-F238E27FC236}">
                  <a16:creationId xmlns:a16="http://schemas.microsoft.com/office/drawing/2014/main" id="{AB77BD84-5C39-420D-B890-CAD44FA9187C}"/>
                </a:ext>
              </a:extLst>
            </p:cNvPr>
            <p:cNvPicPr>
              <a:picLocks noChangeAspect="1"/>
            </p:cNvPicPr>
            <p:nvPr/>
          </p:nvPicPr>
          <p:blipFill>
            <a:blip r:embed="rId74" cstate="email">
              <a:extLst>
                <a:ext uri="{28A0092B-C50C-407E-A947-70E740481C1C}">
                  <a14:useLocalDpi xmlns:a14="http://schemas.microsoft.com/office/drawing/2010/main"/>
                </a:ext>
              </a:extLst>
            </a:blip>
            <a:stretch>
              <a:fillRect/>
            </a:stretch>
          </p:blipFill>
          <p:spPr>
            <a:xfrm>
              <a:off x="9621824" y="3529342"/>
              <a:ext cx="684838" cy="562647"/>
            </a:xfrm>
            <a:prstGeom prst="rect">
              <a:avLst/>
            </a:prstGeom>
          </p:spPr>
        </p:pic>
        <p:pic>
          <p:nvPicPr>
            <p:cNvPr id="1141" name="图片 12">
              <a:extLst>
                <a:ext uri="{FF2B5EF4-FFF2-40B4-BE49-F238E27FC236}">
                  <a16:creationId xmlns:a16="http://schemas.microsoft.com/office/drawing/2014/main" id="{BF77987F-DF01-486A-B009-7A84C3984987}"/>
                </a:ext>
              </a:extLst>
            </p:cNvPr>
            <p:cNvPicPr>
              <a:picLocks noChangeAspect="1"/>
            </p:cNvPicPr>
            <p:nvPr/>
          </p:nvPicPr>
          <p:blipFill>
            <a:blip r:embed="rId75" cstate="email">
              <a:extLst>
                <a:ext uri="{28A0092B-C50C-407E-A947-70E740481C1C}">
                  <a14:useLocalDpi xmlns:a14="http://schemas.microsoft.com/office/drawing/2010/main"/>
                </a:ext>
              </a:extLst>
            </a:blip>
            <a:stretch>
              <a:fillRect/>
            </a:stretch>
          </p:blipFill>
          <p:spPr>
            <a:xfrm>
              <a:off x="4510712" y="3568299"/>
              <a:ext cx="657823" cy="503865"/>
            </a:xfrm>
            <a:prstGeom prst="rect">
              <a:avLst/>
            </a:prstGeom>
            <a:solidFill>
              <a:schemeClr val="bg1"/>
            </a:solidFill>
            <a:ln>
              <a:noFill/>
            </a:ln>
          </p:spPr>
        </p:pic>
        <p:pic>
          <p:nvPicPr>
            <p:cNvPr id="1142" name="Picture 3" descr="C:\Users\york.yang2\Desktop\Pictures for PPT\tigermed.png">
              <a:extLst>
                <a:ext uri="{FF2B5EF4-FFF2-40B4-BE49-F238E27FC236}">
                  <a16:creationId xmlns:a16="http://schemas.microsoft.com/office/drawing/2014/main" id="{21F9FF0D-626E-4398-B924-AF1C0533D34D}"/>
                </a:ext>
              </a:extLst>
            </p:cNvPr>
            <p:cNvPicPr>
              <a:picLocks noChangeAspect="1" noChangeArrowheads="1"/>
            </p:cNvPicPr>
            <p:nvPr/>
          </p:nvPicPr>
          <p:blipFill>
            <a:blip r:embed="rId76" cstate="email">
              <a:extLst>
                <a:ext uri="{28A0092B-C50C-407E-A947-70E740481C1C}">
                  <a14:useLocalDpi xmlns:a14="http://schemas.microsoft.com/office/drawing/2010/main"/>
                </a:ext>
              </a:extLst>
            </a:blip>
            <a:srcRect/>
            <a:stretch>
              <a:fillRect/>
            </a:stretch>
          </p:blipFill>
          <p:spPr bwMode="auto">
            <a:xfrm>
              <a:off x="2735825" y="3563422"/>
              <a:ext cx="770196" cy="599470"/>
            </a:xfrm>
            <a:prstGeom prst="rect">
              <a:avLst/>
            </a:prstGeom>
            <a:noFill/>
            <a:extLst>
              <a:ext uri="{909E8E84-426E-40DD-AFC4-6F175D3DCCD1}">
                <a14:hiddenFill xmlns:a14="http://schemas.microsoft.com/office/drawing/2010/main">
                  <a:solidFill>
                    <a:srgbClr val="FFFFFF"/>
                  </a:solidFill>
                </a14:hiddenFill>
              </a:ext>
            </a:extLst>
          </p:spPr>
        </p:pic>
        <p:pic>
          <p:nvPicPr>
            <p:cNvPr id="1143" name="Picture 2" descr="C:\Users\york.yang2\Desktop\Deck For Cloud China George\AdMaster_Logo.png">
              <a:extLst>
                <a:ext uri="{FF2B5EF4-FFF2-40B4-BE49-F238E27FC236}">
                  <a16:creationId xmlns:a16="http://schemas.microsoft.com/office/drawing/2014/main" id="{058F3217-D3EA-41F9-BF9C-6733204DC3DD}"/>
                </a:ext>
              </a:extLst>
            </p:cNvPr>
            <p:cNvPicPr>
              <a:picLocks noChangeAspect="1" noChangeArrowheads="1"/>
            </p:cNvPicPr>
            <p:nvPr/>
          </p:nvPicPr>
          <p:blipFill>
            <a:blip r:embed="rId77" cstate="email">
              <a:extLst>
                <a:ext uri="{28A0092B-C50C-407E-A947-70E740481C1C}">
                  <a14:useLocalDpi xmlns:a14="http://schemas.microsoft.com/office/drawing/2010/main"/>
                </a:ext>
              </a:extLst>
            </a:blip>
            <a:srcRect/>
            <a:stretch>
              <a:fillRect/>
            </a:stretch>
          </p:blipFill>
          <p:spPr bwMode="auto">
            <a:xfrm>
              <a:off x="5374179" y="3786382"/>
              <a:ext cx="664799" cy="168736"/>
            </a:xfrm>
            <a:prstGeom prst="rect">
              <a:avLst/>
            </a:prstGeom>
            <a:noFill/>
            <a:extLst>
              <a:ext uri="{909E8E84-426E-40DD-AFC4-6F175D3DCCD1}">
                <a14:hiddenFill xmlns:a14="http://schemas.microsoft.com/office/drawing/2010/main">
                  <a:solidFill>
                    <a:srgbClr val="FFFFFF"/>
                  </a:solidFill>
                </a14:hiddenFill>
              </a:ext>
            </a:extLst>
          </p:spPr>
        </p:pic>
        <p:pic>
          <p:nvPicPr>
            <p:cNvPr id="1144" name="图片 313">
              <a:extLst>
                <a:ext uri="{FF2B5EF4-FFF2-40B4-BE49-F238E27FC236}">
                  <a16:creationId xmlns:a16="http://schemas.microsoft.com/office/drawing/2014/main" id="{509587A4-C02A-4614-9870-72ED259E6D14}"/>
                </a:ext>
              </a:extLst>
            </p:cNvPr>
            <p:cNvPicPr>
              <a:picLocks noChangeAspect="1"/>
            </p:cNvPicPr>
            <p:nvPr/>
          </p:nvPicPr>
          <p:blipFill rotWithShape="1">
            <a:blip r:embed="rId78" cstate="email">
              <a:extLst>
                <a:ext uri="{28A0092B-C50C-407E-A947-70E740481C1C}">
                  <a14:useLocalDpi xmlns:a14="http://schemas.microsoft.com/office/drawing/2010/main"/>
                </a:ext>
              </a:extLst>
            </a:blip>
            <a:srcRect r="55759"/>
            <a:stretch/>
          </p:blipFill>
          <p:spPr>
            <a:xfrm>
              <a:off x="210509" y="3753473"/>
              <a:ext cx="678523" cy="233120"/>
            </a:xfrm>
            <a:prstGeom prst="rect">
              <a:avLst/>
            </a:prstGeom>
          </p:spPr>
        </p:pic>
        <p:pic>
          <p:nvPicPr>
            <p:cNvPr id="1145" name="图片 332">
              <a:extLst>
                <a:ext uri="{FF2B5EF4-FFF2-40B4-BE49-F238E27FC236}">
                  <a16:creationId xmlns:a16="http://schemas.microsoft.com/office/drawing/2014/main" id="{2D518CEB-7F11-4732-879E-0C9102F75CEB}"/>
                </a:ext>
              </a:extLst>
            </p:cNvPr>
            <p:cNvPicPr>
              <a:picLocks noChangeAspect="1"/>
            </p:cNvPicPr>
            <p:nvPr/>
          </p:nvPicPr>
          <p:blipFill>
            <a:blip r:embed="rId79" cstate="email">
              <a:extLst>
                <a:ext uri="{28A0092B-C50C-407E-A947-70E740481C1C}">
                  <a14:useLocalDpi xmlns:a14="http://schemas.microsoft.com/office/drawing/2010/main"/>
                </a:ext>
              </a:extLst>
            </a:blip>
            <a:stretch>
              <a:fillRect/>
            </a:stretch>
          </p:blipFill>
          <p:spPr>
            <a:xfrm>
              <a:off x="6221737" y="3852018"/>
              <a:ext cx="644016" cy="107252"/>
            </a:xfrm>
            <a:prstGeom prst="rect">
              <a:avLst/>
            </a:prstGeom>
          </p:spPr>
        </p:pic>
        <p:pic>
          <p:nvPicPr>
            <p:cNvPr id="1146" name="图片 334">
              <a:extLst>
                <a:ext uri="{FF2B5EF4-FFF2-40B4-BE49-F238E27FC236}">
                  <a16:creationId xmlns:a16="http://schemas.microsoft.com/office/drawing/2014/main" id="{552F17A8-85D3-4420-AE93-F63E2E5EC674}"/>
                </a:ext>
              </a:extLst>
            </p:cNvPr>
            <p:cNvPicPr>
              <a:picLocks noChangeAspect="1"/>
            </p:cNvPicPr>
            <p:nvPr/>
          </p:nvPicPr>
          <p:blipFill>
            <a:blip r:embed="rId80" cstate="email">
              <a:extLst>
                <a:ext uri="{28A0092B-C50C-407E-A947-70E740481C1C}">
                  <a14:useLocalDpi xmlns:a14="http://schemas.microsoft.com/office/drawing/2010/main"/>
                </a:ext>
              </a:extLst>
            </a:blip>
            <a:stretch>
              <a:fillRect/>
            </a:stretch>
          </p:blipFill>
          <p:spPr>
            <a:xfrm>
              <a:off x="6983761" y="3431354"/>
              <a:ext cx="854047" cy="854047"/>
            </a:xfrm>
            <a:prstGeom prst="rect">
              <a:avLst/>
            </a:prstGeom>
          </p:spPr>
        </p:pic>
        <p:pic>
          <p:nvPicPr>
            <p:cNvPr id="1147" name="图片 1" descr="image001">
              <a:extLst>
                <a:ext uri="{FF2B5EF4-FFF2-40B4-BE49-F238E27FC236}">
                  <a16:creationId xmlns:a16="http://schemas.microsoft.com/office/drawing/2014/main" id="{52E67831-F672-459B-9AA2-32FB1C5A6DE1}"/>
                </a:ext>
              </a:extLst>
            </p:cNvPr>
            <p:cNvPicPr>
              <a:picLocks noChangeAspect="1" noChangeArrowheads="1"/>
            </p:cNvPicPr>
            <p:nvPr/>
          </p:nvPicPr>
          <p:blipFill rotWithShape="1">
            <a:blip r:embed="rId81" cstate="email">
              <a:extLst>
                <a:ext uri="{28A0092B-C50C-407E-A947-70E740481C1C}">
                  <a14:useLocalDpi xmlns:a14="http://schemas.microsoft.com/office/drawing/2010/main"/>
                </a:ext>
              </a:extLst>
            </a:blip>
            <a:srcRect/>
            <a:stretch/>
          </p:blipFill>
          <p:spPr bwMode="auto">
            <a:xfrm>
              <a:off x="8784125" y="3700156"/>
              <a:ext cx="663174" cy="277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8" name="图片 1" descr="image001">
              <a:extLst>
                <a:ext uri="{FF2B5EF4-FFF2-40B4-BE49-F238E27FC236}">
                  <a16:creationId xmlns:a16="http://schemas.microsoft.com/office/drawing/2014/main" id="{5EE54CAE-E6E1-48E3-BF1B-F5A3FA306B19}"/>
                </a:ext>
              </a:extLst>
            </p:cNvPr>
            <p:cNvPicPr>
              <a:picLocks noChangeAspect="1" noChangeArrowheads="1"/>
            </p:cNvPicPr>
            <p:nvPr/>
          </p:nvPicPr>
          <p:blipFill rotWithShape="1">
            <a:blip r:embed="rId82" cstate="email">
              <a:extLst>
                <a:ext uri="{28A0092B-C50C-407E-A947-70E740481C1C}">
                  <a14:useLocalDpi xmlns:a14="http://schemas.microsoft.com/office/drawing/2010/main"/>
                </a:ext>
              </a:extLst>
            </a:blip>
            <a:srcRect/>
            <a:stretch/>
          </p:blipFill>
          <p:spPr bwMode="auto">
            <a:xfrm>
              <a:off x="10529486" y="3560083"/>
              <a:ext cx="554236" cy="62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9" name="图片 364">
              <a:extLst>
                <a:ext uri="{FF2B5EF4-FFF2-40B4-BE49-F238E27FC236}">
                  <a16:creationId xmlns:a16="http://schemas.microsoft.com/office/drawing/2014/main" id="{C4AA9ADE-70B1-41FF-96F9-66378E6E32B6}"/>
                </a:ext>
              </a:extLst>
            </p:cNvPr>
            <p:cNvPicPr>
              <a:picLocks noChangeAspect="1"/>
            </p:cNvPicPr>
            <p:nvPr/>
          </p:nvPicPr>
          <p:blipFill>
            <a:blip r:embed="rId83" cstate="email">
              <a:extLst>
                <a:ext uri="{28A0092B-C50C-407E-A947-70E740481C1C}">
                  <a14:useLocalDpi xmlns:a14="http://schemas.microsoft.com/office/drawing/2010/main"/>
                </a:ext>
              </a:extLst>
            </a:blip>
            <a:stretch>
              <a:fillRect/>
            </a:stretch>
          </p:blipFill>
          <p:spPr>
            <a:xfrm>
              <a:off x="11338180" y="3679285"/>
              <a:ext cx="666193" cy="412929"/>
            </a:xfrm>
            <a:prstGeom prst="rect">
              <a:avLst/>
            </a:prstGeom>
          </p:spPr>
        </p:pic>
        <p:pic>
          <p:nvPicPr>
            <p:cNvPr id="1150" name="图片 385">
              <a:extLst>
                <a:ext uri="{FF2B5EF4-FFF2-40B4-BE49-F238E27FC236}">
                  <a16:creationId xmlns:a16="http://schemas.microsoft.com/office/drawing/2014/main" id="{D3810295-CA8B-44F9-ACFE-A3D6F9A1EF33}"/>
                </a:ext>
              </a:extLst>
            </p:cNvPr>
            <p:cNvPicPr>
              <a:picLocks noChangeAspect="1"/>
            </p:cNvPicPr>
            <p:nvPr/>
          </p:nvPicPr>
          <p:blipFill>
            <a:blip r:embed="rId84" cstate="email">
              <a:extLst>
                <a:ext uri="{28A0092B-C50C-407E-A947-70E740481C1C}">
                  <a14:useLocalDpi xmlns:a14="http://schemas.microsoft.com/office/drawing/2010/main"/>
                </a:ext>
              </a:extLst>
            </a:blip>
            <a:stretch>
              <a:fillRect/>
            </a:stretch>
          </p:blipFill>
          <p:spPr>
            <a:xfrm>
              <a:off x="1966826" y="3543030"/>
              <a:ext cx="599856" cy="599856"/>
            </a:xfrm>
            <a:prstGeom prst="rect">
              <a:avLst/>
            </a:prstGeom>
          </p:spPr>
        </p:pic>
        <p:pic>
          <p:nvPicPr>
            <p:cNvPr id="1151" name="图片 391">
              <a:extLst>
                <a:ext uri="{FF2B5EF4-FFF2-40B4-BE49-F238E27FC236}">
                  <a16:creationId xmlns:a16="http://schemas.microsoft.com/office/drawing/2014/main" id="{253712A4-67B8-4053-84BD-FDB66ED14EB4}"/>
                </a:ext>
              </a:extLst>
            </p:cNvPr>
            <p:cNvPicPr>
              <a:picLocks noChangeAspect="1"/>
            </p:cNvPicPr>
            <p:nvPr/>
          </p:nvPicPr>
          <p:blipFill>
            <a:blip r:embed="rId85" cstate="email">
              <a:extLst>
                <a:ext uri="{28A0092B-C50C-407E-A947-70E740481C1C}">
                  <a14:useLocalDpi xmlns:a14="http://schemas.microsoft.com/office/drawing/2010/main"/>
                </a:ext>
              </a:extLst>
            </a:blip>
            <a:stretch>
              <a:fillRect/>
            </a:stretch>
          </p:blipFill>
          <p:spPr>
            <a:xfrm>
              <a:off x="3644876" y="3507216"/>
              <a:ext cx="715970" cy="715970"/>
            </a:xfrm>
            <a:prstGeom prst="rect">
              <a:avLst/>
            </a:prstGeom>
          </p:spPr>
        </p:pic>
        <p:pic>
          <p:nvPicPr>
            <p:cNvPr id="1152" name="图片 396">
              <a:extLst>
                <a:ext uri="{FF2B5EF4-FFF2-40B4-BE49-F238E27FC236}">
                  <a16:creationId xmlns:a16="http://schemas.microsoft.com/office/drawing/2014/main" id="{953A36C8-C7AA-4FBD-89E0-FE95BAE57B58}"/>
                </a:ext>
              </a:extLst>
            </p:cNvPr>
            <p:cNvPicPr>
              <a:picLocks noChangeAspect="1"/>
            </p:cNvPicPr>
            <p:nvPr/>
          </p:nvPicPr>
          <p:blipFill>
            <a:blip r:embed="rId86" cstate="email">
              <a:extLst>
                <a:ext uri="{28A0092B-C50C-407E-A947-70E740481C1C}">
                  <a14:useLocalDpi xmlns:a14="http://schemas.microsoft.com/office/drawing/2010/main"/>
                </a:ext>
              </a:extLst>
            </a:blip>
            <a:stretch>
              <a:fillRect/>
            </a:stretch>
          </p:blipFill>
          <p:spPr>
            <a:xfrm>
              <a:off x="7879095" y="3467832"/>
              <a:ext cx="734855" cy="734855"/>
            </a:xfrm>
            <a:prstGeom prst="rect">
              <a:avLst/>
            </a:prstGeom>
          </p:spPr>
        </p:pic>
      </p:grpSp>
      <p:grpSp>
        <p:nvGrpSpPr>
          <p:cNvPr id="1167" name="Group 1166">
            <a:extLst>
              <a:ext uri="{FF2B5EF4-FFF2-40B4-BE49-F238E27FC236}">
                <a16:creationId xmlns:a16="http://schemas.microsoft.com/office/drawing/2014/main" id="{E815BB56-D385-4CEF-BD8F-429CBF9206B1}"/>
              </a:ext>
            </a:extLst>
          </p:cNvPr>
          <p:cNvGrpSpPr/>
          <p:nvPr/>
        </p:nvGrpSpPr>
        <p:grpSpPr>
          <a:xfrm>
            <a:off x="176602" y="11658407"/>
            <a:ext cx="12120981" cy="872192"/>
            <a:chOff x="171449" y="4278630"/>
            <a:chExt cx="11886080" cy="855289"/>
          </a:xfrm>
        </p:grpSpPr>
        <p:grpSp>
          <p:nvGrpSpPr>
            <p:cNvPr id="1168" name="Group 1167">
              <a:extLst>
                <a:ext uri="{FF2B5EF4-FFF2-40B4-BE49-F238E27FC236}">
                  <a16:creationId xmlns:a16="http://schemas.microsoft.com/office/drawing/2014/main" id="{6DDAF305-B1CE-4D82-BB9A-A6A469AB6BBA}"/>
                </a:ext>
              </a:extLst>
            </p:cNvPr>
            <p:cNvGrpSpPr/>
            <p:nvPr/>
          </p:nvGrpSpPr>
          <p:grpSpPr>
            <a:xfrm>
              <a:off x="171449" y="4279651"/>
              <a:ext cx="11886080" cy="774482"/>
              <a:chOff x="171449" y="4279651"/>
              <a:chExt cx="11886080" cy="774482"/>
            </a:xfrm>
          </p:grpSpPr>
          <p:sp>
            <p:nvSpPr>
              <p:cNvPr id="1183" name="矩形 63">
                <a:extLst>
                  <a:ext uri="{FF2B5EF4-FFF2-40B4-BE49-F238E27FC236}">
                    <a16:creationId xmlns:a16="http://schemas.microsoft.com/office/drawing/2014/main" id="{56D6303D-304E-4688-9898-6A8837C9E2C4}"/>
                  </a:ext>
                </a:extLst>
              </p:cNvPr>
              <p:cNvSpPr/>
              <p:nvPr/>
            </p:nvSpPr>
            <p:spPr bwMode="auto">
              <a:xfrm>
                <a:off x="1039608" y="4279651"/>
                <a:ext cx="759398" cy="774482"/>
              </a:xfrm>
              <a:prstGeom prst="rect">
                <a:avLst/>
              </a:prstGeom>
              <a:solidFill>
                <a:schemeClr val="accent5"/>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4" name="矩形 64">
                <a:extLst>
                  <a:ext uri="{FF2B5EF4-FFF2-40B4-BE49-F238E27FC236}">
                    <a16:creationId xmlns:a16="http://schemas.microsoft.com/office/drawing/2014/main" id="{632534BD-2D4F-4CB8-AEBE-4098C4BE9FCB}"/>
                  </a:ext>
                </a:extLst>
              </p:cNvPr>
              <p:cNvSpPr/>
              <p:nvPr/>
            </p:nvSpPr>
            <p:spPr bwMode="auto">
              <a:xfrm>
                <a:off x="2746946" y="4279651"/>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5" name="矩形 65">
                <a:extLst>
                  <a:ext uri="{FF2B5EF4-FFF2-40B4-BE49-F238E27FC236}">
                    <a16:creationId xmlns:a16="http://schemas.microsoft.com/office/drawing/2014/main" id="{3F928F8E-4DF0-4ADE-956C-8ED9E65C6950}"/>
                  </a:ext>
                </a:extLst>
              </p:cNvPr>
              <p:cNvSpPr/>
              <p:nvPr/>
            </p:nvSpPr>
            <p:spPr bwMode="auto">
              <a:xfrm>
                <a:off x="1893277" y="4279651"/>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6" name="矩形 66">
                <a:extLst>
                  <a:ext uri="{FF2B5EF4-FFF2-40B4-BE49-F238E27FC236}">
                    <a16:creationId xmlns:a16="http://schemas.microsoft.com/office/drawing/2014/main" id="{361DBFDA-DDE7-4CE7-9925-E79FA922BC32}"/>
                  </a:ext>
                </a:extLst>
              </p:cNvPr>
              <p:cNvSpPr/>
              <p:nvPr/>
            </p:nvSpPr>
            <p:spPr bwMode="auto">
              <a:xfrm>
                <a:off x="3600616" y="4279651"/>
                <a:ext cx="759398" cy="774482"/>
              </a:xfrm>
              <a:prstGeom prst="rect">
                <a:avLst/>
              </a:prstGeom>
              <a:solidFill>
                <a:srgbClr val="FFC00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7" name="矩形 67">
                <a:extLst>
                  <a:ext uri="{FF2B5EF4-FFF2-40B4-BE49-F238E27FC236}">
                    <a16:creationId xmlns:a16="http://schemas.microsoft.com/office/drawing/2014/main" id="{8D308012-A3A9-4D7C-A7DA-7C004E3310DD}"/>
                  </a:ext>
                </a:extLst>
              </p:cNvPr>
              <p:cNvSpPr/>
              <p:nvPr/>
            </p:nvSpPr>
            <p:spPr bwMode="auto">
              <a:xfrm>
                <a:off x="4454285" y="4279651"/>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8" name="矩形 68">
                <a:extLst>
                  <a:ext uri="{FF2B5EF4-FFF2-40B4-BE49-F238E27FC236}">
                    <a16:creationId xmlns:a16="http://schemas.microsoft.com/office/drawing/2014/main" id="{AF6C5785-3AB1-469C-A789-000652E5EE80}"/>
                  </a:ext>
                </a:extLst>
              </p:cNvPr>
              <p:cNvSpPr/>
              <p:nvPr/>
            </p:nvSpPr>
            <p:spPr bwMode="auto">
              <a:xfrm>
                <a:off x="5307955" y="4279651"/>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9" name="矩形 69">
                <a:extLst>
                  <a:ext uri="{FF2B5EF4-FFF2-40B4-BE49-F238E27FC236}">
                    <a16:creationId xmlns:a16="http://schemas.microsoft.com/office/drawing/2014/main" id="{530F5261-7DBA-4FED-9D9B-76AC112EFE3E}"/>
                  </a:ext>
                </a:extLst>
              </p:cNvPr>
              <p:cNvSpPr/>
              <p:nvPr/>
            </p:nvSpPr>
            <p:spPr bwMode="auto">
              <a:xfrm>
                <a:off x="6161624" y="4279651"/>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0" name="矩形 70">
                <a:extLst>
                  <a:ext uri="{FF2B5EF4-FFF2-40B4-BE49-F238E27FC236}">
                    <a16:creationId xmlns:a16="http://schemas.microsoft.com/office/drawing/2014/main" id="{9754C70B-527A-43A1-A994-6665420084C2}"/>
                  </a:ext>
                </a:extLst>
              </p:cNvPr>
              <p:cNvSpPr/>
              <p:nvPr/>
            </p:nvSpPr>
            <p:spPr bwMode="auto">
              <a:xfrm>
                <a:off x="7015293" y="4279651"/>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1" name="矩形 71">
                <a:extLst>
                  <a:ext uri="{FF2B5EF4-FFF2-40B4-BE49-F238E27FC236}">
                    <a16:creationId xmlns:a16="http://schemas.microsoft.com/office/drawing/2014/main" id="{B2748781-A8CE-4D93-8AF5-AE832044B6C0}"/>
                  </a:ext>
                </a:extLst>
              </p:cNvPr>
              <p:cNvSpPr/>
              <p:nvPr/>
            </p:nvSpPr>
            <p:spPr bwMode="auto">
              <a:xfrm>
                <a:off x="7868963" y="4279651"/>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2" name="矩形 72">
                <a:extLst>
                  <a:ext uri="{FF2B5EF4-FFF2-40B4-BE49-F238E27FC236}">
                    <a16:creationId xmlns:a16="http://schemas.microsoft.com/office/drawing/2014/main" id="{0751C063-B08C-4723-971D-7DD8EA8A688A}"/>
                  </a:ext>
                </a:extLst>
              </p:cNvPr>
              <p:cNvSpPr/>
              <p:nvPr/>
            </p:nvSpPr>
            <p:spPr bwMode="auto">
              <a:xfrm>
                <a:off x="8722632" y="4279651"/>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3" name="矩形 73">
                <a:extLst>
                  <a:ext uri="{FF2B5EF4-FFF2-40B4-BE49-F238E27FC236}">
                    <a16:creationId xmlns:a16="http://schemas.microsoft.com/office/drawing/2014/main" id="{4857575F-A0C8-45BB-949A-72C5680EBCE7}"/>
                  </a:ext>
                </a:extLst>
              </p:cNvPr>
              <p:cNvSpPr/>
              <p:nvPr/>
            </p:nvSpPr>
            <p:spPr bwMode="auto">
              <a:xfrm>
                <a:off x="9576301" y="4279651"/>
                <a:ext cx="759398" cy="774482"/>
              </a:xfrm>
              <a:prstGeom prst="rect">
                <a:avLst/>
              </a:prstGeom>
              <a:solidFill>
                <a:schemeClr val="bg1">
                  <a:lumMod val="50000"/>
                </a:schemeClr>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4" name="矩形 74">
                <a:extLst>
                  <a:ext uri="{FF2B5EF4-FFF2-40B4-BE49-F238E27FC236}">
                    <a16:creationId xmlns:a16="http://schemas.microsoft.com/office/drawing/2014/main" id="{83ECBEBA-46AD-4EBD-86D8-A483BD3C7ACC}"/>
                  </a:ext>
                </a:extLst>
              </p:cNvPr>
              <p:cNvSpPr/>
              <p:nvPr/>
            </p:nvSpPr>
            <p:spPr bwMode="auto">
              <a:xfrm>
                <a:off x="10429973" y="4279651"/>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5" name="矩形 92">
                <a:extLst>
                  <a:ext uri="{FF2B5EF4-FFF2-40B4-BE49-F238E27FC236}">
                    <a16:creationId xmlns:a16="http://schemas.microsoft.com/office/drawing/2014/main" id="{AF187C33-B85B-4360-8619-AC89D96832E5}"/>
                  </a:ext>
                </a:extLst>
              </p:cNvPr>
              <p:cNvSpPr/>
              <p:nvPr/>
            </p:nvSpPr>
            <p:spPr bwMode="auto">
              <a:xfrm>
                <a:off x="11298131" y="4279651"/>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6" name="矩形 106">
                <a:extLst>
                  <a:ext uri="{FF2B5EF4-FFF2-40B4-BE49-F238E27FC236}">
                    <a16:creationId xmlns:a16="http://schemas.microsoft.com/office/drawing/2014/main" id="{112003AB-D70E-48B7-BFF1-CDDCDF1A9ECB}"/>
                  </a:ext>
                </a:extLst>
              </p:cNvPr>
              <p:cNvSpPr/>
              <p:nvPr/>
            </p:nvSpPr>
            <p:spPr bwMode="auto">
              <a:xfrm>
                <a:off x="171449" y="4279651"/>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1169" name="Picture 241">
              <a:extLst>
                <a:ext uri="{FF2B5EF4-FFF2-40B4-BE49-F238E27FC236}">
                  <a16:creationId xmlns:a16="http://schemas.microsoft.com/office/drawing/2014/main" id="{A35D87F8-5001-4C09-A04D-DC74A58A3466}"/>
                </a:ext>
              </a:extLst>
            </p:cNvPr>
            <p:cNvPicPr>
              <a:picLocks noChangeAspect="1"/>
            </p:cNvPicPr>
            <p:nvPr/>
          </p:nvPicPr>
          <p:blipFill>
            <a:blip r:embed="rId87" cstate="email">
              <a:extLst>
                <a:ext uri="{28A0092B-C50C-407E-A947-70E740481C1C}">
                  <a14:useLocalDpi xmlns:a14="http://schemas.microsoft.com/office/drawing/2010/main"/>
                </a:ext>
              </a:extLst>
            </a:blip>
            <a:stretch>
              <a:fillRect/>
            </a:stretch>
          </p:blipFill>
          <p:spPr>
            <a:xfrm>
              <a:off x="7921024" y="4410418"/>
              <a:ext cx="630051" cy="552495"/>
            </a:xfrm>
            <a:prstGeom prst="rect">
              <a:avLst/>
            </a:prstGeom>
            <a:solidFill>
              <a:schemeClr val="bg1"/>
            </a:solidFill>
            <a:ln>
              <a:noFill/>
            </a:ln>
          </p:spPr>
        </p:pic>
        <p:pic>
          <p:nvPicPr>
            <p:cNvPr id="1170" name="Picture 3" descr="C:\Users\york.yang2\Desktop\konka.png">
              <a:extLst>
                <a:ext uri="{FF2B5EF4-FFF2-40B4-BE49-F238E27FC236}">
                  <a16:creationId xmlns:a16="http://schemas.microsoft.com/office/drawing/2014/main" id="{A2206F61-CDC8-4609-A305-3C32F4BCF265}"/>
                </a:ext>
              </a:extLst>
            </p:cNvPr>
            <p:cNvPicPr>
              <a:picLocks noChangeAspect="1" noChangeArrowheads="1"/>
            </p:cNvPicPr>
            <p:nvPr/>
          </p:nvPicPr>
          <p:blipFill rotWithShape="1">
            <a:blip r:embed="rId88" cstate="email">
              <a:extLst>
                <a:ext uri="{28A0092B-C50C-407E-A947-70E740481C1C}">
                  <a14:useLocalDpi xmlns:a14="http://schemas.microsoft.com/office/drawing/2010/main"/>
                </a:ext>
              </a:extLst>
            </a:blip>
            <a:srcRect/>
            <a:stretch/>
          </p:blipFill>
          <p:spPr bwMode="auto">
            <a:xfrm>
              <a:off x="2795228" y="4637804"/>
              <a:ext cx="664252" cy="111842"/>
            </a:xfrm>
            <a:prstGeom prst="rect">
              <a:avLst/>
            </a:prstGeom>
            <a:noFill/>
            <a:extLst>
              <a:ext uri="{909E8E84-426E-40DD-AFC4-6F175D3DCCD1}">
                <a14:hiddenFill xmlns:a14="http://schemas.microsoft.com/office/drawing/2010/main">
                  <a:solidFill>
                    <a:srgbClr val="FFFFFF"/>
                  </a:solidFill>
                </a14:hiddenFill>
              </a:ext>
            </a:extLst>
          </p:spPr>
        </p:pic>
        <p:pic>
          <p:nvPicPr>
            <p:cNvPr id="1171" name="图片 303">
              <a:extLst>
                <a:ext uri="{FF2B5EF4-FFF2-40B4-BE49-F238E27FC236}">
                  <a16:creationId xmlns:a16="http://schemas.microsoft.com/office/drawing/2014/main" id="{6C2DFB05-10AC-4B97-ADCA-509AC826F91D}"/>
                </a:ext>
              </a:extLst>
            </p:cNvPr>
            <p:cNvPicPr>
              <a:picLocks noChangeAspect="1"/>
            </p:cNvPicPr>
            <p:nvPr/>
          </p:nvPicPr>
          <p:blipFill>
            <a:blip r:embed="rId89" cstate="email">
              <a:extLst>
                <a:ext uri="{28A0092B-C50C-407E-A947-70E740481C1C}">
                  <a14:useLocalDpi xmlns:a14="http://schemas.microsoft.com/office/drawing/2010/main"/>
                </a:ext>
              </a:extLst>
            </a:blip>
            <a:stretch>
              <a:fillRect/>
            </a:stretch>
          </p:blipFill>
          <p:spPr>
            <a:xfrm>
              <a:off x="1982423" y="4362706"/>
              <a:ext cx="606169" cy="606169"/>
            </a:xfrm>
            <a:prstGeom prst="rect">
              <a:avLst/>
            </a:prstGeom>
          </p:spPr>
        </p:pic>
        <p:pic>
          <p:nvPicPr>
            <p:cNvPr id="1172" name="图片 304">
              <a:extLst>
                <a:ext uri="{FF2B5EF4-FFF2-40B4-BE49-F238E27FC236}">
                  <a16:creationId xmlns:a16="http://schemas.microsoft.com/office/drawing/2014/main" id="{9CEBAB26-DBC7-47DC-91AB-83E2FF8C74DA}"/>
                </a:ext>
              </a:extLst>
            </p:cNvPr>
            <p:cNvPicPr>
              <a:picLocks noChangeAspect="1"/>
            </p:cNvPicPr>
            <p:nvPr/>
          </p:nvPicPr>
          <p:blipFill rotWithShape="1">
            <a:blip r:embed="rId90" cstate="email">
              <a:extLst>
                <a:ext uri="{28A0092B-C50C-407E-A947-70E740481C1C}">
                  <a14:useLocalDpi xmlns:a14="http://schemas.microsoft.com/office/drawing/2010/main"/>
                </a:ext>
              </a:extLst>
            </a:blip>
            <a:srcRect l="2741" t="17227" r="5012" b="20583"/>
            <a:stretch/>
          </p:blipFill>
          <p:spPr>
            <a:xfrm>
              <a:off x="11314878" y="4422534"/>
              <a:ext cx="722096" cy="486807"/>
            </a:xfrm>
            <a:prstGeom prst="rect">
              <a:avLst/>
            </a:prstGeom>
          </p:spPr>
        </p:pic>
        <p:pic>
          <p:nvPicPr>
            <p:cNvPr id="1173" name="图片 320">
              <a:extLst>
                <a:ext uri="{FF2B5EF4-FFF2-40B4-BE49-F238E27FC236}">
                  <a16:creationId xmlns:a16="http://schemas.microsoft.com/office/drawing/2014/main" id="{5885CFEB-DD73-4A44-A26F-91FB60F855CF}"/>
                </a:ext>
              </a:extLst>
            </p:cNvPr>
            <p:cNvPicPr>
              <a:picLocks noChangeAspect="1"/>
            </p:cNvPicPr>
            <p:nvPr/>
          </p:nvPicPr>
          <p:blipFill>
            <a:blip r:embed="rId91" cstate="email">
              <a:extLst>
                <a:ext uri="{28A0092B-C50C-407E-A947-70E740481C1C}">
                  <a14:useLocalDpi xmlns:a14="http://schemas.microsoft.com/office/drawing/2010/main"/>
                </a:ext>
              </a:extLst>
            </a:blip>
            <a:stretch>
              <a:fillRect/>
            </a:stretch>
          </p:blipFill>
          <p:spPr>
            <a:xfrm>
              <a:off x="3559460" y="4278630"/>
              <a:ext cx="855289" cy="855289"/>
            </a:xfrm>
            <a:prstGeom prst="rect">
              <a:avLst/>
            </a:prstGeom>
          </p:spPr>
        </p:pic>
        <p:pic>
          <p:nvPicPr>
            <p:cNvPr id="1174" name="图片 1" descr="image001">
              <a:extLst>
                <a:ext uri="{FF2B5EF4-FFF2-40B4-BE49-F238E27FC236}">
                  <a16:creationId xmlns:a16="http://schemas.microsoft.com/office/drawing/2014/main" id="{BE1E3025-CD8C-458C-B660-35CF6B7C805F}"/>
                </a:ext>
              </a:extLst>
            </p:cNvPr>
            <p:cNvPicPr>
              <a:picLocks noChangeAspect="1" noChangeArrowheads="1"/>
            </p:cNvPicPr>
            <p:nvPr/>
          </p:nvPicPr>
          <p:blipFill rotWithShape="1">
            <a:blip r:embed="rId92" cstate="email">
              <a:extLst>
                <a:ext uri="{28A0092B-C50C-407E-A947-70E740481C1C}">
                  <a14:useLocalDpi xmlns:a14="http://schemas.microsoft.com/office/drawing/2010/main"/>
                </a:ext>
              </a:extLst>
            </a:blip>
            <a:srcRect/>
            <a:stretch/>
          </p:blipFill>
          <p:spPr bwMode="auto">
            <a:xfrm>
              <a:off x="10465880" y="4563087"/>
              <a:ext cx="658337" cy="160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5" name="图片 1" descr="image001">
              <a:extLst>
                <a:ext uri="{FF2B5EF4-FFF2-40B4-BE49-F238E27FC236}">
                  <a16:creationId xmlns:a16="http://schemas.microsoft.com/office/drawing/2014/main" id="{C93198CD-DBE6-43B1-A726-39F2C9936FEB}"/>
                </a:ext>
              </a:extLst>
            </p:cNvPr>
            <p:cNvPicPr>
              <a:picLocks noChangeAspect="1" noChangeArrowheads="1"/>
            </p:cNvPicPr>
            <p:nvPr/>
          </p:nvPicPr>
          <p:blipFill rotWithShape="1">
            <a:blip r:embed="rId93" cstate="email">
              <a:extLst>
                <a:ext uri="{28A0092B-C50C-407E-A947-70E740481C1C}">
                  <a14:useLocalDpi xmlns:a14="http://schemas.microsoft.com/office/drawing/2010/main"/>
                </a:ext>
              </a:extLst>
            </a:blip>
            <a:srcRect/>
            <a:stretch/>
          </p:blipFill>
          <p:spPr bwMode="auto">
            <a:xfrm>
              <a:off x="7058158" y="4603698"/>
              <a:ext cx="692408" cy="167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6" name="图片 1" descr="image001">
              <a:extLst>
                <a:ext uri="{FF2B5EF4-FFF2-40B4-BE49-F238E27FC236}">
                  <a16:creationId xmlns:a16="http://schemas.microsoft.com/office/drawing/2014/main" id="{40FB4739-0147-4E28-A364-F38BD084D946}"/>
                </a:ext>
              </a:extLst>
            </p:cNvPr>
            <p:cNvPicPr>
              <a:picLocks noChangeAspect="1" noChangeArrowheads="1"/>
            </p:cNvPicPr>
            <p:nvPr/>
          </p:nvPicPr>
          <p:blipFill rotWithShape="1">
            <a:blip r:embed="rId94" cstate="email">
              <a:extLst>
                <a:ext uri="{28A0092B-C50C-407E-A947-70E740481C1C}">
                  <a14:useLocalDpi xmlns:a14="http://schemas.microsoft.com/office/drawing/2010/main"/>
                </a:ext>
              </a:extLst>
            </a:blip>
            <a:srcRect/>
            <a:stretch/>
          </p:blipFill>
          <p:spPr bwMode="auto">
            <a:xfrm>
              <a:off x="216785" y="4436898"/>
              <a:ext cx="661570" cy="472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7" name="图片 368">
              <a:extLst>
                <a:ext uri="{FF2B5EF4-FFF2-40B4-BE49-F238E27FC236}">
                  <a16:creationId xmlns:a16="http://schemas.microsoft.com/office/drawing/2014/main" id="{E1F48A74-A07F-432B-B701-BE8411BDAC44}"/>
                </a:ext>
              </a:extLst>
            </p:cNvPr>
            <p:cNvPicPr>
              <a:picLocks noChangeAspect="1"/>
            </p:cNvPicPr>
            <p:nvPr/>
          </p:nvPicPr>
          <p:blipFill rotWithShape="1">
            <a:blip r:embed="rId95" cstate="email">
              <a:extLst>
                <a:ext uri="{28A0092B-C50C-407E-A947-70E740481C1C}">
                  <a14:useLocalDpi xmlns:a14="http://schemas.microsoft.com/office/drawing/2010/main"/>
                </a:ext>
              </a:extLst>
            </a:blip>
            <a:srcRect b="-2999"/>
            <a:stretch/>
          </p:blipFill>
          <p:spPr>
            <a:xfrm>
              <a:off x="6213441" y="4460061"/>
              <a:ext cx="681258" cy="427918"/>
            </a:xfrm>
            <a:prstGeom prst="rect">
              <a:avLst/>
            </a:prstGeom>
          </p:spPr>
        </p:pic>
        <p:pic>
          <p:nvPicPr>
            <p:cNvPr id="1178" name="图片 370">
              <a:extLst>
                <a:ext uri="{FF2B5EF4-FFF2-40B4-BE49-F238E27FC236}">
                  <a16:creationId xmlns:a16="http://schemas.microsoft.com/office/drawing/2014/main" id="{136D1970-35C5-4627-8E86-621BA718CADC}"/>
                </a:ext>
              </a:extLst>
            </p:cNvPr>
            <p:cNvPicPr>
              <a:picLocks noChangeAspect="1"/>
            </p:cNvPicPr>
            <p:nvPr/>
          </p:nvPicPr>
          <p:blipFill>
            <a:blip r:embed="rId96" cstate="email">
              <a:extLst>
                <a:ext uri="{28A0092B-C50C-407E-A947-70E740481C1C}">
                  <a14:useLocalDpi xmlns:a14="http://schemas.microsoft.com/office/drawing/2010/main"/>
                </a:ext>
              </a:extLst>
            </a:blip>
            <a:stretch>
              <a:fillRect/>
            </a:stretch>
          </p:blipFill>
          <p:spPr>
            <a:xfrm>
              <a:off x="4502559" y="4461029"/>
              <a:ext cx="728890" cy="448313"/>
            </a:xfrm>
            <a:prstGeom prst="rect">
              <a:avLst/>
            </a:prstGeom>
          </p:spPr>
        </p:pic>
        <p:pic>
          <p:nvPicPr>
            <p:cNvPr id="1179" name="图片 333">
              <a:extLst>
                <a:ext uri="{FF2B5EF4-FFF2-40B4-BE49-F238E27FC236}">
                  <a16:creationId xmlns:a16="http://schemas.microsoft.com/office/drawing/2014/main" id="{F0F50E86-63FE-4816-A812-237C5263856F}"/>
                </a:ext>
              </a:extLst>
            </p:cNvPr>
            <p:cNvPicPr>
              <a:picLocks noChangeAspect="1"/>
            </p:cNvPicPr>
            <p:nvPr/>
          </p:nvPicPr>
          <p:blipFill>
            <a:blip r:embed="rId97" cstate="email">
              <a:extLst>
                <a:ext uri="{28A0092B-C50C-407E-A947-70E740481C1C}">
                  <a14:useLocalDpi xmlns:a14="http://schemas.microsoft.com/office/drawing/2010/main"/>
                </a:ext>
              </a:extLst>
            </a:blip>
            <a:stretch>
              <a:fillRect/>
            </a:stretch>
          </p:blipFill>
          <p:spPr>
            <a:xfrm>
              <a:off x="8769246" y="4314908"/>
              <a:ext cx="676499" cy="676498"/>
            </a:xfrm>
            <a:prstGeom prst="rect">
              <a:avLst/>
            </a:prstGeom>
          </p:spPr>
        </p:pic>
        <p:pic>
          <p:nvPicPr>
            <p:cNvPr id="1180" name="图片 383">
              <a:extLst>
                <a:ext uri="{FF2B5EF4-FFF2-40B4-BE49-F238E27FC236}">
                  <a16:creationId xmlns:a16="http://schemas.microsoft.com/office/drawing/2014/main" id="{5694DA21-E0F6-48CE-841A-A30C28EF583B}"/>
                </a:ext>
              </a:extLst>
            </p:cNvPr>
            <p:cNvPicPr>
              <a:picLocks noChangeAspect="1"/>
            </p:cNvPicPr>
            <p:nvPr/>
          </p:nvPicPr>
          <p:blipFill>
            <a:blip r:embed="rId98" cstate="email">
              <a:extLst>
                <a:ext uri="{28A0092B-C50C-407E-A947-70E740481C1C}">
                  <a14:useLocalDpi xmlns:a14="http://schemas.microsoft.com/office/drawing/2010/main"/>
                </a:ext>
              </a:extLst>
            </a:blip>
            <a:stretch>
              <a:fillRect/>
            </a:stretch>
          </p:blipFill>
          <p:spPr>
            <a:xfrm>
              <a:off x="5371651" y="4339269"/>
              <a:ext cx="645977" cy="620890"/>
            </a:xfrm>
            <a:prstGeom prst="rect">
              <a:avLst/>
            </a:prstGeom>
          </p:spPr>
        </p:pic>
        <p:pic>
          <p:nvPicPr>
            <p:cNvPr id="1181" name="图片 387">
              <a:extLst>
                <a:ext uri="{FF2B5EF4-FFF2-40B4-BE49-F238E27FC236}">
                  <a16:creationId xmlns:a16="http://schemas.microsoft.com/office/drawing/2014/main" id="{13D8CB3D-3ABC-403E-B38E-36338979156F}"/>
                </a:ext>
              </a:extLst>
            </p:cNvPr>
            <p:cNvPicPr>
              <a:picLocks noChangeAspect="1"/>
            </p:cNvPicPr>
            <p:nvPr/>
          </p:nvPicPr>
          <p:blipFill>
            <a:blip r:embed="rId99" cstate="email">
              <a:extLst>
                <a:ext uri="{28A0092B-C50C-407E-A947-70E740481C1C}">
                  <a14:useLocalDpi xmlns:a14="http://schemas.microsoft.com/office/drawing/2010/main"/>
                </a:ext>
              </a:extLst>
            </a:blip>
            <a:stretch>
              <a:fillRect/>
            </a:stretch>
          </p:blipFill>
          <p:spPr>
            <a:xfrm>
              <a:off x="1070152" y="4322184"/>
              <a:ext cx="679468" cy="679468"/>
            </a:xfrm>
            <a:prstGeom prst="rect">
              <a:avLst/>
            </a:prstGeom>
          </p:spPr>
        </p:pic>
        <p:pic>
          <p:nvPicPr>
            <p:cNvPr id="1182" name="图片 397">
              <a:extLst>
                <a:ext uri="{FF2B5EF4-FFF2-40B4-BE49-F238E27FC236}">
                  <a16:creationId xmlns:a16="http://schemas.microsoft.com/office/drawing/2014/main" id="{7321FFD9-17AF-4452-A316-642C3BEF8B62}"/>
                </a:ext>
              </a:extLst>
            </p:cNvPr>
            <p:cNvPicPr>
              <a:picLocks noChangeAspect="1"/>
            </p:cNvPicPr>
            <p:nvPr/>
          </p:nvPicPr>
          <p:blipFill>
            <a:blip r:embed="rId100" cstate="email">
              <a:extLst>
                <a:ext uri="{28A0092B-C50C-407E-A947-70E740481C1C}">
                  <a14:useLocalDpi xmlns:a14="http://schemas.microsoft.com/office/drawing/2010/main"/>
                </a:ext>
              </a:extLst>
            </a:blip>
            <a:stretch>
              <a:fillRect/>
            </a:stretch>
          </p:blipFill>
          <p:spPr>
            <a:xfrm>
              <a:off x="9539668" y="4278680"/>
              <a:ext cx="829642" cy="829642"/>
            </a:xfrm>
            <a:prstGeom prst="rect">
              <a:avLst/>
            </a:prstGeom>
          </p:spPr>
        </p:pic>
      </p:grpSp>
      <p:grpSp>
        <p:nvGrpSpPr>
          <p:cNvPr id="1197" name="Group 1196">
            <a:extLst>
              <a:ext uri="{FF2B5EF4-FFF2-40B4-BE49-F238E27FC236}">
                <a16:creationId xmlns:a16="http://schemas.microsoft.com/office/drawing/2014/main" id="{C06EF420-688E-470F-95B4-0B90C71BA71F}"/>
              </a:ext>
            </a:extLst>
          </p:cNvPr>
          <p:cNvGrpSpPr/>
          <p:nvPr/>
        </p:nvGrpSpPr>
        <p:grpSpPr>
          <a:xfrm>
            <a:off x="115656" y="13243024"/>
            <a:ext cx="12181927" cy="1036015"/>
            <a:chOff x="111685" y="5832538"/>
            <a:chExt cx="11945844" cy="1015937"/>
          </a:xfrm>
        </p:grpSpPr>
        <p:grpSp>
          <p:nvGrpSpPr>
            <p:cNvPr id="1198" name="Group 1197">
              <a:extLst>
                <a:ext uri="{FF2B5EF4-FFF2-40B4-BE49-F238E27FC236}">
                  <a16:creationId xmlns:a16="http://schemas.microsoft.com/office/drawing/2014/main" id="{07D07EBC-9DC0-4FE4-B483-1DCF085A62A0}"/>
                </a:ext>
              </a:extLst>
            </p:cNvPr>
            <p:cNvGrpSpPr/>
            <p:nvPr/>
          </p:nvGrpSpPr>
          <p:grpSpPr>
            <a:xfrm>
              <a:off x="171449" y="5931118"/>
              <a:ext cx="11886080" cy="774482"/>
              <a:chOff x="171449" y="5931118"/>
              <a:chExt cx="11886080" cy="774482"/>
            </a:xfrm>
          </p:grpSpPr>
          <p:sp>
            <p:nvSpPr>
              <p:cNvPr id="1213" name="矩形 108">
                <a:extLst>
                  <a:ext uri="{FF2B5EF4-FFF2-40B4-BE49-F238E27FC236}">
                    <a16:creationId xmlns:a16="http://schemas.microsoft.com/office/drawing/2014/main" id="{5B3E4C74-7FAE-4DB8-B8C6-BCF7E9C66C9A}"/>
                  </a:ext>
                </a:extLst>
              </p:cNvPr>
              <p:cNvSpPr/>
              <p:nvPr/>
            </p:nvSpPr>
            <p:spPr bwMode="auto">
              <a:xfrm>
                <a:off x="1039608" y="5931118"/>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4" name="矩形 109">
                <a:extLst>
                  <a:ext uri="{FF2B5EF4-FFF2-40B4-BE49-F238E27FC236}">
                    <a16:creationId xmlns:a16="http://schemas.microsoft.com/office/drawing/2014/main" id="{19F8FCD1-DA4B-4FAC-AB9B-F183D05FD1E7}"/>
                  </a:ext>
                </a:extLst>
              </p:cNvPr>
              <p:cNvSpPr/>
              <p:nvPr/>
            </p:nvSpPr>
            <p:spPr bwMode="auto">
              <a:xfrm>
                <a:off x="1893277" y="5931118"/>
                <a:ext cx="759398" cy="774482"/>
              </a:xfrm>
              <a:prstGeom prst="rect">
                <a:avLst/>
              </a:prstGeom>
              <a:solidFill>
                <a:srgbClr val="00188E"/>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5" name="矩形 110">
                <a:extLst>
                  <a:ext uri="{FF2B5EF4-FFF2-40B4-BE49-F238E27FC236}">
                    <a16:creationId xmlns:a16="http://schemas.microsoft.com/office/drawing/2014/main" id="{C1840F53-E0F8-4B45-8AEF-38AA8C535930}"/>
                  </a:ext>
                </a:extLst>
              </p:cNvPr>
              <p:cNvSpPr/>
              <p:nvPr/>
            </p:nvSpPr>
            <p:spPr bwMode="auto">
              <a:xfrm>
                <a:off x="2746946" y="5931118"/>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6" name="矩形 111">
                <a:extLst>
                  <a:ext uri="{FF2B5EF4-FFF2-40B4-BE49-F238E27FC236}">
                    <a16:creationId xmlns:a16="http://schemas.microsoft.com/office/drawing/2014/main" id="{70F383F4-88C6-4C5F-99C5-FD3E353F8E06}"/>
                  </a:ext>
                </a:extLst>
              </p:cNvPr>
              <p:cNvSpPr/>
              <p:nvPr/>
            </p:nvSpPr>
            <p:spPr bwMode="auto">
              <a:xfrm>
                <a:off x="3600616" y="5931118"/>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7" name="矩形 112">
                <a:extLst>
                  <a:ext uri="{FF2B5EF4-FFF2-40B4-BE49-F238E27FC236}">
                    <a16:creationId xmlns:a16="http://schemas.microsoft.com/office/drawing/2014/main" id="{A08B7700-E0E9-496E-9590-12FCB09683A2}"/>
                  </a:ext>
                </a:extLst>
              </p:cNvPr>
              <p:cNvSpPr/>
              <p:nvPr/>
            </p:nvSpPr>
            <p:spPr bwMode="auto">
              <a:xfrm>
                <a:off x="4454285" y="5931118"/>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8" name="矩形 113">
                <a:extLst>
                  <a:ext uri="{FF2B5EF4-FFF2-40B4-BE49-F238E27FC236}">
                    <a16:creationId xmlns:a16="http://schemas.microsoft.com/office/drawing/2014/main" id="{E9C78AF9-8597-41BA-8F21-23358CC684B9}"/>
                  </a:ext>
                </a:extLst>
              </p:cNvPr>
              <p:cNvSpPr/>
              <p:nvPr/>
            </p:nvSpPr>
            <p:spPr bwMode="auto">
              <a:xfrm>
                <a:off x="5307955" y="5931118"/>
                <a:ext cx="759398" cy="774482"/>
              </a:xfrm>
              <a:prstGeom prst="rect">
                <a:avLst/>
              </a:prstGeom>
              <a:solidFill>
                <a:srgbClr val="F43E0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9" name="矩形 114">
                <a:extLst>
                  <a:ext uri="{FF2B5EF4-FFF2-40B4-BE49-F238E27FC236}">
                    <a16:creationId xmlns:a16="http://schemas.microsoft.com/office/drawing/2014/main" id="{B1A4A9F3-84E1-40D2-9F9C-55AC3156081F}"/>
                  </a:ext>
                </a:extLst>
              </p:cNvPr>
              <p:cNvSpPr/>
              <p:nvPr/>
            </p:nvSpPr>
            <p:spPr bwMode="auto">
              <a:xfrm>
                <a:off x="6161624" y="5931118"/>
                <a:ext cx="759398" cy="774482"/>
              </a:xfrm>
              <a:prstGeom prst="rect">
                <a:avLst/>
              </a:prstGeom>
              <a:solidFill>
                <a:srgbClr val="FBAF3D"/>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0" name="矩形 115">
                <a:extLst>
                  <a:ext uri="{FF2B5EF4-FFF2-40B4-BE49-F238E27FC236}">
                    <a16:creationId xmlns:a16="http://schemas.microsoft.com/office/drawing/2014/main" id="{465315E7-3394-4AB8-B262-D11A6995E75D}"/>
                  </a:ext>
                </a:extLst>
              </p:cNvPr>
              <p:cNvSpPr/>
              <p:nvPr/>
            </p:nvSpPr>
            <p:spPr bwMode="auto">
              <a:xfrm>
                <a:off x="7015293" y="5931118"/>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1" name="矩形 116">
                <a:extLst>
                  <a:ext uri="{FF2B5EF4-FFF2-40B4-BE49-F238E27FC236}">
                    <a16:creationId xmlns:a16="http://schemas.microsoft.com/office/drawing/2014/main" id="{45DCFA6F-B8F3-4215-A5F5-F85BB5F22FF0}"/>
                  </a:ext>
                </a:extLst>
              </p:cNvPr>
              <p:cNvSpPr/>
              <p:nvPr/>
            </p:nvSpPr>
            <p:spPr bwMode="auto">
              <a:xfrm>
                <a:off x="7868963" y="5931118"/>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2" name="矩形 117">
                <a:extLst>
                  <a:ext uri="{FF2B5EF4-FFF2-40B4-BE49-F238E27FC236}">
                    <a16:creationId xmlns:a16="http://schemas.microsoft.com/office/drawing/2014/main" id="{4D147EDC-D69E-45CA-B862-349C8EFA2DD5}"/>
                  </a:ext>
                </a:extLst>
              </p:cNvPr>
              <p:cNvSpPr/>
              <p:nvPr/>
            </p:nvSpPr>
            <p:spPr bwMode="auto">
              <a:xfrm>
                <a:off x="8722632" y="5931118"/>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3" name="矩形 118">
                <a:extLst>
                  <a:ext uri="{FF2B5EF4-FFF2-40B4-BE49-F238E27FC236}">
                    <a16:creationId xmlns:a16="http://schemas.microsoft.com/office/drawing/2014/main" id="{3039235D-E5B7-47A3-8835-491315C6A852}"/>
                  </a:ext>
                </a:extLst>
              </p:cNvPr>
              <p:cNvSpPr/>
              <p:nvPr/>
            </p:nvSpPr>
            <p:spPr bwMode="auto">
              <a:xfrm>
                <a:off x="9576301" y="5931118"/>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4" name="矩形 119">
                <a:extLst>
                  <a:ext uri="{FF2B5EF4-FFF2-40B4-BE49-F238E27FC236}">
                    <a16:creationId xmlns:a16="http://schemas.microsoft.com/office/drawing/2014/main" id="{8EE71161-063E-48DF-8A0B-89790A6C1560}"/>
                  </a:ext>
                </a:extLst>
              </p:cNvPr>
              <p:cNvSpPr/>
              <p:nvPr/>
            </p:nvSpPr>
            <p:spPr bwMode="auto">
              <a:xfrm>
                <a:off x="10429973" y="5931118"/>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5" name="矩形 120">
                <a:extLst>
                  <a:ext uri="{FF2B5EF4-FFF2-40B4-BE49-F238E27FC236}">
                    <a16:creationId xmlns:a16="http://schemas.microsoft.com/office/drawing/2014/main" id="{D636B49C-E90F-4974-AA8D-C7DA4016B92E}"/>
                  </a:ext>
                </a:extLst>
              </p:cNvPr>
              <p:cNvSpPr/>
              <p:nvPr/>
            </p:nvSpPr>
            <p:spPr bwMode="auto">
              <a:xfrm>
                <a:off x="11298131" y="5931118"/>
                <a:ext cx="759398" cy="77448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6" name="矩形 122">
                <a:extLst>
                  <a:ext uri="{FF2B5EF4-FFF2-40B4-BE49-F238E27FC236}">
                    <a16:creationId xmlns:a16="http://schemas.microsoft.com/office/drawing/2014/main" id="{53079B70-5AF1-433F-AF5A-561E0F6053F3}"/>
                  </a:ext>
                </a:extLst>
              </p:cNvPr>
              <p:cNvSpPr/>
              <p:nvPr/>
            </p:nvSpPr>
            <p:spPr bwMode="auto">
              <a:xfrm>
                <a:off x="171449" y="5931118"/>
                <a:ext cx="759398" cy="774482"/>
              </a:xfrm>
              <a:prstGeom prst="rect">
                <a:avLst/>
              </a:prstGeom>
              <a:solidFill>
                <a:schemeClr val="accent1">
                  <a:lumMod val="50000"/>
                </a:schemeClr>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zh-CN" alt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1199" name="Picture 224">
              <a:extLst>
                <a:ext uri="{FF2B5EF4-FFF2-40B4-BE49-F238E27FC236}">
                  <a16:creationId xmlns:a16="http://schemas.microsoft.com/office/drawing/2014/main" id="{E5E5B5AA-C291-4395-8F82-8D9ABE841602}"/>
                </a:ext>
              </a:extLst>
            </p:cNvPr>
            <p:cNvPicPr>
              <a:picLocks noChangeAspect="1"/>
            </p:cNvPicPr>
            <p:nvPr/>
          </p:nvPicPr>
          <p:blipFill>
            <a:blip r:embed="rId101" cstate="email">
              <a:extLst>
                <a:ext uri="{28A0092B-C50C-407E-A947-70E740481C1C}">
                  <a14:useLocalDpi xmlns:a14="http://schemas.microsoft.com/office/drawing/2010/main"/>
                </a:ext>
              </a:extLst>
            </a:blip>
            <a:stretch>
              <a:fillRect/>
            </a:stretch>
          </p:blipFill>
          <p:spPr>
            <a:xfrm>
              <a:off x="3696390" y="6145396"/>
              <a:ext cx="602679" cy="376674"/>
            </a:xfrm>
            <a:prstGeom prst="rect">
              <a:avLst/>
            </a:prstGeom>
            <a:solidFill>
              <a:schemeClr val="bg1"/>
            </a:solidFill>
            <a:ln>
              <a:noFill/>
            </a:ln>
          </p:spPr>
        </p:pic>
        <p:pic>
          <p:nvPicPr>
            <p:cNvPr id="1200" name="Picture 234">
              <a:extLst>
                <a:ext uri="{FF2B5EF4-FFF2-40B4-BE49-F238E27FC236}">
                  <a16:creationId xmlns:a16="http://schemas.microsoft.com/office/drawing/2014/main" id="{EAA7B9E4-4D05-484C-A2C6-4A1AF5D52BC0}"/>
                </a:ext>
              </a:extLst>
            </p:cNvPr>
            <p:cNvPicPr>
              <a:picLocks noChangeAspect="1"/>
            </p:cNvPicPr>
            <p:nvPr/>
          </p:nvPicPr>
          <p:blipFill>
            <a:blip r:embed="rId102" cstate="email">
              <a:extLst>
                <a:ext uri="{28A0092B-C50C-407E-A947-70E740481C1C}">
                  <a14:useLocalDpi xmlns:a14="http://schemas.microsoft.com/office/drawing/2010/main"/>
                </a:ext>
              </a:extLst>
            </a:blip>
            <a:stretch>
              <a:fillRect/>
            </a:stretch>
          </p:blipFill>
          <p:spPr>
            <a:xfrm>
              <a:off x="1079224" y="6208121"/>
              <a:ext cx="661958" cy="195854"/>
            </a:xfrm>
            <a:prstGeom prst="rect">
              <a:avLst/>
            </a:prstGeom>
            <a:solidFill>
              <a:schemeClr val="bg1"/>
            </a:solidFill>
            <a:ln>
              <a:noFill/>
            </a:ln>
          </p:spPr>
        </p:pic>
        <p:pic>
          <p:nvPicPr>
            <p:cNvPr id="1201" name="图片 1" descr="image001">
              <a:extLst>
                <a:ext uri="{FF2B5EF4-FFF2-40B4-BE49-F238E27FC236}">
                  <a16:creationId xmlns:a16="http://schemas.microsoft.com/office/drawing/2014/main" id="{27CBB003-CCF4-49BE-8DDB-540299BE9753}"/>
                </a:ext>
              </a:extLst>
            </p:cNvPr>
            <p:cNvPicPr>
              <a:picLocks noChangeAspect="1" noChangeArrowheads="1"/>
            </p:cNvPicPr>
            <p:nvPr/>
          </p:nvPicPr>
          <p:blipFill rotWithShape="1">
            <a:blip r:embed="rId103" cstate="email">
              <a:extLst>
                <a:ext uri="{28A0092B-C50C-407E-A947-70E740481C1C}">
                  <a14:useLocalDpi xmlns:a14="http://schemas.microsoft.com/office/drawing/2010/main"/>
                </a:ext>
              </a:extLst>
            </a:blip>
            <a:srcRect/>
            <a:stretch/>
          </p:blipFill>
          <p:spPr bwMode="auto">
            <a:xfrm>
              <a:off x="10481777" y="6232251"/>
              <a:ext cx="651751" cy="189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2" name="图片 1" descr="image001">
              <a:extLst>
                <a:ext uri="{FF2B5EF4-FFF2-40B4-BE49-F238E27FC236}">
                  <a16:creationId xmlns:a16="http://schemas.microsoft.com/office/drawing/2014/main" id="{AA131AC0-2846-408D-A465-225C4FCFC5C2}"/>
                </a:ext>
              </a:extLst>
            </p:cNvPr>
            <p:cNvPicPr>
              <a:picLocks noChangeAspect="1" noChangeArrowheads="1"/>
            </p:cNvPicPr>
            <p:nvPr/>
          </p:nvPicPr>
          <p:blipFill rotWithShape="1">
            <a:blip r:embed="rId104" cstate="email">
              <a:extLst>
                <a:ext uri="{28A0092B-C50C-407E-A947-70E740481C1C}">
                  <a14:useLocalDpi xmlns:a14="http://schemas.microsoft.com/office/drawing/2010/main"/>
                </a:ext>
              </a:extLst>
            </a:blip>
            <a:srcRect/>
            <a:stretch/>
          </p:blipFill>
          <p:spPr bwMode="auto">
            <a:xfrm>
              <a:off x="2785566" y="6142844"/>
              <a:ext cx="677736" cy="374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3" name="图片 1" descr="image001">
              <a:extLst>
                <a:ext uri="{FF2B5EF4-FFF2-40B4-BE49-F238E27FC236}">
                  <a16:creationId xmlns:a16="http://schemas.microsoft.com/office/drawing/2014/main" id="{7D4CA593-0AAE-4BF8-BEC5-87B8D27DCCD4}"/>
                </a:ext>
              </a:extLst>
            </p:cNvPr>
            <p:cNvPicPr>
              <a:picLocks noChangeAspect="1" noChangeArrowheads="1"/>
            </p:cNvPicPr>
            <p:nvPr/>
          </p:nvPicPr>
          <p:blipFill rotWithShape="1">
            <a:blip r:embed="rId105" cstate="email">
              <a:extLst>
                <a:ext uri="{28A0092B-C50C-407E-A947-70E740481C1C}">
                  <a14:useLocalDpi xmlns:a14="http://schemas.microsoft.com/office/drawing/2010/main"/>
                </a:ext>
              </a:extLst>
            </a:blip>
            <a:srcRect/>
            <a:stretch/>
          </p:blipFill>
          <p:spPr bwMode="auto">
            <a:xfrm>
              <a:off x="11314696" y="6208121"/>
              <a:ext cx="739052" cy="211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4" name="图片 1" descr="image001">
              <a:extLst>
                <a:ext uri="{FF2B5EF4-FFF2-40B4-BE49-F238E27FC236}">
                  <a16:creationId xmlns:a16="http://schemas.microsoft.com/office/drawing/2014/main" id="{E484027E-0FC2-411F-8FD2-7C0347DA0898}"/>
                </a:ext>
              </a:extLst>
            </p:cNvPr>
            <p:cNvPicPr>
              <a:picLocks noChangeAspect="1" noChangeArrowheads="1"/>
            </p:cNvPicPr>
            <p:nvPr/>
          </p:nvPicPr>
          <p:blipFill rotWithShape="1">
            <a:blip r:embed="rId106" cstate="email">
              <a:extLst>
                <a:ext uri="{28A0092B-C50C-407E-A947-70E740481C1C}">
                  <a14:useLocalDpi xmlns:a14="http://schemas.microsoft.com/office/drawing/2010/main"/>
                </a:ext>
              </a:extLst>
            </a:blip>
            <a:srcRect/>
            <a:stretch/>
          </p:blipFill>
          <p:spPr bwMode="auto">
            <a:xfrm>
              <a:off x="9647737" y="6208054"/>
              <a:ext cx="604203" cy="2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5" name="图片 1" descr="image001">
              <a:extLst>
                <a:ext uri="{FF2B5EF4-FFF2-40B4-BE49-F238E27FC236}">
                  <a16:creationId xmlns:a16="http://schemas.microsoft.com/office/drawing/2014/main" id="{D308D335-AB84-4375-9037-837ABE7E7EBF}"/>
                </a:ext>
              </a:extLst>
            </p:cNvPr>
            <p:cNvPicPr>
              <a:picLocks noChangeAspect="1" noChangeArrowheads="1"/>
            </p:cNvPicPr>
            <p:nvPr/>
          </p:nvPicPr>
          <p:blipFill rotWithShape="1">
            <a:blip r:embed="rId107" cstate="email">
              <a:extLst>
                <a:ext uri="{28A0092B-C50C-407E-A947-70E740481C1C}">
                  <a14:useLocalDpi xmlns:a14="http://schemas.microsoft.com/office/drawing/2010/main"/>
                </a:ext>
              </a:extLst>
            </a:blip>
            <a:srcRect/>
            <a:stretch/>
          </p:blipFill>
          <p:spPr bwMode="auto">
            <a:xfrm>
              <a:off x="7085229" y="6182978"/>
              <a:ext cx="656677" cy="297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6" name="图片 366">
              <a:extLst>
                <a:ext uri="{FF2B5EF4-FFF2-40B4-BE49-F238E27FC236}">
                  <a16:creationId xmlns:a16="http://schemas.microsoft.com/office/drawing/2014/main" id="{DC7CC319-F688-45EC-BDCE-FC44854D0D4F}"/>
                </a:ext>
              </a:extLst>
            </p:cNvPr>
            <p:cNvPicPr>
              <a:picLocks noChangeAspect="1"/>
            </p:cNvPicPr>
            <p:nvPr/>
          </p:nvPicPr>
          <p:blipFill>
            <a:blip r:embed="rId108" cstate="email">
              <a:extLst>
                <a:ext uri="{28A0092B-C50C-407E-A947-70E740481C1C}">
                  <a14:useLocalDpi xmlns:a14="http://schemas.microsoft.com/office/drawing/2010/main"/>
                </a:ext>
              </a:extLst>
            </a:blip>
            <a:stretch>
              <a:fillRect/>
            </a:stretch>
          </p:blipFill>
          <p:spPr>
            <a:xfrm>
              <a:off x="8785174" y="6222173"/>
              <a:ext cx="652389" cy="230255"/>
            </a:xfrm>
            <a:prstGeom prst="rect">
              <a:avLst/>
            </a:prstGeom>
          </p:spPr>
        </p:pic>
        <p:pic>
          <p:nvPicPr>
            <p:cNvPr id="1207" name="图片 371">
              <a:extLst>
                <a:ext uri="{FF2B5EF4-FFF2-40B4-BE49-F238E27FC236}">
                  <a16:creationId xmlns:a16="http://schemas.microsoft.com/office/drawing/2014/main" id="{D02CD4BD-2EE9-4BA2-BCFB-7FF76AB3C511}"/>
                </a:ext>
              </a:extLst>
            </p:cNvPr>
            <p:cNvPicPr>
              <a:picLocks noChangeAspect="1"/>
            </p:cNvPicPr>
            <p:nvPr/>
          </p:nvPicPr>
          <p:blipFill rotWithShape="1">
            <a:blip r:embed="rId109" cstate="email">
              <a:extLst>
                <a:ext uri="{28A0092B-C50C-407E-A947-70E740481C1C}">
                  <a14:useLocalDpi xmlns:a14="http://schemas.microsoft.com/office/drawing/2010/main"/>
                </a:ext>
              </a:extLst>
            </a:blip>
            <a:srcRect/>
            <a:stretch/>
          </p:blipFill>
          <p:spPr>
            <a:xfrm>
              <a:off x="7930548" y="5993151"/>
              <a:ext cx="660939" cy="694834"/>
            </a:xfrm>
            <a:prstGeom prst="rect">
              <a:avLst/>
            </a:prstGeom>
          </p:spPr>
        </p:pic>
        <p:pic>
          <p:nvPicPr>
            <p:cNvPr id="1208" name="图片 384">
              <a:extLst>
                <a:ext uri="{FF2B5EF4-FFF2-40B4-BE49-F238E27FC236}">
                  <a16:creationId xmlns:a16="http://schemas.microsoft.com/office/drawing/2014/main" id="{24D27FDF-D4E5-4843-86CC-4F3EAEBC1F11}"/>
                </a:ext>
              </a:extLst>
            </p:cNvPr>
            <p:cNvPicPr>
              <a:picLocks noChangeAspect="1"/>
            </p:cNvPicPr>
            <p:nvPr/>
          </p:nvPicPr>
          <p:blipFill>
            <a:blip r:embed="rId110" cstate="email">
              <a:extLst>
                <a:ext uri="{28A0092B-C50C-407E-A947-70E740481C1C}">
                  <a14:useLocalDpi xmlns:a14="http://schemas.microsoft.com/office/drawing/2010/main"/>
                </a:ext>
              </a:extLst>
            </a:blip>
            <a:stretch>
              <a:fillRect/>
            </a:stretch>
          </p:blipFill>
          <p:spPr>
            <a:xfrm>
              <a:off x="4503745" y="5987932"/>
              <a:ext cx="660853" cy="660853"/>
            </a:xfrm>
            <a:prstGeom prst="rect">
              <a:avLst/>
            </a:prstGeom>
          </p:spPr>
        </p:pic>
        <p:pic>
          <p:nvPicPr>
            <p:cNvPr id="1209" name="图片 386">
              <a:extLst>
                <a:ext uri="{FF2B5EF4-FFF2-40B4-BE49-F238E27FC236}">
                  <a16:creationId xmlns:a16="http://schemas.microsoft.com/office/drawing/2014/main" id="{46B7040F-EAA4-4F4A-8298-E3ED21D52258}"/>
                </a:ext>
              </a:extLst>
            </p:cNvPr>
            <p:cNvPicPr>
              <a:picLocks noChangeAspect="1"/>
            </p:cNvPicPr>
            <p:nvPr/>
          </p:nvPicPr>
          <p:blipFill>
            <a:blip r:embed="rId111" cstate="email">
              <a:extLst>
                <a:ext uri="{28A0092B-C50C-407E-A947-70E740481C1C}">
                  <a14:useLocalDpi xmlns:a14="http://schemas.microsoft.com/office/drawing/2010/main"/>
                </a:ext>
              </a:extLst>
            </a:blip>
            <a:stretch>
              <a:fillRect/>
            </a:stretch>
          </p:blipFill>
          <p:spPr>
            <a:xfrm>
              <a:off x="1765941" y="5832538"/>
              <a:ext cx="1015937" cy="1015937"/>
            </a:xfrm>
            <a:prstGeom prst="rect">
              <a:avLst/>
            </a:prstGeom>
          </p:spPr>
        </p:pic>
        <p:pic>
          <p:nvPicPr>
            <p:cNvPr id="1210" name="图片 393">
              <a:extLst>
                <a:ext uri="{FF2B5EF4-FFF2-40B4-BE49-F238E27FC236}">
                  <a16:creationId xmlns:a16="http://schemas.microsoft.com/office/drawing/2014/main" id="{A1F93FA7-AE11-426F-BD5B-571582185F3E}"/>
                </a:ext>
              </a:extLst>
            </p:cNvPr>
            <p:cNvPicPr>
              <a:picLocks noChangeAspect="1"/>
            </p:cNvPicPr>
            <p:nvPr/>
          </p:nvPicPr>
          <p:blipFill>
            <a:blip r:embed="rId112" cstate="email">
              <a:extLst>
                <a:ext uri="{28A0092B-C50C-407E-A947-70E740481C1C}">
                  <a14:useLocalDpi xmlns:a14="http://schemas.microsoft.com/office/drawing/2010/main"/>
                </a:ext>
              </a:extLst>
            </a:blip>
            <a:stretch>
              <a:fillRect/>
            </a:stretch>
          </p:blipFill>
          <p:spPr>
            <a:xfrm>
              <a:off x="5251392" y="5901793"/>
              <a:ext cx="892408" cy="892408"/>
            </a:xfrm>
            <a:prstGeom prst="rect">
              <a:avLst/>
            </a:prstGeom>
          </p:spPr>
        </p:pic>
        <p:pic>
          <p:nvPicPr>
            <p:cNvPr id="1211" name="图片 398">
              <a:extLst>
                <a:ext uri="{FF2B5EF4-FFF2-40B4-BE49-F238E27FC236}">
                  <a16:creationId xmlns:a16="http://schemas.microsoft.com/office/drawing/2014/main" id="{B695C499-F5FC-44FB-B2D6-EA79E42405F5}"/>
                </a:ext>
              </a:extLst>
            </p:cNvPr>
            <p:cNvPicPr>
              <a:picLocks noChangeAspect="1"/>
            </p:cNvPicPr>
            <p:nvPr/>
          </p:nvPicPr>
          <p:blipFill>
            <a:blip r:embed="rId113" cstate="email">
              <a:extLst>
                <a:ext uri="{28A0092B-C50C-407E-A947-70E740481C1C}">
                  <a14:useLocalDpi xmlns:a14="http://schemas.microsoft.com/office/drawing/2010/main"/>
                </a:ext>
              </a:extLst>
            </a:blip>
            <a:stretch>
              <a:fillRect/>
            </a:stretch>
          </p:blipFill>
          <p:spPr>
            <a:xfrm>
              <a:off x="111685" y="5915363"/>
              <a:ext cx="878838" cy="878838"/>
            </a:xfrm>
            <a:prstGeom prst="rect">
              <a:avLst/>
            </a:prstGeom>
          </p:spPr>
        </p:pic>
        <p:pic>
          <p:nvPicPr>
            <p:cNvPr id="1212" name="图片 399">
              <a:extLst>
                <a:ext uri="{FF2B5EF4-FFF2-40B4-BE49-F238E27FC236}">
                  <a16:creationId xmlns:a16="http://schemas.microsoft.com/office/drawing/2014/main" id="{C8447C7B-2F6A-4950-B9FA-134F29B65C9E}"/>
                </a:ext>
              </a:extLst>
            </p:cNvPr>
            <p:cNvPicPr>
              <a:picLocks noChangeAspect="1"/>
            </p:cNvPicPr>
            <p:nvPr/>
          </p:nvPicPr>
          <p:blipFill>
            <a:blip r:embed="rId114" cstate="email">
              <a:extLst>
                <a:ext uri="{28A0092B-C50C-407E-A947-70E740481C1C}">
                  <a14:useLocalDpi xmlns:a14="http://schemas.microsoft.com/office/drawing/2010/main"/>
                </a:ext>
              </a:extLst>
            </a:blip>
            <a:stretch>
              <a:fillRect/>
            </a:stretch>
          </p:blipFill>
          <p:spPr>
            <a:xfrm>
              <a:off x="6170485" y="5970607"/>
              <a:ext cx="743821" cy="743821"/>
            </a:xfrm>
            <a:prstGeom prst="rect">
              <a:avLst/>
            </a:prstGeom>
          </p:spPr>
        </p:pic>
      </p:grpSp>
    </p:spTree>
    <p:extLst>
      <p:ext uri="{BB962C8B-B14F-4D97-AF65-F5344CB8AC3E}">
        <p14:creationId xmlns:p14="http://schemas.microsoft.com/office/powerpoint/2010/main" val="104117466"/>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14"/>
                                        </p:tgtEl>
                                        <p:attrNameLst>
                                          <p:attrName>style.visibility</p:attrName>
                                        </p:attrNameLst>
                                      </p:cBhvr>
                                      <p:to>
                                        <p:strVal val="visible"/>
                                      </p:to>
                                    </p:set>
                                    <p:animEffect transition="in" filter="fade">
                                      <p:cBhvr>
                                        <p:cTn id="7" dur="500"/>
                                        <p:tgtEl>
                                          <p:spTgt spid="1014"/>
                                        </p:tgtEl>
                                      </p:cBhvr>
                                    </p:animEffect>
                                  </p:childTnLst>
                                </p:cTn>
                              </p:par>
                              <p:par>
                                <p:cTn id="8" presetID="42" presetClass="path" presetSubtype="0" decel="100000" fill="hold" grpId="1" nodeType="withEffect">
                                  <p:stCondLst>
                                    <p:cond delay="0"/>
                                  </p:stCondLst>
                                  <p:childTnLst>
                                    <p:animMotion origin="layout" path="M 0 -2.59259E-6 L 0 0.0544 " pathEditMode="relative" rAng="0" ptsTypes="AA">
                                      <p:cBhvr>
                                        <p:cTn id="9" dur="500" spd="-100000" fill="hold"/>
                                        <p:tgtEl>
                                          <p:spTgt spid="1014"/>
                                        </p:tgtEl>
                                        <p:attrNameLst>
                                          <p:attrName>ppt_x</p:attrName>
                                          <p:attrName>ppt_y</p:attrName>
                                        </p:attrNameLst>
                                      </p:cBhvr>
                                      <p:rCtr x="0" y="2708"/>
                                    </p:animMotion>
                                  </p:childTnLst>
                                </p:cTn>
                              </p:par>
                              <p:par>
                                <p:cTn id="10" presetID="10" presetClass="entr" presetSubtype="0" fill="hold" grpId="0" nodeType="withEffect">
                                  <p:stCondLst>
                                    <p:cond delay="100"/>
                                  </p:stCondLst>
                                  <p:childTnLst>
                                    <p:set>
                                      <p:cBhvr>
                                        <p:cTn id="11" dur="1" fill="hold">
                                          <p:stCondLst>
                                            <p:cond delay="0"/>
                                          </p:stCondLst>
                                        </p:cTn>
                                        <p:tgtEl>
                                          <p:spTgt spid="1015"/>
                                        </p:tgtEl>
                                        <p:attrNameLst>
                                          <p:attrName>style.visibility</p:attrName>
                                        </p:attrNameLst>
                                      </p:cBhvr>
                                      <p:to>
                                        <p:strVal val="visible"/>
                                      </p:to>
                                    </p:set>
                                    <p:animEffect transition="in" filter="fade">
                                      <p:cBhvr>
                                        <p:cTn id="12" dur="500"/>
                                        <p:tgtEl>
                                          <p:spTgt spid="1015"/>
                                        </p:tgtEl>
                                      </p:cBhvr>
                                    </p:animEffect>
                                  </p:childTnLst>
                                </p:cTn>
                              </p:par>
                              <p:par>
                                <p:cTn id="13" presetID="42" presetClass="path" presetSubtype="0" decel="100000" fill="hold" grpId="1" nodeType="withEffect">
                                  <p:stCondLst>
                                    <p:cond delay="100"/>
                                  </p:stCondLst>
                                  <p:childTnLst>
                                    <p:animMotion origin="layout" path="M 0 -2.59259E-6 L 0 0.0544 " pathEditMode="relative" rAng="0" ptsTypes="AA">
                                      <p:cBhvr>
                                        <p:cTn id="14" dur="500" spd="-100000" fill="hold"/>
                                        <p:tgtEl>
                                          <p:spTgt spid="1015"/>
                                        </p:tgtEl>
                                        <p:attrNameLst>
                                          <p:attrName>ppt_x</p:attrName>
                                          <p:attrName>ppt_y</p:attrName>
                                        </p:attrNameLst>
                                      </p:cBhvr>
                                      <p:rCtr x="0" y="2708"/>
                                    </p:animMotion>
                                  </p:childTnLst>
                                </p:cTn>
                              </p:par>
                              <p:par>
                                <p:cTn id="15" presetID="10" presetClass="entr" presetSubtype="0" fill="hold" grpId="0" nodeType="withEffect">
                                  <p:stCondLst>
                                    <p:cond delay="200"/>
                                  </p:stCondLst>
                                  <p:childTnLst>
                                    <p:set>
                                      <p:cBhvr>
                                        <p:cTn id="16" dur="1" fill="hold">
                                          <p:stCondLst>
                                            <p:cond delay="0"/>
                                          </p:stCondLst>
                                        </p:cTn>
                                        <p:tgtEl>
                                          <p:spTgt spid="1016"/>
                                        </p:tgtEl>
                                        <p:attrNameLst>
                                          <p:attrName>style.visibility</p:attrName>
                                        </p:attrNameLst>
                                      </p:cBhvr>
                                      <p:to>
                                        <p:strVal val="visible"/>
                                      </p:to>
                                    </p:set>
                                    <p:animEffect transition="in" filter="fade">
                                      <p:cBhvr>
                                        <p:cTn id="17" dur="500"/>
                                        <p:tgtEl>
                                          <p:spTgt spid="1016"/>
                                        </p:tgtEl>
                                      </p:cBhvr>
                                    </p:animEffect>
                                  </p:childTnLst>
                                </p:cTn>
                              </p:par>
                              <p:par>
                                <p:cTn id="18" presetID="42" presetClass="path" presetSubtype="0" decel="100000" fill="hold" grpId="1" nodeType="withEffect">
                                  <p:stCondLst>
                                    <p:cond delay="200"/>
                                  </p:stCondLst>
                                  <p:childTnLst>
                                    <p:animMotion origin="layout" path="M 0 -2.59259E-6 L 0 0.0544 " pathEditMode="relative" rAng="0" ptsTypes="AA">
                                      <p:cBhvr>
                                        <p:cTn id="19" dur="500" spd="-100000" fill="hold"/>
                                        <p:tgtEl>
                                          <p:spTgt spid="1016"/>
                                        </p:tgtEl>
                                        <p:attrNameLst>
                                          <p:attrName>ppt_x</p:attrName>
                                          <p:attrName>ppt_y</p:attrName>
                                        </p:attrNameLst>
                                      </p:cBhvr>
                                      <p:rCtr x="0" y="2708"/>
                                    </p:animMotion>
                                  </p:childTnLst>
                                </p:cTn>
                              </p:par>
                              <p:par>
                                <p:cTn id="20" presetID="10" presetClass="entr" presetSubtype="0" fill="hold" grpId="0" nodeType="withEffect">
                                  <p:stCondLst>
                                    <p:cond delay="300"/>
                                  </p:stCondLst>
                                  <p:childTnLst>
                                    <p:set>
                                      <p:cBhvr>
                                        <p:cTn id="21" dur="1" fill="hold">
                                          <p:stCondLst>
                                            <p:cond delay="0"/>
                                          </p:stCondLst>
                                        </p:cTn>
                                        <p:tgtEl>
                                          <p:spTgt spid="1018"/>
                                        </p:tgtEl>
                                        <p:attrNameLst>
                                          <p:attrName>style.visibility</p:attrName>
                                        </p:attrNameLst>
                                      </p:cBhvr>
                                      <p:to>
                                        <p:strVal val="visible"/>
                                      </p:to>
                                    </p:set>
                                    <p:animEffect transition="in" filter="fade">
                                      <p:cBhvr>
                                        <p:cTn id="22" dur="500"/>
                                        <p:tgtEl>
                                          <p:spTgt spid="1018"/>
                                        </p:tgtEl>
                                      </p:cBhvr>
                                    </p:animEffect>
                                  </p:childTnLst>
                                </p:cTn>
                              </p:par>
                              <p:par>
                                <p:cTn id="23" presetID="42" presetClass="path" presetSubtype="0" decel="100000" fill="hold" grpId="1" nodeType="withEffect">
                                  <p:stCondLst>
                                    <p:cond delay="300"/>
                                  </p:stCondLst>
                                  <p:childTnLst>
                                    <p:animMotion origin="layout" path="M 0 -2.59259E-6 L 0 0.0544 " pathEditMode="relative" rAng="0" ptsTypes="AA">
                                      <p:cBhvr>
                                        <p:cTn id="24" dur="500" spd="-100000" fill="hold"/>
                                        <p:tgtEl>
                                          <p:spTgt spid="1018"/>
                                        </p:tgtEl>
                                        <p:attrNameLst>
                                          <p:attrName>ppt_x</p:attrName>
                                          <p:attrName>ppt_y</p:attrName>
                                        </p:attrNameLst>
                                      </p:cBhvr>
                                      <p:rCtr x="0" y="270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4" grpId="0"/>
      <p:bldP spid="1014" grpId="1"/>
      <p:bldP spid="1015" grpId="0"/>
      <p:bldP spid="1015" grpId="1"/>
      <p:bldP spid="1016" grpId="0"/>
      <p:bldP spid="1016" grpId="1"/>
      <p:bldP spid="1018" grpId="0"/>
      <p:bldP spid="1018"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42" name="Group 941">
            <a:extLst>
              <a:ext uri="{FF2B5EF4-FFF2-40B4-BE49-F238E27FC236}">
                <a16:creationId xmlns:a16="http://schemas.microsoft.com/office/drawing/2014/main" id="{26D18E9D-5A19-4E6E-BFE3-45A93EE6FBE6}"/>
              </a:ext>
            </a:extLst>
          </p:cNvPr>
          <p:cNvGrpSpPr/>
          <p:nvPr/>
        </p:nvGrpSpPr>
        <p:grpSpPr>
          <a:xfrm>
            <a:off x="868202" y="372309"/>
            <a:ext cx="10692981" cy="6275546"/>
            <a:chOff x="839788" y="346075"/>
            <a:chExt cx="10514013" cy="6170513"/>
          </a:xfrm>
        </p:grpSpPr>
        <p:grpSp>
          <p:nvGrpSpPr>
            <p:cNvPr id="943" name="Group 4">
              <a:extLst>
                <a:ext uri="{FF2B5EF4-FFF2-40B4-BE49-F238E27FC236}">
                  <a16:creationId xmlns:a16="http://schemas.microsoft.com/office/drawing/2014/main" id="{C20F7C2C-2576-4EA5-9CDA-785ADD81244C}"/>
                </a:ext>
              </a:extLst>
            </p:cNvPr>
            <p:cNvGrpSpPr>
              <a:grpSpLocks noChangeAspect="1"/>
            </p:cNvGrpSpPr>
            <p:nvPr/>
          </p:nvGrpSpPr>
          <p:grpSpPr bwMode="auto">
            <a:xfrm>
              <a:off x="839788" y="346075"/>
              <a:ext cx="4581525" cy="3454400"/>
              <a:chOff x="529" y="218"/>
              <a:chExt cx="2886" cy="2176"/>
            </a:xfrm>
          </p:grpSpPr>
          <p:sp>
            <p:nvSpPr>
              <p:cNvPr id="957" name="Freeform 5">
                <a:extLst>
                  <a:ext uri="{FF2B5EF4-FFF2-40B4-BE49-F238E27FC236}">
                    <a16:creationId xmlns:a16="http://schemas.microsoft.com/office/drawing/2014/main" id="{8D3CCBE1-63CE-4A7D-A0C9-C7E06F5B084E}"/>
                  </a:ext>
                </a:extLst>
              </p:cNvPr>
              <p:cNvSpPr>
                <a:spLocks/>
              </p:cNvSpPr>
              <p:nvPr/>
            </p:nvSpPr>
            <p:spPr bwMode="auto">
              <a:xfrm>
                <a:off x="529" y="730"/>
                <a:ext cx="1842" cy="1664"/>
              </a:xfrm>
              <a:custGeom>
                <a:avLst/>
                <a:gdLst>
                  <a:gd name="T0" fmla="*/ 108 w 1842"/>
                  <a:gd name="T1" fmla="*/ 0 h 1664"/>
                  <a:gd name="T2" fmla="*/ 86 w 1842"/>
                  <a:gd name="T3" fmla="*/ 115 h 1664"/>
                  <a:gd name="T4" fmla="*/ 434 w 1842"/>
                  <a:gd name="T5" fmla="*/ 361 h 1664"/>
                  <a:gd name="T6" fmla="*/ 830 w 1842"/>
                  <a:gd name="T7" fmla="*/ 127 h 1664"/>
                  <a:gd name="T8" fmla="*/ 1490 w 1842"/>
                  <a:gd name="T9" fmla="*/ 169 h 1664"/>
                  <a:gd name="T10" fmla="*/ 1324 w 1842"/>
                  <a:gd name="T11" fmla="*/ 333 h 1664"/>
                  <a:gd name="T12" fmla="*/ 828 w 1842"/>
                  <a:gd name="T13" fmla="*/ 523 h 1664"/>
                  <a:gd name="T14" fmla="*/ 204 w 1842"/>
                  <a:gd name="T15" fmla="*/ 60 h 1664"/>
                  <a:gd name="T16" fmla="*/ 374 w 1842"/>
                  <a:gd name="T17" fmla="*/ 141 h 1664"/>
                  <a:gd name="T18" fmla="*/ 652 w 1842"/>
                  <a:gd name="T19" fmla="*/ 48 h 1664"/>
                  <a:gd name="T20" fmla="*/ 48 w 1842"/>
                  <a:gd name="T21" fmla="*/ 277 h 1664"/>
                  <a:gd name="T22" fmla="*/ 60 w 1842"/>
                  <a:gd name="T23" fmla="*/ 169 h 1664"/>
                  <a:gd name="T24" fmla="*/ 362 w 1842"/>
                  <a:gd name="T25" fmla="*/ 48 h 1664"/>
                  <a:gd name="T26" fmla="*/ 562 w 1842"/>
                  <a:gd name="T27" fmla="*/ 341 h 1664"/>
                  <a:gd name="T28" fmla="*/ 966 w 1842"/>
                  <a:gd name="T29" fmla="*/ 163 h 1664"/>
                  <a:gd name="T30" fmla="*/ 718 w 1842"/>
                  <a:gd name="T31" fmla="*/ 145 h 1664"/>
                  <a:gd name="T32" fmla="*/ 1238 w 1842"/>
                  <a:gd name="T33" fmla="*/ 719 h 1664"/>
                  <a:gd name="T34" fmla="*/ 854 w 1842"/>
                  <a:gd name="T35" fmla="*/ 699 h 1664"/>
                  <a:gd name="T36" fmla="*/ 1594 w 1842"/>
                  <a:gd name="T37" fmla="*/ 709 h 1664"/>
                  <a:gd name="T38" fmla="*/ 1718 w 1842"/>
                  <a:gd name="T39" fmla="*/ 907 h 1664"/>
                  <a:gd name="T40" fmla="*/ 1510 w 1842"/>
                  <a:gd name="T41" fmla="*/ 907 h 1664"/>
                  <a:gd name="T42" fmla="*/ 1286 w 1842"/>
                  <a:gd name="T43" fmla="*/ 1077 h 1664"/>
                  <a:gd name="T44" fmla="*/ 1610 w 1842"/>
                  <a:gd name="T45" fmla="*/ 997 h 1664"/>
                  <a:gd name="T46" fmla="*/ 1382 w 1842"/>
                  <a:gd name="T47" fmla="*/ 1210 h 1664"/>
                  <a:gd name="T48" fmla="*/ 1192 w 1842"/>
                  <a:gd name="T49" fmla="*/ 949 h 1664"/>
                  <a:gd name="T50" fmla="*/ 1246 w 1842"/>
                  <a:gd name="T51" fmla="*/ 1190 h 1664"/>
                  <a:gd name="T52" fmla="*/ 1152 w 1842"/>
                  <a:gd name="T53" fmla="*/ 1430 h 1664"/>
                  <a:gd name="T54" fmla="*/ 1506 w 1842"/>
                  <a:gd name="T55" fmla="*/ 1590 h 1664"/>
                  <a:gd name="T56" fmla="*/ 1434 w 1842"/>
                  <a:gd name="T57" fmla="*/ 1614 h 1664"/>
                  <a:gd name="T58" fmla="*/ 1396 w 1842"/>
                  <a:gd name="T59" fmla="*/ 1626 h 1664"/>
                  <a:gd name="T60" fmla="*/ 1312 w 1842"/>
                  <a:gd name="T61" fmla="*/ 1552 h 1664"/>
                  <a:gd name="T62" fmla="*/ 1166 w 1842"/>
                  <a:gd name="T63" fmla="*/ 1272 h 1664"/>
                  <a:gd name="T64" fmla="*/ 900 w 1842"/>
                  <a:gd name="T65" fmla="*/ 1137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42" h="1664">
                    <a:moveTo>
                      <a:pt x="0" y="30"/>
                    </a:moveTo>
                    <a:lnTo>
                      <a:pt x="108" y="0"/>
                    </a:lnTo>
                    <a:lnTo>
                      <a:pt x="54" y="121"/>
                    </a:lnTo>
                    <a:lnTo>
                      <a:pt x="86" y="115"/>
                    </a:lnTo>
                    <a:lnTo>
                      <a:pt x="270" y="16"/>
                    </a:lnTo>
                    <a:lnTo>
                      <a:pt x="434" y="361"/>
                    </a:lnTo>
                    <a:lnTo>
                      <a:pt x="490" y="88"/>
                    </a:lnTo>
                    <a:lnTo>
                      <a:pt x="830" y="127"/>
                    </a:lnTo>
                    <a:lnTo>
                      <a:pt x="976" y="175"/>
                    </a:lnTo>
                    <a:lnTo>
                      <a:pt x="1490" y="169"/>
                    </a:lnTo>
                    <a:lnTo>
                      <a:pt x="1410" y="205"/>
                    </a:lnTo>
                    <a:lnTo>
                      <a:pt x="1324" y="333"/>
                    </a:lnTo>
                    <a:lnTo>
                      <a:pt x="1222" y="261"/>
                    </a:lnTo>
                    <a:lnTo>
                      <a:pt x="828" y="523"/>
                    </a:lnTo>
                    <a:lnTo>
                      <a:pt x="766" y="287"/>
                    </a:lnTo>
                    <a:lnTo>
                      <a:pt x="204" y="60"/>
                    </a:lnTo>
                    <a:lnTo>
                      <a:pt x="126" y="407"/>
                    </a:lnTo>
                    <a:lnTo>
                      <a:pt x="374" y="141"/>
                    </a:lnTo>
                    <a:lnTo>
                      <a:pt x="498" y="100"/>
                    </a:lnTo>
                    <a:lnTo>
                      <a:pt x="652" y="48"/>
                    </a:lnTo>
                    <a:lnTo>
                      <a:pt x="532" y="183"/>
                    </a:lnTo>
                    <a:lnTo>
                      <a:pt x="48" y="277"/>
                    </a:lnTo>
                    <a:lnTo>
                      <a:pt x="366" y="327"/>
                    </a:lnTo>
                    <a:lnTo>
                      <a:pt x="60" y="169"/>
                    </a:lnTo>
                    <a:lnTo>
                      <a:pt x="166" y="241"/>
                    </a:lnTo>
                    <a:lnTo>
                      <a:pt x="362" y="48"/>
                    </a:lnTo>
                    <a:lnTo>
                      <a:pt x="60" y="129"/>
                    </a:lnTo>
                    <a:lnTo>
                      <a:pt x="562" y="341"/>
                    </a:lnTo>
                    <a:lnTo>
                      <a:pt x="886" y="295"/>
                    </a:lnTo>
                    <a:lnTo>
                      <a:pt x="966" y="163"/>
                    </a:lnTo>
                    <a:lnTo>
                      <a:pt x="832" y="70"/>
                    </a:lnTo>
                    <a:lnTo>
                      <a:pt x="718" y="145"/>
                    </a:lnTo>
                    <a:lnTo>
                      <a:pt x="806" y="531"/>
                    </a:lnTo>
                    <a:lnTo>
                      <a:pt x="1238" y="719"/>
                    </a:lnTo>
                    <a:lnTo>
                      <a:pt x="782" y="815"/>
                    </a:lnTo>
                    <a:lnTo>
                      <a:pt x="854" y="699"/>
                    </a:lnTo>
                    <a:lnTo>
                      <a:pt x="1472" y="531"/>
                    </a:lnTo>
                    <a:lnTo>
                      <a:pt x="1594" y="709"/>
                    </a:lnTo>
                    <a:lnTo>
                      <a:pt x="1842" y="815"/>
                    </a:lnTo>
                    <a:lnTo>
                      <a:pt x="1718" y="907"/>
                    </a:lnTo>
                    <a:lnTo>
                      <a:pt x="1622" y="963"/>
                    </a:lnTo>
                    <a:lnTo>
                      <a:pt x="1510" y="907"/>
                    </a:lnTo>
                    <a:lnTo>
                      <a:pt x="1510" y="855"/>
                    </a:lnTo>
                    <a:lnTo>
                      <a:pt x="1286" y="1077"/>
                    </a:lnTo>
                    <a:lnTo>
                      <a:pt x="1518" y="965"/>
                    </a:lnTo>
                    <a:lnTo>
                      <a:pt x="1610" y="997"/>
                    </a:lnTo>
                    <a:lnTo>
                      <a:pt x="1506" y="1210"/>
                    </a:lnTo>
                    <a:lnTo>
                      <a:pt x="1382" y="1210"/>
                    </a:lnTo>
                    <a:lnTo>
                      <a:pt x="1272" y="1182"/>
                    </a:lnTo>
                    <a:lnTo>
                      <a:pt x="1192" y="949"/>
                    </a:lnTo>
                    <a:lnTo>
                      <a:pt x="886" y="1147"/>
                    </a:lnTo>
                    <a:lnTo>
                      <a:pt x="1246" y="1190"/>
                    </a:lnTo>
                    <a:lnTo>
                      <a:pt x="1066" y="1318"/>
                    </a:lnTo>
                    <a:lnTo>
                      <a:pt x="1152" y="1430"/>
                    </a:lnTo>
                    <a:lnTo>
                      <a:pt x="1426" y="1626"/>
                    </a:lnTo>
                    <a:lnTo>
                      <a:pt x="1506" y="1590"/>
                    </a:lnTo>
                    <a:lnTo>
                      <a:pt x="1494" y="1664"/>
                    </a:lnTo>
                    <a:lnTo>
                      <a:pt x="1434" y="1614"/>
                    </a:lnTo>
                    <a:lnTo>
                      <a:pt x="1242" y="1454"/>
                    </a:lnTo>
                    <a:lnTo>
                      <a:pt x="1396" y="1626"/>
                    </a:lnTo>
                    <a:lnTo>
                      <a:pt x="1430" y="1422"/>
                    </a:lnTo>
                    <a:lnTo>
                      <a:pt x="1312" y="1552"/>
                    </a:lnTo>
                    <a:lnTo>
                      <a:pt x="1184" y="1524"/>
                    </a:lnTo>
                    <a:lnTo>
                      <a:pt x="1166" y="1272"/>
                    </a:lnTo>
                    <a:lnTo>
                      <a:pt x="876" y="991"/>
                    </a:lnTo>
                    <a:lnTo>
                      <a:pt x="900" y="1137"/>
                    </a:lnTo>
                    <a:lnTo>
                      <a:pt x="964" y="1330"/>
                    </a:lnTo>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58" name="Freeform 6">
                <a:extLst>
                  <a:ext uri="{FF2B5EF4-FFF2-40B4-BE49-F238E27FC236}">
                    <a16:creationId xmlns:a16="http://schemas.microsoft.com/office/drawing/2014/main" id="{5E65B01A-C42D-40B3-BE2E-33232DB59C8C}"/>
                  </a:ext>
                </a:extLst>
              </p:cNvPr>
              <p:cNvSpPr>
                <a:spLocks/>
              </p:cNvSpPr>
              <p:nvPr/>
            </p:nvSpPr>
            <p:spPr bwMode="auto">
              <a:xfrm>
                <a:off x="2115" y="218"/>
                <a:ext cx="1256" cy="855"/>
              </a:xfrm>
              <a:custGeom>
                <a:avLst/>
                <a:gdLst>
                  <a:gd name="T0" fmla="*/ 1256 w 1256"/>
                  <a:gd name="T1" fmla="*/ 745 h 855"/>
                  <a:gd name="T2" fmla="*/ 1116 w 1256"/>
                  <a:gd name="T3" fmla="*/ 745 h 855"/>
                  <a:gd name="T4" fmla="*/ 702 w 1256"/>
                  <a:gd name="T5" fmla="*/ 855 h 855"/>
                  <a:gd name="T6" fmla="*/ 540 w 1256"/>
                  <a:gd name="T7" fmla="*/ 727 h 855"/>
                  <a:gd name="T8" fmla="*/ 856 w 1256"/>
                  <a:gd name="T9" fmla="*/ 671 h 855"/>
                  <a:gd name="T10" fmla="*/ 724 w 1256"/>
                  <a:gd name="T11" fmla="*/ 763 h 855"/>
                  <a:gd name="T12" fmla="*/ 908 w 1256"/>
                  <a:gd name="T13" fmla="*/ 362 h 855"/>
                  <a:gd name="T14" fmla="*/ 938 w 1256"/>
                  <a:gd name="T15" fmla="*/ 522 h 855"/>
                  <a:gd name="T16" fmla="*/ 670 w 1256"/>
                  <a:gd name="T17" fmla="*/ 536 h 855"/>
                  <a:gd name="T18" fmla="*/ 562 w 1256"/>
                  <a:gd name="T19" fmla="*/ 362 h 855"/>
                  <a:gd name="T20" fmla="*/ 588 w 1256"/>
                  <a:gd name="T21" fmla="*/ 132 h 855"/>
                  <a:gd name="T22" fmla="*/ 630 w 1256"/>
                  <a:gd name="T23" fmla="*/ 260 h 855"/>
                  <a:gd name="T24" fmla="*/ 704 w 1256"/>
                  <a:gd name="T25" fmla="*/ 182 h 855"/>
                  <a:gd name="T26" fmla="*/ 762 w 1256"/>
                  <a:gd name="T27" fmla="*/ 338 h 855"/>
                  <a:gd name="T28" fmla="*/ 540 w 1256"/>
                  <a:gd name="T29" fmla="*/ 362 h 855"/>
                  <a:gd name="T30" fmla="*/ 424 w 1256"/>
                  <a:gd name="T31" fmla="*/ 212 h 855"/>
                  <a:gd name="T32" fmla="*/ 396 w 1256"/>
                  <a:gd name="T33" fmla="*/ 268 h 855"/>
                  <a:gd name="T34" fmla="*/ 22 w 1256"/>
                  <a:gd name="T35" fmla="*/ 86 h 855"/>
                  <a:gd name="T36" fmla="*/ 0 w 1256"/>
                  <a:gd name="T37" fmla="*/ 226 h 855"/>
                  <a:gd name="T38" fmla="*/ 188 w 1256"/>
                  <a:gd name="T39" fmla="*/ 150 h 855"/>
                  <a:gd name="T40" fmla="*/ 454 w 1256"/>
                  <a:gd name="T41" fmla="*/ 86 h 855"/>
                  <a:gd name="T42" fmla="*/ 264 w 1256"/>
                  <a:gd name="T43" fmla="*/ 302 h 855"/>
                  <a:gd name="T44" fmla="*/ 264 w 1256"/>
                  <a:gd name="T45" fmla="*/ 220 h 855"/>
                  <a:gd name="T46" fmla="*/ 380 w 1256"/>
                  <a:gd name="T47" fmla="*/ 110 h 855"/>
                  <a:gd name="T48" fmla="*/ 1092 w 1256"/>
                  <a:gd name="T49" fmla="*/ 356 h 855"/>
                  <a:gd name="T50" fmla="*/ 1004 w 1256"/>
                  <a:gd name="T51" fmla="*/ 598 h 855"/>
                  <a:gd name="T52" fmla="*/ 860 w 1256"/>
                  <a:gd name="T53" fmla="*/ 512 h 855"/>
                  <a:gd name="T54" fmla="*/ 468 w 1256"/>
                  <a:gd name="T55" fmla="*/ 454 h 855"/>
                  <a:gd name="T56" fmla="*/ 548 w 1256"/>
                  <a:gd name="T57" fmla="*/ 542 h 855"/>
                  <a:gd name="T58" fmla="*/ 936 w 1256"/>
                  <a:gd name="T59" fmla="*/ 0 h 855"/>
                  <a:gd name="T60" fmla="*/ 932 w 1256"/>
                  <a:gd name="T61" fmla="*/ 122 h 855"/>
                  <a:gd name="T62" fmla="*/ 744 w 1256"/>
                  <a:gd name="T63" fmla="*/ 154 h 855"/>
                  <a:gd name="T64" fmla="*/ 820 w 1256"/>
                  <a:gd name="T65" fmla="*/ 0 h 855"/>
                  <a:gd name="T66" fmla="*/ 904 w 1256"/>
                  <a:gd name="T67" fmla="*/ 26 h 855"/>
                  <a:gd name="T68" fmla="*/ 904 w 1256"/>
                  <a:gd name="T69" fmla="*/ 350 h 855"/>
                  <a:gd name="T70" fmla="*/ 406 w 1256"/>
                  <a:gd name="T71" fmla="*/ 264 h 855"/>
                  <a:gd name="T72" fmla="*/ 196 w 1256"/>
                  <a:gd name="T73" fmla="*/ 246 h 855"/>
                  <a:gd name="T74" fmla="*/ 398 w 1256"/>
                  <a:gd name="T75" fmla="*/ 254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56" h="855">
                    <a:moveTo>
                      <a:pt x="1256" y="745"/>
                    </a:moveTo>
                    <a:lnTo>
                      <a:pt x="1116" y="745"/>
                    </a:lnTo>
                    <a:lnTo>
                      <a:pt x="702" y="855"/>
                    </a:lnTo>
                    <a:lnTo>
                      <a:pt x="540" y="727"/>
                    </a:lnTo>
                    <a:lnTo>
                      <a:pt x="856" y="671"/>
                    </a:lnTo>
                    <a:lnTo>
                      <a:pt x="724" y="763"/>
                    </a:lnTo>
                    <a:lnTo>
                      <a:pt x="908" y="362"/>
                    </a:lnTo>
                    <a:lnTo>
                      <a:pt x="938" y="522"/>
                    </a:lnTo>
                    <a:lnTo>
                      <a:pt x="670" y="536"/>
                    </a:lnTo>
                    <a:lnTo>
                      <a:pt x="562" y="362"/>
                    </a:lnTo>
                    <a:lnTo>
                      <a:pt x="588" y="132"/>
                    </a:lnTo>
                    <a:lnTo>
                      <a:pt x="630" y="260"/>
                    </a:lnTo>
                    <a:lnTo>
                      <a:pt x="704" y="182"/>
                    </a:lnTo>
                    <a:lnTo>
                      <a:pt x="762" y="338"/>
                    </a:lnTo>
                    <a:lnTo>
                      <a:pt x="540" y="362"/>
                    </a:lnTo>
                    <a:lnTo>
                      <a:pt x="424" y="212"/>
                    </a:lnTo>
                    <a:lnTo>
                      <a:pt x="396" y="268"/>
                    </a:lnTo>
                    <a:lnTo>
                      <a:pt x="22" y="86"/>
                    </a:lnTo>
                    <a:lnTo>
                      <a:pt x="0" y="226"/>
                    </a:lnTo>
                    <a:lnTo>
                      <a:pt x="188" y="150"/>
                    </a:lnTo>
                    <a:lnTo>
                      <a:pt x="454" y="86"/>
                    </a:lnTo>
                    <a:lnTo>
                      <a:pt x="264" y="302"/>
                    </a:lnTo>
                    <a:lnTo>
                      <a:pt x="264" y="220"/>
                    </a:lnTo>
                    <a:lnTo>
                      <a:pt x="380" y="110"/>
                    </a:lnTo>
                    <a:lnTo>
                      <a:pt x="1092" y="356"/>
                    </a:lnTo>
                    <a:lnTo>
                      <a:pt x="1004" y="598"/>
                    </a:lnTo>
                    <a:lnTo>
                      <a:pt x="860" y="512"/>
                    </a:lnTo>
                    <a:lnTo>
                      <a:pt x="468" y="454"/>
                    </a:lnTo>
                    <a:lnTo>
                      <a:pt x="548" y="542"/>
                    </a:lnTo>
                    <a:lnTo>
                      <a:pt x="936" y="0"/>
                    </a:lnTo>
                    <a:lnTo>
                      <a:pt x="932" y="122"/>
                    </a:lnTo>
                    <a:lnTo>
                      <a:pt x="744" y="154"/>
                    </a:lnTo>
                    <a:lnTo>
                      <a:pt x="820" y="0"/>
                    </a:lnTo>
                    <a:lnTo>
                      <a:pt x="904" y="26"/>
                    </a:lnTo>
                    <a:lnTo>
                      <a:pt x="904" y="350"/>
                    </a:lnTo>
                    <a:lnTo>
                      <a:pt x="406" y="264"/>
                    </a:lnTo>
                    <a:lnTo>
                      <a:pt x="196" y="246"/>
                    </a:lnTo>
                    <a:lnTo>
                      <a:pt x="398" y="254"/>
                    </a:lnTo>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59" name="Freeform 7">
                <a:extLst>
                  <a:ext uri="{FF2B5EF4-FFF2-40B4-BE49-F238E27FC236}">
                    <a16:creationId xmlns:a16="http://schemas.microsoft.com/office/drawing/2014/main" id="{F8AE1E96-B5D0-4117-BA78-D27437F5FA27}"/>
                  </a:ext>
                </a:extLst>
              </p:cNvPr>
              <p:cNvSpPr>
                <a:spLocks/>
              </p:cNvSpPr>
              <p:nvPr/>
            </p:nvSpPr>
            <p:spPr bwMode="auto">
              <a:xfrm>
                <a:off x="3253" y="905"/>
                <a:ext cx="124" cy="84"/>
              </a:xfrm>
              <a:custGeom>
                <a:avLst/>
                <a:gdLst>
                  <a:gd name="T0" fmla="*/ 100 w 124"/>
                  <a:gd name="T1" fmla="*/ 64 h 84"/>
                  <a:gd name="T2" fmla="*/ 124 w 124"/>
                  <a:gd name="T3" fmla="*/ 0 h 84"/>
                  <a:gd name="T4" fmla="*/ 18 w 124"/>
                  <a:gd name="T5" fmla="*/ 84 h 84"/>
                  <a:gd name="T6" fmla="*/ 0 w 124"/>
                  <a:gd name="T7" fmla="*/ 14 h 84"/>
                  <a:gd name="T8" fmla="*/ 100 w 124"/>
                  <a:gd name="T9" fmla="*/ 64 h 84"/>
                </a:gdLst>
                <a:ahLst/>
                <a:cxnLst>
                  <a:cxn ang="0">
                    <a:pos x="T0" y="T1"/>
                  </a:cxn>
                  <a:cxn ang="0">
                    <a:pos x="T2" y="T3"/>
                  </a:cxn>
                  <a:cxn ang="0">
                    <a:pos x="T4" y="T5"/>
                  </a:cxn>
                  <a:cxn ang="0">
                    <a:pos x="T6" y="T7"/>
                  </a:cxn>
                  <a:cxn ang="0">
                    <a:pos x="T8" y="T9"/>
                  </a:cxn>
                </a:cxnLst>
                <a:rect l="0" t="0" r="r" b="b"/>
                <a:pathLst>
                  <a:path w="124" h="84">
                    <a:moveTo>
                      <a:pt x="100" y="64"/>
                    </a:moveTo>
                    <a:lnTo>
                      <a:pt x="124" y="0"/>
                    </a:lnTo>
                    <a:lnTo>
                      <a:pt x="18" y="84"/>
                    </a:lnTo>
                    <a:lnTo>
                      <a:pt x="0" y="14"/>
                    </a:lnTo>
                    <a:lnTo>
                      <a:pt x="100" y="64"/>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60" name="Freeform 8">
                <a:extLst>
                  <a:ext uri="{FF2B5EF4-FFF2-40B4-BE49-F238E27FC236}">
                    <a16:creationId xmlns:a16="http://schemas.microsoft.com/office/drawing/2014/main" id="{0561FC27-D9C2-479F-9F33-686F832C8A8B}"/>
                  </a:ext>
                </a:extLst>
              </p:cNvPr>
              <p:cNvSpPr>
                <a:spLocks/>
              </p:cNvSpPr>
              <p:nvPr/>
            </p:nvSpPr>
            <p:spPr bwMode="auto">
              <a:xfrm>
                <a:off x="2673" y="254"/>
                <a:ext cx="742" cy="781"/>
              </a:xfrm>
              <a:custGeom>
                <a:avLst/>
                <a:gdLst>
                  <a:gd name="T0" fmla="*/ 29 w 371"/>
                  <a:gd name="T1" fmla="*/ 391 h 391"/>
                  <a:gd name="T2" fmla="*/ 143 w 371"/>
                  <a:gd name="T3" fmla="*/ 75 h 391"/>
                  <a:gd name="T4" fmla="*/ 210 w 371"/>
                  <a:gd name="T5" fmla="*/ 44 h 391"/>
                  <a:gd name="T6" fmla="*/ 283 w 371"/>
                  <a:gd name="T7" fmla="*/ 150 h 391"/>
                  <a:gd name="T8" fmla="*/ 194 w 371"/>
                  <a:gd name="T9" fmla="*/ 161 h 391"/>
                  <a:gd name="T10" fmla="*/ 317 w 371"/>
                  <a:gd name="T11" fmla="*/ 40 h 391"/>
                  <a:gd name="T12" fmla="*/ 371 w 371"/>
                  <a:gd name="T13" fmla="*/ 36 h 391"/>
                  <a:gd name="T14" fmla="*/ 261 w 371"/>
                  <a:gd name="T15" fmla="*/ 0 h 391"/>
                  <a:gd name="T16" fmla="*/ 76 w 371"/>
                  <a:gd name="T17" fmla="*/ 17 h 391"/>
                  <a:gd name="T18" fmla="*/ 169 w 371"/>
                  <a:gd name="T19" fmla="*/ 152 h 391"/>
                  <a:gd name="T20" fmla="*/ 0 w 371"/>
                  <a:gd name="T21" fmla="*/ 347 h 391"/>
                  <a:gd name="T22" fmla="*/ 276 w 371"/>
                  <a:gd name="T23" fmla="*/ 221 h 391"/>
                  <a:gd name="T24" fmla="*/ 83 w 371"/>
                  <a:gd name="T25" fmla="*/ 260 h 391"/>
                  <a:gd name="T26" fmla="*/ 223 w 371"/>
                  <a:gd name="T27" fmla="*/ 269 h 391"/>
                  <a:gd name="T28" fmla="*/ 23 w 371"/>
                  <a:gd name="T29" fmla="*/ 380 h 391"/>
                  <a:gd name="T30" fmla="*/ 29 w 371"/>
                  <a:gd name="T31"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1" h="391">
                    <a:moveTo>
                      <a:pt x="29" y="391"/>
                    </a:moveTo>
                    <a:cubicBezTo>
                      <a:pt x="143" y="75"/>
                      <a:pt x="143" y="75"/>
                      <a:pt x="143" y="75"/>
                    </a:cubicBezTo>
                    <a:cubicBezTo>
                      <a:pt x="210" y="44"/>
                      <a:pt x="210" y="44"/>
                      <a:pt x="210" y="44"/>
                    </a:cubicBezTo>
                    <a:cubicBezTo>
                      <a:pt x="283" y="150"/>
                      <a:pt x="283" y="150"/>
                      <a:pt x="283" y="150"/>
                    </a:cubicBezTo>
                    <a:cubicBezTo>
                      <a:pt x="194" y="161"/>
                      <a:pt x="194" y="161"/>
                      <a:pt x="194" y="161"/>
                    </a:cubicBezTo>
                    <a:cubicBezTo>
                      <a:pt x="317" y="40"/>
                      <a:pt x="317" y="40"/>
                      <a:pt x="317" y="40"/>
                    </a:cubicBezTo>
                    <a:cubicBezTo>
                      <a:pt x="371" y="36"/>
                      <a:pt x="371" y="36"/>
                      <a:pt x="371" y="36"/>
                    </a:cubicBezTo>
                    <a:cubicBezTo>
                      <a:pt x="261" y="0"/>
                      <a:pt x="261" y="0"/>
                      <a:pt x="261" y="0"/>
                    </a:cubicBezTo>
                    <a:cubicBezTo>
                      <a:pt x="76" y="17"/>
                      <a:pt x="76" y="17"/>
                      <a:pt x="76" y="17"/>
                    </a:cubicBezTo>
                    <a:cubicBezTo>
                      <a:pt x="169" y="152"/>
                      <a:pt x="169" y="152"/>
                      <a:pt x="169" y="152"/>
                    </a:cubicBezTo>
                    <a:cubicBezTo>
                      <a:pt x="0" y="347"/>
                      <a:pt x="0" y="347"/>
                      <a:pt x="0" y="347"/>
                    </a:cubicBezTo>
                    <a:cubicBezTo>
                      <a:pt x="0" y="347"/>
                      <a:pt x="278" y="221"/>
                      <a:pt x="276" y="221"/>
                    </a:cubicBezTo>
                    <a:cubicBezTo>
                      <a:pt x="275" y="221"/>
                      <a:pt x="83" y="260"/>
                      <a:pt x="83" y="260"/>
                    </a:cubicBezTo>
                    <a:cubicBezTo>
                      <a:pt x="223" y="269"/>
                      <a:pt x="223" y="269"/>
                      <a:pt x="223" y="269"/>
                    </a:cubicBezTo>
                    <a:cubicBezTo>
                      <a:pt x="23" y="380"/>
                      <a:pt x="23" y="380"/>
                      <a:pt x="23" y="380"/>
                    </a:cubicBezTo>
                    <a:lnTo>
                      <a:pt x="29" y="391"/>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61" name="Freeform 9">
                <a:extLst>
                  <a:ext uri="{FF2B5EF4-FFF2-40B4-BE49-F238E27FC236}">
                    <a16:creationId xmlns:a16="http://schemas.microsoft.com/office/drawing/2014/main" id="{8A77EE72-AD74-45A1-8E54-221259A72402}"/>
                  </a:ext>
                </a:extLst>
              </p:cNvPr>
              <p:cNvSpPr>
                <a:spLocks/>
              </p:cNvSpPr>
              <p:nvPr/>
            </p:nvSpPr>
            <p:spPr bwMode="auto">
              <a:xfrm>
                <a:off x="1083" y="264"/>
                <a:ext cx="1272" cy="1471"/>
              </a:xfrm>
              <a:custGeom>
                <a:avLst/>
                <a:gdLst>
                  <a:gd name="T0" fmla="*/ 1266 w 1272"/>
                  <a:gd name="T1" fmla="*/ 52 h 1471"/>
                  <a:gd name="T2" fmla="*/ 1272 w 1272"/>
                  <a:gd name="T3" fmla="*/ 0 h 1471"/>
                  <a:gd name="T4" fmla="*/ 1064 w 1272"/>
                  <a:gd name="T5" fmla="*/ 110 h 1471"/>
                  <a:gd name="T6" fmla="*/ 962 w 1272"/>
                  <a:gd name="T7" fmla="*/ 190 h 1471"/>
                  <a:gd name="T8" fmla="*/ 792 w 1272"/>
                  <a:gd name="T9" fmla="*/ 156 h 1471"/>
                  <a:gd name="T10" fmla="*/ 768 w 1272"/>
                  <a:gd name="T11" fmla="*/ 496 h 1471"/>
                  <a:gd name="T12" fmla="*/ 516 w 1272"/>
                  <a:gd name="T13" fmla="*/ 414 h 1471"/>
                  <a:gd name="T14" fmla="*/ 520 w 1272"/>
                  <a:gd name="T15" fmla="*/ 490 h 1471"/>
                  <a:gd name="T16" fmla="*/ 214 w 1272"/>
                  <a:gd name="T17" fmla="*/ 354 h 1471"/>
                  <a:gd name="T18" fmla="*/ 302 w 1272"/>
                  <a:gd name="T19" fmla="*/ 410 h 1471"/>
                  <a:gd name="T20" fmla="*/ 462 w 1272"/>
                  <a:gd name="T21" fmla="*/ 162 h 1471"/>
                  <a:gd name="T22" fmla="*/ 240 w 1272"/>
                  <a:gd name="T23" fmla="*/ 238 h 1471"/>
                  <a:gd name="T24" fmla="*/ 598 w 1272"/>
                  <a:gd name="T25" fmla="*/ 160 h 1471"/>
                  <a:gd name="T26" fmla="*/ 376 w 1272"/>
                  <a:gd name="T27" fmla="*/ 280 h 1471"/>
                  <a:gd name="T28" fmla="*/ 594 w 1272"/>
                  <a:gd name="T29" fmla="*/ 500 h 1471"/>
                  <a:gd name="T30" fmla="*/ 922 w 1272"/>
                  <a:gd name="T31" fmla="*/ 130 h 1471"/>
                  <a:gd name="T32" fmla="*/ 1072 w 1272"/>
                  <a:gd name="T33" fmla="*/ 190 h 1471"/>
                  <a:gd name="T34" fmla="*/ 998 w 1272"/>
                  <a:gd name="T35" fmla="*/ 264 h 1471"/>
                  <a:gd name="T36" fmla="*/ 700 w 1272"/>
                  <a:gd name="T37" fmla="*/ 256 h 1471"/>
                  <a:gd name="T38" fmla="*/ 838 w 1272"/>
                  <a:gd name="T39" fmla="*/ 80 h 1471"/>
                  <a:gd name="T40" fmla="*/ 854 w 1272"/>
                  <a:gd name="T41" fmla="*/ 432 h 1471"/>
                  <a:gd name="T42" fmla="*/ 808 w 1272"/>
                  <a:gd name="T43" fmla="*/ 550 h 1471"/>
                  <a:gd name="T44" fmla="*/ 690 w 1272"/>
                  <a:gd name="T45" fmla="*/ 605 h 1471"/>
                  <a:gd name="T46" fmla="*/ 536 w 1272"/>
                  <a:gd name="T47" fmla="*/ 570 h 1471"/>
                  <a:gd name="T48" fmla="*/ 504 w 1272"/>
                  <a:gd name="T49" fmla="*/ 1019 h 1471"/>
                  <a:gd name="T50" fmla="*/ 330 w 1272"/>
                  <a:gd name="T51" fmla="*/ 649 h 1471"/>
                  <a:gd name="T52" fmla="*/ 476 w 1272"/>
                  <a:gd name="T53" fmla="*/ 747 h 1471"/>
                  <a:gd name="T54" fmla="*/ 436 w 1272"/>
                  <a:gd name="T55" fmla="*/ 927 h 1471"/>
                  <a:gd name="T56" fmla="*/ 838 w 1272"/>
                  <a:gd name="T57" fmla="*/ 933 h 1471"/>
                  <a:gd name="T58" fmla="*/ 764 w 1272"/>
                  <a:gd name="T59" fmla="*/ 963 h 1471"/>
                  <a:gd name="T60" fmla="*/ 640 w 1272"/>
                  <a:gd name="T61" fmla="*/ 843 h 1471"/>
                  <a:gd name="T62" fmla="*/ 246 w 1272"/>
                  <a:gd name="T63" fmla="*/ 1141 h 1471"/>
                  <a:gd name="T64" fmla="*/ 0 w 1272"/>
                  <a:gd name="T65" fmla="*/ 771 h 1471"/>
                  <a:gd name="T66" fmla="*/ 500 w 1272"/>
                  <a:gd name="T67" fmla="*/ 801 h 1471"/>
                  <a:gd name="T68" fmla="*/ 284 w 1272"/>
                  <a:gd name="T69" fmla="*/ 843 h 1471"/>
                  <a:gd name="T70" fmla="*/ 368 w 1272"/>
                  <a:gd name="T71" fmla="*/ 1471 h 1471"/>
                  <a:gd name="T72" fmla="*/ 306 w 1272"/>
                  <a:gd name="T73" fmla="*/ 1389 h 1471"/>
                  <a:gd name="T74" fmla="*/ 614 w 1272"/>
                  <a:gd name="T75" fmla="*/ 1061 h 1471"/>
                  <a:gd name="T76" fmla="*/ 878 w 1272"/>
                  <a:gd name="T77" fmla="*/ 1341 h 1471"/>
                  <a:gd name="T78" fmla="*/ 664 w 1272"/>
                  <a:gd name="T79" fmla="*/ 717 h 1471"/>
                  <a:gd name="T80" fmla="*/ 982 w 1272"/>
                  <a:gd name="T81" fmla="*/ 615 h 1471"/>
                  <a:gd name="T82" fmla="*/ 976 w 1272"/>
                  <a:gd name="T83" fmla="*/ 532 h 1471"/>
                  <a:gd name="T84" fmla="*/ 944 w 1272"/>
                  <a:gd name="T85" fmla="*/ 532 h 1471"/>
                  <a:gd name="T86" fmla="*/ 974 w 1272"/>
                  <a:gd name="T87" fmla="*/ 418 h 1471"/>
                  <a:gd name="T88" fmla="*/ 948 w 1272"/>
                  <a:gd name="T89" fmla="*/ 382 h 1471"/>
                  <a:gd name="T90" fmla="*/ 1022 w 1272"/>
                  <a:gd name="T91" fmla="*/ 42 h 1471"/>
                  <a:gd name="T92" fmla="*/ 1266 w 1272"/>
                  <a:gd name="T93" fmla="*/ 52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72" h="1471">
                    <a:moveTo>
                      <a:pt x="1266" y="52"/>
                    </a:moveTo>
                    <a:lnTo>
                      <a:pt x="1272" y="0"/>
                    </a:lnTo>
                    <a:lnTo>
                      <a:pt x="1064" y="110"/>
                    </a:lnTo>
                    <a:lnTo>
                      <a:pt x="962" y="190"/>
                    </a:lnTo>
                    <a:lnTo>
                      <a:pt x="792" y="156"/>
                    </a:lnTo>
                    <a:lnTo>
                      <a:pt x="768" y="496"/>
                    </a:lnTo>
                    <a:lnTo>
                      <a:pt x="516" y="414"/>
                    </a:lnTo>
                    <a:lnTo>
                      <a:pt x="520" y="490"/>
                    </a:lnTo>
                    <a:lnTo>
                      <a:pt x="214" y="354"/>
                    </a:lnTo>
                    <a:lnTo>
                      <a:pt x="302" y="410"/>
                    </a:lnTo>
                    <a:lnTo>
                      <a:pt x="462" y="162"/>
                    </a:lnTo>
                    <a:lnTo>
                      <a:pt x="240" y="238"/>
                    </a:lnTo>
                    <a:lnTo>
                      <a:pt x="598" y="160"/>
                    </a:lnTo>
                    <a:lnTo>
                      <a:pt x="376" y="280"/>
                    </a:lnTo>
                    <a:lnTo>
                      <a:pt x="594" y="500"/>
                    </a:lnTo>
                    <a:lnTo>
                      <a:pt x="922" y="130"/>
                    </a:lnTo>
                    <a:lnTo>
                      <a:pt x="1072" y="190"/>
                    </a:lnTo>
                    <a:lnTo>
                      <a:pt x="998" y="264"/>
                    </a:lnTo>
                    <a:lnTo>
                      <a:pt x="700" y="256"/>
                    </a:lnTo>
                    <a:lnTo>
                      <a:pt x="838" y="80"/>
                    </a:lnTo>
                    <a:lnTo>
                      <a:pt x="854" y="432"/>
                    </a:lnTo>
                    <a:lnTo>
                      <a:pt x="808" y="550"/>
                    </a:lnTo>
                    <a:lnTo>
                      <a:pt x="690" y="605"/>
                    </a:lnTo>
                    <a:lnTo>
                      <a:pt x="536" y="570"/>
                    </a:lnTo>
                    <a:lnTo>
                      <a:pt x="504" y="1019"/>
                    </a:lnTo>
                    <a:lnTo>
                      <a:pt x="330" y="649"/>
                    </a:lnTo>
                    <a:lnTo>
                      <a:pt x="476" y="747"/>
                    </a:lnTo>
                    <a:lnTo>
                      <a:pt x="436" y="927"/>
                    </a:lnTo>
                    <a:lnTo>
                      <a:pt x="838" y="933"/>
                    </a:lnTo>
                    <a:lnTo>
                      <a:pt x="764" y="963"/>
                    </a:lnTo>
                    <a:lnTo>
                      <a:pt x="640" y="843"/>
                    </a:lnTo>
                    <a:lnTo>
                      <a:pt x="246" y="1141"/>
                    </a:lnTo>
                    <a:lnTo>
                      <a:pt x="0" y="771"/>
                    </a:lnTo>
                    <a:lnTo>
                      <a:pt x="500" y="801"/>
                    </a:lnTo>
                    <a:lnTo>
                      <a:pt x="284" y="843"/>
                    </a:lnTo>
                    <a:lnTo>
                      <a:pt x="368" y="1471"/>
                    </a:lnTo>
                    <a:lnTo>
                      <a:pt x="306" y="1389"/>
                    </a:lnTo>
                    <a:lnTo>
                      <a:pt x="614" y="1061"/>
                    </a:lnTo>
                    <a:lnTo>
                      <a:pt x="878" y="1341"/>
                    </a:lnTo>
                    <a:lnTo>
                      <a:pt x="664" y="717"/>
                    </a:lnTo>
                    <a:lnTo>
                      <a:pt x="982" y="615"/>
                    </a:lnTo>
                    <a:lnTo>
                      <a:pt x="976" y="532"/>
                    </a:lnTo>
                    <a:lnTo>
                      <a:pt x="944" y="532"/>
                    </a:lnTo>
                    <a:lnTo>
                      <a:pt x="974" y="418"/>
                    </a:lnTo>
                    <a:lnTo>
                      <a:pt x="948" y="382"/>
                    </a:lnTo>
                    <a:lnTo>
                      <a:pt x="1022" y="42"/>
                    </a:lnTo>
                    <a:lnTo>
                      <a:pt x="1266" y="52"/>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62" name="Freeform 10">
                <a:extLst>
                  <a:ext uri="{FF2B5EF4-FFF2-40B4-BE49-F238E27FC236}">
                    <a16:creationId xmlns:a16="http://schemas.microsoft.com/office/drawing/2014/main" id="{AB0A6FCC-50AF-4540-8579-2118A6AB4B9C}"/>
                  </a:ext>
                </a:extLst>
              </p:cNvPr>
              <p:cNvSpPr>
                <a:spLocks/>
              </p:cNvSpPr>
              <p:nvPr/>
            </p:nvSpPr>
            <p:spPr bwMode="auto">
              <a:xfrm>
                <a:off x="2013" y="624"/>
                <a:ext cx="460" cy="747"/>
              </a:xfrm>
              <a:custGeom>
                <a:avLst/>
                <a:gdLst>
                  <a:gd name="T0" fmla="*/ 6 w 460"/>
                  <a:gd name="T1" fmla="*/ 0 h 747"/>
                  <a:gd name="T2" fmla="*/ 312 w 460"/>
                  <a:gd name="T3" fmla="*/ 134 h 747"/>
                  <a:gd name="T4" fmla="*/ 0 w 460"/>
                  <a:gd name="T5" fmla="*/ 94 h 747"/>
                  <a:gd name="T6" fmla="*/ 214 w 460"/>
                  <a:gd name="T7" fmla="*/ 72 h 747"/>
                  <a:gd name="T8" fmla="*/ 336 w 460"/>
                  <a:gd name="T9" fmla="*/ 349 h 747"/>
                  <a:gd name="T10" fmla="*/ 380 w 460"/>
                  <a:gd name="T11" fmla="*/ 223 h 747"/>
                  <a:gd name="T12" fmla="*/ 174 w 460"/>
                  <a:gd name="T13" fmla="*/ 449 h 747"/>
                  <a:gd name="T14" fmla="*/ 460 w 460"/>
                  <a:gd name="T15" fmla="*/ 747 h 747"/>
                  <a:gd name="T16" fmla="*/ 334 w 460"/>
                  <a:gd name="T17" fmla="*/ 535 h 747"/>
                  <a:gd name="T18" fmla="*/ 398 w 460"/>
                  <a:gd name="T19" fmla="*/ 469 h 747"/>
                  <a:gd name="T20" fmla="*/ 184 w 460"/>
                  <a:gd name="T21" fmla="*/ 591 h 747"/>
                  <a:gd name="T22" fmla="*/ 280 w 460"/>
                  <a:gd name="T23" fmla="*/ 383 h 747"/>
                  <a:gd name="T24" fmla="*/ 242 w 460"/>
                  <a:gd name="T25" fmla="*/ 289 h 747"/>
                  <a:gd name="T26" fmla="*/ 404 w 460"/>
                  <a:gd name="T27" fmla="*/ 297 h 747"/>
                  <a:gd name="T28" fmla="*/ 244 w 460"/>
                  <a:gd name="T29" fmla="*/ 112 h 747"/>
                  <a:gd name="T30" fmla="*/ 250 w 460"/>
                  <a:gd name="T31" fmla="*/ 172 h 747"/>
                  <a:gd name="T32" fmla="*/ 128 w 460"/>
                  <a:gd name="T33" fmla="*/ 132 h 747"/>
                  <a:gd name="T34" fmla="*/ 164 w 460"/>
                  <a:gd name="T35" fmla="*/ 126 h 747"/>
                  <a:gd name="T36" fmla="*/ 6 w 460"/>
                  <a:gd name="T37" fmla="*/ 0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0" h="747">
                    <a:moveTo>
                      <a:pt x="6" y="0"/>
                    </a:moveTo>
                    <a:lnTo>
                      <a:pt x="312" y="134"/>
                    </a:lnTo>
                    <a:lnTo>
                      <a:pt x="0" y="94"/>
                    </a:lnTo>
                    <a:lnTo>
                      <a:pt x="214" y="72"/>
                    </a:lnTo>
                    <a:lnTo>
                      <a:pt x="336" y="349"/>
                    </a:lnTo>
                    <a:lnTo>
                      <a:pt x="380" y="223"/>
                    </a:lnTo>
                    <a:lnTo>
                      <a:pt x="174" y="449"/>
                    </a:lnTo>
                    <a:lnTo>
                      <a:pt x="460" y="747"/>
                    </a:lnTo>
                    <a:lnTo>
                      <a:pt x="334" y="535"/>
                    </a:lnTo>
                    <a:lnTo>
                      <a:pt x="398" y="469"/>
                    </a:lnTo>
                    <a:lnTo>
                      <a:pt x="184" y="591"/>
                    </a:lnTo>
                    <a:lnTo>
                      <a:pt x="280" y="383"/>
                    </a:lnTo>
                    <a:lnTo>
                      <a:pt x="242" y="289"/>
                    </a:lnTo>
                    <a:lnTo>
                      <a:pt x="404" y="297"/>
                    </a:lnTo>
                    <a:lnTo>
                      <a:pt x="244" y="112"/>
                    </a:lnTo>
                    <a:lnTo>
                      <a:pt x="250" y="172"/>
                    </a:lnTo>
                    <a:lnTo>
                      <a:pt x="128" y="132"/>
                    </a:lnTo>
                    <a:lnTo>
                      <a:pt x="164" y="126"/>
                    </a:lnTo>
                    <a:lnTo>
                      <a:pt x="6" y="0"/>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63" name="Freeform 11">
                <a:extLst>
                  <a:ext uri="{FF2B5EF4-FFF2-40B4-BE49-F238E27FC236}">
                    <a16:creationId xmlns:a16="http://schemas.microsoft.com/office/drawing/2014/main" id="{2F185DA3-3003-4523-B628-0794E1C3926A}"/>
                  </a:ext>
                </a:extLst>
              </p:cNvPr>
              <p:cNvSpPr>
                <a:spLocks/>
              </p:cNvSpPr>
              <p:nvPr/>
            </p:nvSpPr>
            <p:spPr bwMode="auto">
              <a:xfrm>
                <a:off x="1363" y="1161"/>
                <a:ext cx="1102" cy="877"/>
              </a:xfrm>
              <a:custGeom>
                <a:avLst/>
                <a:gdLst>
                  <a:gd name="T0" fmla="*/ 992 w 1102"/>
                  <a:gd name="T1" fmla="*/ 0 h 877"/>
                  <a:gd name="T2" fmla="*/ 1102 w 1102"/>
                  <a:gd name="T3" fmla="*/ 80 h 877"/>
                  <a:gd name="T4" fmla="*/ 872 w 1102"/>
                  <a:gd name="T5" fmla="*/ 334 h 877"/>
                  <a:gd name="T6" fmla="*/ 756 w 1102"/>
                  <a:gd name="T7" fmla="*/ 272 h 877"/>
                  <a:gd name="T8" fmla="*/ 790 w 1102"/>
                  <a:gd name="T9" fmla="*/ 158 h 877"/>
                  <a:gd name="T10" fmla="*/ 992 w 1102"/>
                  <a:gd name="T11" fmla="*/ 256 h 877"/>
                  <a:gd name="T12" fmla="*/ 908 w 1102"/>
                  <a:gd name="T13" fmla="*/ 360 h 877"/>
                  <a:gd name="T14" fmla="*/ 554 w 1102"/>
                  <a:gd name="T15" fmla="*/ 378 h 877"/>
                  <a:gd name="T16" fmla="*/ 656 w 1102"/>
                  <a:gd name="T17" fmla="*/ 276 h 877"/>
                  <a:gd name="T18" fmla="*/ 760 w 1102"/>
                  <a:gd name="T19" fmla="*/ 686 h 877"/>
                  <a:gd name="T20" fmla="*/ 366 w 1102"/>
                  <a:gd name="T21" fmla="*/ 512 h 877"/>
                  <a:gd name="T22" fmla="*/ 344 w 1102"/>
                  <a:gd name="T23" fmla="*/ 400 h 877"/>
                  <a:gd name="T24" fmla="*/ 0 w 1102"/>
                  <a:gd name="T25" fmla="*/ 676 h 877"/>
                  <a:gd name="T26" fmla="*/ 326 w 1102"/>
                  <a:gd name="T27" fmla="*/ 648 h 877"/>
                  <a:gd name="T28" fmla="*/ 224 w 1102"/>
                  <a:gd name="T29" fmla="*/ 877 h 877"/>
                  <a:gd name="T30" fmla="*/ 278 w 1102"/>
                  <a:gd name="T31" fmla="*/ 272 h 877"/>
                  <a:gd name="T32" fmla="*/ 446 w 1102"/>
                  <a:gd name="T33" fmla="*/ 272 h 877"/>
                  <a:gd name="T34" fmla="*/ 408 w 1102"/>
                  <a:gd name="T35" fmla="*/ 450 h 877"/>
                  <a:gd name="T36" fmla="*/ 590 w 1102"/>
                  <a:gd name="T37" fmla="*/ 558 h 877"/>
                  <a:gd name="T38" fmla="*/ 962 w 1102"/>
                  <a:gd name="T39" fmla="*/ 136 h 877"/>
                  <a:gd name="T40" fmla="*/ 992 w 1102"/>
                  <a:gd name="T41" fmla="*/ 0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02" h="877">
                    <a:moveTo>
                      <a:pt x="992" y="0"/>
                    </a:moveTo>
                    <a:lnTo>
                      <a:pt x="1102" y="80"/>
                    </a:lnTo>
                    <a:lnTo>
                      <a:pt x="872" y="334"/>
                    </a:lnTo>
                    <a:lnTo>
                      <a:pt x="756" y="272"/>
                    </a:lnTo>
                    <a:lnTo>
                      <a:pt x="790" y="158"/>
                    </a:lnTo>
                    <a:lnTo>
                      <a:pt x="992" y="256"/>
                    </a:lnTo>
                    <a:lnTo>
                      <a:pt x="908" y="360"/>
                    </a:lnTo>
                    <a:lnTo>
                      <a:pt x="554" y="378"/>
                    </a:lnTo>
                    <a:lnTo>
                      <a:pt x="656" y="276"/>
                    </a:lnTo>
                    <a:lnTo>
                      <a:pt x="760" y="686"/>
                    </a:lnTo>
                    <a:lnTo>
                      <a:pt x="366" y="512"/>
                    </a:lnTo>
                    <a:lnTo>
                      <a:pt x="344" y="400"/>
                    </a:lnTo>
                    <a:lnTo>
                      <a:pt x="0" y="676"/>
                    </a:lnTo>
                    <a:lnTo>
                      <a:pt x="326" y="648"/>
                    </a:lnTo>
                    <a:lnTo>
                      <a:pt x="224" y="877"/>
                    </a:lnTo>
                    <a:lnTo>
                      <a:pt x="278" y="272"/>
                    </a:lnTo>
                    <a:lnTo>
                      <a:pt x="446" y="272"/>
                    </a:lnTo>
                    <a:lnTo>
                      <a:pt x="408" y="450"/>
                    </a:lnTo>
                    <a:lnTo>
                      <a:pt x="590" y="558"/>
                    </a:lnTo>
                    <a:lnTo>
                      <a:pt x="962" y="136"/>
                    </a:lnTo>
                    <a:lnTo>
                      <a:pt x="992" y="0"/>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grpSp>
        <p:grpSp>
          <p:nvGrpSpPr>
            <p:cNvPr id="944" name="Map outlines">
              <a:extLst>
                <a:ext uri="{FF2B5EF4-FFF2-40B4-BE49-F238E27FC236}">
                  <a16:creationId xmlns:a16="http://schemas.microsoft.com/office/drawing/2014/main" id="{2A05BC95-EA0D-45D6-A749-DEB72D894DBC}"/>
                </a:ext>
              </a:extLst>
            </p:cNvPr>
            <p:cNvGrpSpPr/>
            <p:nvPr/>
          </p:nvGrpSpPr>
          <p:grpSpPr>
            <a:xfrm>
              <a:off x="3228730" y="472178"/>
              <a:ext cx="8125071" cy="6044410"/>
              <a:chOff x="3238834" y="482615"/>
              <a:chExt cx="8096367" cy="6023059"/>
            </a:xfrm>
            <a:noFill/>
          </p:grpSpPr>
          <p:sp>
            <p:nvSpPr>
              <p:cNvPr id="945" name="Freeform: Shape 944">
                <a:extLst>
                  <a:ext uri="{FF2B5EF4-FFF2-40B4-BE49-F238E27FC236}">
                    <a16:creationId xmlns:a16="http://schemas.microsoft.com/office/drawing/2014/main" id="{819A7590-BF4F-415B-A5FF-843A89A08DF0}"/>
                  </a:ext>
                </a:extLst>
              </p:cNvPr>
              <p:cNvSpPr/>
              <p:nvPr/>
            </p:nvSpPr>
            <p:spPr>
              <a:xfrm>
                <a:off x="9698082" y="2128229"/>
                <a:ext cx="467343" cy="849714"/>
              </a:xfrm>
              <a:custGeom>
                <a:avLst/>
                <a:gdLst>
                  <a:gd name="connsiteX0" fmla="*/ 254207 w 467343"/>
                  <a:gd name="connsiteY0" fmla="*/ 772532 h 849714"/>
                  <a:gd name="connsiteX1" fmla="*/ 189062 w 467343"/>
                  <a:gd name="connsiteY1" fmla="*/ 731463 h 849714"/>
                  <a:gd name="connsiteX2" fmla="*/ 189062 w 467343"/>
                  <a:gd name="connsiteY2" fmla="*/ 731463 h 849714"/>
                  <a:gd name="connsiteX3" fmla="*/ 12038 w 467343"/>
                  <a:gd name="connsiteY3" fmla="*/ 847590 h 849714"/>
                  <a:gd name="connsiteX4" fmla="*/ 10621 w 467343"/>
                  <a:gd name="connsiteY4" fmla="*/ 847590 h 849714"/>
                  <a:gd name="connsiteX5" fmla="*/ 114004 w 467343"/>
                  <a:gd name="connsiteY5" fmla="*/ 829180 h 849714"/>
                  <a:gd name="connsiteX6" fmla="*/ 254207 w 467343"/>
                  <a:gd name="connsiteY6" fmla="*/ 773948 h 849714"/>
                  <a:gd name="connsiteX7" fmla="*/ 259872 w 467343"/>
                  <a:gd name="connsiteY7" fmla="*/ 778197 h 849714"/>
                  <a:gd name="connsiteX8" fmla="*/ 262704 w 467343"/>
                  <a:gd name="connsiteY8" fmla="*/ 771116 h 849714"/>
                  <a:gd name="connsiteX9" fmla="*/ 337762 w 467343"/>
                  <a:gd name="connsiteY9" fmla="*/ 741376 h 849714"/>
                  <a:gd name="connsiteX10" fmla="*/ 337762 w 467343"/>
                  <a:gd name="connsiteY10" fmla="*/ 741376 h 849714"/>
                  <a:gd name="connsiteX11" fmla="*/ 364669 w 467343"/>
                  <a:gd name="connsiteY11" fmla="*/ 536028 h 849714"/>
                  <a:gd name="connsiteX12" fmla="*/ 459554 w 467343"/>
                  <a:gd name="connsiteY12" fmla="*/ 421317 h 849714"/>
                  <a:gd name="connsiteX13" fmla="*/ 449641 w 467343"/>
                  <a:gd name="connsiteY13" fmla="*/ 378831 h 849714"/>
                  <a:gd name="connsiteX14" fmla="*/ 449641 w 467343"/>
                  <a:gd name="connsiteY14" fmla="*/ 378831 h 849714"/>
                  <a:gd name="connsiteX15" fmla="*/ 377415 w 467343"/>
                  <a:gd name="connsiteY15" fmla="*/ 394409 h 849714"/>
                  <a:gd name="connsiteX16" fmla="*/ 436896 w 467343"/>
                  <a:gd name="connsiteY16" fmla="*/ 244293 h 849714"/>
                  <a:gd name="connsiteX17" fmla="*/ 436896 w 467343"/>
                  <a:gd name="connsiteY17" fmla="*/ 244293 h 849714"/>
                  <a:gd name="connsiteX18" fmla="*/ 405739 w 467343"/>
                  <a:gd name="connsiteY18" fmla="*/ 123917 h 849714"/>
                  <a:gd name="connsiteX19" fmla="*/ 412820 w 467343"/>
                  <a:gd name="connsiteY19" fmla="*/ 10621 h 849714"/>
                  <a:gd name="connsiteX20" fmla="*/ 412820 w 467343"/>
                  <a:gd name="connsiteY20" fmla="*/ 10621 h 849714"/>
                  <a:gd name="connsiteX21" fmla="*/ 411404 w 467343"/>
                  <a:gd name="connsiteY21" fmla="*/ 10621 h 849714"/>
                  <a:gd name="connsiteX22" fmla="*/ 411404 w 467343"/>
                  <a:gd name="connsiteY22" fmla="*/ 10621 h 849714"/>
                  <a:gd name="connsiteX23" fmla="*/ 404323 w 467343"/>
                  <a:gd name="connsiteY23" fmla="*/ 123917 h 849714"/>
                  <a:gd name="connsiteX24" fmla="*/ 435479 w 467343"/>
                  <a:gd name="connsiteY24" fmla="*/ 244293 h 849714"/>
                  <a:gd name="connsiteX25" fmla="*/ 374583 w 467343"/>
                  <a:gd name="connsiteY25" fmla="*/ 395825 h 849714"/>
                  <a:gd name="connsiteX26" fmla="*/ 374583 w 467343"/>
                  <a:gd name="connsiteY26" fmla="*/ 395825 h 849714"/>
                  <a:gd name="connsiteX27" fmla="*/ 448225 w 467343"/>
                  <a:gd name="connsiteY27" fmla="*/ 380247 h 849714"/>
                  <a:gd name="connsiteX28" fmla="*/ 458138 w 467343"/>
                  <a:gd name="connsiteY28" fmla="*/ 419901 h 849714"/>
                  <a:gd name="connsiteX29" fmla="*/ 366086 w 467343"/>
                  <a:gd name="connsiteY29" fmla="*/ 530364 h 849714"/>
                  <a:gd name="connsiteX30" fmla="*/ 383080 w 467343"/>
                  <a:gd name="connsiteY30" fmla="*/ 401490 h 849714"/>
                  <a:gd name="connsiteX31" fmla="*/ 383080 w 467343"/>
                  <a:gd name="connsiteY31" fmla="*/ 401490 h 849714"/>
                  <a:gd name="connsiteX32" fmla="*/ 381664 w 467343"/>
                  <a:gd name="connsiteY32" fmla="*/ 401490 h 849714"/>
                  <a:gd name="connsiteX33" fmla="*/ 323600 w 467343"/>
                  <a:gd name="connsiteY33" fmla="*/ 585595 h 849714"/>
                  <a:gd name="connsiteX34" fmla="*/ 323600 w 467343"/>
                  <a:gd name="connsiteY34" fmla="*/ 587011 h 849714"/>
                  <a:gd name="connsiteX35" fmla="*/ 364669 w 467343"/>
                  <a:gd name="connsiteY35" fmla="*/ 537445 h 849714"/>
                  <a:gd name="connsiteX36" fmla="*/ 339178 w 467343"/>
                  <a:gd name="connsiteY36" fmla="*/ 738544 h 849714"/>
                  <a:gd name="connsiteX37" fmla="*/ 266953 w 467343"/>
                  <a:gd name="connsiteY37" fmla="*/ 766867 h 849714"/>
                  <a:gd name="connsiteX38" fmla="*/ 336345 w 467343"/>
                  <a:gd name="connsiteY38" fmla="*/ 584179 h 849714"/>
                  <a:gd name="connsiteX39" fmla="*/ 336345 w 467343"/>
                  <a:gd name="connsiteY39" fmla="*/ 582763 h 849714"/>
                  <a:gd name="connsiteX40" fmla="*/ 218802 w 467343"/>
                  <a:gd name="connsiteY40" fmla="*/ 693225 h 849714"/>
                  <a:gd name="connsiteX41" fmla="*/ 218802 w 467343"/>
                  <a:gd name="connsiteY41" fmla="*/ 693225 h 849714"/>
                  <a:gd name="connsiteX42" fmla="*/ 220218 w 467343"/>
                  <a:gd name="connsiteY42" fmla="*/ 694642 h 849714"/>
                  <a:gd name="connsiteX43" fmla="*/ 332097 w 467343"/>
                  <a:gd name="connsiteY43" fmla="*/ 589844 h 849714"/>
                  <a:gd name="connsiteX44" fmla="*/ 264120 w 467343"/>
                  <a:gd name="connsiteY44" fmla="*/ 766867 h 849714"/>
                  <a:gd name="connsiteX45" fmla="*/ 254207 w 467343"/>
                  <a:gd name="connsiteY45" fmla="*/ 772532 h 849714"/>
                  <a:gd name="connsiteX46" fmla="*/ 20535 w 467343"/>
                  <a:gd name="connsiteY46" fmla="*/ 844758 h 849714"/>
                  <a:gd name="connsiteX47" fmla="*/ 189062 w 467343"/>
                  <a:gd name="connsiteY47" fmla="*/ 734295 h 849714"/>
                  <a:gd name="connsiteX48" fmla="*/ 252791 w 467343"/>
                  <a:gd name="connsiteY48" fmla="*/ 773948 h 849714"/>
                  <a:gd name="connsiteX49" fmla="*/ 114004 w 467343"/>
                  <a:gd name="connsiteY49" fmla="*/ 829180 h 849714"/>
                  <a:gd name="connsiteX50" fmla="*/ 20535 w 467343"/>
                  <a:gd name="connsiteY50" fmla="*/ 844758 h 849714"/>
                  <a:gd name="connsiteX51" fmla="*/ 326433 w 467343"/>
                  <a:gd name="connsiteY51" fmla="*/ 578514 h 849714"/>
                  <a:gd name="connsiteX52" fmla="*/ 377415 w 467343"/>
                  <a:gd name="connsiteY52" fmla="*/ 415652 h 849714"/>
                  <a:gd name="connsiteX53" fmla="*/ 361838 w 467343"/>
                  <a:gd name="connsiteY53" fmla="*/ 536028 h 849714"/>
                  <a:gd name="connsiteX54" fmla="*/ 326433 w 467343"/>
                  <a:gd name="connsiteY54" fmla="*/ 578514 h 8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67343" h="849714">
                    <a:moveTo>
                      <a:pt x="254207" y="772532"/>
                    </a:moveTo>
                    <a:lnTo>
                      <a:pt x="189062" y="731463"/>
                    </a:lnTo>
                    <a:lnTo>
                      <a:pt x="189062" y="731463"/>
                    </a:lnTo>
                    <a:lnTo>
                      <a:pt x="12038" y="847590"/>
                    </a:lnTo>
                    <a:lnTo>
                      <a:pt x="10621" y="847590"/>
                    </a:lnTo>
                    <a:lnTo>
                      <a:pt x="114004" y="829180"/>
                    </a:lnTo>
                    <a:lnTo>
                      <a:pt x="254207" y="773948"/>
                    </a:lnTo>
                    <a:lnTo>
                      <a:pt x="259872" y="778197"/>
                    </a:lnTo>
                    <a:lnTo>
                      <a:pt x="262704" y="771116"/>
                    </a:lnTo>
                    <a:lnTo>
                      <a:pt x="337762" y="741376"/>
                    </a:lnTo>
                    <a:lnTo>
                      <a:pt x="337762" y="741376"/>
                    </a:lnTo>
                    <a:lnTo>
                      <a:pt x="364669" y="536028"/>
                    </a:lnTo>
                    <a:lnTo>
                      <a:pt x="459554" y="421317"/>
                    </a:lnTo>
                    <a:lnTo>
                      <a:pt x="449641" y="378831"/>
                    </a:lnTo>
                    <a:lnTo>
                      <a:pt x="449641" y="378831"/>
                    </a:lnTo>
                    <a:lnTo>
                      <a:pt x="377415" y="394409"/>
                    </a:lnTo>
                    <a:lnTo>
                      <a:pt x="436896" y="244293"/>
                    </a:lnTo>
                    <a:lnTo>
                      <a:pt x="436896" y="244293"/>
                    </a:lnTo>
                    <a:lnTo>
                      <a:pt x="405739" y="123917"/>
                    </a:lnTo>
                    <a:lnTo>
                      <a:pt x="412820" y="10621"/>
                    </a:lnTo>
                    <a:lnTo>
                      <a:pt x="412820" y="10621"/>
                    </a:lnTo>
                    <a:lnTo>
                      <a:pt x="411404" y="10621"/>
                    </a:lnTo>
                    <a:lnTo>
                      <a:pt x="411404" y="10621"/>
                    </a:lnTo>
                    <a:lnTo>
                      <a:pt x="404323" y="123917"/>
                    </a:lnTo>
                    <a:lnTo>
                      <a:pt x="435479" y="244293"/>
                    </a:lnTo>
                    <a:lnTo>
                      <a:pt x="374583" y="395825"/>
                    </a:lnTo>
                    <a:lnTo>
                      <a:pt x="374583" y="395825"/>
                    </a:lnTo>
                    <a:lnTo>
                      <a:pt x="448225" y="380247"/>
                    </a:lnTo>
                    <a:lnTo>
                      <a:pt x="458138" y="419901"/>
                    </a:lnTo>
                    <a:lnTo>
                      <a:pt x="366086" y="530364"/>
                    </a:lnTo>
                    <a:lnTo>
                      <a:pt x="383080" y="401490"/>
                    </a:lnTo>
                    <a:lnTo>
                      <a:pt x="383080" y="401490"/>
                    </a:lnTo>
                    <a:lnTo>
                      <a:pt x="381664" y="401490"/>
                    </a:lnTo>
                    <a:lnTo>
                      <a:pt x="323600" y="585595"/>
                    </a:lnTo>
                    <a:lnTo>
                      <a:pt x="323600" y="587011"/>
                    </a:lnTo>
                    <a:lnTo>
                      <a:pt x="364669" y="537445"/>
                    </a:lnTo>
                    <a:lnTo>
                      <a:pt x="339178" y="738544"/>
                    </a:lnTo>
                    <a:lnTo>
                      <a:pt x="266953" y="766867"/>
                    </a:lnTo>
                    <a:lnTo>
                      <a:pt x="336345" y="584179"/>
                    </a:lnTo>
                    <a:lnTo>
                      <a:pt x="336345" y="582763"/>
                    </a:lnTo>
                    <a:lnTo>
                      <a:pt x="218802" y="693225"/>
                    </a:lnTo>
                    <a:lnTo>
                      <a:pt x="218802" y="693225"/>
                    </a:lnTo>
                    <a:lnTo>
                      <a:pt x="220218" y="694642"/>
                    </a:lnTo>
                    <a:lnTo>
                      <a:pt x="332097" y="589844"/>
                    </a:lnTo>
                    <a:lnTo>
                      <a:pt x="264120" y="766867"/>
                    </a:lnTo>
                    <a:lnTo>
                      <a:pt x="254207" y="772532"/>
                    </a:lnTo>
                    <a:close/>
                    <a:moveTo>
                      <a:pt x="20535" y="844758"/>
                    </a:moveTo>
                    <a:lnTo>
                      <a:pt x="189062" y="734295"/>
                    </a:lnTo>
                    <a:lnTo>
                      <a:pt x="252791" y="773948"/>
                    </a:lnTo>
                    <a:lnTo>
                      <a:pt x="114004" y="829180"/>
                    </a:lnTo>
                    <a:lnTo>
                      <a:pt x="20535" y="844758"/>
                    </a:lnTo>
                    <a:close/>
                    <a:moveTo>
                      <a:pt x="326433" y="578514"/>
                    </a:moveTo>
                    <a:lnTo>
                      <a:pt x="377415" y="415652"/>
                    </a:lnTo>
                    <a:lnTo>
                      <a:pt x="361838" y="536028"/>
                    </a:lnTo>
                    <a:lnTo>
                      <a:pt x="326433" y="578514"/>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46" name="Freeform: Shape 945">
                <a:extLst>
                  <a:ext uri="{FF2B5EF4-FFF2-40B4-BE49-F238E27FC236}">
                    <a16:creationId xmlns:a16="http://schemas.microsoft.com/office/drawing/2014/main" id="{2D56A69C-D910-4F59-B17D-6831886C64D8}"/>
                  </a:ext>
                </a:extLst>
              </p:cNvPr>
              <p:cNvSpPr/>
              <p:nvPr/>
            </p:nvSpPr>
            <p:spPr>
              <a:xfrm>
                <a:off x="10845197" y="5620555"/>
                <a:ext cx="325724" cy="509829"/>
              </a:xfrm>
              <a:custGeom>
                <a:avLst/>
                <a:gdLst>
                  <a:gd name="connsiteX0" fmla="*/ 320768 w 325724"/>
                  <a:gd name="connsiteY0" fmla="*/ 162154 h 509828"/>
                  <a:gd name="connsiteX1" fmla="*/ 227299 w 325724"/>
                  <a:gd name="connsiteY1" fmla="*/ 210304 h 509828"/>
                  <a:gd name="connsiteX2" fmla="*/ 200391 w 325724"/>
                  <a:gd name="connsiteY2" fmla="*/ 187645 h 509828"/>
                  <a:gd name="connsiteX3" fmla="*/ 319352 w 325724"/>
                  <a:gd name="connsiteY3" fmla="*/ 159321 h 509828"/>
                  <a:gd name="connsiteX4" fmla="*/ 319352 w 325724"/>
                  <a:gd name="connsiteY4" fmla="*/ 159321 h 509828"/>
                  <a:gd name="connsiteX5" fmla="*/ 184814 w 325724"/>
                  <a:gd name="connsiteY5" fmla="*/ 10621 h 509828"/>
                  <a:gd name="connsiteX6" fmla="*/ 184814 w 325724"/>
                  <a:gd name="connsiteY6" fmla="*/ 10621 h 509828"/>
                  <a:gd name="connsiteX7" fmla="*/ 183397 w 325724"/>
                  <a:gd name="connsiteY7" fmla="*/ 12038 h 509828"/>
                  <a:gd name="connsiteX8" fmla="*/ 316519 w 325724"/>
                  <a:gd name="connsiteY8" fmla="*/ 159321 h 509828"/>
                  <a:gd name="connsiteX9" fmla="*/ 197559 w 325724"/>
                  <a:gd name="connsiteY9" fmla="*/ 187645 h 509828"/>
                  <a:gd name="connsiteX10" fmla="*/ 197559 w 325724"/>
                  <a:gd name="connsiteY10" fmla="*/ 187645 h 509828"/>
                  <a:gd name="connsiteX11" fmla="*/ 225883 w 325724"/>
                  <a:gd name="connsiteY11" fmla="*/ 211721 h 509828"/>
                  <a:gd name="connsiteX12" fmla="*/ 145160 w 325724"/>
                  <a:gd name="connsiteY12" fmla="*/ 254206 h 509828"/>
                  <a:gd name="connsiteX13" fmla="*/ 143744 w 325724"/>
                  <a:gd name="connsiteY13" fmla="*/ 254206 h 509828"/>
                  <a:gd name="connsiteX14" fmla="*/ 152241 w 325724"/>
                  <a:gd name="connsiteY14" fmla="*/ 252790 h 509828"/>
                  <a:gd name="connsiteX15" fmla="*/ 81431 w 325724"/>
                  <a:gd name="connsiteY15" fmla="*/ 378831 h 509828"/>
                  <a:gd name="connsiteX16" fmla="*/ 58772 w 325724"/>
                  <a:gd name="connsiteY16" fmla="*/ 400074 h 509828"/>
                  <a:gd name="connsiteX17" fmla="*/ 58772 w 325724"/>
                  <a:gd name="connsiteY17" fmla="*/ 400074 h 509828"/>
                  <a:gd name="connsiteX18" fmla="*/ 60188 w 325724"/>
                  <a:gd name="connsiteY18" fmla="*/ 401490 h 509828"/>
                  <a:gd name="connsiteX19" fmla="*/ 75767 w 325724"/>
                  <a:gd name="connsiteY19" fmla="*/ 390160 h 509828"/>
                  <a:gd name="connsiteX20" fmla="*/ 10621 w 325724"/>
                  <a:gd name="connsiteY20" fmla="*/ 504872 h 509828"/>
                  <a:gd name="connsiteX21" fmla="*/ 10621 w 325724"/>
                  <a:gd name="connsiteY21" fmla="*/ 504872 h 509828"/>
                  <a:gd name="connsiteX22" fmla="*/ 12038 w 325724"/>
                  <a:gd name="connsiteY22" fmla="*/ 506288 h 509828"/>
                  <a:gd name="connsiteX23" fmla="*/ 80015 w 325724"/>
                  <a:gd name="connsiteY23" fmla="*/ 387328 h 509828"/>
                  <a:gd name="connsiteX24" fmla="*/ 159322 w 325724"/>
                  <a:gd name="connsiteY24" fmla="*/ 327848 h 509828"/>
                  <a:gd name="connsiteX25" fmla="*/ 162154 w 325724"/>
                  <a:gd name="connsiteY25" fmla="*/ 351924 h 509828"/>
                  <a:gd name="connsiteX26" fmla="*/ 162154 w 325724"/>
                  <a:gd name="connsiteY26" fmla="*/ 351924 h 509828"/>
                  <a:gd name="connsiteX27" fmla="*/ 264120 w 325724"/>
                  <a:gd name="connsiteY27" fmla="*/ 249958 h 509828"/>
                  <a:gd name="connsiteX28" fmla="*/ 264120 w 325724"/>
                  <a:gd name="connsiteY28" fmla="*/ 249958 h 509828"/>
                  <a:gd name="connsiteX29" fmla="*/ 262704 w 325724"/>
                  <a:gd name="connsiteY29" fmla="*/ 248541 h 509828"/>
                  <a:gd name="connsiteX30" fmla="*/ 160738 w 325724"/>
                  <a:gd name="connsiteY30" fmla="*/ 325016 h 509828"/>
                  <a:gd name="connsiteX31" fmla="*/ 159322 w 325724"/>
                  <a:gd name="connsiteY31" fmla="*/ 312270 h 509828"/>
                  <a:gd name="connsiteX32" fmla="*/ 231548 w 325724"/>
                  <a:gd name="connsiteY32" fmla="*/ 247125 h 509828"/>
                  <a:gd name="connsiteX33" fmla="*/ 262704 w 325724"/>
                  <a:gd name="connsiteY33" fmla="*/ 244293 h 509828"/>
                  <a:gd name="connsiteX34" fmla="*/ 262704 w 325724"/>
                  <a:gd name="connsiteY34" fmla="*/ 244293 h 509828"/>
                  <a:gd name="connsiteX35" fmla="*/ 248542 w 325724"/>
                  <a:gd name="connsiteY35" fmla="*/ 231547 h 509828"/>
                  <a:gd name="connsiteX36" fmla="*/ 320768 w 325724"/>
                  <a:gd name="connsiteY36" fmla="*/ 166402 h 509828"/>
                  <a:gd name="connsiteX37" fmla="*/ 320768 w 325724"/>
                  <a:gd name="connsiteY37" fmla="*/ 166402 h 509828"/>
                  <a:gd name="connsiteX38" fmla="*/ 320768 w 325724"/>
                  <a:gd name="connsiteY38" fmla="*/ 162154 h 509828"/>
                  <a:gd name="connsiteX39" fmla="*/ 320768 w 325724"/>
                  <a:gd name="connsiteY39" fmla="*/ 162154 h 509828"/>
                  <a:gd name="connsiteX40" fmla="*/ 159322 w 325724"/>
                  <a:gd name="connsiteY40" fmla="*/ 308022 h 509828"/>
                  <a:gd name="connsiteX41" fmla="*/ 152241 w 325724"/>
                  <a:gd name="connsiteY41" fmla="*/ 252790 h 509828"/>
                  <a:gd name="connsiteX42" fmla="*/ 152241 w 325724"/>
                  <a:gd name="connsiteY42" fmla="*/ 252790 h 509828"/>
                  <a:gd name="connsiteX43" fmla="*/ 227299 w 325724"/>
                  <a:gd name="connsiteY43" fmla="*/ 245709 h 509828"/>
                  <a:gd name="connsiteX44" fmla="*/ 159322 w 325724"/>
                  <a:gd name="connsiteY44" fmla="*/ 308022 h 509828"/>
                  <a:gd name="connsiteX45" fmla="*/ 228715 w 325724"/>
                  <a:gd name="connsiteY45" fmla="*/ 211721 h 509828"/>
                  <a:gd name="connsiteX46" fmla="*/ 313687 w 325724"/>
                  <a:gd name="connsiteY46" fmla="*/ 167819 h 509828"/>
                  <a:gd name="connsiteX47" fmla="*/ 247126 w 325724"/>
                  <a:gd name="connsiteY47" fmla="*/ 227298 h 509828"/>
                  <a:gd name="connsiteX48" fmla="*/ 228715 w 325724"/>
                  <a:gd name="connsiteY48" fmla="*/ 211721 h 509828"/>
                  <a:gd name="connsiteX49" fmla="*/ 258455 w 325724"/>
                  <a:gd name="connsiteY49" fmla="*/ 240045 h 509828"/>
                  <a:gd name="connsiteX50" fmla="*/ 234380 w 325724"/>
                  <a:gd name="connsiteY50" fmla="*/ 242877 h 509828"/>
                  <a:gd name="connsiteX51" fmla="*/ 247126 w 325724"/>
                  <a:gd name="connsiteY51" fmla="*/ 231547 h 509828"/>
                  <a:gd name="connsiteX52" fmla="*/ 258455 w 325724"/>
                  <a:gd name="connsiteY52" fmla="*/ 240045 h 509828"/>
                  <a:gd name="connsiteX53" fmla="*/ 153657 w 325724"/>
                  <a:gd name="connsiteY53" fmla="*/ 251374 h 509828"/>
                  <a:gd name="connsiteX54" fmla="*/ 227299 w 325724"/>
                  <a:gd name="connsiteY54" fmla="*/ 213137 h 509828"/>
                  <a:gd name="connsiteX55" fmla="*/ 245710 w 325724"/>
                  <a:gd name="connsiteY55" fmla="*/ 230131 h 509828"/>
                  <a:gd name="connsiteX56" fmla="*/ 230131 w 325724"/>
                  <a:gd name="connsiteY56" fmla="*/ 244293 h 509828"/>
                  <a:gd name="connsiteX57" fmla="*/ 153657 w 325724"/>
                  <a:gd name="connsiteY57" fmla="*/ 251374 h 509828"/>
                  <a:gd name="connsiteX58" fmla="*/ 87096 w 325724"/>
                  <a:gd name="connsiteY58" fmla="*/ 374583 h 509828"/>
                  <a:gd name="connsiteX59" fmla="*/ 152241 w 325724"/>
                  <a:gd name="connsiteY59" fmla="*/ 259871 h 509828"/>
                  <a:gd name="connsiteX60" fmla="*/ 157906 w 325724"/>
                  <a:gd name="connsiteY60" fmla="*/ 310854 h 509828"/>
                  <a:gd name="connsiteX61" fmla="*/ 87096 w 325724"/>
                  <a:gd name="connsiteY61" fmla="*/ 374583 h 509828"/>
                  <a:gd name="connsiteX62" fmla="*/ 157906 w 325724"/>
                  <a:gd name="connsiteY62" fmla="*/ 312270 h 509828"/>
                  <a:gd name="connsiteX63" fmla="*/ 159322 w 325724"/>
                  <a:gd name="connsiteY63" fmla="*/ 325016 h 509828"/>
                  <a:gd name="connsiteX64" fmla="*/ 82848 w 325724"/>
                  <a:gd name="connsiteY64" fmla="*/ 381664 h 509828"/>
                  <a:gd name="connsiteX65" fmla="*/ 84264 w 325724"/>
                  <a:gd name="connsiteY65" fmla="*/ 380247 h 509828"/>
                  <a:gd name="connsiteX66" fmla="*/ 157906 w 325724"/>
                  <a:gd name="connsiteY66" fmla="*/ 312270 h 509828"/>
                  <a:gd name="connsiteX67" fmla="*/ 72934 w 325724"/>
                  <a:gd name="connsiteY67" fmla="*/ 388745 h 509828"/>
                  <a:gd name="connsiteX68" fmla="*/ 80015 w 325724"/>
                  <a:gd name="connsiteY68" fmla="*/ 383079 h 509828"/>
                  <a:gd name="connsiteX69" fmla="*/ 78599 w 325724"/>
                  <a:gd name="connsiteY69" fmla="*/ 384496 h 509828"/>
                  <a:gd name="connsiteX70" fmla="*/ 72934 w 325724"/>
                  <a:gd name="connsiteY70" fmla="*/ 388745 h 509828"/>
                  <a:gd name="connsiteX71" fmla="*/ 163571 w 325724"/>
                  <a:gd name="connsiteY71" fmla="*/ 346259 h 509828"/>
                  <a:gd name="connsiteX72" fmla="*/ 160738 w 325724"/>
                  <a:gd name="connsiteY72" fmla="*/ 325016 h 509828"/>
                  <a:gd name="connsiteX73" fmla="*/ 252791 w 325724"/>
                  <a:gd name="connsiteY73" fmla="*/ 257039 h 509828"/>
                  <a:gd name="connsiteX74" fmla="*/ 163571 w 325724"/>
                  <a:gd name="connsiteY74" fmla="*/ 346259 h 50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25724" h="509828">
                    <a:moveTo>
                      <a:pt x="320768" y="162154"/>
                    </a:moveTo>
                    <a:lnTo>
                      <a:pt x="227299" y="210304"/>
                    </a:lnTo>
                    <a:lnTo>
                      <a:pt x="200391" y="187645"/>
                    </a:lnTo>
                    <a:lnTo>
                      <a:pt x="319352" y="159321"/>
                    </a:lnTo>
                    <a:lnTo>
                      <a:pt x="319352" y="159321"/>
                    </a:lnTo>
                    <a:lnTo>
                      <a:pt x="184814" y="10621"/>
                    </a:lnTo>
                    <a:lnTo>
                      <a:pt x="184814" y="10621"/>
                    </a:lnTo>
                    <a:lnTo>
                      <a:pt x="183397" y="12038"/>
                    </a:lnTo>
                    <a:lnTo>
                      <a:pt x="316519" y="159321"/>
                    </a:lnTo>
                    <a:lnTo>
                      <a:pt x="197559" y="187645"/>
                    </a:lnTo>
                    <a:lnTo>
                      <a:pt x="197559" y="187645"/>
                    </a:lnTo>
                    <a:lnTo>
                      <a:pt x="225883" y="211721"/>
                    </a:lnTo>
                    <a:lnTo>
                      <a:pt x="145160" y="254206"/>
                    </a:lnTo>
                    <a:lnTo>
                      <a:pt x="143744" y="254206"/>
                    </a:lnTo>
                    <a:lnTo>
                      <a:pt x="152241" y="252790"/>
                    </a:lnTo>
                    <a:lnTo>
                      <a:pt x="81431" y="378831"/>
                    </a:lnTo>
                    <a:lnTo>
                      <a:pt x="58772" y="400074"/>
                    </a:lnTo>
                    <a:lnTo>
                      <a:pt x="58772" y="400074"/>
                    </a:lnTo>
                    <a:lnTo>
                      <a:pt x="60188" y="401490"/>
                    </a:lnTo>
                    <a:lnTo>
                      <a:pt x="75767" y="390160"/>
                    </a:lnTo>
                    <a:lnTo>
                      <a:pt x="10621" y="504872"/>
                    </a:lnTo>
                    <a:lnTo>
                      <a:pt x="10621" y="504872"/>
                    </a:lnTo>
                    <a:lnTo>
                      <a:pt x="12038" y="506288"/>
                    </a:lnTo>
                    <a:lnTo>
                      <a:pt x="80015" y="387328"/>
                    </a:lnTo>
                    <a:lnTo>
                      <a:pt x="159322" y="327848"/>
                    </a:lnTo>
                    <a:lnTo>
                      <a:pt x="162154" y="351924"/>
                    </a:lnTo>
                    <a:lnTo>
                      <a:pt x="162154" y="351924"/>
                    </a:lnTo>
                    <a:lnTo>
                      <a:pt x="264120" y="249958"/>
                    </a:lnTo>
                    <a:lnTo>
                      <a:pt x="264120" y="249958"/>
                    </a:lnTo>
                    <a:lnTo>
                      <a:pt x="262704" y="248541"/>
                    </a:lnTo>
                    <a:lnTo>
                      <a:pt x="160738" y="325016"/>
                    </a:lnTo>
                    <a:lnTo>
                      <a:pt x="159322" y="312270"/>
                    </a:lnTo>
                    <a:lnTo>
                      <a:pt x="231548" y="247125"/>
                    </a:lnTo>
                    <a:lnTo>
                      <a:pt x="262704" y="244293"/>
                    </a:lnTo>
                    <a:lnTo>
                      <a:pt x="262704" y="244293"/>
                    </a:lnTo>
                    <a:lnTo>
                      <a:pt x="248542" y="231547"/>
                    </a:lnTo>
                    <a:lnTo>
                      <a:pt x="320768" y="166402"/>
                    </a:lnTo>
                    <a:lnTo>
                      <a:pt x="320768" y="166402"/>
                    </a:lnTo>
                    <a:lnTo>
                      <a:pt x="320768" y="162154"/>
                    </a:lnTo>
                    <a:lnTo>
                      <a:pt x="320768" y="162154"/>
                    </a:lnTo>
                    <a:close/>
                    <a:moveTo>
                      <a:pt x="159322" y="308022"/>
                    </a:moveTo>
                    <a:lnTo>
                      <a:pt x="152241" y="252790"/>
                    </a:lnTo>
                    <a:lnTo>
                      <a:pt x="152241" y="252790"/>
                    </a:lnTo>
                    <a:lnTo>
                      <a:pt x="227299" y="245709"/>
                    </a:lnTo>
                    <a:lnTo>
                      <a:pt x="159322" y="308022"/>
                    </a:lnTo>
                    <a:close/>
                    <a:moveTo>
                      <a:pt x="228715" y="211721"/>
                    </a:moveTo>
                    <a:lnTo>
                      <a:pt x="313687" y="167819"/>
                    </a:lnTo>
                    <a:lnTo>
                      <a:pt x="247126" y="227298"/>
                    </a:lnTo>
                    <a:lnTo>
                      <a:pt x="228715" y="211721"/>
                    </a:lnTo>
                    <a:close/>
                    <a:moveTo>
                      <a:pt x="258455" y="240045"/>
                    </a:moveTo>
                    <a:lnTo>
                      <a:pt x="234380" y="242877"/>
                    </a:lnTo>
                    <a:lnTo>
                      <a:pt x="247126" y="231547"/>
                    </a:lnTo>
                    <a:lnTo>
                      <a:pt x="258455" y="240045"/>
                    </a:lnTo>
                    <a:close/>
                    <a:moveTo>
                      <a:pt x="153657" y="251374"/>
                    </a:moveTo>
                    <a:lnTo>
                      <a:pt x="227299" y="213137"/>
                    </a:lnTo>
                    <a:lnTo>
                      <a:pt x="245710" y="230131"/>
                    </a:lnTo>
                    <a:lnTo>
                      <a:pt x="230131" y="244293"/>
                    </a:lnTo>
                    <a:lnTo>
                      <a:pt x="153657" y="251374"/>
                    </a:lnTo>
                    <a:close/>
                    <a:moveTo>
                      <a:pt x="87096" y="374583"/>
                    </a:moveTo>
                    <a:lnTo>
                      <a:pt x="152241" y="259871"/>
                    </a:lnTo>
                    <a:lnTo>
                      <a:pt x="157906" y="310854"/>
                    </a:lnTo>
                    <a:lnTo>
                      <a:pt x="87096" y="374583"/>
                    </a:lnTo>
                    <a:close/>
                    <a:moveTo>
                      <a:pt x="157906" y="312270"/>
                    </a:moveTo>
                    <a:lnTo>
                      <a:pt x="159322" y="325016"/>
                    </a:lnTo>
                    <a:lnTo>
                      <a:pt x="82848" y="381664"/>
                    </a:lnTo>
                    <a:lnTo>
                      <a:pt x="84264" y="380247"/>
                    </a:lnTo>
                    <a:lnTo>
                      <a:pt x="157906" y="312270"/>
                    </a:lnTo>
                    <a:close/>
                    <a:moveTo>
                      <a:pt x="72934" y="388745"/>
                    </a:moveTo>
                    <a:lnTo>
                      <a:pt x="80015" y="383079"/>
                    </a:lnTo>
                    <a:lnTo>
                      <a:pt x="78599" y="384496"/>
                    </a:lnTo>
                    <a:lnTo>
                      <a:pt x="72934" y="388745"/>
                    </a:lnTo>
                    <a:close/>
                    <a:moveTo>
                      <a:pt x="163571" y="346259"/>
                    </a:moveTo>
                    <a:lnTo>
                      <a:pt x="160738" y="325016"/>
                    </a:lnTo>
                    <a:lnTo>
                      <a:pt x="252791" y="257039"/>
                    </a:lnTo>
                    <a:lnTo>
                      <a:pt x="163571" y="346259"/>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47" name="Freeform: Shape 946">
                <a:extLst>
                  <a:ext uri="{FF2B5EF4-FFF2-40B4-BE49-F238E27FC236}">
                    <a16:creationId xmlns:a16="http://schemas.microsoft.com/office/drawing/2014/main" id="{3F2E9BDB-71D4-4623-9D56-B7DAF4449EF7}"/>
                  </a:ext>
                </a:extLst>
              </p:cNvPr>
              <p:cNvSpPr/>
              <p:nvPr/>
            </p:nvSpPr>
            <p:spPr>
              <a:xfrm>
                <a:off x="9366694" y="3593986"/>
                <a:ext cx="198267" cy="382372"/>
              </a:xfrm>
              <a:custGeom>
                <a:avLst/>
                <a:gdLst>
                  <a:gd name="connsiteX0" fmla="*/ 186229 w 198266"/>
                  <a:gd name="connsiteY0" fmla="*/ 373166 h 382371"/>
                  <a:gd name="connsiteX1" fmla="*/ 186229 w 198266"/>
                  <a:gd name="connsiteY1" fmla="*/ 373166 h 382371"/>
                  <a:gd name="connsiteX2" fmla="*/ 187645 w 198266"/>
                  <a:gd name="connsiteY2" fmla="*/ 373166 h 382371"/>
                  <a:gd name="connsiteX3" fmla="*/ 174899 w 198266"/>
                  <a:gd name="connsiteY3" fmla="*/ 200391 h 382371"/>
                  <a:gd name="connsiteX4" fmla="*/ 174899 w 198266"/>
                  <a:gd name="connsiteY4" fmla="*/ 200391 h 382371"/>
                  <a:gd name="connsiteX5" fmla="*/ 139495 w 198266"/>
                  <a:gd name="connsiteY5" fmla="*/ 207472 h 382371"/>
                  <a:gd name="connsiteX6" fmla="*/ 81431 w 198266"/>
                  <a:gd name="connsiteY6" fmla="*/ 10621 h 382371"/>
                  <a:gd name="connsiteX7" fmla="*/ 81431 w 198266"/>
                  <a:gd name="connsiteY7" fmla="*/ 10621 h 382371"/>
                  <a:gd name="connsiteX8" fmla="*/ 80014 w 198266"/>
                  <a:gd name="connsiteY8" fmla="*/ 10621 h 382371"/>
                  <a:gd name="connsiteX9" fmla="*/ 138079 w 198266"/>
                  <a:gd name="connsiteY9" fmla="*/ 207472 h 382371"/>
                  <a:gd name="connsiteX10" fmla="*/ 111171 w 198266"/>
                  <a:gd name="connsiteY10" fmla="*/ 213137 h 382371"/>
                  <a:gd name="connsiteX11" fmla="*/ 55940 w 198266"/>
                  <a:gd name="connsiteY11" fmla="*/ 123917 h 382371"/>
                  <a:gd name="connsiteX12" fmla="*/ 77183 w 198266"/>
                  <a:gd name="connsiteY12" fmla="*/ 12038 h 382371"/>
                  <a:gd name="connsiteX13" fmla="*/ 77183 w 198266"/>
                  <a:gd name="connsiteY13" fmla="*/ 12038 h 382371"/>
                  <a:gd name="connsiteX14" fmla="*/ 75766 w 198266"/>
                  <a:gd name="connsiteY14" fmla="*/ 12038 h 382371"/>
                  <a:gd name="connsiteX15" fmla="*/ 54523 w 198266"/>
                  <a:gd name="connsiteY15" fmla="*/ 125333 h 382371"/>
                  <a:gd name="connsiteX16" fmla="*/ 54523 w 198266"/>
                  <a:gd name="connsiteY16" fmla="*/ 125333 h 382371"/>
                  <a:gd name="connsiteX17" fmla="*/ 109755 w 198266"/>
                  <a:gd name="connsiteY17" fmla="*/ 214553 h 382371"/>
                  <a:gd name="connsiteX18" fmla="*/ 10621 w 198266"/>
                  <a:gd name="connsiteY18" fmla="*/ 234380 h 382371"/>
                  <a:gd name="connsiteX19" fmla="*/ 150824 w 198266"/>
                  <a:gd name="connsiteY19" fmla="*/ 278282 h 382371"/>
                  <a:gd name="connsiteX20" fmla="*/ 150824 w 198266"/>
                  <a:gd name="connsiteY20" fmla="*/ 278282 h 382371"/>
                  <a:gd name="connsiteX21" fmla="*/ 112587 w 198266"/>
                  <a:gd name="connsiteY21" fmla="*/ 215969 h 382371"/>
                  <a:gd name="connsiteX22" fmla="*/ 138079 w 198266"/>
                  <a:gd name="connsiteY22" fmla="*/ 210304 h 382371"/>
                  <a:gd name="connsiteX23" fmla="*/ 186229 w 198266"/>
                  <a:gd name="connsiteY23" fmla="*/ 373166 h 382371"/>
                  <a:gd name="connsiteX24" fmla="*/ 17702 w 198266"/>
                  <a:gd name="connsiteY24" fmla="*/ 234380 h 382371"/>
                  <a:gd name="connsiteX25" fmla="*/ 109755 w 198266"/>
                  <a:gd name="connsiteY25" fmla="*/ 215969 h 382371"/>
                  <a:gd name="connsiteX26" fmla="*/ 145160 w 198266"/>
                  <a:gd name="connsiteY26" fmla="*/ 274033 h 382371"/>
                  <a:gd name="connsiteX27" fmla="*/ 17702 w 198266"/>
                  <a:gd name="connsiteY27" fmla="*/ 234380 h 382371"/>
                  <a:gd name="connsiteX28" fmla="*/ 140911 w 198266"/>
                  <a:gd name="connsiteY28" fmla="*/ 210304 h 382371"/>
                  <a:gd name="connsiteX29" fmla="*/ 174899 w 198266"/>
                  <a:gd name="connsiteY29" fmla="*/ 203223 h 382371"/>
                  <a:gd name="connsiteX30" fmla="*/ 186229 w 198266"/>
                  <a:gd name="connsiteY30" fmla="*/ 363253 h 382371"/>
                  <a:gd name="connsiteX31" fmla="*/ 140911 w 198266"/>
                  <a:gd name="connsiteY31" fmla="*/ 210304 h 38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8266" h="382371">
                    <a:moveTo>
                      <a:pt x="186229" y="373166"/>
                    </a:moveTo>
                    <a:lnTo>
                      <a:pt x="186229" y="373166"/>
                    </a:lnTo>
                    <a:lnTo>
                      <a:pt x="187645" y="373166"/>
                    </a:lnTo>
                    <a:lnTo>
                      <a:pt x="174899" y="200391"/>
                    </a:lnTo>
                    <a:lnTo>
                      <a:pt x="174899" y="200391"/>
                    </a:lnTo>
                    <a:lnTo>
                      <a:pt x="139495" y="207472"/>
                    </a:lnTo>
                    <a:lnTo>
                      <a:pt x="81431" y="10621"/>
                    </a:lnTo>
                    <a:lnTo>
                      <a:pt x="81431" y="10621"/>
                    </a:lnTo>
                    <a:lnTo>
                      <a:pt x="80014" y="10621"/>
                    </a:lnTo>
                    <a:lnTo>
                      <a:pt x="138079" y="207472"/>
                    </a:lnTo>
                    <a:lnTo>
                      <a:pt x="111171" y="213137"/>
                    </a:lnTo>
                    <a:lnTo>
                      <a:pt x="55940" y="123917"/>
                    </a:lnTo>
                    <a:lnTo>
                      <a:pt x="77183" y="12038"/>
                    </a:lnTo>
                    <a:lnTo>
                      <a:pt x="77183" y="12038"/>
                    </a:lnTo>
                    <a:lnTo>
                      <a:pt x="75766" y="12038"/>
                    </a:lnTo>
                    <a:lnTo>
                      <a:pt x="54523" y="125333"/>
                    </a:lnTo>
                    <a:lnTo>
                      <a:pt x="54523" y="125333"/>
                    </a:lnTo>
                    <a:lnTo>
                      <a:pt x="109755" y="214553"/>
                    </a:lnTo>
                    <a:lnTo>
                      <a:pt x="10621" y="234380"/>
                    </a:lnTo>
                    <a:lnTo>
                      <a:pt x="150824" y="278282"/>
                    </a:lnTo>
                    <a:lnTo>
                      <a:pt x="150824" y="278282"/>
                    </a:lnTo>
                    <a:lnTo>
                      <a:pt x="112587" y="215969"/>
                    </a:lnTo>
                    <a:lnTo>
                      <a:pt x="138079" y="210304"/>
                    </a:lnTo>
                    <a:lnTo>
                      <a:pt x="186229" y="373166"/>
                    </a:lnTo>
                    <a:close/>
                    <a:moveTo>
                      <a:pt x="17702" y="234380"/>
                    </a:moveTo>
                    <a:lnTo>
                      <a:pt x="109755" y="215969"/>
                    </a:lnTo>
                    <a:lnTo>
                      <a:pt x="145160" y="274033"/>
                    </a:lnTo>
                    <a:lnTo>
                      <a:pt x="17702" y="234380"/>
                    </a:lnTo>
                    <a:close/>
                    <a:moveTo>
                      <a:pt x="140911" y="210304"/>
                    </a:moveTo>
                    <a:lnTo>
                      <a:pt x="174899" y="203223"/>
                    </a:lnTo>
                    <a:lnTo>
                      <a:pt x="186229" y="363253"/>
                    </a:lnTo>
                    <a:lnTo>
                      <a:pt x="140911" y="210304"/>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48" name="Freeform: Shape 947">
                <a:extLst>
                  <a:ext uri="{FF2B5EF4-FFF2-40B4-BE49-F238E27FC236}">
                    <a16:creationId xmlns:a16="http://schemas.microsoft.com/office/drawing/2014/main" id="{9D1B5D35-28B1-4D24-ADC5-30FADC402041}"/>
                  </a:ext>
                </a:extLst>
              </p:cNvPr>
              <p:cNvSpPr/>
              <p:nvPr/>
            </p:nvSpPr>
            <p:spPr>
              <a:xfrm>
                <a:off x="5528816" y="567586"/>
                <a:ext cx="5806385" cy="4036144"/>
              </a:xfrm>
              <a:custGeom>
                <a:avLst/>
                <a:gdLst>
                  <a:gd name="connsiteX0" fmla="*/ 5707959 w 5806384"/>
                  <a:gd name="connsiteY0" fmla="*/ 799440 h 4036143"/>
                  <a:gd name="connsiteX1" fmla="*/ 5707959 w 5806384"/>
                  <a:gd name="connsiteY1" fmla="*/ 799440 h 4036143"/>
                  <a:gd name="connsiteX2" fmla="*/ 5491282 w 5806384"/>
                  <a:gd name="connsiteY2" fmla="*/ 1038776 h 4036143"/>
                  <a:gd name="connsiteX3" fmla="*/ 5413392 w 5806384"/>
                  <a:gd name="connsiteY3" fmla="*/ 945307 h 4036143"/>
                  <a:gd name="connsiteX4" fmla="*/ 5413392 w 5806384"/>
                  <a:gd name="connsiteY4" fmla="*/ 945307 h 4036143"/>
                  <a:gd name="connsiteX5" fmla="*/ 5358160 w 5806384"/>
                  <a:gd name="connsiteY5" fmla="*/ 1028863 h 4036143"/>
                  <a:gd name="connsiteX6" fmla="*/ 5274605 w 5806384"/>
                  <a:gd name="connsiteY6" fmla="*/ 980712 h 4036143"/>
                  <a:gd name="connsiteX7" fmla="*/ 5369489 w 5806384"/>
                  <a:gd name="connsiteY7" fmla="*/ 841925 h 4036143"/>
                  <a:gd name="connsiteX8" fmla="*/ 5557843 w 5806384"/>
                  <a:gd name="connsiteY8" fmla="*/ 822099 h 4036143"/>
                  <a:gd name="connsiteX9" fmla="*/ 5557843 w 5806384"/>
                  <a:gd name="connsiteY9" fmla="*/ 822099 h 4036143"/>
                  <a:gd name="connsiteX10" fmla="*/ 5471455 w 5806384"/>
                  <a:gd name="connsiteY10" fmla="*/ 690393 h 4036143"/>
                  <a:gd name="connsiteX11" fmla="*/ 5471455 w 5806384"/>
                  <a:gd name="connsiteY11" fmla="*/ 690393 h 4036143"/>
                  <a:gd name="connsiteX12" fmla="*/ 5368073 w 5806384"/>
                  <a:gd name="connsiteY12" fmla="*/ 840509 h 4036143"/>
                  <a:gd name="connsiteX13" fmla="*/ 5124488 w 5806384"/>
                  <a:gd name="connsiteY13" fmla="*/ 866001 h 4036143"/>
                  <a:gd name="connsiteX14" fmla="*/ 5189634 w 5806384"/>
                  <a:gd name="connsiteY14" fmla="*/ 820683 h 4036143"/>
                  <a:gd name="connsiteX15" fmla="*/ 4947464 w 5806384"/>
                  <a:gd name="connsiteY15" fmla="*/ 795191 h 4036143"/>
                  <a:gd name="connsiteX16" fmla="*/ 4732203 w 5806384"/>
                  <a:gd name="connsiteY16" fmla="*/ 673399 h 4036143"/>
                  <a:gd name="connsiteX17" fmla="*/ 4732203 w 5806384"/>
                  <a:gd name="connsiteY17" fmla="*/ 673399 h 4036143"/>
                  <a:gd name="connsiteX18" fmla="*/ 4652897 w 5806384"/>
                  <a:gd name="connsiteY18" fmla="*/ 800856 h 4036143"/>
                  <a:gd name="connsiteX19" fmla="*/ 4393734 w 5806384"/>
                  <a:gd name="connsiteY19" fmla="*/ 613919 h 4036143"/>
                  <a:gd name="connsiteX20" fmla="*/ 4393734 w 5806384"/>
                  <a:gd name="connsiteY20" fmla="*/ 613919 h 4036143"/>
                  <a:gd name="connsiteX21" fmla="*/ 4410728 w 5806384"/>
                  <a:gd name="connsiteY21" fmla="*/ 748457 h 4036143"/>
                  <a:gd name="connsiteX22" fmla="*/ 4273358 w 5806384"/>
                  <a:gd name="connsiteY22" fmla="*/ 611086 h 4036143"/>
                  <a:gd name="connsiteX23" fmla="*/ 4273358 w 5806384"/>
                  <a:gd name="connsiteY23" fmla="*/ 611086 h 4036143"/>
                  <a:gd name="connsiteX24" fmla="*/ 3893818 w 5806384"/>
                  <a:gd name="connsiteY24" fmla="*/ 545942 h 4036143"/>
                  <a:gd name="connsiteX25" fmla="*/ 3893818 w 5806384"/>
                  <a:gd name="connsiteY25" fmla="*/ 545942 h 4036143"/>
                  <a:gd name="connsiteX26" fmla="*/ 3593586 w 5806384"/>
                  <a:gd name="connsiteY26" fmla="*/ 928313 h 4036143"/>
                  <a:gd name="connsiteX27" fmla="*/ 3593586 w 5806384"/>
                  <a:gd name="connsiteY27" fmla="*/ 929729 h 4036143"/>
                  <a:gd name="connsiteX28" fmla="*/ 3960379 w 5806384"/>
                  <a:gd name="connsiteY28" fmla="*/ 720133 h 4036143"/>
                  <a:gd name="connsiteX29" fmla="*/ 4039686 w 5806384"/>
                  <a:gd name="connsiteY29" fmla="*/ 882995 h 4036143"/>
                  <a:gd name="connsiteX30" fmla="*/ 3978790 w 5806384"/>
                  <a:gd name="connsiteY30" fmla="*/ 921232 h 4036143"/>
                  <a:gd name="connsiteX31" fmla="*/ 3449134 w 5806384"/>
                  <a:gd name="connsiteY31" fmla="*/ 933978 h 4036143"/>
                  <a:gd name="connsiteX32" fmla="*/ 3174393 w 5806384"/>
                  <a:gd name="connsiteY32" fmla="*/ 623832 h 4036143"/>
                  <a:gd name="connsiteX33" fmla="*/ 3177225 w 5806384"/>
                  <a:gd name="connsiteY33" fmla="*/ 608254 h 4036143"/>
                  <a:gd name="connsiteX34" fmla="*/ 3454799 w 5806384"/>
                  <a:gd name="connsiteY34" fmla="*/ 734295 h 4036143"/>
                  <a:gd name="connsiteX35" fmla="*/ 3454799 w 5806384"/>
                  <a:gd name="connsiteY35" fmla="*/ 734295 h 4036143"/>
                  <a:gd name="connsiteX36" fmla="*/ 3529857 w 5806384"/>
                  <a:gd name="connsiteY36" fmla="*/ 350507 h 4036143"/>
                  <a:gd name="connsiteX37" fmla="*/ 3529857 w 5806384"/>
                  <a:gd name="connsiteY37" fmla="*/ 350507 h 4036143"/>
                  <a:gd name="connsiteX38" fmla="*/ 3402400 w 5806384"/>
                  <a:gd name="connsiteY38" fmla="*/ 91344 h 4036143"/>
                  <a:gd name="connsiteX39" fmla="*/ 3402400 w 5806384"/>
                  <a:gd name="connsiteY39" fmla="*/ 91344 h 4036143"/>
                  <a:gd name="connsiteX40" fmla="*/ 3146069 w 5806384"/>
                  <a:gd name="connsiteY40" fmla="*/ 10621 h 4036143"/>
                  <a:gd name="connsiteX41" fmla="*/ 3146069 w 5806384"/>
                  <a:gd name="connsiteY41" fmla="*/ 10621 h 4036143"/>
                  <a:gd name="connsiteX42" fmla="*/ 3229624 w 5806384"/>
                  <a:gd name="connsiteY42" fmla="*/ 139495 h 4036143"/>
                  <a:gd name="connsiteX43" fmla="*/ 3310347 w 5806384"/>
                  <a:gd name="connsiteY43" fmla="*/ 340594 h 4036143"/>
                  <a:gd name="connsiteX44" fmla="*/ 3214047 w 5806384"/>
                  <a:gd name="connsiteY44" fmla="*/ 401490 h 4036143"/>
                  <a:gd name="connsiteX45" fmla="*/ 3219711 w 5806384"/>
                  <a:gd name="connsiteY45" fmla="*/ 367502 h 4036143"/>
                  <a:gd name="connsiteX46" fmla="*/ 3219711 w 5806384"/>
                  <a:gd name="connsiteY46" fmla="*/ 367502 h 4036143"/>
                  <a:gd name="connsiteX47" fmla="*/ 3048352 w 5806384"/>
                  <a:gd name="connsiteY47" fmla="*/ 456722 h 4036143"/>
                  <a:gd name="connsiteX48" fmla="*/ 2974710 w 5806384"/>
                  <a:gd name="connsiteY48" fmla="*/ 347675 h 4036143"/>
                  <a:gd name="connsiteX49" fmla="*/ 2974710 w 5806384"/>
                  <a:gd name="connsiteY49" fmla="*/ 347675 h 4036143"/>
                  <a:gd name="connsiteX50" fmla="*/ 2902485 w 5806384"/>
                  <a:gd name="connsiteY50" fmla="*/ 537444 h 4036143"/>
                  <a:gd name="connsiteX51" fmla="*/ 2902485 w 5806384"/>
                  <a:gd name="connsiteY51" fmla="*/ 537444 h 4036143"/>
                  <a:gd name="connsiteX52" fmla="*/ 3049768 w 5806384"/>
                  <a:gd name="connsiteY52" fmla="*/ 459554 h 4036143"/>
                  <a:gd name="connsiteX53" fmla="*/ 3071011 w 5806384"/>
                  <a:gd name="connsiteY53" fmla="*/ 492126 h 4036143"/>
                  <a:gd name="connsiteX54" fmla="*/ 2820345 w 5806384"/>
                  <a:gd name="connsiteY54" fmla="*/ 650740 h 4036143"/>
                  <a:gd name="connsiteX55" fmla="*/ 2801934 w 5806384"/>
                  <a:gd name="connsiteY55" fmla="*/ 625248 h 4036143"/>
                  <a:gd name="connsiteX56" fmla="*/ 2801934 w 5806384"/>
                  <a:gd name="connsiteY56" fmla="*/ 625248 h 4036143"/>
                  <a:gd name="connsiteX57" fmla="*/ 2521529 w 5806384"/>
                  <a:gd name="connsiteY57" fmla="*/ 840509 h 4036143"/>
                  <a:gd name="connsiteX58" fmla="*/ 2521529 w 5806384"/>
                  <a:gd name="connsiteY58" fmla="*/ 840509 h 4036143"/>
                  <a:gd name="connsiteX59" fmla="*/ 2522945 w 5806384"/>
                  <a:gd name="connsiteY59" fmla="*/ 841925 h 4036143"/>
                  <a:gd name="connsiteX60" fmla="*/ 2522945 w 5806384"/>
                  <a:gd name="connsiteY60" fmla="*/ 841925 h 4036143"/>
                  <a:gd name="connsiteX61" fmla="*/ 2820345 w 5806384"/>
                  <a:gd name="connsiteY61" fmla="*/ 653572 h 4036143"/>
                  <a:gd name="connsiteX62" fmla="*/ 2991704 w 5806384"/>
                  <a:gd name="connsiteY62" fmla="*/ 894324 h 4036143"/>
                  <a:gd name="connsiteX63" fmla="*/ 2743871 w 5806384"/>
                  <a:gd name="connsiteY63" fmla="*/ 945307 h 4036143"/>
                  <a:gd name="connsiteX64" fmla="*/ 2539939 w 5806384"/>
                  <a:gd name="connsiteY64" fmla="*/ 908486 h 4036143"/>
                  <a:gd name="connsiteX65" fmla="*/ 2129244 w 5806384"/>
                  <a:gd name="connsiteY65" fmla="*/ 690393 h 4036143"/>
                  <a:gd name="connsiteX66" fmla="*/ 2129244 w 5806384"/>
                  <a:gd name="connsiteY66" fmla="*/ 690393 h 4036143"/>
                  <a:gd name="connsiteX67" fmla="*/ 1921064 w 5806384"/>
                  <a:gd name="connsiteY67" fmla="*/ 796607 h 4036143"/>
                  <a:gd name="connsiteX68" fmla="*/ 1921064 w 5806384"/>
                  <a:gd name="connsiteY68" fmla="*/ 796607 h 4036143"/>
                  <a:gd name="connsiteX69" fmla="*/ 2539939 w 5806384"/>
                  <a:gd name="connsiteY69" fmla="*/ 909903 h 4036143"/>
                  <a:gd name="connsiteX70" fmla="*/ 3069595 w 5806384"/>
                  <a:gd name="connsiteY70" fmla="*/ 1191725 h 4036143"/>
                  <a:gd name="connsiteX71" fmla="*/ 3068178 w 5806384"/>
                  <a:gd name="connsiteY71" fmla="*/ 1195973 h 4036143"/>
                  <a:gd name="connsiteX72" fmla="*/ 3046935 w 5806384"/>
                  <a:gd name="connsiteY72" fmla="*/ 1180395 h 4036143"/>
                  <a:gd name="connsiteX73" fmla="*/ 3046935 w 5806384"/>
                  <a:gd name="connsiteY73" fmla="*/ 1180395 h 4036143"/>
                  <a:gd name="connsiteX74" fmla="*/ 2548436 w 5806384"/>
                  <a:gd name="connsiteY74" fmla="*/ 1388575 h 4036143"/>
                  <a:gd name="connsiteX75" fmla="*/ 2415314 w 5806384"/>
                  <a:gd name="connsiteY75" fmla="*/ 1398488 h 4036143"/>
                  <a:gd name="connsiteX76" fmla="*/ 2231209 w 5806384"/>
                  <a:gd name="connsiteY76" fmla="*/ 1225713 h 4036143"/>
                  <a:gd name="connsiteX77" fmla="*/ 2231209 w 5806384"/>
                  <a:gd name="connsiteY77" fmla="*/ 1225713 h 4036143"/>
                  <a:gd name="connsiteX78" fmla="*/ 2236874 w 5806384"/>
                  <a:gd name="connsiteY78" fmla="*/ 1414067 h 4036143"/>
                  <a:gd name="connsiteX79" fmla="*/ 2115082 w 5806384"/>
                  <a:gd name="connsiteY79" fmla="*/ 1423980 h 4036143"/>
                  <a:gd name="connsiteX80" fmla="*/ 2004619 w 5806384"/>
                  <a:gd name="connsiteY80" fmla="*/ 1286609 h 4036143"/>
                  <a:gd name="connsiteX81" fmla="*/ 2265198 w 5806384"/>
                  <a:gd name="connsiteY81" fmla="*/ 1167649 h 4036143"/>
                  <a:gd name="connsiteX82" fmla="*/ 2266614 w 5806384"/>
                  <a:gd name="connsiteY82" fmla="*/ 1167649 h 4036143"/>
                  <a:gd name="connsiteX83" fmla="*/ 2024445 w 5806384"/>
                  <a:gd name="connsiteY83" fmla="*/ 1154904 h 4036143"/>
                  <a:gd name="connsiteX84" fmla="*/ 2024445 w 5806384"/>
                  <a:gd name="connsiteY84" fmla="*/ 1154904 h 4036143"/>
                  <a:gd name="connsiteX85" fmla="*/ 1962133 w 5806384"/>
                  <a:gd name="connsiteY85" fmla="*/ 1232794 h 4036143"/>
                  <a:gd name="connsiteX86" fmla="*/ 1923896 w 5806384"/>
                  <a:gd name="connsiteY86" fmla="*/ 1186060 h 4036143"/>
                  <a:gd name="connsiteX87" fmla="*/ 2103752 w 5806384"/>
                  <a:gd name="connsiteY87" fmla="*/ 907070 h 4036143"/>
                  <a:gd name="connsiteX88" fmla="*/ 2103752 w 5806384"/>
                  <a:gd name="connsiteY88" fmla="*/ 907070 h 4036143"/>
                  <a:gd name="connsiteX89" fmla="*/ 1813433 w 5806384"/>
                  <a:gd name="connsiteY89" fmla="*/ 1050106 h 4036143"/>
                  <a:gd name="connsiteX90" fmla="*/ 1766699 w 5806384"/>
                  <a:gd name="connsiteY90" fmla="*/ 990626 h 4036143"/>
                  <a:gd name="connsiteX91" fmla="*/ 1766699 w 5806384"/>
                  <a:gd name="connsiteY91" fmla="*/ 990626 h 4036143"/>
                  <a:gd name="connsiteX92" fmla="*/ 1751121 w 5806384"/>
                  <a:gd name="connsiteY92" fmla="*/ 1081262 h 4036143"/>
                  <a:gd name="connsiteX93" fmla="*/ 1589675 w 5806384"/>
                  <a:gd name="connsiteY93" fmla="*/ 1161985 h 4036143"/>
                  <a:gd name="connsiteX94" fmla="*/ 1710051 w 5806384"/>
                  <a:gd name="connsiteY94" fmla="*/ 898573 h 4036143"/>
                  <a:gd name="connsiteX95" fmla="*/ 1768115 w 5806384"/>
                  <a:gd name="connsiteY95" fmla="*/ 979296 h 4036143"/>
                  <a:gd name="connsiteX96" fmla="*/ 1768115 w 5806384"/>
                  <a:gd name="connsiteY96" fmla="*/ 979296 h 4036143"/>
                  <a:gd name="connsiteX97" fmla="*/ 1756785 w 5806384"/>
                  <a:gd name="connsiteY97" fmla="*/ 792359 h 4036143"/>
                  <a:gd name="connsiteX98" fmla="*/ 1756785 w 5806384"/>
                  <a:gd name="connsiteY98" fmla="*/ 790943 h 4036143"/>
                  <a:gd name="connsiteX99" fmla="*/ 1710051 w 5806384"/>
                  <a:gd name="connsiteY99" fmla="*/ 894324 h 4036143"/>
                  <a:gd name="connsiteX100" fmla="*/ 1626496 w 5806384"/>
                  <a:gd name="connsiteY100" fmla="*/ 776781 h 4036143"/>
                  <a:gd name="connsiteX101" fmla="*/ 1626496 w 5806384"/>
                  <a:gd name="connsiteY101" fmla="*/ 776781 h 4036143"/>
                  <a:gd name="connsiteX102" fmla="*/ 1507536 w 5806384"/>
                  <a:gd name="connsiteY102" fmla="*/ 949556 h 4036143"/>
                  <a:gd name="connsiteX103" fmla="*/ 1282361 w 5806384"/>
                  <a:gd name="connsiteY103" fmla="*/ 1034527 h 4036143"/>
                  <a:gd name="connsiteX104" fmla="*/ 1273864 w 5806384"/>
                  <a:gd name="connsiteY104" fmla="*/ 1030279 h 4036143"/>
                  <a:gd name="connsiteX105" fmla="*/ 1152071 w 5806384"/>
                  <a:gd name="connsiteY105" fmla="*/ 830596 h 4036143"/>
                  <a:gd name="connsiteX106" fmla="*/ 1152071 w 5806384"/>
                  <a:gd name="connsiteY106" fmla="*/ 830596 h 4036143"/>
                  <a:gd name="connsiteX107" fmla="*/ 1112418 w 5806384"/>
                  <a:gd name="connsiteY107" fmla="*/ 943891 h 4036143"/>
                  <a:gd name="connsiteX108" fmla="*/ 1094008 w 5806384"/>
                  <a:gd name="connsiteY108" fmla="*/ 933978 h 4036143"/>
                  <a:gd name="connsiteX109" fmla="*/ 1064268 w 5806384"/>
                  <a:gd name="connsiteY109" fmla="*/ 881579 h 4036143"/>
                  <a:gd name="connsiteX110" fmla="*/ 1106754 w 5806384"/>
                  <a:gd name="connsiteY110" fmla="*/ 816434 h 4036143"/>
                  <a:gd name="connsiteX111" fmla="*/ 1432478 w 5806384"/>
                  <a:gd name="connsiteY111" fmla="*/ 841925 h 4036143"/>
                  <a:gd name="connsiteX112" fmla="*/ 1432478 w 5806384"/>
                  <a:gd name="connsiteY112" fmla="*/ 841925 h 4036143"/>
                  <a:gd name="connsiteX113" fmla="*/ 1432478 w 5806384"/>
                  <a:gd name="connsiteY113" fmla="*/ 840509 h 4036143"/>
                  <a:gd name="connsiteX114" fmla="*/ 1181812 w 5806384"/>
                  <a:gd name="connsiteY114" fmla="*/ 783862 h 4036143"/>
                  <a:gd name="connsiteX115" fmla="*/ 1357419 w 5806384"/>
                  <a:gd name="connsiteY115" fmla="*/ 717301 h 4036143"/>
                  <a:gd name="connsiteX116" fmla="*/ 1358835 w 5806384"/>
                  <a:gd name="connsiteY116" fmla="*/ 717301 h 4036143"/>
                  <a:gd name="connsiteX117" fmla="*/ 1136494 w 5806384"/>
                  <a:gd name="connsiteY117" fmla="*/ 739960 h 4036143"/>
                  <a:gd name="connsiteX118" fmla="*/ 1116667 w 5806384"/>
                  <a:gd name="connsiteY118" fmla="*/ 615335 h 4036143"/>
                  <a:gd name="connsiteX119" fmla="*/ 1116667 w 5806384"/>
                  <a:gd name="connsiteY119" fmla="*/ 615335 h 4036143"/>
                  <a:gd name="connsiteX120" fmla="*/ 1023198 w 5806384"/>
                  <a:gd name="connsiteY120" fmla="*/ 713052 h 4036143"/>
                  <a:gd name="connsiteX121" fmla="*/ 952389 w 5806384"/>
                  <a:gd name="connsiteY121" fmla="*/ 670566 h 4036143"/>
                  <a:gd name="connsiteX122" fmla="*/ 1109586 w 5806384"/>
                  <a:gd name="connsiteY122" fmla="*/ 613919 h 4036143"/>
                  <a:gd name="connsiteX123" fmla="*/ 1109586 w 5806384"/>
                  <a:gd name="connsiteY123" fmla="*/ 613919 h 4036143"/>
                  <a:gd name="connsiteX124" fmla="*/ 1109586 w 5806384"/>
                  <a:gd name="connsiteY124" fmla="*/ 612503 h 4036143"/>
                  <a:gd name="connsiteX125" fmla="*/ 949556 w 5806384"/>
                  <a:gd name="connsiteY125" fmla="*/ 670566 h 4036143"/>
                  <a:gd name="connsiteX126" fmla="*/ 949556 w 5806384"/>
                  <a:gd name="connsiteY126" fmla="*/ 670566 h 4036143"/>
                  <a:gd name="connsiteX127" fmla="*/ 1023198 w 5806384"/>
                  <a:gd name="connsiteY127" fmla="*/ 714468 h 4036143"/>
                  <a:gd name="connsiteX128" fmla="*/ 990626 w 5806384"/>
                  <a:gd name="connsiteY128" fmla="*/ 748457 h 4036143"/>
                  <a:gd name="connsiteX129" fmla="*/ 953805 w 5806384"/>
                  <a:gd name="connsiteY129" fmla="*/ 683312 h 4036143"/>
                  <a:gd name="connsiteX130" fmla="*/ 953805 w 5806384"/>
                  <a:gd name="connsiteY130" fmla="*/ 683312 h 4036143"/>
                  <a:gd name="connsiteX131" fmla="*/ 766868 w 5806384"/>
                  <a:gd name="connsiteY131" fmla="*/ 870249 h 4036143"/>
                  <a:gd name="connsiteX132" fmla="*/ 751289 w 5806384"/>
                  <a:gd name="connsiteY132" fmla="*/ 857504 h 4036143"/>
                  <a:gd name="connsiteX133" fmla="*/ 751289 w 5806384"/>
                  <a:gd name="connsiteY133" fmla="*/ 857504 h 4036143"/>
                  <a:gd name="connsiteX134" fmla="*/ 752706 w 5806384"/>
                  <a:gd name="connsiteY134" fmla="*/ 885827 h 4036143"/>
                  <a:gd name="connsiteX135" fmla="*/ 619584 w 5806384"/>
                  <a:gd name="connsiteY135" fmla="*/ 1018949 h 4036143"/>
                  <a:gd name="connsiteX136" fmla="*/ 438311 w 5806384"/>
                  <a:gd name="connsiteY136" fmla="*/ 1105337 h 4036143"/>
                  <a:gd name="connsiteX137" fmla="*/ 438311 w 5806384"/>
                  <a:gd name="connsiteY137" fmla="*/ 1105337 h 4036143"/>
                  <a:gd name="connsiteX138" fmla="*/ 555855 w 5806384"/>
                  <a:gd name="connsiteY138" fmla="*/ 1198806 h 4036143"/>
                  <a:gd name="connsiteX139" fmla="*/ 451057 w 5806384"/>
                  <a:gd name="connsiteY139" fmla="*/ 1275280 h 4036143"/>
                  <a:gd name="connsiteX140" fmla="*/ 451057 w 5806384"/>
                  <a:gd name="connsiteY140" fmla="*/ 1275280 h 4036143"/>
                  <a:gd name="connsiteX141" fmla="*/ 452473 w 5806384"/>
                  <a:gd name="connsiteY141" fmla="*/ 1276696 h 4036143"/>
                  <a:gd name="connsiteX142" fmla="*/ 574265 w 5806384"/>
                  <a:gd name="connsiteY142" fmla="*/ 1212967 h 4036143"/>
                  <a:gd name="connsiteX143" fmla="*/ 575682 w 5806384"/>
                  <a:gd name="connsiteY143" fmla="*/ 1212967 h 4036143"/>
                  <a:gd name="connsiteX144" fmla="*/ 570017 w 5806384"/>
                  <a:gd name="connsiteY144" fmla="*/ 1229962 h 4036143"/>
                  <a:gd name="connsiteX145" fmla="*/ 570017 w 5806384"/>
                  <a:gd name="connsiteY145" fmla="*/ 1229962 h 4036143"/>
                  <a:gd name="connsiteX146" fmla="*/ 571433 w 5806384"/>
                  <a:gd name="connsiteY146" fmla="*/ 1229962 h 4036143"/>
                  <a:gd name="connsiteX147" fmla="*/ 571433 w 5806384"/>
                  <a:gd name="connsiteY147" fmla="*/ 1229962 h 4036143"/>
                  <a:gd name="connsiteX148" fmla="*/ 578514 w 5806384"/>
                  <a:gd name="connsiteY148" fmla="*/ 1214384 h 4036143"/>
                  <a:gd name="connsiteX149" fmla="*/ 693225 w 5806384"/>
                  <a:gd name="connsiteY149" fmla="*/ 1305020 h 4036143"/>
                  <a:gd name="connsiteX150" fmla="*/ 681896 w 5806384"/>
                  <a:gd name="connsiteY150" fmla="*/ 1152071 h 4036143"/>
                  <a:gd name="connsiteX151" fmla="*/ 681896 w 5806384"/>
                  <a:gd name="connsiteY151" fmla="*/ 1152071 h 4036143"/>
                  <a:gd name="connsiteX152" fmla="*/ 584179 w 5806384"/>
                  <a:gd name="connsiteY152" fmla="*/ 1203054 h 4036143"/>
                  <a:gd name="connsiteX153" fmla="*/ 602589 w 5806384"/>
                  <a:gd name="connsiteY153" fmla="*/ 1166233 h 4036143"/>
                  <a:gd name="connsiteX154" fmla="*/ 684728 w 5806384"/>
                  <a:gd name="connsiteY154" fmla="*/ 1106753 h 4036143"/>
                  <a:gd name="connsiteX155" fmla="*/ 772532 w 5806384"/>
                  <a:gd name="connsiteY155" fmla="*/ 1091175 h 4036143"/>
                  <a:gd name="connsiteX156" fmla="*/ 772532 w 5806384"/>
                  <a:gd name="connsiteY156" fmla="*/ 1091175 h 4036143"/>
                  <a:gd name="connsiteX157" fmla="*/ 769700 w 5806384"/>
                  <a:gd name="connsiteY157" fmla="*/ 1045857 h 4036143"/>
                  <a:gd name="connsiteX158" fmla="*/ 884411 w 5806384"/>
                  <a:gd name="connsiteY158" fmla="*/ 963718 h 4036143"/>
                  <a:gd name="connsiteX159" fmla="*/ 884411 w 5806384"/>
                  <a:gd name="connsiteY159" fmla="*/ 963718 h 4036143"/>
                  <a:gd name="connsiteX160" fmla="*/ 832012 w 5806384"/>
                  <a:gd name="connsiteY160" fmla="*/ 921232 h 4036143"/>
                  <a:gd name="connsiteX161" fmla="*/ 993458 w 5806384"/>
                  <a:gd name="connsiteY161" fmla="*/ 751289 h 4036143"/>
                  <a:gd name="connsiteX162" fmla="*/ 1026030 w 5806384"/>
                  <a:gd name="connsiteY162" fmla="*/ 807937 h 4036143"/>
                  <a:gd name="connsiteX163" fmla="*/ 979296 w 5806384"/>
                  <a:gd name="connsiteY163" fmla="*/ 803688 h 4036143"/>
                  <a:gd name="connsiteX164" fmla="*/ 979296 w 5806384"/>
                  <a:gd name="connsiteY164" fmla="*/ 803688 h 4036143"/>
                  <a:gd name="connsiteX165" fmla="*/ 1030279 w 5806384"/>
                  <a:gd name="connsiteY165" fmla="*/ 898573 h 4036143"/>
                  <a:gd name="connsiteX166" fmla="*/ 1030279 w 5806384"/>
                  <a:gd name="connsiteY166" fmla="*/ 898573 h 4036143"/>
                  <a:gd name="connsiteX167" fmla="*/ 1050106 w 5806384"/>
                  <a:gd name="connsiteY167" fmla="*/ 909903 h 4036143"/>
                  <a:gd name="connsiteX168" fmla="*/ 949556 w 5806384"/>
                  <a:gd name="connsiteY168" fmla="*/ 1065684 h 4036143"/>
                  <a:gd name="connsiteX169" fmla="*/ 949556 w 5806384"/>
                  <a:gd name="connsiteY169" fmla="*/ 1065684 h 4036143"/>
                  <a:gd name="connsiteX170" fmla="*/ 1052938 w 5806384"/>
                  <a:gd name="connsiteY170" fmla="*/ 1140742 h 4036143"/>
                  <a:gd name="connsiteX171" fmla="*/ 1052938 w 5806384"/>
                  <a:gd name="connsiteY171" fmla="*/ 1140742 h 4036143"/>
                  <a:gd name="connsiteX172" fmla="*/ 1113834 w 5806384"/>
                  <a:gd name="connsiteY172" fmla="*/ 963718 h 4036143"/>
                  <a:gd name="connsiteX173" fmla="*/ 1136494 w 5806384"/>
                  <a:gd name="connsiteY173" fmla="*/ 1003371 h 4036143"/>
                  <a:gd name="connsiteX174" fmla="*/ 1177563 w 5806384"/>
                  <a:gd name="connsiteY174" fmla="*/ 1469298 h 4036143"/>
                  <a:gd name="connsiteX175" fmla="*/ 1164817 w 5806384"/>
                  <a:gd name="connsiteY175" fmla="*/ 1514616 h 4036143"/>
                  <a:gd name="connsiteX176" fmla="*/ 1164817 w 5806384"/>
                  <a:gd name="connsiteY176" fmla="*/ 1514616 h 4036143"/>
                  <a:gd name="connsiteX177" fmla="*/ 1181812 w 5806384"/>
                  <a:gd name="connsiteY177" fmla="*/ 1523113 h 4036143"/>
                  <a:gd name="connsiteX178" fmla="*/ 1186060 w 5806384"/>
                  <a:gd name="connsiteY178" fmla="*/ 1565599 h 4036143"/>
                  <a:gd name="connsiteX179" fmla="*/ 898573 w 5806384"/>
                  <a:gd name="connsiteY179" fmla="*/ 1559934 h 4036143"/>
                  <a:gd name="connsiteX180" fmla="*/ 916984 w 5806384"/>
                  <a:gd name="connsiteY180" fmla="*/ 1494789 h 4036143"/>
                  <a:gd name="connsiteX181" fmla="*/ 916984 w 5806384"/>
                  <a:gd name="connsiteY181" fmla="*/ 1494789 h 4036143"/>
                  <a:gd name="connsiteX182" fmla="*/ 705971 w 5806384"/>
                  <a:gd name="connsiteY182" fmla="*/ 1548605 h 4036143"/>
                  <a:gd name="connsiteX183" fmla="*/ 705971 w 5806384"/>
                  <a:gd name="connsiteY183" fmla="*/ 1548605 h 4036143"/>
                  <a:gd name="connsiteX184" fmla="*/ 881579 w 5806384"/>
                  <a:gd name="connsiteY184" fmla="*/ 1803519 h 4036143"/>
                  <a:gd name="connsiteX185" fmla="*/ 854671 w 5806384"/>
                  <a:gd name="connsiteY185" fmla="*/ 1807768 h 4036143"/>
                  <a:gd name="connsiteX186" fmla="*/ 659237 w 5806384"/>
                  <a:gd name="connsiteY186" fmla="*/ 1514616 h 4036143"/>
                  <a:gd name="connsiteX187" fmla="*/ 659237 w 5806384"/>
                  <a:gd name="connsiteY187" fmla="*/ 1514616 h 4036143"/>
                  <a:gd name="connsiteX188" fmla="*/ 494959 w 5806384"/>
                  <a:gd name="connsiteY188" fmla="*/ 1646322 h 4036143"/>
                  <a:gd name="connsiteX189" fmla="*/ 470884 w 5806384"/>
                  <a:gd name="connsiteY189" fmla="*/ 1622247 h 4036143"/>
                  <a:gd name="connsiteX190" fmla="*/ 470884 w 5806384"/>
                  <a:gd name="connsiteY190" fmla="*/ 1541524 h 4036143"/>
                  <a:gd name="connsiteX191" fmla="*/ 470884 w 5806384"/>
                  <a:gd name="connsiteY191" fmla="*/ 1541524 h 4036143"/>
                  <a:gd name="connsiteX192" fmla="*/ 242877 w 5806384"/>
                  <a:gd name="connsiteY192" fmla="*/ 1728461 h 4036143"/>
                  <a:gd name="connsiteX193" fmla="*/ 242877 w 5806384"/>
                  <a:gd name="connsiteY193" fmla="*/ 1728461 h 4036143"/>
                  <a:gd name="connsiteX194" fmla="*/ 265536 w 5806384"/>
                  <a:gd name="connsiteY194" fmla="*/ 1779444 h 4036143"/>
                  <a:gd name="connsiteX195" fmla="*/ 139495 w 5806384"/>
                  <a:gd name="connsiteY195" fmla="*/ 1782276 h 4036143"/>
                  <a:gd name="connsiteX196" fmla="*/ 138079 w 5806384"/>
                  <a:gd name="connsiteY196" fmla="*/ 1782276 h 4036143"/>
                  <a:gd name="connsiteX197" fmla="*/ 378831 w 5806384"/>
                  <a:gd name="connsiteY197" fmla="*/ 1906901 h 4036143"/>
                  <a:gd name="connsiteX198" fmla="*/ 72934 w 5806384"/>
                  <a:gd name="connsiteY198" fmla="*/ 1981959 h 4036143"/>
                  <a:gd name="connsiteX199" fmla="*/ 17702 w 5806384"/>
                  <a:gd name="connsiteY199" fmla="*/ 1986208 h 4036143"/>
                  <a:gd name="connsiteX200" fmla="*/ 17702 w 5806384"/>
                  <a:gd name="connsiteY200" fmla="*/ 1986208 h 4036143"/>
                  <a:gd name="connsiteX201" fmla="*/ 55939 w 5806384"/>
                  <a:gd name="connsiteY201" fmla="*/ 2205717 h 4036143"/>
                  <a:gd name="connsiteX202" fmla="*/ 55939 w 5806384"/>
                  <a:gd name="connsiteY202" fmla="*/ 2205717 h 4036143"/>
                  <a:gd name="connsiteX203" fmla="*/ 95593 w 5806384"/>
                  <a:gd name="connsiteY203" fmla="*/ 2174561 h 4036143"/>
                  <a:gd name="connsiteX204" fmla="*/ 64437 w 5806384"/>
                  <a:gd name="connsiteY204" fmla="*/ 2217047 h 4036143"/>
                  <a:gd name="connsiteX205" fmla="*/ 64437 w 5806384"/>
                  <a:gd name="connsiteY205" fmla="*/ 2217047 h 4036143"/>
                  <a:gd name="connsiteX206" fmla="*/ 140911 w 5806384"/>
                  <a:gd name="connsiteY206" fmla="*/ 2215631 h 4036143"/>
                  <a:gd name="connsiteX207" fmla="*/ 140911 w 5806384"/>
                  <a:gd name="connsiteY207" fmla="*/ 2215631 h 4036143"/>
                  <a:gd name="connsiteX208" fmla="*/ 207472 w 5806384"/>
                  <a:gd name="connsiteY208" fmla="*/ 2133492 h 4036143"/>
                  <a:gd name="connsiteX209" fmla="*/ 245709 w 5806384"/>
                  <a:gd name="connsiteY209" fmla="*/ 2140573 h 4036143"/>
                  <a:gd name="connsiteX210" fmla="*/ 217385 w 5806384"/>
                  <a:gd name="connsiteY210" fmla="*/ 2120746 h 4036143"/>
                  <a:gd name="connsiteX211" fmla="*/ 309437 w 5806384"/>
                  <a:gd name="connsiteY211" fmla="*/ 2006034 h 4036143"/>
                  <a:gd name="connsiteX212" fmla="*/ 339178 w 5806384"/>
                  <a:gd name="connsiteY212" fmla="*/ 1983375 h 4036143"/>
                  <a:gd name="connsiteX213" fmla="*/ 492127 w 5806384"/>
                  <a:gd name="connsiteY213" fmla="*/ 1964965 h 4036143"/>
                  <a:gd name="connsiteX214" fmla="*/ 492127 w 5806384"/>
                  <a:gd name="connsiteY214" fmla="*/ 1964965 h 4036143"/>
                  <a:gd name="connsiteX215" fmla="*/ 414236 w 5806384"/>
                  <a:gd name="connsiteY215" fmla="*/ 1925311 h 4036143"/>
                  <a:gd name="connsiteX216" fmla="*/ 459554 w 5806384"/>
                  <a:gd name="connsiteY216" fmla="*/ 1889907 h 4036143"/>
                  <a:gd name="connsiteX217" fmla="*/ 601173 w 5806384"/>
                  <a:gd name="connsiteY217" fmla="*/ 1854502 h 4036143"/>
                  <a:gd name="connsiteX218" fmla="*/ 602589 w 5806384"/>
                  <a:gd name="connsiteY218" fmla="*/ 1861583 h 4036143"/>
                  <a:gd name="connsiteX219" fmla="*/ 595508 w 5806384"/>
                  <a:gd name="connsiteY219" fmla="*/ 1862999 h 4036143"/>
                  <a:gd name="connsiteX220" fmla="*/ 595508 w 5806384"/>
                  <a:gd name="connsiteY220" fmla="*/ 1862999 h 4036143"/>
                  <a:gd name="connsiteX221" fmla="*/ 623832 w 5806384"/>
                  <a:gd name="connsiteY221" fmla="*/ 1994705 h 4036143"/>
                  <a:gd name="connsiteX222" fmla="*/ 694642 w 5806384"/>
                  <a:gd name="connsiteY222" fmla="*/ 2091006 h 4036143"/>
                  <a:gd name="connsiteX223" fmla="*/ 745625 w 5806384"/>
                  <a:gd name="connsiteY223" fmla="*/ 2122162 h 4036143"/>
                  <a:gd name="connsiteX224" fmla="*/ 730047 w 5806384"/>
                  <a:gd name="connsiteY224" fmla="*/ 2209966 h 4036143"/>
                  <a:gd name="connsiteX225" fmla="*/ 730047 w 5806384"/>
                  <a:gd name="connsiteY225" fmla="*/ 2209966 h 4036143"/>
                  <a:gd name="connsiteX226" fmla="*/ 731463 w 5806384"/>
                  <a:gd name="connsiteY226" fmla="*/ 2209966 h 4036143"/>
                  <a:gd name="connsiteX227" fmla="*/ 761203 w 5806384"/>
                  <a:gd name="connsiteY227" fmla="*/ 2129243 h 4036143"/>
                  <a:gd name="connsiteX228" fmla="*/ 761203 w 5806384"/>
                  <a:gd name="connsiteY228" fmla="*/ 2129243 h 4036143"/>
                  <a:gd name="connsiteX229" fmla="*/ 748457 w 5806384"/>
                  <a:gd name="connsiteY229" fmla="*/ 2120746 h 4036143"/>
                  <a:gd name="connsiteX230" fmla="*/ 756954 w 5806384"/>
                  <a:gd name="connsiteY230" fmla="*/ 2076844 h 4036143"/>
                  <a:gd name="connsiteX231" fmla="*/ 756954 w 5806384"/>
                  <a:gd name="connsiteY231" fmla="*/ 2076844 h 4036143"/>
                  <a:gd name="connsiteX232" fmla="*/ 635162 w 5806384"/>
                  <a:gd name="connsiteY232" fmla="*/ 1991873 h 4036143"/>
                  <a:gd name="connsiteX233" fmla="*/ 605422 w 5806384"/>
                  <a:gd name="connsiteY233" fmla="*/ 1862999 h 4036143"/>
                  <a:gd name="connsiteX234" fmla="*/ 686144 w 5806384"/>
                  <a:gd name="connsiteY234" fmla="*/ 1840340 h 4036143"/>
                  <a:gd name="connsiteX235" fmla="*/ 686144 w 5806384"/>
                  <a:gd name="connsiteY235" fmla="*/ 1840340 h 4036143"/>
                  <a:gd name="connsiteX236" fmla="*/ 613919 w 5806384"/>
                  <a:gd name="connsiteY236" fmla="*/ 1768114 h 4036143"/>
                  <a:gd name="connsiteX237" fmla="*/ 632329 w 5806384"/>
                  <a:gd name="connsiteY237" fmla="*/ 1753952 h 4036143"/>
                  <a:gd name="connsiteX238" fmla="*/ 755538 w 5806384"/>
                  <a:gd name="connsiteY238" fmla="*/ 1824762 h 4036143"/>
                  <a:gd name="connsiteX239" fmla="*/ 680480 w 5806384"/>
                  <a:gd name="connsiteY239" fmla="*/ 1834675 h 4036143"/>
                  <a:gd name="connsiteX240" fmla="*/ 679064 w 5806384"/>
                  <a:gd name="connsiteY240" fmla="*/ 1834675 h 4036143"/>
                  <a:gd name="connsiteX241" fmla="*/ 992042 w 5806384"/>
                  <a:gd name="connsiteY241" fmla="*/ 1963549 h 4036143"/>
                  <a:gd name="connsiteX242" fmla="*/ 992042 w 5806384"/>
                  <a:gd name="connsiteY242" fmla="*/ 1963549 h 4036143"/>
                  <a:gd name="connsiteX243" fmla="*/ 993458 w 5806384"/>
                  <a:gd name="connsiteY243" fmla="*/ 1962132 h 4036143"/>
                  <a:gd name="connsiteX244" fmla="*/ 754122 w 5806384"/>
                  <a:gd name="connsiteY244" fmla="*/ 1824762 h 4036143"/>
                  <a:gd name="connsiteX245" fmla="*/ 843342 w 5806384"/>
                  <a:gd name="connsiteY245" fmla="*/ 1810600 h 4036143"/>
                  <a:gd name="connsiteX246" fmla="*/ 875914 w 5806384"/>
                  <a:gd name="connsiteY246" fmla="*/ 1858750 h 4036143"/>
                  <a:gd name="connsiteX247" fmla="*/ 875914 w 5806384"/>
                  <a:gd name="connsiteY247" fmla="*/ 1858750 h 4036143"/>
                  <a:gd name="connsiteX248" fmla="*/ 1200222 w 5806384"/>
                  <a:gd name="connsiteY248" fmla="*/ 1807768 h 4036143"/>
                  <a:gd name="connsiteX249" fmla="*/ 1200222 w 5806384"/>
                  <a:gd name="connsiteY249" fmla="*/ 1807768 h 4036143"/>
                  <a:gd name="connsiteX250" fmla="*/ 1200222 w 5806384"/>
                  <a:gd name="connsiteY250" fmla="*/ 1800687 h 4036143"/>
                  <a:gd name="connsiteX251" fmla="*/ 1204471 w 5806384"/>
                  <a:gd name="connsiteY251" fmla="*/ 1806351 h 4036143"/>
                  <a:gd name="connsiteX252" fmla="*/ 1204471 w 5806384"/>
                  <a:gd name="connsiteY252" fmla="*/ 1806351 h 4036143"/>
                  <a:gd name="connsiteX253" fmla="*/ 1282361 w 5806384"/>
                  <a:gd name="connsiteY253" fmla="*/ 1642073 h 4036143"/>
                  <a:gd name="connsiteX254" fmla="*/ 1426813 w 5806384"/>
                  <a:gd name="connsiteY254" fmla="*/ 1646322 h 4036143"/>
                  <a:gd name="connsiteX255" fmla="*/ 1455137 w 5806384"/>
                  <a:gd name="connsiteY255" fmla="*/ 1660484 h 4036143"/>
                  <a:gd name="connsiteX256" fmla="*/ 1557102 w 5806384"/>
                  <a:gd name="connsiteY256" fmla="*/ 1854502 h 4036143"/>
                  <a:gd name="connsiteX257" fmla="*/ 1411235 w 5806384"/>
                  <a:gd name="connsiteY257" fmla="*/ 1896988 h 4036143"/>
                  <a:gd name="connsiteX258" fmla="*/ 1409818 w 5806384"/>
                  <a:gd name="connsiteY258" fmla="*/ 1896988 h 4036143"/>
                  <a:gd name="connsiteX259" fmla="*/ 1601004 w 5806384"/>
                  <a:gd name="connsiteY259" fmla="*/ 1936641 h 4036143"/>
                  <a:gd name="connsiteX260" fmla="*/ 1601004 w 5806384"/>
                  <a:gd name="connsiteY260" fmla="*/ 1936641 h 4036143"/>
                  <a:gd name="connsiteX261" fmla="*/ 1558518 w 5806384"/>
                  <a:gd name="connsiteY261" fmla="*/ 1855918 h 4036143"/>
                  <a:gd name="connsiteX262" fmla="*/ 1742623 w 5806384"/>
                  <a:gd name="connsiteY262" fmla="*/ 1802103 h 4036143"/>
                  <a:gd name="connsiteX263" fmla="*/ 2133492 w 5806384"/>
                  <a:gd name="connsiteY263" fmla="*/ 1993289 h 4036143"/>
                  <a:gd name="connsiteX264" fmla="*/ 2049937 w 5806384"/>
                  <a:gd name="connsiteY264" fmla="*/ 2452135 h 4036143"/>
                  <a:gd name="connsiteX265" fmla="*/ 1928145 w 5806384"/>
                  <a:gd name="connsiteY265" fmla="*/ 2469129 h 4036143"/>
                  <a:gd name="connsiteX266" fmla="*/ 1480628 w 5806384"/>
                  <a:gd name="connsiteY266" fmla="*/ 2091006 h 4036143"/>
                  <a:gd name="connsiteX267" fmla="*/ 1480628 w 5806384"/>
                  <a:gd name="connsiteY267" fmla="*/ 2091006 h 4036143"/>
                  <a:gd name="connsiteX268" fmla="*/ 1489125 w 5806384"/>
                  <a:gd name="connsiteY268" fmla="*/ 2110833 h 4036143"/>
                  <a:gd name="connsiteX269" fmla="*/ 1350338 w 5806384"/>
                  <a:gd name="connsiteY269" fmla="*/ 2127827 h 4036143"/>
                  <a:gd name="connsiteX270" fmla="*/ 1331928 w 5806384"/>
                  <a:gd name="connsiteY270" fmla="*/ 2051352 h 4036143"/>
                  <a:gd name="connsiteX271" fmla="*/ 1331928 w 5806384"/>
                  <a:gd name="connsiteY271" fmla="*/ 2051352 h 4036143"/>
                  <a:gd name="connsiteX272" fmla="*/ 1224297 w 5806384"/>
                  <a:gd name="connsiteY272" fmla="*/ 2141989 h 4036143"/>
                  <a:gd name="connsiteX273" fmla="*/ 1215800 w 5806384"/>
                  <a:gd name="connsiteY273" fmla="*/ 2143405 h 4036143"/>
                  <a:gd name="connsiteX274" fmla="*/ 1079846 w 5806384"/>
                  <a:gd name="connsiteY274" fmla="*/ 1964965 h 4036143"/>
                  <a:gd name="connsiteX275" fmla="*/ 1079846 w 5806384"/>
                  <a:gd name="connsiteY275" fmla="*/ 1964965 h 4036143"/>
                  <a:gd name="connsiteX276" fmla="*/ 1123748 w 5806384"/>
                  <a:gd name="connsiteY276" fmla="*/ 2231209 h 4036143"/>
                  <a:gd name="connsiteX277" fmla="*/ 1123748 w 5806384"/>
                  <a:gd name="connsiteY277" fmla="*/ 2231209 h 4036143"/>
                  <a:gd name="connsiteX278" fmla="*/ 1208719 w 5806384"/>
                  <a:gd name="connsiteY278" fmla="*/ 2157567 h 4036143"/>
                  <a:gd name="connsiteX279" fmla="*/ 1295107 w 5806384"/>
                  <a:gd name="connsiteY279" fmla="*/ 2249619 h 4036143"/>
                  <a:gd name="connsiteX280" fmla="*/ 1380078 w 5806384"/>
                  <a:gd name="connsiteY280" fmla="*/ 2361498 h 4036143"/>
                  <a:gd name="connsiteX281" fmla="*/ 1363084 w 5806384"/>
                  <a:gd name="connsiteY281" fmla="*/ 2401152 h 4036143"/>
                  <a:gd name="connsiteX282" fmla="*/ 1329095 w 5806384"/>
                  <a:gd name="connsiteY282" fmla="*/ 2411065 h 4036143"/>
                  <a:gd name="connsiteX283" fmla="*/ 1329095 w 5806384"/>
                  <a:gd name="connsiteY283" fmla="*/ 2411065 h 4036143"/>
                  <a:gd name="connsiteX284" fmla="*/ 1266783 w 5806384"/>
                  <a:gd name="connsiteY284" fmla="*/ 2571095 h 4036143"/>
                  <a:gd name="connsiteX285" fmla="*/ 1266783 w 5806384"/>
                  <a:gd name="connsiteY285" fmla="*/ 2571095 h 4036143"/>
                  <a:gd name="connsiteX286" fmla="*/ 1469299 w 5806384"/>
                  <a:gd name="connsiteY286" fmla="*/ 2735373 h 4036143"/>
                  <a:gd name="connsiteX287" fmla="*/ 1438142 w 5806384"/>
                  <a:gd name="connsiteY287" fmla="*/ 2779275 h 4036143"/>
                  <a:gd name="connsiteX288" fmla="*/ 1438142 w 5806384"/>
                  <a:gd name="connsiteY288" fmla="*/ 2779275 h 4036143"/>
                  <a:gd name="connsiteX289" fmla="*/ 1547189 w 5806384"/>
                  <a:gd name="connsiteY289" fmla="*/ 2799101 h 4036143"/>
                  <a:gd name="connsiteX290" fmla="*/ 1644906 w 5806384"/>
                  <a:gd name="connsiteY290" fmla="*/ 2878408 h 4036143"/>
                  <a:gd name="connsiteX291" fmla="*/ 1644906 w 5806384"/>
                  <a:gd name="connsiteY291" fmla="*/ 2878408 h 4036143"/>
                  <a:gd name="connsiteX292" fmla="*/ 1701554 w 5806384"/>
                  <a:gd name="connsiteY292" fmla="*/ 2876992 h 4036143"/>
                  <a:gd name="connsiteX293" fmla="*/ 1693057 w 5806384"/>
                  <a:gd name="connsiteY293" fmla="*/ 2986038 h 4036143"/>
                  <a:gd name="connsiteX294" fmla="*/ 1520281 w 5806384"/>
                  <a:gd name="connsiteY294" fmla="*/ 3005865 h 4036143"/>
                  <a:gd name="connsiteX295" fmla="*/ 1520281 w 5806384"/>
                  <a:gd name="connsiteY295" fmla="*/ 3005865 h 4036143"/>
                  <a:gd name="connsiteX296" fmla="*/ 1520281 w 5806384"/>
                  <a:gd name="connsiteY296" fmla="*/ 3007281 h 4036143"/>
                  <a:gd name="connsiteX297" fmla="*/ 1520281 w 5806384"/>
                  <a:gd name="connsiteY297" fmla="*/ 3007281 h 4036143"/>
                  <a:gd name="connsiteX298" fmla="*/ 1690224 w 5806384"/>
                  <a:gd name="connsiteY298" fmla="*/ 3018611 h 4036143"/>
                  <a:gd name="connsiteX299" fmla="*/ 1678895 w 5806384"/>
                  <a:gd name="connsiteY299" fmla="*/ 3151733 h 4036143"/>
                  <a:gd name="connsiteX300" fmla="*/ 1678895 w 5806384"/>
                  <a:gd name="connsiteY300" fmla="*/ 3151733 h 4036143"/>
                  <a:gd name="connsiteX301" fmla="*/ 1888491 w 5806384"/>
                  <a:gd name="connsiteY301" fmla="*/ 3028524 h 4036143"/>
                  <a:gd name="connsiteX302" fmla="*/ 1888491 w 5806384"/>
                  <a:gd name="connsiteY302" fmla="*/ 3028524 h 4036143"/>
                  <a:gd name="connsiteX303" fmla="*/ 1691640 w 5806384"/>
                  <a:gd name="connsiteY303" fmla="*/ 3015778 h 4036143"/>
                  <a:gd name="connsiteX304" fmla="*/ 1694473 w 5806384"/>
                  <a:gd name="connsiteY304" fmla="*/ 2987455 h 4036143"/>
                  <a:gd name="connsiteX305" fmla="*/ 1844589 w 5806384"/>
                  <a:gd name="connsiteY305" fmla="*/ 2970460 h 4036143"/>
                  <a:gd name="connsiteX306" fmla="*/ 1887075 w 5806384"/>
                  <a:gd name="connsiteY306" fmla="*/ 3027108 h 4036143"/>
                  <a:gd name="connsiteX307" fmla="*/ 1887075 w 5806384"/>
                  <a:gd name="connsiteY307" fmla="*/ 3027108 h 4036143"/>
                  <a:gd name="connsiteX308" fmla="*/ 1888491 w 5806384"/>
                  <a:gd name="connsiteY308" fmla="*/ 3025692 h 4036143"/>
                  <a:gd name="connsiteX309" fmla="*/ 1863000 w 5806384"/>
                  <a:gd name="connsiteY309" fmla="*/ 2967628 h 4036143"/>
                  <a:gd name="connsiteX310" fmla="*/ 2001786 w 5806384"/>
                  <a:gd name="connsiteY310" fmla="*/ 2952050 h 4036143"/>
                  <a:gd name="connsiteX311" fmla="*/ 2001786 w 5806384"/>
                  <a:gd name="connsiteY311" fmla="*/ 2952050 h 4036143"/>
                  <a:gd name="connsiteX312" fmla="*/ 1964966 w 5806384"/>
                  <a:gd name="connsiteY312" fmla="*/ 2801934 h 4036143"/>
                  <a:gd name="connsiteX313" fmla="*/ 2055602 w 5806384"/>
                  <a:gd name="connsiteY313" fmla="*/ 2831674 h 4036143"/>
                  <a:gd name="connsiteX314" fmla="*/ 2057018 w 5806384"/>
                  <a:gd name="connsiteY314" fmla="*/ 2831674 h 4036143"/>
                  <a:gd name="connsiteX315" fmla="*/ 1940890 w 5806384"/>
                  <a:gd name="connsiteY315" fmla="*/ 2712714 h 4036143"/>
                  <a:gd name="connsiteX316" fmla="*/ 1940890 w 5806384"/>
                  <a:gd name="connsiteY316" fmla="*/ 2712714 h 4036143"/>
                  <a:gd name="connsiteX317" fmla="*/ 1962133 w 5806384"/>
                  <a:gd name="connsiteY317" fmla="*/ 2799101 h 4036143"/>
                  <a:gd name="connsiteX318" fmla="*/ 1759618 w 5806384"/>
                  <a:gd name="connsiteY318" fmla="*/ 2732540 h 4036143"/>
                  <a:gd name="connsiteX319" fmla="*/ 1489125 w 5806384"/>
                  <a:gd name="connsiteY319" fmla="*/ 2112249 h 4036143"/>
                  <a:gd name="connsiteX320" fmla="*/ 1490541 w 5806384"/>
                  <a:gd name="connsiteY320" fmla="*/ 2112249 h 4036143"/>
                  <a:gd name="connsiteX321" fmla="*/ 1707219 w 5806384"/>
                  <a:gd name="connsiteY321" fmla="*/ 2500285 h 4036143"/>
                  <a:gd name="connsiteX322" fmla="*/ 1707219 w 5806384"/>
                  <a:gd name="connsiteY322" fmla="*/ 2500285 h 4036143"/>
                  <a:gd name="connsiteX323" fmla="*/ 1925312 w 5806384"/>
                  <a:gd name="connsiteY323" fmla="*/ 2470545 h 4036143"/>
                  <a:gd name="connsiteX324" fmla="*/ 1938058 w 5806384"/>
                  <a:gd name="connsiteY324" fmla="*/ 2481874 h 4036143"/>
                  <a:gd name="connsiteX325" fmla="*/ 1782277 w 5806384"/>
                  <a:gd name="connsiteY325" fmla="*/ 2508782 h 4036143"/>
                  <a:gd name="connsiteX326" fmla="*/ 1782277 w 5806384"/>
                  <a:gd name="connsiteY326" fmla="*/ 2508782 h 4036143"/>
                  <a:gd name="connsiteX327" fmla="*/ 2018781 w 5806384"/>
                  <a:gd name="connsiteY327" fmla="*/ 2614997 h 4036143"/>
                  <a:gd name="connsiteX328" fmla="*/ 2008867 w 5806384"/>
                  <a:gd name="connsiteY328" fmla="*/ 2671644 h 4036143"/>
                  <a:gd name="connsiteX329" fmla="*/ 2042856 w 5806384"/>
                  <a:gd name="connsiteY329" fmla="*/ 2624910 h 4036143"/>
                  <a:gd name="connsiteX330" fmla="*/ 2195805 w 5806384"/>
                  <a:gd name="connsiteY330" fmla="*/ 2694303 h 4036143"/>
                  <a:gd name="connsiteX331" fmla="*/ 2197221 w 5806384"/>
                  <a:gd name="connsiteY331" fmla="*/ 2694303 h 4036143"/>
                  <a:gd name="connsiteX332" fmla="*/ 2069764 w 5806384"/>
                  <a:gd name="connsiteY332" fmla="*/ 2586673 h 4036143"/>
                  <a:gd name="connsiteX333" fmla="*/ 2177394 w 5806384"/>
                  <a:gd name="connsiteY333" fmla="*/ 2440805 h 4036143"/>
                  <a:gd name="connsiteX334" fmla="*/ 2188724 w 5806384"/>
                  <a:gd name="connsiteY334" fmla="*/ 2439389 h 4036143"/>
                  <a:gd name="connsiteX335" fmla="*/ 2344505 w 5806384"/>
                  <a:gd name="connsiteY335" fmla="*/ 2803350 h 4036143"/>
                  <a:gd name="connsiteX336" fmla="*/ 2344505 w 5806384"/>
                  <a:gd name="connsiteY336" fmla="*/ 2803350 h 4036143"/>
                  <a:gd name="connsiteX337" fmla="*/ 2394071 w 5806384"/>
                  <a:gd name="connsiteY337" fmla="*/ 2579592 h 4036143"/>
                  <a:gd name="connsiteX338" fmla="*/ 2447887 w 5806384"/>
                  <a:gd name="connsiteY338" fmla="*/ 2617829 h 4036143"/>
                  <a:gd name="connsiteX339" fmla="*/ 2630576 w 5806384"/>
                  <a:gd name="connsiteY339" fmla="*/ 2942136 h 4036143"/>
                  <a:gd name="connsiteX340" fmla="*/ 2613581 w 5806384"/>
                  <a:gd name="connsiteY340" fmla="*/ 2998784 h 4036143"/>
                  <a:gd name="connsiteX341" fmla="*/ 2498870 w 5806384"/>
                  <a:gd name="connsiteY341" fmla="*/ 3055432 h 4036143"/>
                  <a:gd name="connsiteX342" fmla="*/ 2498870 w 5806384"/>
                  <a:gd name="connsiteY342" fmla="*/ 3055432 h 4036143"/>
                  <a:gd name="connsiteX343" fmla="*/ 2576761 w 5806384"/>
                  <a:gd name="connsiteY343" fmla="*/ 3116328 h 4036143"/>
                  <a:gd name="connsiteX344" fmla="*/ 2532858 w 5806384"/>
                  <a:gd name="connsiteY344" fmla="*/ 3257947 h 4036143"/>
                  <a:gd name="connsiteX345" fmla="*/ 2532858 w 5806384"/>
                  <a:gd name="connsiteY345" fmla="*/ 3257947 h 4036143"/>
                  <a:gd name="connsiteX346" fmla="*/ 2656067 w 5806384"/>
                  <a:gd name="connsiteY346" fmla="*/ 3174392 h 4036143"/>
                  <a:gd name="connsiteX347" fmla="*/ 2656067 w 5806384"/>
                  <a:gd name="connsiteY347" fmla="*/ 3174392 h 4036143"/>
                  <a:gd name="connsiteX348" fmla="*/ 2579592 w 5806384"/>
                  <a:gd name="connsiteY348" fmla="*/ 3114912 h 4036143"/>
                  <a:gd name="connsiteX349" fmla="*/ 2614997 w 5806384"/>
                  <a:gd name="connsiteY349" fmla="*/ 3000200 h 4036143"/>
                  <a:gd name="connsiteX350" fmla="*/ 2653234 w 5806384"/>
                  <a:gd name="connsiteY350" fmla="*/ 2981790 h 4036143"/>
                  <a:gd name="connsiteX351" fmla="*/ 2665980 w 5806384"/>
                  <a:gd name="connsiteY351" fmla="*/ 3003033 h 4036143"/>
                  <a:gd name="connsiteX352" fmla="*/ 2657483 w 5806384"/>
                  <a:gd name="connsiteY352" fmla="*/ 3405231 h 4036143"/>
                  <a:gd name="connsiteX353" fmla="*/ 2657483 w 5806384"/>
                  <a:gd name="connsiteY353" fmla="*/ 3405231 h 4036143"/>
                  <a:gd name="connsiteX354" fmla="*/ 2658899 w 5806384"/>
                  <a:gd name="connsiteY354" fmla="*/ 3405231 h 4036143"/>
                  <a:gd name="connsiteX355" fmla="*/ 2658899 w 5806384"/>
                  <a:gd name="connsiteY355" fmla="*/ 3405231 h 4036143"/>
                  <a:gd name="connsiteX356" fmla="*/ 2695720 w 5806384"/>
                  <a:gd name="connsiteY356" fmla="*/ 3051183 h 4036143"/>
                  <a:gd name="connsiteX357" fmla="*/ 2695720 w 5806384"/>
                  <a:gd name="connsiteY357" fmla="*/ 3051183 h 4036143"/>
                  <a:gd name="connsiteX358" fmla="*/ 2668813 w 5806384"/>
                  <a:gd name="connsiteY358" fmla="*/ 3001616 h 4036143"/>
                  <a:gd name="connsiteX359" fmla="*/ 2668813 w 5806384"/>
                  <a:gd name="connsiteY359" fmla="*/ 2973293 h 4036143"/>
                  <a:gd name="connsiteX360" fmla="*/ 2837339 w 5806384"/>
                  <a:gd name="connsiteY360" fmla="*/ 2888321 h 4036143"/>
                  <a:gd name="connsiteX361" fmla="*/ 2837339 w 5806384"/>
                  <a:gd name="connsiteY361" fmla="*/ 2888321 h 4036143"/>
                  <a:gd name="connsiteX362" fmla="*/ 2631991 w 5806384"/>
                  <a:gd name="connsiteY362" fmla="*/ 2742454 h 4036143"/>
                  <a:gd name="connsiteX363" fmla="*/ 2579592 w 5806384"/>
                  <a:gd name="connsiteY363" fmla="*/ 2668812 h 4036143"/>
                  <a:gd name="connsiteX364" fmla="*/ 2792021 w 5806384"/>
                  <a:gd name="connsiteY364" fmla="*/ 2728292 h 4036143"/>
                  <a:gd name="connsiteX365" fmla="*/ 2843004 w 5806384"/>
                  <a:gd name="connsiteY365" fmla="*/ 2874159 h 4036143"/>
                  <a:gd name="connsiteX366" fmla="*/ 2843004 w 5806384"/>
                  <a:gd name="connsiteY366" fmla="*/ 2874159 h 4036143"/>
                  <a:gd name="connsiteX367" fmla="*/ 2919478 w 5806384"/>
                  <a:gd name="connsiteY367" fmla="*/ 2790604 h 4036143"/>
                  <a:gd name="connsiteX368" fmla="*/ 3184306 w 5806384"/>
                  <a:gd name="connsiteY368" fmla="*/ 2991703 h 4036143"/>
                  <a:gd name="connsiteX369" fmla="*/ 3184306 w 5806384"/>
                  <a:gd name="connsiteY369" fmla="*/ 2991703 h 4036143"/>
                  <a:gd name="connsiteX370" fmla="*/ 3197052 w 5806384"/>
                  <a:gd name="connsiteY370" fmla="*/ 2980374 h 4036143"/>
                  <a:gd name="connsiteX371" fmla="*/ 3204133 w 5806384"/>
                  <a:gd name="connsiteY371" fmla="*/ 2997368 h 4036143"/>
                  <a:gd name="connsiteX372" fmla="*/ 3191387 w 5806384"/>
                  <a:gd name="connsiteY372" fmla="*/ 3004449 h 4036143"/>
                  <a:gd name="connsiteX373" fmla="*/ 3191387 w 5806384"/>
                  <a:gd name="connsiteY373" fmla="*/ 3004449 h 4036143"/>
                  <a:gd name="connsiteX374" fmla="*/ 3212630 w 5806384"/>
                  <a:gd name="connsiteY374" fmla="*/ 3017195 h 4036143"/>
                  <a:gd name="connsiteX375" fmla="*/ 3270694 w 5806384"/>
                  <a:gd name="connsiteY375" fmla="*/ 3144652 h 4036143"/>
                  <a:gd name="connsiteX376" fmla="*/ 3270694 w 5806384"/>
                  <a:gd name="connsiteY376" fmla="*/ 3144652 h 4036143"/>
                  <a:gd name="connsiteX377" fmla="*/ 3376909 w 5806384"/>
                  <a:gd name="connsiteY377" fmla="*/ 3140403 h 4036143"/>
                  <a:gd name="connsiteX378" fmla="*/ 3396735 w 5806384"/>
                  <a:gd name="connsiteY378" fmla="*/ 3242369 h 4036143"/>
                  <a:gd name="connsiteX379" fmla="*/ 3396735 w 5806384"/>
                  <a:gd name="connsiteY379" fmla="*/ 3242369 h 4036143"/>
                  <a:gd name="connsiteX380" fmla="*/ 3480290 w 5806384"/>
                  <a:gd name="connsiteY380" fmla="*/ 3165895 h 4036143"/>
                  <a:gd name="connsiteX381" fmla="*/ 3553933 w 5806384"/>
                  <a:gd name="connsiteY381" fmla="*/ 3206964 h 4036143"/>
                  <a:gd name="connsiteX382" fmla="*/ 3430724 w 5806384"/>
                  <a:gd name="connsiteY382" fmla="*/ 3306097 h 4036143"/>
                  <a:gd name="connsiteX383" fmla="*/ 3277775 w 5806384"/>
                  <a:gd name="connsiteY383" fmla="*/ 3231040 h 4036143"/>
                  <a:gd name="connsiteX384" fmla="*/ 3277775 w 5806384"/>
                  <a:gd name="connsiteY384" fmla="*/ 3231040 h 4036143"/>
                  <a:gd name="connsiteX385" fmla="*/ 3248035 w 5806384"/>
                  <a:gd name="connsiteY385" fmla="*/ 3364161 h 4036143"/>
                  <a:gd name="connsiteX386" fmla="*/ 3248035 w 5806384"/>
                  <a:gd name="connsiteY386" fmla="*/ 3364161 h 4036143"/>
                  <a:gd name="connsiteX387" fmla="*/ 3311763 w 5806384"/>
                  <a:gd name="connsiteY387" fmla="*/ 3500116 h 4036143"/>
                  <a:gd name="connsiteX388" fmla="*/ 3154566 w 5806384"/>
                  <a:gd name="connsiteY388" fmla="*/ 3464711 h 4036143"/>
                  <a:gd name="connsiteX389" fmla="*/ 3153150 w 5806384"/>
                  <a:gd name="connsiteY389" fmla="*/ 3464711 h 4036143"/>
                  <a:gd name="connsiteX390" fmla="*/ 3257948 w 5806384"/>
                  <a:gd name="connsiteY390" fmla="*/ 3525607 h 4036143"/>
                  <a:gd name="connsiteX391" fmla="*/ 3226792 w 5806384"/>
                  <a:gd name="connsiteY391" fmla="*/ 3538353 h 4036143"/>
                  <a:gd name="connsiteX392" fmla="*/ 3226792 w 5806384"/>
                  <a:gd name="connsiteY392" fmla="*/ 3538353 h 4036143"/>
                  <a:gd name="connsiteX393" fmla="*/ 3357082 w 5806384"/>
                  <a:gd name="connsiteY393" fmla="*/ 3718209 h 4036143"/>
                  <a:gd name="connsiteX394" fmla="*/ 3357082 w 5806384"/>
                  <a:gd name="connsiteY394" fmla="*/ 3718209 h 4036143"/>
                  <a:gd name="connsiteX395" fmla="*/ 3358497 w 5806384"/>
                  <a:gd name="connsiteY395" fmla="*/ 3510029 h 4036143"/>
                  <a:gd name="connsiteX396" fmla="*/ 3358497 w 5806384"/>
                  <a:gd name="connsiteY396" fmla="*/ 3510029 h 4036143"/>
                  <a:gd name="connsiteX397" fmla="*/ 3320261 w 5806384"/>
                  <a:gd name="connsiteY397" fmla="*/ 3501532 h 4036143"/>
                  <a:gd name="connsiteX398" fmla="*/ 3372659 w 5806384"/>
                  <a:gd name="connsiteY398" fmla="*/ 3480289 h 4036143"/>
                  <a:gd name="connsiteX399" fmla="*/ 3386821 w 5806384"/>
                  <a:gd name="connsiteY399" fmla="*/ 3749365 h 4036143"/>
                  <a:gd name="connsiteX400" fmla="*/ 3265029 w 5806384"/>
                  <a:gd name="connsiteY400" fmla="*/ 3660145 h 4036143"/>
                  <a:gd name="connsiteX401" fmla="*/ 3263613 w 5806384"/>
                  <a:gd name="connsiteY401" fmla="*/ 3660145 h 4036143"/>
                  <a:gd name="connsiteX402" fmla="*/ 3337255 w 5806384"/>
                  <a:gd name="connsiteY402" fmla="*/ 3781938 h 4036143"/>
                  <a:gd name="connsiteX403" fmla="*/ 3300434 w 5806384"/>
                  <a:gd name="connsiteY403" fmla="*/ 3763527 h 4036143"/>
                  <a:gd name="connsiteX404" fmla="*/ 3300434 w 5806384"/>
                  <a:gd name="connsiteY404" fmla="*/ 3763527 h 4036143"/>
                  <a:gd name="connsiteX405" fmla="*/ 3299018 w 5806384"/>
                  <a:gd name="connsiteY405" fmla="*/ 3764943 h 4036143"/>
                  <a:gd name="connsiteX406" fmla="*/ 3351416 w 5806384"/>
                  <a:gd name="connsiteY406" fmla="*/ 3806013 h 4036143"/>
                  <a:gd name="connsiteX407" fmla="*/ 3393902 w 5806384"/>
                  <a:gd name="connsiteY407" fmla="*/ 3875406 h 4036143"/>
                  <a:gd name="connsiteX408" fmla="*/ 3393902 w 5806384"/>
                  <a:gd name="connsiteY408" fmla="*/ 3876823 h 4036143"/>
                  <a:gd name="connsiteX409" fmla="*/ 3392486 w 5806384"/>
                  <a:gd name="connsiteY409" fmla="*/ 3838585 h 4036143"/>
                  <a:gd name="connsiteX410" fmla="*/ 3555348 w 5806384"/>
                  <a:gd name="connsiteY410" fmla="*/ 3964626 h 4036143"/>
                  <a:gd name="connsiteX411" fmla="*/ 3555348 w 5806384"/>
                  <a:gd name="connsiteY411" fmla="*/ 3964626 h 4036143"/>
                  <a:gd name="connsiteX412" fmla="*/ 3570926 w 5806384"/>
                  <a:gd name="connsiteY412" fmla="*/ 3905146 h 4036143"/>
                  <a:gd name="connsiteX413" fmla="*/ 3637487 w 5806384"/>
                  <a:gd name="connsiteY413" fmla="*/ 3939135 h 4036143"/>
                  <a:gd name="connsiteX414" fmla="*/ 3637487 w 5806384"/>
                  <a:gd name="connsiteY414" fmla="*/ 3939135 h 4036143"/>
                  <a:gd name="connsiteX415" fmla="*/ 3638904 w 5806384"/>
                  <a:gd name="connsiteY415" fmla="*/ 3937719 h 4036143"/>
                  <a:gd name="connsiteX416" fmla="*/ 3638904 w 5806384"/>
                  <a:gd name="connsiteY416" fmla="*/ 3937719 h 4036143"/>
                  <a:gd name="connsiteX417" fmla="*/ 3575175 w 5806384"/>
                  <a:gd name="connsiteY417" fmla="*/ 3890985 h 4036143"/>
                  <a:gd name="connsiteX418" fmla="*/ 3647401 w 5806384"/>
                  <a:gd name="connsiteY418" fmla="*/ 3619076 h 4036143"/>
                  <a:gd name="connsiteX419" fmla="*/ 3772026 w 5806384"/>
                  <a:gd name="connsiteY419" fmla="*/ 3688469 h 4036143"/>
                  <a:gd name="connsiteX420" fmla="*/ 3772026 w 5806384"/>
                  <a:gd name="connsiteY420" fmla="*/ 3688469 h 4036143"/>
                  <a:gd name="connsiteX421" fmla="*/ 3783355 w 5806384"/>
                  <a:gd name="connsiteY421" fmla="*/ 3453381 h 4036143"/>
                  <a:gd name="connsiteX422" fmla="*/ 3896650 w 5806384"/>
                  <a:gd name="connsiteY422" fmla="*/ 3772024 h 4036143"/>
                  <a:gd name="connsiteX423" fmla="*/ 3756448 w 5806384"/>
                  <a:gd name="connsiteY423" fmla="*/ 3759279 h 4036143"/>
                  <a:gd name="connsiteX424" fmla="*/ 3781939 w 5806384"/>
                  <a:gd name="connsiteY424" fmla="*/ 3691302 h 4036143"/>
                  <a:gd name="connsiteX425" fmla="*/ 3781939 w 5806384"/>
                  <a:gd name="connsiteY425" fmla="*/ 3691302 h 4036143"/>
                  <a:gd name="connsiteX426" fmla="*/ 3660147 w 5806384"/>
                  <a:gd name="connsiteY426" fmla="*/ 3753614 h 4036143"/>
                  <a:gd name="connsiteX427" fmla="*/ 3660147 w 5806384"/>
                  <a:gd name="connsiteY427" fmla="*/ 3753614 h 4036143"/>
                  <a:gd name="connsiteX428" fmla="*/ 3755031 w 5806384"/>
                  <a:gd name="connsiteY428" fmla="*/ 3762111 h 4036143"/>
                  <a:gd name="connsiteX429" fmla="*/ 3739453 w 5806384"/>
                  <a:gd name="connsiteY429" fmla="*/ 3803181 h 4036143"/>
                  <a:gd name="connsiteX430" fmla="*/ 3739453 w 5806384"/>
                  <a:gd name="connsiteY430" fmla="*/ 3803181 h 4036143"/>
                  <a:gd name="connsiteX431" fmla="*/ 3929223 w 5806384"/>
                  <a:gd name="connsiteY431" fmla="*/ 3837169 h 4036143"/>
                  <a:gd name="connsiteX432" fmla="*/ 3929223 w 5806384"/>
                  <a:gd name="connsiteY432" fmla="*/ 3837169 h 4036143"/>
                  <a:gd name="connsiteX433" fmla="*/ 4247866 w 5806384"/>
                  <a:gd name="connsiteY433" fmla="*/ 3749365 h 4036143"/>
                  <a:gd name="connsiteX434" fmla="*/ 4379572 w 5806384"/>
                  <a:gd name="connsiteY434" fmla="*/ 3804597 h 4036143"/>
                  <a:gd name="connsiteX435" fmla="*/ 4352664 w 5806384"/>
                  <a:gd name="connsiteY435" fmla="*/ 3815926 h 4036143"/>
                  <a:gd name="connsiteX436" fmla="*/ 4424890 w 5806384"/>
                  <a:gd name="connsiteY436" fmla="*/ 3823007 h 4036143"/>
                  <a:gd name="connsiteX437" fmla="*/ 4464544 w 5806384"/>
                  <a:gd name="connsiteY437" fmla="*/ 3840002 h 4036143"/>
                  <a:gd name="connsiteX438" fmla="*/ 4471625 w 5806384"/>
                  <a:gd name="connsiteY438" fmla="*/ 3848499 h 4036143"/>
                  <a:gd name="connsiteX439" fmla="*/ 4348416 w 5806384"/>
                  <a:gd name="connsiteY439" fmla="*/ 3838585 h 4036143"/>
                  <a:gd name="connsiteX440" fmla="*/ 4347000 w 5806384"/>
                  <a:gd name="connsiteY440" fmla="*/ 3838585 h 4036143"/>
                  <a:gd name="connsiteX441" fmla="*/ 4516943 w 5806384"/>
                  <a:gd name="connsiteY441" fmla="*/ 3902314 h 4036143"/>
                  <a:gd name="connsiteX442" fmla="*/ 4536769 w 5806384"/>
                  <a:gd name="connsiteY442" fmla="*/ 3924973 h 4036143"/>
                  <a:gd name="connsiteX443" fmla="*/ 4440468 w 5806384"/>
                  <a:gd name="connsiteY443" fmla="*/ 3967459 h 4036143"/>
                  <a:gd name="connsiteX444" fmla="*/ 4440468 w 5806384"/>
                  <a:gd name="connsiteY444" fmla="*/ 3967459 h 4036143"/>
                  <a:gd name="connsiteX445" fmla="*/ 4586336 w 5806384"/>
                  <a:gd name="connsiteY445" fmla="*/ 3995783 h 4036143"/>
                  <a:gd name="connsiteX446" fmla="*/ 4586336 w 5806384"/>
                  <a:gd name="connsiteY446" fmla="*/ 3995783 h 4036143"/>
                  <a:gd name="connsiteX447" fmla="*/ 4709544 w 5806384"/>
                  <a:gd name="connsiteY447" fmla="*/ 3971707 h 4036143"/>
                  <a:gd name="connsiteX448" fmla="*/ 4710960 w 5806384"/>
                  <a:gd name="connsiteY448" fmla="*/ 3971707 h 4036143"/>
                  <a:gd name="connsiteX449" fmla="*/ 4519775 w 5806384"/>
                  <a:gd name="connsiteY449" fmla="*/ 3899481 h 4036143"/>
                  <a:gd name="connsiteX450" fmla="*/ 4477289 w 5806384"/>
                  <a:gd name="connsiteY450" fmla="*/ 3849915 h 4036143"/>
                  <a:gd name="connsiteX451" fmla="*/ 4501364 w 5806384"/>
                  <a:gd name="connsiteY451" fmla="*/ 3851331 h 4036143"/>
                  <a:gd name="connsiteX452" fmla="*/ 4467376 w 5806384"/>
                  <a:gd name="connsiteY452" fmla="*/ 3837169 h 4036143"/>
                  <a:gd name="connsiteX453" fmla="*/ 4457463 w 5806384"/>
                  <a:gd name="connsiteY453" fmla="*/ 3825840 h 4036143"/>
                  <a:gd name="connsiteX454" fmla="*/ 4841250 w 5806384"/>
                  <a:gd name="connsiteY454" fmla="*/ 3862661 h 4036143"/>
                  <a:gd name="connsiteX455" fmla="*/ 4987118 w 5806384"/>
                  <a:gd name="connsiteY455" fmla="*/ 3964626 h 4036143"/>
                  <a:gd name="connsiteX456" fmla="*/ 5087668 w 5806384"/>
                  <a:gd name="connsiteY456" fmla="*/ 4029771 h 4036143"/>
                  <a:gd name="connsiteX457" fmla="*/ 5087668 w 5806384"/>
                  <a:gd name="connsiteY457" fmla="*/ 4029771 h 4036143"/>
                  <a:gd name="connsiteX458" fmla="*/ 5089084 w 5806384"/>
                  <a:gd name="connsiteY458" fmla="*/ 4028355 h 4036143"/>
                  <a:gd name="connsiteX459" fmla="*/ 4985702 w 5806384"/>
                  <a:gd name="connsiteY459" fmla="*/ 3958962 h 4036143"/>
                  <a:gd name="connsiteX460" fmla="*/ 4839834 w 5806384"/>
                  <a:gd name="connsiteY460" fmla="*/ 3856996 h 4036143"/>
                  <a:gd name="connsiteX461" fmla="*/ 4453214 w 5806384"/>
                  <a:gd name="connsiteY461" fmla="*/ 3820175 h 4036143"/>
                  <a:gd name="connsiteX462" fmla="*/ 4422058 w 5806384"/>
                  <a:gd name="connsiteY462" fmla="*/ 3783354 h 4036143"/>
                  <a:gd name="connsiteX463" fmla="*/ 4422058 w 5806384"/>
                  <a:gd name="connsiteY463" fmla="*/ 3783354 h 4036143"/>
                  <a:gd name="connsiteX464" fmla="*/ 4382405 w 5806384"/>
                  <a:gd name="connsiteY464" fmla="*/ 3800348 h 4036143"/>
                  <a:gd name="connsiteX465" fmla="*/ 4247866 w 5806384"/>
                  <a:gd name="connsiteY465" fmla="*/ 3745117 h 4036143"/>
                  <a:gd name="connsiteX466" fmla="*/ 4247866 w 5806384"/>
                  <a:gd name="connsiteY466" fmla="*/ 3745117 h 4036143"/>
                  <a:gd name="connsiteX467" fmla="*/ 3929223 w 5806384"/>
                  <a:gd name="connsiteY467" fmla="*/ 3832921 h 4036143"/>
                  <a:gd name="connsiteX468" fmla="*/ 3742286 w 5806384"/>
                  <a:gd name="connsiteY468" fmla="*/ 3800348 h 4036143"/>
                  <a:gd name="connsiteX469" fmla="*/ 3756448 w 5806384"/>
                  <a:gd name="connsiteY469" fmla="*/ 3760695 h 4036143"/>
                  <a:gd name="connsiteX470" fmla="*/ 3899483 w 5806384"/>
                  <a:gd name="connsiteY470" fmla="*/ 3773440 h 4036143"/>
                  <a:gd name="connsiteX471" fmla="*/ 3899483 w 5806384"/>
                  <a:gd name="connsiteY471" fmla="*/ 3773440 h 4036143"/>
                  <a:gd name="connsiteX472" fmla="*/ 3781939 w 5806384"/>
                  <a:gd name="connsiteY472" fmla="*/ 3442052 h 4036143"/>
                  <a:gd name="connsiteX473" fmla="*/ 3781939 w 5806384"/>
                  <a:gd name="connsiteY473" fmla="*/ 3440636 h 4036143"/>
                  <a:gd name="connsiteX474" fmla="*/ 3770610 w 5806384"/>
                  <a:gd name="connsiteY474" fmla="*/ 3682804 h 4036143"/>
                  <a:gd name="connsiteX475" fmla="*/ 3647401 w 5806384"/>
                  <a:gd name="connsiteY475" fmla="*/ 3614827 h 4036143"/>
                  <a:gd name="connsiteX476" fmla="*/ 3647401 w 5806384"/>
                  <a:gd name="connsiteY476" fmla="*/ 3614827 h 4036143"/>
                  <a:gd name="connsiteX477" fmla="*/ 3575175 w 5806384"/>
                  <a:gd name="connsiteY477" fmla="*/ 3888152 h 4036143"/>
                  <a:gd name="connsiteX478" fmla="*/ 3389654 w 5806384"/>
                  <a:gd name="connsiteY478" fmla="*/ 3752198 h 4036143"/>
                  <a:gd name="connsiteX479" fmla="*/ 3375492 w 5806384"/>
                  <a:gd name="connsiteY479" fmla="*/ 3478873 h 4036143"/>
                  <a:gd name="connsiteX480" fmla="*/ 3375492 w 5806384"/>
                  <a:gd name="connsiteY480" fmla="*/ 3478873 h 4036143"/>
                  <a:gd name="connsiteX481" fmla="*/ 3318844 w 5806384"/>
                  <a:gd name="connsiteY481" fmla="*/ 3502948 h 4036143"/>
                  <a:gd name="connsiteX482" fmla="*/ 3317428 w 5806384"/>
                  <a:gd name="connsiteY482" fmla="*/ 3502948 h 4036143"/>
                  <a:gd name="connsiteX483" fmla="*/ 3252283 w 5806384"/>
                  <a:gd name="connsiteY483" fmla="*/ 3366994 h 4036143"/>
                  <a:gd name="connsiteX484" fmla="*/ 3280607 w 5806384"/>
                  <a:gd name="connsiteY484" fmla="*/ 3236704 h 4036143"/>
                  <a:gd name="connsiteX485" fmla="*/ 3432140 w 5806384"/>
                  <a:gd name="connsiteY485" fmla="*/ 3310346 h 4036143"/>
                  <a:gd name="connsiteX486" fmla="*/ 3432140 w 5806384"/>
                  <a:gd name="connsiteY486" fmla="*/ 3310346 h 4036143"/>
                  <a:gd name="connsiteX487" fmla="*/ 3558181 w 5806384"/>
                  <a:gd name="connsiteY487" fmla="*/ 3209797 h 4036143"/>
                  <a:gd name="connsiteX488" fmla="*/ 3558181 w 5806384"/>
                  <a:gd name="connsiteY488" fmla="*/ 3209797 h 4036143"/>
                  <a:gd name="connsiteX489" fmla="*/ 3483123 w 5806384"/>
                  <a:gd name="connsiteY489" fmla="*/ 3167311 h 4036143"/>
                  <a:gd name="connsiteX490" fmla="*/ 3517111 w 5806384"/>
                  <a:gd name="connsiteY490" fmla="*/ 3136155 h 4036143"/>
                  <a:gd name="connsiteX491" fmla="*/ 3432140 w 5806384"/>
                  <a:gd name="connsiteY491" fmla="*/ 3138987 h 4036143"/>
                  <a:gd name="connsiteX492" fmla="*/ 3372659 w 5806384"/>
                  <a:gd name="connsiteY492" fmla="*/ 3106415 h 4036143"/>
                  <a:gd name="connsiteX493" fmla="*/ 3342920 w 5806384"/>
                  <a:gd name="connsiteY493" fmla="*/ 2954882 h 4036143"/>
                  <a:gd name="connsiteX494" fmla="*/ 3450550 w 5806384"/>
                  <a:gd name="connsiteY494" fmla="*/ 3005865 h 4036143"/>
                  <a:gd name="connsiteX495" fmla="*/ 3450550 w 5806384"/>
                  <a:gd name="connsiteY495" fmla="*/ 3005865 h 4036143"/>
                  <a:gd name="connsiteX496" fmla="*/ 3434972 w 5806384"/>
                  <a:gd name="connsiteY496" fmla="*/ 2888321 h 4036143"/>
                  <a:gd name="connsiteX497" fmla="*/ 3696968 w 5806384"/>
                  <a:gd name="connsiteY497" fmla="*/ 2756616 h 4036143"/>
                  <a:gd name="connsiteX498" fmla="*/ 3696968 w 5806384"/>
                  <a:gd name="connsiteY498" fmla="*/ 2756616 h 4036143"/>
                  <a:gd name="connsiteX499" fmla="*/ 3621910 w 5806384"/>
                  <a:gd name="connsiteY499" fmla="*/ 2718378 h 4036143"/>
                  <a:gd name="connsiteX500" fmla="*/ 3779106 w 5806384"/>
                  <a:gd name="connsiteY500" fmla="*/ 2347336 h 4036143"/>
                  <a:gd name="connsiteX501" fmla="*/ 3779106 w 5806384"/>
                  <a:gd name="connsiteY501" fmla="*/ 2347336 h 4036143"/>
                  <a:gd name="connsiteX502" fmla="*/ 3745118 w 5806384"/>
                  <a:gd name="connsiteY502" fmla="*/ 2072595 h 4036143"/>
                  <a:gd name="connsiteX503" fmla="*/ 3823009 w 5806384"/>
                  <a:gd name="connsiteY503" fmla="*/ 2102335 h 4036143"/>
                  <a:gd name="connsiteX504" fmla="*/ 3823009 w 5806384"/>
                  <a:gd name="connsiteY504" fmla="*/ 2102335 h 4036143"/>
                  <a:gd name="connsiteX505" fmla="*/ 3865495 w 5806384"/>
                  <a:gd name="connsiteY505" fmla="*/ 1969213 h 4036143"/>
                  <a:gd name="connsiteX506" fmla="*/ 4045350 w 5806384"/>
                  <a:gd name="connsiteY506" fmla="*/ 2074011 h 4036143"/>
                  <a:gd name="connsiteX507" fmla="*/ 4046767 w 5806384"/>
                  <a:gd name="connsiteY507" fmla="*/ 2074011 h 4036143"/>
                  <a:gd name="connsiteX508" fmla="*/ 3889569 w 5806384"/>
                  <a:gd name="connsiteY508" fmla="*/ 1891323 h 4036143"/>
                  <a:gd name="connsiteX509" fmla="*/ 3933472 w 5806384"/>
                  <a:gd name="connsiteY509" fmla="*/ 1752536 h 4036143"/>
                  <a:gd name="connsiteX510" fmla="*/ 4086420 w 5806384"/>
                  <a:gd name="connsiteY510" fmla="*/ 1710050 h 4036143"/>
                  <a:gd name="connsiteX511" fmla="*/ 4235120 w 5806384"/>
                  <a:gd name="connsiteY511" fmla="*/ 1786525 h 4036143"/>
                  <a:gd name="connsiteX512" fmla="*/ 4195467 w 5806384"/>
                  <a:gd name="connsiteY512" fmla="*/ 1974878 h 4036143"/>
                  <a:gd name="connsiteX513" fmla="*/ 4195467 w 5806384"/>
                  <a:gd name="connsiteY513" fmla="*/ 1974878 h 4036143"/>
                  <a:gd name="connsiteX514" fmla="*/ 4390901 w 5806384"/>
                  <a:gd name="connsiteY514" fmla="*/ 1862999 h 4036143"/>
                  <a:gd name="connsiteX515" fmla="*/ 4390901 w 5806384"/>
                  <a:gd name="connsiteY515" fmla="*/ 1862999 h 4036143"/>
                  <a:gd name="connsiteX516" fmla="*/ 4243617 w 5806384"/>
                  <a:gd name="connsiteY516" fmla="*/ 1786525 h 4036143"/>
                  <a:gd name="connsiteX517" fmla="*/ 4270525 w 5806384"/>
                  <a:gd name="connsiteY517" fmla="*/ 1661900 h 4036143"/>
                  <a:gd name="connsiteX518" fmla="*/ 4407896 w 5806384"/>
                  <a:gd name="connsiteY518" fmla="*/ 1625079 h 4036143"/>
                  <a:gd name="connsiteX519" fmla="*/ 4407896 w 5806384"/>
                  <a:gd name="connsiteY519" fmla="*/ 1625079 h 4036143"/>
                  <a:gd name="connsiteX520" fmla="*/ 4274774 w 5806384"/>
                  <a:gd name="connsiteY520" fmla="*/ 1354587 h 4036143"/>
                  <a:gd name="connsiteX521" fmla="*/ 4480121 w 5806384"/>
                  <a:gd name="connsiteY521" fmla="*/ 1273864 h 4036143"/>
                  <a:gd name="connsiteX522" fmla="*/ 4480121 w 5806384"/>
                  <a:gd name="connsiteY522" fmla="*/ 1273864 h 4036143"/>
                  <a:gd name="connsiteX523" fmla="*/ 4478705 w 5806384"/>
                  <a:gd name="connsiteY523" fmla="*/ 1261118 h 4036143"/>
                  <a:gd name="connsiteX524" fmla="*/ 4777522 w 5806384"/>
                  <a:gd name="connsiteY524" fmla="*/ 1191725 h 4036143"/>
                  <a:gd name="connsiteX525" fmla="*/ 4984286 w 5806384"/>
                  <a:gd name="connsiteY525" fmla="*/ 970799 h 4036143"/>
                  <a:gd name="connsiteX526" fmla="*/ 5267524 w 5806384"/>
                  <a:gd name="connsiteY526" fmla="*/ 1129412 h 4036143"/>
                  <a:gd name="connsiteX527" fmla="*/ 5149980 w 5806384"/>
                  <a:gd name="connsiteY527" fmla="*/ 1232794 h 4036143"/>
                  <a:gd name="connsiteX528" fmla="*/ 5040934 w 5806384"/>
                  <a:gd name="connsiteY528" fmla="*/ 1307852 h 4036143"/>
                  <a:gd name="connsiteX529" fmla="*/ 5040934 w 5806384"/>
                  <a:gd name="connsiteY529" fmla="*/ 1307852 h 4036143"/>
                  <a:gd name="connsiteX530" fmla="*/ 5113159 w 5806384"/>
                  <a:gd name="connsiteY530" fmla="*/ 1416899 h 4036143"/>
                  <a:gd name="connsiteX531" fmla="*/ 5021107 w 5806384"/>
                  <a:gd name="connsiteY531" fmla="*/ 1585426 h 4036143"/>
                  <a:gd name="connsiteX532" fmla="*/ 4934719 w 5806384"/>
                  <a:gd name="connsiteY532" fmla="*/ 1693056 h 4036143"/>
                  <a:gd name="connsiteX533" fmla="*/ 4844083 w 5806384"/>
                  <a:gd name="connsiteY533" fmla="*/ 1821930 h 4036143"/>
                  <a:gd name="connsiteX534" fmla="*/ 4784602 w 5806384"/>
                  <a:gd name="connsiteY534" fmla="*/ 1879993 h 4036143"/>
                  <a:gd name="connsiteX535" fmla="*/ 4784602 w 5806384"/>
                  <a:gd name="connsiteY535" fmla="*/ 1879993 h 4036143"/>
                  <a:gd name="connsiteX536" fmla="*/ 4786019 w 5806384"/>
                  <a:gd name="connsiteY536" fmla="*/ 1881410 h 4036143"/>
                  <a:gd name="connsiteX537" fmla="*/ 4786019 w 5806384"/>
                  <a:gd name="connsiteY537" fmla="*/ 1881410 h 4036143"/>
                  <a:gd name="connsiteX538" fmla="*/ 4845499 w 5806384"/>
                  <a:gd name="connsiteY538" fmla="*/ 1823346 h 4036143"/>
                  <a:gd name="connsiteX539" fmla="*/ 4937551 w 5806384"/>
                  <a:gd name="connsiteY539" fmla="*/ 1693056 h 4036143"/>
                  <a:gd name="connsiteX540" fmla="*/ 5023939 w 5806384"/>
                  <a:gd name="connsiteY540" fmla="*/ 1585426 h 4036143"/>
                  <a:gd name="connsiteX541" fmla="*/ 5115992 w 5806384"/>
                  <a:gd name="connsiteY541" fmla="*/ 1416899 h 4036143"/>
                  <a:gd name="connsiteX542" fmla="*/ 5115992 w 5806384"/>
                  <a:gd name="connsiteY542" fmla="*/ 1416899 h 4036143"/>
                  <a:gd name="connsiteX543" fmla="*/ 5045182 w 5806384"/>
                  <a:gd name="connsiteY543" fmla="*/ 1309268 h 4036143"/>
                  <a:gd name="connsiteX544" fmla="*/ 5152812 w 5806384"/>
                  <a:gd name="connsiteY544" fmla="*/ 1235626 h 4036143"/>
                  <a:gd name="connsiteX545" fmla="*/ 5271773 w 5806384"/>
                  <a:gd name="connsiteY545" fmla="*/ 1130828 h 4036143"/>
                  <a:gd name="connsiteX546" fmla="*/ 5271773 w 5806384"/>
                  <a:gd name="connsiteY546" fmla="*/ 1130828 h 4036143"/>
                  <a:gd name="connsiteX547" fmla="*/ 4984286 w 5806384"/>
                  <a:gd name="connsiteY547" fmla="*/ 969383 h 4036143"/>
                  <a:gd name="connsiteX548" fmla="*/ 4984286 w 5806384"/>
                  <a:gd name="connsiteY548" fmla="*/ 969383 h 4036143"/>
                  <a:gd name="connsiteX549" fmla="*/ 4776106 w 5806384"/>
                  <a:gd name="connsiteY549" fmla="*/ 1188892 h 4036143"/>
                  <a:gd name="connsiteX550" fmla="*/ 4477289 w 5806384"/>
                  <a:gd name="connsiteY550" fmla="*/ 1258286 h 4036143"/>
                  <a:gd name="connsiteX551" fmla="*/ 4458878 w 5806384"/>
                  <a:gd name="connsiteY551" fmla="*/ 1115250 h 4036143"/>
                  <a:gd name="connsiteX552" fmla="*/ 4542434 w 5806384"/>
                  <a:gd name="connsiteY552" fmla="*/ 980712 h 4036143"/>
                  <a:gd name="connsiteX553" fmla="*/ 4618908 w 5806384"/>
                  <a:gd name="connsiteY553" fmla="*/ 956637 h 4036143"/>
                  <a:gd name="connsiteX554" fmla="*/ 4771857 w 5806384"/>
                  <a:gd name="connsiteY554" fmla="*/ 1108169 h 4036143"/>
                  <a:gd name="connsiteX555" fmla="*/ 4771857 w 5806384"/>
                  <a:gd name="connsiteY555" fmla="*/ 1108169 h 4036143"/>
                  <a:gd name="connsiteX556" fmla="*/ 5084835 w 5806384"/>
                  <a:gd name="connsiteY556" fmla="*/ 892908 h 4036143"/>
                  <a:gd name="connsiteX557" fmla="*/ 5264692 w 5806384"/>
                  <a:gd name="connsiteY557" fmla="*/ 993458 h 4036143"/>
                  <a:gd name="connsiteX558" fmla="*/ 5264692 w 5806384"/>
                  <a:gd name="connsiteY558" fmla="*/ 993458 h 4036143"/>
                  <a:gd name="connsiteX559" fmla="*/ 5271773 w 5806384"/>
                  <a:gd name="connsiteY559" fmla="*/ 982128 h 4036143"/>
                  <a:gd name="connsiteX560" fmla="*/ 5355327 w 5806384"/>
                  <a:gd name="connsiteY560" fmla="*/ 1030279 h 4036143"/>
                  <a:gd name="connsiteX561" fmla="*/ 5277437 w 5806384"/>
                  <a:gd name="connsiteY561" fmla="*/ 1147823 h 4036143"/>
                  <a:gd name="connsiteX562" fmla="*/ 5277437 w 5806384"/>
                  <a:gd name="connsiteY562" fmla="*/ 1149239 h 4036143"/>
                  <a:gd name="connsiteX563" fmla="*/ 5404894 w 5806384"/>
                  <a:gd name="connsiteY563" fmla="*/ 1057186 h 4036143"/>
                  <a:gd name="connsiteX564" fmla="*/ 5404894 w 5806384"/>
                  <a:gd name="connsiteY564" fmla="*/ 1057186 h 4036143"/>
                  <a:gd name="connsiteX565" fmla="*/ 5358160 w 5806384"/>
                  <a:gd name="connsiteY565" fmla="*/ 1030279 h 4036143"/>
                  <a:gd name="connsiteX566" fmla="*/ 5411975 w 5806384"/>
                  <a:gd name="connsiteY566" fmla="*/ 949556 h 4036143"/>
                  <a:gd name="connsiteX567" fmla="*/ 5489866 w 5806384"/>
                  <a:gd name="connsiteY567" fmla="*/ 1043025 h 4036143"/>
                  <a:gd name="connsiteX568" fmla="*/ 5489866 w 5806384"/>
                  <a:gd name="connsiteY568" fmla="*/ 1043025 h 4036143"/>
                  <a:gd name="connsiteX569" fmla="*/ 5706544 w 5806384"/>
                  <a:gd name="connsiteY569" fmla="*/ 803688 h 4036143"/>
                  <a:gd name="connsiteX570" fmla="*/ 5804260 w 5806384"/>
                  <a:gd name="connsiteY570" fmla="*/ 929729 h 4036143"/>
                  <a:gd name="connsiteX571" fmla="*/ 5804260 w 5806384"/>
                  <a:gd name="connsiteY571" fmla="*/ 929729 h 4036143"/>
                  <a:gd name="connsiteX572" fmla="*/ 5805677 w 5806384"/>
                  <a:gd name="connsiteY572" fmla="*/ 928313 h 4036143"/>
                  <a:gd name="connsiteX573" fmla="*/ 5805677 w 5806384"/>
                  <a:gd name="connsiteY573" fmla="*/ 928313 h 4036143"/>
                  <a:gd name="connsiteX574" fmla="*/ 5707959 w 5806384"/>
                  <a:gd name="connsiteY574" fmla="*/ 799440 h 4036143"/>
                  <a:gd name="connsiteX575" fmla="*/ 3376909 w 5806384"/>
                  <a:gd name="connsiteY575" fmla="*/ 3106415 h 4036143"/>
                  <a:gd name="connsiteX576" fmla="*/ 3432140 w 5806384"/>
                  <a:gd name="connsiteY576" fmla="*/ 3137571 h 4036143"/>
                  <a:gd name="connsiteX577" fmla="*/ 3383990 w 5806384"/>
                  <a:gd name="connsiteY577" fmla="*/ 3138987 h 4036143"/>
                  <a:gd name="connsiteX578" fmla="*/ 3376909 w 5806384"/>
                  <a:gd name="connsiteY578" fmla="*/ 3106415 h 4036143"/>
                  <a:gd name="connsiteX579" fmla="*/ 3402400 w 5806384"/>
                  <a:gd name="connsiteY579" fmla="*/ 3239537 h 4036143"/>
                  <a:gd name="connsiteX580" fmla="*/ 3382573 w 5806384"/>
                  <a:gd name="connsiteY580" fmla="*/ 3141819 h 4036143"/>
                  <a:gd name="connsiteX581" fmla="*/ 3434972 w 5806384"/>
                  <a:gd name="connsiteY581" fmla="*/ 3140403 h 4036143"/>
                  <a:gd name="connsiteX582" fmla="*/ 3483123 w 5806384"/>
                  <a:gd name="connsiteY582" fmla="*/ 3167311 h 4036143"/>
                  <a:gd name="connsiteX583" fmla="*/ 3402400 w 5806384"/>
                  <a:gd name="connsiteY583" fmla="*/ 3239537 h 4036143"/>
                  <a:gd name="connsiteX584" fmla="*/ 3439221 w 5806384"/>
                  <a:gd name="connsiteY584" fmla="*/ 3138987 h 4036143"/>
                  <a:gd name="connsiteX585" fmla="*/ 3514279 w 5806384"/>
                  <a:gd name="connsiteY585" fmla="*/ 3136155 h 4036143"/>
                  <a:gd name="connsiteX586" fmla="*/ 3483123 w 5806384"/>
                  <a:gd name="connsiteY586" fmla="*/ 3164478 h 4036143"/>
                  <a:gd name="connsiteX587" fmla="*/ 3439221 w 5806384"/>
                  <a:gd name="connsiteY587" fmla="*/ 3138987 h 4036143"/>
                  <a:gd name="connsiteX588" fmla="*/ 2505951 w 5806384"/>
                  <a:gd name="connsiteY588" fmla="*/ 3059680 h 4036143"/>
                  <a:gd name="connsiteX589" fmla="*/ 2614997 w 5806384"/>
                  <a:gd name="connsiteY589" fmla="*/ 3004449 h 4036143"/>
                  <a:gd name="connsiteX590" fmla="*/ 2579592 w 5806384"/>
                  <a:gd name="connsiteY590" fmla="*/ 3117744 h 4036143"/>
                  <a:gd name="connsiteX591" fmla="*/ 2505951 w 5806384"/>
                  <a:gd name="connsiteY591" fmla="*/ 3059680 h 4036143"/>
                  <a:gd name="connsiteX592" fmla="*/ 2539939 w 5806384"/>
                  <a:gd name="connsiteY592" fmla="*/ 3255115 h 4036143"/>
                  <a:gd name="connsiteX593" fmla="*/ 2581009 w 5806384"/>
                  <a:gd name="connsiteY593" fmla="*/ 3119160 h 4036143"/>
                  <a:gd name="connsiteX594" fmla="*/ 2654651 w 5806384"/>
                  <a:gd name="connsiteY594" fmla="*/ 3175808 h 4036143"/>
                  <a:gd name="connsiteX595" fmla="*/ 2539939 w 5806384"/>
                  <a:gd name="connsiteY595" fmla="*/ 3255115 h 4036143"/>
                  <a:gd name="connsiteX596" fmla="*/ 1928145 w 5806384"/>
                  <a:gd name="connsiteY596" fmla="*/ 2469129 h 4036143"/>
                  <a:gd name="connsiteX597" fmla="*/ 1712883 w 5806384"/>
                  <a:gd name="connsiteY597" fmla="*/ 2498869 h 4036143"/>
                  <a:gd name="connsiteX598" fmla="*/ 1496206 w 5806384"/>
                  <a:gd name="connsiteY598" fmla="*/ 2110833 h 4036143"/>
                  <a:gd name="connsiteX599" fmla="*/ 1496206 w 5806384"/>
                  <a:gd name="connsiteY599" fmla="*/ 2110833 h 4036143"/>
                  <a:gd name="connsiteX600" fmla="*/ 1493374 w 5806384"/>
                  <a:gd name="connsiteY600" fmla="*/ 2110833 h 4036143"/>
                  <a:gd name="connsiteX601" fmla="*/ 1487709 w 5806384"/>
                  <a:gd name="connsiteY601" fmla="*/ 2098087 h 4036143"/>
                  <a:gd name="connsiteX602" fmla="*/ 1928145 w 5806384"/>
                  <a:gd name="connsiteY602" fmla="*/ 2469129 h 4036143"/>
                  <a:gd name="connsiteX603" fmla="*/ 1928145 w 5806384"/>
                  <a:gd name="connsiteY603" fmla="*/ 2865662 h 4036143"/>
                  <a:gd name="connsiteX604" fmla="*/ 1824762 w 5806384"/>
                  <a:gd name="connsiteY604" fmla="*/ 2869911 h 4036143"/>
                  <a:gd name="connsiteX605" fmla="*/ 1814849 w 5806384"/>
                  <a:gd name="connsiteY605" fmla="*/ 2845835 h 4036143"/>
                  <a:gd name="connsiteX606" fmla="*/ 1928145 w 5806384"/>
                  <a:gd name="connsiteY606" fmla="*/ 2865662 h 4036143"/>
                  <a:gd name="connsiteX607" fmla="*/ 1867248 w 5806384"/>
                  <a:gd name="connsiteY607" fmla="*/ 2966212 h 4036143"/>
                  <a:gd name="connsiteX608" fmla="*/ 1826179 w 5806384"/>
                  <a:gd name="connsiteY608" fmla="*/ 2871327 h 4036143"/>
                  <a:gd name="connsiteX609" fmla="*/ 1939474 w 5806384"/>
                  <a:gd name="connsiteY609" fmla="*/ 2867078 h 4036143"/>
                  <a:gd name="connsiteX610" fmla="*/ 1939474 w 5806384"/>
                  <a:gd name="connsiteY610" fmla="*/ 2867078 h 4036143"/>
                  <a:gd name="connsiteX611" fmla="*/ 1939474 w 5806384"/>
                  <a:gd name="connsiteY611" fmla="*/ 2865662 h 4036143"/>
                  <a:gd name="connsiteX612" fmla="*/ 1813433 w 5806384"/>
                  <a:gd name="connsiteY612" fmla="*/ 2843003 h 4036143"/>
                  <a:gd name="connsiteX613" fmla="*/ 1766699 w 5806384"/>
                  <a:gd name="connsiteY613" fmla="*/ 2735373 h 4036143"/>
                  <a:gd name="connsiteX614" fmla="*/ 1969214 w 5806384"/>
                  <a:gd name="connsiteY614" fmla="*/ 2801934 h 4036143"/>
                  <a:gd name="connsiteX615" fmla="*/ 2006035 w 5806384"/>
                  <a:gd name="connsiteY615" fmla="*/ 2950634 h 4036143"/>
                  <a:gd name="connsiteX616" fmla="*/ 1867248 w 5806384"/>
                  <a:gd name="connsiteY616" fmla="*/ 2966212 h 4036143"/>
                  <a:gd name="connsiteX617" fmla="*/ 1745456 w 5806384"/>
                  <a:gd name="connsiteY617" fmla="*/ 2833090 h 4036143"/>
                  <a:gd name="connsiteX618" fmla="*/ 1812017 w 5806384"/>
                  <a:gd name="connsiteY618" fmla="*/ 2844419 h 4036143"/>
                  <a:gd name="connsiteX619" fmla="*/ 1823346 w 5806384"/>
                  <a:gd name="connsiteY619" fmla="*/ 2868495 h 4036143"/>
                  <a:gd name="connsiteX620" fmla="*/ 1775196 w 5806384"/>
                  <a:gd name="connsiteY620" fmla="*/ 2869911 h 4036143"/>
                  <a:gd name="connsiteX621" fmla="*/ 1745456 w 5806384"/>
                  <a:gd name="connsiteY621" fmla="*/ 2833090 h 4036143"/>
                  <a:gd name="connsiteX622" fmla="*/ 1708635 w 5806384"/>
                  <a:gd name="connsiteY622" fmla="*/ 2827425 h 4036143"/>
                  <a:gd name="connsiteX623" fmla="*/ 1704386 w 5806384"/>
                  <a:gd name="connsiteY623" fmla="*/ 2874159 h 4036143"/>
                  <a:gd name="connsiteX624" fmla="*/ 1649155 w 5806384"/>
                  <a:gd name="connsiteY624" fmla="*/ 2875576 h 4036143"/>
                  <a:gd name="connsiteX625" fmla="*/ 1554270 w 5806384"/>
                  <a:gd name="connsiteY625" fmla="*/ 2799101 h 4036143"/>
                  <a:gd name="connsiteX626" fmla="*/ 1708635 w 5806384"/>
                  <a:gd name="connsiteY626" fmla="*/ 2827425 h 4036143"/>
                  <a:gd name="connsiteX627" fmla="*/ 1405570 w 5806384"/>
                  <a:gd name="connsiteY627" fmla="*/ 2392654 h 4036143"/>
                  <a:gd name="connsiteX628" fmla="*/ 1439559 w 5806384"/>
                  <a:gd name="connsiteY628" fmla="*/ 2437973 h 4036143"/>
                  <a:gd name="connsiteX629" fmla="*/ 1303604 w 5806384"/>
                  <a:gd name="connsiteY629" fmla="*/ 2547019 h 4036143"/>
                  <a:gd name="connsiteX630" fmla="*/ 1365916 w 5806384"/>
                  <a:gd name="connsiteY630" fmla="*/ 2402568 h 4036143"/>
                  <a:gd name="connsiteX631" fmla="*/ 1405570 w 5806384"/>
                  <a:gd name="connsiteY631" fmla="*/ 2392654 h 4036143"/>
                  <a:gd name="connsiteX632" fmla="*/ 1299356 w 5806384"/>
                  <a:gd name="connsiteY632" fmla="*/ 2249619 h 4036143"/>
                  <a:gd name="connsiteX633" fmla="*/ 1222881 w 5806384"/>
                  <a:gd name="connsiteY633" fmla="*/ 2149070 h 4036143"/>
                  <a:gd name="connsiteX634" fmla="*/ 1228546 w 5806384"/>
                  <a:gd name="connsiteY634" fmla="*/ 2144821 h 4036143"/>
                  <a:gd name="connsiteX635" fmla="*/ 1351754 w 5806384"/>
                  <a:gd name="connsiteY635" fmla="*/ 2130659 h 4036143"/>
                  <a:gd name="connsiteX636" fmla="*/ 1387159 w 5806384"/>
                  <a:gd name="connsiteY636" fmla="*/ 2272278 h 4036143"/>
                  <a:gd name="connsiteX637" fmla="*/ 1387159 w 5806384"/>
                  <a:gd name="connsiteY637" fmla="*/ 2272278 h 4036143"/>
                  <a:gd name="connsiteX638" fmla="*/ 1480628 w 5806384"/>
                  <a:gd name="connsiteY638" fmla="*/ 2137740 h 4036143"/>
                  <a:gd name="connsiteX639" fmla="*/ 1389992 w 5806384"/>
                  <a:gd name="connsiteY639" fmla="*/ 2345920 h 4036143"/>
                  <a:gd name="connsiteX640" fmla="*/ 1299356 w 5806384"/>
                  <a:gd name="connsiteY640" fmla="*/ 2249619 h 4036143"/>
                  <a:gd name="connsiteX641" fmla="*/ 1296523 w 5806384"/>
                  <a:gd name="connsiteY641" fmla="*/ 2565430 h 4036143"/>
                  <a:gd name="connsiteX642" fmla="*/ 1303604 w 5806384"/>
                  <a:gd name="connsiteY642" fmla="*/ 2551268 h 4036143"/>
                  <a:gd name="connsiteX643" fmla="*/ 1442391 w 5806384"/>
                  <a:gd name="connsiteY643" fmla="*/ 2439389 h 4036143"/>
                  <a:gd name="connsiteX644" fmla="*/ 1567016 w 5806384"/>
                  <a:gd name="connsiteY644" fmla="*/ 2602251 h 4036143"/>
                  <a:gd name="connsiteX645" fmla="*/ 1542940 w 5806384"/>
                  <a:gd name="connsiteY645" fmla="*/ 2636239 h 4036143"/>
                  <a:gd name="connsiteX646" fmla="*/ 1296523 w 5806384"/>
                  <a:gd name="connsiteY646" fmla="*/ 2565430 h 4036143"/>
                  <a:gd name="connsiteX647" fmla="*/ 1609501 w 5806384"/>
                  <a:gd name="connsiteY647" fmla="*/ 2658898 h 4036143"/>
                  <a:gd name="connsiteX648" fmla="*/ 1632161 w 5806384"/>
                  <a:gd name="connsiteY648" fmla="*/ 2688638 h 4036143"/>
                  <a:gd name="connsiteX649" fmla="*/ 1530195 w 5806384"/>
                  <a:gd name="connsiteY649" fmla="*/ 2654650 h 4036143"/>
                  <a:gd name="connsiteX650" fmla="*/ 1541524 w 5806384"/>
                  <a:gd name="connsiteY650" fmla="*/ 2639072 h 4036143"/>
                  <a:gd name="connsiteX651" fmla="*/ 1609501 w 5806384"/>
                  <a:gd name="connsiteY651" fmla="*/ 2658898 h 4036143"/>
                  <a:gd name="connsiteX652" fmla="*/ 1425397 w 5806384"/>
                  <a:gd name="connsiteY652" fmla="*/ 2386990 h 4036143"/>
                  <a:gd name="connsiteX653" fmla="*/ 1459385 w 5806384"/>
                  <a:gd name="connsiteY653" fmla="*/ 2422394 h 4036143"/>
                  <a:gd name="connsiteX654" fmla="*/ 1442391 w 5806384"/>
                  <a:gd name="connsiteY654" fmla="*/ 2436556 h 4036143"/>
                  <a:gd name="connsiteX655" fmla="*/ 1408402 w 5806384"/>
                  <a:gd name="connsiteY655" fmla="*/ 2392654 h 4036143"/>
                  <a:gd name="connsiteX656" fmla="*/ 1425397 w 5806384"/>
                  <a:gd name="connsiteY656" fmla="*/ 2386990 h 4036143"/>
                  <a:gd name="connsiteX657" fmla="*/ 1428229 w 5806384"/>
                  <a:gd name="connsiteY657" fmla="*/ 2386990 h 4036143"/>
                  <a:gd name="connsiteX658" fmla="*/ 1542940 w 5806384"/>
                  <a:gd name="connsiteY658" fmla="*/ 2354417 h 4036143"/>
                  <a:gd name="connsiteX659" fmla="*/ 1460801 w 5806384"/>
                  <a:gd name="connsiteY659" fmla="*/ 2420978 h 4036143"/>
                  <a:gd name="connsiteX660" fmla="*/ 1428229 w 5806384"/>
                  <a:gd name="connsiteY660" fmla="*/ 2386990 h 4036143"/>
                  <a:gd name="connsiteX661" fmla="*/ 1460801 w 5806384"/>
                  <a:gd name="connsiteY661" fmla="*/ 2423811 h 4036143"/>
                  <a:gd name="connsiteX662" fmla="*/ 1593923 w 5806384"/>
                  <a:gd name="connsiteY662" fmla="*/ 2564014 h 4036143"/>
                  <a:gd name="connsiteX663" fmla="*/ 1568432 w 5806384"/>
                  <a:gd name="connsiteY663" fmla="*/ 2600835 h 4036143"/>
                  <a:gd name="connsiteX664" fmla="*/ 1443807 w 5806384"/>
                  <a:gd name="connsiteY664" fmla="*/ 2437973 h 4036143"/>
                  <a:gd name="connsiteX665" fmla="*/ 1460801 w 5806384"/>
                  <a:gd name="connsiteY665" fmla="*/ 2423811 h 4036143"/>
                  <a:gd name="connsiteX666" fmla="*/ 1544357 w 5806384"/>
                  <a:gd name="connsiteY666" fmla="*/ 2637655 h 4036143"/>
                  <a:gd name="connsiteX667" fmla="*/ 1568432 w 5806384"/>
                  <a:gd name="connsiteY667" fmla="*/ 2603667 h 4036143"/>
                  <a:gd name="connsiteX668" fmla="*/ 1608085 w 5806384"/>
                  <a:gd name="connsiteY668" fmla="*/ 2656066 h 4036143"/>
                  <a:gd name="connsiteX669" fmla="*/ 1544357 w 5806384"/>
                  <a:gd name="connsiteY669" fmla="*/ 2637655 h 4036143"/>
                  <a:gd name="connsiteX670" fmla="*/ 1636409 w 5806384"/>
                  <a:gd name="connsiteY670" fmla="*/ 2690054 h 4036143"/>
                  <a:gd name="connsiteX671" fmla="*/ 1613750 w 5806384"/>
                  <a:gd name="connsiteY671" fmla="*/ 2660315 h 4036143"/>
                  <a:gd name="connsiteX672" fmla="*/ 1721381 w 5806384"/>
                  <a:gd name="connsiteY672" fmla="*/ 2691471 h 4036143"/>
                  <a:gd name="connsiteX673" fmla="*/ 1718548 w 5806384"/>
                  <a:gd name="connsiteY673" fmla="*/ 2718378 h 4036143"/>
                  <a:gd name="connsiteX674" fmla="*/ 1636409 w 5806384"/>
                  <a:gd name="connsiteY674" fmla="*/ 2690054 h 4036143"/>
                  <a:gd name="connsiteX675" fmla="*/ 1718548 w 5806384"/>
                  <a:gd name="connsiteY675" fmla="*/ 2719795 h 4036143"/>
                  <a:gd name="connsiteX676" fmla="*/ 1712883 w 5806384"/>
                  <a:gd name="connsiteY676" fmla="*/ 2789188 h 4036143"/>
                  <a:gd name="connsiteX677" fmla="*/ 1639242 w 5806384"/>
                  <a:gd name="connsiteY677" fmla="*/ 2692887 h 4036143"/>
                  <a:gd name="connsiteX678" fmla="*/ 1718548 w 5806384"/>
                  <a:gd name="connsiteY678" fmla="*/ 2719795 h 4036143"/>
                  <a:gd name="connsiteX679" fmla="*/ 1423980 w 5806384"/>
                  <a:gd name="connsiteY679" fmla="*/ 2385573 h 4036143"/>
                  <a:gd name="connsiteX680" fmla="*/ 1406986 w 5806384"/>
                  <a:gd name="connsiteY680" fmla="*/ 2389822 h 4036143"/>
                  <a:gd name="connsiteX681" fmla="*/ 1385743 w 5806384"/>
                  <a:gd name="connsiteY681" fmla="*/ 2361498 h 4036143"/>
                  <a:gd name="connsiteX682" fmla="*/ 1391408 w 5806384"/>
                  <a:gd name="connsiteY682" fmla="*/ 2348753 h 4036143"/>
                  <a:gd name="connsiteX683" fmla="*/ 1423980 w 5806384"/>
                  <a:gd name="connsiteY683" fmla="*/ 2385573 h 4036143"/>
                  <a:gd name="connsiteX684" fmla="*/ 1288026 w 5806384"/>
                  <a:gd name="connsiteY684" fmla="*/ 2564014 h 4036143"/>
                  <a:gd name="connsiteX685" fmla="*/ 1299356 w 5806384"/>
                  <a:gd name="connsiteY685" fmla="*/ 2554100 h 4036143"/>
                  <a:gd name="connsiteX686" fmla="*/ 1293691 w 5806384"/>
                  <a:gd name="connsiteY686" fmla="*/ 2565430 h 4036143"/>
                  <a:gd name="connsiteX687" fmla="*/ 1288026 w 5806384"/>
                  <a:gd name="connsiteY687" fmla="*/ 2564014 h 4036143"/>
                  <a:gd name="connsiteX688" fmla="*/ 1540108 w 5806384"/>
                  <a:gd name="connsiteY688" fmla="*/ 2639072 h 4036143"/>
                  <a:gd name="connsiteX689" fmla="*/ 1528778 w 5806384"/>
                  <a:gd name="connsiteY689" fmla="*/ 2654650 h 4036143"/>
                  <a:gd name="connsiteX690" fmla="*/ 1292275 w 5806384"/>
                  <a:gd name="connsiteY690" fmla="*/ 2576759 h 4036143"/>
                  <a:gd name="connsiteX691" fmla="*/ 1296523 w 5806384"/>
                  <a:gd name="connsiteY691" fmla="*/ 2568262 h 4036143"/>
                  <a:gd name="connsiteX692" fmla="*/ 1540108 w 5806384"/>
                  <a:gd name="connsiteY692" fmla="*/ 2639072 h 4036143"/>
                  <a:gd name="connsiteX693" fmla="*/ 1711467 w 5806384"/>
                  <a:gd name="connsiteY693" fmla="*/ 2824593 h 4036143"/>
                  <a:gd name="connsiteX694" fmla="*/ 1714300 w 5806384"/>
                  <a:gd name="connsiteY694" fmla="*/ 2794853 h 4036143"/>
                  <a:gd name="connsiteX695" fmla="*/ 1741207 w 5806384"/>
                  <a:gd name="connsiteY695" fmla="*/ 2830257 h 4036143"/>
                  <a:gd name="connsiteX696" fmla="*/ 1711467 w 5806384"/>
                  <a:gd name="connsiteY696" fmla="*/ 2824593 h 4036143"/>
                  <a:gd name="connsiteX697" fmla="*/ 1707219 w 5806384"/>
                  <a:gd name="connsiteY697" fmla="*/ 2874159 h 4036143"/>
                  <a:gd name="connsiteX698" fmla="*/ 1711467 w 5806384"/>
                  <a:gd name="connsiteY698" fmla="*/ 2827425 h 4036143"/>
                  <a:gd name="connsiteX699" fmla="*/ 1742623 w 5806384"/>
                  <a:gd name="connsiteY699" fmla="*/ 2833090 h 4036143"/>
                  <a:gd name="connsiteX700" fmla="*/ 1772363 w 5806384"/>
                  <a:gd name="connsiteY700" fmla="*/ 2871327 h 4036143"/>
                  <a:gd name="connsiteX701" fmla="*/ 1707219 w 5806384"/>
                  <a:gd name="connsiteY701" fmla="*/ 2874159 h 4036143"/>
                  <a:gd name="connsiteX702" fmla="*/ 1388576 w 5806384"/>
                  <a:gd name="connsiteY702" fmla="*/ 2347336 h 4036143"/>
                  <a:gd name="connsiteX703" fmla="*/ 1382911 w 5806384"/>
                  <a:gd name="connsiteY703" fmla="*/ 2360082 h 4036143"/>
                  <a:gd name="connsiteX704" fmla="*/ 1310685 w 5806384"/>
                  <a:gd name="connsiteY704" fmla="*/ 2265197 h 4036143"/>
                  <a:gd name="connsiteX705" fmla="*/ 1388576 w 5806384"/>
                  <a:gd name="connsiteY705" fmla="*/ 2347336 h 4036143"/>
                  <a:gd name="connsiteX706" fmla="*/ 1404154 w 5806384"/>
                  <a:gd name="connsiteY706" fmla="*/ 2391238 h 4036143"/>
                  <a:gd name="connsiteX707" fmla="*/ 1368749 w 5806384"/>
                  <a:gd name="connsiteY707" fmla="*/ 2401152 h 4036143"/>
                  <a:gd name="connsiteX708" fmla="*/ 1384327 w 5806384"/>
                  <a:gd name="connsiteY708" fmla="*/ 2364331 h 4036143"/>
                  <a:gd name="connsiteX709" fmla="*/ 1404154 w 5806384"/>
                  <a:gd name="connsiteY709" fmla="*/ 2391238 h 4036143"/>
                  <a:gd name="connsiteX710" fmla="*/ 1302188 w 5806384"/>
                  <a:gd name="connsiteY710" fmla="*/ 2549852 h 4036143"/>
                  <a:gd name="connsiteX711" fmla="*/ 1285194 w 5806384"/>
                  <a:gd name="connsiteY711" fmla="*/ 2564014 h 4036143"/>
                  <a:gd name="connsiteX712" fmla="*/ 1285194 w 5806384"/>
                  <a:gd name="connsiteY712" fmla="*/ 2564014 h 4036143"/>
                  <a:gd name="connsiteX713" fmla="*/ 1295107 w 5806384"/>
                  <a:gd name="connsiteY713" fmla="*/ 2566846 h 4036143"/>
                  <a:gd name="connsiteX714" fmla="*/ 1290858 w 5806384"/>
                  <a:gd name="connsiteY714" fmla="*/ 2576759 h 4036143"/>
                  <a:gd name="connsiteX715" fmla="*/ 1290858 w 5806384"/>
                  <a:gd name="connsiteY715" fmla="*/ 2576759 h 4036143"/>
                  <a:gd name="connsiteX716" fmla="*/ 1528778 w 5806384"/>
                  <a:gd name="connsiteY716" fmla="*/ 2656066 h 4036143"/>
                  <a:gd name="connsiteX717" fmla="*/ 1473547 w 5806384"/>
                  <a:gd name="connsiteY717" fmla="*/ 2732540 h 4036143"/>
                  <a:gd name="connsiteX718" fmla="*/ 1272448 w 5806384"/>
                  <a:gd name="connsiteY718" fmla="*/ 2569678 h 4036143"/>
                  <a:gd name="connsiteX719" fmla="*/ 1334760 w 5806384"/>
                  <a:gd name="connsiteY719" fmla="*/ 2412481 h 4036143"/>
                  <a:gd name="connsiteX720" fmla="*/ 1365916 w 5806384"/>
                  <a:gd name="connsiteY720" fmla="*/ 2403984 h 4036143"/>
                  <a:gd name="connsiteX721" fmla="*/ 1302188 w 5806384"/>
                  <a:gd name="connsiteY721" fmla="*/ 2549852 h 4036143"/>
                  <a:gd name="connsiteX722" fmla="*/ 1530195 w 5806384"/>
                  <a:gd name="connsiteY722" fmla="*/ 2657482 h 4036143"/>
                  <a:gd name="connsiteX723" fmla="*/ 1634993 w 5806384"/>
                  <a:gd name="connsiteY723" fmla="*/ 2692887 h 4036143"/>
                  <a:gd name="connsiteX724" fmla="*/ 1711467 w 5806384"/>
                  <a:gd name="connsiteY724" fmla="*/ 2793436 h 4036143"/>
                  <a:gd name="connsiteX725" fmla="*/ 1708635 w 5806384"/>
                  <a:gd name="connsiteY725" fmla="*/ 2826009 h 4036143"/>
                  <a:gd name="connsiteX726" fmla="*/ 1551438 w 5806384"/>
                  <a:gd name="connsiteY726" fmla="*/ 2797685 h 4036143"/>
                  <a:gd name="connsiteX727" fmla="*/ 1474963 w 5806384"/>
                  <a:gd name="connsiteY727" fmla="*/ 2735373 h 4036143"/>
                  <a:gd name="connsiteX728" fmla="*/ 1530195 w 5806384"/>
                  <a:gd name="connsiteY728" fmla="*/ 2657482 h 4036143"/>
                  <a:gd name="connsiteX729" fmla="*/ 1707219 w 5806384"/>
                  <a:gd name="connsiteY729" fmla="*/ 2875576 h 4036143"/>
                  <a:gd name="connsiteX730" fmla="*/ 1773780 w 5806384"/>
                  <a:gd name="connsiteY730" fmla="*/ 2872743 h 4036143"/>
                  <a:gd name="connsiteX731" fmla="*/ 1846005 w 5806384"/>
                  <a:gd name="connsiteY731" fmla="*/ 2967628 h 4036143"/>
                  <a:gd name="connsiteX732" fmla="*/ 1697305 w 5806384"/>
                  <a:gd name="connsiteY732" fmla="*/ 2984622 h 4036143"/>
                  <a:gd name="connsiteX733" fmla="*/ 1707219 w 5806384"/>
                  <a:gd name="connsiteY733" fmla="*/ 2875576 h 4036143"/>
                  <a:gd name="connsiteX734" fmla="*/ 1744040 w 5806384"/>
                  <a:gd name="connsiteY734" fmla="*/ 2831674 h 4036143"/>
                  <a:gd name="connsiteX735" fmla="*/ 1714300 w 5806384"/>
                  <a:gd name="connsiteY735" fmla="*/ 2792020 h 4036143"/>
                  <a:gd name="connsiteX736" fmla="*/ 1719964 w 5806384"/>
                  <a:gd name="connsiteY736" fmla="*/ 2719795 h 4036143"/>
                  <a:gd name="connsiteX737" fmla="*/ 1763866 w 5806384"/>
                  <a:gd name="connsiteY737" fmla="*/ 2733956 h 4036143"/>
                  <a:gd name="connsiteX738" fmla="*/ 1810600 w 5806384"/>
                  <a:gd name="connsiteY738" fmla="*/ 2843003 h 4036143"/>
                  <a:gd name="connsiteX739" fmla="*/ 1744040 w 5806384"/>
                  <a:gd name="connsiteY739" fmla="*/ 2831674 h 4036143"/>
                  <a:gd name="connsiteX740" fmla="*/ 1719964 w 5806384"/>
                  <a:gd name="connsiteY740" fmla="*/ 2718378 h 4036143"/>
                  <a:gd name="connsiteX741" fmla="*/ 1722797 w 5806384"/>
                  <a:gd name="connsiteY741" fmla="*/ 2690054 h 4036143"/>
                  <a:gd name="connsiteX742" fmla="*/ 1722797 w 5806384"/>
                  <a:gd name="connsiteY742" fmla="*/ 2690054 h 4036143"/>
                  <a:gd name="connsiteX743" fmla="*/ 1610918 w 5806384"/>
                  <a:gd name="connsiteY743" fmla="*/ 2657482 h 4036143"/>
                  <a:gd name="connsiteX744" fmla="*/ 1568432 w 5806384"/>
                  <a:gd name="connsiteY744" fmla="*/ 2602251 h 4036143"/>
                  <a:gd name="connsiteX745" fmla="*/ 1595340 w 5806384"/>
                  <a:gd name="connsiteY745" fmla="*/ 2564014 h 4036143"/>
                  <a:gd name="connsiteX746" fmla="*/ 1595340 w 5806384"/>
                  <a:gd name="connsiteY746" fmla="*/ 2564014 h 4036143"/>
                  <a:gd name="connsiteX747" fmla="*/ 1462218 w 5806384"/>
                  <a:gd name="connsiteY747" fmla="*/ 2422394 h 4036143"/>
                  <a:gd name="connsiteX748" fmla="*/ 1551438 w 5806384"/>
                  <a:gd name="connsiteY748" fmla="*/ 2350169 h 4036143"/>
                  <a:gd name="connsiteX749" fmla="*/ 1552854 w 5806384"/>
                  <a:gd name="connsiteY749" fmla="*/ 2350169 h 4036143"/>
                  <a:gd name="connsiteX750" fmla="*/ 1426813 w 5806384"/>
                  <a:gd name="connsiteY750" fmla="*/ 2385573 h 4036143"/>
                  <a:gd name="connsiteX751" fmla="*/ 1391408 w 5806384"/>
                  <a:gd name="connsiteY751" fmla="*/ 2348753 h 4036143"/>
                  <a:gd name="connsiteX752" fmla="*/ 1486293 w 5806384"/>
                  <a:gd name="connsiteY752" fmla="*/ 2129243 h 4036143"/>
                  <a:gd name="connsiteX753" fmla="*/ 1486293 w 5806384"/>
                  <a:gd name="connsiteY753" fmla="*/ 2129243 h 4036143"/>
                  <a:gd name="connsiteX754" fmla="*/ 1484876 w 5806384"/>
                  <a:gd name="connsiteY754" fmla="*/ 2127827 h 4036143"/>
                  <a:gd name="connsiteX755" fmla="*/ 1387159 w 5806384"/>
                  <a:gd name="connsiteY755" fmla="*/ 2266613 h 4036143"/>
                  <a:gd name="connsiteX756" fmla="*/ 1353171 w 5806384"/>
                  <a:gd name="connsiteY756" fmla="*/ 2129243 h 4036143"/>
                  <a:gd name="connsiteX757" fmla="*/ 1491957 w 5806384"/>
                  <a:gd name="connsiteY757" fmla="*/ 2112249 h 4036143"/>
                  <a:gd name="connsiteX758" fmla="*/ 1762450 w 5806384"/>
                  <a:gd name="connsiteY758" fmla="*/ 2731124 h 4036143"/>
                  <a:gd name="connsiteX759" fmla="*/ 1719964 w 5806384"/>
                  <a:gd name="connsiteY759" fmla="*/ 2718378 h 4036143"/>
                  <a:gd name="connsiteX760" fmla="*/ 1547189 w 5806384"/>
                  <a:gd name="connsiteY760" fmla="*/ 2796269 h 4036143"/>
                  <a:gd name="connsiteX761" fmla="*/ 1443807 w 5806384"/>
                  <a:gd name="connsiteY761" fmla="*/ 2777858 h 4036143"/>
                  <a:gd name="connsiteX762" fmla="*/ 1473547 w 5806384"/>
                  <a:gd name="connsiteY762" fmla="*/ 2736789 h 4036143"/>
                  <a:gd name="connsiteX763" fmla="*/ 1547189 w 5806384"/>
                  <a:gd name="connsiteY763" fmla="*/ 2796269 h 4036143"/>
                  <a:gd name="connsiteX764" fmla="*/ 1823346 w 5806384"/>
                  <a:gd name="connsiteY764" fmla="*/ 2871327 h 4036143"/>
                  <a:gd name="connsiteX765" fmla="*/ 1864416 w 5806384"/>
                  <a:gd name="connsiteY765" fmla="*/ 2966212 h 4036143"/>
                  <a:gd name="connsiteX766" fmla="*/ 1848838 w 5806384"/>
                  <a:gd name="connsiteY766" fmla="*/ 2967628 h 4036143"/>
                  <a:gd name="connsiteX767" fmla="*/ 1776612 w 5806384"/>
                  <a:gd name="connsiteY767" fmla="*/ 2872743 h 4036143"/>
                  <a:gd name="connsiteX768" fmla="*/ 1823346 w 5806384"/>
                  <a:gd name="connsiteY768" fmla="*/ 2871327 h 4036143"/>
                  <a:gd name="connsiteX769" fmla="*/ 1865832 w 5806384"/>
                  <a:gd name="connsiteY769" fmla="*/ 2969044 h 4036143"/>
                  <a:gd name="connsiteX770" fmla="*/ 1887075 w 5806384"/>
                  <a:gd name="connsiteY770" fmla="*/ 3018611 h 4036143"/>
                  <a:gd name="connsiteX771" fmla="*/ 1850254 w 5806384"/>
                  <a:gd name="connsiteY771" fmla="*/ 2970460 h 4036143"/>
                  <a:gd name="connsiteX772" fmla="*/ 1865832 w 5806384"/>
                  <a:gd name="connsiteY772" fmla="*/ 2969044 h 4036143"/>
                  <a:gd name="connsiteX773" fmla="*/ 2055602 w 5806384"/>
                  <a:gd name="connsiteY773" fmla="*/ 2828841 h 4036143"/>
                  <a:gd name="connsiteX774" fmla="*/ 1970630 w 5806384"/>
                  <a:gd name="connsiteY774" fmla="*/ 2800517 h 4036143"/>
                  <a:gd name="connsiteX775" fmla="*/ 1950804 w 5806384"/>
                  <a:gd name="connsiteY775" fmla="*/ 2721211 h 4036143"/>
                  <a:gd name="connsiteX776" fmla="*/ 2055602 w 5806384"/>
                  <a:gd name="connsiteY776" fmla="*/ 2828841 h 4036143"/>
                  <a:gd name="connsiteX777" fmla="*/ 1229962 w 5806384"/>
                  <a:gd name="connsiteY777" fmla="*/ 2141989 h 4036143"/>
                  <a:gd name="connsiteX778" fmla="*/ 1331928 w 5806384"/>
                  <a:gd name="connsiteY778" fmla="*/ 2055601 h 4036143"/>
                  <a:gd name="connsiteX779" fmla="*/ 1350338 w 5806384"/>
                  <a:gd name="connsiteY779" fmla="*/ 2127827 h 4036143"/>
                  <a:gd name="connsiteX780" fmla="*/ 1229962 w 5806384"/>
                  <a:gd name="connsiteY780" fmla="*/ 2141989 h 4036143"/>
                  <a:gd name="connsiteX781" fmla="*/ 1220049 w 5806384"/>
                  <a:gd name="connsiteY781" fmla="*/ 2150486 h 4036143"/>
                  <a:gd name="connsiteX782" fmla="*/ 1285194 w 5806384"/>
                  <a:gd name="connsiteY782" fmla="*/ 2235457 h 4036143"/>
                  <a:gd name="connsiteX783" fmla="*/ 1211552 w 5806384"/>
                  <a:gd name="connsiteY783" fmla="*/ 2157567 h 4036143"/>
                  <a:gd name="connsiteX784" fmla="*/ 1220049 w 5806384"/>
                  <a:gd name="connsiteY784" fmla="*/ 2150486 h 4036143"/>
                  <a:gd name="connsiteX785" fmla="*/ 1215800 w 5806384"/>
                  <a:gd name="connsiteY785" fmla="*/ 2143405 h 4036143"/>
                  <a:gd name="connsiteX786" fmla="*/ 1198806 w 5806384"/>
                  <a:gd name="connsiteY786" fmla="*/ 2144821 h 4036143"/>
                  <a:gd name="connsiteX787" fmla="*/ 1198806 w 5806384"/>
                  <a:gd name="connsiteY787" fmla="*/ 2144821 h 4036143"/>
                  <a:gd name="connsiteX788" fmla="*/ 1210135 w 5806384"/>
                  <a:gd name="connsiteY788" fmla="*/ 2156151 h 4036143"/>
                  <a:gd name="connsiteX789" fmla="*/ 1127996 w 5806384"/>
                  <a:gd name="connsiteY789" fmla="*/ 2226960 h 4036143"/>
                  <a:gd name="connsiteX790" fmla="*/ 1085511 w 5806384"/>
                  <a:gd name="connsiteY790" fmla="*/ 1972046 h 4036143"/>
                  <a:gd name="connsiteX791" fmla="*/ 1215800 w 5806384"/>
                  <a:gd name="connsiteY791" fmla="*/ 2143405 h 4036143"/>
                  <a:gd name="connsiteX792" fmla="*/ 1217216 w 5806384"/>
                  <a:gd name="connsiteY792" fmla="*/ 2146237 h 4036143"/>
                  <a:gd name="connsiteX793" fmla="*/ 1220049 w 5806384"/>
                  <a:gd name="connsiteY793" fmla="*/ 2149070 h 4036143"/>
                  <a:gd name="connsiteX794" fmla="*/ 1211552 w 5806384"/>
                  <a:gd name="connsiteY794" fmla="*/ 2156151 h 4036143"/>
                  <a:gd name="connsiteX795" fmla="*/ 1203054 w 5806384"/>
                  <a:gd name="connsiteY795" fmla="*/ 2147654 h 4036143"/>
                  <a:gd name="connsiteX796" fmla="*/ 1217216 w 5806384"/>
                  <a:gd name="connsiteY796" fmla="*/ 2146237 h 4036143"/>
                  <a:gd name="connsiteX797" fmla="*/ 1684559 w 5806384"/>
                  <a:gd name="connsiteY797" fmla="*/ 3147484 h 4036143"/>
                  <a:gd name="connsiteX798" fmla="*/ 1695889 w 5806384"/>
                  <a:gd name="connsiteY798" fmla="*/ 3017195 h 4036143"/>
                  <a:gd name="connsiteX799" fmla="*/ 1885659 w 5806384"/>
                  <a:gd name="connsiteY799" fmla="*/ 3029940 h 4036143"/>
                  <a:gd name="connsiteX800" fmla="*/ 1684559 w 5806384"/>
                  <a:gd name="connsiteY800" fmla="*/ 3147484 h 4036143"/>
                  <a:gd name="connsiteX801" fmla="*/ 1535859 w 5806384"/>
                  <a:gd name="connsiteY801" fmla="*/ 3005865 h 4036143"/>
                  <a:gd name="connsiteX802" fmla="*/ 1695889 w 5806384"/>
                  <a:gd name="connsiteY802" fmla="*/ 2987455 h 4036143"/>
                  <a:gd name="connsiteX803" fmla="*/ 1693057 w 5806384"/>
                  <a:gd name="connsiteY803" fmla="*/ 3015778 h 4036143"/>
                  <a:gd name="connsiteX804" fmla="*/ 1535859 w 5806384"/>
                  <a:gd name="connsiteY804" fmla="*/ 3005865 h 4036143"/>
                  <a:gd name="connsiteX805" fmla="*/ 1072765 w 5806384"/>
                  <a:gd name="connsiteY805" fmla="*/ 744208 h 4036143"/>
                  <a:gd name="connsiteX806" fmla="*/ 1020366 w 5806384"/>
                  <a:gd name="connsiteY806" fmla="*/ 713052 h 4036143"/>
                  <a:gd name="connsiteX807" fmla="*/ 1111002 w 5806384"/>
                  <a:gd name="connsiteY807" fmla="*/ 618167 h 4036143"/>
                  <a:gd name="connsiteX808" fmla="*/ 1130829 w 5806384"/>
                  <a:gd name="connsiteY808" fmla="*/ 738544 h 4036143"/>
                  <a:gd name="connsiteX809" fmla="*/ 1072765 w 5806384"/>
                  <a:gd name="connsiteY809" fmla="*/ 744208 h 4036143"/>
                  <a:gd name="connsiteX810" fmla="*/ 942475 w 5806384"/>
                  <a:gd name="connsiteY810" fmla="*/ 1064267 h 4036143"/>
                  <a:gd name="connsiteX811" fmla="*/ 1041609 w 5806384"/>
                  <a:gd name="connsiteY811" fmla="*/ 909903 h 4036143"/>
                  <a:gd name="connsiteX812" fmla="*/ 1088343 w 5806384"/>
                  <a:gd name="connsiteY812" fmla="*/ 935394 h 4036143"/>
                  <a:gd name="connsiteX813" fmla="*/ 1102505 w 5806384"/>
                  <a:gd name="connsiteY813" fmla="*/ 960886 h 4036143"/>
                  <a:gd name="connsiteX814" fmla="*/ 1041609 w 5806384"/>
                  <a:gd name="connsiteY814" fmla="*/ 1136493 h 4036143"/>
                  <a:gd name="connsiteX815" fmla="*/ 942475 w 5806384"/>
                  <a:gd name="connsiteY815" fmla="*/ 1064267 h 4036143"/>
                  <a:gd name="connsiteX816" fmla="*/ 1043025 w 5806384"/>
                  <a:gd name="connsiteY816" fmla="*/ 909903 h 4036143"/>
                  <a:gd name="connsiteX817" fmla="*/ 1060019 w 5806384"/>
                  <a:gd name="connsiteY817" fmla="*/ 884411 h 4036143"/>
                  <a:gd name="connsiteX818" fmla="*/ 1088343 w 5806384"/>
                  <a:gd name="connsiteY818" fmla="*/ 932562 h 4036143"/>
                  <a:gd name="connsiteX819" fmla="*/ 1043025 w 5806384"/>
                  <a:gd name="connsiteY819" fmla="*/ 909903 h 4036143"/>
                  <a:gd name="connsiteX820" fmla="*/ 1101089 w 5806384"/>
                  <a:gd name="connsiteY820" fmla="*/ 816434 h 4036143"/>
                  <a:gd name="connsiteX821" fmla="*/ 1060019 w 5806384"/>
                  <a:gd name="connsiteY821" fmla="*/ 880163 h 4036143"/>
                  <a:gd name="connsiteX822" fmla="*/ 1020366 w 5806384"/>
                  <a:gd name="connsiteY822" fmla="*/ 809353 h 4036143"/>
                  <a:gd name="connsiteX823" fmla="*/ 1101089 w 5806384"/>
                  <a:gd name="connsiteY823" fmla="*/ 816434 h 4036143"/>
                  <a:gd name="connsiteX824" fmla="*/ 1017533 w 5806384"/>
                  <a:gd name="connsiteY824" fmla="*/ 809353 h 4036143"/>
                  <a:gd name="connsiteX825" fmla="*/ 1058603 w 5806384"/>
                  <a:gd name="connsiteY825" fmla="*/ 881579 h 4036143"/>
                  <a:gd name="connsiteX826" fmla="*/ 1041609 w 5806384"/>
                  <a:gd name="connsiteY826" fmla="*/ 908486 h 4036143"/>
                  <a:gd name="connsiteX827" fmla="*/ 1021782 w 5806384"/>
                  <a:gd name="connsiteY827" fmla="*/ 897157 h 4036143"/>
                  <a:gd name="connsiteX828" fmla="*/ 973632 w 5806384"/>
                  <a:gd name="connsiteY828" fmla="*/ 805105 h 4036143"/>
                  <a:gd name="connsiteX829" fmla="*/ 1017533 w 5806384"/>
                  <a:gd name="connsiteY829" fmla="*/ 809353 h 4036143"/>
                  <a:gd name="connsiteX830" fmla="*/ 1072765 w 5806384"/>
                  <a:gd name="connsiteY830" fmla="*/ 747041 h 4036143"/>
                  <a:gd name="connsiteX831" fmla="*/ 1072765 w 5806384"/>
                  <a:gd name="connsiteY831" fmla="*/ 747041 h 4036143"/>
                  <a:gd name="connsiteX832" fmla="*/ 1130829 w 5806384"/>
                  <a:gd name="connsiteY832" fmla="*/ 741376 h 4036143"/>
                  <a:gd name="connsiteX833" fmla="*/ 1135077 w 5806384"/>
                  <a:gd name="connsiteY833" fmla="*/ 765451 h 4036143"/>
                  <a:gd name="connsiteX834" fmla="*/ 1102505 w 5806384"/>
                  <a:gd name="connsiteY834" fmla="*/ 815018 h 4036143"/>
                  <a:gd name="connsiteX835" fmla="*/ 1018949 w 5806384"/>
                  <a:gd name="connsiteY835" fmla="*/ 807937 h 4036143"/>
                  <a:gd name="connsiteX836" fmla="*/ 986377 w 5806384"/>
                  <a:gd name="connsiteY836" fmla="*/ 749873 h 4036143"/>
                  <a:gd name="connsiteX837" fmla="*/ 1020366 w 5806384"/>
                  <a:gd name="connsiteY837" fmla="*/ 714468 h 4036143"/>
                  <a:gd name="connsiteX838" fmla="*/ 1072765 w 5806384"/>
                  <a:gd name="connsiteY838" fmla="*/ 747041 h 4036143"/>
                  <a:gd name="connsiteX839" fmla="*/ 1171898 w 5806384"/>
                  <a:gd name="connsiteY839" fmla="*/ 783862 h 4036143"/>
                  <a:gd name="connsiteX840" fmla="*/ 1171898 w 5806384"/>
                  <a:gd name="connsiteY840" fmla="*/ 783862 h 4036143"/>
                  <a:gd name="connsiteX841" fmla="*/ 1414067 w 5806384"/>
                  <a:gd name="connsiteY841" fmla="*/ 839093 h 4036143"/>
                  <a:gd name="connsiteX842" fmla="*/ 1105337 w 5806384"/>
                  <a:gd name="connsiteY842" fmla="*/ 815018 h 4036143"/>
                  <a:gd name="connsiteX843" fmla="*/ 1136494 w 5806384"/>
                  <a:gd name="connsiteY843" fmla="*/ 765451 h 4036143"/>
                  <a:gd name="connsiteX844" fmla="*/ 1136494 w 5806384"/>
                  <a:gd name="connsiteY844" fmla="*/ 765451 h 4036143"/>
                  <a:gd name="connsiteX845" fmla="*/ 1132245 w 5806384"/>
                  <a:gd name="connsiteY845" fmla="*/ 739960 h 4036143"/>
                  <a:gd name="connsiteX846" fmla="*/ 1340425 w 5806384"/>
                  <a:gd name="connsiteY846" fmla="*/ 718717 h 4036143"/>
                  <a:gd name="connsiteX847" fmla="*/ 1171898 w 5806384"/>
                  <a:gd name="connsiteY847" fmla="*/ 783862 h 4036143"/>
                  <a:gd name="connsiteX848" fmla="*/ 1266783 w 5806384"/>
                  <a:gd name="connsiteY848" fmla="*/ 1028863 h 4036143"/>
                  <a:gd name="connsiteX849" fmla="*/ 1111002 w 5806384"/>
                  <a:gd name="connsiteY849" fmla="*/ 945307 h 4036143"/>
                  <a:gd name="connsiteX850" fmla="*/ 1149239 w 5806384"/>
                  <a:gd name="connsiteY850" fmla="*/ 834845 h 4036143"/>
                  <a:gd name="connsiteX851" fmla="*/ 1266783 w 5806384"/>
                  <a:gd name="connsiteY851" fmla="*/ 1028863 h 4036143"/>
                  <a:gd name="connsiteX852" fmla="*/ 3048352 w 5806384"/>
                  <a:gd name="connsiteY852" fmla="*/ 459554 h 4036143"/>
                  <a:gd name="connsiteX853" fmla="*/ 2905316 w 5806384"/>
                  <a:gd name="connsiteY853" fmla="*/ 534612 h 4036143"/>
                  <a:gd name="connsiteX854" fmla="*/ 2974710 w 5806384"/>
                  <a:gd name="connsiteY854" fmla="*/ 351923 h 4036143"/>
                  <a:gd name="connsiteX855" fmla="*/ 3048352 w 5806384"/>
                  <a:gd name="connsiteY855" fmla="*/ 459554 h 4036143"/>
                  <a:gd name="connsiteX856" fmla="*/ 5369489 w 5806384"/>
                  <a:gd name="connsiteY856" fmla="*/ 840509 h 4036143"/>
                  <a:gd name="connsiteX857" fmla="*/ 5470039 w 5806384"/>
                  <a:gd name="connsiteY857" fmla="*/ 694642 h 4036143"/>
                  <a:gd name="connsiteX858" fmla="*/ 5553594 w 5806384"/>
                  <a:gd name="connsiteY858" fmla="*/ 822099 h 4036143"/>
                  <a:gd name="connsiteX859" fmla="*/ 5369489 w 5806384"/>
                  <a:gd name="connsiteY859" fmla="*/ 840509 h 4036143"/>
                  <a:gd name="connsiteX860" fmla="*/ 4267693 w 5806384"/>
                  <a:gd name="connsiteY860" fmla="*/ 1661900 h 4036143"/>
                  <a:gd name="connsiteX861" fmla="*/ 4240785 w 5806384"/>
                  <a:gd name="connsiteY861" fmla="*/ 1785109 h 4036143"/>
                  <a:gd name="connsiteX862" fmla="*/ 4094917 w 5806384"/>
                  <a:gd name="connsiteY862" fmla="*/ 1708634 h 4036143"/>
                  <a:gd name="connsiteX863" fmla="*/ 4267693 w 5806384"/>
                  <a:gd name="connsiteY863" fmla="*/ 1661900 h 4036143"/>
                  <a:gd name="connsiteX864" fmla="*/ 4203964 w 5806384"/>
                  <a:gd name="connsiteY864" fmla="*/ 1970630 h 4036143"/>
                  <a:gd name="connsiteX865" fmla="*/ 4243617 w 5806384"/>
                  <a:gd name="connsiteY865" fmla="*/ 1787941 h 4036143"/>
                  <a:gd name="connsiteX866" fmla="*/ 4388069 w 5806384"/>
                  <a:gd name="connsiteY866" fmla="*/ 1862999 h 4036143"/>
                  <a:gd name="connsiteX867" fmla="*/ 4203964 w 5806384"/>
                  <a:gd name="connsiteY867" fmla="*/ 1970630 h 4036143"/>
                  <a:gd name="connsiteX868" fmla="*/ 3374076 w 5806384"/>
                  <a:gd name="connsiteY868" fmla="*/ 3104998 h 4036143"/>
                  <a:gd name="connsiteX869" fmla="*/ 3381157 w 5806384"/>
                  <a:gd name="connsiteY869" fmla="*/ 3138987 h 4036143"/>
                  <a:gd name="connsiteX870" fmla="*/ 3276359 w 5806384"/>
                  <a:gd name="connsiteY870" fmla="*/ 3143236 h 4036143"/>
                  <a:gd name="connsiteX871" fmla="*/ 3219711 w 5806384"/>
                  <a:gd name="connsiteY871" fmla="*/ 3020027 h 4036143"/>
                  <a:gd name="connsiteX872" fmla="*/ 3374076 w 5806384"/>
                  <a:gd name="connsiteY872" fmla="*/ 3104998 h 4036143"/>
                  <a:gd name="connsiteX873" fmla="*/ 2035775 w 5806384"/>
                  <a:gd name="connsiteY873" fmla="*/ 2556933 h 4036143"/>
                  <a:gd name="connsiteX874" fmla="*/ 2052769 w 5806384"/>
                  <a:gd name="connsiteY874" fmla="*/ 2464880 h 4036143"/>
                  <a:gd name="connsiteX875" fmla="*/ 2178810 w 5806384"/>
                  <a:gd name="connsiteY875" fmla="*/ 2443637 h 4036143"/>
                  <a:gd name="connsiteX876" fmla="*/ 2072596 w 5806384"/>
                  <a:gd name="connsiteY876" fmla="*/ 2588089 h 4036143"/>
                  <a:gd name="connsiteX877" fmla="*/ 2035775 w 5806384"/>
                  <a:gd name="connsiteY877" fmla="*/ 2556933 h 4036143"/>
                  <a:gd name="connsiteX878" fmla="*/ 2049937 w 5806384"/>
                  <a:gd name="connsiteY878" fmla="*/ 2464880 h 4036143"/>
                  <a:gd name="connsiteX879" fmla="*/ 2032943 w 5806384"/>
                  <a:gd name="connsiteY879" fmla="*/ 2555516 h 4036143"/>
                  <a:gd name="connsiteX880" fmla="*/ 1946555 w 5806384"/>
                  <a:gd name="connsiteY880" fmla="*/ 2483291 h 4036143"/>
                  <a:gd name="connsiteX881" fmla="*/ 2049937 w 5806384"/>
                  <a:gd name="connsiteY881" fmla="*/ 2464880 h 4036143"/>
                  <a:gd name="connsiteX882" fmla="*/ 2049937 w 5806384"/>
                  <a:gd name="connsiteY882" fmla="*/ 2463464 h 4036143"/>
                  <a:gd name="connsiteX883" fmla="*/ 1945139 w 5806384"/>
                  <a:gd name="connsiteY883" fmla="*/ 2481874 h 4036143"/>
                  <a:gd name="connsiteX884" fmla="*/ 1932393 w 5806384"/>
                  <a:gd name="connsiteY884" fmla="*/ 2471961 h 4036143"/>
                  <a:gd name="connsiteX885" fmla="*/ 2051353 w 5806384"/>
                  <a:gd name="connsiteY885" fmla="*/ 2454967 h 4036143"/>
                  <a:gd name="connsiteX886" fmla="*/ 2049937 w 5806384"/>
                  <a:gd name="connsiteY886" fmla="*/ 2463464 h 4036143"/>
                  <a:gd name="connsiteX887" fmla="*/ 2032943 w 5806384"/>
                  <a:gd name="connsiteY887" fmla="*/ 2556933 h 4036143"/>
                  <a:gd name="connsiteX888" fmla="*/ 2023029 w 5806384"/>
                  <a:gd name="connsiteY888" fmla="*/ 2612164 h 4036143"/>
                  <a:gd name="connsiteX889" fmla="*/ 1793606 w 5806384"/>
                  <a:gd name="connsiteY889" fmla="*/ 2508782 h 4036143"/>
                  <a:gd name="connsiteX890" fmla="*/ 1945139 w 5806384"/>
                  <a:gd name="connsiteY890" fmla="*/ 2483291 h 4036143"/>
                  <a:gd name="connsiteX891" fmla="*/ 2032943 w 5806384"/>
                  <a:gd name="connsiteY891" fmla="*/ 2556933 h 4036143"/>
                  <a:gd name="connsiteX892" fmla="*/ 2024445 w 5806384"/>
                  <a:gd name="connsiteY892" fmla="*/ 2613580 h 4036143"/>
                  <a:gd name="connsiteX893" fmla="*/ 2034359 w 5806384"/>
                  <a:gd name="connsiteY893" fmla="*/ 2558349 h 4036143"/>
                  <a:gd name="connsiteX894" fmla="*/ 2069764 w 5806384"/>
                  <a:gd name="connsiteY894" fmla="*/ 2588089 h 4036143"/>
                  <a:gd name="connsiteX895" fmla="*/ 2044272 w 5806384"/>
                  <a:gd name="connsiteY895" fmla="*/ 2622077 h 4036143"/>
                  <a:gd name="connsiteX896" fmla="*/ 2024445 w 5806384"/>
                  <a:gd name="connsiteY896" fmla="*/ 2613580 h 4036143"/>
                  <a:gd name="connsiteX897" fmla="*/ 2044272 w 5806384"/>
                  <a:gd name="connsiteY897" fmla="*/ 2624910 h 4036143"/>
                  <a:gd name="connsiteX898" fmla="*/ 2015948 w 5806384"/>
                  <a:gd name="connsiteY898" fmla="*/ 2663147 h 4036143"/>
                  <a:gd name="connsiteX899" fmla="*/ 2024445 w 5806384"/>
                  <a:gd name="connsiteY899" fmla="*/ 2616413 h 4036143"/>
                  <a:gd name="connsiteX900" fmla="*/ 2044272 w 5806384"/>
                  <a:gd name="connsiteY900" fmla="*/ 2624910 h 4036143"/>
                  <a:gd name="connsiteX901" fmla="*/ 2047105 w 5806384"/>
                  <a:gd name="connsiteY901" fmla="*/ 2623494 h 4036143"/>
                  <a:gd name="connsiteX902" fmla="*/ 2072596 w 5806384"/>
                  <a:gd name="connsiteY902" fmla="*/ 2589505 h 4036143"/>
                  <a:gd name="connsiteX903" fmla="*/ 2188724 w 5806384"/>
                  <a:gd name="connsiteY903" fmla="*/ 2687222 h 4036143"/>
                  <a:gd name="connsiteX904" fmla="*/ 2047105 w 5806384"/>
                  <a:gd name="connsiteY904" fmla="*/ 2623494 h 4036143"/>
                  <a:gd name="connsiteX905" fmla="*/ 2052769 w 5806384"/>
                  <a:gd name="connsiteY905" fmla="*/ 2462048 h 4036143"/>
                  <a:gd name="connsiteX906" fmla="*/ 2054185 w 5806384"/>
                  <a:gd name="connsiteY906" fmla="*/ 2453551 h 4036143"/>
                  <a:gd name="connsiteX907" fmla="*/ 2183059 w 5806384"/>
                  <a:gd name="connsiteY907" fmla="*/ 2435140 h 4036143"/>
                  <a:gd name="connsiteX908" fmla="*/ 2178810 w 5806384"/>
                  <a:gd name="connsiteY908" fmla="*/ 2440805 h 4036143"/>
                  <a:gd name="connsiteX909" fmla="*/ 2052769 w 5806384"/>
                  <a:gd name="connsiteY909" fmla="*/ 2462048 h 4036143"/>
                  <a:gd name="connsiteX910" fmla="*/ 1129413 w 5806384"/>
                  <a:gd name="connsiteY910" fmla="*/ 1003371 h 4036143"/>
                  <a:gd name="connsiteX911" fmla="*/ 1105337 w 5806384"/>
                  <a:gd name="connsiteY911" fmla="*/ 962302 h 4036143"/>
                  <a:gd name="connsiteX912" fmla="*/ 1109586 w 5806384"/>
                  <a:gd name="connsiteY912" fmla="*/ 948140 h 4036143"/>
                  <a:gd name="connsiteX913" fmla="*/ 1268199 w 5806384"/>
                  <a:gd name="connsiteY913" fmla="*/ 1033111 h 4036143"/>
                  <a:gd name="connsiteX914" fmla="*/ 1282361 w 5806384"/>
                  <a:gd name="connsiteY914" fmla="*/ 1055770 h 4036143"/>
                  <a:gd name="connsiteX915" fmla="*/ 1169066 w 5806384"/>
                  <a:gd name="connsiteY915" fmla="*/ 1463633 h 4036143"/>
                  <a:gd name="connsiteX916" fmla="*/ 1129413 w 5806384"/>
                  <a:gd name="connsiteY916" fmla="*/ 1003371 h 4036143"/>
                  <a:gd name="connsiteX917" fmla="*/ 1169066 w 5806384"/>
                  <a:gd name="connsiteY917" fmla="*/ 1474963 h 4036143"/>
                  <a:gd name="connsiteX918" fmla="*/ 1173314 w 5806384"/>
                  <a:gd name="connsiteY918" fmla="*/ 1521697 h 4036143"/>
                  <a:gd name="connsiteX919" fmla="*/ 1157737 w 5806384"/>
                  <a:gd name="connsiteY919" fmla="*/ 1514616 h 4036143"/>
                  <a:gd name="connsiteX920" fmla="*/ 1169066 w 5806384"/>
                  <a:gd name="connsiteY920" fmla="*/ 1474963 h 4036143"/>
                  <a:gd name="connsiteX921" fmla="*/ 1814849 w 5806384"/>
                  <a:gd name="connsiteY921" fmla="*/ 1051522 h 4036143"/>
                  <a:gd name="connsiteX922" fmla="*/ 2096671 w 5806384"/>
                  <a:gd name="connsiteY922" fmla="*/ 911319 h 4036143"/>
                  <a:gd name="connsiteX923" fmla="*/ 1921064 w 5806384"/>
                  <a:gd name="connsiteY923" fmla="*/ 1183227 h 4036143"/>
                  <a:gd name="connsiteX924" fmla="*/ 1814849 w 5806384"/>
                  <a:gd name="connsiteY924" fmla="*/ 1051522 h 4036143"/>
                  <a:gd name="connsiteX925" fmla="*/ 2726876 w 5806384"/>
                  <a:gd name="connsiteY925" fmla="*/ 952388 h 4036143"/>
                  <a:gd name="connsiteX926" fmla="*/ 2742454 w 5806384"/>
                  <a:gd name="connsiteY926" fmla="*/ 949556 h 4036143"/>
                  <a:gd name="connsiteX927" fmla="*/ 2755200 w 5806384"/>
                  <a:gd name="connsiteY927" fmla="*/ 952388 h 4036143"/>
                  <a:gd name="connsiteX928" fmla="*/ 2726876 w 5806384"/>
                  <a:gd name="connsiteY928" fmla="*/ 952388 h 4036143"/>
                  <a:gd name="connsiteX929" fmla="*/ 4590584 w 5806384"/>
                  <a:gd name="connsiteY929" fmla="*/ 905654 h 4036143"/>
                  <a:gd name="connsiteX930" fmla="*/ 4654313 w 5806384"/>
                  <a:gd name="connsiteY930" fmla="*/ 803688 h 4036143"/>
                  <a:gd name="connsiteX931" fmla="*/ 4788851 w 5806384"/>
                  <a:gd name="connsiteY931" fmla="*/ 901405 h 4036143"/>
                  <a:gd name="connsiteX932" fmla="*/ 4590584 w 5806384"/>
                  <a:gd name="connsiteY932" fmla="*/ 905654 h 4036143"/>
                  <a:gd name="connsiteX933" fmla="*/ 4572174 w 5806384"/>
                  <a:gd name="connsiteY933" fmla="*/ 907070 h 4036143"/>
                  <a:gd name="connsiteX934" fmla="*/ 4586336 w 5806384"/>
                  <a:gd name="connsiteY934" fmla="*/ 907070 h 4036143"/>
                  <a:gd name="connsiteX935" fmla="*/ 4580671 w 5806384"/>
                  <a:gd name="connsiteY935" fmla="*/ 915567 h 4036143"/>
                  <a:gd name="connsiteX936" fmla="*/ 4572174 w 5806384"/>
                  <a:gd name="connsiteY936" fmla="*/ 907070 h 4036143"/>
                  <a:gd name="connsiteX937" fmla="*/ 4092085 w 5806384"/>
                  <a:gd name="connsiteY937" fmla="*/ 1707218 h 4036143"/>
                  <a:gd name="connsiteX938" fmla="*/ 3970292 w 5806384"/>
                  <a:gd name="connsiteY938" fmla="*/ 1643489 h 4036143"/>
                  <a:gd name="connsiteX939" fmla="*/ 3970292 w 5806384"/>
                  <a:gd name="connsiteY939" fmla="*/ 1643489 h 4036143"/>
                  <a:gd name="connsiteX940" fmla="*/ 3936304 w 5806384"/>
                  <a:gd name="connsiteY940" fmla="*/ 1749704 h 4036143"/>
                  <a:gd name="connsiteX941" fmla="*/ 3896650 w 5806384"/>
                  <a:gd name="connsiteY941" fmla="*/ 1761033 h 4036143"/>
                  <a:gd name="connsiteX942" fmla="*/ 3920726 w 5806384"/>
                  <a:gd name="connsiteY942" fmla="*/ 1565599 h 4036143"/>
                  <a:gd name="connsiteX943" fmla="*/ 3920726 w 5806384"/>
                  <a:gd name="connsiteY943" fmla="*/ 1565599 h 4036143"/>
                  <a:gd name="connsiteX944" fmla="*/ 3883905 w 5806384"/>
                  <a:gd name="connsiteY944" fmla="*/ 1507535 h 4036143"/>
                  <a:gd name="connsiteX945" fmla="*/ 4175640 w 5806384"/>
                  <a:gd name="connsiteY945" fmla="*/ 1392824 h 4036143"/>
                  <a:gd name="connsiteX946" fmla="*/ 4307346 w 5806384"/>
                  <a:gd name="connsiteY946" fmla="*/ 1477795 h 4036143"/>
                  <a:gd name="connsiteX947" fmla="*/ 4267693 w 5806384"/>
                  <a:gd name="connsiteY947" fmla="*/ 1661900 h 4036143"/>
                  <a:gd name="connsiteX948" fmla="*/ 4092085 w 5806384"/>
                  <a:gd name="connsiteY948" fmla="*/ 1707218 h 4036143"/>
                  <a:gd name="connsiteX949" fmla="*/ 3267862 w 5806384"/>
                  <a:gd name="connsiteY949" fmla="*/ 2915229 h 4036143"/>
                  <a:gd name="connsiteX950" fmla="*/ 3201301 w 5806384"/>
                  <a:gd name="connsiteY950" fmla="*/ 2978958 h 4036143"/>
                  <a:gd name="connsiteX951" fmla="*/ 3146069 w 5806384"/>
                  <a:gd name="connsiteY951" fmla="*/ 2857165 h 4036143"/>
                  <a:gd name="connsiteX952" fmla="*/ 3267862 w 5806384"/>
                  <a:gd name="connsiteY952" fmla="*/ 2915229 h 4036143"/>
                  <a:gd name="connsiteX953" fmla="*/ 2544188 w 5806384"/>
                  <a:gd name="connsiteY953" fmla="*/ 2685806 h 4036143"/>
                  <a:gd name="connsiteX954" fmla="*/ 2631991 w 5806384"/>
                  <a:gd name="connsiteY954" fmla="*/ 2748118 h 4036143"/>
                  <a:gd name="connsiteX955" fmla="*/ 2670229 w 5806384"/>
                  <a:gd name="connsiteY955" fmla="*/ 2801934 h 4036143"/>
                  <a:gd name="connsiteX956" fmla="*/ 2544188 w 5806384"/>
                  <a:gd name="connsiteY956" fmla="*/ 2685806 h 4036143"/>
                  <a:gd name="connsiteX957" fmla="*/ 2402569 w 5806384"/>
                  <a:gd name="connsiteY957" fmla="*/ 2556933 h 4036143"/>
                  <a:gd name="connsiteX958" fmla="*/ 2430893 w 5806384"/>
                  <a:gd name="connsiteY958" fmla="*/ 2582424 h 4036143"/>
                  <a:gd name="connsiteX959" fmla="*/ 2449303 w 5806384"/>
                  <a:gd name="connsiteY959" fmla="*/ 2614997 h 4036143"/>
                  <a:gd name="connsiteX960" fmla="*/ 2398320 w 5806384"/>
                  <a:gd name="connsiteY960" fmla="*/ 2578175 h 4036143"/>
                  <a:gd name="connsiteX961" fmla="*/ 2402569 w 5806384"/>
                  <a:gd name="connsiteY961" fmla="*/ 2556933 h 4036143"/>
                  <a:gd name="connsiteX962" fmla="*/ 1874329 w 5806384"/>
                  <a:gd name="connsiteY962" fmla="*/ 1660484 h 4036143"/>
                  <a:gd name="connsiteX963" fmla="*/ 1966381 w 5806384"/>
                  <a:gd name="connsiteY963" fmla="*/ 1734126 h 4036143"/>
                  <a:gd name="connsiteX964" fmla="*/ 1744040 w 5806384"/>
                  <a:gd name="connsiteY964" fmla="*/ 1799270 h 4036143"/>
                  <a:gd name="connsiteX965" fmla="*/ 1456553 w 5806384"/>
                  <a:gd name="connsiteY965" fmla="*/ 1659068 h 4036143"/>
                  <a:gd name="connsiteX966" fmla="*/ 1450888 w 5806384"/>
                  <a:gd name="connsiteY966" fmla="*/ 1647738 h 4036143"/>
                  <a:gd name="connsiteX967" fmla="*/ 1874329 w 5806384"/>
                  <a:gd name="connsiteY967" fmla="*/ 1660484 h 4036143"/>
                  <a:gd name="connsiteX968" fmla="*/ 1273864 w 5806384"/>
                  <a:gd name="connsiteY968" fmla="*/ 1569848 h 4036143"/>
                  <a:gd name="connsiteX969" fmla="*/ 1314933 w 5806384"/>
                  <a:gd name="connsiteY969" fmla="*/ 1571264 h 4036143"/>
                  <a:gd name="connsiteX970" fmla="*/ 1307852 w 5806384"/>
                  <a:gd name="connsiteY970" fmla="*/ 1586842 h 4036143"/>
                  <a:gd name="connsiteX971" fmla="*/ 1273864 w 5806384"/>
                  <a:gd name="connsiteY971" fmla="*/ 1569848 h 4036143"/>
                  <a:gd name="connsiteX972" fmla="*/ 1285194 w 5806384"/>
                  <a:gd name="connsiteY972" fmla="*/ 1055770 h 4036143"/>
                  <a:gd name="connsiteX973" fmla="*/ 1285194 w 5806384"/>
                  <a:gd name="connsiteY973" fmla="*/ 1055770 h 4036143"/>
                  <a:gd name="connsiteX974" fmla="*/ 1272448 w 5806384"/>
                  <a:gd name="connsiteY974" fmla="*/ 1034527 h 4036143"/>
                  <a:gd name="connsiteX975" fmla="*/ 1278113 w 5806384"/>
                  <a:gd name="connsiteY975" fmla="*/ 1037360 h 4036143"/>
                  <a:gd name="connsiteX976" fmla="*/ 1278113 w 5806384"/>
                  <a:gd name="connsiteY976" fmla="*/ 1037360 h 4036143"/>
                  <a:gd name="connsiteX977" fmla="*/ 1504703 w 5806384"/>
                  <a:gd name="connsiteY977" fmla="*/ 952388 h 4036143"/>
                  <a:gd name="connsiteX978" fmla="*/ 1504703 w 5806384"/>
                  <a:gd name="connsiteY978" fmla="*/ 952388 h 4036143"/>
                  <a:gd name="connsiteX979" fmla="*/ 1622247 w 5806384"/>
                  <a:gd name="connsiteY979" fmla="*/ 781029 h 4036143"/>
                  <a:gd name="connsiteX980" fmla="*/ 1705802 w 5806384"/>
                  <a:gd name="connsiteY980" fmla="*/ 897157 h 4036143"/>
                  <a:gd name="connsiteX981" fmla="*/ 1584010 w 5806384"/>
                  <a:gd name="connsiteY981" fmla="*/ 1163401 h 4036143"/>
                  <a:gd name="connsiteX982" fmla="*/ 1465050 w 5806384"/>
                  <a:gd name="connsiteY982" fmla="*/ 1222881 h 4036143"/>
                  <a:gd name="connsiteX983" fmla="*/ 1173314 w 5806384"/>
                  <a:gd name="connsiteY983" fmla="*/ 1497622 h 4036143"/>
                  <a:gd name="connsiteX984" fmla="*/ 1173314 w 5806384"/>
                  <a:gd name="connsiteY984" fmla="*/ 1497622 h 4036143"/>
                  <a:gd name="connsiteX985" fmla="*/ 1353171 w 5806384"/>
                  <a:gd name="connsiteY985" fmla="*/ 1483460 h 4036143"/>
                  <a:gd name="connsiteX986" fmla="*/ 1313518 w 5806384"/>
                  <a:gd name="connsiteY986" fmla="*/ 1567015 h 4036143"/>
                  <a:gd name="connsiteX987" fmla="*/ 1268199 w 5806384"/>
                  <a:gd name="connsiteY987" fmla="*/ 1565599 h 4036143"/>
                  <a:gd name="connsiteX988" fmla="*/ 1174731 w 5806384"/>
                  <a:gd name="connsiteY988" fmla="*/ 1520281 h 4036143"/>
                  <a:gd name="connsiteX989" fmla="*/ 1170482 w 5806384"/>
                  <a:gd name="connsiteY989" fmla="*/ 1467882 h 4036143"/>
                  <a:gd name="connsiteX990" fmla="*/ 1285194 w 5806384"/>
                  <a:gd name="connsiteY990" fmla="*/ 1055770 h 4036143"/>
                  <a:gd name="connsiteX991" fmla="*/ 2256701 w 5806384"/>
                  <a:gd name="connsiteY991" fmla="*/ 1169066 h 4036143"/>
                  <a:gd name="connsiteX992" fmla="*/ 2003203 w 5806384"/>
                  <a:gd name="connsiteY992" fmla="*/ 1285193 h 4036143"/>
                  <a:gd name="connsiteX993" fmla="*/ 1962133 w 5806384"/>
                  <a:gd name="connsiteY993" fmla="*/ 1234210 h 4036143"/>
                  <a:gd name="connsiteX994" fmla="*/ 2024445 w 5806384"/>
                  <a:gd name="connsiteY994" fmla="*/ 1156320 h 4036143"/>
                  <a:gd name="connsiteX995" fmla="*/ 2256701 w 5806384"/>
                  <a:gd name="connsiteY995" fmla="*/ 1169066 h 4036143"/>
                  <a:gd name="connsiteX996" fmla="*/ 1749704 w 5806384"/>
                  <a:gd name="connsiteY996" fmla="*/ 1453720 h 4036143"/>
                  <a:gd name="connsiteX997" fmla="*/ 2113666 w 5806384"/>
                  <a:gd name="connsiteY997" fmla="*/ 1425396 h 4036143"/>
                  <a:gd name="connsiteX998" fmla="*/ 2188724 w 5806384"/>
                  <a:gd name="connsiteY998" fmla="*/ 1520281 h 4036143"/>
                  <a:gd name="connsiteX999" fmla="*/ 1895572 w 5806384"/>
                  <a:gd name="connsiteY999" fmla="*/ 1661900 h 4036143"/>
                  <a:gd name="connsiteX1000" fmla="*/ 1895572 w 5806384"/>
                  <a:gd name="connsiteY1000" fmla="*/ 1661900 h 4036143"/>
                  <a:gd name="connsiteX1001" fmla="*/ 1896988 w 5806384"/>
                  <a:gd name="connsiteY1001" fmla="*/ 1663316 h 4036143"/>
                  <a:gd name="connsiteX1002" fmla="*/ 2201469 w 5806384"/>
                  <a:gd name="connsiteY1002" fmla="*/ 1535859 h 4036143"/>
                  <a:gd name="connsiteX1003" fmla="*/ 2239707 w 5806384"/>
                  <a:gd name="connsiteY1003" fmla="*/ 1584010 h 4036143"/>
                  <a:gd name="connsiteX1004" fmla="*/ 2241123 w 5806384"/>
                  <a:gd name="connsiteY1004" fmla="*/ 1654819 h 4036143"/>
                  <a:gd name="connsiteX1005" fmla="*/ 1969214 w 5806384"/>
                  <a:gd name="connsiteY1005" fmla="*/ 1734126 h 4036143"/>
                  <a:gd name="connsiteX1006" fmla="*/ 1874329 w 5806384"/>
                  <a:gd name="connsiteY1006" fmla="*/ 1659068 h 4036143"/>
                  <a:gd name="connsiteX1007" fmla="*/ 1874329 w 5806384"/>
                  <a:gd name="connsiteY1007" fmla="*/ 1659068 h 4036143"/>
                  <a:gd name="connsiteX1008" fmla="*/ 1449472 w 5806384"/>
                  <a:gd name="connsiteY1008" fmla="*/ 1646322 h 4036143"/>
                  <a:gd name="connsiteX1009" fmla="*/ 1409818 w 5806384"/>
                  <a:gd name="connsiteY1009" fmla="*/ 1571264 h 4036143"/>
                  <a:gd name="connsiteX1010" fmla="*/ 1409818 w 5806384"/>
                  <a:gd name="connsiteY1010" fmla="*/ 1571264 h 4036143"/>
                  <a:gd name="connsiteX1011" fmla="*/ 1316350 w 5806384"/>
                  <a:gd name="connsiteY1011" fmla="*/ 1569848 h 4036143"/>
                  <a:gd name="connsiteX1012" fmla="*/ 1356003 w 5806384"/>
                  <a:gd name="connsiteY1012" fmla="*/ 1486292 h 4036143"/>
                  <a:gd name="connsiteX1013" fmla="*/ 1518865 w 5806384"/>
                  <a:gd name="connsiteY1013" fmla="*/ 1473547 h 4036143"/>
                  <a:gd name="connsiteX1014" fmla="*/ 1523114 w 5806384"/>
                  <a:gd name="connsiteY1014" fmla="*/ 1493373 h 4036143"/>
                  <a:gd name="connsiteX1015" fmla="*/ 1405570 w 5806384"/>
                  <a:gd name="connsiteY1015" fmla="*/ 1559934 h 4036143"/>
                  <a:gd name="connsiteX1016" fmla="*/ 1405570 w 5806384"/>
                  <a:gd name="connsiteY1016" fmla="*/ 1559934 h 4036143"/>
                  <a:gd name="connsiteX1017" fmla="*/ 1406986 w 5806384"/>
                  <a:gd name="connsiteY1017" fmla="*/ 1561350 h 4036143"/>
                  <a:gd name="connsiteX1018" fmla="*/ 1616582 w 5806384"/>
                  <a:gd name="connsiteY1018" fmla="*/ 1465049 h 4036143"/>
                  <a:gd name="connsiteX1019" fmla="*/ 1685976 w 5806384"/>
                  <a:gd name="connsiteY1019" fmla="*/ 1459385 h 4036143"/>
                  <a:gd name="connsiteX1020" fmla="*/ 1664733 w 5806384"/>
                  <a:gd name="connsiteY1020" fmla="*/ 1584010 h 4036143"/>
                  <a:gd name="connsiteX1021" fmla="*/ 1664733 w 5806384"/>
                  <a:gd name="connsiteY1021" fmla="*/ 1585426 h 4036143"/>
                  <a:gd name="connsiteX1022" fmla="*/ 1749704 w 5806384"/>
                  <a:gd name="connsiteY1022" fmla="*/ 1453720 h 4036143"/>
                  <a:gd name="connsiteX1023" fmla="*/ 2190140 w 5806384"/>
                  <a:gd name="connsiteY1023" fmla="*/ 1518865 h 4036143"/>
                  <a:gd name="connsiteX1024" fmla="*/ 2115082 w 5806384"/>
                  <a:gd name="connsiteY1024" fmla="*/ 1425396 h 4036143"/>
                  <a:gd name="connsiteX1025" fmla="*/ 2235458 w 5806384"/>
                  <a:gd name="connsiteY1025" fmla="*/ 1415483 h 4036143"/>
                  <a:gd name="connsiteX1026" fmla="*/ 2238290 w 5806384"/>
                  <a:gd name="connsiteY1026" fmla="*/ 1496206 h 4036143"/>
                  <a:gd name="connsiteX1027" fmla="*/ 2190140 w 5806384"/>
                  <a:gd name="connsiteY1027" fmla="*/ 1518865 h 4036143"/>
                  <a:gd name="connsiteX1028" fmla="*/ 2239707 w 5806384"/>
                  <a:gd name="connsiteY1028" fmla="*/ 1494789 h 4036143"/>
                  <a:gd name="connsiteX1029" fmla="*/ 2236874 w 5806384"/>
                  <a:gd name="connsiteY1029" fmla="*/ 1415483 h 4036143"/>
                  <a:gd name="connsiteX1030" fmla="*/ 2413898 w 5806384"/>
                  <a:gd name="connsiteY1030" fmla="*/ 1401321 h 4036143"/>
                  <a:gd name="connsiteX1031" fmla="*/ 2419563 w 5806384"/>
                  <a:gd name="connsiteY1031" fmla="*/ 1406986 h 4036143"/>
                  <a:gd name="connsiteX1032" fmla="*/ 2239707 w 5806384"/>
                  <a:gd name="connsiteY1032" fmla="*/ 1494789 h 4036143"/>
                  <a:gd name="connsiteX1033" fmla="*/ 2239707 w 5806384"/>
                  <a:gd name="connsiteY1033" fmla="*/ 1517448 h 4036143"/>
                  <a:gd name="connsiteX1034" fmla="*/ 2239707 w 5806384"/>
                  <a:gd name="connsiteY1034" fmla="*/ 1497622 h 4036143"/>
                  <a:gd name="connsiteX1035" fmla="*/ 2423812 w 5806384"/>
                  <a:gd name="connsiteY1035" fmla="*/ 1408402 h 4036143"/>
                  <a:gd name="connsiteX1036" fmla="*/ 2423812 w 5806384"/>
                  <a:gd name="connsiteY1036" fmla="*/ 1408402 h 4036143"/>
                  <a:gd name="connsiteX1037" fmla="*/ 2416731 w 5806384"/>
                  <a:gd name="connsiteY1037" fmla="*/ 1401321 h 4036143"/>
                  <a:gd name="connsiteX1038" fmla="*/ 2541355 w 5806384"/>
                  <a:gd name="connsiteY1038" fmla="*/ 1391407 h 4036143"/>
                  <a:gd name="connsiteX1039" fmla="*/ 2239707 w 5806384"/>
                  <a:gd name="connsiteY1039" fmla="*/ 1517448 h 4036143"/>
                  <a:gd name="connsiteX1040" fmla="*/ 3039854 w 5806384"/>
                  <a:gd name="connsiteY1040" fmla="*/ 1351754 h 4036143"/>
                  <a:gd name="connsiteX1041" fmla="*/ 2554101 w 5806384"/>
                  <a:gd name="connsiteY1041" fmla="*/ 1389991 h 4036143"/>
                  <a:gd name="connsiteX1042" fmla="*/ 3045520 w 5806384"/>
                  <a:gd name="connsiteY1042" fmla="*/ 1184644 h 4036143"/>
                  <a:gd name="connsiteX1043" fmla="*/ 3066762 w 5806384"/>
                  <a:gd name="connsiteY1043" fmla="*/ 1200222 h 4036143"/>
                  <a:gd name="connsiteX1044" fmla="*/ 3039854 w 5806384"/>
                  <a:gd name="connsiteY1044" fmla="*/ 1351754 h 4036143"/>
                  <a:gd name="connsiteX1045" fmla="*/ 2765114 w 5806384"/>
                  <a:gd name="connsiteY1045" fmla="*/ 950972 h 4036143"/>
                  <a:gd name="connsiteX1046" fmla="*/ 2746703 w 5806384"/>
                  <a:gd name="connsiteY1046" fmla="*/ 948140 h 4036143"/>
                  <a:gd name="connsiteX1047" fmla="*/ 2990288 w 5806384"/>
                  <a:gd name="connsiteY1047" fmla="*/ 898573 h 4036143"/>
                  <a:gd name="connsiteX1048" fmla="*/ 3022861 w 5806384"/>
                  <a:gd name="connsiteY1048" fmla="*/ 945307 h 4036143"/>
                  <a:gd name="connsiteX1049" fmla="*/ 2765114 w 5806384"/>
                  <a:gd name="connsiteY1049" fmla="*/ 950972 h 4036143"/>
                  <a:gd name="connsiteX1050" fmla="*/ 3150318 w 5806384"/>
                  <a:gd name="connsiteY1050" fmla="*/ 595508 h 4036143"/>
                  <a:gd name="connsiteX1051" fmla="*/ 3175809 w 5806384"/>
                  <a:gd name="connsiteY1051" fmla="*/ 606838 h 4036143"/>
                  <a:gd name="connsiteX1052" fmla="*/ 3172977 w 5806384"/>
                  <a:gd name="connsiteY1052" fmla="*/ 621000 h 4036143"/>
                  <a:gd name="connsiteX1053" fmla="*/ 3150318 w 5806384"/>
                  <a:gd name="connsiteY1053" fmla="*/ 595508 h 4036143"/>
                  <a:gd name="connsiteX1054" fmla="*/ 4273358 w 5806384"/>
                  <a:gd name="connsiteY1054" fmla="*/ 611086 h 4036143"/>
                  <a:gd name="connsiteX1055" fmla="*/ 4412144 w 5806384"/>
                  <a:gd name="connsiteY1055" fmla="*/ 749873 h 4036143"/>
                  <a:gd name="connsiteX1056" fmla="*/ 4431971 w 5806384"/>
                  <a:gd name="connsiteY1056" fmla="*/ 908486 h 4036143"/>
                  <a:gd name="connsiteX1057" fmla="*/ 4114744 w 5806384"/>
                  <a:gd name="connsiteY1057" fmla="*/ 916984 h 4036143"/>
                  <a:gd name="connsiteX1058" fmla="*/ 4161478 w 5806384"/>
                  <a:gd name="connsiteY1058" fmla="*/ 803688 h 4036143"/>
                  <a:gd name="connsiteX1059" fmla="*/ 4161478 w 5806384"/>
                  <a:gd name="connsiteY1059" fmla="*/ 803688 h 4036143"/>
                  <a:gd name="connsiteX1060" fmla="*/ 4041102 w 5806384"/>
                  <a:gd name="connsiteY1060" fmla="*/ 881579 h 4036143"/>
                  <a:gd name="connsiteX1061" fmla="*/ 3960379 w 5806384"/>
                  <a:gd name="connsiteY1061" fmla="*/ 717301 h 4036143"/>
                  <a:gd name="connsiteX1062" fmla="*/ 3960379 w 5806384"/>
                  <a:gd name="connsiteY1062" fmla="*/ 717301 h 4036143"/>
                  <a:gd name="connsiteX1063" fmla="*/ 3600667 w 5806384"/>
                  <a:gd name="connsiteY1063" fmla="*/ 922648 h 4036143"/>
                  <a:gd name="connsiteX1064" fmla="*/ 3895234 w 5806384"/>
                  <a:gd name="connsiteY1064" fmla="*/ 548774 h 4036143"/>
                  <a:gd name="connsiteX1065" fmla="*/ 4273358 w 5806384"/>
                  <a:gd name="connsiteY1065" fmla="*/ 611086 h 4036143"/>
                  <a:gd name="connsiteX1066" fmla="*/ 2947802 w 5806384"/>
                  <a:gd name="connsiteY1066" fmla="*/ 2763697 h 4036143"/>
                  <a:gd name="connsiteX1067" fmla="*/ 2942138 w 5806384"/>
                  <a:gd name="connsiteY1067" fmla="*/ 2770778 h 4036143"/>
                  <a:gd name="connsiteX1068" fmla="*/ 2865663 w 5806384"/>
                  <a:gd name="connsiteY1068" fmla="*/ 2749535 h 4036143"/>
                  <a:gd name="connsiteX1069" fmla="*/ 2780692 w 5806384"/>
                  <a:gd name="connsiteY1069" fmla="*/ 2684390 h 4036143"/>
                  <a:gd name="connsiteX1070" fmla="*/ 2780692 w 5806384"/>
                  <a:gd name="connsiteY1070" fmla="*/ 2684390 h 4036143"/>
                  <a:gd name="connsiteX1071" fmla="*/ 2947802 w 5806384"/>
                  <a:gd name="connsiteY1071" fmla="*/ 2763697 h 4036143"/>
                  <a:gd name="connsiteX1072" fmla="*/ 1969214 w 5806384"/>
                  <a:gd name="connsiteY1072" fmla="*/ 1736958 h 4036143"/>
                  <a:gd name="connsiteX1073" fmla="*/ 2156151 w 5806384"/>
                  <a:gd name="connsiteY1073" fmla="*/ 1885658 h 4036143"/>
                  <a:gd name="connsiteX1074" fmla="*/ 2136324 w 5806384"/>
                  <a:gd name="connsiteY1074" fmla="*/ 1991873 h 4036143"/>
                  <a:gd name="connsiteX1075" fmla="*/ 1748288 w 5806384"/>
                  <a:gd name="connsiteY1075" fmla="*/ 1802103 h 4036143"/>
                  <a:gd name="connsiteX1076" fmla="*/ 1969214 w 5806384"/>
                  <a:gd name="connsiteY1076" fmla="*/ 1736958 h 4036143"/>
                  <a:gd name="connsiteX1077" fmla="*/ 4433387 w 5806384"/>
                  <a:gd name="connsiteY1077" fmla="*/ 908486 h 4036143"/>
                  <a:gd name="connsiteX1078" fmla="*/ 4413560 w 5806384"/>
                  <a:gd name="connsiteY1078" fmla="*/ 752705 h 4036143"/>
                  <a:gd name="connsiteX1079" fmla="*/ 4566510 w 5806384"/>
                  <a:gd name="connsiteY1079" fmla="*/ 905654 h 4036143"/>
                  <a:gd name="connsiteX1080" fmla="*/ 4433387 w 5806384"/>
                  <a:gd name="connsiteY1080" fmla="*/ 908486 h 4036143"/>
                  <a:gd name="connsiteX1081" fmla="*/ 3508614 w 5806384"/>
                  <a:gd name="connsiteY1081" fmla="*/ 2661731 h 4036143"/>
                  <a:gd name="connsiteX1082" fmla="*/ 3569510 w 5806384"/>
                  <a:gd name="connsiteY1082" fmla="*/ 2691471 h 4036143"/>
                  <a:gd name="connsiteX1083" fmla="*/ 3623325 w 5806384"/>
                  <a:gd name="connsiteY1083" fmla="*/ 2718378 h 4036143"/>
                  <a:gd name="connsiteX1084" fmla="*/ 3586505 w 5806384"/>
                  <a:gd name="connsiteY1084" fmla="*/ 2804766 h 4036143"/>
                  <a:gd name="connsiteX1085" fmla="*/ 3508614 w 5806384"/>
                  <a:gd name="connsiteY1085" fmla="*/ 2661731 h 4036143"/>
                  <a:gd name="connsiteX1086" fmla="*/ 3328758 w 5806384"/>
                  <a:gd name="connsiteY1086" fmla="*/ 2942136 h 4036143"/>
                  <a:gd name="connsiteX1087" fmla="*/ 3340087 w 5806384"/>
                  <a:gd name="connsiteY1087" fmla="*/ 2936472 h 4036143"/>
                  <a:gd name="connsiteX1088" fmla="*/ 3342920 w 5806384"/>
                  <a:gd name="connsiteY1088" fmla="*/ 2949217 h 4036143"/>
                  <a:gd name="connsiteX1089" fmla="*/ 3328758 w 5806384"/>
                  <a:gd name="connsiteY1089" fmla="*/ 2942136 h 4036143"/>
                  <a:gd name="connsiteX1090" fmla="*/ 3308931 w 5806384"/>
                  <a:gd name="connsiteY1090" fmla="*/ 2878408 h 4036143"/>
                  <a:gd name="connsiteX1091" fmla="*/ 3308931 w 5806384"/>
                  <a:gd name="connsiteY1091" fmla="*/ 2878408 h 4036143"/>
                  <a:gd name="connsiteX1092" fmla="*/ 3316012 w 5806384"/>
                  <a:gd name="connsiteY1092" fmla="*/ 2809015 h 4036143"/>
                  <a:gd name="connsiteX1093" fmla="*/ 3340087 w 5806384"/>
                  <a:gd name="connsiteY1093" fmla="*/ 2933639 h 4036143"/>
                  <a:gd name="connsiteX1094" fmla="*/ 3325925 w 5806384"/>
                  <a:gd name="connsiteY1094" fmla="*/ 2940720 h 4036143"/>
                  <a:gd name="connsiteX1095" fmla="*/ 3270694 w 5806384"/>
                  <a:gd name="connsiteY1095" fmla="*/ 2915229 h 4036143"/>
                  <a:gd name="connsiteX1096" fmla="*/ 3308931 w 5806384"/>
                  <a:gd name="connsiteY1096" fmla="*/ 2878408 h 4036143"/>
                  <a:gd name="connsiteX1097" fmla="*/ 2950635 w 5806384"/>
                  <a:gd name="connsiteY1097" fmla="*/ 2763697 h 4036143"/>
                  <a:gd name="connsiteX1098" fmla="*/ 2990288 w 5806384"/>
                  <a:gd name="connsiteY1098" fmla="*/ 2782107 h 4036143"/>
                  <a:gd name="connsiteX1099" fmla="*/ 2944970 w 5806384"/>
                  <a:gd name="connsiteY1099" fmla="*/ 2769361 h 4036143"/>
                  <a:gd name="connsiteX1100" fmla="*/ 2950635 w 5806384"/>
                  <a:gd name="connsiteY1100" fmla="*/ 2763697 h 4036143"/>
                  <a:gd name="connsiteX1101" fmla="*/ 2382742 w 5806384"/>
                  <a:gd name="connsiteY1101" fmla="*/ 2494620 h 4036143"/>
                  <a:gd name="connsiteX1102" fmla="*/ 2411066 w 5806384"/>
                  <a:gd name="connsiteY1102" fmla="*/ 2507366 h 4036143"/>
                  <a:gd name="connsiteX1103" fmla="*/ 2405401 w 5806384"/>
                  <a:gd name="connsiteY1103" fmla="*/ 2534273 h 4036143"/>
                  <a:gd name="connsiteX1104" fmla="*/ 2382742 w 5806384"/>
                  <a:gd name="connsiteY1104" fmla="*/ 2494620 h 4036143"/>
                  <a:gd name="connsiteX1105" fmla="*/ 2403985 w 5806384"/>
                  <a:gd name="connsiteY1105" fmla="*/ 2401152 h 4036143"/>
                  <a:gd name="connsiteX1106" fmla="*/ 2337424 w 5806384"/>
                  <a:gd name="connsiteY1106" fmla="*/ 2412481 h 4036143"/>
                  <a:gd name="connsiteX1107" fmla="*/ 2276528 w 5806384"/>
                  <a:gd name="connsiteY1107" fmla="*/ 2304851 h 4036143"/>
                  <a:gd name="connsiteX1108" fmla="*/ 2403985 w 5806384"/>
                  <a:gd name="connsiteY1108" fmla="*/ 2401152 h 4036143"/>
                  <a:gd name="connsiteX1109" fmla="*/ 3158815 w 5806384"/>
                  <a:gd name="connsiteY1109" fmla="*/ 1241291 h 4036143"/>
                  <a:gd name="connsiteX1110" fmla="*/ 3165896 w 5806384"/>
                  <a:gd name="connsiteY1110" fmla="*/ 1271031 h 4036143"/>
                  <a:gd name="connsiteX1111" fmla="*/ 3069595 w 5806384"/>
                  <a:gd name="connsiteY1111" fmla="*/ 1198806 h 4036143"/>
                  <a:gd name="connsiteX1112" fmla="*/ 3071011 w 5806384"/>
                  <a:gd name="connsiteY1112" fmla="*/ 1193141 h 4036143"/>
                  <a:gd name="connsiteX1113" fmla="*/ 3158815 w 5806384"/>
                  <a:gd name="connsiteY1113" fmla="*/ 1241291 h 4036143"/>
                  <a:gd name="connsiteX1114" fmla="*/ 3072427 w 5806384"/>
                  <a:gd name="connsiteY1114" fmla="*/ 1007620 h 4036143"/>
                  <a:gd name="connsiteX1115" fmla="*/ 3029942 w 5806384"/>
                  <a:gd name="connsiteY1115" fmla="*/ 946724 h 4036143"/>
                  <a:gd name="connsiteX1116" fmla="*/ 3114913 w 5806384"/>
                  <a:gd name="connsiteY1116" fmla="*/ 945307 h 4036143"/>
                  <a:gd name="connsiteX1117" fmla="*/ 3102167 w 5806384"/>
                  <a:gd name="connsiteY1117" fmla="*/ 1013285 h 4036143"/>
                  <a:gd name="connsiteX1118" fmla="*/ 3072427 w 5806384"/>
                  <a:gd name="connsiteY1118" fmla="*/ 1007620 h 4036143"/>
                  <a:gd name="connsiteX1119" fmla="*/ 3100751 w 5806384"/>
                  <a:gd name="connsiteY1119" fmla="*/ 1014701 h 4036143"/>
                  <a:gd name="connsiteX1120" fmla="*/ 3096502 w 5806384"/>
                  <a:gd name="connsiteY1120" fmla="*/ 1041608 h 4036143"/>
                  <a:gd name="connsiteX1121" fmla="*/ 3073843 w 5806384"/>
                  <a:gd name="connsiteY1121" fmla="*/ 1010452 h 4036143"/>
                  <a:gd name="connsiteX1122" fmla="*/ 3100751 w 5806384"/>
                  <a:gd name="connsiteY1122" fmla="*/ 1014701 h 4036143"/>
                  <a:gd name="connsiteX1123" fmla="*/ 4157230 w 5806384"/>
                  <a:gd name="connsiteY1123" fmla="*/ 809353 h 4036143"/>
                  <a:gd name="connsiteX1124" fmla="*/ 4111911 w 5806384"/>
                  <a:gd name="connsiteY1124" fmla="*/ 918400 h 4036143"/>
                  <a:gd name="connsiteX1125" fmla="*/ 4059512 w 5806384"/>
                  <a:gd name="connsiteY1125" fmla="*/ 919816 h 4036143"/>
                  <a:gd name="connsiteX1126" fmla="*/ 4042519 w 5806384"/>
                  <a:gd name="connsiteY1126" fmla="*/ 884411 h 4036143"/>
                  <a:gd name="connsiteX1127" fmla="*/ 4157230 w 5806384"/>
                  <a:gd name="connsiteY1127" fmla="*/ 809353 h 4036143"/>
                  <a:gd name="connsiteX1128" fmla="*/ 3961795 w 5806384"/>
                  <a:gd name="connsiteY1128" fmla="*/ 1280945 h 4036143"/>
                  <a:gd name="connsiteX1129" fmla="*/ 4001449 w 5806384"/>
                  <a:gd name="connsiteY1129" fmla="*/ 1278112 h 4036143"/>
                  <a:gd name="connsiteX1130" fmla="*/ 4174224 w 5806384"/>
                  <a:gd name="connsiteY1130" fmla="*/ 1389991 h 4036143"/>
                  <a:gd name="connsiteX1131" fmla="*/ 3883905 w 5806384"/>
                  <a:gd name="connsiteY1131" fmla="*/ 1504703 h 4036143"/>
                  <a:gd name="connsiteX1132" fmla="*/ 3875407 w 5806384"/>
                  <a:gd name="connsiteY1132" fmla="*/ 1490541 h 4036143"/>
                  <a:gd name="connsiteX1133" fmla="*/ 3961795 w 5806384"/>
                  <a:gd name="connsiteY1133" fmla="*/ 1280945 h 4036143"/>
                  <a:gd name="connsiteX1134" fmla="*/ 3864078 w 5806384"/>
                  <a:gd name="connsiteY1134" fmla="*/ 1511784 h 4036143"/>
                  <a:gd name="connsiteX1135" fmla="*/ 3872576 w 5806384"/>
                  <a:gd name="connsiteY1135" fmla="*/ 1491957 h 4036143"/>
                  <a:gd name="connsiteX1136" fmla="*/ 3881072 w 5806384"/>
                  <a:gd name="connsiteY1136" fmla="*/ 1504703 h 4036143"/>
                  <a:gd name="connsiteX1137" fmla="*/ 3864078 w 5806384"/>
                  <a:gd name="connsiteY1137" fmla="*/ 1511784 h 4036143"/>
                  <a:gd name="connsiteX1138" fmla="*/ 3752199 w 5806384"/>
                  <a:gd name="connsiteY1138" fmla="*/ 1297939 h 4036143"/>
                  <a:gd name="connsiteX1139" fmla="*/ 3958963 w 5806384"/>
                  <a:gd name="connsiteY1139" fmla="*/ 1282361 h 4036143"/>
                  <a:gd name="connsiteX1140" fmla="*/ 3872576 w 5806384"/>
                  <a:gd name="connsiteY1140" fmla="*/ 1489125 h 4036143"/>
                  <a:gd name="connsiteX1141" fmla="*/ 3752199 w 5806384"/>
                  <a:gd name="connsiteY1141" fmla="*/ 1297939 h 4036143"/>
                  <a:gd name="connsiteX1142" fmla="*/ 3011531 w 5806384"/>
                  <a:gd name="connsiteY1142" fmla="*/ 2790604 h 4036143"/>
                  <a:gd name="connsiteX1143" fmla="*/ 3127658 w 5806384"/>
                  <a:gd name="connsiteY1143" fmla="*/ 2823177 h 4036143"/>
                  <a:gd name="connsiteX1144" fmla="*/ 3140404 w 5806384"/>
                  <a:gd name="connsiteY1144" fmla="*/ 2852916 h 4036143"/>
                  <a:gd name="connsiteX1145" fmla="*/ 3011531 w 5806384"/>
                  <a:gd name="connsiteY1145" fmla="*/ 2790604 h 4036143"/>
                  <a:gd name="connsiteX1146" fmla="*/ 3051185 w 5806384"/>
                  <a:gd name="connsiteY1146" fmla="*/ 2654650 h 4036143"/>
                  <a:gd name="connsiteX1147" fmla="*/ 3127658 w 5806384"/>
                  <a:gd name="connsiteY1147" fmla="*/ 2820344 h 4036143"/>
                  <a:gd name="connsiteX1148" fmla="*/ 3001618 w 5806384"/>
                  <a:gd name="connsiteY1148" fmla="*/ 2784939 h 4036143"/>
                  <a:gd name="connsiteX1149" fmla="*/ 2952051 w 5806384"/>
                  <a:gd name="connsiteY1149" fmla="*/ 2760864 h 4036143"/>
                  <a:gd name="connsiteX1150" fmla="*/ 3051185 w 5806384"/>
                  <a:gd name="connsiteY1150" fmla="*/ 2654650 h 4036143"/>
                  <a:gd name="connsiteX1151" fmla="*/ 1972047 w 5806384"/>
                  <a:gd name="connsiteY1151" fmla="*/ 1735542 h 4036143"/>
                  <a:gd name="connsiteX1152" fmla="*/ 2241123 w 5806384"/>
                  <a:gd name="connsiteY1152" fmla="*/ 1656235 h 4036143"/>
                  <a:gd name="connsiteX1153" fmla="*/ 2252452 w 5806384"/>
                  <a:gd name="connsiteY1153" fmla="*/ 2047104 h 4036143"/>
                  <a:gd name="connsiteX1154" fmla="*/ 2139157 w 5806384"/>
                  <a:gd name="connsiteY1154" fmla="*/ 1991873 h 4036143"/>
                  <a:gd name="connsiteX1155" fmla="*/ 2158984 w 5806384"/>
                  <a:gd name="connsiteY1155" fmla="*/ 1884242 h 4036143"/>
                  <a:gd name="connsiteX1156" fmla="*/ 2158984 w 5806384"/>
                  <a:gd name="connsiteY1156" fmla="*/ 1884242 h 4036143"/>
                  <a:gd name="connsiteX1157" fmla="*/ 1972047 w 5806384"/>
                  <a:gd name="connsiteY1157" fmla="*/ 1735542 h 4036143"/>
                  <a:gd name="connsiteX1158" fmla="*/ 3069595 w 5806384"/>
                  <a:gd name="connsiteY1158" fmla="*/ 2630574 h 4036143"/>
                  <a:gd name="connsiteX1159" fmla="*/ 3051185 w 5806384"/>
                  <a:gd name="connsiteY1159" fmla="*/ 2650401 h 4036143"/>
                  <a:gd name="connsiteX1160" fmla="*/ 3017196 w 5806384"/>
                  <a:gd name="connsiteY1160" fmla="*/ 2575343 h 4036143"/>
                  <a:gd name="connsiteX1161" fmla="*/ 3069595 w 5806384"/>
                  <a:gd name="connsiteY1161" fmla="*/ 2630574 h 4036143"/>
                  <a:gd name="connsiteX1162" fmla="*/ 2854334 w 5806384"/>
                  <a:gd name="connsiteY1162" fmla="*/ 2226960 h 4036143"/>
                  <a:gd name="connsiteX1163" fmla="*/ 2715547 w 5806384"/>
                  <a:gd name="connsiteY1163" fmla="*/ 1807768 h 4036143"/>
                  <a:gd name="connsiteX1164" fmla="*/ 2729709 w 5806384"/>
                  <a:gd name="connsiteY1164" fmla="*/ 1810600 h 4036143"/>
                  <a:gd name="connsiteX1165" fmla="*/ 2896819 w 5806384"/>
                  <a:gd name="connsiteY1165" fmla="*/ 2239706 h 4036143"/>
                  <a:gd name="connsiteX1166" fmla="*/ 2854334 w 5806384"/>
                  <a:gd name="connsiteY1166" fmla="*/ 2226960 h 4036143"/>
                  <a:gd name="connsiteX1167" fmla="*/ 2714130 w 5806384"/>
                  <a:gd name="connsiteY1167" fmla="*/ 1804935 h 4036143"/>
                  <a:gd name="connsiteX1168" fmla="*/ 2641905 w 5806384"/>
                  <a:gd name="connsiteY1168" fmla="*/ 1585426 h 4036143"/>
                  <a:gd name="connsiteX1169" fmla="*/ 2728292 w 5806384"/>
                  <a:gd name="connsiteY1169" fmla="*/ 1807768 h 4036143"/>
                  <a:gd name="connsiteX1170" fmla="*/ 2714130 w 5806384"/>
                  <a:gd name="connsiteY1170" fmla="*/ 1804935 h 4036143"/>
                  <a:gd name="connsiteX1171" fmla="*/ 3393902 w 5806384"/>
                  <a:gd name="connsiteY1171" fmla="*/ 2280775 h 4036143"/>
                  <a:gd name="connsiteX1172" fmla="*/ 3688471 w 5806384"/>
                  <a:gd name="connsiteY1172" fmla="*/ 2452135 h 4036143"/>
                  <a:gd name="connsiteX1173" fmla="*/ 3327342 w 5806384"/>
                  <a:gd name="connsiteY1173" fmla="*/ 2354417 h 4036143"/>
                  <a:gd name="connsiteX1174" fmla="*/ 3393902 w 5806384"/>
                  <a:gd name="connsiteY1174" fmla="*/ 2280775 h 4036143"/>
                  <a:gd name="connsiteX1175" fmla="*/ 3324509 w 5806384"/>
                  <a:gd name="connsiteY1175" fmla="*/ 2353001 h 4036143"/>
                  <a:gd name="connsiteX1176" fmla="*/ 3124826 w 5806384"/>
                  <a:gd name="connsiteY1176" fmla="*/ 2299186 h 4036143"/>
                  <a:gd name="connsiteX1177" fmla="*/ 3171561 w 5806384"/>
                  <a:gd name="connsiteY1177" fmla="*/ 2156151 h 4036143"/>
                  <a:gd name="connsiteX1178" fmla="*/ 3184306 w 5806384"/>
                  <a:gd name="connsiteY1178" fmla="*/ 2154735 h 4036143"/>
                  <a:gd name="connsiteX1179" fmla="*/ 3182890 w 5806384"/>
                  <a:gd name="connsiteY1179" fmla="*/ 2157567 h 4036143"/>
                  <a:gd name="connsiteX1180" fmla="*/ 3182890 w 5806384"/>
                  <a:gd name="connsiteY1180" fmla="*/ 2157567 h 4036143"/>
                  <a:gd name="connsiteX1181" fmla="*/ 3392486 w 5806384"/>
                  <a:gd name="connsiteY1181" fmla="*/ 2279359 h 4036143"/>
                  <a:gd name="connsiteX1182" fmla="*/ 3324509 w 5806384"/>
                  <a:gd name="connsiteY1182" fmla="*/ 2353001 h 4036143"/>
                  <a:gd name="connsiteX1183" fmla="*/ 2321846 w 5806384"/>
                  <a:gd name="connsiteY1183" fmla="*/ 2083925 h 4036143"/>
                  <a:gd name="connsiteX1184" fmla="*/ 2260950 w 5806384"/>
                  <a:gd name="connsiteY1184" fmla="*/ 2292105 h 4036143"/>
                  <a:gd name="connsiteX1185" fmla="*/ 2253869 w 5806384"/>
                  <a:gd name="connsiteY1185" fmla="*/ 2051352 h 4036143"/>
                  <a:gd name="connsiteX1186" fmla="*/ 2321846 w 5806384"/>
                  <a:gd name="connsiteY1186" fmla="*/ 2083925 h 4036143"/>
                  <a:gd name="connsiteX1187" fmla="*/ 2253869 w 5806384"/>
                  <a:gd name="connsiteY1187" fmla="*/ 2048520 h 4036143"/>
                  <a:gd name="connsiteX1188" fmla="*/ 2243955 w 5806384"/>
                  <a:gd name="connsiteY1188" fmla="*/ 1656235 h 4036143"/>
                  <a:gd name="connsiteX1189" fmla="*/ 2287857 w 5806384"/>
                  <a:gd name="connsiteY1189" fmla="*/ 1643489 h 4036143"/>
                  <a:gd name="connsiteX1190" fmla="*/ 2408233 w 5806384"/>
                  <a:gd name="connsiteY1190" fmla="*/ 1792190 h 4036143"/>
                  <a:gd name="connsiteX1191" fmla="*/ 2323262 w 5806384"/>
                  <a:gd name="connsiteY1191" fmla="*/ 2081092 h 4036143"/>
                  <a:gd name="connsiteX1192" fmla="*/ 2253869 w 5806384"/>
                  <a:gd name="connsiteY1192" fmla="*/ 2048520 h 4036143"/>
                  <a:gd name="connsiteX1193" fmla="*/ 2843004 w 5806384"/>
                  <a:gd name="connsiteY1193" fmla="*/ 2336007 h 4036143"/>
                  <a:gd name="connsiteX1194" fmla="*/ 2488956 w 5806384"/>
                  <a:gd name="connsiteY1194" fmla="*/ 2163232 h 4036143"/>
                  <a:gd name="connsiteX1195" fmla="*/ 2535691 w 5806384"/>
                  <a:gd name="connsiteY1195" fmla="*/ 1952219 h 4036143"/>
                  <a:gd name="connsiteX1196" fmla="*/ 2843004 w 5806384"/>
                  <a:gd name="connsiteY1196" fmla="*/ 2336007 h 4036143"/>
                  <a:gd name="connsiteX1197" fmla="*/ 2957715 w 5806384"/>
                  <a:gd name="connsiteY1197" fmla="*/ 2394071 h 4036143"/>
                  <a:gd name="connsiteX1198" fmla="*/ 3020028 w 5806384"/>
                  <a:gd name="connsiteY1198" fmla="*/ 2552684 h 4036143"/>
                  <a:gd name="connsiteX1199" fmla="*/ 2850085 w 5806384"/>
                  <a:gd name="connsiteY1199" fmla="*/ 2341672 h 4036143"/>
                  <a:gd name="connsiteX1200" fmla="*/ 2957715 w 5806384"/>
                  <a:gd name="connsiteY1200" fmla="*/ 2394071 h 4036143"/>
                  <a:gd name="connsiteX1201" fmla="*/ 2847253 w 5806384"/>
                  <a:gd name="connsiteY1201" fmla="*/ 2337423 h 4036143"/>
                  <a:gd name="connsiteX1202" fmla="*/ 2535691 w 5806384"/>
                  <a:gd name="connsiteY1202" fmla="*/ 1949387 h 4036143"/>
                  <a:gd name="connsiteX1203" fmla="*/ 2573928 w 5806384"/>
                  <a:gd name="connsiteY1203" fmla="*/ 1778028 h 4036143"/>
                  <a:gd name="connsiteX1204" fmla="*/ 2712715 w 5806384"/>
                  <a:gd name="connsiteY1204" fmla="*/ 1804935 h 4036143"/>
                  <a:gd name="connsiteX1205" fmla="*/ 2851501 w 5806384"/>
                  <a:gd name="connsiteY1205" fmla="*/ 2226960 h 4036143"/>
                  <a:gd name="connsiteX1206" fmla="*/ 2851501 w 5806384"/>
                  <a:gd name="connsiteY1206" fmla="*/ 2226960 h 4036143"/>
                  <a:gd name="connsiteX1207" fmla="*/ 2898235 w 5806384"/>
                  <a:gd name="connsiteY1207" fmla="*/ 2239706 h 4036143"/>
                  <a:gd name="connsiteX1208" fmla="*/ 2957715 w 5806384"/>
                  <a:gd name="connsiteY1208" fmla="*/ 2389822 h 4036143"/>
                  <a:gd name="connsiteX1209" fmla="*/ 2847253 w 5806384"/>
                  <a:gd name="connsiteY1209" fmla="*/ 2337423 h 4036143"/>
                  <a:gd name="connsiteX1210" fmla="*/ 2534274 w 5806384"/>
                  <a:gd name="connsiteY1210" fmla="*/ 1947971 h 4036143"/>
                  <a:gd name="connsiteX1211" fmla="*/ 2408233 w 5806384"/>
                  <a:gd name="connsiteY1211" fmla="*/ 1792190 h 4036143"/>
                  <a:gd name="connsiteX1212" fmla="*/ 2420979 w 5806384"/>
                  <a:gd name="connsiteY1212" fmla="*/ 1749704 h 4036143"/>
                  <a:gd name="connsiteX1213" fmla="*/ 2571095 w 5806384"/>
                  <a:gd name="connsiteY1213" fmla="*/ 1779444 h 4036143"/>
                  <a:gd name="connsiteX1214" fmla="*/ 2534274 w 5806384"/>
                  <a:gd name="connsiteY1214" fmla="*/ 1947971 h 4036143"/>
                  <a:gd name="connsiteX1215" fmla="*/ 2420979 w 5806384"/>
                  <a:gd name="connsiteY1215" fmla="*/ 1746871 h 4036143"/>
                  <a:gd name="connsiteX1216" fmla="*/ 2420979 w 5806384"/>
                  <a:gd name="connsiteY1216" fmla="*/ 1746871 h 4036143"/>
                  <a:gd name="connsiteX1217" fmla="*/ 2408233 w 5806384"/>
                  <a:gd name="connsiteY1217" fmla="*/ 1789357 h 4036143"/>
                  <a:gd name="connsiteX1218" fmla="*/ 2289273 w 5806384"/>
                  <a:gd name="connsiteY1218" fmla="*/ 1642073 h 4036143"/>
                  <a:gd name="connsiteX1219" fmla="*/ 2623495 w 5806384"/>
                  <a:gd name="connsiteY1219" fmla="*/ 1542940 h 4036143"/>
                  <a:gd name="connsiteX1220" fmla="*/ 2572511 w 5806384"/>
                  <a:gd name="connsiteY1220" fmla="*/ 1776611 h 4036143"/>
                  <a:gd name="connsiteX1221" fmla="*/ 2420979 w 5806384"/>
                  <a:gd name="connsiteY1221" fmla="*/ 1746871 h 4036143"/>
                  <a:gd name="connsiteX1222" fmla="*/ 2408233 w 5806384"/>
                  <a:gd name="connsiteY1222" fmla="*/ 1793606 h 4036143"/>
                  <a:gd name="connsiteX1223" fmla="*/ 2534274 w 5806384"/>
                  <a:gd name="connsiteY1223" fmla="*/ 1949387 h 4036143"/>
                  <a:gd name="connsiteX1224" fmla="*/ 2487540 w 5806384"/>
                  <a:gd name="connsiteY1224" fmla="*/ 2160399 h 4036143"/>
                  <a:gd name="connsiteX1225" fmla="*/ 2323262 w 5806384"/>
                  <a:gd name="connsiteY1225" fmla="*/ 2081092 h 4036143"/>
                  <a:gd name="connsiteX1226" fmla="*/ 2408233 w 5806384"/>
                  <a:gd name="connsiteY1226" fmla="*/ 1793606 h 4036143"/>
                  <a:gd name="connsiteX1227" fmla="*/ 3310347 w 5806384"/>
                  <a:gd name="connsiteY1227" fmla="*/ 1892739 h 4036143"/>
                  <a:gd name="connsiteX1228" fmla="*/ 3304682 w 5806384"/>
                  <a:gd name="connsiteY1228" fmla="*/ 1904069 h 4036143"/>
                  <a:gd name="connsiteX1229" fmla="*/ 3211214 w 5806384"/>
                  <a:gd name="connsiteY1229" fmla="*/ 1868664 h 4036143"/>
                  <a:gd name="connsiteX1230" fmla="*/ 3209797 w 5806384"/>
                  <a:gd name="connsiteY1230" fmla="*/ 1868664 h 4036143"/>
                  <a:gd name="connsiteX1231" fmla="*/ 3293353 w 5806384"/>
                  <a:gd name="connsiteY1231" fmla="*/ 1928144 h 4036143"/>
                  <a:gd name="connsiteX1232" fmla="*/ 3185723 w 5806384"/>
                  <a:gd name="connsiteY1232" fmla="*/ 2153318 h 4036143"/>
                  <a:gd name="connsiteX1233" fmla="*/ 3170144 w 5806384"/>
                  <a:gd name="connsiteY1233" fmla="*/ 2154735 h 4036143"/>
                  <a:gd name="connsiteX1234" fmla="*/ 3170144 w 5806384"/>
                  <a:gd name="connsiteY1234" fmla="*/ 2154735 h 4036143"/>
                  <a:gd name="connsiteX1235" fmla="*/ 3121994 w 5806384"/>
                  <a:gd name="connsiteY1235" fmla="*/ 2299186 h 4036143"/>
                  <a:gd name="connsiteX1236" fmla="*/ 3031358 w 5806384"/>
                  <a:gd name="connsiteY1236" fmla="*/ 2275111 h 4036143"/>
                  <a:gd name="connsiteX1237" fmla="*/ 3021444 w 5806384"/>
                  <a:gd name="connsiteY1237" fmla="*/ 1476379 h 4036143"/>
                  <a:gd name="connsiteX1238" fmla="*/ 3243786 w 5806384"/>
                  <a:gd name="connsiteY1238" fmla="*/ 1605252 h 4036143"/>
                  <a:gd name="connsiteX1239" fmla="*/ 3310347 w 5806384"/>
                  <a:gd name="connsiteY1239" fmla="*/ 1892739 h 4036143"/>
                  <a:gd name="connsiteX1240" fmla="*/ 3544019 w 5806384"/>
                  <a:gd name="connsiteY1240" fmla="*/ 2106584 h 4036143"/>
                  <a:gd name="connsiteX1241" fmla="*/ 3188554 w 5806384"/>
                  <a:gd name="connsiteY1241" fmla="*/ 2151902 h 4036143"/>
                  <a:gd name="connsiteX1242" fmla="*/ 3296186 w 5806384"/>
                  <a:gd name="connsiteY1242" fmla="*/ 1928144 h 4036143"/>
                  <a:gd name="connsiteX1243" fmla="*/ 3544019 w 5806384"/>
                  <a:gd name="connsiteY1243" fmla="*/ 2106584 h 4036143"/>
                  <a:gd name="connsiteX1244" fmla="*/ 3223959 w 5806384"/>
                  <a:gd name="connsiteY1244" fmla="*/ 1875745 h 4036143"/>
                  <a:gd name="connsiteX1245" fmla="*/ 3303267 w 5806384"/>
                  <a:gd name="connsiteY1245" fmla="*/ 1905485 h 4036143"/>
                  <a:gd name="connsiteX1246" fmla="*/ 3293353 w 5806384"/>
                  <a:gd name="connsiteY1246" fmla="*/ 1925311 h 4036143"/>
                  <a:gd name="connsiteX1247" fmla="*/ 3223959 w 5806384"/>
                  <a:gd name="connsiteY1247" fmla="*/ 1875745 h 4036143"/>
                  <a:gd name="connsiteX1248" fmla="*/ 3121994 w 5806384"/>
                  <a:gd name="connsiteY1248" fmla="*/ 2300602 h 4036143"/>
                  <a:gd name="connsiteX1249" fmla="*/ 3073843 w 5806384"/>
                  <a:gd name="connsiteY1249" fmla="*/ 2447886 h 4036143"/>
                  <a:gd name="connsiteX1250" fmla="*/ 3034190 w 5806384"/>
                  <a:gd name="connsiteY1250" fmla="*/ 2429475 h 4036143"/>
                  <a:gd name="connsiteX1251" fmla="*/ 3032773 w 5806384"/>
                  <a:gd name="connsiteY1251" fmla="*/ 2277943 h 4036143"/>
                  <a:gd name="connsiteX1252" fmla="*/ 3121994 w 5806384"/>
                  <a:gd name="connsiteY1252" fmla="*/ 2300602 h 4036143"/>
                  <a:gd name="connsiteX1253" fmla="*/ 3031358 w 5806384"/>
                  <a:gd name="connsiteY1253" fmla="*/ 2428059 h 4036143"/>
                  <a:gd name="connsiteX1254" fmla="*/ 2959132 w 5806384"/>
                  <a:gd name="connsiteY1254" fmla="*/ 2392654 h 4036143"/>
                  <a:gd name="connsiteX1255" fmla="*/ 2899652 w 5806384"/>
                  <a:gd name="connsiteY1255" fmla="*/ 2241122 h 4036143"/>
                  <a:gd name="connsiteX1256" fmla="*/ 3028525 w 5806384"/>
                  <a:gd name="connsiteY1256" fmla="*/ 2276527 h 4036143"/>
                  <a:gd name="connsiteX1257" fmla="*/ 3031358 w 5806384"/>
                  <a:gd name="connsiteY1257" fmla="*/ 2428059 h 4036143"/>
                  <a:gd name="connsiteX1258" fmla="*/ 3072427 w 5806384"/>
                  <a:gd name="connsiteY1258" fmla="*/ 2449302 h 4036143"/>
                  <a:gd name="connsiteX1259" fmla="*/ 3035606 w 5806384"/>
                  <a:gd name="connsiteY1259" fmla="*/ 2559765 h 4036143"/>
                  <a:gd name="connsiteX1260" fmla="*/ 3034190 w 5806384"/>
                  <a:gd name="connsiteY1260" fmla="*/ 2429475 h 4036143"/>
                  <a:gd name="connsiteX1261" fmla="*/ 3072427 w 5806384"/>
                  <a:gd name="connsiteY1261" fmla="*/ 2449302 h 4036143"/>
                  <a:gd name="connsiteX1262" fmla="*/ 3075259 w 5806384"/>
                  <a:gd name="connsiteY1262" fmla="*/ 2447886 h 4036143"/>
                  <a:gd name="connsiteX1263" fmla="*/ 3123410 w 5806384"/>
                  <a:gd name="connsiteY1263" fmla="*/ 2300602 h 4036143"/>
                  <a:gd name="connsiteX1264" fmla="*/ 3323093 w 5806384"/>
                  <a:gd name="connsiteY1264" fmla="*/ 2354417 h 4036143"/>
                  <a:gd name="connsiteX1265" fmla="*/ 3187139 w 5806384"/>
                  <a:gd name="connsiteY1265" fmla="*/ 2503117 h 4036143"/>
                  <a:gd name="connsiteX1266" fmla="*/ 3075259 w 5806384"/>
                  <a:gd name="connsiteY1266" fmla="*/ 2447886 h 4036143"/>
                  <a:gd name="connsiteX1267" fmla="*/ 3185723 w 5806384"/>
                  <a:gd name="connsiteY1267" fmla="*/ 2157567 h 4036143"/>
                  <a:gd name="connsiteX1268" fmla="*/ 3187139 w 5806384"/>
                  <a:gd name="connsiteY1268" fmla="*/ 2154735 h 4036143"/>
                  <a:gd name="connsiteX1269" fmla="*/ 3546852 w 5806384"/>
                  <a:gd name="connsiteY1269" fmla="*/ 2109416 h 4036143"/>
                  <a:gd name="connsiteX1270" fmla="*/ 3548267 w 5806384"/>
                  <a:gd name="connsiteY1270" fmla="*/ 2110833 h 4036143"/>
                  <a:gd name="connsiteX1271" fmla="*/ 3393902 w 5806384"/>
                  <a:gd name="connsiteY1271" fmla="*/ 2279359 h 4036143"/>
                  <a:gd name="connsiteX1272" fmla="*/ 3185723 w 5806384"/>
                  <a:gd name="connsiteY1272" fmla="*/ 2157567 h 4036143"/>
                  <a:gd name="connsiteX1273" fmla="*/ 3493036 w 5806384"/>
                  <a:gd name="connsiteY1273" fmla="*/ 1973462 h 4036143"/>
                  <a:gd name="connsiteX1274" fmla="*/ 3306099 w 5806384"/>
                  <a:gd name="connsiteY1274" fmla="*/ 1904069 h 4036143"/>
                  <a:gd name="connsiteX1275" fmla="*/ 3311763 w 5806384"/>
                  <a:gd name="connsiteY1275" fmla="*/ 1892739 h 4036143"/>
                  <a:gd name="connsiteX1276" fmla="*/ 3311763 w 5806384"/>
                  <a:gd name="connsiteY1276" fmla="*/ 1892739 h 4036143"/>
                  <a:gd name="connsiteX1277" fmla="*/ 3245202 w 5806384"/>
                  <a:gd name="connsiteY1277" fmla="*/ 1605252 h 4036143"/>
                  <a:gd name="connsiteX1278" fmla="*/ 3372659 w 5806384"/>
                  <a:gd name="connsiteY1278" fmla="*/ 1678894 h 4036143"/>
                  <a:gd name="connsiteX1279" fmla="*/ 3493036 w 5806384"/>
                  <a:gd name="connsiteY1279" fmla="*/ 1973462 h 4036143"/>
                  <a:gd name="connsiteX1280" fmla="*/ 3245202 w 5806384"/>
                  <a:gd name="connsiteY1280" fmla="*/ 1602420 h 4036143"/>
                  <a:gd name="connsiteX1281" fmla="*/ 3184306 w 5806384"/>
                  <a:gd name="connsiteY1281" fmla="*/ 1341841 h 4036143"/>
                  <a:gd name="connsiteX1282" fmla="*/ 3232457 w 5806384"/>
                  <a:gd name="connsiteY1282" fmla="*/ 1337592 h 4036143"/>
                  <a:gd name="connsiteX1283" fmla="*/ 3371244 w 5806384"/>
                  <a:gd name="connsiteY1283" fmla="*/ 1676062 h 4036143"/>
                  <a:gd name="connsiteX1284" fmla="*/ 3245202 w 5806384"/>
                  <a:gd name="connsiteY1284" fmla="*/ 1602420 h 4036143"/>
                  <a:gd name="connsiteX1285" fmla="*/ 3546852 w 5806384"/>
                  <a:gd name="connsiteY1285" fmla="*/ 2106584 h 4036143"/>
                  <a:gd name="connsiteX1286" fmla="*/ 3296186 w 5806384"/>
                  <a:gd name="connsiteY1286" fmla="*/ 1926728 h 4036143"/>
                  <a:gd name="connsiteX1287" fmla="*/ 3306099 w 5806384"/>
                  <a:gd name="connsiteY1287" fmla="*/ 1905485 h 4036143"/>
                  <a:gd name="connsiteX1288" fmla="*/ 3494452 w 5806384"/>
                  <a:gd name="connsiteY1288" fmla="*/ 1976294 h 4036143"/>
                  <a:gd name="connsiteX1289" fmla="*/ 3546852 w 5806384"/>
                  <a:gd name="connsiteY1289" fmla="*/ 2106584 h 4036143"/>
                  <a:gd name="connsiteX1290" fmla="*/ 3546852 w 5806384"/>
                  <a:gd name="connsiteY1290" fmla="*/ 2106584 h 4036143"/>
                  <a:gd name="connsiteX1291" fmla="*/ 3248035 w 5806384"/>
                  <a:gd name="connsiteY1291" fmla="*/ 1334760 h 4036143"/>
                  <a:gd name="connsiteX1292" fmla="*/ 3233873 w 5806384"/>
                  <a:gd name="connsiteY1292" fmla="*/ 1336176 h 4036143"/>
                  <a:gd name="connsiteX1293" fmla="*/ 3226792 w 5806384"/>
                  <a:gd name="connsiteY1293" fmla="*/ 1320598 h 4036143"/>
                  <a:gd name="connsiteX1294" fmla="*/ 3248035 w 5806384"/>
                  <a:gd name="connsiteY1294" fmla="*/ 1334760 h 4036143"/>
                  <a:gd name="connsiteX1295" fmla="*/ 3223959 w 5806384"/>
                  <a:gd name="connsiteY1295" fmla="*/ 1317766 h 4036143"/>
                  <a:gd name="connsiteX1296" fmla="*/ 3231040 w 5806384"/>
                  <a:gd name="connsiteY1296" fmla="*/ 1336176 h 4036143"/>
                  <a:gd name="connsiteX1297" fmla="*/ 3182890 w 5806384"/>
                  <a:gd name="connsiteY1297" fmla="*/ 1340425 h 4036143"/>
                  <a:gd name="connsiteX1298" fmla="*/ 3168728 w 5806384"/>
                  <a:gd name="connsiteY1298" fmla="*/ 1276696 h 4036143"/>
                  <a:gd name="connsiteX1299" fmla="*/ 3223959 w 5806384"/>
                  <a:gd name="connsiteY1299" fmla="*/ 1317766 h 4036143"/>
                  <a:gd name="connsiteX1300" fmla="*/ 2243955 w 5806384"/>
                  <a:gd name="connsiteY1300" fmla="*/ 1653403 h 4036143"/>
                  <a:gd name="connsiteX1301" fmla="*/ 2242539 w 5806384"/>
                  <a:gd name="connsiteY1301" fmla="*/ 1586842 h 4036143"/>
                  <a:gd name="connsiteX1302" fmla="*/ 2286441 w 5806384"/>
                  <a:gd name="connsiteY1302" fmla="*/ 1642073 h 4036143"/>
                  <a:gd name="connsiteX1303" fmla="*/ 2243955 w 5806384"/>
                  <a:gd name="connsiteY1303" fmla="*/ 1653403 h 4036143"/>
                  <a:gd name="connsiteX1304" fmla="*/ 3071011 w 5806384"/>
                  <a:gd name="connsiteY1304" fmla="*/ 2631991 h 4036143"/>
                  <a:gd name="connsiteX1305" fmla="*/ 3301850 w 5806384"/>
                  <a:gd name="connsiteY1305" fmla="*/ 2869911 h 4036143"/>
                  <a:gd name="connsiteX1306" fmla="*/ 3129075 w 5806384"/>
                  <a:gd name="connsiteY1306" fmla="*/ 2821760 h 4036143"/>
                  <a:gd name="connsiteX1307" fmla="*/ 3052600 w 5806384"/>
                  <a:gd name="connsiteY1307" fmla="*/ 2653234 h 4036143"/>
                  <a:gd name="connsiteX1308" fmla="*/ 3071011 w 5806384"/>
                  <a:gd name="connsiteY1308" fmla="*/ 2631991 h 4036143"/>
                  <a:gd name="connsiteX1309" fmla="*/ 3398152 w 5806384"/>
                  <a:gd name="connsiteY1309" fmla="*/ 2607916 h 4036143"/>
                  <a:gd name="connsiteX1310" fmla="*/ 3436388 w 5806384"/>
                  <a:gd name="connsiteY1310" fmla="*/ 2885489 h 4036143"/>
                  <a:gd name="connsiteX1311" fmla="*/ 3342920 w 5806384"/>
                  <a:gd name="connsiteY1311" fmla="*/ 2932223 h 4036143"/>
                  <a:gd name="connsiteX1312" fmla="*/ 3314596 w 5806384"/>
                  <a:gd name="connsiteY1312" fmla="*/ 2797685 h 4036143"/>
                  <a:gd name="connsiteX1313" fmla="*/ 3314596 w 5806384"/>
                  <a:gd name="connsiteY1313" fmla="*/ 2796269 h 4036143"/>
                  <a:gd name="connsiteX1314" fmla="*/ 3307515 w 5806384"/>
                  <a:gd name="connsiteY1314" fmla="*/ 2872743 h 4036143"/>
                  <a:gd name="connsiteX1315" fmla="*/ 3072427 w 5806384"/>
                  <a:gd name="connsiteY1315" fmla="*/ 2630574 h 4036143"/>
                  <a:gd name="connsiteX1316" fmla="*/ 3187139 w 5806384"/>
                  <a:gd name="connsiteY1316" fmla="*/ 2505950 h 4036143"/>
                  <a:gd name="connsiteX1317" fmla="*/ 3398152 w 5806384"/>
                  <a:gd name="connsiteY1317" fmla="*/ 2607916 h 4036143"/>
                  <a:gd name="connsiteX1318" fmla="*/ 3716795 w 5806384"/>
                  <a:gd name="connsiteY1318" fmla="*/ 1300771 h 4036143"/>
                  <a:gd name="connsiteX1319" fmla="*/ 3681390 w 5806384"/>
                  <a:gd name="connsiteY1319" fmla="*/ 1656235 h 4036143"/>
                  <a:gd name="connsiteX1320" fmla="*/ 3253700 w 5806384"/>
                  <a:gd name="connsiteY1320" fmla="*/ 1337592 h 4036143"/>
                  <a:gd name="connsiteX1321" fmla="*/ 3716795 w 5806384"/>
                  <a:gd name="connsiteY1321" fmla="*/ 1300771 h 4036143"/>
                  <a:gd name="connsiteX1322" fmla="*/ 3747950 w 5806384"/>
                  <a:gd name="connsiteY1322" fmla="*/ 1296523 h 4036143"/>
                  <a:gd name="connsiteX1323" fmla="*/ 3718210 w 5806384"/>
                  <a:gd name="connsiteY1323" fmla="*/ 1299355 h 4036143"/>
                  <a:gd name="connsiteX1324" fmla="*/ 3722459 w 5806384"/>
                  <a:gd name="connsiteY1324" fmla="*/ 1256869 h 4036143"/>
                  <a:gd name="connsiteX1325" fmla="*/ 3747950 w 5806384"/>
                  <a:gd name="connsiteY1325" fmla="*/ 1296523 h 4036143"/>
                  <a:gd name="connsiteX1326" fmla="*/ 4004281 w 5806384"/>
                  <a:gd name="connsiteY1326" fmla="*/ 1178979 h 4036143"/>
                  <a:gd name="connsiteX1327" fmla="*/ 4015611 w 5806384"/>
                  <a:gd name="connsiteY1327" fmla="*/ 1150655 h 4036143"/>
                  <a:gd name="connsiteX1328" fmla="*/ 4150149 w 5806384"/>
                  <a:gd name="connsiteY1328" fmla="*/ 1108169 h 4036143"/>
                  <a:gd name="connsiteX1329" fmla="*/ 4202548 w 5806384"/>
                  <a:gd name="connsiteY1329" fmla="*/ 1215800 h 4036143"/>
                  <a:gd name="connsiteX1330" fmla="*/ 4004281 w 5806384"/>
                  <a:gd name="connsiteY1330" fmla="*/ 1178979 h 4036143"/>
                  <a:gd name="connsiteX1331" fmla="*/ 3957547 w 5806384"/>
                  <a:gd name="connsiteY1331" fmla="*/ 1169066 h 4036143"/>
                  <a:gd name="connsiteX1332" fmla="*/ 4014195 w 5806384"/>
                  <a:gd name="connsiteY1332" fmla="*/ 1150655 h 4036143"/>
                  <a:gd name="connsiteX1333" fmla="*/ 4002865 w 5806384"/>
                  <a:gd name="connsiteY1333" fmla="*/ 1177563 h 4036143"/>
                  <a:gd name="connsiteX1334" fmla="*/ 3957547 w 5806384"/>
                  <a:gd name="connsiteY1334" fmla="*/ 1169066 h 4036143"/>
                  <a:gd name="connsiteX1335" fmla="*/ 4182721 w 5806384"/>
                  <a:gd name="connsiteY1335" fmla="*/ 1095424 h 4036143"/>
                  <a:gd name="connsiteX1336" fmla="*/ 4151565 w 5806384"/>
                  <a:gd name="connsiteY1336" fmla="*/ 1105337 h 4036143"/>
                  <a:gd name="connsiteX1337" fmla="*/ 4143068 w 5806384"/>
                  <a:gd name="connsiteY1337" fmla="*/ 1086926 h 4036143"/>
                  <a:gd name="connsiteX1338" fmla="*/ 4182721 w 5806384"/>
                  <a:gd name="connsiteY1338" fmla="*/ 1095424 h 4036143"/>
                  <a:gd name="connsiteX1339" fmla="*/ 4185554 w 5806384"/>
                  <a:gd name="connsiteY1339" fmla="*/ 1094007 h 4036143"/>
                  <a:gd name="connsiteX1340" fmla="*/ 4140235 w 5806384"/>
                  <a:gd name="connsiteY1340" fmla="*/ 1084094 h 4036143"/>
                  <a:gd name="connsiteX1341" fmla="*/ 4087836 w 5806384"/>
                  <a:gd name="connsiteY1341" fmla="*/ 977880 h 4036143"/>
                  <a:gd name="connsiteX1342" fmla="*/ 4111911 w 5806384"/>
                  <a:gd name="connsiteY1342" fmla="*/ 919816 h 4036143"/>
                  <a:gd name="connsiteX1343" fmla="*/ 4430555 w 5806384"/>
                  <a:gd name="connsiteY1343" fmla="*/ 911319 h 4036143"/>
                  <a:gd name="connsiteX1344" fmla="*/ 4443301 w 5806384"/>
                  <a:gd name="connsiteY1344" fmla="*/ 1010452 h 4036143"/>
                  <a:gd name="connsiteX1345" fmla="*/ 4185554 w 5806384"/>
                  <a:gd name="connsiteY1345" fmla="*/ 1094007 h 4036143"/>
                  <a:gd name="connsiteX1346" fmla="*/ 4110496 w 5806384"/>
                  <a:gd name="connsiteY1346" fmla="*/ 919816 h 4036143"/>
                  <a:gd name="connsiteX1347" fmla="*/ 4087836 w 5806384"/>
                  <a:gd name="connsiteY1347" fmla="*/ 975047 h 4036143"/>
                  <a:gd name="connsiteX1348" fmla="*/ 4060929 w 5806384"/>
                  <a:gd name="connsiteY1348" fmla="*/ 921232 h 4036143"/>
                  <a:gd name="connsiteX1349" fmla="*/ 4110496 w 5806384"/>
                  <a:gd name="connsiteY1349" fmla="*/ 919816 h 4036143"/>
                  <a:gd name="connsiteX1350" fmla="*/ 4138819 w 5806384"/>
                  <a:gd name="connsiteY1350" fmla="*/ 1084094 h 4036143"/>
                  <a:gd name="connsiteX1351" fmla="*/ 4052431 w 5806384"/>
                  <a:gd name="connsiteY1351" fmla="*/ 1065684 h 4036143"/>
                  <a:gd name="connsiteX1352" fmla="*/ 4087836 w 5806384"/>
                  <a:gd name="connsiteY1352" fmla="*/ 980712 h 4036143"/>
                  <a:gd name="connsiteX1353" fmla="*/ 4138819 w 5806384"/>
                  <a:gd name="connsiteY1353" fmla="*/ 1084094 h 4036143"/>
                  <a:gd name="connsiteX1354" fmla="*/ 4140235 w 5806384"/>
                  <a:gd name="connsiteY1354" fmla="*/ 1085510 h 4036143"/>
                  <a:gd name="connsiteX1355" fmla="*/ 4150149 w 5806384"/>
                  <a:gd name="connsiteY1355" fmla="*/ 1105337 h 4036143"/>
                  <a:gd name="connsiteX1356" fmla="*/ 4017026 w 5806384"/>
                  <a:gd name="connsiteY1356" fmla="*/ 1147823 h 4036143"/>
                  <a:gd name="connsiteX1357" fmla="*/ 4051015 w 5806384"/>
                  <a:gd name="connsiteY1357" fmla="*/ 1065684 h 4036143"/>
                  <a:gd name="connsiteX1358" fmla="*/ 4140235 w 5806384"/>
                  <a:gd name="connsiteY1358" fmla="*/ 1085510 h 4036143"/>
                  <a:gd name="connsiteX1359" fmla="*/ 3136156 w 5806384"/>
                  <a:gd name="connsiteY1359" fmla="*/ 1101088 h 4036143"/>
                  <a:gd name="connsiteX1360" fmla="*/ 3222543 w 5806384"/>
                  <a:gd name="connsiteY1360" fmla="*/ 1313517 h 4036143"/>
                  <a:gd name="connsiteX1361" fmla="*/ 3167312 w 5806384"/>
                  <a:gd name="connsiteY1361" fmla="*/ 1272448 h 4036143"/>
                  <a:gd name="connsiteX1362" fmla="*/ 3158815 w 5806384"/>
                  <a:gd name="connsiteY1362" fmla="*/ 1238459 h 4036143"/>
                  <a:gd name="connsiteX1363" fmla="*/ 3158815 w 5806384"/>
                  <a:gd name="connsiteY1363" fmla="*/ 1238459 h 4036143"/>
                  <a:gd name="connsiteX1364" fmla="*/ 3069595 w 5806384"/>
                  <a:gd name="connsiteY1364" fmla="*/ 1190308 h 4036143"/>
                  <a:gd name="connsiteX1365" fmla="*/ 3096502 w 5806384"/>
                  <a:gd name="connsiteY1365" fmla="*/ 1044441 h 4036143"/>
                  <a:gd name="connsiteX1366" fmla="*/ 3136156 w 5806384"/>
                  <a:gd name="connsiteY1366" fmla="*/ 1101088 h 4036143"/>
                  <a:gd name="connsiteX1367" fmla="*/ 3020028 w 5806384"/>
                  <a:gd name="connsiteY1367" fmla="*/ 1472130 h 4036143"/>
                  <a:gd name="connsiteX1368" fmla="*/ 3020028 w 5806384"/>
                  <a:gd name="connsiteY1368" fmla="*/ 1472130 h 4036143"/>
                  <a:gd name="connsiteX1369" fmla="*/ 3041271 w 5806384"/>
                  <a:gd name="connsiteY1369" fmla="*/ 1353170 h 4036143"/>
                  <a:gd name="connsiteX1370" fmla="*/ 3182890 w 5806384"/>
                  <a:gd name="connsiteY1370" fmla="*/ 1341841 h 4036143"/>
                  <a:gd name="connsiteX1371" fmla="*/ 3243786 w 5806384"/>
                  <a:gd name="connsiteY1371" fmla="*/ 1601004 h 4036143"/>
                  <a:gd name="connsiteX1372" fmla="*/ 3020028 w 5806384"/>
                  <a:gd name="connsiteY1372" fmla="*/ 1472130 h 4036143"/>
                  <a:gd name="connsiteX1373" fmla="*/ 3020028 w 5806384"/>
                  <a:gd name="connsiteY1373" fmla="*/ 1472130 h 4036143"/>
                  <a:gd name="connsiteX1374" fmla="*/ 3029942 w 5806384"/>
                  <a:gd name="connsiteY1374" fmla="*/ 2273694 h 4036143"/>
                  <a:gd name="connsiteX1375" fmla="*/ 2899652 w 5806384"/>
                  <a:gd name="connsiteY1375" fmla="*/ 2238290 h 4036143"/>
                  <a:gd name="connsiteX1376" fmla="*/ 2732542 w 5806384"/>
                  <a:gd name="connsiteY1376" fmla="*/ 1809184 h 4036143"/>
                  <a:gd name="connsiteX1377" fmla="*/ 2950635 w 5806384"/>
                  <a:gd name="connsiteY1377" fmla="*/ 1851669 h 4036143"/>
                  <a:gd name="connsiteX1378" fmla="*/ 2950635 w 5806384"/>
                  <a:gd name="connsiteY1378" fmla="*/ 1851669 h 4036143"/>
                  <a:gd name="connsiteX1379" fmla="*/ 3020028 w 5806384"/>
                  <a:gd name="connsiteY1379" fmla="*/ 1472130 h 4036143"/>
                  <a:gd name="connsiteX1380" fmla="*/ 2437973 w 5806384"/>
                  <a:gd name="connsiteY1380" fmla="*/ 2398319 h 4036143"/>
                  <a:gd name="connsiteX1381" fmla="*/ 2665980 w 5806384"/>
                  <a:gd name="connsiteY1381" fmla="*/ 2358666 h 4036143"/>
                  <a:gd name="connsiteX1382" fmla="*/ 2777859 w 5806384"/>
                  <a:gd name="connsiteY1382" fmla="*/ 2680141 h 4036143"/>
                  <a:gd name="connsiteX1383" fmla="*/ 2772195 w 5806384"/>
                  <a:gd name="connsiteY1383" fmla="*/ 2677309 h 4036143"/>
                  <a:gd name="connsiteX1384" fmla="*/ 2433725 w 5806384"/>
                  <a:gd name="connsiteY1384" fmla="*/ 2420978 h 4036143"/>
                  <a:gd name="connsiteX1385" fmla="*/ 2437973 w 5806384"/>
                  <a:gd name="connsiteY1385" fmla="*/ 2398319 h 4036143"/>
                  <a:gd name="connsiteX1386" fmla="*/ 2413898 w 5806384"/>
                  <a:gd name="connsiteY1386" fmla="*/ 2507366 h 4036143"/>
                  <a:gd name="connsiteX1387" fmla="*/ 2432309 w 5806384"/>
                  <a:gd name="connsiteY1387" fmla="*/ 2423811 h 4036143"/>
                  <a:gd name="connsiteX1388" fmla="*/ 2762281 w 5806384"/>
                  <a:gd name="connsiteY1388" fmla="*/ 2673060 h 4036143"/>
                  <a:gd name="connsiteX1389" fmla="*/ 2413898 w 5806384"/>
                  <a:gd name="connsiteY1389" fmla="*/ 2507366 h 4036143"/>
                  <a:gd name="connsiteX1390" fmla="*/ 2409650 w 5806384"/>
                  <a:gd name="connsiteY1390" fmla="*/ 2402568 h 4036143"/>
                  <a:gd name="connsiteX1391" fmla="*/ 2436557 w 5806384"/>
                  <a:gd name="connsiteY1391" fmla="*/ 2398319 h 4036143"/>
                  <a:gd name="connsiteX1392" fmla="*/ 2432309 w 5806384"/>
                  <a:gd name="connsiteY1392" fmla="*/ 2419562 h 4036143"/>
                  <a:gd name="connsiteX1393" fmla="*/ 2409650 w 5806384"/>
                  <a:gd name="connsiteY1393" fmla="*/ 2402568 h 4036143"/>
                  <a:gd name="connsiteX1394" fmla="*/ 2430893 w 5806384"/>
                  <a:gd name="connsiteY1394" fmla="*/ 2420978 h 4036143"/>
                  <a:gd name="connsiteX1395" fmla="*/ 2412482 w 5806384"/>
                  <a:gd name="connsiteY1395" fmla="*/ 2504534 h 4036143"/>
                  <a:gd name="connsiteX1396" fmla="*/ 2382742 w 5806384"/>
                  <a:gd name="connsiteY1396" fmla="*/ 2490372 h 4036143"/>
                  <a:gd name="connsiteX1397" fmla="*/ 2340256 w 5806384"/>
                  <a:gd name="connsiteY1397" fmla="*/ 2413897 h 4036143"/>
                  <a:gd name="connsiteX1398" fmla="*/ 2408233 w 5806384"/>
                  <a:gd name="connsiteY1398" fmla="*/ 2402568 h 4036143"/>
                  <a:gd name="connsiteX1399" fmla="*/ 2430893 w 5806384"/>
                  <a:gd name="connsiteY1399" fmla="*/ 2420978 h 4036143"/>
                  <a:gd name="connsiteX1400" fmla="*/ 2488956 w 5806384"/>
                  <a:gd name="connsiteY1400" fmla="*/ 2164648 h 4036143"/>
                  <a:gd name="connsiteX1401" fmla="*/ 2847253 w 5806384"/>
                  <a:gd name="connsiteY1401" fmla="*/ 2338839 h 4036143"/>
                  <a:gd name="connsiteX1402" fmla="*/ 3027109 w 5806384"/>
                  <a:gd name="connsiteY1402" fmla="*/ 2562597 h 4036143"/>
                  <a:gd name="connsiteX1403" fmla="*/ 3028525 w 5806384"/>
                  <a:gd name="connsiteY1403" fmla="*/ 2564014 h 4036143"/>
                  <a:gd name="connsiteX1404" fmla="*/ 2961964 w 5806384"/>
                  <a:gd name="connsiteY1404" fmla="*/ 2395487 h 4036143"/>
                  <a:gd name="connsiteX1405" fmla="*/ 3032773 w 5806384"/>
                  <a:gd name="connsiteY1405" fmla="*/ 2429475 h 4036143"/>
                  <a:gd name="connsiteX1406" fmla="*/ 3034190 w 5806384"/>
                  <a:gd name="connsiteY1406" fmla="*/ 2571095 h 4036143"/>
                  <a:gd name="connsiteX1407" fmla="*/ 3034190 w 5806384"/>
                  <a:gd name="connsiteY1407" fmla="*/ 2572511 h 4036143"/>
                  <a:gd name="connsiteX1408" fmla="*/ 3075259 w 5806384"/>
                  <a:gd name="connsiteY1408" fmla="*/ 2450718 h 4036143"/>
                  <a:gd name="connsiteX1409" fmla="*/ 3187139 w 5806384"/>
                  <a:gd name="connsiteY1409" fmla="*/ 2504534 h 4036143"/>
                  <a:gd name="connsiteX1410" fmla="*/ 3072427 w 5806384"/>
                  <a:gd name="connsiteY1410" fmla="*/ 2629158 h 4036143"/>
                  <a:gd name="connsiteX1411" fmla="*/ 3011531 w 5806384"/>
                  <a:gd name="connsiteY1411" fmla="*/ 2566846 h 4036143"/>
                  <a:gd name="connsiteX1412" fmla="*/ 3010115 w 5806384"/>
                  <a:gd name="connsiteY1412" fmla="*/ 2565430 h 4036143"/>
                  <a:gd name="connsiteX1413" fmla="*/ 3049768 w 5806384"/>
                  <a:gd name="connsiteY1413" fmla="*/ 2651817 h 4036143"/>
                  <a:gd name="connsiteX1414" fmla="*/ 2949219 w 5806384"/>
                  <a:gd name="connsiteY1414" fmla="*/ 2760864 h 4036143"/>
                  <a:gd name="connsiteX1415" fmla="*/ 2779276 w 5806384"/>
                  <a:gd name="connsiteY1415" fmla="*/ 2680141 h 4036143"/>
                  <a:gd name="connsiteX1416" fmla="*/ 2665980 w 5806384"/>
                  <a:gd name="connsiteY1416" fmla="*/ 2355834 h 4036143"/>
                  <a:gd name="connsiteX1417" fmla="*/ 2665980 w 5806384"/>
                  <a:gd name="connsiteY1417" fmla="*/ 2355834 h 4036143"/>
                  <a:gd name="connsiteX1418" fmla="*/ 2437973 w 5806384"/>
                  <a:gd name="connsiteY1418" fmla="*/ 2395487 h 4036143"/>
                  <a:gd name="connsiteX1419" fmla="*/ 2488956 w 5806384"/>
                  <a:gd name="connsiteY1419" fmla="*/ 2164648 h 4036143"/>
                  <a:gd name="connsiteX1420" fmla="*/ 3504366 w 5806384"/>
                  <a:gd name="connsiteY1420" fmla="*/ 2657482 h 4036143"/>
                  <a:gd name="connsiteX1421" fmla="*/ 3399567 w 5806384"/>
                  <a:gd name="connsiteY1421" fmla="*/ 2606499 h 4036143"/>
                  <a:gd name="connsiteX1422" fmla="*/ 3372659 w 5806384"/>
                  <a:gd name="connsiteY1422" fmla="*/ 2413897 h 4036143"/>
                  <a:gd name="connsiteX1423" fmla="*/ 3504366 w 5806384"/>
                  <a:gd name="connsiteY1423" fmla="*/ 2657482 h 4036143"/>
                  <a:gd name="connsiteX1424" fmla="*/ 4004281 w 5806384"/>
                  <a:gd name="connsiteY1424" fmla="*/ 1180395 h 4036143"/>
                  <a:gd name="connsiteX1425" fmla="*/ 4205381 w 5806384"/>
                  <a:gd name="connsiteY1425" fmla="*/ 1217216 h 4036143"/>
                  <a:gd name="connsiteX1426" fmla="*/ 4271941 w 5806384"/>
                  <a:gd name="connsiteY1426" fmla="*/ 1351754 h 4036143"/>
                  <a:gd name="connsiteX1427" fmla="*/ 4177057 w 5806384"/>
                  <a:gd name="connsiteY1427" fmla="*/ 1388575 h 4036143"/>
                  <a:gd name="connsiteX1428" fmla="*/ 4001449 w 5806384"/>
                  <a:gd name="connsiteY1428" fmla="*/ 1275280 h 4036143"/>
                  <a:gd name="connsiteX1429" fmla="*/ 4001449 w 5806384"/>
                  <a:gd name="connsiteY1429" fmla="*/ 1275280 h 4036143"/>
                  <a:gd name="connsiteX1430" fmla="*/ 3961795 w 5806384"/>
                  <a:gd name="connsiteY1430" fmla="*/ 1278112 h 4036143"/>
                  <a:gd name="connsiteX1431" fmla="*/ 4004281 w 5806384"/>
                  <a:gd name="connsiteY1431" fmla="*/ 1180395 h 4036143"/>
                  <a:gd name="connsiteX1432" fmla="*/ 4436220 w 5806384"/>
                  <a:gd name="connsiteY1432" fmla="*/ 1149239 h 4036143"/>
                  <a:gd name="connsiteX1433" fmla="*/ 4189802 w 5806384"/>
                  <a:gd name="connsiteY1433" fmla="*/ 1095424 h 4036143"/>
                  <a:gd name="connsiteX1434" fmla="*/ 4444717 w 5806384"/>
                  <a:gd name="connsiteY1434" fmla="*/ 1013285 h 4036143"/>
                  <a:gd name="connsiteX1435" fmla="*/ 4457463 w 5806384"/>
                  <a:gd name="connsiteY1435" fmla="*/ 1115250 h 4036143"/>
                  <a:gd name="connsiteX1436" fmla="*/ 4436220 w 5806384"/>
                  <a:gd name="connsiteY1436" fmla="*/ 1149239 h 4036143"/>
                  <a:gd name="connsiteX1437" fmla="*/ 3949049 w 5806384"/>
                  <a:gd name="connsiteY1437" fmla="*/ 1170482 h 4036143"/>
                  <a:gd name="connsiteX1438" fmla="*/ 3723876 w 5806384"/>
                  <a:gd name="connsiteY1438" fmla="*/ 1242707 h 4036143"/>
                  <a:gd name="connsiteX1439" fmla="*/ 3603499 w 5806384"/>
                  <a:gd name="connsiteY1439" fmla="*/ 1106753 h 4036143"/>
                  <a:gd name="connsiteX1440" fmla="*/ 3949049 w 5806384"/>
                  <a:gd name="connsiteY1440" fmla="*/ 1170482 h 4036143"/>
                  <a:gd name="connsiteX1441" fmla="*/ 3953298 w 5806384"/>
                  <a:gd name="connsiteY1441" fmla="*/ 1170482 h 4036143"/>
                  <a:gd name="connsiteX1442" fmla="*/ 4001449 w 5806384"/>
                  <a:gd name="connsiteY1442" fmla="*/ 1178979 h 4036143"/>
                  <a:gd name="connsiteX1443" fmla="*/ 3960379 w 5806384"/>
                  <a:gd name="connsiteY1443" fmla="*/ 1278112 h 4036143"/>
                  <a:gd name="connsiteX1444" fmla="*/ 3750783 w 5806384"/>
                  <a:gd name="connsiteY1444" fmla="*/ 1295107 h 4036143"/>
                  <a:gd name="connsiteX1445" fmla="*/ 3722459 w 5806384"/>
                  <a:gd name="connsiteY1445" fmla="*/ 1249788 h 4036143"/>
                  <a:gd name="connsiteX1446" fmla="*/ 3722459 w 5806384"/>
                  <a:gd name="connsiteY1446" fmla="*/ 1249788 h 4036143"/>
                  <a:gd name="connsiteX1447" fmla="*/ 3718210 w 5806384"/>
                  <a:gd name="connsiteY1447" fmla="*/ 1297939 h 4036143"/>
                  <a:gd name="connsiteX1448" fmla="*/ 3252283 w 5806384"/>
                  <a:gd name="connsiteY1448" fmla="*/ 1334760 h 4036143"/>
                  <a:gd name="connsiteX1449" fmla="*/ 3226792 w 5806384"/>
                  <a:gd name="connsiteY1449" fmla="*/ 1316349 h 4036143"/>
                  <a:gd name="connsiteX1450" fmla="*/ 3138988 w 5806384"/>
                  <a:gd name="connsiteY1450" fmla="*/ 1101088 h 4036143"/>
                  <a:gd name="connsiteX1451" fmla="*/ 3099335 w 5806384"/>
                  <a:gd name="connsiteY1451" fmla="*/ 1044441 h 4036143"/>
                  <a:gd name="connsiteX1452" fmla="*/ 3105000 w 5806384"/>
                  <a:gd name="connsiteY1452" fmla="*/ 1016117 h 4036143"/>
                  <a:gd name="connsiteX1453" fmla="*/ 3600667 w 5806384"/>
                  <a:gd name="connsiteY1453" fmla="*/ 1106753 h 4036143"/>
                  <a:gd name="connsiteX1454" fmla="*/ 3723876 w 5806384"/>
                  <a:gd name="connsiteY1454" fmla="*/ 1245540 h 4036143"/>
                  <a:gd name="connsiteX1455" fmla="*/ 3723876 w 5806384"/>
                  <a:gd name="connsiteY1455" fmla="*/ 1245540 h 4036143"/>
                  <a:gd name="connsiteX1456" fmla="*/ 3953298 w 5806384"/>
                  <a:gd name="connsiteY1456" fmla="*/ 1170482 h 4036143"/>
                  <a:gd name="connsiteX1457" fmla="*/ 3069595 w 5806384"/>
                  <a:gd name="connsiteY1457" fmla="*/ 1006204 h 4036143"/>
                  <a:gd name="connsiteX1458" fmla="*/ 2776443 w 5806384"/>
                  <a:gd name="connsiteY1458" fmla="*/ 952388 h 4036143"/>
                  <a:gd name="connsiteX1459" fmla="*/ 3027109 w 5806384"/>
                  <a:gd name="connsiteY1459" fmla="*/ 946724 h 4036143"/>
                  <a:gd name="connsiteX1460" fmla="*/ 3069595 w 5806384"/>
                  <a:gd name="connsiteY1460" fmla="*/ 1006204 h 4036143"/>
                  <a:gd name="connsiteX1461" fmla="*/ 3027109 w 5806384"/>
                  <a:gd name="connsiteY1461" fmla="*/ 943891 h 4036143"/>
                  <a:gd name="connsiteX1462" fmla="*/ 2993120 w 5806384"/>
                  <a:gd name="connsiteY1462" fmla="*/ 897157 h 4036143"/>
                  <a:gd name="connsiteX1463" fmla="*/ 3049768 w 5806384"/>
                  <a:gd name="connsiteY1463" fmla="*/ 885827 h 4036143"/>
                  <a:gd name="connsiteX1464" fmla="*/ 3114913 w 5806384"/>
                  <a:gd name="connsiteY1464" fmla="*/ 854671 h 4036143"/>
                  <a:gd name="connsiteX1465" fmla="*/ 3114913 w 5806384"/>
                  <a:gd name="connsiteY1465" fmla="*/ 854671 h 4036143"/>
                  <a:gd name="connsiteX1466" fmla="*/ 3106416 w 5806384"/>
                  <a:gd name="connsiteY1466" fmla="*/ 577098 h 4036143"/>
                  <a:gd name="connsiteX1467" fmla="*/ 3143237 w 5806384"/>
                  <a:gd name="connsiteY1467" fmla="*/ 594092 h 4036143"/>
                  <a:gd name="connsiteX1468" fmla="*/ 3170144 w 5806384"/>
                  <a:gd name="connsiteY1468" fmla="*/ 623832 h 4036143"/>
                  <a:gd name="connsiteX1469" fmla="*/ 3113497 w 5806384"/>
                  <a:gd name="connsiteY1469" fmla="*/ 942475 h 4036143"/>
                  <a:gd name="connsiteX1470" fmla="*/ 3027109 w 5806384"/>
                  <a:gd name="connsiteY1470" fmla="*/ 943891 h 4036143"/>
                  <a:gd name="connsiteX1471" fmla="*/ 2379910 w 5806384"/>
                  <a:gd name="connsiteY1471" fmla="*/ 2493204 h 4036143"/>
                  <a:gd name="connsiteX1472" fmla="*/ 2405401 w 5806384"/>
                  <a:gd name="connsiteY1472" fmla="*/ 2537106 h 4036143"/>
                  <a:gd name="connsiteX1473" fmla="*/ 2401152 w 5806384"/>
                  <a:gd name="connsiteY1473" fmla="*/ 2552684 h 4036143"/>
                  <a:gd name="connsiteX1474" fmla="*/ 2287857 w 5806384"/>
                  <a:gd name="connsiteY1474" fmla="*/ 2449302 h 4036143"/>
                  <a:gd name="connsiteX1475" fmla="*/ 2379910 w 5806384"/>
                  <a:gd name="connsiteY1475" fmla="*/ 2493204 h 4036143"/>
                  <a:gd name="connsiteX1476" fmla="*/ 2402569 w 5806384"/>
                  <a:gd name="connsiteY1476" fmla="*/ 2555516 h 4036143"/>
                  <a:gd name="connsiteX1477" fmla="*/ 2405401 w 5806384"/>
                  <a:gd name="connsiteY1477" fmla="*/ 2539938 h 4036143"/>
                  <a:gd name="connsiteX1478" fmla="*/ 2426644 w 5806384"/>
                  <a:gd name="connsiteY1478" fmla="*/ 2578175 h 4036143"/>
                  <a:gd name="connsiteX1479" fmla="*/ 2402569 w 5806384"/>
                  <a:gd name="connsiteY1479" fmla="*/ 2555516 h 4036143"/>
                  <a:gd name="connsiteX1480" fmla="*/ 2777859 w 5806384"/>
                  <a:gd name="connsiteY1480" fmla="*/ 2681557 h 4036143"/>
                  <a:gd name="connsiteX1481" fmla="*/ 2777859 w 5806384"/>
                  <a:gd name="connsiteY1481" fmla="*/ 2681557 h 4036143"/>
                  <a:gd name="connsiteX1482" fmla="*/ 2777859 w 5806384"/>
                  <a:gd name="connsiteY1482" fmla="*/ 2681557 h 4036143"/>
                  <a:gd name="connsiteX1483" fmla="*/ 2777859 w 5806384"/>
                  <a:gd name="connsiteY1483" fmla="*/ 2681557 h 4036143"/>
                  <a:gd name="connsiteX1484" fmla="*/ 3307515 w 5806384"/>
                  <a:gd name="connsiteY1484" fmla="*/ 2872743 h 4036143"/>
                  <a:gd name="connsiteX1485" fmla="*/ 3307515 w 5806384"/>
                  <a:gd name="connsiteY1485" fmla="*/ 2876992 h 4036143"/>
                  <a:gd name="connsiteX1486" fmla="*/ 3270694 w 5806384"/>
                  <a:gd name="connsiteY1486" fmla="*/ 2912397 h 4036143"/>
                  <a:gd name="connsiteX1487" fmla="*/ 3144653 w 5806384"/>
                  <a:gd name="connsiteY1487" fmla="*/ 2852916 h 4036143"/>
                  <a:gd name="connsiteX1488" fmla="*/ 3130491 w 5806384"/>
                  <a:gd name="connsiteY1488" fmla="*/ 2823177 h 4036143"/>
                  <a:gd name="connsiteX1489" fmla="*/ 3307515 w 5806384"/>
                  <a:gd name="connsiteY1489" fmla="*/ 2872743 h 4036143"/>
                  <a:gd name="connsiteX1490" fmla="*/ 3505782 w 5806384"/>
                  <a:gd name="connsiteY1490" fmla="*/ 2660315 h 4036143"/>
                  <a:gd name="connsiteX1491" fmla="*/ 3586505 w 5806384"/>
                  <a:gd name="connsiteY1491" fmla="*/ 2809015 h 4036143"/>
                  <a:gd name="connsiteX1492" fmla="*/ 3586505 w 5806384"/>
                  <a:gd name="connsiteY1492" fmla="*/ 2809015 h 4036143"/>
                  <a:gd name="connsiteX1493" fmla="*/ 3624742 w 5806384"/>
                  <a:gd name="connsiteY1493" fmla="*/ 2718378 h 4036143"/>
                  <a:gd name="connsiteX1494" fmla="*/ 3696968 w 5806384"/>
                  <a:gd name="connsiteY1494" fmla="*/ 2753783 h 4036143"/>
                  <a:gd name="connsiteX1495" fmla="*/ 3439221 w 5806384"/>
                  <a:gd name="connsiteY1495" fmla="*/ 2882656 h 4036143"/>
                  <a:gd name="connsiteX1496" fmla="*/ 3400983 w 5806384"/>
                  <a:gd name="connsiteY1496" fmla="*/ 2606499 h 4036143"/>
                  <a:gd name="connsiteX1497" fmla="*/ 3505782 w 5806384"/>
                  <a:gd name="connsiteY1497" fmla="*/ 2660315 h 4036143"/>
                  <a:gd name="connsiteX1498" fmla="*/ 3375492 w 5806384"/>
                  <a:gd name="connsiteY1498" fmla="*/ 1680311 h 4036143"/>
                  <a:gd name="connsiteX1499" fmla="*/ 3723876 w 5806384"/>
                  <a:gd name="connsiteY1499" fmla="*/ 1882826 h 4036143"/>
                  <a:gd name="connsiteX1500" fmla="*/ 3746534 w 5806384"/>
                  <a:gd name="connsiteY1500" fmla="*/ 2068347 h 4036143"/>
                  <a:gd name="connsiteX1501" fmla="*/ 3495868 w 5806384"/>
                  <a:gd name="connsiteY1501" fmla="*/ 1974878 h 4036143"/>
                  <a:gd name="connsiteX1502" fmla="*/ 3375492 w 5806384"/>
                  <a:gd name="connsiteY1502" fmla="*/ 1680311 h 4036143"/>
                  <a:gd name="connsiteX1503" fmla="*/ 3699800 w 5806384"/>
                  <a:gd name="connsiteY1503" fmla="*/ 1666149 h 4036143"/>
                  <a:gd name="connsiteX1504" fmla="*/ 3892402 w 5806384"/>
                  <a:gd name="connsiteY1504" fmla="*/ 1891323 h 4036143"/>
                  <a:gd name="connsiteX1505" fmla="*/ 3868326 w 5806384"/>
                  <a:gd name="connsiteY1505" fmla="*/ 1964965 h 4036143"/>
                  <a:gd name="connsiteX1506" fmla="*/ 3725291 w 5806384"/>
                  <a:gd name="connsiteY1506" fmla="*/ 1881410 h 4036143"/>
                  <a:gd name="connsiteX1507" fmla="*/ 3699800 w 5806384"/>
                  <a:gd name="connsiteY1507" fmla="*/ 1666149 h 4036143"/>
                  <a:gd name="connsiteX1508" fmla="*/ 4460295 w 5806384"/>
                  <a:gd name="connsiteY1508" fmla="*/ 1262534 h 4036143"/>
                  <a:gd name="connsiteX1509" fmla="*/ 4205381 w 5806384"/>
                  <a:gd name="connsiteY1509" fmla="*/ 1215800 h 4036143"/>
                  <a:gd name="connsiteX1510" fmla="*/ 4151565 w 5806384"/>
                  <a:gd name="connsiteY1510" fmla="*/ 1106753 h 4036143"/>
                  <a:gd name="connsiteX1511" fmla="*/ 4185554 w 5806384"/>
                  <a:gd name="connsiteY1511" fmla="*/ 1095424 h 4036143"/>
                  <a:gd name="connsiteX1512" fmla="*/ 4436220 w 5806384"/>
                  <a:gd name="connsiteY1512" fmla="*/ 1150655 h 4036143"/>
                  <a:gd name="connsiteX1513" fmla="*/ 4436220 w 5806384"/>
                  <a:gd name="connsiteY1513" fmla="*/ 1150655 h 4036143"/>
                  <a:gd name="connsiteX1514" fmla="*/ 4457463 w 5806384"/>
                  <a:gd name="connsiteY1514" fmla="*/ 1118083 h 4036143"/>
                  <a:gd name="connsiteX1515" fmla="*/ 4474457 w 5806384"/>
                  <a:gd name="connsiteY1515" fmla="*/ 1258286 h 4036143"/>
                  <a:gd name="connsiteX1516" fmla="*/ 4460295 w 5806384"/>
                  <a:gd name="connsiteY1516" fmla="*/ 1262534 h 4036143"/>
                  <a:gd name="connsiteX1517" fmla="*/ 3983038 w 5806384"/>
                  <a:gd name="connsiteY1517" fmla="*/ 919816 h 4036143"/>
                  <a:gd name="connsiteX1518" fmla="*/ 4039686 w 5806384"/>
                  <a:gd name="connsiteY1518" fmla="*/ 882995 h 4036143"/>
                  <a:gd name="connsiteX1519" fmla="*/ 4056680 w 5806384"/>
                  <a:gd name="connsiteY1519" fmla="*/ 918400 h 4036143"/>
                  <a:gd name="connsiteX1520" fmla="*/ 3983038 w 5806384"/>
                  <a:gd name="connsiteY1520" fmla="*/ 919816 h 4036143"/>
                  <a:gd name="connsiteX1521" fmla="*/ 4058096 w 5806384"/>
                  <a:gd name="connsiteY1521" fmla="*/ 919816 h 4036143"/>
                  <a:gd name="connsiteX1522" fmla="*/ 4086420 w 5806384"/>
                  <a:gd name="connsiteY1522" fmla="*/ 976464 h 4036143"/>
                  <a:gd name="connsiteX1523" fmla="*/ 4049600 w 5806384"/>
                  <a:gd name="connsiteY1523" fmla="*/ 1062851 h 4036143"/>
                  <a:gd name="connsiteX1524" fmla="*/ 3832922 w 5806384"/>
                  <a:gd name="connsiteY1524" fmla="*/ 1014701 h 4036143"/>
                  <a:gd name="connsiteX1525" fmla="*/ 3978790 w 5806384"/>
                  <a:gd name="connsiteY1525" fmla="*/ 921232 h 4036143"/>
                  <a:gd name="connsiteX1526" fmla="*/ 4058096 w 5806384"/>
                  <a:gd name="connsiteY1526" fmla="*/ 919816 h 4036143"/>
                  <a:gd name="connsiteX1527" fmla="*/ 3828673 w 5806384"/>
                  <a:gd name="connsiteY1527" fmla="*/ 1017533 h 4036143"/>
                  <a:gd name="connsiteX1528" fmla="*/ 3828673 w 5806384"/>
                  <a:gd name="connsiteY1528" fmla="*/ 1017533 h 4036143"/>
                  <a:gd name="connsiteX1529" fmla="*/ 4049600 w 5806384"/>
                  <a:gd name="connsiteY1529" fmla="*/ 1067100 h 4036143"/>
                  <a:gd name="connsiteX1530" fmla="*/ 4014195 w 5806384"/>
                  <a:gd name="connsiteY1530" fmla="*/ 1150655 h 4036143"/>
                  <a:gd name="connsiteX1531" fmla="*/ 3951882 w 5806384"/>
                  <a:gd name="connsiteY1531" fmla="*/ 1170482 h 4036143"/>
                  <a:gd name="connsiteX1532" fmla="*/ 3599250 w 5806384"/>
                  <a:gd name="connsiteY1532" fmla="*/ 1105337 h 4036143"/>
                  <a:gd name="connsiteX1533" fmla="*/ 3450550 w 5806384"/>
                  <a:gd name="connsiteY1533" fmla="*/ 936810 h 4036143"/>
                  <a:gd name="connsiteX1534" fmla="*/ 3975957 w 5806384"/>
                  <a:gd name="connsiteY1534" fmla="*/ 924064 h 4036143"/>
                  <a:gd name="connsiteX1535" fmla="*/ 3828673 w 5806384"/>
                  <a:gd name="connsiteY1535" fmla="*/ 1017533 h 4036143"/>
                  <a:gd name="connsiteX1536" fmla="*/ 3103583 w 5806384"/>
                  <a:gd name="connsiteY1536" fmla="*/ 1013285 h 4036143"/>
                  <a:gd name="connsiteX1537" fmla="*/ 3116329 w 5806384"/>
                  <a:gd name="connsiteY1537" fmla="*/ 943891 h 4036143"/>
                  <a:gd name="connsiteX1538" fmla="*/ 3449134 w 5806384"/>
                  <a:gd name="connsiteY1538" fmla="*/ 935394 h 4036143"/>
                  <a:gd name="connsiteX1539" fmla="*/ 3597834 w 5806384"/>
                  <a:gd name="connsiteY1539" fmla="*/ 1102505 h 4036143"/>
                  <a:gd name="connsiteX1540" fmla="*/ 3103583 w 5806384"/>
                  <a:gd name="connsiteY1540" fmla="*/ 1013285 h 4036143"/>
                  <a:gd name="connsiteX1541" fmla="*/ 3116329 w 5806384"/>
                  <a:gd name="connsiteY1541" fmla="*/ 942475 h 4036143"/>
                  <a:gd name="connsiteX1542" fmla="*/ 3174393 w 5806384"/>
                  <a:gd name="connsiteY1542" fmla="*/ 626664 h 4036143"/>
                  <a:gd name="connsiteX1543" fmla="*/ 3446301 w 5806384"/>
                  <a:gd name="connsiteY1543" fmla="*/ 933978 h 4036143"/>
                  <a:gd name="connsiteX1544" fmla="*/ 3116329 w 5806384"/>
                  <a:gd name="connsiteY1544" fmla="*/ 942475 h 4036143"/>
                  <a:gd name="connsiteX1545" fmla="*/ 3146069 w 5806384"/>
                  <a:gd name="connsiteY1545" fmla="*/ 592676 h 4036143"/>
                  <a:gd name="connsiteX1546" fmla="*/ 3121994 w 5806384"/>
                  <a:gd name="connsiteY1546" fmla="*/ 565768 h 4036143"/>
                  <a:gd name="connsiteX1547" fmla="*/ 3073843 w 5806384"/>
                  <a:gd name="connsiteY1547" fmla="*/ 494959 h 4036143"/>
                  <a:gd name="connsiteX1548" fmla="*/ 3211214 w 5806384"/>
                  <a:gd name="connsiteY1548" fmla="*/ 408571 h 4036143"/>
                  <a:gd name="connsiteX1549" fmla="*/ 3174393 w 5806384"/>
                  <a:gd name="connsiteY1549" fmla="*/ 606838 h 4036143"/>
                  <a:gd name="connsiteX1550" fmla="*/ 3146069 w 5806384"/>
                  <a:gd name="connsiteY1550" fmla="*/ 592676 h 4036143"/>
                  <a:gd name="connsiteX1551" fmla="*/ 3212630 w 5806384"/>
                  <a:gd name="connsiteY1551" fmla="*/ 404322 h 4036143"/>
                  <a:gd name="connsiteX1552" fmla="*/ 3072427 w 5806384"/>
                  <a:gd name="connsiteY1552" fmla="*/ 492126 h 4036143"/>
                  <a:gd name="connsiteX1553" fmla="*/ 3051185 w 5806384"/>
                  <a:gd name="connsiteY1553" fmla="*/ 459554 h 4036143"/>
                  <a:gd name="connsiteX1554" fmla="*/ 3218295 w 5806384"/>
                  <a:gd name="connsiteY1554" fmla="*/ 371750 h 4036143"/>
                  <a:gd name="connsiteX1555" fmla="*/ 3212630 w 5806384"/>
                  <a:gd name="connsiteY1555" fmla="*/ 404322 h 4036143"/>
                  <a:gd name="connsiteX1556" fmla="*/ 3106416 w 5806384"/>
                  <a:gd name="connsiteY1556" fmla="*/ 574265 h 4036143"/>
                  <a:gd name="connsiteX1557" fmla="*/ 3106416 w 5806384"/>
                  <a:gd name="connsiteY1557" fmla="*/ 574265 h 4036143"/>
                  <a:gd name="connsiteX1558" fmla="*/ 3114913 w 5806384"/>
                  <a:gd name="connsiteY1558" fmla="*/ 853255 h 4036143"/>
                  <a:gd name="connsiteX1559" fmla="*/ 3051185 w 5806384"/>
                  <a:gd name="connsiteY1559" fmla="*/ 884411 h 4036143"/>
                  <a:gd name="connsiteX1560" fmla="*/ 2994537 w 5806384"/>
                  <a:gd name="connsiteY1560" fmla="*/ 895741 h 4036143"/>
                  <a:gd name="connsiteX1561" fmla="*/ 2823177 w 5806384"/>
                  <a:gd name="connsiteY1561" fmla="*/ 653572 h 4036143"/>
                  <a:gd name="connsiteX1562" fmla="*/ 3073843 w 5806384"/>
                  <a:gd name="connsiteY1562" fmla="*/ 494959 h 4036143"/>
                  <a:gd name="connsiteX1563" fmla="*/ 3121994 w 5806384"/>
                  <a:gd name="connsiteY1563" fmla="*/ 565768 h 4036143"/>
                  <a:gd name="connsiteX1564" fmla="*/ 3143237 w 5806384"/>
                  <a:gd name="connsiteY1564" fmla="*/ 589843 h 4036143"/>
                  <a:gd name="connsiteX1565" fmla="*/ 3106416 w 5806384"/>
                  <a:gd name="connsiteY1565" fmla="*/ 574265 h 4036143"/>
                  <a:gd name="connsiteX1566" fmla="*/ 2715547 w 5806384"/>
                  <a:gd name="connsiteY1566" fmla="*/ 952388 h 4036143"/>
                  <a:gd name="connsiteX1567" fmla="*/ 2715547 w 5806384"/>
                  <a:gd name="connsiteY1567" fmla="*/ 952388 h 4036143"/>
                  <a:gd name="connsiteX1568" fmla="*/ 2715547 w 5806384"/>
                  <a:gd name="connsiteY1568" fmla="*/ 953805 h 4036143"/>
                  <a:gd name="connsiteX1569" fmla="*/ 2715547 w 5806384"/>
                  <a:gd name="connsiteY1569" fmla="*/ 953805 h 4036143"/>
                  <a:gd name="connsiteX1570" fmla="*/ 2766530 w 5806384"/>
                  <a:gd name="connsiteY1570" fmla="*/ 952388 h 4036143"/>
                  <a:gd name="connsiteX1571" fmla="*/ 3071011 w 5806384"/>
                  <a:gd name="connsiteY1571" fmla="*/ 1009036 h 4036143"/>
                  <a:gd name="connsiteX1572" fmla="*/ 3096502 w 5806384"/>
                  <a:gd name="connsiteY1572" fmla="*/ 1044441 h 4036143"/>
                  <a:gd name="connsiteX1573" fmla="*/ 3069595 w 5806384"/>
                  <a:gd name="connsiteY1573" fmla="*/ 1190308 h 4036143"/>
                  <a:gd name="connsiteX1574" fmla="*/ 2545604 w 5806384"/>
                  <a:gd name="connsiteY1574" fmla="*/ 912735 h 4036143"/>
                  <a:gd name="connsiteX1575" fmla="*/ 2738206 w 5806384"/>
                  <a:gd name="connsiteY1575" fmla="*/ 948140 h 4036143"/>
                  <a:gd name="connsiteX1576" fmla="*/ 2715547 w 5806384"/>
                  <a:gd name="connsiteY1576" fmla="*/ 952388 h 4036143"/>
                  <a:gd name="connsiteX1577" fmla="*/ 3167312 w 5806384"/>
                  <a:gd name="connsiteY1577" fmla="*/ 1273864 h 4036143"/>
                  <a:gd name="connsiteX1578" fmla="*/ 3182890 w 5806384"/>
                  <a:gd name="connsiteY1578" fmla="*/ 1340425 h 4036143"/>
                  <a:gd name="connsiteX1579" fmla="*/ 3042687 w 5806384"/>
                  <a:gd name="connsiteY1579" fmla="*/ 1351754 h 4036143"/>
                  <a:gd name="connsiteX1580" fmla="*/ 3069595 w 5806384"/>
                  <a:gd name="connsiteY1580" fmla="*/ 1201638 h 4036143"/>
                  <a:gd name="connsiteX1581" fmla="*/ 3167312 w 5806384"/>
                  <a:gd name="connsiteY1581" fmla="*/ 1273864 h 4036143"/>
                  <a:gd name="connsiteX1582" fmla="*/ 3038439 w 5806384"/>
                  <a:gd name="connsiteY1582" fmla="*/ 1353170 h 4036143"/>
                  <a:gd name="connsiteX1583" fmla="*/ 2947802 w 5806384"/>
                  <a:gd name="connsiteY1583" fmla="*/ 1850253 h 4036143"/>
                  <a:gd name="connsiteX1584" fmla="*/ 2729709 w 5806384"/>
                  <a:gd name="connsiteY1584" fmla="*/ 1807768 h 4036143"/>
                  <a:gd name="connsiteX1585" fmla="*/ 2627743 w 5806384"/>
                  <a:gd name="connsiteY1585" fmla="*/ 1548605 h 4036143"/>
                  <a:gd name="connsiteX1586" fmla="*/ 2627743 w 5806384"/>
                  <a:gd name="connsiteY1586" fmla="*/ 1548605 h 4036143"/>
                  <a:gd name="connsiteX1587" fmla="*/ 2626327 w 5806384"/>
                  <a:gd name="connsiteY1587" fmla="*/ 1548605 h 4036143"/>
                  <a:gd name="connsiteX1588" fmla="*/ 2711299 w 5806384"/>
                  <a:gd name="connsiteY1588" fmla="*/ 1803519 h 4036143"/>
                  <a:gd name="connsiteX1589" fmla="*/ 2573928 w 5806384"/>
                  <a:gd name="connsiteY1589" fmla="*/ 1776611 h 4036143"/>
                  <a:gd name="connsiteX1590" fmla="*/ 2626327 w 5806384"/>
                  <a:gd name="connsiteY1590" fmla="*/ 1540108 h 4036143"/>
                  <a:gd name="connsiteX1591" fmla="*/ 2626327 w 5806384"/>
                  <a:gd name="connsiteY1591" fmla="*/ 1540108 h 4036143"/>
                  <a:gd name="connsiteX1592" fmla="*/ 2287857 w 5806384"/>
                  <a:gd name="connsiteY1592" fmla="*/ 1640657 h 4036143"/>
                  <a:gd name="connsiteX1593" fmla="*/ 2241123 w 5806384"/>
                  <a:gd name="connsiteY1593" fmla="*/ 1582593 h 4036143"/>
                  <a:gd name="connsiteX1594" fmla="*/ 2239707 w 5806384"/>
                  <a:gd name="connsiteY1594" fmla="*/ 1520281 h 4036143"/>
                  <a:gd name="connsiteX1595" fmla="*/ 2548436 w 5806384"/>
                  <a:gd name="connsiteY1595" fmla="*/ 1391407 h 4036143"/>
                  <a:gd name="connsiteX1596" fmla="*/ 3038439 w 5806384"/>
                  <a:gd name="connsiteY1596" fmla="*/ 1353170 h 4036143"/>
                  <a:gd name="connsiteX1597" fmla="*/ 2201469 w 5806384"/>
                  <a:gd name="connsiteY1597" fmla="*/ 1533027 h 4036143"/>
                  <a:gd name="connsiteX1598" fmla="*/ 2191556 w 5806384"/>
                  <a:gd name="connsiteY1598" fmla="*/ 1520281 h 4036143"/>
                  <a:gd name="connsiteX1599" fmla="*/ 2236874 w 5806384"/>
                  <a:gd name="connsiteY1599" fmla="*/ 1497622 h 4036143"/>
                  <a:gd name="connsiteX1600" fmla="*/ 2236874 w 5806384"/>
                  <a:gd name="connsiteY1600" fmla="*/ 1517448 h 4036143"/>
                  <a:gd name="connsiteX1601" fmla="*/ 2201469 w 5806384"/>
                  <a:gd name="connsiteY1601" fmla="*/ 1533027 h 4036143"/>
                  <a:gd name="connsiteX1602" fmla="*/ 2202886 w 5806384"/>
                  <a:gd name="connsiteY1602" fmla="*/ 1535859 h 4036143"/>
                  <a:gd name="connsiteX1603" fmla="*/ 2236874 w 5806384"/>
                  <a:gd name="connsiteY1603" fmla="*/ 1521697 h 4036143"/>
                  <a:gd name="connsiteX1604" fmla="*/ 2238290 w 5806384"/>
                  <a:gd name="connsiteY1604" fmla="*/ 1581177 h 4036143"/>
                  <a:gd name="connsiteX1605" fmla="*/ 2202886 w 5806384"/>
                  <a:gd name="connsiteY1605" fmla="*/ 1535859 h 4036143"/>
                  <a:gd name="connsiteX1606" fmla="*/ 1930977 w 5806384"/>
                  <a:gd name="connsiteY1606" fmla="*/ 1646322 h 4036143"/>
                  <a:gd name="connsiteX1607" fmla="*/ 2190140 w 5806384"/>
                  <a:gd name="connsiteY1607" fmla="*/ 1521697 h 4036143"/>
                  <a:gd name="connsiteX1608" fmla="*/ 2200053 w 5806384"/>
                  <a:gd name="connsiteY1608" fmla="*/ 1534443 h 4036143"/>
                  <a:gd name="connsiteX1609" fmla="*/ 1930977 w 5806384"/>
                  <a:gd name="connsiteY1609" fmla="*/ 1646322 h 4036143"/>
                  <a:gd name="connsiteX1610" fmla="*/ 1691640 w 5806384"/>
                  <a:gd name="connsiteY1610" fmla="*/ 1429645 h 4036143"/>
                  <a:gd name="connsiteX1611" fmla="*/ 1687392 w 5806384"/>
                  <a:gd name="connsiteY1611" fmla="*/ 1456552 h 4036143"/>
                  <a:gd name="connsiteX1612" fmla="*/ 1623663 w 5806384"/>
                  <a:gd name="connsiteY1612" fmla="*/ 1462217 h 4036143"/>
                  <a:gd name="connsiteX1613" fmla="*/ 1691640 w 5806384"/>
                  <a:gd name="connsiteY1613" fmla="*/ 1429645 h 4036143"/>
                  <a:gd name="connsiteX1614" fmla="*/ 1793606 w 5806384"/>
                  <a:gd name="connsiteY1614" fmla="*/ 1381494 h 4036143"/>
                  <a:gd name="connsiteX1615" fmla="*/ 1694473 w 5806384"/>
                  <a:gd name="connsiteY1615" fmla="*/ 1426812 h 4036143"/>
                  <a:gd name="connsiteX1616" fmla="*/ 1721381 w 5806384"/>
                  <a:gd name="connsiteY1616" fmla="*/ 1272448 h 4036143"/>
                  <a:gd name="connsiteX1617" fmla="*/ 1837508 w 5806384"/>
                  <a:gd name="connsiteY1617" fmla="*/ 1314933 h 4036143"/>
                  <a:gd name="connsiteX1618" fmla="*/ 1793606 w 5806384"/>
                  <a:gd name="connsiteY1618" fmla="*/ 1381494 h 4036143"/>
                  <a:gd name="connsiteX1619" fmla="*/ 1521697 w 5806384"/>
                  <a:gd name="connsiteY1619" fmla="*/ 1472130 h 4036143"/>
                  <a:gd name="connsiteX1620" fmla="*/ 1610918 w 5806384"/>
                  <a:gd name="connsiteY1620" fmla="*/ 1465049 h 4036143"/>
                  <a:gd name="connsiteX1621" fmla="*/ 1428229 w 5806384"/>
                  <a:gd name="connsiteY1621" fmla="*/ 1548605 h 4036143"/>
                  <a:gd name="connsiteX1622" fmla="*/ 1525946 w 5806384"/>
                  <a:gd name="connsiteY1622" fmla="*/ 1491957 h 4036143"/>
                  <a:gd name="connsiteX1623" fmla="*/ 1525946 w 5806384"/>
                  <a:gd name="connsiteY1623" fmla="*/ 1491957 h 4036143"/>
                  <a:gd name="connsiteX1624" fmla="*/ 1521697 w 5806384"/>
                  <a:gd name="connsiteY1624" fmla="*/ 1472130 h 4036143"/>
                  <a:gd name="connsiteX1625" fmla="*/ 1474963 w 5806384"/>
                  <a:gd name="connsiteY1625" fmla="*/ 1235626 h 4036143"/>
                  <a:gd name="connsiteX1626" fmla="*/ 1520281 w 5806384"/>
                  <a:gd name="connsiteY1626" fmla="*/ 1470714 h 4036143"/>
                  <a:gd name="connsiteX1627" fmla="*/ 1358835 w 5806384"/>
                  <a:gd name="connsiteY1627" fmla="*/ 1483460 h 4036143"/>
                  <a:gd name="connsiteX1628" fmla="*/ 1474963 w 5806384"/>
                  <a:gd name="connsiteY1628" fmla="*/ 1235626 h 4036143"/>
                  <a:gd name="connsiteX1629" fmla="*/ 1746872 w 5806384"/>
                  <a:gd name="connsiteY1629" fmla="*/ 1453720 h 4036143"/>
                  <a:gd name="connsiteX1630" fmla="*/ 1668981 w 5806384"/>
                  <a:gd name="connsiteY1630" fmla="*/ 1574096 h 4036143"/>
                  <a:gd name="connsiteX1631" fmla="*/ 1688808 w 5806384"/>
                  <a:gd name="connsiteY1631" fmla="*/ 1457969 h 4036143"/>
                  <a:gd name="connsiteX1632" fmla="*/ 1746872 w 5806384"/>
                  <a:gd name="connsiteY1632" fmla="*/ 1453720 h 4036143"/>
                  <a:gd name="connsiteX1633" fmla="*/ 1688808 w 5806384"/>
                  <a:gd name="connsiteY1633" fmla="*/ 1456552 h 4036143"/>
                  <a:gd name="connsiteX1634" fmla="*/ 1693057 w 5806384"/>
                  <a:gd name="connsiteY1634" fmla="*/ 1429645 h 4036143"/>
                  <a:gd name="connsiteX1635" fmla="*/ 1790774 w 5806384"/>
                  <a:gd name="connsiteY1635" fmla="*/ 1384327 h 4036143"/>
                  <a:gd name="connsiteX1636" fmla="*/ 1746872 w 5806384"/>
                  <a:gd name="connsiteY1636" fmla="*/ 1452304 h 4036143"/>
                  <a:gd name="connsiteX1637" fmla="*/ 1688808 w 5806384"/>
                  <a:gd name="connsiteY1637" fmla="*/ 1456552 h 4036143"/>
                  <a:gd name="connsiteX1638" fmla="*/ 1838924 w 5806384"/>
                  <a:gd name="connsiteY1638" fmla="*/ 1314933 h 4036143"/>
                  <a:gd name="connsiteX1639" fmla="*/ 1882826 w 5806384"/>
                  <a:gd name="connsiteY1639" fmla="*/ 1330511 h 4036143"/>
                  <a:gd name="connsiteX1640" fmla="*/ 1882826 w 5806384"/>
                  <a:gd name="connsiteY1640" fmla="*/ 1330511 h 4036143"/>
                  <a:gd name="connsiteX1641" fmla="*/ 1959300 w 5806384"/>
                  <a:gd name="connsiteY1641" fmla="*/ 1234210 h 4036143"/>
                  <a:gd name="connsiteX1642" fmla="*/ 2000370 w 5806384"/>
                  <a:gd name="connsiteY1642" fmla="*/ 1285193 h 4036143"/>
                  <a:gd name="connsiteX1643" fmla="*/ 1797855 w 5806384"/>
                  <a:gd name="connsiteY1643" fmla="*/ 1378662 h 4036143"/>
                  <a:gd name="connsiteX1644" fmla="*/ 1838924 w 5806384"/>
                  <a:gd name="connsiteY1644" fmla="*/ 1314933 h 4036143"/>
                  <a:gd name="connsiteX1645" fmla="*/ 1718548 w 5806384"/>
                  <a:gd name="connsiteY1645" fmla="*/ 1271031 h 4036143"/>
                  <a:gd name="connsiteX1646" fmla="*/ 1691640 w 5806384"/>
                  <a:gd name="connsiteY1646" fmla="*/ 1428229 h 4036143"/>
                  <a:gd name="connsiteX1647" fmla="*/ 1616582 w 5806384"/>
                  <a:gd name="connsiteY1647" fmla="*/ 1462217 h 4036143"/>
                  <a:gd name="connsiteX1648" fmla="*/ 1521697 w 5806384"/>
                  <a:gd name="connsiteY1648" fmla="*/ 1469298 h 4036143"/>
                  <a:gd name="connsiteX1649" fmla="*/ 1476380 w 5806384"/>
                  <a:gd name="connsiteY1649" fmla="*/ 1228546 h 4036143"/>
                  <a:gd name="connsiteX1650" fmla="*/ 1476380 w 5806384"/>
                  <a:gd name="connsiteY1650" fmla="*/ 1228546 h 4036143"/>
                  <a:gd name="connsiteX1651" fmla="*/ 1356003 w 5806384"/>
                  <a:gd name="connsiteY1651" fmla="*/ 1482044 h 4036143"/>
                  <a:gd name="connsiteX1652" fmla="*/ 1180395 w 5806384"/>
                  <a:gd name="connsiteY1652" fmla="*/ 1496206 h 4036143"/>
                  <a:gd name="connsiteX1653" fmla="*/ 1467882 w 5806384"/>
                  <a:gd name="connsiteY1653" fmla="*/ 1225713 h 4036143"/>
                  <a:gd name="connsiteX1654" fmla="*/ 1584010 w 5806384"/>
                  <a:gd name="connsiteY1654" fmla="*/ 1167649 h 4036143"/>
                  <a:gd name="connsiteX1655" fmla="*/ 1562767 w 5806384"/>
                  <a:gd name="connsiteY1655" fmla="*/ 1214384 h 4036143"/>
                  <a:gd name="connsiteX1656" fmla="*/ 1562767 w 5806384"/>
                  <a:gd name="connsiteY1656" fmla="*/ 1214384 h 4036143"/>
                  <a:gd name="connsiteX1657" fmla="*/ 1718548 w 5806384"/>
                  <a:gd name="connsiteY1657" fmla="*/ 1271031 h 4036143"/>
                  <a:gd name="connsiteX1658" fmla="*/ 1751121 w 5806384"/>
                  <a:gd name="connsiteY1658" fmla="*/ 1452304 h 4036143"/>
                  <a:gd name="connsiteX1659" fmla="*/ 1796438 w 5806384"/>
                  <a:gd name="connsiteY1659" fmla="*/ 1382910 h 4036143"/>
                  <a:gd name="connsiteX1660" fmla="*/ 2003203 w 5806384"/>
                  <a:gd name="connsiteY1660" fmla="*/ 1288026 h 4036143"/>
                  <a:gd name="connsiteX1661" fmla="*/ 2112249 w 5806384"/>
                  <a:gd name="connsiteY1661" fmla="*/ 1423980 h 4036143"/>
                  <a:gd name="connsiteX1662" fmla="*/ 1751121 w 5806384"/>
                  <a:gd name="connsiteY1662" fmla="*/ 1452304 h 4036143"/>
                  <a:gd name="connsiteX1663" fmla="*/ 1881410 w 5806384"/>
                  <a:gd name="connsiteY1663" fmla="*/ 1329095 h 4036143"/>
                  <a:gd name="connsiteX1664" fmla="*/ 1838924 w 5806384"/>
                  <a:gd name="connsiteY1664" fmla="*/ 1313517 h 4036143"/>
                  <a:gd name="connsiteX1665" fmla="*/ 1919647 w 5806384"/>
                  <a:gd name="connsiteY1665" fmla="*/ 1187476 h 4036143"/>
                  <a:gd name="connsiteX1666" fmla="*/ 1956468 w 5806384"/>
                  <a:gd name="connsiteY1666" fmla="*/ 1234210 h 4036143"/>
                  <a:gd name="connsiteX1667" fmla="*/ 1881410 w 5806384"/>
                  <a:gd name="connsiteY1667" fmla="*/ 1329095 h 4036143"/>
                  <a:gd name="connsiteX1668" fmla="*/ 1837508 w 5806384"/>
                  <a:gd name="connsiteY1668" fmla="*/ 1313517 h 4036143"/>
                  <a:gd name="connsiteX1669" fmla="*/ 1719964 w 5806384"/>
                  <a:gd name="connsiteY1669" fmla="*/ 1271031 h 4036143"/>
                  <a:gd name="connsiteX1670" fmla="*/ 1751121 w 5806384"/>
                  <a:gd name="connsiteY1670" fmla="*/ 1084094 h 4036143"/>
                  <a:gd name="connsiteX1671" fmla="*/ 1812017 w 5806384"/>
                  <a:gd name="connsiteY1671" fmla="*/ 1054354 h 4036143"/>
                  <a:gd name="connsiteX1672" fmla="*/ 1918231 w 5806384"/>
                  <a:gd name="connsiteY1672" fmla="*/ 1187476 h 4036143"/>
                  <a:gd name="connsiteX1673" fmla="*/ 1837508 w 5806384"/>
                  <a:gd name="connsiteY1673" fmla="*/ 1313517 h 4036143"/>
                  <a:gd name="connsiteX1674" fmla="*/ 1718548 w 5806384"/>
                  <a:gd name="connsiteY1674" fmla="*/ 1269615 h 4036143"/>
                  <a:gd name="connsiteX1675" fmla="*/ 1565599 w 5806384"/>
                  <a:gd name="connsiteY1675" fmla="*/ 1212967 h 4036143"/>
                  <a:gd name="connsiteX1676" fmla="*/ 1586842 w 5806384"/>
                  <a:gd name="connsiteY1676" fmla="*/ 1166233 h 4036143"/>
                  <a:gd name="connsiteX1677" fmla="*/ 1749704 w 5806384"/>
                  <a:gd name="connsiteY1677" fmla="*/ 1084094 h 4036143"/>
                  <a:gd name="connsiteX1678" fmla="*/ 1718548 w 5806384"/>
                  <a:gd name="connsiteY1678" fmla="*/ 1269615 h 4036143"/>
                  <a:gd name="connsiteX1679" fmla="*/ 1316350 w 5806384"/>
                  <a:gd name="connsiteY1679" fmla="*/ 1571264 h 4036143"/>
                  <a:gd name="connsiteX1680" fmla="*/ 1409818 w 5806384"/>
                  <a:gd name="connsiteY1680" fmla="*/ 1572680 h 4036143"/>
                  <a:gd name="connsiteX1681" fmla="*/ 1448056 w 5806384"/>
                  <a:gd name="connsiteY1681" fmla="*/ 1646322 h 4036143"/>
                  <a:gd name="connsiteX1682" fmla="*/ 1428229 w 5806384"/>
                  <a:gd name="connsiteY1682" fmla="*/ 1646322 h 4036143"/>
                  <a:gd name="connsiteX1683" fmla="*/ 1309269 w 5806384"/>
                  <a:gd name="connsiteY1683" fmla="*/ 1588258 h 4036143"/>
                  <a:gd name="connsiteX1684" fmla="*/ 1316350 w 5806384"/>
                  <a:gd name="connsiteY1684" fmla="*/ 1571264 h 4036143"/>
                  <a:gd name="connsiteX1685" fmla="*/ 2187307 w 5806384"/>
                  <a:gd name="connsiteY1685" fmla="*/ 2433724 h 4036143"/>
                  <a:gd name="connsiteX1686" fmla="*/ 2187307 w 5806384"/>
                  <a:gd name="connsiteY1686" fmla="*/ 2433724 h 4036143"/>
                  <a:gd name="connsiteX1687" fmla="*/ 2054185 w 5806384"/>
                  <a:gd name="connsiteY1687" fmla="*/ 2452135 h 4036143"/>
                  <a:gd name="connsiteX1688" fmla="*/ 2137741 w 5806384"/>
                  <a:gd name="connsiteY1688" fmla="*/ 1994705 h 4036143"/>
                  <a:gd name="connsiteX1689" fmla="*/ 2251036 w 5806384"/>
                  <a:gd name="connsiteY1689" fmla="*/ 2049936 h 4036143"/>
                  <a:gd name="connsiteX1690" fmla="*/ 2258117 w 5806384"/>
                  <a:gd name="connsiteY1690" fmla="*/ 2303435 h 4036143"/>
                  <a:gd name="connsiteX1691" fmla="*/ 2258117 w 5806384"/>
                  <a:gd name="connsiteY1691" fmla="*/ 2304851 h 4036143"/>
                  <a:gd name="connsiteX1692" fmla="*/ 2323262 w 5806384"/>
                  <a:gd name="connsiteY1692" fmla="*/ 2085341 h 4036143"/>
                  <a:gd name="connsiteX1693" fmla="*/ 2487540 w 5806384"/>
                  <a:gd name="connsiteY1693" fmla="*/ 2164648 h 4036143"/>
                  <a:gd name="connsiteX1694" fmla="*/ 2436557 w 5806384"/>
                  <a:gd name="connsiteY1694" fmla="*/ 2396903 h 4036143"/>
                  <a:gd name="connsiteX1695" fmla="*/ 2408233 w 5806384"/>
                  <a:gd name="connsiteY1695" fmla="*/ 2402568 h 4036143"/>
                  <a:gd name="connsiteX1696" fmla="*/ 2272279 w 5806384"/>
                  <a:gd name="connsiteY1696" fmla="*/ 2299186 h 4036143"/>
                  <a:gd name="connsiteX1697" fmla="*/ 2270863 w 5806384"/>
                  <a:gd name="connsiteY1697" fmla="*/ 2299186 h 4036143"/>
                  <a:gd name="connsiteX1698" fmla="*/ 2336008 w 5806384"/>
                  <a:gd name="connsiteY1698" fmla="*/ 2415314 h 4036143"/>
                  <a:gd name="connsiteX1699" fmla="*/ 2197221 w 5806384"/>
                  <a:gd name="connsiteY1699" fmla="*/ 2439389 h 4036143"/>
                  <a:gd name="connsiteX1700" fmla="*/ 2187307 w 5806384"/>
                  <a:gd name="connsiteY1700" fmla="*/ 2433724 h 4036143"/>
                  <a:gd name="connsiteX1701" fmla="*/ 2191556 w 5806384"/>
                  <a:gd name="connsiteY1701" fmla="*/ 2439389 h 4036143"/>
                  <a:gd name="connsiteX1702" fmla="*/ 2183059 w 5806384"/>
                  <a:gd name="connsiteY1702" fmla="*/ 2440805 h 4036143"/>
                  <a:gd name="connsiteX1703" fmla="*/ 2187307 w 5806384"/>
                  <a:gd name="connsiteY1703" fmla="*/ 2433724 h 4036143"/>
                  <a:gd name="connsiteX1704" fmla="*/ 2336008 w 5806384"/>
                  <a:gd name="connsiteY1704" fmla="*/ 2415314 h 4036143"/>
                  <a:gd name="connsiteX1705" fmla="*/ 2377077 w 5806384"/>
                  <a:gd name="connsiteY1705" fmla="*/ 2488955 h 4036143"/>
                  <a:gd name="connsiteX1706" fmla="*/ 2277944 w 5806384"/>
                  <a:gd name="connsiteY1706" fmla="*/ 2440805 h 4036143"/>
                  <a:gd name="connsiteX1707" fmla="*/ 2276528 w 5806384"/>
                  <a:gd name="connsiteY1707" fmla="*/ 2440805 h 4036143"/>
                  <a:gd name="connsiteX1708" fmla="*/ 2399736 w 5806384"/>
                  <a:gd name="connsiteY1708" fmla="*/ 2555516 h 4036143"/>
                  <a:gd name="connsiteX1709" fmla="*/ 2395488 w 5806384"/>
                  <a:gd name="connsiteY1709" fmla="*/ 2578175 h 4036143"/>
                  <a:gd name="connsiteX1710" fmla="*/ 2198637 w 5806384"/>
                  <a:gd name="connsiteY1710" fmla="*/ 2439389 h 4036143"/>
                  <a:gd name="connsiteX1711" fmla="*/ 2336008 w 5806384"/>
                  <a:gd name="connsiteY1711" fmla="*/ 2415314 h 4036143"/>
                  <a:gd name="connsiteX1712" fmla="*/ 2532858 w 5806384"/>
                  <a:gd name="connsiteY1712" fmla="*/ 2674476 h 4036143"/>
                  <a:gd name="connsiteX1713" fmla="*/ 2432309 w 5806384"/>
                  <a:gd name="connsiteY1713" fmla="*/ 2582424 h 4036143"/>
                  <a:gd name="connsiteX1714" fmla="*/ 2406817 w 5806384"/>
                  <a:gd name="connsiteY1714" fmla="*/ 2537106 h 4036143"/>
                  <a:gd name="connsiteX1715" fmla="*/ 2412482 w 5806384"/>
                  <a:gd name="connsiteY1715" fmla="*/ 2508782 h 4036143"/>
                  <a:gd name="connsiteX1716" fmla="*/ 2769362 w 5806384"/>
                  <a:gd name="connsiteY1716" fmla="*/ 2678725 h 4036143"/>
                  <a:gd name="connsiteX1717" fmla="*/ 2777859 w 5806384"/>
                  <a:gd name="connsiteY1717" fmla="*/ 2685806 h 4036143"/>
                  <a:gd name="connsiteX1718" fmla="*/ 2793438 w 5806384"/>
                  <a:gd name="connsiteY1718" fmla="*/ 2729708 h 4036143"/>
                  <a:gd name="connsiteX1719" fmla="*/ 2576761 w 5806384"/>
                  <a:gd name="connsiteY1719" fmla="*/ 2670228 h 4036143"/>
                  <a:gd name="connsiteX1720" fmla="*/ 2576761 w 5806384"/>
                  <a:gd name="connsiteY1720" fmla="*/ 2670228 h 4036143"/>
                  <a:gd name="connsiteX1721" fmla="*/ 2629159 w 5806384"/>
                  <a:gd name="connsiteY1721" fmla="*/ 2743870 h 4036143"/>
                  <a:gd name="connsiteX1722" fmla="*/ 2532858 w 5806384"/>
                  <a:gd name="connsiteY1722" fmla="*/ 2674476 h 4036143"/>
                  <a:gd name="connsiteX1723" fmla="*/ 2923727 w 5806384"/>
                  <a:gd name="connsiteY1723" fmla="*/ 2792020 h 4036143"/>
                  <a:gd name="connsiteX1724" fmla="*/ 2942138 w 5806384"/>
                  <a:gd name="connsiteY1724" fmla="*/ 2772194 h 4036143"/>
                  <a:gd name="connsiteX1725" fmla="*/ 2998785 w 5806384"/>
                  <a:gd name="connsiteY1725" fmla="*/ 2787772 h 4036143"/>
                  <a:gd name="connsiteX1726" fmla="*/ 3140404 w 5806384"/>
                  <a:gd name="connsiteY1726" fmla="*/ 2855749 h 4036143"/>
                  <a:gd name="connsiteX1727" fmla="*/ 3197052 w 5806384"/>
                  <a:gd name="connsiteY1727" fmla="*/ 2981790 h 4036143"/>
                  <a:gd name="connsiteX1728" fmla="*/ 3185723 w 5806384"/>
                  <a:gd name="connsiteY1728" fmla="*/ 2993119 h 4036143"/>
                  <a:gd name="connsiteX1729" fmla="*/ 2923727 w 5806384"/>
                  <a:gd name="connsiteY1729" fmla="*/ 2792020 h 4036143"/>
                  <a:gd name="connsiteX1730" fmla="*/ 3323093 w 5806384"/>
                  <a:gd name="connsiteY1730" fmla="*/ 2942136 h 4036143"/>
                  <a:gd name="connsiteX1731" fmla="*/ 3209797 w 5806384"/>
                  <a:gd name="connsiteY1731" fmla="*/ 2998784 h 4036143"/>
                  <a:gd name="connsiteX1732" fmla="*/ 3201301 w 5806384"/>
                  <a:gd name="connsiteY1732" fmla="*/ 2981790 h 4036143"/>
                  <a:gd name="connsiteX1733" fmla="*/ 3269278 w 5806384"/>
                  <a:gd name="connsiteY1733" fmla="*/ 2916645 h 4036143"/>
                  <a:gd name="connsiteX1734" fmla="*/ 3323093 w 5806384"/>
                  <a:gd name="connsiteY1734" fmla="*/ 2942136 h 4036143"/>
                  <a:gd name="connsiteX1735" fmla="*/ 3325925 w 5806384"/>
                  <a:gd name="connsiteY1735" fmla="*/ 2943553 h 4036143"/>
                  <a:gd name="connsiteX1736" fmla="*/ 3342920 w 5806384"/>
                  <a:gd name="connsiteY1736" fmla="*/ 2952050 h 4036143"/>
                  <a:gd name="connsiteX1737" fmla="*/ 3372659 w 5806384"/>
                  <a:gd name="connsiteY1737" fmla="*/ 3103582 h 4036143"/>
                  <a:gd name="connsiteX1738" fmla="*/ 3216878 w 5806384"/>
                  <a:gd name="connsiteY1738" fmla="*/ 3017195 h 4036143"/>
                  <a:gd name="connsiteX1739" fmla="*/ 3209797 w 5806384"/>
                  <a:gd name="connsiteY1739" fmla="*/ 3001616 h 4036143"/>
                  <a:gd name="connsiteX1740" fmla="*/ 3325925 w 5806384"/>
                  <a:gd name="connsiteY1740" fmla="*/ 2943553 h 4036143"/>
                  <a:gd name="connsiteX1741" fmla="*/ 3345752 w 5806384"/>
                  <a:gd name="connsiteY1741" fmla="*/ 2949217 h 4036143"/>
                  <a:gd name="connsiteX1742" fmla="*/ 3342920 w 5806384"/>
                  <a:gd name="connsiteY1742" fmla="*/ 2933639 h 4036143"/>
                  <a:gd name="connsiteX1743" fmla="*/ 3436388 w 5806384"/>
                  <a:gd name="connsiteY1743" fmla="*/ 2886905 h 4036143"/>
                  <a:gd name="connsiteX1744" fmla="*/ 3451967 w 5806384"/>
                  <a:gd name="connsiteY1744" fmla="*/ 2998784 h 4036143"/>
                  <a:gd name="connsiteX1745" fmla="*/ 3345752 w 5806384"/>
                  <a:gd name="connsiteY1745" fmla="*/ 2949217 h 4036143"/>
                  <a:gd name="connsiteX1746" fmla="*/ 3623325 w 5806384"/>
                  <a:gd name="connsiteY1746" fmla="*/ 2716962 h 4036143"/>
                  <a:gd name="connsiteX1747" fmla="*/ 3570926 w 5806384"/>
                  <a:gd name="connsiteY1747" fmla="*/ 2690054 h 4036143"/>
                  <a:gd name="connsiteX1748" fmla="*/ 3507198 w 5806384"/>
                  <a:gd name="connsiteY1748" fmla="*/ 2658898 h 4036143"/>
                  <a:gd name="connsiteX1749" fmla="*/ 3369828 w 5806384"/>
                  <a:gd name="connsiteY1749" fmla="*/ 2403984 h 4036143"/>
                  <a:gd name="connsiteX1750" fmla="*/ 3369828 w 5806384"/>
                  <a:gd name="connsiteY1750" fmla="*/ 2402568 h 4036143"/>
                  <a:gd name="connsiteX1751" fmla="*/ 3398152 w 5806384"/>
                  <a:gd name="connsiteY1751" fmla="*/ 2605083 h 4036143"/>
                  <a:gd name="connsiteX1752" fmla="*/ 3189971 w 5806384"/>
                  <a:gd name="connsiteY1752" fmla="*/ 2503117 h 4036143"/>
                  <a:gd name="connsiteX1753" fmla="*/ 3325925 w 5806384"/>
                  <a:gd name="connsiteY1753" fmla="*/ 2354417 h 4036143"/>
                  <a:gd name="connsiteX1754" fmla="*/ 3701216 w 5806384"/>
                  <a:gd name="connsiteY1754" fmla="*/ 2456383 h 4036143"/>
                  <a:gd name="connsiteX1755" fmla="*/ 3702633 w 5806384"/>
                  <a:gd name="connsiteY1755" fmla="*/ 2456383 h 4036143"/>
                  <a:gd name="connsiteX1756" fmla="*/ 3395319 w 5806384"/>
                  <a:gd name="connsiteY1756" fmla="*/ 2277943 h 4036143"/>
                  <a:gd name="connsiteX1757" fmla="*/ 3549683 w 5806384"/>
                  <a:gd name="connsiteY1757" fmla="*/ 2109416 h 4036143"/>
                  <a:gd name="connsiteX1758" fmla="*/ 3552516 w 5806384"/>
                  <a:gd name="connsiteY1758" fmla="*/ 2110833 h 4036143"/>
                  <a:gd name="connsiteX1759" fmla="*/ 3552516 w 5806384"/>
                  <a:gd name="connsiteY1759" fmla="*/ 2110833 h 4036143"/>
                  <a:gd name="connsiteX1760" fmla="*/ 3551100 w 5806384"/>
                  <a:gd name="connsiteY1760" fmla="*/ 2106584 h 4036143"/>
                  <a:gd name="connsiteX1761" fmla="*/ 3553933 w 5806384"/>
                  <a:gd name="connsiteY1761" fmla="*/ 2103752 h 4036143"/>
                  <a:gd name="connsiteX1762" fmla="*/ 3553933 w 5806384"/>
                  <a:gd name="connsiteY1762" fmla="*/ 2103752 h 4036143"/>
                  <a:gd name="connsiteX1763" fmla="*/ 3549683 w 5806384"/>
                  <a:gd name="connsiteY1763" fmla="*/ 2103752 h 4036143"/>
                  <a:gd name="connsiteX1764" fmla="*/ 3497285 w 5806384"/>
                  <a:gd name="connsiteY1764" fmla="*/ 1974878 h 4036143"/>
                  <a:gd name="connsiteX1765" fmla="*/ 3746534 w 5806384"/>
                  <a:gd name="connsiteY1765" fmla="*/ 2068347 h 4036143"/>
                  <a:gd name="connsiteX1766" fmla="*/ 3780523 w 5806384"/>
                  <a:gd name="connsiteY1766" fmla="*/ 2343088 h 4036143"/>
                  <a:gd name="connsiteX1767" fmla="*/ 3623325 w 5806384"/>
                  <a:gd name="connsiteY1767" fmla="*/ 2716962 h 4036143"/>
                  <a:gd name="connsiteX1768" fmla="*/ 3726707 w 5806384"/>
                  <a:gd name="connsiteY1768" fmla="*/ 1884242 h 4036143"/>
                  <a:gd name="connsiteX1769" fmla="*/ 3868326 w 5806384"/>
                  <a:gd name="connsiteY1769" fmla="*/ 1966381 h 4036143"/>
                  <a:gd name="connsiteX1770" fmla="*/ 3825841 w 5806384"/>
                  <a:gd name="connsiteY1770" fmla="*/ 2098087 h 4036143"/>
                  <a:gd name="connsiteX1771" fmla="*/ 3747950 w 5806384"/>
                  <a:gd name="connsiteY1771" fmla="*/ 2069763 h 4036143"/>
                  <a:gd name="connsiteX1772" fmla="*/ 3726707 w 5806384"/>
                  <a:gd name="connsiteY1772" fmla="*/ 1884242 h 4036143"/>
                  <a:gd name="connsiteX1773" fmla="*/ 3893818 w 5806384"/>
                  <a:gd name="connsiteY1773" fmla="*/ 1892739 h 4036143"/>
                  <a:gd name="connsiteX1774" fmla="*/ 4041102 w 5806384"/>
                  <a:gd name="connsiteY1774" fmla="*/ 2065514 h 4036143"/>
                  <a:gd name="connsiteX1775" fmla="*/ 3869743 w 5806384"/>
                  <a:gd name="connsiteY1775" fmla="*/ 1966381 h 4036143"/>
                  <a:gd name="connsiteX1776" fmla="*/ 3893818 w 5806384"/>
                  <a:gd name="connsiteY1776" fmla="*/ 1892739 h 4036143"/>
                  <a:gd name="connsiteX1777" fmla="*/ 3696968 w 5806384"/>
                  <a:gd name="connsiteY1777" fmla="*/ 1660484 h 4036143"/>
                  <a:gd name="connsiteX1778" fmla="*/ 3696968 w 5806384"/>
                  <a:gd name="connsiteY1778" fmla="*/ 1660484 h 4036143"/>
                  <a:gd name="connsiteX1779" fmla="*/ 3723876 w 5806384"/>
                  <a:gd name="connsiteY1779" fmla="*/ 1879993 h 4036143"/>
                  <a:gd name="connsiteX1780" fmla="*/ 3374076 w 5806384"/>
                  <a:gd name="connsiteY1780" fmla="*/ 1677478 h 4036143"/>
                  <a:gd name="connsiteX1781" fmla="*/ 3235289 w 5806384"/>
                  <a:gd name="connsiteY1781" fmla="*/ 1337592 h 4036143"/>
                  <a:gd name="connsiteX1782" fmla="*/ 3250867 w 5806384"/>
                  <a:gd name="connsiteY1782" fmla="*/ 1336176 h 4036143"/>
                  <a:gd name="connsiteX1783" fmla="*/ 3682806 w 5806384"/>
                  <a:gd name="connsiteY1783" fmla="*/ 1659068 h 4036143"/>
                  <a:gd name="connsiteX1784" fmla="*/ 3682806 w 5806384"/>
                  <a:gd name="connsiteY1784" fmla="*/ 1659068 h 4036143"/>
                  <a:gd name="connsiteX1785" fmla="*/ 3718210 w 5806384"/>
                  <a:gd name="connsiteY1785" fmla="*/ 1299355 h 4036143"/>
                  <a:gd name="connsiteX1786" fmla="*/ 3749367 w 5806384"/>
                  <a:gd name="connsiteY1786" fmla="*/ 1296523 h 4036143"/>
                  <a:gd name="connsiteX1787" fmla="*/ 3871159 w 5806384"/>
                  <a:gd name="connsiteY1787" fmla="*/ 1489125 h 4036143"/>
                  <a:gd name="connsiteX1788" fmla="*/ 3861245 w 5806384"/>
                  <a:gd name="connsiteY1788" fmla="*/ 1514616 h 4036143"/>
                  <a:gd name="connsiteX1789" fmla="*/ 3882488 w 5806384"/>
                  <a:gd name="connsiteY1789" fmla="*/ 1506119 h 4036143"/>
                  <a:gd name="connsiteX1790" fmla="*/ 3919310 w 5806384"/>
                  <a:gd name="connsiteY1790" fmla="*/ 1564183 h 4036143"/>
                  <a:gd name="connsiteX1791" fmla="*/ 3895234 w 5806384"/>
                  <a:gd name="connsiteY1791" fmla="*/ 1762449 h 4036143"/>
                  <a:gd name="connsiteX1792" fmla="*/ 3895234 w 5806384"/>
                  <a:gd name="connsiteY1792" fmla="*/ 1762449 h 4036143"/>
                  <a:gd name="connsiteX1793" fmla="*/ 3936304 w 5806384"/>
                  <a:gd name="connsiteY1793" fmla="*/ 1751120 h 4036143"/>
                  <a:gd name="connsiteX1794" fmla="*/ 3892402 w 5806384"/>
                  <a:gd name="connsiteY1794" fmla="*/ 1887074 h 4036143"/>
                  <a:gd name="connsiteX1795" fmla="*/ 3696968 w 5806384"/>
                  <a:gd name="connsiteY1795" fmla="*/ 1660484 h 4036143"/>
                  <a:gd name="connsiteX1796" fmla="*/ 4308763 w 5806384"/>
                  <a:gd name="connsiteY1796" fmla="*/ 1474963 h 4036143"/>
                  <a:gd name="connsiteX1797" fmla="*/ 4308763 w 5806384"/>
                  <a:gd name="connsiteY1797" fmla="*/ 1474963 h 4036143"/>
                  <a:gd name="connsiteX1798" fmla="*/ 4177057 w 5806384"/>
                  <a:gd name="connsiteY1798" fmla="*/ 1389991 h 4036143"/>
                  <a:gd name="connsiteX1799" fmla="*/ 4270525 w 5806384"/>
                  <a:gd name="connsiteY1799" fmla="*/ 1353170 h 4036143"/>
                  <a:gd name="connsiteX1800" fmla="*/ 4402231 w 5806384"/>
                  <a:gd name="connsiteY1800" fmla="*/ 1622247 h 4036143"/>
                  <a:gd name="connsiteX1801" fmla="*/ 4269109 w 5806384"/>
                  <a:gd name="connsiteY1801" fmla="*/ 1659068 h 4036143"/>
                  <a:gd name="connsiteX1802" fmla="*/ 4308763 w 5806384"/>
                  <a:gd name="connsiteY1802" fmla="*/ 1474963 h 4036143"/>
                  <a:gd name="connsiteX1803" fmla="*/ 4271941 w 5806384"/>
                  <a:gd name="connsiteY1803" fmla="*/ 1351754 h 4036143"/>
                  <a:gd name="connsiteX1804" fmla="*/ 4206797 w 5806384"/>
                  <a:gd name="connsiteY1804" fmla="*/ 1217216 h 4036143"/>
                  <a:gd name="connsiteX1805" fmla="*/ 4460295 w 5806384"/>
                  <a:gd name="connsiteY1805" fmla="*/ 1263950 h 4036143"/>
                  <a:gd name="connsiteX1806" fmla="*/ 4460295 w 5806384"/>
                  <a:gd name="connsiteY1806" fmla="*/ 1263950 h 4036143"/>
                  <a:gd name="connsiteX1807" fmla="*/ 4475873 w 5806384"/>
                  <a:gd name="connsiteY1807" fmla="*/ 1259702 h 4036143"/>
                  <a:gd name="connsiteX1808" fmla="*/ 4477289 w 5806384"/>
                  <a:gd name="connsiteY1808" fmla="*/ 1269615 h 4036143"/>
                  <a:gd name="connsiteX1809" fmla="*/ 4271941 w 5806384"/>
                  <a:gd name="connsiteY1809" fmla="*/ 1351754 h 4036143"/>
                  <a:gd name="connsiteX1810" fmla="*/ 4539602 w 5806384"/>
                  <a:gd name="connsiteY1810" fmla="*/ 982128 h 4036143"/>
                  <a:gd name="connsiteX1811" fmla="*/ 4458878 w 5806384"/>
                  <a:gd name="connsiteY1811" fmla="*/ 1112418 h 4036143"/>
                  <a:gd name="connsiteX1812" fmla="*/ 4446133 w 5806384"/>
                  <a:gd name="connsiteY1812" fmla="*/ 1013285 h 4036143"/>
                  <a:gd name="connsiteX1813" fmla="*/ 4539602 w 5806384"/>
                  <a:gd name="connsiteY1813" fmla="*/ 982128 h 4036143"/>
                  <a:gd name="connsiteX1814" fmla="*/ 4446133 w 5806384"/>
                  <a:gd name="connsiteY1814" fmla="*/ 1010452 h 4036143"/>
                  <a:gd name="connsiteX1815" fmla="*/ 4433387 w 5806384"/>
                  <a:gd name="connsiteY1815" fmla="*/ 911319 h 4036143"/>
                  <a:gd name="connsiteX1816" fmla="*/ 4569341 w 5806384"/>
                  <a:gd name="connsiteY1816" fmla="*/ 908486 h 4036143"/>
                  <a:gd name="connsiteX1817" fmla="*/ 4579255 w 5806384"/>
                  <a:gd name="connsiteY1817" fmla="*/ 918400 h 4036143"/>
                  <a:gd name="connsiteX1818" fmla="*/ 4541017 w 5806384"/>
                  <a:gd name="connsiteY1818" fmla="*/ 980712 h 4036143"/>
                  <a:gd name="connsiteX1819" fmla="*/ 4446133 w 5806384"/>
                  <a:gd name="connsiteY1819" fmla="*/ 1010452 h 4036143"/>
                  <a:gd name="connsiteX1820" fmla="*/ 4652897 w 5806384"/>
                  <a:gd name="connsiteY1820" fmla="*/ 802272 h 4036143"/>
                  <a:gd name="connsiteX1821" fmla="*/ 4589168 w 5806384"/>
                  <a:gd name="connsiteY1821" fmla="*/ 905654 h 4036143"/>
                  <a:gd name="connsiteX1822" fmla="*/ 4572174 w 5806384"/>
                  <a:gd name="connsiteY1822" fmla="*/ 905654 h 4036143"/>
                  <a:gd name="connsiteX1823" fmla="*/ 4414977 w 5806384"/>
                  <a:gd name="connsiteY1823" fmla="*/ 749873 h 4036143"/>
                  <a:gd name="connsiteX1824" fmla="*/ 4397982 w 5806384"/>
                  <a:gd name="connsiteY1824" fmla="*/ 618167 h 4036143"/>
                  <a:gd name="connsiteX1825" fmla="*/ 4652897 w 5806384"/>
                  <a:gd name="connsiteY1825" fmla="*/ 802272 h 4036143"/>
                  <a:gd name="connsiteX1826" fmla="*/ 3400983 w 5806384"/>
                  <a:gd name="connsiteY1826" fmla="*/ 92760 h 4036143"/>
                  <a:gd name="connsiteX1827" fmla="*/ 3528440 w 5806384"/>
                  <a:gd name="connsiteY1827" fmla="*/ 350507 h 4036143"/>
                  <a:gd name="connsiteX1828" fmla="*/ 3453382 w 5806384"/>
                  <a:gd name="connsiteY1828" fmla="*/ 731463 h 4036143"/>
                  <a:gd name="connsiteX1829" fmla="*/ 3177225 w 5806384"/>
                  <a:gd name="connsiteY1829" fmla="*/ 605422 h 4036143"/>
                  <a:gd name="connsiteX1830" fmla="*/ 3214047 w 5806384"/>
                  <a:gd name="connsiteY1830" fmla="*/ 404322 h 4036143"/>
                  <a:gd name="connsiteX1831" fmla="*/ 3313180 w 5806384"/>
                  <a:gd name="connsiteY1831" fmla="*/ 342010 h 4036143"/>
                  <a:gd name="connsiteX1832" fmla="*/ 3313180 w 5806384"/>
                  <a:gd name="connsiteY1832" fmla="*/ 342010 h 4036143"/>
                  <a:gd name="connsiteX1833" fmla="*/ 3231040 w 5806384"/>
                  <a:gd name="connsiteY1833" fmla="*/ 138079 h 4036143"/>
                  <a:gd name="connsiteX1834" fmla="*/ 3150318 w 5806384"/>
                  <a:gd name="connsiteY1834" fmla="*/ 13454 h 4036143"/>
                  <a:gd name="connsiteX1835" fmla="*/ 3400983 w 5806384"/>
                  <a:gd name="connsiteY1835" fmla="*/ 92760 h 4036143"/>
                  <a:gd name="connsiteX1836" fmla="*/ 2412482 w 5806384"/>
                  <a:gd name="connsiteY1836" fmla="*/ 1399905 h 4036143"/>
                  <a:gd name="connsiteX1837" fmla="*/ 2238290 w 5806384"/>
                  <a:gd name="connsiteY1837" fmla="*/ 1414067 h 4036143"/>
                  <a:gd name="connsiteX1838" fmla="*/ 2234042 w 5806384"/>
                  <a:gd name="connsiteY1838" fmla="*/ 1231378 h 4036143"/>
                  <a:gd name="connsiteX1839" fmla="*/ 2412482 w 5806384"/>
                  <a:gd name="connsiteY1839" fmla="*/ 1399905 h 4036143"/>
                  <a:gd name="connsiteX1840" fmla="*/ 1268199 w 5806384"/>
                  <a:gd name="connsiteY1840" fmla="*/ 1569848 h 4036143"/>
                  <a:gd name="connsiteX1841" fmla="*/ 1305020 w 5806384"/>
                  <a:gd name="connsiteY1841" fmla="*/ 1588258 h 4036143"/>
                  <a:gd name="connsiteX1842" fmla="*/ 1279529 w 5806384"/>
                  <a:gd name="connsiteY1842" fmla="*/ 1640657 h 4036143"/>
                  <a:gd name="connsiteX1843" fmla="*/ 1184644 w 5806384"/>
                  <a:gd name="connsiteY1843" fmla="*/ 1637825 h 4036143"/>
                  <a:gd name="connsiteX1844" fmla="*/ 1178979 w 5806384"/>
                  <a:gd name="connsiteY1844" fmla="*/ 1568431 h 4036143"/>
                  <a:gd name="connsiteX1845" fmla="*/ 1268199 w 5806384"/>
                  <a:gd name="connsiteY1845" fmla="*/ 1569848 h 4036143"/>
                  <a:gd name="connsiteX1846" fmla="*/ 698890 w 5806384"/>
                  <a:gd name="connsiteY1846" fmla="*/ 1550021 h 4036143"/>
                  <a:gd name="connsiteX1847" fmla="*/ 904238 w 5806384"/>
                  <a:gd name="connsiteY1847" fmla="*/ 1497622 h 4036143"/>
                  <a:gd name="connsiteX1848" fmla="*/ 885828 w 5806384"/>
                  <a:gd name="connsiteY1848" fmla="*/ 1561350 h 4036143"/>
                  <a:gd name="connsiteX1849" fmla="*/ 885828 w 5806384"/>
                  <a:gd name="connsiteY1849" fmla="*/ 1561350 h 4036143"/>
                  <a:gd name="connsiteX1850" fmla="*/ 1176147 w 5806384"/>
                  <a:gd name="connsiteY1850" fmla="*/ 1567015 h 4036143"/>
                  <a:gd name="connsiteX1851" fmla="*/ 1181812 w 5806384"/>
                  <a:gd name="connsiteY1851" fmla="*/ 1636409 h 4036143"/>
                  <a:gd name="connsiteX1852" fmla="*/ 1060019 w 5806384"/>
                  <a:gd name="connsiteY1852" fmla="*/ 1632160 h 4036143"/>
                  <a:gd name="connsiteX1853" fmla="*/ 1060019 w 5806384"/>
                  <a:gd name="connsiteY1853" fmla="*/ 1632160 h 4036143"/>
                  <a:gd name="connsiteX1854" fmla="*/ 1197390 w 5806384"/>
                  <a:gd name="connsiteY1854" fmla="*/ 1796438 h 4036143"/>
                  <a:gd name="connsiteX1855" fmla="*/ 1197390 w 5806384"/>
                  <a:gd name="connsiteY1855" fmla="*/ 1803519 h 4036143"/>
                  <a:gd name="connsiteX1856" fmla="*/ 875914 w 5806384"/>
                  <a:gd name="connsiteY1856" fmla="*/ 1854502 h 4036143"/>
                  <a:gd name="connsiteX1857" fmla="*/ 844758 w 5806384"/>
                  <a:gd name="connsiteY1857" fmla="*/ 1807768 h 4036143"/>
                  <a:gd name="connsiteX1858" fmla="*/ 873082 w 5806384"/>
                  <a:gd name="connsiteY1858" fmla="*/ 1803519 h 4036143"/>
                  <a:gd name="connsiteX1859" fmla="*/ 873082 w 5806384"/>
                  <a:gd name="connsiteY1859" fmla="*/ 1803519 h 4036143"/>
                  <a:gd name="connsiteX1860" fmla="*/ 698890 w 5806384"/>
                  <a:gd name="connsiteY1860" fmla="*/ 1550021 h 4036143"/>
                  <a:gd name="connsiteX1861" fmla="*/ 1263951 w 5806384"/>
                  <a:gd name="connsiteY1861" fmla="*/ 1567015 h 4036143"/>
                  <a:gd name="connsiteX1862" fmla="*/ 1178979 w 5806384"/>
                  <a:gd name="connsiteY1862" fmla="*/ 1565599 h 4036143"/>
                  <a:gd name="connsiteX1863" fmla="*/ 1174731 w 5806384"/>
                  <a:gd name="connsiteY1863" fmla="*/ 1524529 h 4036143"/>
                  <a:gd name="connsiteX1864" fmla="*/ 1263951 w 5806384"/>
                  <a:gd name="connsiteY1864" fmla="*/ 1567015 h 4036143"/>
                  <a:gd name="connsiteX1865" fmla="*/ 1065684 w 5806384"/>
                  <a:gd name="connsiteY1865" fmla="*/ 1634992 h 4036143"/>
                  <a:gd name="connsiteX1866" fmla="*/ 1183228 w 5806384"/>
                  <a:gd name="connsiteY1866" fmla="*/ 1639241 h 4036143"/>
                  <a:gd name="connsiteX1867" fmla="*/ 1197390 w 5806384"/>
                  <a:gd name="connsiteY1867" fmla="*/ 1793606 h 4036143"/>
                  <a:gd name="connsiteX1868" fmla="*/ 1065684 w 5806384"/>
                  <a:gd name="connsiteY1868" fmla="*/ 1634992 h 4036143"/>
                  <a:gd name="connsiteX1869" fmla="*/ 1200222 w 5806384"/>
                  <a:gd name="connsiteY1869" fmla="*/ 1796438 h 4036143"/>
                  <a:gd name="connsiteX1870" fmla="*/ 1186060 w 5806384"/>
                  <a:gd name="connsiteY1870" fmla="*/ 1639241 h 4036143"/>
                  <a:gd name="connsiteX1871" fmla="*/ 1280945 w 5806384"/>
                  <a:gd name="connsiteY1871" fmla="*/ 1642073 h 4036143"/>
                  <a:gd name="connsiteX1872" fmla="*/ 1205887 w 5806384"/>
                  <a:gd name="connsiteY1872" fmla="*/ 1802103 h 4036143"/>
                  <a:gd name="connsiteX1873" fmla="*/ 1200222 w 5806384"/>
                  <a:gd name="connsiteY1873" fmla="*/ 1796438 h 4036143"/>
                  <a:gd name="connsiteX1874" fmla="*/ 1422564 w 5806384"/>
                  <a:gd name="connsiteY1874" fmla="*/ 1644906 h 4036143"/>
                  <a:gd name="connsiteX1875" fmla="*/ 1283777 w 5806384"/>
                  <a:gd name="connsiteY1875" fmla="*/ 1640657 h 4036143"/>
                  <a:gd name="connsiteX1876" fmla="*/ 1307852 w 5806384"/>
                  <a:gd name="connsiteY1876" fmla="*/ 1588258 h 4036143"/>
                  <a:gd name="connsiteX1877" fmla="*/ 1422564 w 5806384"/>
                  <a:gd name="connsiteY1877" fmla="*/ 1644906 h 4036143"/>
                  <a:gd name="connsiteX1878" fmla="*/ 1449472 w 5806384"/>
                  <a:gd name="connsiteY1878" fmla="*/ 1647738 h 4036143"/>
                  <a:gd name="connsiteX1879" fmla="*/ 1455137 w 5806384"/>
                  <a:gd name="connsiteY1879" fmla="*/ 1657651 h 4036143"/>
                  <a:gd name="connsiteX1880" fmla="*/ 1432478 w 5806384"/>
                  <a:gd name="connsiteY1880" fmla="*/ 1646322 h 4036143"/>
                  <a:gd name="connsiteX1881" fmla="*/ 1449472 w 5806384"/>
                  <a:gd name="connsiteY1881" fmla="*/ 1647738 h 4036143"/>
                  <a:gd name="connsiteX1882" fmla="*/ 2674477 w 5806384"/>
                  <a:gd name="connsiteY1882" fmla="*/ 2814679 h 4036143"/>
                  <a:gd name="connsiteX1883" fmla="*/ 2674477 w 5806384"/>
                  <a:gd name="connsiteY1883" fmla="*/ 2813263 h 4036143"/>
                  <a:gd name="connsiteX1884" fmla="*/ 2634824 w 5806384"/>
                  <a:gd name="connsiteY1884" fmla="*/ 2942136 h 4036143"/>
                  <a:gd name="connsiteX1885" fmla="*/ 2454968 w 5806384"/>
                  <a:gd name="connsiteY1885" fmla="*/ 2623494 h 4036143"/>
                  <a:gd name="connsiteX1886" fmla="*/ 2531442 w 5806384"/>
                  <a:gd name="connsiteY1886" fmla="*/ 2677309 h 4036143"/>
                  <a:gd name="connsiteX1887" fmla="*/ 2675894 w 5806384"/>
                  <a:gd name="connsiteY1887" fmla="*/ 2810431 h 4036143"/>
                  <a:gd name="connsiteX1888" fmla="*/ 2675894 w 5806384"/>
                  <a:gd name="connsiteY1888" fmla="*/ 2810431 h 4036143"/>
                  <a:gd name="connsiteX1889" fmla="*/ 2677310 w 5806384"/>
                  <a:gd name="connsiteY1889" fmla="*/ 2809015 h 4036143"/>
                  <a:gd name="connsiteX1890" fmla="*/ 2636240 w 5806384"/>
                  <a:gd name="connsiteY1890" fmla="*/ 2750951 h 4036143"/>
                  <a:gd name="connsiteX1891" fmla="*/ 2834507 w 5806384"/>
                  <a:gd name="connsiteY1891" fmla="*/ 2891154 h 4036143"/>
                  <a:gd name="connsiteX1892" fmla="*/ 2668813 w 5806384"/>
                  <a:gd name="connsiteY1892" fmla="*/ 2974709 h 4036143"/>
                  <a:gd name="connsiteX1893" fmla="*/ 2674477 w 5806384"/>
                  <a:gd name="connsiteY1893" fmla="*/ 2814679 h 4036143"/>
                  <a:gd name="connsiteX1894" fmla="*/ 2520112 w 5806384"/>
                  <a:gd name="connsiteY1894" fmla="*/ 2665979 h 4036143"/>
                  <a:gd name="connsiteX1895" fmla="*/ 2452135 w 5806384"/>
                  <a:gd name="connsiteY1895" fmla="*/ 2619245 h 4036143"/>
                  <a:gd name="connsiteX1896" fmla="*/ 2435141 w 5806384"/>
                  <a:gd name="connsiteY1896" fmla="*/ 2589505 h 4036143"/>
                  <a:gd name="connsiteX1897" fmla="*/ 2520112 w 5806384"/>
                  <a:gd name="connsiteY1897" fmla="*/ 2665979 h 4036143"/>
                  <a:gd name="connsiteX1898" fmla="*/ 2654651 w 5806384"/>
                  <a:gd name="connsiteY1898" fmla="*/ 2981790 h 4036143"/>
                  <a:gd name="connsiteX1899" fmla="*/ 2617830 w 5806384"/>
                  <a:gd name="connsiteY1899" fmla="*/ 3000200 h 4036143"/>
                  <a:gd name="connsiteX1900" fmla="*/ 2634824 w 5806384"/>
                  <a:gd name="connsiteY1900" fmla="*/ 2946385 h 4036143"/>
                  <a:gd name="connsiteX1901" fmla="*/ 2654651 w 5806384"/>
                  <a:gd name="connsiteY1901" fmla="*/ 2981790 h 4036143"/>
                  <a:gd name="connsiteX1902" fmla="*/ 2671645 w 5806384"/>
                  <a:gd name="connsiteY1902" fmla="*/ 2827425 h 4036143"/>
                  <a:gd name="connsiteX1903" fmla="*/ 2668813 w 5806384"/>
                  <a:gd name="connsiteY1903" fmla="*/ 2974709 h 4036143"/>
                  <a:gd name="connsiteX1904" fmla="*/ 2657483 w 5806384"/>
                  <a:gd name="connsiteY1904" fmla="*/ 2980374 h 4036143"/>
                  <a:gd name="connsiteX1905" fmla="*/ 2636240 w 5806384"/>
                  <a:gd name="connsiteY1905" fmla="*/ 2943553 h 4036143"/>
                  <a:gd name="connsiteX1906" fmla="*/ 2671645 w 5806384"/>
                  <a:gd name="connsiteY1906" fmla="*/ 2827425 h 4036143"/>
                  <a:gd name="connsiteX1907" fmla="*/ 2668813 w 5806384"/>
                  <a:gd name="connsiteY1907" fmla="*/ 2977541 h 4036143"/>
                  <a:gd name="connsiteX1908" fmla="*/ 2668813 w 5806384"/>
                  <a:gd name="connsiteY1908" fmla="*/ 3001616 h 4036143"/>
                  <a:gd name="connsiteX1909" fmla="*/ 2658899 w 5806384"/>
                  <a:gd name="connsiteY1909" fmla="*/ 2983206 h 4036143"/>
                  <a:gd name="connsiteX1910" fmla="*/ 2668813 w 5806384"/>
                  <a:gd name="connsiteY1910" fmla="*/ 2977541 h 4036143"/>
                  <a:gd name="connsiteX1911" fmla="*/ 2695720 w 5806384"/>
                  <a:gd name="connsiteY1911" fmla="*/ 3054016 h 4036143"/>
                  <a:gd name="connsiteX1912" fmla="*/ 2661732 w 5806384"/>
                  <a:gd name="connsiteY1912" fmla="*/ 3381156 h 4036143"/>
                  <a:gd name="connsiteX1913" fmla="*/ 2670229 w 5806384"/>
                  <a:gd name="connsiteY1913" fmla="*/ 3008697 h 4036143"/>
                  <a:gd name="connsiteX1914" fmla="*/ 2695720 w 5806384"/>
                  <a:gd name="connsiteY1914" fmla="*/ 3054016 h 4036143"/>
                  <a:gd name="connsiteX1915" fmla="*/ 2861415 w 5806384"/>
                  <a:gd name="connsiteY1915" fmla="*/ 2746702 h 4036143"/>
                  <a:gd name="connsiteX1916" fmla="*/ 2797686 w 5806384"/>
                  <a:gd name="connsiteY1916" fmla="*/ 2728292 h 4036143"/>
                  <a:gd name="connsiteX1917" fmla="*/ 2783524 w 5806384"/>
                  <a:gd name="connsiteY1917" fmla="*/ 2685806 h 4036143"/>
                  <a:gd name="connsiteX1918" fmla="*/ 2861415 w 5806384"/>
                  <a:gd name="connsiteY1918" fmla="*/ 2746702 h 4036143"/>
                  <a:gd name="connsiteX1919" fmla="*/ 2865663 w 5806384"/>
                  <a:gd name="connsiteY1919" fmla="*/ 2750951 h 4036143"/>
                  <a:gd name="connsiteX1920" fmla="*/ 2920895 w 5806384"/>
                  <a:gd name="connsiteY1920" fmla="*/ 2793436 h 4036143"/>
                  <a:gd name="connsiteX1921" fmla="*/ 2847253 w 5806384"/>
                  <a:gd name="connsiteY1921" fmla="*/ 2874159 h 4036143"/>
                  <a:gd name="connsiteX1922" fmla="*/ 2797686 w 5806384"/>
                  <a:gd name="connsiteY1922" fmla="*/ 2732540 h 4036143"/>
                  <a:gd name="connsiteX1923" fmla="*/ 2865663 w 5806384"/>
                  <a:gd name="connsiteY1923" fmla="*/ 2750951 h 4036143"/>
                  <a:gd name="connsiteX1924" fmla="*/ 2871328 w 5806384"/>
                  <a:gd name="connsiteY1924" fmla="*/ 2752367 h 4036143"/>
                  <a:gd name="connsiteX1925" fmla="*/ 2940721 w 5806384"/>
                  <a:gd name="connsiteY1925" fmla="*/ 2772194 h 4036143"/>
                  <a:gd name="connsiteX1926" fmla="*/ 2922311 w 5806384"/>
                  <a:gd name="connsiteY1926" fmla="*/ 2792020 h 4036143"/>
                  <a:gd name="connsiteX1927" fmla="*/ 2871328 w 5806384"/>
                  <a:gd name="connsiteY1927" fmla="*/ 2752367 h 4036143"/>
                  <a:gd name="connsiteX1928" fmla="*/ 3208382 w 5806384"/>
                  <a:gd name="connsiteY1928" fmla="*/ 3001616 h 4036143"/>
                  <a:gd name="connsiteX1929" fmla="*/ 3214047 w 5806384"/>
                  <a:gd name="connsiteY1929" fmla="*/ 3015778 h 4036143"/>
                  <a:gd name="connsiteX1930" fmla="*/ 3198468 w 5806384"/>
                  <a:gd name="connsiteY1930" fmla="*/ 3007281 h 4036143"/>
                  <a:gd name="connsiteX1931" fmla="*/ 3208382 w 5806384"/>
                  <a:gd name="connsiteY1931" fmla="*/ 3001616 h 4036143"/>
                  <a:gd name="connsiteX1932" fmla="*/ 4617492 w 5806384"/>
                  <a:gd name="connsiteY1932" fmla="*/ 955221 h 4036143"/>
                  <a:gd name="connsiteX1933" fmla="*/ 4545267 w 5806384"/>
                  <a:gd name="connsiteY1933" fmla="*/ 979296 h 4036143"/>
                  <a:gd name="connsiteX1934" fmla="*/ 4582087 w 5806384"/>
                  <a:gd name="connsiteY1934" fmla="*/ 919816 h 4036143"/>
                  <a:gd name="connsiteX1935" fmla="*/ 4617492 w 5806384"/>
                  <a:gd name="connsiteY1935" fmla="*/ 955221 h 4036143"/>
                  <a:gd name="connsiteX1936" fmla="*/ 4781770 w 5806384"/>
                  <a:gd name="connsiteY1936" fmla="*/ 902822 h 4036143"/>
                  <a:gd name="connsiteX1937" fmla="*/ 4618908 w 5806384"/>
                  <a:gd name="connsiteY1937" fmla="*/ 955221 h 4036143"/>
                  <a:gd name="connsiteX1938" fmla="*/ 4582087 w 5806384"/>
                  <a:gd name="connsiteY1938" fmla="*/ 918400 h 4036143"/>
                  <a:gd name="connsiteX1939" fmla="*/ 4589168 w 5806384"/>
                  <a:gd name="connsiteY1939" fmla="*/ 908486 h 4036143"/>
                  <a:gd name="connsiteX1940" fmla="*/ 4781770 w 5806384"/>
                  <a:gd name="connsiteY1940" fmla="*/ 902822 h 4036143"/>
                  <a:gd name="connsiteX1941" fmla="*/ 5083419 w 5806384"/>
                  <a:gd name="connsiteY1941" fmla="*/ 871665 h 4036143"/>
                  <a:gd name="connsiteX1942" fmla="*/ 5115992 w 5806384"/>
                  <a:gd name="connsiteY1942" fmla="*/ 868833 h 4036143"/>
                  <a:gd name="connsiteX1943" fmla="*/ 5098997 w 5806384"/>
                  <a:gd name="connsiteY1943" fmla="*/ 880163 h 4036143"/>
                  <a:gd name="connsiteX1944" fmla="*/ 5083419 w 5806384"/>
                  <a:gd name="connsiteY1944" fmla="*/ 871665 h 4036143"/>
                  <a:gd name="connsiteX1945" fmla="*/ 5080587 w 5806384"/>
                  <a:gd name="connsiteY1945" fmla="*/ 870249 h 4036143"/>
                  <a:gd name="connsiteX1946" fmla="*/ 4951713 w 5806384"/>
                  <a:gd name="connsiteY1946" fmla="*/ 796607 h 4036143"/>
                  <a:gd name="connsiteX1947" fmla="*/ 5182553 w 5806384"/>
                  <a:gd name="connsiteY1947" fmla="*/ 822099 h 4036143"/>
                  <a:gd name="connsiteX1948" fmla="*/ 5118824 w 5806384"/>
                  <a:gd name="connsiteY1948" fmla="*/ 866001 h 4036143"/>
                  <a:gd name="connsiteX1949" fmla="*/ 5080587 w 5806384"/>
                  <a:gd name="connsiteY1949" fmla="*/ 870249 h 4036143"/>
                  <a:gd name="connsiteX1950" fmla="*/ 5057927 w 5806384"/>
                  <a:gd name="connsiteY1950" fmla="*/ 874498 h 4036143"/>
                  <a:gd name="connsiteX1951" fmla="*/ 5080587 w 5806384"/>
                  <a:gd name="connsiteY1951" fmla="*/ 871665 h 4036143"/>
                  <a:gd name="connsiteX1952" fmla="*/ 5097581 w 5806384"/>
                  <a:gd name="connsiteY1952" fmla="*/ 881579 h 4036143"/>
                  <a:gd name="connsiteX1953" fmla="*/ 5086251 w 5806384"/>
                  <a:gd name="connsiteY1953" fmla="*/ 890076 h 4036143"/>
                  <a:gd name="connsiteX1954" fmla="*/ 5057927 w 5806384"/>
                  <a:gd name="connsiteY1954" fmla="*/ 874498 h 4036143"/>
                  <a:gd name="connsiteX1955" fmla="*/ 5053679 w 5806384"/>
                  <a:gd name="connsiteY1955" fmla="*/ 873082 h 4036143"/>
                  <a:gd name="connsiteX1956" fmla="*/ 4910644 w 5806384"/>
                  <a:gd name="connsiteY1956" fmla="*/ 792359 h 4036143"/>
                  <a:gd name="connsiteX1957" fmla="*/ 4946049 w 5806384"/>
                  <a:gd name="connsiteY1957" fmla="*/ 796607 h 4036143"/>
                  <a:gd name="connsiteX1958" fmla="*/ 5076338 w 5806384"/>
                  <a:gd name="connsiteY1958" fmla="*/ 870249 h 4036143"/>
                  <a:gd name="connsiteX1959" fmla="*/ 5053679 w 5806384"/>
                  <a:gd name="connsiteY1959" fmla="*/ 873082 h 4036143"/>
                  <a:gd name="connsiteX1960" fmla="*/ 4941800 w 5806384"/>
                  <a:gd name="connsiteY1960" fmla="*/ 793775 h 4036143"/>
                  <a:gd name="connsiteX1961" fmla="*/ 4902146 w 5806384"/>
                  <a:gd name="connsiteY1961" fmla="*/ 789526 h 4036143"/>
                  <a:gd name="connsiteX1962" fmla="*/ 4900730 w 5806384"/>
                  <a:gd name="connsiteY1962" fmla="*/ 789526 h 4036143"/>
                  <a:gd name="connsiteX1963" fmla="*/ 5050846 w 5806384"/>
                  <a:gd name="connsiteY1963" fmla="*/ 873082 h 4036143"/>
                  <a:gd name="connsiteX1964" fmla="*/ 4801597 w 5806384"/>
                  <a:gd name="connsiteY1964" fmla="*/ 899989 h 4036143"/>
                  <a:gd name="connsiteX1965" fmla="*/ 4791683 w 5806384"/>
                  <a:gd name="connsiteY1965" fmla="*/ 899989 h 4036143"/>
                  <a:gd name="connsiteX1966" fmla="*/ 4654313 w 5806384"/>
                  <a:gd name="connsiteY1966" fmla="*/ 800856 h 4036143"/>
                  <a:gd name="connsiteX1967" fmla="*/ 4732203 w 5806384"/>
                  <a:gd name="connsiteY1967" fmla="*/ 674815 h 4036143"/>
                  <a:gd name="connsiteX1968" fmla="*/ 4941800 w 5806384"/>
                  <a:gd name="connsiteY1968" fmla="*/ 793775 h 4036143"/>
                  <a:gd name="connsiteX1969" fmla="*/ 4790268 w 5806384"/>
                  <a:gd name="connsiteY1969" fmla="*/ 902822 h 4036143"/>
                  <a:gd name="connsiteX1970" fmla="*/ 4803013 w 5806384"/>
                  <a:gd name="connsiteY1970" fmla="*/ 902822 h 4036143"/>
                  <a:gd name="connsiteX1971" fmla="*/ 5055096 w 5806384"/>
                  <a:gd name="connsiteY1971" fmla="*/ 875914 h 4036143"/>
                  <a:gd name="connsiteX1972" fmla="*/ 5083419 w 5806384"/>
                  <a:gd name="connsiteY1972" fmla="*/ 891492 h 4036143"/>
                  <a:gd name="connsiteX1973" fmla="*/ 4773273 w 5806384"/>
                  <a:gd name="connsiteY1973" fmla="*/ 1106753 h 4036143"/>
                  <a:gd name="connsiteX1974" fmla="*/ 4621740 w 5806384"/>
                  <a:gd name="connsiteY1974" fmla="*/ 956637 h 4036143"/>
                  <a:gd name="connsiteX1975" fmla="*/ 4790268 w 5806384"/>
                  <a:gd name="connsiteY1975" fmla="*/ 902822 h 4036143"/>
                  <a:gd name="connsiteX1976" fmla="*/ 5086251 w 5806384"/>
                  <a:gd name="connsiteY1976" fmla="*/ 891492 h 4036143"/>
                  <a:gd name="connsiteX1977" fmla="*/ 5097581 w 5806384"/>
                  <a:gd name="connsiteY1977" fmla="*/ 882995 h 4036143"/>
                  <a:gd name="connsiteX1978" fmla="*/ 5268940 w 5806384"/>
                  <a:gd name="connsiteY1978" fmla="*/ 980712 h 4036143"/>
                  <a:gd name="connsiteX1979" fmla="*/ 5263275 w 5806384"/>
                  <a:gd name="connsiteY1979" fmla="*/ 989209 h 4036143"/>
                  <a:gd name="connsiteX1980" fmla="*/ 5086251 w 5806384"/>
                  <a:gd name="connsiteY1980" fmla="*/ 891492 h 4036143"/>
                  <a:gd name="connsiteX1981" fmla="*/ 5365241 w 5806384"/>
                  <a:gd name="connsiteY1981" fmla="*/ 841925 h 4036143"/>
                  <a:gd name="connsiteX1982" fmla="*/ 5271773 w 5806384"/>
                  <a:gd name="connsiteY1982" fmla="*/ 979296 h 4036143"/>
                  <a:gd name="connsiteX1983" fmla="*/ 5100413 w 5806384"/>
                  <a:gd name="connsiteY1983" fmla="*/ 881579 h 4036143"/>
                  <a:gd name="connsiteX1984" fmla="*/ 5120240 w 5806384"/>
                  <a:gd name="connsiteY1984" fmla="*/ 867417 h 4036143"/>
                  <a:gd name="connsiteX1985" fmla="*/ 5365241 w 5806384"/>
                  <a:gd name="connsiteY1985" fmla="*/ 841925 h 4036143"/>
                  <a:gd name="connsiteX1986" fmla="*/ 1812017 w 5806384"/>
                  <a:gd name="connsiteY1986" fmla="*/ 1051522 h 4036143"/>
                  <a:gd name="connsiteX1987" fmla="*/ 1752537 w 5806384"/>
                  <a:gd name="connsiteY1987" fmla="*/ 1081262 h 4036143"/>
                  <a:gd name="connsiteX1988" fmla="*/ 1766699 w 5806384"/>
                  <a:gd name="connsiteY1988" fmla="*/ 996290 h 4036143"/>
                  <a:gd name="connsiteX1989" fmla="*/ 1812017 w 5806384"/>
                  <a:gd name="connsiteY1989" fmla="*/ 1051522 h 4036143"/>
                  <a:gd name="connsiteX1990" fmla="*/ 1108170 w 5806384"/>
                  <a:gd name="connsiteY1990" fmla="*/ 946724 h 4036143"/>
                  <a:gd name="connsiteX1991" fmla="*/ 1103921 w 5806384"/>
                  <a:gd name="connsiteY1991" fmla="*/ 959469 h 4036143"/>
                  <a:gd name="connsiteX1992" fmla="*/ 1092592 w 5806384"/>
                  <a:gd name="connsiteY1992" fmla="*/ 938226 h 4036143"/>
                  <a:gd name="connsiteX1993" fmla="*/ 1108170 w 5806384"/>
                  <a:gd name="connsiteY1993" fmla="*/ 946724 h 4036143"/>
                  <a:gd name="connsiteX1994" fmla="*/ 1421148 w 5806384"/>
                  <a:gd name="connsiteY1994" fmla="*/ 1898404 h 4036143"/>
                  <a:gd name="connsiteX1995" fmla="*/ 1559935 w 5806384"/>
                  <a:gd name="connsiteY1995" fmla="*/ 1857334 h 4036143"/>
                  <a:gd name="connsiteX1996" fmla="*/ 1601004 w 5806384"/>
                  <a:gd name="connsiteY1996" fmla="*/ 1935225 h 4036143"/>
                  <a:gd name="connsiteX1997" fmla="*/ 1421148 w 5806384"/>
                  <a:gd name="connsiteY1997" fmla="*/ 1898404 h 4036143"/>
                  <a:gd name="connsiteX1998" fmla="*/ 1742623 w 5806384"/>
                  <a:gd name="connsiteY1998" fmla="*/ 1800687 h 4036143"/>
                  <a:gd name="connsiteX1999" fmla="*/ 1561351 w 5806384"/>
                  <a:gd name="connsiteY1999" fmla="*/ 1854502 h 4036143"/>
                  <a:gd name="connsiteX2000" fmla="*/ 1459385 w 5806384"/>
                  <a:gd name="connsiteY2000" fmla="*/ 1663316 h 4036143"/>
                  <a:gd name="connsiteX2001" fmla="*/ 1742623 w 5806384"/>
                  <a:gd name="connsiteY2001" fmla="*/ 1800687 h 4036143"/>
                  <a:gd name="connsiteX2002" fmla="*/ 2194388 w 5806384"/>
                  <a:gd name="connsiteY2002" fmla="*/ 2439389 h 4036143"/>
                  <a:gd name="connsiteX2003" fmla="*/ 2195805 w 5806384"/>
                  <a:gd name="connsiteY2003" fmla="*/ 2439389 h 4036143"/>
                  <a:gd name="connsiteX2004" fmla="*/ 2395488 w 5806384"/>
                  <a:gd name="connsiteY2004" fmla="*/ 2579592 h 4036143"/>
                  <a:gd name="connsiteX2005" fmla="*/ 2347337 w 5806384"/>
                  <a:gd name="connsiteY2005" fmla="*/ 2797685 h 4036143"/>
                  <a:gd name="connsiteX2006" fmla="*/ 2194388 w 5806384"/>
                  <a:gd name="connsiteY2006" fmla="*/ 2439389 h 4036143"/>
                  <a:gd name="connsiteX2007" fmla="*/ 2192972 w 5806384"/>
                  <a:gd name="connsiteY2007" fmla="*/ 2437973 h 4036143"/>
                  <a:gd name="connsiteX2008" fmla="*/ 2192972 w 5806384"/>
                  <a:gd name="connsiteY2008" fmla="*/ 2437973 h 4036143"/>
                  <a:gd name="connsiteX2009" fmla="*/ 2192972 w 5806384"/>
                  <a:gd name="connsiteY2009" fmla="*/ 2437973 h 4036143"/>
                  <a:gd name="connsiteX2010" fmla="*/ 2192972 w 5806384"/>
                  <a:gd name="connsiteY2010" fmla="*/ 2437973 h 4036143"/>
                  <a:gd name="connsiteX2011" fmla="*/ 4089253 w 5806384"/>
                  <a:gd name="connsiteY2011" fmla="*/ 1708634 h 4036143"/>
                  <a:gd name="connsiteX2012" fmla="*/ 3939136 w 5806384"/>
                  <a:gd name="connsiteY2012" fmla="*/ 1749704 h 4036143"/>
                  <a:gd name="connsiteX2013" fmla="*/ 3971709 w 5806384"/>
                  <a:gd name="connsiteY2013" fmla="*/ 1647738 h 4036143"/>
                  <a:gd name="connsiteX2014" fmla="*/ 4089253 w 5806384"/>
                  <a:gd name="connsiteY2014" fmla="*/ 1708634 h 4036143"/>
                  <a:gd name="connsiteX2015" fmla="*/ 5284518 w 5806384"/>
                  <a:gd name="connsiteY2015" fmla="*/ 1140742 h 4036143"/>
                  <a:gd name="connsiteX2016" fmla="*/ 5356744 w 5806384"/>
                  <a:gd name="connsiteY2016" fmla="*/ 1031695 h 4036143"/>
                  <a:gd name="connsiteX2017" fmla="*/ 5400646 w 5806384"/>
                  <a:gd name="connsiteY2017" fmla="*/ 1057186 h 4036143"/>
                  <a:gd name="connsiteX2018" fmla="*/ 5284518 w 5806384"/>
                  <a:gd name="connsiteY2018" fmla="*/ 1140742 h 4036143"/>
                  <a:gd name="connsiteX2019" fmla="*/ 2801934 w 5806384"/>
                  <a:gd name="connsiteY2019" fmla="*/ 629497 h 4036143"/>
                  <a:gd name="connsiteX2020" fmla="*/ 2818929 w 5806384"/>
                  <a:gd name="connsiteY2020" fmla="*/ 653572 h 4036143"/>
                  <a:gd name="connsiteX2021" fmla="*/ 2541355 w 5806384"/>
                  <a:gd name="connsiteY2021" fmla="*/ 829180 h 4036143"/>
                  <a:gd name="connsiteX2022" fmla="*/ 2801934 w 5806384"/>
                  <a:gd name="connsiteY2022" fmla="*/ 629497 h 4036143"/>
                  <a:gd name="connsiteX2023" fmla="*/ 2532858 w 5806384"/>
                  <a:gd name="connsiteY2023" fmla="*/ 908486 h 4036143"/>
                  <a:gd name="connsiteX2024" fmla="*/ 1926728 w 5806384"/>
                  <a:gd name="connsiteY2024" fmla="*/ 796607 h 4036143"/>
                  <a:gd name="connsiteX2025" fmla="*/ 2129244 w 5806384"/>
                  <a:gd name="connsiteY2025" fmla="*/ 693225 h 4036143"/>
                  <a:gd name="connsiteX2026" fmla="*/ 2532858 w 5806384"/>
                  <a:gd name="connsiteY2026" fmla="*/ 908486 h 4036143"/>
                  <a:gd name="connsiteX2027" fmla="*/ 1710051 w 5806384"/>
                  <a:gd name="connsiteY2027" fmla="*/ 897157 h 4036143"/>
                  <a:gd name="connsiteX2028" fmla="*/ 1753953 w 5806384"/>
                  <a:gd name="connsiteY2028" fmla="*/ 800856 h 4036143"/>
                  <a:gd name="connsiteX2029" fmla="*/ 1763866 w 5806384"/>
                  <a:gd name="connsiteY2029" fmla="*/ 973631 h 4036143"/>
                  <a:gd name="connsiteX2030" fmla="*/ 1710051 w 5806384"/>
                  <a:gd name="connsiteY2030" fmla="*/ 897157 h 4036143"/>
                  <a:gd name="connsiteX2031" fmla="*/ 579930 w 5806384"/>
                  <a:gd name="connsiteY2031" fmla="*/ 1177563 h 4036143"/>
                  <a:gd name="connsiteX2032" fmla="*/ 570017 w 5806384"/>
                  <a:gd name="connsiteY2032" fmla="*/ 1207303 h 4036143"/>
                  <a:gd name="connsiteX2033" fmla="*/ 568601 w 5806384"/>
                  <a:gd name="connsiteY2033" fmla="*/ 1208719 h 4036143"/>
                  <a:gd name="connsiteX2034" fmla="*/ 554439 w 5806384"/>
                  <a:gd name="connsiteY2034" fmla="*/ 1197389 h 4036143"/>
                  <a:gd name="connsiteX2035" fmla="*/ 579930 w 5806384"/>
                  <a:gd name="connsiteY2035" fmla="*/ 1177563 h 4036143"/>
                  <a:gd name="connsiteX2036" fmla="*/ 759787 w 5806384"/>
                  <a:gd name="connsiteY2036" fmla="*/ 871665 h 4036143"/>
                  <a:gd name="connsiteX2037" fmla="*/ 748457 w 5806384"/>
                  <a:gd name="connsiteY2037" fmla="*/ 882995 h 4036143"/>
                  <a:gd name="connsiteX2038" fmla="*/ 747041 w 5806384"/>
                  <a:gd name="connsiteY2038" fmla="*/ 861752 h 4036143"/>
                  <a:gd name="connsiteX2039" fmla="*/ 759787 w 5806384"/>
                  <a:gd name="connsiteY2039" fmla="*/ 871665 h 4036143"/>
                  <a:gd name="connsiteX2040" fmla="*/ 762619 w 5806384"/>
                  <a:gd name="connsiteY2040" fmla="*/ 871665 h 4036143"/>
                  <a:gd name="connsiteX2041" fmla="*/ 948140 w 5806384"/>
                  <a:gd name="connsiteY2041" fmla="*/ 687561 h 4036143"/>
                  <a:gd name="connsiteX2042" fmla="*/ 983545 w 5806384"/>
                  <a:gd name="connsiteY2042" fmla="*/ 749873 h 4036143"/>
                  <a:gd name="connsiteX2043" fmla="*/ 822099 w 5806384"/>
                  <a:gd name="connsiteY2043" fmla="*/ 919816 h 4036143"/>
                  <a:gd name="connsiteX2044" fmla="*/ 762619 w 5806384"/>
                  <a:gd name="connsiteY2044" fmla="*/ 871665 h 4036143"/>
                  <a:gd name="connsiteX2045" fmla="*/ 820683 w 5806384"/>
                  <a:gd name="connsiteY2045" fmla="*/ 921232 h 4036143"/>
                  <a:gd name="connsiteX2046" fmla="*/ 762619 w 5806384"/>
                  <a:gd name="connsiteY2046" fmla="*/ 982128 h 4036143"/>
                  <a:gd name="connsiteX2047" fmla="*/ 756954 w 5806384"/>
                  <a:gd name="connsiteY2047" fmla="*/ 986377 h 4036143"/>
                  <a:gd name="connsiteX2048" fmla="*/ 749873 w 5806384"/>
                  <a:gd name="connsiteY2048" fmla="*/ 884411 h 4036143"/>
                  <a:gd name="connsiteX2049" fmla="*/ 762619 w 5806384"/>
                  <a:gd name="connsiteY2049" fmla="*/ 871665 h 4036143"/>
                  <a:gd name="connsiteX2050" fmla="*/ 820683 w 5806384"/>
                  <a:gd name="connsiteY2050" fmla="*/ 921232 h 4036143"/>
                  <a:gd name="connsiteX2051" fmla="*/ 756954 w 5806384"/>
                  <a:gd name="connsiteY2051" fmla="*/ 989209 h 4036143"/>
                  <a:gd name="connsiteX2052" fmla="*/ 764035 w 5806384"/>
                  <a:gd name="connsiteY2052" fmla="*/ 984961 h 4036143"/>
                  <a:gd name="connsiteX2053" fmla="*/ 822099 w 5806384"/>
                  <a:gd name="connsiteY2053" fmla="*/ 924064 h 4036143"/>
                  <a:gd name="connsiteX2054" fmla="*/ 871666 w 5806384"/>
                  <a:gd name="connsiteY2054" fmla="*/ 965134 h 4036143"/>
                  <a:gd name="connsiteX2055" fmla="*/ 761203 w 5806384"/>
                  <a:gd name="connsiteY2055" fmla="*/ 1045857 h 4036143"/>
                  <a:gd name="connsiteX2056" fmla="*/ 756954 w 5806384"/>
                  <a:gd name="connsiteY2056" fmla="*/ 989209 h 4036143"/>
                  <a:gd name="connsiteX2057" fmla="*/ 584179 w 5806384"/>
                  <a:gd name="connsiteY2057" fmla="*/ 1171898 h 4036143"/>
                  <a:gd name="connsiteX2058" fmla="*/ 602589 w 5806384"/>
                  <a:gd name="connsiteY2058" fmla="*/ 1120915 h 4036143"/>
                  <a:gd name="connsiteX2059" fmla="*/ 616751 w 5806384"/>
                  <a:gd name="connsiteY2059" fmla="*/ 1118083 h 4036143"/>
                  <a:gd name="connsiteX2060" fmla="*/ 592676 w 5806384"/>
                  <a:gd name="connsiteY2060" fmla="*/ 1166233 h 4036143"/>
                  <a:gd name="connsiteX2061" fmla="*/ 584179 w 5806384"/>
                  <a:gd name="connsiteY2061" fmla="*/ 1171898 h 4036143"/>
                  <a:gd name="connsiteX2062" fmla="*/ 591260 w 5806384"/>
                  <a:gd name="connsiteY2062" fmla="*/ 1169066 h 4036143"/>
                  <a:gd name="connsiteX2063" fmla="*/ 572849 w 5806384"/>
                  <a:gd name="connsiteY2063" fmla="*/ 1204470 h 4036143"/>
                  <a:gd name="connsiteX2064" fmla="*/ 571433 w 5806384"/>
                  <a:gd name="connsiteY2064" fmla="*/ 1204470 h 4036143"/>
                  <a:gd name="connsiteX2065" fmla="*/ 582763 w 5806384"/>
                  <a:gd name="connsiteY2065" fmla="*/ 1174730 h 4036143"/>
                  <a:gd name="connsiteX2066" fmla="*/ 591260 w 5806384"/>
                  <a:gd name="connsiteY2066" fmla="*/ 1169066 h 4036143"/>
                  <a:gd name="connsiteX2067" fmla="*/ 490710 w 5806384"/>
                  <a:gd name="connsiteY2067" fmla="*/ 1139326 h 4036143"/>
                  <a:gd name="connsiteX2068" fmla="*/ 490710 w 5806384"/>
                  <a:gd name="connsiteY2068" fmla="*/ 1139326 h 4036143"/>
                  <a:gd name="connsiteX2069" fmla="*/ 599757 w 5806384"/>
                  <a:gd name="connsiteY2069" fmla="*/ 1120915 h 4036143"/>
                  <a:gd name="connsiteX2070" fmla="*/ 579930 w 5806384"/>
                  <a:gd name="connsiteY2070" fmla="*/ 1174730 h 4036143"/>
                  <a:gd name="connsiteX2071" fmla="*/ 550190 w 5806384"/>
                  <a:gd name="connsiteY2071" fmla="*/ 1195973 h 4036143"/>
                  <a:gd name="connsiteX2072" fmla="*/ 435479 w 5806384"/>
                  <a:gd name="connsiteY2072" fmla="*/ 1103921 h 4036143"/>
                  <a:gd name="connsiteX2073" fmla="*/ 608254 w 5806384"/>
                  <a:gd name="connsiteY2073" fmla="*/ 1021782 h 4036143"/>
                  <a:gd name="connsiteX2074" fmla="*/ 490710 w 5806384"/>
                  <a:gd name="connsiteY2074" fmla="*/ 1139326 h 4036143"/>
                  <a:gd name="connsiteX2075" fmla="*/ 684728 w 5806384"/>
                  <a:gd name="connsiteY2075" fmla="*/ 984961 h 4036143"/>
                  <a:gd name="connsiteX2076" fmla="*/ 647908 w 5806384"/>
                  <a:gd name="connsiteY2076" fmla="*/ 1058603 h 4036143"/>
                  <a:gd name="connsiteX2077" fmla="*/ 615335 w 5806384"/>
                  <a:gd name="connsiteY2077" fmla="*/ 1079845 h 4036143"/>
                  <a:gd name="connsiteX2078" fmla="*/ 615335 w 5806384"/>
                  <a:gd name="connsiteY2078" fmla="*/ 1079845 h 4036143"/>
                  <a:gd name="connsiteX2079" fmla="*/ 601173 w 5806384"/>
                  <a:gd name="connsiteY2079" fmla="*/ 1118083 h 4036143"/>
                  <a:gd name="connsiteX2080" fmla="*/ 496375 w 5806384"/>
                  <a:gd name="connsiteY2080" fmla="*/ 1136493 h 4036143"/>
                  <a:gd name="connsiteX2081" fmla="*/ 615335 w 5806384"/>
                  <a:gd name="connsiteY2081" fmla="*/ 1017533 h 4036143"/>
                  <a:gd name="connsiteX2082" fmla="*/ 684728 w 5806384"/>
                  <a:gd name="connsiteY2082" fmla="*/ 984961 h 4036143"/>
                  <a:gd name="connsiteX2083" fmla="*/ 645075 w 5806384"/>
                  <a:gd name="connsiteY2083" fmla="*/ 1062851 h 4036143"/>
                  <a:gd name="connsiteX2084" fmla="*/ 618167 w 5806384"/>
                  <a:gd name="connsiteY2084" fmla="*/ 1115250 h 4036143"/>
                  <a:gd name="connsiteX2085" fmla="*/ 602589 w 5806384"/>
                  <a:gd name="connsiteY2085" fmla="*/ 1118083 h 4036143"/>
                  <a:gd name="connsiteX2086" fmla="*/ 615335 w 5806384"/>
                  <a:gd name="connsiteY2086" fmla="*/ 1081262 h 4036143"/>
                  <a:gd name="connsiteX2087" fmla="*/ 645075 w 5806384"/>
                  <a:gd name="connsiteY2087" fmla="*/ 1062851 h 4036143"/>
                  <a:gd name="connsiteX2088" fmla="*/ 650740 w 5806384"/>
                  <a:gd name="connsiteY2088" fmla="*/ 1057186 h 4036143"/>
                  <a:gd name="connsiteX2089" fmla="*/ 688977 w 5806384"/>
                  <a:gd name="connsiteY2089" fmla="*/ 982128 h 4036143"/>
                  <a:gd name="connsiteX2090" fmla="*/ 688977 w 5806384"/>
                  <a:gd name="connsiteY2090" fmla="*/ 982128 h 4036143"/>
                  <a:gd name="connsiteX2091" fmla="*/ 619584 w 5806384"/>
                  <a:gd name="connsiteY2091" fmla="*/ 1014701 h 4036143"/>
                  <a:gd name="connsiteX2092" fmla="*/ 747041 w 5806384"/>
                  <a:gd name="connsiteY2092" fmla="*/ 887244 h 4036143"/>
                  <a:gd name="connsiteX2093" fmla="*/ 754122 w 5806384"/>
                  <a:gd name="connsiteY2093" fmla="*/ 987793 h 4036143"/>
                  <a:gd name="connsiteX2094" fmla="*/ 650740 w 5806384"/>
                  <a:gd name="connsiteY2094" fmla="*/ 1057186 h 4036143"/>
                  <a:gd name="connsiteX2095" fmla="*/ 647908 w 5806384"/>
                  <a:gd name="connsiteY2095" fmla="*/ 1060019 h 4036143"/>
                  <a:gd name="connsiteX2096" fmla="*/ 754122 w 5806384"/>
                  <a:gd name="connsiteY2096" fmla="*/ 989209 h 4036143"/>
                  <a:gd name="connsiteX2097" fmla="*/ 758370 w 5806384"/>
                  <a:gd name="connsiteY2097" fmla="*/ 1044441 h 4036143"/>
                  <a:gd name="connsiteX2098" fmla="*/ 676231 w 5806384"/>
                  <a:gd name="connsiteY2098" fmla="*/ 1103921 h 4036143"/>
                  <a:gd name="connsiteX2099" fmla="*/ 621000 w 5806384"/>
                  <a:gd name="connsiteY2099" fmla="*/ 1113834 h 4036143"/>
                  <a:gd name="connsiteX2100" fmla="*/ 647908 w 5806384"/>
                  <a:gd name="connsiteY2100" fmla="*/ 1060019 h 4036143"/>
                  <a:gd name="connsiteX2101" fmla="*/ 551606 w 5806384"/>
                  <a:gd name="connsiteY2101" fmla="*/ 1197389 h 4036143"/>
                  <a:gd name="connsiteX2102" fmla="*/ 565768 w 5806384"/>
                  <a:gd name="connsiteY2102" fmla="*/ 1208719 h 4036143"/>
                  <a:gd name="connsiteX2103" fmla="*/ 459554 w 5806384"/>
                  <a:gd name="connsiteY2103" fmla="*/ 1265367 h 4036143"/>
                  <a:gd name="connsiteX2104" fmla="*/ 551606 w 5806384"/>
                  <a:gd name="connsiteY2104" fmla="*/ 1197389 h 4036143"/>
                  <a:gd name="connsiteX2105" fmla="*/ 571433 w 5806384"/>
                  <a:gd name="connsiteY2105" fmla="*/ 1211551 h 4036143"/>
                  <a:gd name="connsiteX2106" fmla="*/ 574265 w 5806384"/>
                  <a:gd name="connsiteY2106" fmla="*/ 1205887 h 4036143"/>
                  <a:gd name="connsiteX2107" fmla="*/ 670566 w 5806384"/>
                  <a:gd name="connsiteY2107" fmla="*/ 1154904 h 4036143"/>
                  <a:gd name="connsiteX2108" fmla="*/ 681896 w 5806384"/>
                  <a:gd name="connsiteY2108" fmla="*/ 1300771 h 4036143"/>
                  <a:gd name="connsiteX2109" fmla="*/ 571433 w 5806384"/>
                  <a:gd name="connsiteY2109" fmla="*/ 1211551 h 4036143"/>
                  <a:gd name="connsiteX2110" fmla="*/ 671983 w 5806384"/>
                  <a:gd name="connsiteY2110" fmla="*/ 1108169 h 4036143"/>
                  <a:gd name="connsiteX2111" fmla="*/ 596925 w 5806384"/>
                  <a:gd name="connsiteY2111" fmla="*/ 1163401 h 4036143"/>
                  <a:gd name="connsiteX2112" fmla="*/ 619584 w 5806384"/>
                  <a:gd name="connsiteY2112" fmla="*/ 1118083 h 4036143"/>
                  <a:gd name="connsiteX2113" fmla="*/ 671983 w 5806384"/>
                  <a:gd name="connsiteY2113" fmla="*/ 1108169 h 4036143"/>
                  <a:gd name="connsiteX2114" fmla="*/ 758370 w 5806384"/>
                  <a:gd name="connsiteY2114" fmla="*/ 1047273 h 4036143"/>
                  <a:gd name="connsiteX2115" fmla="*/ 761203 w 5806384"/>
                  <a:gd name="connsiteY2115" fmla="*/ 1089759 h 4036143"/>
                  <a:gd name="connsiteX2116" fmla="*/ 680480 w 5806384"/>
                  <a:gd name="connsiteY2116" fmla="*/ 1103921 h 4036143"/>
                  <a:gd name="connsiteX2117" fmla="*/ 758370 w 5806384"/>
                  <a:gd name="connsiteY2117" fmla="*/ 1047273 h 4036143"/>
                  <a:gd name="connsiteX2118" fmla="*/ 568601 w 5806384"/>
                  <a:gd name="connsiteY2118" fmla="*/ 1208719 h 4036143"/>
                  <a:gd name="connsiteX2119" fmla="*/ 568601 w 5806384"/>
                  <a:gd name="connsiteY2119" fmla="*/ 1208719 h 4036143"/>
                  <a:gd name="connsiteX2120" fmla="*/ 568601 w 5806384"/>
                  <a:gd name="connsiteY2120" fmla="*/ 1208719 h 4036143"/>
                  <a:gd name="connsiteX2121" fmla="*/ 568601 w 5806384"/>
                  <a:gd name="connsiteY2121" fmla="*/ 1208719 h 4036143"/>
                  <a:gd name="connsiteX2122" fmla="*/ 568601 w 5806384"/>
                  <a:gd name="connsiteY2122" fmla="*/ 1211551 h 4036143"/>
                  <a:gd name="connsiteX2123" fmla="*/ 568601 w 5806384"/>
                  <a:gd name="connsiteY2123" fmla="*/ 1211551 h 4036143"/>
                  <a:gd name="connsiteX2124" fmla="*/ 567185 w 5806384"/>
                  <a:gd name="connsiteY2124" fmla="*/ 1214384 h 4036143"/>
                  <a:gd name="connsiteX2125" fmla="*/ 568601 w 5806384"/>
                  <a:gd name="connsiteY2125" fmla="*/ 1211551 h 4036143"/>
                  <a:gd name="connsiteX2126" fmla="*/ 570017 w 5806384"/>
                  <a:gd name="connsiteY2126" fmla="*/ 1208719 h 4036143"/>
                  <a:gd name="connsiteX2127" fmla="*/ 570017 w 5806384"/>
                  <a:gd name="connsiteY2127" fmla="*/ 1208719 h 4036143"/>
                  <a:gd name="connsiteX2128" fmla="*/ 570017 w 5806384"/>
                  <a:gd name="connsiteY2128" fmla="*/ 1211551 h 4036143"/>
                  <a:gd name="connsiteX2129" fmla="*/ 570017 w 5806384"/>
                  <a:gd name="connsiteY2129" fmla="*/ 1211551 h 4036143"/>
                  <a:gd name="connsiteX2130" fmla="*/ 570017 w 5806384"/>
                  <a:gd name="connsiteY2130" fmla="*/ 1208719 h 4036143"/>
                  <a:gd name="connsiteX2131" fmla="*/ 752706 w 5806384"/>
                  <a:gd name="connsiteY2131" fmla="*/ 2127827 h 4036143"/>
                  <a:gd name="connsiteX2132" fmla="*/ 728630 w 5806384"/>
                  <a:gd name="connsiteY2132" fmla="*/ 2195804 h 4036143"/>
                  <a:gd name="connsiteX2133" fmla="*/ 741376 w 5806384"/>
                  <a:gd name="connsiteY2133" fmla="*/ 2120746 h 4036143"/>
                  <a:gd name="connsiteX2134" fmla="*/ 752706 w 5806384"/>
                  <a:gd name="connsiteY2134" fmla="*/ 2127827 h 4036143"/>
                  <a:gd name="connsiteX2135" fmla="*/ 605422 w 5806384"/>
                  <a:gd name="connsiteY2135" fmla="*/ 1766698 h 4036143"/>
                  <a:gd name="connsiteX2136" fmla="*/ 486461 w 5806384"/>
                  <a:gd name="connsiteY2136" fmla="*/ 1647738 h 4036143"/>
                  <a:gd name="connsiteX2137" fmla="*/ 649323 w 5806384"/>
                  <a:gd name="connsiteY2137" fmla="*/ 1517448 h 4036143"/>
                  <a:gd name="connsiteX2138" fmla="*/ 843342 w 5806384"/>
                  <a:gd name="connsiteY2138" fmla="*/ 1809184 h 4036143"/>
                  <a:gd name="connsiteX2139" fmla="*/ 751289 w 5806384"/>
                  <a:gd name="connsiteY2139" fmla="*/ 1824762 h 4036143"/>
                  <a:gd name="connsiteX2140" fmla="*/ 625248 w 5806384"/>
                  <a:gd name="connsiteY2140" fmla="*/ 1752536 h 4036143"/>
                  <a:gd name="connsiteX2141" fmla="*/ 625248 w 5806384"/>
                  <a:gd name="connsiteY2141" fmla="*/ 1752536 h 4036143"/>
                  <a:gd name="connsiteX2142" fmla="*/ 605422 w 5806384"/>
                  <a:gd name="connsiteY2142" fmla="*/ 1766698 h 4036143"/>
                  <a:gd name="connsiteX2143" fmla="*/ 605422 w 5806384"/>
                  <a:gd name="connsiteY2143" fmla="*/ 1769530 h 4036143"/>
                  <a:gd name="connsiteX2144" fmla="*/ 674815 w 5806384"/>
                  <a:gd name="connsiteY2144" fmla="*/ 1838924 h 4036143"/>
                  <a:gd name="connsiteX2145" fmla="*/ 596925 w 5806384"/>
                  <a:gd name="connsiteY2145" fmla="*/ 1860167 h 4036143"/>
                  <a:gd name="connsiteX2146" fmla="*/ 595508 w 5806384"/>
                  <a:gd name="connsiteY2146" fmla="*/ 1851669 h 4036143"/>
                  <a:gd name="connsiteX2147" fmla="*/ 595508 w 5806384"/>
                  <a:gd name="connsiteY2147" fmla="*/ 1851669 h 4036143"/>
                  <a:gd name="connsiteX2148" fmla="*/ 456722 w 5806384"/>
                  <a:gd name="connsiteY2148" fmla="*/ 1885658 h 4036143"/>
                  <a:gd name="connsiteX2149" fmla="*/ 605422 w 5806384"/>
                  <a:gd name="connsiteY2149" fmla="*/ 1769530 h 4036143"/>
                  <a:gd name="connsiteX2150" fmla="*/ 739960 w 5806384"/>
                  <a:gd name="connsiteY2150" fmla="*/ 2117913 h 4036143"/>
                  <a:gd name="connsiteX2151" fmla="*/ 690393 w 5806384"/>
                  <a:gd name="connsiteY2151" fmla="*/ 2086757 h 4036143"/>
                  <a:gd name="connsiteX2152" fmla="*/ 619584 w 5806384"/>
                  <a:gd name="connsiteY2152" fmla="*/ 1991873 h 4036143"/>
                  <a:gd name="connsiteX2153" fmla="*/ 592676 w 5806384"/>
                  <a:gd name="connsiteY2153" fmla="*/ 1862999 h 4036143"/>
                  <a:gd name="connsiteX2154" fmla="*/ 596925 w 5806384"/>
                  <a:gd name="connsiteY2154" fmla="*/ 1861583 h 4036143"/>
                  <a:gd name="connsiteX2155" fmla="*/ 626665 w 5806384"/>
                  <a:gd name="connsiteY2155" fmla="*/ 1990456 h 4036143"/>
                  <a:gd name="connsiteX2156" fmla="*/ 626665 w 5806384"/>
                  <a:gd name="connsiteY2156" fmla="*/ 1990456 h 4036143"/>
                  <a:gd name="connsiteX2157" fmla="*/ 748457 w 5806384"/>
                  <a:gd name="connsiteY2157" fmla="*/ 2074011 h 4036143"/>
                  <a:gd name="connsiteX2158" fmla="*/ 739960 w 5806384"/>
                  <a:gd name="connsiteY2158" fmla="*/ 2117913 h 4036143"/>
                  <a:gd name="connsiteX2159" fmla="*/ 187645 w 5806384"/>
                  <a:gd name="connsiteY2159" fmla="*/ 2093838 h 4036143"/>
                  <a:gd name="connsiteX2160" fmla="*/ 230131 w 5806384"/>
                  <a:gd name="connsiteY2160" fmla="*/ 1996121 h 4036143"/>
                  <a:gd name="connsiteX2161" fmla="*/ 317935 w 5806384"/>
                  <a:gd name="connsiteY2161" fmla="*/ 1984792 h 4036143"/>
                  <a:gd name="connsiteX2162" fmla="*/ 302357 w 5806384"/>
                  <a:gd name="connsiteY2162" fmla="*/ 2004618 h 4036143"/>
                  <a:gd name="connsiteX2163" fmla="*/ 187645 w 5806384"/>
                  <a:gd name="connsiteY2163" fmla="*/ 2093838 h 4036143"/>
                  <a:gd name="connsiteX2164" fmla="*/ 152241 w 5806384"/>
                  <a:gd name="connsiteY2164" fmla="*/ 2123578 h 4036143"/>
                  <a:gd name="connsiteX2165" fmla="*/ 180564 w 5806384"/>
                  <a:gd name="connsiteY2165" fmla="*/ 2102335 h 4036143"/>
                  <a:gd name="connsiteX2166" fmla="*/ 181980 w 5806384"/>
                  <a:gd name="connsiteY2166" fmla="*/ 2102335 h 4036143"/>
                  <a:gd name="connsiteX2167" fmla="*/ 172067 w 5806384"/>
                  <a:gd name="connsiteY2167" fmla="*/ 2126411 h 4036143"/>
                  <a:gd name="connsiteX2168" fmla="*/ 152241 w 5806384"/>
                  <a:gd name="connsiteY2168" fmla="*/ 2123578 h 4036143"/>
                  <a:gd name="connsiteX2169" fmla="*/ 48858 w 5806384"/>
                  <a:gd name="connsiteY2169" fmla="*/ 2106584 h 4036143"/>
                  <a:gd name="connsiteX2170" fmla="*/ 77182 w 5806384"/>
                  <a:gd name="connsiteY2170" fmla="*/ 2085341 h 4036143"/>
                  <a:gd name="connsiteX2171" fmla="*/ 98425 w 5806384"/>
                  <a:gd name="connsiteY2171" fmla="*/ 2115081 h 4036143"/>
                  <a:gd name="connsiteX2172" fmla="*/ 48858 w 5806384"/>
                  <a:gd name="connsiteY2172" fmla="*/ 2106584 h 4036143"/>
                  <a:gd name="connsiteX2173" fmla="*/ 157905 w 5806384"/>
                  <a:gd name="connsiteY2173" fmla="*/ 2083925 h 4036143"/>
                  <a:gd name="connsiteX2174" fmla="*/ 223050 w 5806384"/>
                  <a:gd name="connsiteY2174" fmla="*/ 1997537 h 4036143"/>
                  <a:gd name="connsiteX2175" fmla="*/ 228715 w 5806384"/>
                  <a:gd name="connsiteY2175" fmla="*/ 1997537 h 4036143"/>
                  <a:gd name="connsiteX2176" fmla="*/ 184813 w 5806384"/>
                  <a:gd name="connsiteY2176" fmla="*/ 2098087 h 4036143"/>
                  <a:gd name="connsiteX2177" fmla="*/ 180564 w 5806384"/>
                  <a:gd name="connsiteY2177" fmla="*/ 2100919 h 4036143"/>
                  <a:gd name="connsiteX2178" fmla="*/ 157905 w 5806384"/>
                  <a:gd name="connsiteY2178" fmla="*/ 2083925 h 4036143"/>
                  <a:gd name="connsiteX2179" fmla="*/ 123917 w 5806384"/>
                  <a:gd name="connsiteY2179" fmla="*/ 2146237 h 4036143"/>
                  <a:gd name="connsiteX2180" fmla="*/ 150824 w 5806384"/>
                  <a:gd name="connsiteY2180" fmla="*/ 2124994 h 4036143"/>
                  <a:gd name="connsiteX2181" fmla="*/ 170651 w 5806384"/>
                  <a:gd name="connsiteY2181" fmla="*/ 2127827 h 4036143"/>
                  <a:gd name="connsiteX2182" fmla="*/ 147992 w 5806384"/>
                  <a:gd name="connsiteY2182" fmla="*/ 2178810 h 4036143"/>
                  <a:gd name="connsiteX2183" fmla="*/ 123917 w 5806384"/>
                  <a:gd name="connsiteY2183" fmla="*/ 2146237 h 4036143"/>
                  <a:gd name="connsiteX2184" fmla="*/ 115420 w 5806384"/>
                  <a:gd name="connsiteY2184" fmla="*/ 2139156 h 4036143"/>
                  <a:gd name="connsiteX2185" fmla="*/ 119668 w 5806384"/>
                  <a:gd name="connsiteY2185" fmla="*/ 2146237 h 4036143"/>
                  <a:gd name="connsiteX2186" fmla="*/ 95593 w 5806384"/>
                  <a:gd name="connsiteY2186" fmla="*/ 2164648 h 4036143"/>
                  <a:gd name="connsiteX2187" fmla="*/ 115420 w 5806384"/>
                  <a:gd name="connsiteY2187" fmla="*/ 2139156 h 4036143"/>
                  <a:gd name="connsiteX2188" fmla="*/ 128165 w 5806384"/>
                  <a:gd name="connsiteY2188" fmla="*/ 2122162 h 4036143"/>
                  <a:gd name="connsiteX2189" fmla="*/ 146575 w 5806384"/>
                  <a:gd name="connsiteY2189" fmla="*/ 2124994 h 4036143"/>
                  <a:gd name="connsiteX2190" fmla="*/ 122500 w 5806384"/>
                  <a:gd name="connsiteY2190" fmla="*/ 2144821 h 4036143"/>
                  <a:gd name="connsiteX2191" fmla="*/ 116836 w 5806384"/>
                  <a:gd name="connsiteY2191" fmla="*/ 2137740 h 4036143"/>
                  <a:gd name="connsiteX2192" fmla="*/ 128165 w 5806384"/>
                  <a:gd name="connsiteY2192" fmla="*/ 2122162 h 4036143"/>
                  <a:gd name="connsiteX2193" fmla="*/ 116836 w 5806384"/>
                  <a:gd name="connsiteY2193" fmla="*/ 2057017 h 4036143"/>
                  <a:gd name="connsiteX2194" fmla="*/ 155073 w 5806384"/>
                  <a:gd name="connsiteY2194" fmla="*/ 2083925 h 4036143"/>
                  <a:gd name="connsiteX2195" fmla="*/ 128165 w 5806384"/>
                  <a:gd name="connsiteY2195" fmla="*/ 2119330 h 4036143"/>
                  <a:gd name="connsiteX2196" fmla="*/ 102674 w 5806384"/>
                  <a:gd name="connsiteY2196" fmla="*/ 2115081 h 4036143"/>
                  <a:gd name="connsiteX2197" fmla="*/ 80015 w 5806384"/>
                  <a:gd name="connsiteY2197" fmla="*/ 2083925 h 4036143"/>
                  <a:gd name="connsiteX2198" fmla="*/ 116836 w 5806384"/>
                  <a:gd name="connsiteY2198" fmla="*/ 2057017 h 4036143"/>
                  <a:gd name="connsiteX2199" fmla="*/ 129581 w 5806384"/>
                  <a:gd name="connsiteY2199" fmla="*/ 2120746 h 4036143"/>
                  <a:gd name="connsiteX2200" fmla="*/ 155073 w 5806384"/>
                  <a:gd name="connsiteY2200" fmla="*/ 2085341 h 4036143"/>
                  <a:gd name="connsiteX2201" fmla="*/ 177732 w 5806384"/>
                  <a:gd name="connsiteY2201" fmla="*/ 2100919 h 4036143"/>
                  <a:gd name="connsiteX2202" fmla="*/ 149408 w 5806384"/>
                  <a:gd name="connsiteY2202" fmla="*/ 2123578 h 4036143"/>
                  <a:gd name="connsiteX2203" fmla="*/ 129581 w 5806384"/>
                  <a:gd name="connsiteY2203" fmla="*/ 2120746 h 4036143"/>
                  <a:gd name="connsiteX2204" fmla="*/ 118252 w 5806384"/>
                  <a:gd name="connsiteY2204" fmla="*/ 2055601 h 4036143"/>
                  <a:gd name="connsiteX2205" fmla="*/ 193310 w 5806384"/>
                  <a:gd name="connsiteY2205" fmla="*/ 2000370 h 4036143"/>
                  <a:gd name="connsiteX2206" fmla="*/ 220218 w 5806384"/>
                  <a:gd name="connsiteY2206" fmla="*/ 1997537 h 4036143"/>
                  <a:gd name="connsiteX2207" fmla="*/ 156489 w 5806384"/>
                  <a:gd name="connsiteY2207" fmla="*/ 2082509 h 4036143"/>
                  <a:gd name="connsiteX2208" fmla="*/ 118252 w 5806384"/>
                  <a:gd name="connsiteY2208" fmla="*/ 2055601 h 4036143"/>
                  <a:gd name="connsiteX2209" fmla="*/ 63020 w 5806384"/>
                  <a:gd name="connsiteY2209" fmla="*/ 2015948 h 4036143"/>
                  <a:gd name="connsiteX2210" fmla="*/ 189061 w 5806384"/>
                  <a:gd name="connsiteY2210" fmla="*/ 2000370 h 4036143"/>
                  <a:gd name="connsiteX2211" fmla="*/ 116836 w 5806384"/>
                  <a:gd name="connsiteY2211" fmla="*/ 2054185 h 4036143"/>
                  <a:gd name="connsiteX2212" fmla="*/ 63020 w 5806384"/>
                  <a:gd name="connsiteY2212" fmla="*/ 2015948 h 4036143"/>
                  <a:gd name="connsiteX2213" fmla="*/ 126749 w 5806384"/>
                  <a:gd name="connsiteY2213" fmla="*/ 2122162 h 4036143"/>
                  <a:gd name="connsiteX2214" fmla="*/ 116836 w 5806384"/>
                  <a:gd name="connsiteY2214" fmla="*/ 2136324 h 4036143"/>
                  <a:gd name="connsiteX2215" fmla="*/ 104090 w 5806384"/>
                  <a:gd name="connsiteY2215" fmla="*/ 2119330 h 4036143"/>
                  <a:gd name="connsiteX2216" fmla="*/ 126749 w 5806384"/>
                  <a:gd name="connsiteY2216" fmla="*/ 2122162 h 4036143"/>
                  <a:gd name="connsiteX2217" fmla="*/ 223050 w 5806384"/>
                  <a:gd name="connsiteY2217" fmla="*/ 1994705 h 4036143"/>
                  <a:gd name="connsiteX2218" fmla="*/ 232963 w 5806384"/>
                  <a:gd name="connsiteY2218" fmla="*/ 1980543 h 4036143"/>
                  <a:gd name="connsiteX2219" fmla="*/ 227299 w 5806384"/>
                  <a:gd name="connsiteY2219" fmla="*/ 1993289 h 4036143"/>
                  <a:gd name="connsiteX2220" fmla="*/ 223050 w 5806384"/>
                  <a:gd name="connsiteY2220" fmla="*/ 1994705 h 4036143"/>
                  <a:gd name="connsiteX2221" fmla="*/ 238628 w 5806384"/>
                  <a:gd name="connsiteY2221" fmla="*/ 1973462 h 4036143"/>
                  <a:gd name="connsiteX2222" fmla="*/ 238628 w 5806384"/>
                  <a:gd name="connsiteY2222" fmla="*/ 1973462 h 4036143"/>
                  <a:gd name="connsiteX2223" fmla="*/ 237212 w 5806384"/>
                  <a:gd name="connsiteY2223" fmla="*/ 1972046 h 4036143"/>
                  <a:gd name="connsiteX2224" fmla="*/ 220218 w 5806384"/>
                  <a:gd name="connsiteY2224" fmla="*/ 1994705 h 4036143"/>
                  <a:gd name="connsiteX2225" fmla="*/ 194726 w 5806384"/>
                  <a:gd name="connsiteY2225" fmla="*/ 1997537 h 4036143"/>
                  <a:gd name="connsiteX2226" fmla="*/ 234380 w 5806384"/>
                  <a:gd name="connsiteY2226" fmla="*/ 1967797 h 4036143"/>
                  <a:gd name="connsiteX2227" fmla="*/ 234380 w 5806384"/>
                  <a:gd name="connsiteY2227" fmla="*/ 1967797 h 4036143"/>
                  <a:gd name="connsiteX2228" fmla="*/ 74350 w 5806384"/>
                  <a:gd name="connsiteY2228" fmla="*/ 1981959 h 4036143"/>
                  <a:gd name="connsiteX2229" fmla="*/ 370334 w 5806384"/>
                  <a:gd name="connsiteY2229" fmla="*/ 1909733 h 4036143"/>
                  <a:gd name="connsiteX2230" fmla="*/ 375999 w 5806384"/>
                  <a:gd name="connsiteY2230" fmla="*/ 1912566 h 4036143"/>
                  <a:gd name="connsiteX2231" fmla="*/ 317935 w 5806384"/>
                  <a:gd name="connsiteY2231" fmla="*/ 1984792 h 4036143"/>
                  <a:gd name="connsiteX2232" fmla="*/ 228715 w 5806384"/>
                  <a:gd name="connsiteY2232" fmla="*/ 1996121 h 4036143"/>
                  <a:gd name="connsiteX2233" fmla="*/ 238628 w 5806384"/>
                  <a:gd name="connsiteY2233" fmla="*/ 1973462 h 4036143"/>
                  <a:gd name="connsiteX2234" fmla="*/ 230131 w 5806384"/>
                  <a:gd name="connsiteY2234" fmla="*/ 1970630 h 4036143"/>
                  <a:gd name="connsiteX2235" fmla="*/ 191894 w 5806384"/>
                  <a:gd name="connsiteY2235" fmla="*/ 1998953 h 4036143"/>
                  <a:gd name="connsiteX2236" fmla="*/ 57356 w 5806384"/>
                  <a:gd name="connsiteY2236" fmla="*/ 2015948 h 4036143"/>
                  <a:gd name="connsiteX2237" fmla="*/ 57356 w 5806384"/>
                  <a:gd name="connsiteY2237" fmla="*/ 2015948 h 4036143"/>
                  <a:gd name="connsiteX2238" fmla="*/ 115420 w 5806384"/>
                  <a:gd name="connsiteY2238" fmla="*/ 2057017 h 4036143"/>
                  <a:gd name="connsiteX2239" fmla="*/ 80015 w 5806384"/>
                  <a:gd name="connsiteY2239" fmla="*/ 2083925 h 4036143"/>
                  <a:gd name="connsiteX2240" fmla="*/ 19118 w 5806384"/>
                  <a:gd name="connsiteY2240" fmla="*/ 1997537 h 4036143"/>
                  <a:gd name="connsiteX2241" fmla="*/ 65853 w 5806384"/>
                  <a:gd name="connsiteY2241" fmla="*/ 1986208 h 4036143"/>
                  <a:gd name="connsiteX2242" fmla="*/ 230131 w 5806384"/>
                  <a:gd name="connsiteY2242" fmla="*/ 1970630 h 4036143"/>
                  <a:gd name="connsiteX2243" fmla="*/ 13454 w 5806384"/>
                  <a:gd name="connsiteY2243" fmla="*/ 1994705 h 4036143"/>
                  <a:gd name="connsiteX2244" fmla="*/ 13454 w 5806384"/>
                  <a:gd name="connsiteY2244" fmla="*/ 1994705 h 4036143"/>
                  <a:gd name="connsiteX2245" fmla="*/ 75766 w 5806384"/>
                  <a:gd name="connsiteY2245" fmla="*/ 2083925 h 4036143"/>
                  <a:gd name="connsiteX2246" fmla="*/ 43194 w 5806384"/>
                  <a:gd name="connsiteY2246" fmla="*/ 2108000 h 4036143"/>
                  <a:gd name="connsiteX2247" fmla="*/ 99841 w 5806384"/>
                  <a:gd name="connsiteY2247" fmla="*/ 2117913 h 4036143"/>
                  <a:gd name="connsiteX2248" fmla="*/ 114003 w 5806384"/>
                  <a:gd name="connsiteY2248" fmla="*/ 2137740 h 4036143"/>
                  <a:gd name="connsiteX2249" fmla="*/ 89928 w 5806384"/>
                  <a:gd name="connsiteY2249" fmla="*/ 2170312 h 4036143"/>
                  <a:gd name="connsiteX2250" fmla="*/ 47442 w 5806384"/>
                  <a:gd name="connsiteY2250" fmla="*/ 2204301 h 4036143"/>
                  <a:gd name="connsiteX2251" fmla="*/ 10621 w 5806384"/>
                  <a:gd name="connsiteY2251" fmla="*/ 1990456 h 4036143"/>
                  <a:gd name="connsiteX2252" fmla="*/ 50275 w 5806384"/>
                  <a:gd name="connsiteY2252" fmla="*/ 1987624 h 4036143"/>
                  <a:gd name="connsiteX2253" fmla="*/ 13454 w 5806384"/>
                  <a:gd name="connsiteY2253" fmla="*/ 1994705 h 4036143"/>
                  <a:gd name="connsiteX2254" fmla="*/ 58772 w 5806384"/>
                  <a:gd name="connsiteY2254" fmla="*/ 2215631 h 4036143"/>
                  <a:gd name="connsiteX2255" fmla="*/ 92760 w 5806384"/>
                  <a:gd name="connsiteY2255" fmla="*/ 2170312 h 4036143"/>
                  <a:gd name="connsiteX2256" fmla="*/ 122500 w 5806384"/>
                  <a:gd name="connsiteY2256" fmla="*/ 2147654 h 4036143"/>
                  <a:gd name="connsiteX2257" fmla="*/ 147992 w 5806384"/>
                  <a:gd name="connsiteY2257" fmla="*/ 2184474 h 4036143"/>
                  <a:gd name="connsiteX2258" fmla="*/ 147992 w 5806384"/>
                  <a:gd name="connsiteY2258" fmla="*/ 2184474 h 4036143"/>
                  <a:gd name="connsiteX2259" fmla="*/ 172067 w 5806384"/>
                  <a:gd name="connsiteY2259" fmla="*/ 2129243 h 4036143"/>
                  <a:gd name="connsiteX2260" fmla="*/ 196142 w 5806384"/>
                  <a:gd name="connsiteY2260" fmla="*/ 2133492 h 4036143"/>
                  <a:gd name="connsiteX2261" fmla="*/ 130998 w 5806384"/>
                  <a:gd name="connsiteY2261" fmla="*/ 2214214 h 4036143"/>
                  <a:gd name="connsiteX2262" fmla="*/ 58772 w 5806384"/>
                  <a:gd name="connsiteY2262" fmla="*/ 2215631 h 4036143"/>
                  <a:gd name="connsiteX2263" fmla="*/ 181980 w 5806384"/>
                  <a:gd name="connsiteY2263" fmla="*/ 2100919 h 4036143"/>
                  <a:gd name="connsiteX2264" fmla="*/ 181980 w 5806384"/>
                  <a:gd name="connsiteY2264" fmla="*/ 2100919 h 4036143"/>
                  <a:gd name="connsiteX2265" fmla="*/ 181980 w 5806384"/>
                  <a:gd name="connsiteY2265" fmla="*/ 2100919 h 4036143"/>
                  <a:gd name="connsiteX2266" fmla="*/ 181980 w 5806384"/>
                  <a:gd name="connsiteY2266" fmla="*/ 2100919 h 4036143"/>
                  <a:gd name="connsiteX2267" fmla="*/ 183397 w 5806384"/>
                  <a:gd name="connsiteY2267" fmla="*/ 2102335 h 4036143"/>
                  <a:gd name="connsiteX2268" fmla="*/ 184813 w 5806384"/>
                  <a:gd name="connsiteY2268" fmla="*/ 2098087 h 4036143"/>
                  <a:gd name="connsiteX2269" fmla="*/ 293860 w 5806384"/>
                  <a:gd name="connsiteY2269" fmla="*/ 2011699 h 4036143"/>
                  <a:gd name="connsiteX2270" fmla="*/ 206056 w 5806384"/>
                  <a:gd name="connsiteY2270" fmla="*/ 2119330 h 4036143"/>
                  <a:gd name="connsiteX2271" fmla="*/ 183397 w 5806384"/>
                  <a:gd name="connsiteY2271" fmla="*/ 2102335 h 4036143"/>
                  <a:gd name="connsiteX2272" fmla="*/ 380247 w 5806384"/>
                  <a:gd name="connsiteY2272" fmla="*/ 1911149 h 4036143"/>
                  <a:gd name="connsiteX2273" fmla="*/ 384496 w 5806384"/>
                  <a:gd name="connsiteY2273" fmla="*/ 1905485 h 4036143"/>
                  <a:gd name="connsiteX2274" fmla="*/ 448224 w 5806384"/>
                  <a:gd name="connsiteY2274" fmla="*/ 1889907 h 4036143"/>
                  <a:gd name="connsiteX2275" fmla="*/ 405739 w 5806384"/>
                  <a:gd name="connsiteY2275" fmla="*/ 1923895 h 4036143"/>
                  <a:gd name="connsiteX2276" fmla="*/ 380247 w 5806384"/>
                  <a:gd name="connsiteY2276" fmla="*/ 1911149 h 4036143"/>
                  <a:gd name="connsiteX2277" fmla="*/ 320767 w 5806384"/>
                  <a:gd name="connsiteY2277" fmla="*/ 1780860 h 4036143"/>
                  <a:gd name="connsiteX2278" fmla="*/ 485046 w 5806384"/>
                  <a:gd name="connsiteY2278" fmla="*/ 1776611 h 4036143"/>
                  <a:gd name="connsiteX2279" fmla="*/ 381663 w 5806384"/>
                  <a:gd name="connsiteY2279" fmla="*/ 1902652 h 4036143"/>
                  <a:gd name="connsiteX2280" fmla="*/ 370334 w 5806384"/>
                  <a:gd name="connsiteY2280" fmla="*/ 1905485 h 4036143"/>
                  <a:gd name="connsiteX2281" fmla="*/ 133830 w 5806384"/>
                  <a:gd name="connsiteY2281" fmla="*/ 1783692 h 4036143"/>
                  <a:gd name="connsiteX2282" fmla="*/ 254206 w 5806384"/>
                  <a:gd name="connsiteY2282" fmla="*/ 1780860 h 4036143"/>
                  <a:gd name="connsiteX2283" fmla="*/ 269784 w 5806384"/>
                  <a:gd name="connsiteY2283" fmla="*/ 1817681 h 4036143"/>
                  <a:gd name="connsiteX2284" fmla="*/ 269784 w 5806384"/>
                  <a:gd name="connsiteY2284" fmla="*/ 1817681 h 4036143"/>
                  <a:gd name="connsiteX2285" fmla="*/ 320767 w 5806384"/>
                  <a:gd name="connsiteY2285" fmla="*/ 1780860 h 4036143"/>
                  <a:gd name="connsiteX2286" fmla="*/ 317935 w 5806384"/>
                  <a:gd name="connsiteY2286" fmla="*/ 1780860 h 4036143"/>
                  <a:gd name="connsiteX2287" fmla="*/ 274033 w 5806384"/>
                  <a:gd name="connsiteY2287" fmla="*/ 1816265 h 4036143"/>
                  <a:gd name="connsiteX2288" fmla="*/ 258455 w 5806384"/>
                  <a:gd name="connsiteY2288" fmla="*/ 1782276 h 4036143"/>
                  <a:gd name="connsiteX2289" fmla="*/ 317935 w 5806384"/>
                  <a:gd name="connsiteY2289" fmla="*/ 1780860 h 4036143"/>
                  <a:gd name="connsiteX2290" fmla="*/ 320767 w 5806384"/>
                  <a:gd name="connsiteY2290" fmla="*/ 1779444 h 4036143"/>
                  <a:gd name="connsiteX2291" fmla="*/ 258455 w 5806384"/>
                  <a:gd name="connsiteY2291" fmla="*/ 1780860 h 4036143"/>
                  <a:gd name="connsiteX2292" fmla="*/ 235796 w 5806384"/>
                  <a:gd name="connsiteY2292" fmla="*/ 1729877 h 4036143"/>
                  <a:gd name="connsiteX2293" fmla="*/ 459554 w 5806384"/>
                  <a:gd name="connsiteY2293" fmla="*/ 1547188 h 4036143"/>
                  <a:gd name="connsiteX2294" fmla="*/ 459554 w 5806384"/>
                  <a:gd name="connsiteY2294" fmla="*/ 1625079 h 4036143"/>
                  <a:gd name="connsiteX2295" fmla="*/ 483629 w 5806384"/>
                  <a:gd name="connsiteY2295" fmla="*/ 1649154 h 4036143"/>
                  <a:gd name="connsiteX2296" fmla="*/ 320767 w 5806384"/>
                  <a:gd name="connsiteY2296" fmla="*/ 1779444 h 4036143"/>
                  <a:gd name="connsiteX2297" fmla="*/ 387328 w 5806384"/>
                  <a:gd name="connsiteY2297" fmla="*/ 1902652 h 4036143"/>
                  <a:gd name="connsiteX2298" fmla="*/ 490710 w 5806384"/>
                  <a:gd name="connsiteY2298" fmla="*/ 1775195 h 4036143"/>
                  <a:gd name="connsiteX2299" fmla="*/ 490710 w 5806384"/>
                  <a:gd name="connsiteY2299" fmla="*/ 1775195 h 4036143"/>
                  <a:gd name="connsiteX2300" fmla="*/ 323599 w 5806384"/>
                  <a:gd name="connsiteY2300" fmla="*/ 1779444 h 4036143"/>
                  <a:gd name="connsiteX2301" fmla="*/ 485046 w 5806384"/>
                  <a:gd name="connsiteY2301" fmla="*/ 1650570 h 4036143"/>
                  <a:gd name="connsiteX2302" fmla="*/ 604006 w 5806384"/>
                  <a:gd name="connsiteY2302" fmla="*/ 1769530 h 4036143"/>
                  <a:gd name="connsiteX2303" fmla="*/ 452473 w 5806384"/>
                  <a:gd name="connsiteY2303" fmla="*/ 1888491 h 4036143"/>
                  <a:gd name="connsiteX2304" fmla="*/ 387328 w 5806384"/>
                  <a:gd name="connsiteY2304" fmla="*/ 1902652 h 4036143"/>
                  <a:gd name="connsiteX2305" fmla="*/ 206056 w 5806384"/>
                  <a:gd name="connsiteY2305" fmla="*/ 2120746 h 4036143"/>
                  <a:gd name="connsiteX2306" fmla="*/ 197558 w 5806384"/>
                  <a:gd name="connsiteY2306" fmla="*/ 2132075 h 4036143"/>
                  <a:gd name="connsiteX2307" fmla="*/ 172067 w 5806384"/>
                  <a:gd name="connsiteY2307" fmla="*/ 2127827 h 4036143"/>
                  <a:gd name="connsiteX2308" fmla="*/ 181980 w 5806384"/>
                  <a:gd name="connsiteY2308" fmla="*/ 2105168 h 4036143"/>
                  <a:gd name="connsiteX2309" fmla="*/ 206056 w 5806384"/>
                  <a:gd name="connsiteY2309" fmla="*/ 2120746 h 4036143"/>
                  <a:gd name="connsiteX2310" fmla="*/ 228715 w 5806384"/>
                  <a:gd name="connsiteY2310" fmla="*/ 2136324 h 4036143"/>
                  <a:gd name="connsiteX2311" fmla="*/ 200391 w 5806384"/>
                  <a:gd name="connsiteY2311" fmla="*/ 2132075 h 4036143"/>
                  <a:gd name="connsiteX2312" fmla="*/ 208888 w 5806384"/>
                  <a:gd name="connsiteY2312" fmla="*/ 2122162 h 4036143"/>
                  <a:gd name="connsiteX2313" fmla="*/ 228715 w 5806384"/>
                  <a:gd name="connsiteY2313" fmla="*/ 2136324 h 4036143"/>
                  <a:gd name="connsiteX2314" fmla="*/ 327848 w 5806384"/>
                  <a:gd name="connsiteY2314" fmla="*/ 1983375 h 4036143"/>
                  <a:gd name="connsiteX2315" fmla="*/ 308022 w 5806384"/>
                  <a:gd name="connsiteY2315" fmla="*/ 1998953 h 4036143"/>
                  <a:gd name="connsiteX2316" fmla="*/ 319351 w 5806384"/>
                  <a:gd name="connsiteY2316" fmla="*/ 1984792 h 4036143"/>
                  <a:gd name="connsiteX2317" fmla="*/ 327848 w 5806384"/>
                  <a:gd name="connsiteY2317" fmla="*/ 1983375 h 4036143"/>
                  <a:gd name="connsiteX2318" fmla="*/ 402906 w 5806384"/>
                  <a:gd name="connsiteY2318" fmla="*/ 1925311 h 4036143"/>
                  <a:gd name="connsiteX2319" fmla="*/ 330680 w 5806384"/>
                  <a:gd name="connsiteY2319" fmla="*/ 1981959 h 4036143"/>
                  <a:gd name="connsiteX2320" fmla="*/ 320767 w 5806384"/>
                  <a:gd name="connsiteY2320" fmla="*/ 1983375 h 4036143"/>
                  <a:gd name="connsiteX2321" fmla="*/ 377415 w 5806384"/>
                  <a:gd name="connsiteY2321" fmla="*/ 1912566 h 4036143"/>
                  <a:gd name="connsiteX2322" fmla="*/ 402906 w 5806384"/>
                  <a:gd name="connsiteY2322" fmla="*/ 1925311 h 4036143"/>
                  <a:gd name="connsiteX2323" fmla="*/ 477965 w 5806384"/>
                  <a:gd name="connsiteY2323" fmla="*/ 1963549 h 4036143"/>
                  <a:gd name="connsiteX2324" fmla="*/ 334929 w 5806384"/>
                  <a:gd name="connsiteY2324" fmla="*/ 1980543 h 4036143"/>
                  <a:gd name="connsiteX2325" fmla="*/ 405739 w 5806384"/>
                  <a:gd name="connsiteY2325" fmla="*/ 1925311 h 4036143"/>
                  <a:gd name="connsiteX2326" fmla="*/ 477965 w 5806384"/>
                  <a:gd name="connsiteY2326" fmla="*/ 1963549 h 4036143"/>
                  <a:gd name="connsiteX2327" fmla="*/ 687561 w 5806384"/>
                  <a:gd name="connsiteY2327" fmla="*/ 1836092 h 4036143"/>
                  <a:gd name="connsiteX2328" fmla="*/ 751289 w 5806384"/>
                  <a:gd name="connsiteY2328" fmla="*/ 1826178 h 4036143"/>
                  <a:gd name="connsiteX2329" fmla="*/ 977880 w 5806384"/>
                  <a:gd name="connsiteY2329" fmla="*/ 1956468 h 4036143"/>
                  <a:gd name="connsiteX2330" fmla="*/ 687561 w 5806384"/>
                  <a:gd name="connsiteY2330" fmla="*/ 1836092 h 4036143"/>
                  <a:gd name="connsiteX2331" fmla="*/ 3391071 w 5806384"/>
                  <a:gd name="connsiteY2331" fmla="*/ 3753614 h 4036143"/>
                  <a:gd name="connsiteX2332" fmla="*/ 3575175 w 5806384"/>
                  <a:gd name="connsiteY2332" fmla="*/ 3889568 h 4036143"/>
                  <a:gd name="connsiteX2333" fmla="*/ 3572343 w 5806384"/>
                  <a:gd name="connsiteY2333" fmla="*/ 3899481 h 4036143"/>
                  <a:gd name="connsiteX2334" fmla="*/ 3393902 w 5806384"/>
                  <a:gd name="connsiteY2334" fmla="*/ 3808845 h 4036143"/>
                  <a:gd name="connsiteX2335" fmla="*/ 3391071 w 5806384"/>
                  <a:gd name="connsiteY2335" fmla="*/ 3753614 h 4036143"/>
                  <a:gd name="connsiteX2336" fmla="*/ 3395319 w 5806384"/>
                  <a:gd name="connsiteY2336" fmla="*/ 3832921 h 4036143"/>
                  <a:gd name="connsiteX2337" fmla="*/ 3393902 w 5806384"/>
                  <a:gd name="connsiteY2337" fmla="*/ 3810261 h 4036143"/>
                  <a:gd name="connsiteX2338" fmla="*/ 3572343 w 5806384"/>
                  <a:gd name="connsiteY2338" fmla="*/ 3900898 h 4036143"/>
                  <a:gd name="connsiteX2339" fmla="*/ 3556764 w 5806384"/>
                  <a:gd name="connsiteY2339" fmla="*/ 3957545 h 4036143"/>
                  <a:gd name="connsiteX2340" fmla="*/ 3395319 w 5806384"/>
                  <a:gd name="connsiteY2340" fmla="*/ 3832921 h 4036143"/>
                  <a:gd name="connsiteX2341" fmla="*/ 3357082 w 5806384"/>
                  <a:gd name="connsiteY2341" fmla="*/ 3803181 h 4036143"/>
                  <a:gd name="connsiteX2342" fmla="*/ 3347168 w 5806384"/>
                  <a:gd name="connsiteY2342" fmla="*/ 3786186 h 4036143"/>
                  <a:gd name="connsiteX2343" fmla="*/ 3392486 w 5806384"/>
                  <a:gd name="connsiteY2343" fmla="*/ 3810261 h 4036143"/>
                  <a:gd name="connsiteX2344" fmla="*/ 3393902 w 5806384"/>
                  <a:gd name="connsiteY2344" fmla="*/ 3831504 h 4036143"/>
                  <a:gd name="connsiteX2345" fmla="*/ 3357082 w 5806384"/>
                  <a:gd name="connsiteY2345" fmla="*/ 3803181 h 4036143"/>
                  <a:gd name="connsiteX2346" fmla="*/ 3359914 w 5806384"/>
                  <a:gd name="connsiteY2346" fmla="*/ 3807429 h 4036143"/>
                  <a:gd name="connsiteX2347" fmla="*/ 3393902 w 5806384"/>
                  <a:gd name="connsiteY2347" fmla="*/ 3834337 h 4036143"/>
                  <a:gd name="connsiteX2348" fmla="*/ 3395319 w 5806384"/>
                  <a:gd name="connsiteY2348" fmla="*/ 3866909 h 4036143"/>
                  <a:gd name="connsiteX2349" fmla="*/ 3359914 w 5806384"/>
                  <a:gd name="connsiteY2349" fmla="*/ 3807429 h 4036143"/>
                  <a:gd name="connsiteX2350" fmla="*/ 3342920 w 5806384"/>
                  <a:gd name="connsiteY2350" fmla="*/ 3784770 h 4036143"/>
                  <a:gd name="connsiteX2351" fmla="*/ 3351416 w 5806384"/>
                  <a:gd name="connsiteY2351" fmla="*/ 3800348 h 4036143"/>
                  <a:gd name="connsiteX2352" fmla="*/ 3311763 w 5806384"/>
                  <a:gd name="connsiteY2352" fmla="*/ 3770608 h 4036143"/>
                  <a:gd name="connsiteX2353" fmla="*/ 3342920 w 5806384"/>
                  <a:gd name="connsiteY2353" fmla="*/ 3784770 h 4036143"/>
                  <a:gd name="connsiteX2354" fmla="*/ 3344336 w 5806384"/>
                  <a:gd name="connsiteY2354" fmla="*/ 3783354 h 4036143"/>
                  <a:gd name="connsiteX2355" fmla="*/ 3274943 w 5806384"/>
                  <a:gd name="connsiteY2355" fmla="*/ 3667226 h 4036143"/>
                  <a:gd name="connsiteX2356" fmla="*/ 3389654 w 5806384"/>
                  <a:gd name="connsiteY2356" fmla="*/ 3752198 h 4036143"/>
                  <a:gd name="connsiteX2357" fmla="*/ 3392486 w 5806384"/>
                  <a:gd name="connsiteY2357" fmla="*/ 3807429 h 4036143"/>
                  <a:gd name="connsiteX2358" fmla="*/ 3344336 w 5806384"/>
                  <a:gd name="connsiteY2358" fmla="*/ 3783354 h 4036143"/>
                  <a:gd name="connsiteX2359" fmla="*/ 3575175 w 5806384"/>
                  <a:gd name="connsiteY2359" fmla="*/ 3900898 h 4036143"/>
                  <a:gd name="connsiteX2360" fmla="*/ 3578007 w 5806384"/>
                  <a:gd name="connsiteY2360" fmla="*/ 3890985 h 4036143"/>
                  <a:gd name="connsiteX2361" fmla="*/ 3630406 w 5806384"/>
                  <a:gd name="connsiteY2361" fmla="*/ 3929221 h 4036143"/>
                  <a:gd name="connsiteX2362" fmla="*/ 3575175 w 5806384"/>
                  <a:gd name="connsiteY2362" fmla="*/ 3900898 h 4036143"/>
                  <a:gd name="connsiteX2363" fmla="*/ 3266445 w 5806384"/>
                  <a:gd name="connsiteY2363" fmla="*/ 3525607 h 4036143"/>
                  <a:gd name="connsiteX2364" fmla="*/ 3317428 w 5806384"/>
                  <a:gd name="connsiteY2364" fmla="*/ 3504364 h 4036143"/>
                  <a:gd name="connsiteX2365" fmla="*/ 3350001 w 5806384"/>
                  <a:gd name="connsiteY2365" fmla="*/ 3573757 h 4036143"/>
                  <a:gd name="connsiteX2366" fmla="*/ 3266445 w 5806384"/>
                  <a:gd name="connsiteY2366" fmla="*/ 3525607 h 4036143"/>
                  <a:gd name="connsiteX2367" fmla="*/ 3265029 w 5806384"/>
                  <a:gd name="connsiteY2367" fmla="*/ 3524191 h 4036143"/>
                  <a:gd name="connsiteX2368" fmla="*/ 3170144 w 5806384"/>
                  <a:gd name="connsiteY2368" fmla="*/ 3468959 h 4036143"/>
                  <a:gd name="connsiteX2369" fmla="*/ 3317428 w 5806384"/>
                  <a:gd name="connsiteY2369" fmla="*/ 3501532 h 4036143"/>
                  <a:gd name="connsiteX2370" fmla="*/ 3265029 w 5806384"/>
                  <a:gd name="connsiteY2370" fmla="*/ 3524191 h 4036143"/>
                  <a:gd name="connsiteX2371" fmla="*/ 3361330 w 5806384"/>
                  <a:gd name="connsiteY2371" fmla="*/ 3511445 h 4036143"/>
                  <a:gd name="connsiteX2372" fmla="*/ 3359914 w 5806384"/>
                  <a:gd name="connsiteY2372" fmla="*/ 3711128 h 4036143"/>
                  <a:gd name="connsiteX2373" fmla="*/ 3233873 w 5806384"/>
                  <a:gd name="connsiteY2373" fmla="*/ 3538353 h 4036143"/>
                  <a:gd name="connsiteX2374" fmla="*/ 3265029 w 5806384"/>
                  <a:gd name="connsiteY2374" fmla="*/ 3525607 h 4036143"/>
                  <a:gd name="connsiteX2375" fmla="*/ 3355666 w 5806384"/>
                  <a:gd name="connsiteY2375" fmla="*/ 3578006 h 4036143"/>
                  <a:gd name="connsiteX2376" fmla="*/ 3355666 w 5806384"/>
                  <a:gd name="connsiteY2376" fmla="*/ 3578006 h 4036143"/>
                  <a:gd name="connsiteX2377" fmla="*/ 3320261 w 5806384"/>
                  <a:gd name="connsiteY2377" fmla="*/ 3501532 h 4036143"/>
                  <a:gd name="connsiteX2378" fmla="*/ 3320261 w 5806384"/>
                  <a:gd name="connsiteY2378" fmla="*/ 3501532 h 4036143"/>
                  <a:gd name="connsiteX2379" fmla="*/ 3361330 w 5806384"/>
                  <a:gd name="connsiteY2379" fmla="*/ 3511445 h 4036143"/>
                  <a:gd name="connsiteX2380" fmla="*/ 3668644 w 5806384"/>
                  <a:gd name="connsiteY2380" fmla="*/ 3749365 h 4036143"/>
                  <a:gd name="connsiteX2381" fmla="*/ 3780523 w 5806384"/>
                  <a:gd name="connsiteY2381" fmla="*/ 3692718 h 4036143"/>
                  <a:gd name="connsiteX2382" fmla="*/ 3756448 w 5806384"/>
                  <a:gd name="connsiteY2382" fmla="*/ 3757862 h 4036143"/>
                  <a:gd name="connsiteX2383" fmla="*/ 3668644 w 5806384"/>
                  <a:gd name="connsiteY2383" fmla="*/ 3749365 h 4036143"/>
                  <a:gd name="connsiteX2384" fmla="*/ 4385236 w 5806384"/>
                  <a:gd name="connsiteY2384" fmla="*/ 3800348 h 4036143"/>
                  <a:gd name="connsiteX2385" fmla="*/ 4422058 w 5806384"/>
                  <a:gd name="connsiteY2385" fmla="*/ 3784770 h 4036143"/>
                  <a:gd name="connsiteX2386" fmla="*/ 4451797 w 5806384"/>
                  <a:gd name="connsiteY2386" fmla="*/ 3818759 h 4036143"/>
                  <a:gd name="connsiteX2387" fmla="*/ 4426306 w 5806384"/>
                  <a:gd name="connsiteY2387" fmla="*/ 3815926 h 4036143"/>
                  <a:gd name="connsiteX2388" fmla="*/ 4385236 w 5806384"/>
                  <a:gd name="connsiteY2388" fmla="*/ 3800348 h 4036143"/>
                  <a:gd name="connsiteX2389" fmla="*/ 4431971 w 5806384"/>
                  <a:gd name="connsiteY2389" fmla="*/ 3820175 h 4036143"/>
                  <a:gd name="connsiteX2390" fmla="*/ 4453214 w 5806384"/>
                  <a:gd name="connsiteY2390" fmla="*/ 3821591 h 4036143"/>
                  <a:gd name="connsiteX2391" fmla="*/ 4461711 w 5806384"/>
                  <a:gd name="connsiteY2391" fmla="*/ 3831504 h 4036143"/>
                  <a:gd name="connsiteX2392" fmla="*/ 4431971 w 5806384"/>
                  <a:gd name="connsiteY2392" fmla="*/ 3820175 h 4036143"/>
                  <a:gd name="connsiteX2393" fmla="*/ 4361162 w 5806384"/>
                  <a:gd name="connsiteY2393" fmla="*/ 3811678 h 4036143"/>
                  <a:gd name="connsiteX2394" fmla="*/ 4382405 w 5806384"/>
                  <a:gd name="connsiteY2394" fmla="*/ 3803181 h 4036143"/>
                  <a:gd name="connsiteX2395" fmla="*/ 4417809 w 5806384"/>
                  <a:gd name="connsiteY2395" fmla="*/ 3817342 h 4036143"/>
                  <a:gd name="connsiteX2396" fmla="*/ 4361162 w 5806384"/>
                  <a:gd name="connsiteY2396" fmla="*/ 3811678 h 4036143"/>
                  <a:gd name="connsiteX2397" fmla="*/ 4514110 w 5806384"/>
                  <a:gd name="connsiteY2397" fmla="*/ 3895233 h 4036143"/>
                  <a:gd name="connsiteX2398" fmla="*/ 4361162 w 5806384"/>
                  <a:gd name="connsiteY2398" fmla="*/ 3837169 h 4036143"/>
                  <a:gd name="connsiteX2399" fmla="*/ 4473040 w 5806384"/>
                  <a:gd name="connsiteY2399" fmla="*/ 3845666 h 4036143"/>
                  <a:gd name="connsiteX2400" fmla="*/ 4514110 w 5806384"/>
                  <a:gd name="connsiteY2400" fmla="*/ 3895233 h 4036143"/>
                  <a:gd name="connsiteX2401" fmla="*/ 4474457 w 5806384"/>
                  <a:gd name="connsiteY2401" fmla="*/ 3844250 h 4036143"/>
                  <a:gd name="connsiteX2402" fmla="*/ 4468792 w 5806384"/>
                  <a:gd name="connsiteY2402" fmla="*/ 3837169 h 4036143"/>
                  <a:gd name="connsiteX2403" fmla="*/ 4487202 w 5806384"/>
                  <a:gd name="connsiteY2403" fmla="*/ 3844250 h 4036143"/>
                  <a:gd name="connsiteX2404" fmla="*/ 4474457 w 5806384"/>
                  <a:gd name="connsiteY2404" fmla="*/ 3844250 h 4036143"/>
                  <a:gd name="connsiteX2405" fmla="*/ 4521191 w 5806384"/>
                  <a:gd name="connsiteY2405" fmla="*/ 3899481 h 4036143"/>
                  <a:gd name="connsiteX2406" fmla="*/ 4702464 w 5806384"/>
                  <a:gd name="connsiteY2406" fmla="*/ 3967459 h 4036143"/>
                  <a:gd name="connsiteX2407" fmla="*/ 4586336 w 5806384"/>
                  <a:gd name="connsiteY2407" fmla="*/ 3990118 h 4036143"/>
                  <a:gd name="connsiteX2408" fmla="*/ 4446133 w 5806384"/>
                  <a:gd name="connsiteY2408" fmla="*/ 3963210 h 4036143"/>
                  <a:gd name="connsiteX2409" fmla="*/ 4539602 w 5806384"/>
                  <a:gd name="connsiteY2409" fmla="*/ 3922140 h 4036143"/>
                  <a:gd name="connsiteX2410" fmla="*/ 4539602 w 5806384"/>
                  <a:gd name="connsiteY2410" fmla="*/ 3922140 h 4036143"/>
                  <a:gd name="connsiteX2411" fmla="*/ 4521191 w 5806384"/>
                  <a:gd name="connsiteY2411" fmla="*/ 3899481 h 4036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Lst>
                <a:rect l="l" t="t" r="r" b="b"/>
                <a:pathLst>
                  <a:path w="5806384" h="4036143">
                    <a:moveTo>
                      <a:pt x="5707959" y="799440"/>
                    </a:moveTo>
                    <a:lnTo>
                      <a:pt x="5707959" y="799440"/>
                    </a:lnTo>
                    <a:lnTo>
                      <a:pt x="5491282" y="1038776"/>
                    </a:lnTo>
                    <a:lnTo>
                      <a:pt x="5413392" y="945307"/>
                    </a:lnTo>
                    <a:lnTo>
                      <a:pt x="5413392" y="945307"/>
                    </a:lnTo>
                    <a:lnTo>
                      <a:pt x="5358160" y="1028863"/>
                    </a:lnTo>
                    <a:lnTo>
                      <a:pt x="5274605" y="980712"/>
                    </a:lnTo>
                    <a:lnTo>
                      <a:pt x="5369489" y="841925"/>
                    </a:lnTo>
                    <a:lnTo>
                      <a:pt x="5557843" y="822099"/>
                    </a:lnTo>
                    <a:lnTo>
                      <a:pt x="5557843" y="822099"/>
                    </a:lnTo>
                    <a:lnTo>
                      <a:pt x="5471455" y="690393"/>
                    </a:lnTo>
                    <a:lnTo>
                      <a:pt x="5471455" y="690393"/>
                    </a:lnTo>
                    <a:lnTo>
                      <a:pt x="5368073" y="840509"/>
                    </a:lnTo>
                    <a:lnTo>
                      <a:pt x="5124488" y="866001"/>
                    </a:lnTo>
                    <a:lnTo>
                      <a:pt x="5189634" y="820683"/>
                    </a:lnTo>
                    <a:lnTo>
                      <a:pt x="4947464" y="795191"/>
                    </a:lnTo>
                    <a:lnTo>
                      <a:pt x="4732203" y="673399"/>
                    </a:lnTo>
                    <a:lnTo>
                      <a:pt x="4732203" y="673399"/>
                    </a:lnTo>
                    <a:lnTo>
                      <a:pt x="4652897" y="800856"/>
                    </a:lnTo>
                    <a:lnTo>
                      <a:pt x="4393734" y="613919"/>
                    </a:lnTo>
                    <a:lnTo>
                      <a:pt x="4393734" y="613919"/>
                    </a:lnTo>
                    <a:lnTo>
                      <a:pt x="4410728" y="748457"/>
                    </a:lnTo>
                    <a:lnTo>
                      <a:pt x="4273358" y="611086"/>
                    </a:lnTo>
                    <a:lnTo>
                      <a:pt x="4273358" y="611086"/>
                    </a:lnTo>
                    <a:lnTo>
                      <a:pt x="3893818" y="545942"/>
                    </a:lnTo>
                    <a:lnTo>
                      <a:pt x="3893818" y="545942"/>
                    </a:lnTo>
                    <a:lnTo>
                      <a:pt x="3593586" y="928313"/>
                    </a:lnTo>
                    <a:lnTo>
                      <a:pt x="3593586" y="929729"/>
                    </a:lnTo>
                    <a:lnTo>
                      <a:pt x="3960379" y="720133"/>
                    </a:lnTo>
                    <a:lnTo>
                      <a:pt x="4039686" y="882995"/>
                    </a:lnTo>
                    <a:lnTo>
                      <a:pt x="3978790" y="921232"/>
                    </a:lnTo>
                    <a:lnTo>
                      <a:pt x="3449134" y="933978"/>
                    </a:lnTo>
                    <a:lnTo>
                      <a:pt x="3174393" y="623832"/>
                    </a:lnTo>
                    <a:lnTo>
                      <a:pt x="3177225" y="608254"/>
                    </a:lnTo>
                    <a:lnTo>
                      <a:pt x="3454799" y="734295"/>
                    </a:lnTo>
                    <a:lnTo>
                      <a:pt x="3454799" y="734295"/>
                    </a:lnTo>
                    <a:lnTo>
                      <a:pt x="3529857" y="350507"/>
                    </a:lnTo>
                    <a:lnTo>
                      <a:pt x="3529857" y="350507"/>
                    </a:lnTo>
                    <a:lnTo>
                      <a:pt x="3402400" y="91344"/>
                    </a:lnTo>
                    <a:lnTo>
                      <a:pt x="3402400" y="91344"/>
                    </a:lnTo>
                    <a:lnTo>
                      <a:pt x="3146069" y="10621"/>
                    </a:lnTo>
                    <a:lnTo>
                      <a:pt x="3146069" y="10621"/>
                    </a:lnTo>
                    <a:lnTo>
                      <a:pt x="3229624" y="139495"/>
                    </a:lnTo>
                    <a:lnTo>
                      <a:pt x="3310347" y="340594"/>
                    </a:lnTo>
                    <a:lnTo>
                      <a:pt x="3214047" y="401490"/>
                    </a:lnTo>
                    <a:lnTo>
                      <a:pt x="3219711" y="367502"/>
                    </a:lnTo>
                    <a:lnTo>
                      <a:pt x="3219711" y="367502"/>
                    </a:lnTo>
                    <a:lnTo>
                      <a:pt x="3048352" y="456722"/>
                    </a:lnTo>
                    <a:lnTo>
                      <a:pt x="2974710" y="347675"/>
                    </a:lnTo>
                    <a:lnTo>
                      <a:pt x="2974710" y="347675"/>
                    </a:lnTo>
                    <a:lnTo>
                      <a:pt x="2902485" y="537444"/>
                    </a:lnTo>
                    <a:lnTo>
                      <a:pt x="2902485" y="537444"/>
                    </a:lnTo>
                    <a:lnTo>
                      <a:pt x="3049768" y="459554"/>
                    </a:lnTo>
                    <a:lnTo>
                      <a:pt x="3071011" y="492126"/>
                    </a:lnTo>
                    <a:lnTo>
                      <a:pt x="2820345" y="650740"/>
                    </a:lnTo>
                    <a:lnTo>
                      <a:pt x="2801934" y="625248"/>
                    </a:lnTo>
                    <a:lnTo>
                      <a:pt x="2801934" y="625248"/>
                    </a:lnTo>
                    <a:lnTo>
                      <a:pt x="2521529" y="840509"/>
                    </a:lnTo>
                    <a:lnTo>
                      <a:pt x="2521529" y="840509"/>
                    </a:lnTo>
                    <a:lnTo>
                      <a:pt x="2522945" y="841925"/>
                    </a:lnTo>
                    <a:lnTo>
                      <a:pt x="2522945" y="841925"/>
                    </a:lnTo>
                    <a:lnTo>
                      <a:pt x="2820345" y="653572"/>
                    </a:lnTo>
                    <a:lnTo>
                      <a:pt x="2991704" y="894324"/>
                    </a:lnTo>
                    <a:lnTo>
                      <a:pt x="2743871" y="945307"/>
                    </a:lnTo>
                    <a:lnTo>
                      <a:pt x="2539939" y="908486"/>
                    </a:lnTo>
                    <a:lnTo>
                      <a:pt x="2129244" y="690393"/>
                    </a:lnTo>
                    <a:lnTo>
                      <a:pt x="2129244" y="690393"/>
                    </a:lnTo>
                    <a:lnTo>
                      <a:pt x="1921064" y="796607"/>
                    </a:lnTo>
                    <a:lnTo>
                      <a:pt x="1921064" y="796607"/>
                    </a:lnTo>
                    <a:lnTo>
                      <a:pt x="2539939" y="909903"/>
                    </a:lnTo>
                    <a:lnTo>
                      <a:pt x="3069595" y="1191725"/>
                    </a:lnTo>
                    <a:lnTo>
                      <a:pt x="3068178" y="1195973"/>
                    </a:lnTo>
                    <a:lnTo>
                      <a:pt x="3046935" y="1180395"/>
                    </a:lnTo>
                    <a:lnTo>
                      <a:pt x="3046935" y="1180395"/>
                    </a:lnTo>
                    <a:lnTo>
                      <a:pt x="2548436" y="1388575"/>
                    </a:lnTo>
                    <a:lnTo>
                      <a:pt x="2415314" y="1398488"/>
                    </a:lnTo>
                    <a:lnTo>
                      <a:pt x="2231209" y="1225713"/>
                    </a:lnTo>
                    <a:lnTo>
                      <a:pt x="2231209" y="1225713"/>
                    </a:lnTo>
                    <a:lnTo>
                      <a:pt x="2236874" y="1414067"/>
                    </a:lnTo>
                    <a:lnTo>
                      <a:pt x="2115082" y="1423980"/>
                    </a:lnTo>
                    <a:lnTo>
                      <a:pt x="2004619" y="1286609"/>
                    </a:lnTo>
                    <a:lnTo>
                      <a:pt x="2265198" y="1167649"/>
                    </a:lnTo>
                    <a:lnTo>
                      <a:pt x="2266614" y="1167649"/>
                    </a:lnTo>
                    <a:lnTo>
                      <a:pt x="2024445" y="1154904"/>
                    </a:lnTo>
                    <a:lnTo>
                      <a:pt x="2024445" y="1154904"/>
                    </a:lnTo>
                    <a:lnTo>
                      <a:pt x="1962133" y="1232794"/>
                    </a:lnTo>
                    <a:lnTo>
                      <a:pt x="1923896" y="1186060"/>
                    </a:lnTo>
                    <a:lnTo>
                      <a:pt x="2103752" y="907070"/>
                    </a:lnTo>
                    <a:lnTo>
                      <a:pt x="2103752" y="907070"/>
                    </a:lnTo>
                    <a:lnTo>
                      <a:pt x="1813433" y="1050106"/>
                    </a:lnTo>
                    <a:lnTo>
                      <a:pt x="1766699" y="990626"/>
                    </a:lnTo>
                    <a:lnTo>
                      <a:pt x="1766699" y="990626"/>
                    </a:lnTo>
                    <a:lnTo>
                      <a:pt x="1751121" y="1081262"/>
                    </a:lnTo>
                    <a:lnTo>
                      <a:pt x="1589675" y="1161985"/>
                    </a:lnTo>
                    <a:lnTo>
                      <a:pt x="1710051" y="898573"/>
                    </a:lnTo>
                    <a:lnTo>
                      <a:pt x="1768115" y="979296"/>
                    </a:lnTo>
                    <a:lnTo>
                      <a:pt x="1768115" y="979296"/>
                    </a:lnTo>
                    <a:lnTo>
                      <a:pt x="1756785" y="792359"/>
                    </a:lnTo>
                    <a:lnTo>
                      <a:pt x="1756785" y="790943"/>
                    </a:lnTo>
                    <a:lnTo>
                      <a:pt x="1710051" y="894324"/>
                    </a:lnTo>
                    <a:lnTo>
                      <a:pt x="1626496" y="776781"/>
                    </a:lnTo>
                    <a:lnTo>
                      <a:pt x="1626496" y="776781"/>
                    </a:lnTo>
                    <a:lnTo>
                      <a:pt x="1507536" y="949556"/>
                    </a:lnTo>
                    <a:lnTo>
                      <a:pt x="1282361" y="1034527"/>
                    </a:lnTo>
                    <a:lnTo>
                      <a:pt x="1273864" y="1030279"/>
                    </a:lnTo>
                    <a:lnTo>
                      <a:pt x="1152071" y="830596"/>
                    </a:lnTo>
                    <a:lnTo>
                      <a:pt x="1152071" y="830596"/>
                    </a:lnTo>
                    <a:lnTo>
                      <a:pt x="1112418" y="943891"/>
                    </a:lnTo>
                    <a:lnTo>
                      <a:pt x="1094008" y="933978"/>
                    </a:lnTo>
                    <a:lnTo>
                      <a:pt x="1064268" y="881579"/>
                    </a:lnTo>
                    <a:lnTo>
                      <a:pt x="1106754" y="816434"/>
                    </a:lnTo>
                    <a:lnTo>
                      <a:pt x="1432478" y="841925"/>
                    </a:lnTo>
                    <a:lnTo>
                      <a:pt x="1432478" y="841925"/>
                    </a:lnTo>
                    <a:lnTo>
                      <a:pt x="1432478" y="840509"/>
                    </a:lnTo>
                    <a:lnTo>
                      <a:pt x="1181812" y="783862"/>
                    </a:lnTo>
                    <a:lnTo>
                      <a:pt x="1357419" y="717301"/>
                    </a:lnTo>
                    <a:lnTo>
                      <a:pt x="1358835" y="717301"/>
                    </a:lnTo>
                    <a:lnTo>
                      <a:pt x="1136494" y="739960"/>
                    </a:lnTo>
                    <a:lnTo>
                      <a:pt x="1116667" y="615335"/>
                    </a:lnTo>
                    <a:lnTo>
                      <a:pt x="1116667" y="615335"/>
                    </a:lnTo>
                    <a:lnTo>
                      <a:pt x="1023198" y="713052"/>
                    </a:lnTo>
                    <a:lnTo>
                      <a:pt x="952389" y="670566"/>
                    </a:lnTo>
                    <a:lnTo>
                      <a:pt x="1109586" y="613919"/>
                    </a:lnTo>
                    <a:lnTo>
                      <a:pt x="1109586" y="613919"/>
                    </a:lnTo>
                    <a:lnTo>
                      <a:pt x="1109586" y="612503"/>
                    </a:lnTo>
                    <a:lnTo>
                      <a:pt x="949556" y="670566"/>
                    </a:lnTo>
                    <a:lnTo>
                      <a:pt x="949556" y="670566"/>
                    </a:lnTo>
                    <a:lnTo>
                      <a:pt x="1023198" y="714468"/>
                    </a:lnTo>
                    <a:lnTo>
                      <a:pt x="990626" y="748457"/>
                    </a:lnTo>
                    <a:lnTo>
                      <a:pt x="953805" y="683312"/>
                    </a:lnTo>
                    <a:lnTo>
                      <a:pt x="953805" y="683312"/>
                    </a:lnTo>
                    <a:lnTo>
                      <a:pt x="766868" y="870249"/>
                    </a:lnTo>
                    <a:lnTo>
                      <a:pt x="751289" y="857504"/>
                    </a:lnTo>
                    <a:lnTo>
                      <a:pt x="751289" y="857504"/>
                    </a:lnTo>
                    <a:lnTo>
                      <a:pt x="752706" y="885827"/>
                    </a:lnTo>
                    <a:lnTo>
                      <a:pt x="619584" y="1018949"/>
                    </a:lnTo>
                    <a:lnTo>
                      <a:pt x="438311" y="1105337"/>
                    </a:lnTo>
                    <a:lnTo>
                      <a:pt x="438311" y="1105337"/>
                    </a:lnTo>
                    <a:lnTo>
                      <a:pt x="555855" y="1198806"/>
                    </a:lnTo>
                    <a:lnTo>
                      <a:pt x="451057" y="1275280"/>
                    </a:lnTo>
                    <a:lnTo>
                      <a:pt x="451057" y="1275280"/>
                    </a:lnTo>
                    <a:lnTo>
                      <a:pt x="452473" y="1276696"/>
                    </a:lnTo>
                    <a:lnTo>
                      <a:pt x="574265" y="1212967"/>
                    </a:lnTo>
                    <a:lnTo>
                      <a:pt x="575682" y="1212967"/>
                    </a:lnTo>
                    <a:lnTo>
                      <a:pt x="570017" y="1229962"/>
                    </a:lnTo>
                    <a:lnTo>
                      <a:pt x="570017" y="1229962"/>
                    </a:lnTo>
                    <a:lnTo>
                      <a:pt x="571433" y="1229962"/>
                    </a:lnTo>
                    <a:lnTo>
                      <a:pt x="571433" y="1229962"/>
                    </a:lnTo>
                    <a:lnTo>
                      <a:pt x="578514" y="1214384"/>
                    </a:lnTo>
                    <a:lnTo>
                      <a:pt x="693225" y="1305020"/>
                    </a:lnTo>
                    <a:lnTo>
                      <a:pt x="681896" y="1152071"/>
                    </a:lnTo>
                    <a:lnTo>
                      <a:pt x="681896" y="1152071"/>
                    </a:lnTo>
                    <a:lnTo>
                      <a:pt x="584179" y="1203054"/>
                    </a:lnTo>
                    <a:lnTo>
                      <a:pt x="602589" y="1166233"/>
                    </a:lnTo>
                    <a:lnTo>
                      <a:pt x="684728" y="1106753"/>
                    </a:lnTo>
                    <a:lnTo>
                      <a:pt x="772532" y="1091175"/>
                    </a:lnTo>
                    <a:lnTo>
                      <a:pt x="772532" y="1091175"/>
                    </a:lnTo>
                    <a:lnTo>
                      <a:pt x="769700" y="1045857"/>
                    </a:lnTo>
                    <a:lnTo>
                      <a:pt x="884411" y="963718"/>
                    </a:lnTo>
                    <a:lnTo>
                      <a:pt x="884411" y="963718"/>
                    </a:lnTo>
                    <a:lnTo>
                      <a:pt x="832012" y="921232"/>
                    </a:lnTo>
                    <a:lnTo>
                      <a:pt x="993458" y="751289"/>
                    </a:lnTo>
                    <a:lnTo>
                      <a:pt x="1026030" y="807937"/>
                    </a:lnTo>
                    <a:lnTo>
                      <a:pt x="979296" y="803688"/>
                    </a:lnTo>
                    <a:lnTo>
                      <a:pt x="979296" y="803688"/>
                    </a:lnTo>
                    <a:lnTo>
                      <a:pt x="1030279" y="898573"/>
                    </a:lnTo>
                    <a:lnTo>
                      <a:pt x="1030279" y="898573"/>
                    </a:lnTo>
                    <a:lnTo>
                      <a:pt x="1050106" y="909903"/>
                    </a:lnTo>
                    <a:lnTo>
                      <a:pt x="949556" y="1065684"/>
                    </a:lnTo>
                    <a:lnTo>
                      <a:pt x="949556" y="1065684"/>
                    </a:lnTo>
                    <a:lnTo>
                      <a:pt x="1052938" y="1140742"/>
                    </a:lnTo>
                    <a:lnTo>
                      <a:pt x="1052938" y="1140742"/>
                    </a:lnTo>
                    <a:lnTo>
                      <a:pt x="1113834" y="963718"/>
                    </a:lnTo>
                    <a:lnTo>
                      <a:pt x="1136494" y="1003371"/>
                    </a:lnTo>
                    <a:lnTo>
                      <a:pt x="1177563" y="1469298"/>
                    </a:lnTo>
                    <a:lnTo>
                      <a:pt x="1164817" y="1514616"/>
                    </a:lnTo>
                    <a:lnTo>
                      <a:pt x="1164817" y="1514616"/>
                    </a:lnTo>
                    <a:lnTo>
                      <a:pt x="1181812" y="1523113"/>
                    </a:lnTo>
                    <a:lnTo>
                      <a:pt x="1186060" y="1565599"/>
                    </a:lnTo>
                    <a:lnTo>
                      <a:pt x="898573" y="1559934"/>
                    </a:lnTo>
                    <a:lnTo>
                      <a:pt x="916984" y="1494789"/>
                    </a:lnTo>
                    <a:lnTo>
                      <a:pt x="916984" y="1494789"/>
                    </a:lnTo>
                    <a:lnTo>
                      <a:pt x="705971" y="1548605"/>
                    </a:lnTo>
                    <a:lnTo>
                      <a:pt x="705971" y="1548605"/>
                    </a:lnTo>
                    <a:lnTo>
                      <a:pt x="881579" y="1803519"/>
                    </a:lnTo>
                    <a:lnTo>
                      <a:pt x="854671" y="1807768"/>
                    </a:lnTo>
                    <a:lnTo>
                      <a:pt x="659237" y="1514616"/>
                    </a:lnTo>
                    <a:lnTo>
                      <a:pt x="659237" y="1514616"/>
                    </a:lnTo>
                    <a:lnTo>
                      <a:pt x="494959" y="1646322"/>
                    </a:lnTo>
                    <a:lnTo>
                      <a:pt x="470884" y="1622247"/>
                    </a:lnTo>
                    <a:lnTo>
                      <a:pt x="470884" y="1541524"/>
                    </a:lnTo>
                    <a:lnTo>
                      <a:pt x="470884" y="1541524"/>
                    </a:lnTo>
                    <a:lnTo>
                      <a:pt x="242877" y="1728461"/>
                    </a:lnTo>
                    <a:lnTo>
                      <a:pt x="242877" y="1728461"/>
                    </a:lnTo>
                    <a:lnTo>
                      <a:pt x="265536" y="1779444"/>
                    </a:lnTo>
                    <a:lnTo>
                      <a:pt x="139495" y="1782276"/>
                    </a:lnTo>
                    <a:lnTo>
                      <a:pt x="138079" y="1782276"/>
                    </a:lnTo>
                    <a:lnTo>
                      <a:pt x="378831" y="1906901"/>
                    </a:lnTo>
                    <a:lnTo>
                      <a:pt x="72934" y="1981959"/>
                    </a:lnTo>
                    <a:lnTo>
                      <a:pt x="17702" y="1986208"/>
                    </a:lnTo>
                    <a:lnTo>
                      <a:pt x="17702" y="1986208"/>
                    </a:lnTo>
                    <a:lnTo>
                      <a:pt x="55939" y="2205717"/>
                    </a:lnTo>
                    <a:lnTo>
                      <a:pt x="55939" y="2205717"/>
                    </a:lnTo>
                    <a:lnTo>
                      <a:pt x="95593" y="2174561"/>
                    </a:lnTo>
                    <a:lnTo>
                      <a:pt x="64437" y="2217047"/>
                    </a:lnTo>
                    <a:lnTo>
                      <a:pt x="64437" y="2217047"/>
                    </a:lnTo>
                    <a:lnTo>
                      <a:pt x="140911" y="2215631"/>
                    </a:lnTo>
                    <a:lnTo>
                      <a:pt x="140911" y="2215631"/>
                    </a:lnTo>
                    <a:lnTo>
                      <a:pt x="207472" y="2133492"/>
                    </a:lnTo>
                    <a:lnTo>
                      <a:pt x="245709" y="2140573"/>
                    </a:lnTo>
                    <a:lnTo>
                      <a:pt x="217385" y="2120746"/>
                    </a:lnTo>
                    <a:lnTo>
                      <a:pt x="309437" y="2006034"/>
                    </a:lnTo>
                    <a:lnTo>
                      <a:pt x="339178" y="1983375"/>
                    </a:lnTo>
                    <a:lnTo>
                      <a:pt x="492127" y="1964965"/>
                    </a:lnTo>
                    <a:lnTo>
                      <a:pt x="492127" y="1964965"/>
                    </a:lnTo>
                    <a:lnTo>
                      <a:pt x="414236" y="1925311"/>
                    </a:lnTo>
                    <a:lnTo>
                      <a:pt x="459554" y="1889907"/>
                    </a:lnTo>
                    <a:lnTo>
                      <a:pt x="601173" y="1854502"/>
                    </a:lnTo>
                    <a:lnTo>
                      <a:pt x="602589" y="1861583"/>
                    </a:lnTo>
                    <a:lnTo>
                      <a:pt x="595508" y="1862999"/>
                    </a:lnTo>
                    <a:lnTo>
                      <a:pt x="595508" y="1862999"/>
                    </a:lnTo>
                    <a:lnTo>
                      <a:pt x="623832" y="1994705"/>
                    </a:lnTo>
                    <a:lnTo>
                      <a:pt x="694642" y="2091006"/>
                    </a:lnTo>
                    <a:lnTo>
                      <a:pt x="745625" y="2122162"/>
                    </a:lnTo>
                    <a:lnTo>
                      <a:pt x="730047" y="2209966"/>
                    </a:lnTo>
                    <a:lnTo>
                      <a:pt x="730047" y="2209966"/>
                    </a:lnTo>
                    <a:lnTo>
                      <a:pt x="731463" y="2209966"/>
                    </a:lnTo>
                    <a:lnTo>
                      <a:pt x="761203" y="2129243"/>
                    </a:lnTo>
                    <a:lnTo>
                      <a:pt x="761203" y="2129243"/>
                    </a:lnTo>
                    <a:lnTo>
                      <a:pt x="748457" y="2120746"/>
                    </a:lnTo>
                    <a:lnTo>
                      <a:pt x="756954" y="2076844"/>
                    </a:lnTo>
                    <a:lnTo>
                      <a:pt x="756954" y="2076844"/>
                    </a:lnTo>
                    <a:lnTo>
                      <a:pt x="635162" y="1991873"/>
                    </a:lnTo>
                    <a:lnTo>
                      <a:pt x="605422" y="1862999"/>
                    </a:lnTo>
                    <a:lnTo>
                      <a:pt x="686144" y="1840340"/>
                    </a:lnTo>
                    <a:lnTo>
                      <a:pt x="686144" y="1840340"/>
                    </a:lnTo>
                    <a:lnTo>
                      <a:pt x="613919" y="1768114"/>
                    </a:lnTo>
                    <a:lnTo>
                      <a:pt x="632329" y="1753952"/>
                    </a:lnTo>
                    <a:lnTo>
                      <a:pt x="755538" y="1824762"/>
                    </a:lnTo>
                    <a:lnTo>
                      <a:pt x="680480" y="1834675"/>
                    </a:lnTo>
                    <a:lnTo>
                      <a:pt x="679064" y="1834675"/>
                    </a:lnTo>
                    <a:lnTo>
                      <a:pt x="992042" y="1963549"/>
                    </a:lnTo>
                    <a:lnTo>
                      <a:pt x="992042" y="1963549"/>
                    </a:lnTo>
                    <a:lnTo>
                      <a:pt x="993458" y="1962132"/>
                    </a:lnTo>
                    <a:lnTo>
                      <a:pt x="754122" y="1824762"/>
                    </a:lnTo>
                    <a:lnTo>
                      <a:pt x="843342" y="1810600"/>
                    </a:lnTo>
                    <a:lnTo>
                      <a:pt x="875914" y="1858750"/>
                    </a:lnTo>
                    <a:lnTo>
                      <a:pt x="875914" y="1858750"/>
                    </a:lnTo>
                    <a:lnTo>
                      <a:pt x="1200222" y="1807768"/>
                    </a:lnTo>
                    <a:lnTo>
                      <a:pt x="1200222" y="1807768"/>
                    </a:lnTo>
                    <a:lnTo>
                      <a:pt x="1200222" y="1800687"/>
                    </a:lnTo>
                    <a:lnTo>
                      <a:pt x="1204471" y="1806351"/>
                    </a:lnTo>
                    <a:lnTo>
                      <a:pt x="1204471" y="1806351"/>
                    </a:lnTo>
                    <a:lnTo>
                      <a:pt x="1282361" y="1642073"/>
                    </a:lnTo>
                    <a:lnTo>
                      <a:pt x="1426813" y="1646322"/>
                    </a:lnTo>
                    <a:lnTo>
                      <a:pt x="1455137" y="1660484"/>
                    </a:lnTo>
                    <a:lnTo>
                      <a:pt x="1557102" y="1854502"/>
                    </a:lnTo>
                    <a:lnTo>
                      <a:pt x="1411235" y="1896988"/>
                    </a:lnTo>
                    <a:lnTo>
                      <a:pt x="1409818" y="1896988"/>
                    </a:lnTo>
                    <a:lnTo>
                      <a:pt x="1601004" y="1936641"/>
                    </a:lnTo>
                    <a:lnTo>
                      <a:pt x="1601004" y="1936641"/>
                    </a:lnTo>
                    <a:lnTo>
                      <a:pt x="1558518" y="1855918"/>
                    </a:lnTo>
                    <a:lnTo>
                      <a:pt x="1742623" y="1802103"/>
                    </a:lnTo>
                    <a:lnTo>
                      <a:pt x="2133492" y="1993289"/>
                    </a:lnTo>
                    <a:lnTo>
                      <a:pt x="2049937" y="2452135"/>
                    </a:lnTo>
                    <a:lnTo>
                      <a:pt x="1928145" y="2469129"/>
                    </a:lnTo>
                    <a:lnTo>
                      <a:pt x="1480628" y="2091006"/>
                    </a:lnTo>
                    <a:lnTo>
                      <a:pt x="1480628" y="2091006"/>
                    </a:lnTo>
                    <a:lnTo>
                      <a:pt x="1489125" y="2110833"/>
                    </a:lnTo>
                    <a:lnTo>
                      <a:pt x="1350338" y="2127827"/>
                    </a:lnTo>
                    <a:lnTo>
                      <a:pt x="1331928" y="2051352"/>
                    </a:lnTo>
                    <a:lnTo>
                      <a:pt x="1331928" y="2051352"/>
                    </a:lnTo>
                    <a:lnTo>
                      <a:pt x="1224297" y="2141989"/>
                    </a:lnTo>
                    <a:lnTo>
                      <a:pt x="1215800" y="2143405"/>
                    </a:lnTo>
                    <a:lnTo>
                      <a:pt x="1079846" y="1964965"/>
                    </a:lnTo>
                    <a:lnTo>
                      <a:pt x="1079846" y="1964965"/>
                    </a:lnTo>
                    <a:lnTo>
                      <a:pt x="1123748" y="2231209"/>
                    </a:lnTo>
                    <a:lnTo>
                      <a:pt x="1123748" y="2231209"/>
                    </a:lnTo>
                    <a:lnTo>
                      <a:pt x="1208719" y="2157567"/>
                    </a:lnTo>
                    <a:lnTo>
                      <a:pt x="1295107" y="2249619"/>
                    </a:lnTo>
                    <a:lnTo>
                      <a:pt x="1380078" y="2361498"/>
                    </a:lnTo>
                    <a:lnTo>
                      <a:pt x="1363084" y="2401152"/>
                    </a:lnTo>
                    <a:lnTo>
                      <a:pt x="1329095" y="2411065"/>
                    </a:lnTo>
                    <a:lnTo>
                      <a:pt x="1329095" y="2411065"/>
                    </a:lnTo>
                    <a:lnTo>
                      <a:pt x="1266783" y="2571095"/>
                    </a:lnTo>
                    <a:lnTo>
                      <a:pt x="1266783" y="2571095"/>
                    </a:lnTo>
                    <a:lnTo>
                      <a:pt x="1469299" y="2735373"/>
                    </a:lnTo>
                    <a:lnTo>
                      <a:pt x="1438142" y="2779275"/>
                    </a:lnTo>
                    <a:lnTo>
                      <a:pt x="1438142" y="2779275"/>
                    </a:lnTo>
                    <a:lnTo>
                      <a:pt x="1547189" y="2799101"/>
                    </a:lnTo>
                    <a:lnTo>
                      <a:pt x="1644906" y="2878408"/>
                    </a:lnTo>
                    <a:lnTo>
                      <a:pt x="1644906" y="2878408"/>
                    </a:lnTo>
                    <a:lnTo>
                      <a:pt x="1701554" y="2876992"/>
                    </a:lnTo>
                    <a:lnTo>
                      <a:pt x="1693057" y="2986038"/>
                    </a:lnTo>
                    <a:lnTo>
                      <a:pt x="1520281" y="3005865"/>
                    </a:lnTo>
                    <a:lnTo>
                      <a:pt x="1520281" y="3005865"/>
                    </a:lnTo>
                    <a:lnTo>
                      <a:pt x="1520281" y="3007281"/>
                    </a:lnTo>
                    <a:lnTo>
                      <a:pt x="1520281" y="3007281"/>
                    </a:lnTo>
                    <a:lnTo>
                      <a:pt x="1690224" y="3018611"/>
                    </a:lnTo>
                    <a:lnTo>
                      <a:pt x="1678895" y="3151733"/>
                    </a:lnTo>
                    <a:lnTo>
                      <a:pt x="1678895" y="3151733"/>
                    </a:lnTo>
                    <a:lnTo>
                      <a:pt x="1888491" y="3028524"/>
                    </a:lnTo>
                    <a:lnTo>
                      <a:pt x="1888491" y="3028524"/>
                    </a:lnTo>
                    <a:lnTo>
                      <a:pt x="1691640" y="3015778"/>
                    </a:lnTo>
                    <a:lnTo>
                      <a:pt x="1694473" y="2987455"/>
                    </a:lnTo>
                    <a:lnTo>
                      <a:pt x="1844589" y="2970460"/>
                    </a:lnTo>
                    <a:lnTo>
                      <a:pt x="1887075" y="3027108"/>
                    </a:lnTo>
                    <a:lnTo>
                      <a:pt x="1887075" y="3027108"/>
                    </a:lnTo>
                    <a:lnTo>
                      <a:pt x="1888491" y="3025692"/>
                    </a:lnTo>
                    <a:lnTo>
                      <a:pt x="1863000" y="2967628"/>
                    </a:lnTo>
                    <a:lnTo>
                      <a:pt x="2001786" y="2952050"/>
                    </a:lnTo>
                    <a:lnTo>
                      <a:pt x="2001786" y="2952050"/>
                    </a:lnTo>
                    <a:lnTo>
                      <a:pt x="1964966" y="2801934"/>
                    </a:lnTo>
                    <a:lnTo>
                      <a:pt x="2055602" y="2831674"/>
                    </a:lnTo>
                    <a:lnTo>
                      <a:pt x="2057018" y="2831674"/>
                    </a:lnTo>
                    <a:lnTo>
                      <a:pt x="1940890" y="2712714"/>
                    </a:lnTo>
                    <a:lnTo>
                      <a:pt x="1940890" y="2712714"/>
                    </a:lnTo>
                    <a:lnTo>
                      <a:pt x="1962133" y="2799101"/>
                    </a:lnTo>
                    <a:lnTo>
                      <a:pt x="1759618" y="2732540"/>
                    </a:lnTo>
                    <a:lnTo>
                      <a:pt x="1489125" y="2112249"/>
                    </a:lnTo>
                    <a:lnTo>
                      <a:pt x="1490541" y="2112249"/>
                    </a:lnTo>
                    <a:lnTo>
                      <a:pt x="1707219" y="2500285"/>
                    </a:lnTo>
                    <a:lnTo>
                      <a:pt x="1707219" y="2500285"/>
                    </a:lnTo>
                    <a:lnTo>
                      <a:pt x="1925312" y="2470545"/>
                    </a:lnTo>
                    <a:lnTo>
                      <a:pt x="1938058" y="2481874"/>
                    </a:lnTo>
                    <a:lnTo>
                      <a:pt x="1782277" y="2508782"/>
                    </a:lnTo>
                    <a:lnTo>
                      <a:pt x="1782277" y="2508782"/>
                    </a:lnTo>
                    <a:lnTo>
                      <a:pt x="2018781" y="2614997"/>
                    </a:lnTo>
                    <a:lnTo>
                      <a:pt x="2008867" y="2671644"/>
                    </a:lnTo>
                    <a:lnTo>
                      <a:pt x="2042856" y="2624910"/>
                    </a:lnTo>
                    <a:lnTo>
                      <a:pt x="2195805" y="2694303"/>
                    </a:lnTo>
                    <a:lnTo>
                      <a:pt x="2197221" y="2694303"/>
                    </a:lnTo>
                    <a:lnTo>
                      <a:pt x="2069764" y="2586673"/>
                    </a:lnTo>
                    <a:lnTo>
                      <a:pt x="2177394" y="2440805"/>
                    </a:lnTo>
                    <a:lnTo>
                      <a:pt x="2188724" y="2439389"/>
                    </a:lnTo>
                    <a:lnTo>
                      <a:pt x="2344505" y="2803350"/>
                    </a:lnTo>
                    <a:lnTo>
                      <a:pt x="2344505" y="2803350"/>
                    </a:lnTo>
                    <a:lnTo>
                      <a:pt x="2394071" y="2579592"/>
                    </a:lnTo>
                    <a:lnTo>
                      <a:pt x="2447887" y="2617829"/>
                    </a:lnTo>
                    <a:lnTo>
                      <a:pt x="2630576" y="2942136"/>
                    </a:lnTo>
                    <a:lnTo>
                      <a:pt x="2613581" y="2998784"/>
                    </a:lnTo>
                    <a:lnTo>
                      <a:pt x="2498870" y="3055432"/>
                    </a:lnTo>
                    <a:lnTo>
                      <a:pt x="2498870" y="3055432"/>
                    </a:lnTo>
                    <a:lnTo>
                      <a:pt x="2576761" y="3116328"/>
                    </a:lnTo>
                    <a:lnTo>
                      <a:pt x="2532858" y="3257947"/>
                    </a:lnTo>
                    <a:lnTo>
                      <a:pt x="2532858" y="3257947"/>
                    </a:lnTo>
                    <a:lnTo>
                      <a:pt x="2656067" y="3174392"/>
                    </a:lnTo>
                    <a:lnTo>
                      <a:pt x="2656067" y="3174392"/>
                    </a:lnTo>
                    <a:lnTo>
                      <a:pt x="2579592" y="3114912"/>
                    </a:lnTo>
                    <a:lnTo>
                      <a:pt x="2614997" y="3000200"/>
                    </a:lnTo>
                    <a:lnTo>
                      <a:pt x="2653234" y="2981790"/>
                    </a:lnTo>
                    <a:lnTo>
                      <a:pt x="2665980" y="3003033"/>
                    </a:lnTo>
                    <a:lnTo>
                      <a:pt x="2657483" y="3405231"/>
                    </a:lnTo>
                    <a:lnTo>
                      <a:pt x="2657483" y="3405231"/>
                    </a:lnTo>
                    <a:lnTo>
                      <a:pt x="2658899" y="3405231"/>
                    </a:lnTo>
                    <a:lnTo>
                      <a:pt x="2658899" y="3405231"/>
                    </a:lnTo>
                    <a:lnTo>
                      <a:pt x="2695720" y="3051183"/>
                    </a:lnTo>
                    <a:lnTo>
                      <a:pt x="2695720" y="3051183"/>
                    </a:lnTo>
                    <a:lnTo>
                      <a:pt x="2668813" y="3001616"/>
                    </a:lnTo>
                    <a:lnTo>
                      <a:pt x="2668813" y="2973293"/>
                    </a:lnTo>
                    <a:lnTo>
                      <a:pt x="2837339" y="2888321"/>
                    </a:lnTo>
                    <a:lnTo>
                      <a:pt x="2837339" y="2888321"/>
                    </a:lnTo>
                    <a:lnTo>
                      <a:pt x="2631991" y="2742454"/>
                    </a:lnTo>
                    <a:lnTo>
                      <a:pt x="2579592" y="2668812"/>
                    </a:lnTo>
                    <a:lnTo>
                      <a:pt x="2792021" y="2728292"/>
                    </a:lnTo>
                    <a:lnTo>
                      <a:pt x="2843004" y="2874159"/>
                    </a:lnTo>
                    <a:lnTo>
                      <a:pt x="2843004" y="2874159"/>
                    </a:lnTo>
                    <a:lnTo>
                      <a:pt x="2919478" y="2790604"/>
                    </a:lnTo>
                    <a:lnTo>
                      <a:pt x="3184306" y="2991703"/>
                    </a:lnTo>
                    <a:lnTo>
                      <a:pt x="3184306" y="2991703"/>
                    </a:lnTo>
                    <a:lnTo>
                      <a:pt x="3197052" y="2980374"/>
                    </a:lnTo>
                    <a:lnTo>
                      <a:pt x="3204133" y="2997368"/>
                    </a:lnTo>
                    <a:lnTo>
                      <a:pt x="3191387" y="3004449"/>
                    </a:lnTo>
                    <a:lnTo>
                      <a:pt x="3191387" y="3004449"/>
                    </a:lnTo>
                    <a:lnTo>
                      <a:pt x="3212630" y="3017195"/>
                    </a:lnTo>
                    <a:lnTo>
                      <a:pt x="3270694" y="3144652"/>
                    </a:lnTo>
                    <a:lnTo>
                      <a:pt x="3270694" y="3144652"/>
                    </a:lnTo>
                    <a:lnTo>
                      <a:pt x="3376909" y="3140403"/>
                    </a:lnTo>
                    <a:lnTo>
                      <a:pt x="3396735" y="3242369"/>
                    </a:lnTo>
                    <a:lnTo>
                      <a:pt x="3396735" y="3242369"/>
                    </a:lnTo>
                    <a:lnTo>
                      <a:pt x="3480290" y="3165895"/>
                    </a:lnTo>
                    <a:lnTo>
                      <a:pt x="3553933" y="3206964"/>
                    </a:lnTo>
                    <a:lnTo>
                      <a:pt x="3430724" y="3306097"/>
                    </a:lnTo>
                    <a:lnTo>
                      <a:pt x="3277775" y="3231040"/>
                    </a:lnTo>
                    <a:lnTo>
                      <a:pt x="3277775" y="3231040"/>
                    </a:lnTo>
                    <a:lnTo>
                      <a:pt x="3248035" y="3364161"/>
                    </a:lnTo>
                    <a:lnTo>
                      <a:pt x="3248035" y="3364161"/>
                    </a:lnTo>
                    <a:lnTo>
                      <a:pt x="3311763" y="3500116"/>
                    </a:lnTo>
                    <a:lnTo>
                      <a:pt x="3154566" y="3464711"/>
                    </a:lnTo>
                    <a:lnTo>
                      <a:pt x="3153150" y="3464711"/>
                    </a:lnTo>
                    <a:lnTo>
                      <a:pt x="3257948" y="3525607"/>
                    </a:lnTo>
                    <a:lnTo>
                      <a:pt x="3226792" y="3538353"/>
                    </a:lnTo>
                    <a:lnTo>
                      <a:pt x="3226792" y="3538353"/>
                    </a:lnTo>
                    <a:lnTo>
                      <a:pt x="3357082" y="3718209"/>
                    </a:lnTo>
                    <a:lnTo>
                      <a:pt x="3357082" y="3718209"/>
                    </a:lnTo>
                    <a:lnTo>
                      <a:pt x="3358497" y="3510029"/>
                    </a:lnTo>
                    <a:lnTo>
                      <a:pt x="3358497" y="3510029"/>
                    </a:lnTo>
                    <a:lnTo>
                      <a:pt x="3320261" y="3501532"/>
                    </a:lnTo>
                    <a:lnTo>
                      <a:pt x="3372659" y="3480289"/>
                    </a:lnTo>
                    <a:lnTo>
                      <a:pt x="3386821" y="3749365"/>
                    </a:lnTo>
                    <a:lnTo>
                      <a:pt x="3265029" y="3660145"/>
                    </a:lnTo>
                    <a:lnTo>
                      <a:pt x="3263613" y="3660145"/>
                    </a:lnTo>
                    <a:lnTo>
                      <a:pt x="3337255" y="3781938"/>
                    </a:lnTo>
                    <a:lnTo>
                      <a:pt x="3300434" y="3763527"/>
                    </a:lnTo>
                    <a:lnTo>
                      <a:pt x="3300434" y="3763527"/>
                    </a:lnTo>
                    <a:lnTo>
                      <a:pt x="3299018" y="3764943"/>
                    </a:lnTo>
                    <a:lnTo>
                      <a:pt x="3351416" y="3806013"/>
                    </a:lnTo>
                    <a:lnTo>
                      <a:pt x="3393902" y="3875406"/>
                    </a:lnTo>
                    <a:lnTo>
                      <a:pt x="3393902" y="3876823"/>
                    </a:lnTo>
                    <a:lnTo>
                      <a:pt x="3392486" y="3838585"/>
                    </a:lnTo>
                    <a:lnTo>
                      <a:pt x="3555348" y="3964626"/>
                    </a:lnTo>
                    <a:lnTo>
                      <a:pt x="3555348" y="3964626"/>
                    </a:lnTo>
                    <a:lnTo>
                      <a:pt x="3570926" y="3905146"/>
                    </a:lnTo>
                    <a:lnTo>
                      <a:pt x="3637487" y="3939135"/>
                    </a:lnTo>
                    <a:lnTo>
                      <a:pt x="3637487" y="3939135"/>
                    </a:lnTo>
                    <a:lnTo>
                      <a:pt x="3638904" y="3937719"/>
                    </a:lnTo>
                    <a:lnTo>
                      <a:pt x="3638904" y="3937719"/>
                    </a:lnTo>
                    <a:lnTo>
                      <a:pt x="3575175" y="3890985"/>
                    </a:lnTo>
                    <a:lnTo>
                      <a:pt x="3647401" y="3619076"/>
                    </a:lnTo>
                    <a:lnTo>
                      <a:pt x="3772026" y="3688469"/>
                    </a:lnTo>
                    <a:lnTo>
                      <a:pt x="3772026" y="3688469"/>
                    </a:lnTo>
                    <a:lnTo>
                      <a:pt x="3783355" y="3453381"/>
                    </a:lnTo>
                    <a:lnTo>
                      <a:pt x="3896650" y="3772024"/>
                    </a:lnTo>
                    <a:lnTo>
                      <a:pt x="3756448" y="3759279"/>
                    </a:lnTo>
                    <a:lnTo>
                      <a:pt x="3781939" y="3691302"/>
                    </a:lnTo>
                    <a:lnTo>
                      <a:pt x="3781939" y="3691302"/>
                    </a:lnTo>
                    <a:lnTo>
                      <a:pt x="3660147" y="3753614"/>
                    </a:lnTo>
                    <a:lnTo>
                      <a:pt x="3660147" y="3753614"/>
                    </a:lnTo>
                    <a:lnTo>
                      <a:pt x="3755031" y="3762111"/>
                    </a:lnTo>
                    <a:lnTo>
                      <a:pt x="3739453" y="3803181"/>
                    </a:lnTo>
                    <a:lnTo>
                      <a:pt x="3739453" y="3803181"/>
                    </a:lnTo>
                    <a:lnTo>
                      <a:pt x="3929223" y="3837169"/>
                    </a:lnTo>
                    <a:lnTo>
                      <a:pt x="3929223" y="3837169"/>
                    </a:lnTo>
                    <a:lnTo>
                      <a:pt x="4247866" y="3749365"/>
                    </a:lnTo>
                    <a:lnTo>
                      <a:pt x="4379572" y="3804597"/>
                    </a:lnTo>
                    <a:lnTo>
                      <a:pt x="4352664" y="3815926"/>
                    </a:lnTo>
                    <a:lnTo>
                      <a:pt x="4424890" y="3823007"/>
                    </a:lnTo>
                    <a:lnTo>
                      <a:pt x="4464544" y="3840002"/>
                    </a:lnTo>
                    <a:lnTo>
                      <a:pt x="4471625" y="3848499"/>
                    </a:lnTo>
                    <a:lnTo>
                      <a:pt x="4348416" y="3838585"/>
                    </a:lnTo>
                    <a:lnTo>
                      <a:pt x="4347000" y="3838585"/>
                    </a:lnTo>
                    <a:lnTo>
                      <a:pt x="4516943" y="3902314"/>
                    </a:lnTo>
                    <a:lnTo>
                      <a:pt x="4536769" y="3924973"/>
                    </a:lnTo>
                    <a:lnTo>
                      <a:pt x="4440468" y="3967459"/>
                    </a:lnTo>
                    <a:lnTo>
                      <a:pt x="4440468" y="3967459"/>
                    </a:lnTo>
                    <a:lnTo>
                      <a:pt x="4586336" y="3995783"/>
                    </a:lnTo>
                    <a:lnTo>
                      <a:pt x="4586336" y="3995783"/>
                    </a:lnTo>
                    <a:lnTo>
                      <a:pt x="4709544" y="3971707"/>
                    </a:lnTo>
                    <a:lnTo>
                      <a:pt x="4710960" y="3971707"/>
                    </a:lnTo>
                    <a:lnTo>
                      <a:pt x="4519775" y="3899481"/>
                    </a:lnTo>
                    <a:lnTo>
                      <a:pt x="4477289" y="3849915"/>
                    </a:lnTo>
                    <a:lnTo>
                      <a:pt x="4501364" y="3851331"/>
                    </a:lnTo>
                    <a:lnTo>
                      <a:pt x="4467376" y="3837169"/>
                    </a:lnTo>
                    <a:lnTo>
                      <a:pt x="4457463" y="3825840"/>
                    </a:lnTo>
                    <a:lnTo>
                      <a:pt x="4841250" y="3862661"/>
                    </a:lnTo>
                    <a:lnTo>
                      <a:pt x="4987118" y="3964626"/>
                    </a:lnTo>
                    <a:lnTo>
                      <a:pt x="5087668" y="4029771"/>
                    </a:lnTo>
                    <a:lnTo>
                      <a:pt x="5087668" y="4029771"/>
                    </a:lnTo>
                    <a:lnTo>
                      <a:pt x="5089084" y="4028355"/>
                    </a:lnTo>
                    <a:lnTo>
                      <a:pt x="4985702" y="3958962"/>
                    </a:lnTo>
                    <a:lnTo>
                      <a:pt x="4839834" y="3856996"/>
                    </a:lnTo>
                    <a:lnTo>
                      <a:pt x="4453214" y="3820175"/>
                    </a:lnTo>
                    <a:lnTo>
                      <a:pt x="4422058" y="3783354"/>
                    </a:lnTo>
                    <a:lnTo>
                      <a:pt x="4422058" y="3783354"/>
                    </a:lnTo>
                    <a:lnTo>
                      <a:pt x="4382405" y="3800348"/>
                    </a:lnTo>
                    <a:lnTo>
                      <a:pt x="4247866" y="3745117"/>
                    </a:lnTo>
                    <a:lnTo>
                      <a:pt x="4247866" y="3745117"/>
                    </a:lnTo>
                    <a:lnTo>
                      <a:pt x="3929223" y="3832921"/>
                    </a:lnTo>
                    <a:lnTo>
                      <a:pt x="3742286" y="3800348"/>
                    </a:lnTo>
                    <a:lnTo>
                      <a:pt x="3756448" y="3760695"/>
                    </a:lnTo>
                    <a:lnTo>
                      <a:pt x="3899483" y="3773440"/>
                    </a:lnTo>
                    <a:lnTo>
                      <a:pt x="3899483" y="3773440"/>
                    </a:lnTo>
                    <a:lnTo>
                      <a:pt x="3781939" y="3442052"/>
                    </a:lnTo>
                    <a:lnTo>
                      <a:pt x="3781939" y="3440636"/>
                    </a:lnTo>
                    <a:lnTo>
                      <a:pt x="3770610" y="3682804"/>
                    </a:lnTo>
                    <a:lnTo>
                      <a:pt x="3647401" y="3614827"/>
                    </a:lnTo>
                    <a:lnTo>
                      <a:pt x="3647401" y="3614827"/>
                    </a:lnTo>
                    <a:lnTo>
                      <a:pt x="3575175" y="3888152"/>
                    </a:lnTo>
                    <a:lnTo>
                      <a:pt x="3389654" y="3752198"/>
                    </a:lnTo>
                    <a:lnTo>
                      <a:pt x="3375492" y="3478873"/>
                    </a:lnTo>
                    <a:lnTo>
                      <a:pt x="3375492" y="3478873"/>
                    </a:lnTo>
                    <a:lnTo>
                      <a:pt x="3318844" y="3502948"/>
                    </a:lnTo>
                    <a:lnTo>
                      <a:pt x="3317428" y="3502948"/>
                    </a:lnTo>
                    <a:lnTo>
                      <a:pt x="3252283" y="3366994"/>
                    </a:lnTo>
                    <a:lnTo>
                      <a:pt x="3280607" y="3236704"/>
                    </a:lnTo>
                    <a:lnTo>
                      <a:pt x="3432140" y="3310346"/>
                    </a:lnTo>
                    <a:lnTo>
                      <a:pt x="3432140" y="3310346"/>
                    </a:lnTo>
                    <a:lnTo>
                      <a:pt x="3558181" y="3209797"/>
                    </a:lnTo>
                    <a:lnTo>
                      <a:pt x="3558181" y="3209797"/>
                    </a:lnTo>
                    <a:lnTo>
                      <a:pt x="3483123" y="3167311"/>
                    </a:lnTo>
                    <a:lnTo>
                      <a:pt x="3517111" y="3136155"/>
                    </a:lnTo>
                    <a:lnTo>
                      <a:pt x="3432140" y="3138987"/>
                    </a:lnTo>
                    <a:lnTo>
                      <a:pt x="3372659" y="3106415"/>
                    </a:lnTo>
                    <a:lnTo>
                      <a:pt x="3342920" y="2954882"/>
                    </a:lnTo>
                    <a:lnTo>
                      <a:pt x="3450550" y="3005865"/>
                    </a:lnTo>
                    <a:lnTo>
                      <a:pt x="3450550" y="3005865"/>
                    </a:lnTo>
                    <a:lnTo>
                      <a:pt x="3434972" y="2888321"/>
                    </a:lnTo>
                    <a:lnTo>
                      <a:pt x="3696968" y="2756616"/>
                    </a:lnTo>
                    <a:lnTo>
                      <a:pt x="3696968" y="2756616"/>
                    </a:lnTo>
                    <a:lnTo>
                      <a:pt x="3621910" y="2718378"/>
                    </a:lnTo>
                    <a:lnTo>
                      <a:pt x="3779106" y="2347336"/>
                    </a:lnTo>
                    <a:lnTo>
                      <a:pt x="3779106" y="2347336"/>
                    </a:lnTo>
                    <a:lnTo>
                      <a:pt x="3745118" y="2072595"/>
                    </a:lnTo>
                    <a:lnTo>
                      <a:pt x="3823009" y="2102335"/>
                    </a:lnTo>
                    <a:lnTo>
                      <a:pt x="3823009" y="2102335"/>
                    </a:lnTo>
                    <a:lnTo>
                      <a:pt x="3865495" y="1969213"/>
                    </a:lnTo>
                    <a:lnTo>
                      <a:pt x="4045350" y="2074011"/>
                    </a:lnTo>
                    <a:lnTo>
                      <a:pt x="4046767" y="2074011"/>
                    </a:lnTo>
                    <a:lnTo>
                      <a:pt x="3889569" y="1891323"/>
                    </a:lnTo>
                    <a:lnTo>
                      <a:pt x="3933472" y="1752536"/>
                    </a:lnTo>
                    <a:lnTo>
                      <a:pt x="4086420" y="1710050"/>
                    </a:lnTo>
                    <a:lnTo>
                      <a:pt x="4235120" y="1786525"/>
                    </a:lnTo>
                    <a:lnTo>
                      <a:pt x="4195467" y="1974878"/>
                    </a:lnTo>
                    <a:lnTo>
                      <a:pt x="4195467" y="1974878"/>
                    </a:lnTo>
                    <a:lnTo>
                      <a:pt x="4390901" y="1862999"/>
                    </a:lnTo>
                    <a:lnTo>
                      <a:pt x="4390901" y="1862999"/>
                    </a:lnTo>
                    <a:lnTo>
                      <a:pt x="4243617" y="1786525"/>
                    </a:lnTo>
                    <a:lnTo>
                      <a:pt x="4270525" y="1661900"/>
                    </a:lnTo>
                    <a:lnTo>
                      <a:pt x="4407896" y="1625079"/>
                    </a:lnTo>
                    <a:lnTo>
                      <a:pt x="4407896" y="1625079"/>
                    </a:lnTo>
                    <a:lnTo>
                      <a:pt x="4274774" y="1354587"/>
                    </a:lnTo>
                    <a:lnTo>
                      <a:pt x="4480121" y="1273864"/>
                    </a:lnTo>
                    <a:lnTo>
                      <a:pt x="4480121" y="1273864"/>
                    </a:lnTo>
                    <a:lnTo>
                      <a:pt x="4478705" y="1261118"/>
                    </a:lnTo>
                    <a:lnTo>
                      <a:pt x="4777522" y="1191725"/>
                    </a:lnTo>
                    <a:lnTo>
                      <a:pt x="4984286" y="970799"/>
                    </a:lnTo>
                    <a:lnTo>
                      <a:pt x="5267524" y="1129412"/>
                    </a:lnTo>
                    <a:lnTo>
                      <a:pt x="5149980" y="1232794"/>
                    </a:lnTo>
                    <a:lnTo>
                      <a:pt x="5040934" y="1307852"/>
                    </a:lnTo>
                    <a:lnTo>
                      <a:pt x="5040934" y="1307852"/>
                    </a:lnTo>
                    <a:lnTo>
                      <a:pt x="5113159" y="1416899"/>
                    </a:lnTo>
                    <a:lnTo>
                      <a:pt x="5021107" y="1585426"/>
                    </a:lnTo>
                    <a:lnTo>
                      <a:pt x="4934719" y="1693056"/>
                    </a:lnTo>
                    <a:lnTo>
                      <a:pt x="4844083" y="1821930"/>
                    </a:lnTo>
                    <a:lnTo>
                      <a:pt x="4784602" y="1879993"/>
                    </a:lnTo>
                    <a:lnTo>
                      <a:pt x="4784602" y="1879993"/>
                    </a:lnTo>
                    <a:lnTo>
                      <a:pt x="4786019" y="1881410"/>
                    </a:lnTo>
                    <a:lnTo>
                      <a:pt x="4786019" y="1881410"/>
                    </a:lnTo>
                    <a:lnTo>
                      <a:pt x="4845499" y="1823346"/>
                    </a:lnTo>
                    <a:lnTo>
                      <a:pt x="4937551" y="1693056"/>
                    </a:lnTo>
                    <a:lnTo>
                      <a:pt x="5023939" y="1585426"/>
                    </a:lnTo>
                    <a:lnTo>
                      <a:pt x="5115992" y="1416899"/>
                    </a:lnTo>
                    <a:lnTo>
                      <a:pt x="5115992" y="1416899"/>
                    </a:lnTo>
                    <a:lnTo>
                      <a:pt x="5045182" y="1309268"/>
                    </a:lnTo>
                    <a:lnTo>
                      <a:pt x="5152812" y="1235626"/>
                    </a:lnTo>
                    <a:lnTo>
                      <a:pt x="5271773" y="1130828"/>
                    </a:lnTo>
                    <a:lnTo>
                      <a:pt x="5271773" y="1130828"/>
                    </a:lnTo>
                    <a:lnTo>
                      <a:pt x="4984286" y="969383"/>
                    </a:lnTo>
                    <a:lnTo>
                      <a:pt x="4984286" y="969383"/>
                    </a:lnTo>
                    <a:lnTo>
                      <a:pt x="4776106" y="1188892"/>
                    </a:lnTo>
                    <a:lnTo>
                      <a:pt x="4477289" y="1258286"/>
                    </a:lnTo>
                    <a:lnTo>
                      <a:pt x="4458878" y="1115250"/>
                    </a:lnTo>
                    <a:lnTo>
                      <a:pt x="4542434" y="980712"/>
                    </a:lnTo>
                    <a:lnTo>
                      <a:pt x="4618908" y="956637"/>
                    </a:lnTo>
                    <a:lnTo>
                      <a:pt x="4771857" y="1108169"/>
                    </a:lnTo>
                    <a:lnTo>
                      <a:pt x="4771857" y="1108169"/>
                    </a:lnTo>
                    <a:lnTo>
                      <a:pt x="5084835" y="892908"/>
                    </a:lnTo>
                    <a:lnTo>
                      <a:pt x="5264692" y="993458"/>
                    </a:lnTo>
                    <a:lnTo>
                      <a:pt x="5264692" y="993458"/>
                    </a:lnTo>
                    <a:lnTo>
                      <a:pt x="5271773" y="982128"/>
                    </a:lnTo>
                    <a:lnTo>
                      <a:pt x="5355327" y="1030279"/>
                    </a:lnTo>
                    <a:lnTo>
                      <a:pt x="5277437" y="1147823"/>
                    </a:lnTo>
                    <a:lnTo>
                      <a:pt x="5277437" y="1149239"/>
                    </a:lnTo>
                    <a:lnTo>
                      <a:pt x="5404894" y="1057186"/>
                    </a:lnTo>
                    <a:lnTo>
                      <a:pt x="5404894" y="1057186"/>
                    </a:lnTo>
                    <a:lnTo>
                      <a:pt x="5358160" y="1030279"/>
                    </a:lnTo>
                    <a:lnTo>
                      <a:pt x="5411975" y="949556"/>
                    </a:lnTo>
                    <a:lnTo>
                      <a:pt x="5489866" y="1043025"/>
                    </a:lnTo>
                    <a:lnTo>
                      <a:pt x="5489866" y="1043025"/>
                    </a:lnTo>
                    <a:lnTo>
                      <a:pt x="5706544" y="803688"/>
                    </a:lnTo>
                    <a:lnTo>
                      <a:pt x="5804260" y="929729"/>
                    </a:lnTo>
                    <a:lnTo>
                      <a:pt x="5804260" y="929729"/>
                    </a:lnTo>
                    <a:lnTo>
                      <a:pt x="5805677" y="928313"/>
                    </a:lnTo>
                    <a:lnTo>
                      <a:pt x="5805677" y="928313"/>
                    </a:lnTo>
                    <a:lnTo>
                      <a:pt x="5707959" y="799440"/>
                    </a:lnTo>
                    <a:close/>
                    <a:moveTo>
                      <a:pt x="3376909" y="3106415"/>
                    </a:moveTo>
                    <a:lnTo>
                      <a:pt x="3432140" y="3137571"/>
                    </a:lnTo>
                    <a:lnTo>
                      <a:pt x="3383990" y="3138987"/>
                    </a:lnTo>
                    <a:lnTo>
                      <a:pt x="3376909" y="3106415"/>
                    </a:lnTo>
                    <a:close/>
                    <a:moveTo>
                      <a:pt x="3402400" y="3239537"/>
                    </a:moveTo>
                    <a:lnTo>
                      <a:pt x="3382573" y="3141819"/>
                    </a:lnTo>
                    <a:lnTo>
                      <a:pt x="3434972" y="3140403"/>
                    </a:lnTo>
                    <a:lnTo>
                      <a:pt x="3483123" y="3167311"/>
                    </a:lnTo>
                    <a:lnTo>
                      <a:pt x="3402400" y="3239537"/>
                    </a:lnTo>
                    <a:close/>
                    <a:moveTo>
                      <a:pt x="3439221" y="3138987"/>
                    </a:moveTo>
                    <a:lnTo>
                      <a:pt x="3514279" y="3136155"/>
                    </a:lnTo>
                    <a:lnTo>
                      <a:pt x="3483123" y="3164478"/>
                    </a:lnTo>
                    <a:lnTo>
                      <a:pt x="3439221" y="3138987"/>
                    </a:lnTo>
                    <a:close/>
                    <a:moveTo>
                      <a:pt x="2505951" y="3059680"/>
                    </a:moveTo>
                    <a:lnTo>
                      <a:pt x="2614997" y="3004449"/>
                    </a:lnTo>
                    <a:lnTo>
                      <a:pt x="2579592" y="3117744"/>
                    </a:lnTo>
                    <a:lnTo>
                      <a:pt x="2505951" y="3059680"/>
                    </a:lnTo>
                    <a:close/>
                    <a:moveTo>
                      <a:pt x="2539939" y="3255115"/>
                    </a:moveTo>
                    <a:lnTo>
                      <a:pt x="2581009" y="3119160"/>
                    </a:lnTo>
                    <a:lnTo>
                      <a:pt x="2654651" y="3175808"/>
                    </a:lnTo>
                    <a:lnTo>
                      <a:pt x="2539939" y="3255115"/>
                    </a:lnTo>
                    <a:close/>
                    <a:moveTo>
                      <a:pt x="1928145" y="2469129"/>
                    </a:moveTo>
                    <a:lnTo>
                      <a:pt x="1712883" y="2498869"/>
                    </a:lnTo>
                    <a:lnTo>
                      <a:pt x="1496206" y="2110833"/>
                    </a:lnTo>
                    <a:lnTo>
                      <a:pt x="1496206" y="2110833"/>
                    </a:lnTo>
                    <a:lnTo>
                      <a:pt x="1493374" y="2110833"/>
                    </a:lnTo>
                    <a:lnTo>
                      <a:pt x="1487709" y="2098087"/>
                    </a:lnTo>
                    <a:lnTo>
                      <a:pt x="1928145" y="2469129"/>
                    </a:lnTo>
                    <a:close/>
                    <a:moveTo>
                      <a:pt x="1928145" y="2865662"/>
                    </a:moveTo>
                    <a:lnTo>
                      <a:pt x="1824762" y="2869911"/>
                    </a:lnTo>
                    <a:lnTo>
                      <a:pt x="1814849" y="2845835"/>
                    </a:lnTo>
                    <a:lnTo>
                      <a:pt x="1928145" y="2865662"/>
                    </a:lnTo>
                    <a:close/>
                    <a:moveTo>
                      <a:pt x="1867248" y="2966212"/>
                    </a:moveTo>
                    <a:lnTo>
                      <a:pt x="1826179" y="2871327"/>
                    </a:lnTo>
                    <a:lnTo>
                      <a:pt x="1939474" y="2867078"/>
                    </a:lnTo>
                    <a:lnTo>
                      <a:pt x="1939474" y="2867078"/>
                    </a:lnTo>
                    <a:lnTo>
                      <a:pt x="1939474" y="2865662"/>
                    </a:lnTo>
                    <a:lnTo>
                      <a:pt x="1813433" y="2843003"/>
                    </a:lnTo>
                    <a:lnTo>
                      <a:pt x="1766699" y="2735373"/>
                    </a:lnTo>
                    <a:lnTo>
                      <a:pt x="1969214" y="2801934"/>
                    </a:lnTo>
                    <a:lnTo>
                      <a:pt x="2006035" y="2950634"/>
                    </a:lnTo>
                    <a:lnTo>
                      <a:pt x="1867248" y="2966212"/>
                    </a:lnTo>
                    <a:close/>
                    <a:moveTo>
                      <a:pt x="1745456" y="2833090"/>
                    </a:moveTo>
                    <a:lnTo>
                      <a:pt x="1812017" y="2844419"/>
                    </a:lnTo>
                    <a:lnTo>
                      <a:pt x="1823346" y="2868495"/>
                    </a:lnTo>
                    <a:lnTo>
                      <a:pt x="1775196" y="2869911"/>
                    </a:lnTo>
                    <a:lnTo>
                      <a:pt x="1745456" y="2833090"/>
                    </a:lnTo>
                    <a:close/>
                    <a:moveTo>
                      <a:pt x="1708635" y="2827425"/>
                    </a:moveTo>
                    <a:lnTo>
                      <a:pt x="1704386" y="2874159"/>
                    </a:lnTo>
                    <a:lnTo>
                      <a:pt x="1649155" y="2875576"/>
                    </a:lnTo>
                    <a:lnTo>
                      <a:pt x="1554270" y="2799101"/>
                    </a:lnTo>
                    <a:lnTo>
                      <a:pt x="1708635" y="2827425"/>
                    </a:lnTo>
                    <a:close/>
                    <a:moveTo>
                      <a:pt x="1405570" y="2392654"/>
                    </a:moveTo>
                    <a:lnTo>
                      <a:pt x="1439559" y="2437973"/>
                    </a:lnTo>
                    <a:lnTo>
                      <a:pt x="1303604" y="2547019"/>
                    </a:lnTo>
                    <a:lnTo>
                      <a:pt x="1365916" y="2402568"/>
                    </a:lnTo>
                    <a:lnTo>
                      <a:pt x="1405570" y="2392654"/>
                    </a:lnTo>
                    <a:close/>
                    <a:moveTo>
                      <a:pt x="1299356" y="2249619"/>
                    </a:moveTo>
                    <a:lnTo>
                      <a:pt x="1222881" y="2149070"/>
                    </a:lnTo>
                    <a:lnTo>
                      <a:pt x="1228546" y="2144821"/>
                    </a:lnTo>
                    <a:lnTo>
                      <a:pt x="1351754" y="2130659"/>
                    </a:lnTo>
                    <a:lnTo>
                      <a:pt x="1387159" y="2272278"/>
                    </a:lnTo>
                    <a:lnTo>
                      <a:pt x="1387159" y="2272278"/>
                    </a:lnTo>
                    <a:lnTo>
                      <a:pt x="1480628" y="2137740"/>
                    </a:lnTo>
                    <a:lnTo>
                      <a:pt x="1389992" y="2345920"/>
                    </a:lnTo>
                    <a:lnTo>
                      <a:pt x="1299356" y="2249619"/>
                    </a:lnTo>
                    <a:close/>
                    <a:moveTo>
                      <a:pt x="1296523" y="2565430"/>
                    </a:moveTo>
                    <a:lnTo>
                      <a:pt x="1303604" y="2551268"/>
                    </a:lnTo>
                    <a:lnTo>
                      <a:pt x="1442391" y="2439389"/>
                    </a:lnTo>
                    <a:lnTo>
                      <a:pt x="1567016" y="2602251"/>
                    </a:lnTo>
                    <a:lnTo>
                      <a:pt x="1542940" y="2636239"/>
                    </a:lnTo>
                    <a:lnTo>
                      <a:pt x="1296523" y="2565430"/>
                    </a:lnTo>
                    <a:close/>
                    <a:moveTo>
                      <a:pt x="1609501" y="2658898"/>
                    </a:moveTo>
                    <a:lnTo>
                      <a:pt x="1632161" y="2688638"/>
                    </a:lnTo>
                    <a:lnTo>
                      <a:pt x="1530195" y="2654650"/>
                    </a:lnTo>
                    <a:lnTo>
                      <a:pt x="1541524" y="2639072"/>
                    </a:lnTo>
                    <a:lnTo>
                      <a:pt x="1609501" y="2658898"/>
                    </a:lnTo>
                    <a:close/>
                    <a:moveTo>
                      <a:pt x="1425397" y="2386990"/>
                    </a:moveTo>
                    <a:lnTo>
                      <a:pt x="1459385" y="2422394"/>
                    </a:lnTo>
                    <a:lnTo>
                      <a:pt x="1442391" y="2436556"/>
                    </a:lnTo>
                    <a:lnTo>
                      <a:pt x="1408402" y="2392654"/>
                    </a:lnTo>
                    <a:lnTo>
                      <a:pt x="1425397" y="2386990"/>
                    </a:lnTo>
                    <a:close/>
                    <a:moveTo>
                      <a:pt x="1428229" y="2386990"/>
                    </a:moveTo>
                    <a:lnTo>
                      <a:pt x="1542940" y="2354417"/>
                    </a:lnTo>
                    <a:lnTo>
                      <a:pt x="1460801" y="2420978"/>
                    </a:lnTo>
                    <a:lnTo>
                      <a:pt x="1428229" y="2386990"/>
                    </a:lnTo>
                    <a:close/>
                    <a:moveTo>
                      <a:pt x="1460801" y="2423811"/>
                    </a:moveTo>
                    <a:lnTo>
                      <a:pt x="1593923" y="2564014"/>
                    </a:lnTo>
                    <a:lnTo>
                      <a:pt x="1568432" y="2600835"/>
                    </a:lnTo>
                    <a:lnTo>
                      <a:pt x="1443807" y="2437973"/>
                    </a:lnTo>
                    <a:lnTo>
                      <a:pt x="1460801" y="2423811"/>
                    </a:lnTo>
                    <a:close/>
                    <a:moveTo>
                      <a:pt x="1544357" y="2637655"/>
                    </a:moveTo>
                    <a:lnTo>
                      <a:pt x="1568432" y="2603667"/>
                    </a:lnTo>
                    <a:lnTo>
                      <a:pt x="1608085" y="2656066"/>
                    </a:lnTo>
                    <a:lnTo>
                      <a:pt x="1544357" y="2637655"/>
                    </a:lnTo>
                    <a:close/>
                    <a:moveTo>
                      <a:pt x="1636409" y="2690054"/>
                    </a:moveTo>
                    <a:lnTo>
                      <a:pt x="1613750" y="2660315"/>
                    </a:lnTo>
                    <a:lnTo>
                      <a:pt x="1721381" y="2691471"/>
                    </a:lnTo>
                    <a:lnTo>
                      <a:pt x="1718548" y="2718378"/>
                    </a:lnTo>
                    <a:lnTo>
                      <a:pt x="1636409" y="2690054"/>
                    </a:lnTo>
                    <a:close/>
                    <a:moveTo>
                      <a:pt x="1718548" y="2719795"/>
                    </a:moveTo>
                    <a:lnTo>
                      <a:pt x="1712883" y="2789188"/>
                    </a:lnTo>
                    <a:lnTo>
                      <a:pt x="1639242" y="2692887"/>
                    </a:lnTo>
                    <a:lnTo>
                      <a:pt x="1718548" y="2719795"/>
                    </a:lnTo>
                    <a:close/>
                    <a:moveTo>
                      <a:pt x="1423980" y="2385573"/>
                    </a:moveTo>
                    <a:lnTo>
                      <a:pt x="1406986" y="2389822"/>
                    </a:lnTo>
                    <a:lnTo>
                      <a:pt x="1385743" y="2361498"/>
                    </a:lnTo>
                    <a:lnTo>
                      <a:pt x="1391408" y="2348753"/>
                    </a:lnTo>
                    <a:lnTo>
                      <a:pt x="1423980" y="2385573"/>
                    </a:lnTo>
                    <a:close/>
                    <a:moveTo>
                      <a:pt x="1288026" y="2564014"/>
                    </a:moveTo>
                    <a:lnTo>
                      <a:pt x="1299356" y="2554100"/>
                    </a:lnTo>
                    <a:lnTo>
                      <a:pt x="1293691" y="2565430"/>
                    </a:lnTo>
                    <a:lnTo>
                      <a:pt x="1288026" y="2564014"/>
                    </a:lnTo>
                    <a:close/>
                    <a:moveTo>
                      <a:pt x="1540108" y="2639072"/>
                    </a:moveTo>
                    <a:lnTo>
                      <a:pt x="1528778" y="2654650"/>
                    </a:lnTo>
                    <a:lnTo>
                      <a:pt x="1292275" y="2576759"/>
                    </a:lnTo>
                    <a:lnTo>
                      <a:pt x="1296523" y="2568262"/>
                    </a:lnTo>
                    <a:lnTo>
                      <a:pt x="1540108" y="2639072"/>
                    </a:lnTo>
                    <a:close/>
                    <a:moveTo>
                      <a:pt x="1711467" y="2824593"/>
                    </a:moveTo>
                    <a:lnTo>
                      <a:pt x="1714300" y="2794853"/>
                    </a:lnTo>
                    <a:lnTo>
                      <a:pt x="1741207" y="2830257"/>
                    </a:lnTo>
                    <a:lnTo>
                      <a:pt x="1711467" y="2824593"/>
                    </a:lnTo>
                    <a:close/>
                    <a:moveTo>
                      <a:pt x="1707219" y="2874159"/>
                    </a:moveTo>
                    <a:lnTo>
                      <a:pt x="1711467" y="2827425"/>
                    </a:lnTo>
                    <a:lnTo>
                      <a:pt x="1742623" y="2833090"/>
                    </a:lnTo>
                    <a:lnTo>
                      <a:pt x="1772363" y="2871327"/>
                    </a:lnTo>
                    <a:lnTo>
                      <a:pt x="1707219" y="2874159"/>
                    </a:lnTo>
                    <a:close/>
                    <a:moveTo>
                      <a:pt x="1388576" y="2347336"/>
                    </a:moveTo>
                    <a:lnTo>
                      <a:pt x="1382911" y="2360082"/>
                    </a:lnTo>
                    <a:lnTo>
                      <a:pt x="1310685" y="2265197"/>
                    </a:lnTo>
                    <a:lnTo>
                      <a:pt x="1388576" y="2347336"/>
                    </a:lnTo>
                    <a:close/>
                    <a:moveTo>
                      <a:pt x="1404154" y="2391238"/>
                    </a:moveTo>
                    <a:lnTo>
                      <a:pt x="1368749" y="2401152"/>
                    </a:lnTo>
                    <a:lnTo>
                      <a:pt x="1384327" y="2364331"/>
                    </a:lnTo>
                    <a:lnTo>
                      <a:pt x="1404154" y="2391238"/>
                    </a:lnTo>
                    <a:close/>
                    <a:moveTo>
                      <a:pt x="1302188" y="2549852"/>
                    </a:moveTo>
                    <a:lnTo>
                      <a:pt x="1285194" y="2564014"/>
                    </a:lnTo>
                    <a:lnTo>
                      <a:pt x="1285194" y="2564014"/>
                    </a:lnTo>
                    <a:lnTo>
                      <a:pt x="1295107" y="2566846"/>
                    </a:lnTo>
                    <a:lnTo>
                      <a:pt x="1290858" y="2576759"/>
                    </a:lnTo>
                    <a:lnTo>
                      <a:pt x="1290858" y="2576759"/>
                    </a:lnTo>
                    <a:lnTo>
                      <a:pt x="1528778" y="2656066"/>
                    </a:lnTo>
                    <a:lnTo>
                      <a:pt x="1473547" y="2732540"/>
                    </a:lnTo>
                    <a:lnTo>
                      <a:pt x="1272448" y="2569678"/>
                    </a:lnTo>
                    <a:lnTo>
                      <a:pt x="1334760" y="2412481"/>
                    </a:lnTo>
                    <a:lnTo>
                      <a:pt x="1365916" y="2403984"/>
                    </a:lnTo>
                    <a:lnTo>
                      <a:pt x="1302188" y="2549852"/>
                    </a:lnTo>
                    <a:close/>
                    <a:moveTo>
                      <a:pt x="1530195" y="2657482"/>
                    </a:moveTo>
                    <a:lnTo>
                      <a:pt x="1634993" y="2692887"/>
                    </a:lnTo>
                    <a:lnTo>
                      <a:pt x="1711467" y="2793436"/>
                    </a:lnTo>
                    <a:lnTo>
                      <a:pt x="1708635" y="2826009"/>
                    </a:lnTo>
                    <a:lnTo>
                      <a:pt x="1551438" y="2797685"/>
                    </a:lnTo>
                    <a:lnTo>
                      <a:pt x="1474963" y="2735373"/>
                    </a:lnTo>
                    <a:lnTo>
                      <a:pt x="1530195" y="2657482"/>
                    </a:lnTo>
                    <a:close/>
                    <a:moveTo>
                      <a:pt x="1707219" y="2875576"/>
                    </a:moveTo>
                    <a:lnTo>
                      <a:pt x="1773780" y="2872743"/>
                    </a:lnTo>
                    <a:lnTo>
                      <a:pt x="1846005" y="2967628"/>
                    </a:lnTo>
                    <a:lnTo>
                      <a:pt x="1697305" y="2984622"/>
                    </a:lnTo>
                    <a:lnTo>
                      <a:pt x="1707219" y="2875576"/>
                    </a:lnTo>
                    <a:close/>
                    <a:moveTo>
                      <a:pt x="1744040" y="2831674"/>
                    </a:moveTo>
                    <a:lnTo>
                      <a:pt x="1714300" y="2792020"/>
                    </a:lnTo>
                    <a:lnTo>
                      <a:pt x="1719964" y="2719795"/>
                    </a:lnTo>
                    <a:lnTo>
                      <a:pt x="1763866" y="2733956"/>
                    </a:lnTo>
                    <a:lnTo>
                      <a:pt x="1810600" y="2843003"/>
                    </a:lnTo>
                    <a:lnTo>
                      <a:pt x="1744040" y="2831674"/>
                    </a:lnTo>
                    <a:close/>
                    <a:moveTo>
                      <a:pt x="1719964" y="2718378"/>
                    </a:moveTo>
                    <a:lnTo>
                      <a:pt x="1722797" y="2690054"/>
                    </a:lnTo>
                    <a:lnTo>
                      <a:pt x="1722797" y="2690054"/>
                    </a:lnTo>
                    <a:lnTo>
                      <a:pt x="1610918" y="2657482"/>
                    </a:lnTo>
                    <a:lnTo>
                      <a:pt x="1568432" y="2602251"/>
                    </a:lnTo>
                    <a:lnTo>
                      <a:pt x="1595340" y="2564014"/>
                    </a:lnTo>
                    <a:lnTo>
                      <a:pt x="1595340" y="2564014"/>
                    </a:lnTo>
                    <a:lnTo>
                      <a:pt x="1462218" y="2422394"/>
                    </a:lnTo>
                    <a:lnTo>
                      <a:pt x="1551438" y="2350169"/>
                    </a:lnTo>
                    <a:lnTo>
                      <a:pt x="1552854" y="2350169"/>
                    </a:lnTo>
                    <a:lnTo>
                      <a:pt x="1426813" y="2385573"/>
                    </a:lnTo>
                    <a:lnTo>
                      <a:pt x="1391408" y="2348753"/>
                    </a:lnTo>
                    <a:lnTo>
                      <a:pt x="1486293" y="2129243"/>
                    </a:lnTo>
                    <a:lnTo>
                      <a:pt x="1486293" y="2129243"/>
                    </a:lnTo>
                    <a:lnTo>
                      <a:pt x="1484876" y="2127827"/>
                    </a:lnTo>
                    <a:lnTo>
                      <a:pt x="1387159" y="2266613"/>
                    </a:lnTo>
                    <a:lnTo>
                      <a:pt x="1353171" y="2129243"/>
                    </a:lnTo>
                    <a:lnTo>
                      <a:pt x="1491957" y="2112249"/>
                    </a:lnTo>
                    <a:lnTo>
                      <a:pt x="1762450" y="2731124"/>
                    </a:lnTo>
                    <a:lnTo>
                      <a:pt x="1719964" y="2718378"/>
                    </a:lnTo>
                    <a:close/>
                    <a:moveTo>
                      <a:pt x="1547189" y="2796269"/>
                    </a:moveTo>
                    <a:lnTo>
                      <a:pt x="1443807" y="2777858"/>
                    </a:lnTo>
                    <a:lnTo>
                      <a:pt x="1473547" y="2736789"/>
                    </a:lnTo>
                    <a:lnTo>
                      <a:pt x="1547189" y="2796269"/>
                    </a:lnTo>
                    <a:close/>
                    <a:moveTo>
                      <a:pt x="1823346" y="2871327"/>
                    </a:moveTo>
                    <a:lnTo>
                      <a:pt x="1864416" y="2966212"/>
                    </a:lnTo>
                    <a:lnTo>
                      <a:pt x="1848838" y="2967628"/>
                    </a:lnTo>
                    <a:lnTo>
                      <a:pt x="1776612" y="2872743"/>
                    </a:lnTo>
                    <a:lnTo>
                      <a:pt x="1823346" y="2871327"/>
                    </a:lnTo>
                    <a:close/>
                    <a:moveTo>
                      <a:pt x="1865832" y="2969044"/>
                    </a:moveTo>
                    <a:lnTo>
                      <a:pt x="1887075" y="3018611"/>
                    </a:lnTo>
                    <a:lnTo>
                      <a:pt x="1850254" y="2970460"/>
                    </a:lnTo>
                    <a:lnTo>
                      <a:pt x="1865832" y="2969044"/>
                    </a:lnTo>
                    <a:close/>
                    <a:moveTo>
                      <a:pt x="2055602" y="2828841"/>
                    </a:moveTo>
                    <a:lnTo>
                      <a:pt x="1970630" y="2800517"/>
                    </a:lnTo>
                    <a:lnTo>
                      <a:pt x="1950804" y="2721211"/>
                    </a:lnTo>
                    <a:lnTo>
                      <a:pt x="2055602" y="2828841"/>
                    </a:lnTo>
                    <a:close/>
                    <a:moveTo>
                      <a:pt x="1229962" y="2141989"/>
                    </a:moveTo>
                    <a:lnTo>
                      <a:pt x="1331928" y="2055601"/>
                    </a:lnTo>
                    <a:lnTo>
                      <a:pt x="1350338" y="2127827"/>
                    </a:lnTo>
                    <a:lnTo>
                      <a:pt x="1229962" y="2141989"/>
                    </a:lnTo>
                    <a:close/>
                    <a:moveTo>
                      <a:pt x="1220049" y="2150486"/>
                    </a:moveTo>
                    <a:lnTo>
                      <a:pt x="1285194" y="2235457"/>
                    </a:lnTo>
                    <a:lnTo>
                      <a:pt x="1211552" y="2157567"/>
                    </a:lnTo>
                    <a:lnTo>
                      <a:pt x="1220049" y="2150486"/>
                    </a:lnTo>
                    <a:close/>
                    <a:moveTo>
                      <a:pt x="1215800" y="2143405"/>
                    </a:moveTo>
                    <a:lnTo>
                      <a:pt x="1198806" y="2144821"/>
                    </a:lnTo>
                    <a:lnTo>
                      <a:pt x="1198806" y="2144821"/>
                    </a:lnTo>
                    <a:lnTo>
                      <a:pt x="1210135" y="2156151"/>
                    </a:lnTo>
                    <a:lnTo>
                      <a:pt x="1127996" y="2226960"/>
                    </a:lnTo>
                    <a:lnTo>
                      <a:pt x="1085511" y="1972046"/>
                    </a:lnTo>
                    <a:lnTo>
                      <a:pt x="1215800" y="2143405"/>
                    </a:lnTo>
                    <a:close/>
                    <a:moveTo>
                      <a:pt x="1217216" y="2146237"/>
                    </a:moveTo>
                    <a:lnTo>
                      <a:pt x="1220049" y="2149070"/>
                    </a:lnTo>
                    <a:lnTo>
                      <a:pt x="1211552" y="2156151"/>
                    </a:lnTo>
                    <a:lnTo>
                      <a:pt x="1203054" y="2147654"/>
                    </a:lnTo>
                    <a:lnTo>
                      <a:pt x="1217216" y="2146237"/>
                    </a:lnTo>
                    <a:close/>
                    <a:moveTo>
                      <a:pt x="1684559" y="3147484"/>
                    </a:moveTo>
                    <a:lnTo>
                      <a:pt x="1695889" y="3017195"/>
                    </a:lnTo>
                    <a:lnTo>
                      <a:pt x="1885659" y="3029940"/>
                    </a:lnTo>
                    <a:lnTo>
                      <a:pt x="1684559" y="3147484"/>
                    </a:lnTo>
                    <a:close/>
                    <a:moveTo>
                      <a:pt x="1535859" y="3005865"/>
                    </a:moveTo>
                    <a:lnTo>
                      <a:pt x="1695889" y="2987455"/>
                    </a:lnTo>
                    <a:lnTo>
                      <a:pt x="1693057" y="3015778"/>
                    </a:lnTo>
                    <a:lnTo>
                      <a:pt x="1535859" y="3005865"/>
                    </a:lnTo>
                    <a:close/>
                    <a:moveTo>
                      <a:pt x="1072765" y="744208"/>
                    </a:moveTo>
                    <a:lnTo>
                      <a:pt x="1020366" y="713052"/>
                    </a:lnTo>
                    <a:lnTo>
                      <a:pt x="1111002" y="618167"/>
                    </a:lnTo>
                    <a:lnTo>
                      <a:pt x="1130829" y="738544"/>
                    </a:lnTo>
                    <a:lnTo>
                      <a:pt x="1072765" y="744208"/>
                    </a:lnTo>
                    <a:close/>
                    <a:moveTo>
                      <a:pt x="942475" y="1064267"/>
                    </a:moveTo>
                    <a:lnTo>
                      <a:pt x="1041609" y="909903"/>
                    </a:lnTo>
                    <a:lnTo>
                      <a:pt x="1088343" y="935394"/>
                    </a:lnTo>
                    <a:lnTo>
                      <a:pt x="1102505" y="960886"/>
                    </a:lnTo>
                    <a:lnTo>
                      <a:pt x="1041609" y="1136493"/>
                    </a:lnTo>
                    <a:lnTo>
                      <a:pt x="942475" y="1064267"/>
                    </a:lnTo>
                    <a:close/>
                    <a:moveTo>
                      <a:pt x="1043025" y="909903"/>
                    </a:moveTo>
                    <a:lnTo>
                      <a:pt x="1060019" y="884411"/>
                    </a:lnTo>
                    <a:lnTo>
                      <a:pt x="1088343" y="932562"/>
                    </a:lnTo>
                    <a:lnTo>
                      <a:pt x="1043025" y="909903"/>
                    </a:lnTo>
                    <a:close/>
                    <a:moveTo>
                      <a:pt x="1101089" y="816434"/>
                    </a:moveTo>
                    <a:lnTo>
                      <a:pt x="1060019" y="880163"/>
                    </a:lnTo>
                    <a:lnTo>
                      <a:pt x="1020366" y="809353"/>
                    </a:lnTo>
                    <a:lnTo>
                      <a:pt x="1101089" y="816434"/>
                    </a:lnTo>
                    <a:close/>
                    <a:moveTo>
                      <a:pt x="1017533" y="809353"/>
                    </a:moveTo>
                    <a:lnTo>
                      <a:pt x="1058603" y="881579"/>
                    </a:lnTo>
                    <a:lnTo>
                      <a:pt x="1041609" y="908486"/>
                    </a:lnTo>
                    <a:lnTo>
                      <a:pt x="1021782" y="897157"/>
                    </a:lnTo>
                    <a:lnTo>
                      <a:pt x="973632" y="805105"/>
                    </a:lnTo>
                    <a:lnTo>
                      <a:pt x="1017533" y="809353"/>
                    </a:lnTo>
                    <a:close/>
                    <a:moveTo>
                      <a:pt x="1072765" y="747041"/>
                    </a:moveTo>
                    <a:lnTo>
                      <a:pt x="1072765" y="747041"/>
                    </a:lnTo>
                    <a:lnTo>
                      <a:pt x="1130829" y="741376"/>
                    </a:lnTo>
                    <a:lnTo>
                      <a:pt x="1135077" y="765451"/>
                    </a:lnTo>
                    <a:lnTo>
                      <a:pt x="1102505" y="815018"/>
                    </a:lnTo>
                    <a:lnTo>
                      <a:pt x="1018949" y="807937"/>
                    </a:lnTo>
                    <a:lnTo>
                      <a:pt x="986377" y="749873"/>
                    </a:lnTo>
                    <a:lnTo>
                      <a:pt x="1020366" y="714468"/>
                    </a:lnTo>
                    <a:lnTo>
                      <a:pt x="1072765" y="747041"/>
                    </a:lnTo>
                    <a:close/>
                    <a:moveTo>
                      <a:pt x="1171898" y="783862"/>
                    </a:moveTo>
                    <a:lnTo>
                      <a:pt x="1171898" y="783862"/>
                    </a:lnTo>
                    <a:lnTo>
                      <a:pt x="1414067" y="839093"/>
                    </a:lnTo>
                    <a:lnTo>
                      <a:pt x="1105337" y="815018"/>
                    </a:lnTo>
                    <a:lnTo>
                      <a:pt x="1136494" y="765451"/>
                    </a:lnTo>
                    <a:lnTo>
                      <a:pt x="1136494" y="765451"/>
                    </a:lnTo>
                    <a:lnTo>
                      <a:pt x="1132245" y="739960"/>
                    </a:lnTo>
                    <a:lnTo>
                      <a:pt x="1340425" y="718717"/>
                    </a:lnTo>
                    <a:lnTo>
                      <a:pt x="1171898" y="783862"/>
                    </a:lnTo>
                    <a:close/>
                    <a:moveTo>
                      <a:pt x="1266783" y="1028863"/>
                    </a:moveTo>
                    <a:lnTo>
                      <a:pt x="1111002" y="945307"/>
                    </a:lnTo>
                    <a:lnTo>
                      <a:pt x="1149239" y="834845"/>
                    </a:lnTo>
                    <a:lnTo>
                      <a:pt x="1266783" y="1028863"/>
                    </a:lnTo>
                    <a:close/>
                    <a:moveTo>
                      <a:pt x="3048352" y="459554"/>
                    </a:moveTo>
                    <a:lnTo>
                      <a:pt x="2905316" y="534612"/>
                    </a:lnTo>
                    <a:lnTo>
                      <a:pt x="2974710" y="351923"/>
                    </a:lnTo>
                    <a:lnTo>
                      <a:pt x="3048352" y="459554"/>
                    </a:lnTo>
                    <a:close/>
                    <a:moveTo>
                      <a:pt x="5369489" y="840509"/>
                    </a:moveTo>
                    <a:lnTo>
                      <a:pt x="5470039" y="694642"/>
                    </a:lnTo>
                    <a:lnTo>
                      <a:pt x="5553594" y="822099"/>
                    </a:lnTo>
                    <a:lnTo>
                      <a:pt x="5369489" y="840509"/>
                    </a:lnTo>
                    <a:close/>
                    <a:moveTo>
                      <a:pt x="4267693" y="1661900"/>
                    </a:moveTo>
                    <a:lnTo>
                      <a:pt x="4240785" y="1785109"/>
                    </a:lnTo>
                    <a:lnTo>
                      <a:pt x="4094917" y="1708634"/>
                    </a:lnTo>
                    <a:lnTo>
                      <a:pt x="4267693" y="1661900"/>
                    </a:lnTo>
                    <a:close/>
                    <a:moveTo>
                      <a:pt x="4203964" y="1970630"/>
                    </a:moveTo>
                    <a:lnTo>
                      <a:pt x="4243617" y="1787941"/>
                    </a:lnTo>
                    <a:lnTo>
                      <a:pt x="4388069" y="1862999"/>
                    </a:lnTo>
                    <a:lnTo>
                      <a:pt x="4203964" y="1970630"/>
                    </a:lnTo>
                    <a:close/>
                    <a:moveTo>
                      <a:pt x="3374076" y="3104998"/>
                    </a:moveTo>
                    <a:lnTo>
                      <a:pt x="3381157" y="3138987"/>
                    </a:lnTo>
                    <a:lnTo>
                      <a:pt x="3276359" y="3143236"/>
                    </a:lnTo>
                    <a:lnTo>
                      <a:pt x="3219711" y="3020027"/>
                    </a:lnTo>
                    <a:lnTo>
                      <a:pt x="3374076" y="3104998"/>
                    </a:lnTo>
                    <a:close/>
                    <a:moveTo>
                      <a:pt x="2035775" y="2556933"/>
                    </a:moveTo>
                    <a:lnTo>
                      <a:pt x="2052769" y="2464880"/>
                    </a:lnTo>
                    <a:lnTo>
                      <a:pt x="2178810" y="2443637"/>
                    </a:lnTo>
                    <a:lnTo>
                      <a:pt x="2072596" y="2588089"/>
                    </a:lnTo>
                    <a:lnTo>
                      <a:pt x="2035775" y="2556933"/>
                    </a:lnTo>
                    <a:close/>
                    <a:moveTo>
                      <a:pt x="2049937" y="2464880"/>
                    </a:moveTo>
                    <a:lnTo>
                      <a:pt x="2032943" y="2555516"/>
                    </a:lnTo>
                    <a:lnTo>
                      <a:pt x="1946555" y="2483291"/>
                    </a:lnTo>
                    <a:lnTo>
                      <a:pt x="2049937" y="2464880"/>
                    </a:lnTo>
                    <a:close/>
                    <a:moveTo>
                      <a:pt x="2049937" y="2463464"/>
                    </a:moveTo>
                    <a:lnTo>
                      <a:pt x="1945139" y="2481874"/>
                    </a:lnTo>
                    <a:lnTo>
                      <a:pt x="1932393" y="2471961"/>
                    </a:lnTo>
                    <a:lnTo>
                      <a:pt x="2051353" y="2454967"/>
                    </a:lnTo>
                    <a:lnTo>
                      <a:pt x="2049937" y="2463464"/>
                    </a:lnTo>
                    <a:close/>
                    <a:moveTo>
                      <a:pt x="2032943" y="2556933"/>
                    </a:moveTo>
                    <a:lnTo>
                      <a:pt x="2023029" y="2612164"/>
                    </a:lnTo>
                    <a:lnTo>
                      <a:pt x="1793606" y="2508782"/>
                    </a:lnTo>
                    <a:lnTo>
                      <a:pt x="1945139" y="2483291"/>
                    </a:lnTo>
                    <a:lnTo>
                      <a:pt x="2032943" y="2556933"/>
                    </a:lnTo>
                    <a:close/>
                    <a:moveTo>
                      <a:pt x="2024445" y="2613580"/>
                    </a:moveTo>
                    <a:lnTo>
                      <a:pt x="2034359" y="2558349"/>
                    </a:lnTo>
                    <a:lnTo>
                      <a:pt x="2069764" y="2588089"/>
                    </a:lnTo>
                    <a:lnTo>
                      <a:pt x="2044272" y="2622077"/>
                    </a:lnTo>
                    <a:lnTo>
                      <a:pt x="2024445" y="2613580"/>
                    </a:lnTo>
                    <a:close/>
                    <a:moveTo>
                      <a:pt x="2044272" y="2624910"/>
                    </a:moveTo>
                    <a:lnTo>
                      <a:pt x="2015948" y="2663147"/>
                    </a:lnTo>
                    <a:lnTo>
                      <a:pt x="2024445" y="2616413"/>
                    </a:lnTo>
                    <a:lnTo>
                      <a:pt x="2044272" y="2624910"/>
                    </a:lnTo>
                    <a:close/>
                    <a:moveTo>
                      <a:pt x="2047105" y="2623494"/>
                    </a:moveTo>
                    <a:lnTo>
                      <a:pt x="2072596" y="2589505"/>
                    </a:lnTo>
                    <a:lnTo>
                      <a:pt x="2188724" y="2687222"/>
                    </a:lnTo>
                    <a:lnTo>
                      <a:pt x="2047105" y="2623494"/>
                    </a:lnTo>
                    <a:close/>
                    <a:moveTo>
                      <a:pt x="2052769" y="2462048"/>
                    </a:moveTo>
                    <a:lnTo>
                      <a:pt x="2054185" y="2453551"/>
                    </a:lnTo>
                    <a:lnTo>
                      <a:pt x="2183059" y="2435140"/>
                    </a:lnTo>
                    <a:lnTo>
                      <a:pt x="2178810" y="2440805"/>
                    </a:lnTo>
                    <a:lnTo>
                      <a:pt x="2052769" y="2462048"/>
                    </a:lnTo>
                    <a:close/>
                    <a:moveTo>
                      <a:pt x="1129413" y="1003371"/>
                    </a:moveTo>
                    <a:lnTo>
                      <a:pt x="1105337" y="962302"/>
                    </a:lnTo>
                    <a:lnTo>
                      <a:pt x="1109586" y="948140"/>
                    </a:lnTo>
                    <a:lnTo>
                      <a:pt x="1268199" y="1033111"/>
                    </a:lnTo>
                    <a:lnTo>
                      <a:pt x="1282361" y="1055770"/>
                    </a:lnTo>
                    <a:lnTo>
                      <a:pt x="1169066" y="1463633"/>
                    </a:lnTo>
                    <a:lnTo>
                      <a:pt x="1129413" y="1003371"/>
                    </a:lnTo>
                    <a:close/>
                    <a:moveTo>
                      <a:pt x="1169066" y="1474963"/>
                    </a:moveTo>
                    <a:lnTo>
                      <a:pt x="1173314" y="1521697"/>
                    </a:lnTo>
                    <a:lnTo>
                      <a:pt x="1157737" y="1514616"/>
                    </a:lnTo>
                    <a:lnTo>
                      <a:pt x="1169066" y="1474963"/>
                    </a:lnTo>
                    <a:close/>
                    <a:moveTo>
                      <a:pt x="1814849" y="1051522"/>
                    </a:moveTo>
                    <a:lnTo>
                      <a:pt x="2096671" y="911319"/>
                    </a:lnTo>
                    <a:lnTo>
                      <a:pt x="1921064" y="1183227"/>
                    </a:lnTo>
                    <a:lnTo>
                      <a:pt x="1814849" y="1051522"/>
                    </a:lnTo>
                    <a:close/>
                    <a:moveTo>
                      <a:pt x="2726876" y="952388"/>
                    </a:moveTo>
                    <a:lnTo>
                      <a:pt x="2742454" y="949556"/>
                    </a:lnTo>
                    <a:lnTo>
                      <a:pt x="2755200" y="952388"/>
                    </a:lnTo>
                    <a:lnTo>
                      <a:pt x="2726876" y="952388"/>
                    </a:lnTo>
                    <a:close/>
                    <a:moveTo>
                      <a:pt x="4590584" y="905654"/>
                    </a:moveTo>
                    <a:lnTo>
                      <a:pt x="4654313" y="803688"/>
                    </a:lnTo>
                    <a:lnTo>
                      <a:pt x="4788851" y="901405"/>
                    </a:lnTo>
                    <a:lnTo>
                      <a:pt x="4590584" y="905654"/>
                    </a:lnTo>
                    <a:close/>
                    <a:moveTo>
                      <a:pt x="4572174" y="907070"/>
                    </a:moveTo>
                    <a:lnTo>
                      <a:pt x="4586336" y="907070"/>
                    </a:lnTo>
                    <a:lnTo>
                      <a:pt x="4580671" y="915567"/>
                    </a:lnTo>
                    <a:lnTo>
                      <a:pt x="4572174" y="907070"/>
                    </a:lnTo>
                    <a:close/>
                    <a:moveTo>
                      <a:pt x="4092085" y="1707218"/>
                    </a:moveTo>
                    <a:lnTo>
                      <a:pt x="3970292" y="1643489"/>
                    </a:lnTo>
                    <a:lnTo>
                      <a:pt x="3970292" y="1643489"/>
                    </a:lnTo>
                    <a:lnTo>
                      <a:pt x="3936304" y="1749704"/>
                    </a:lnTo>
                    <a:lnTo>
                      <a:pt x="3896650" y="1761033"/>
                    </a:lnTo>
                    <a:lnTo>
                      <a:pt x="3920726" y="1565599"/>
                    </a:lnTo>
                    <a:lnTo>
                      <a:pt x="3920726" y="1565599"/>
                    </a:lnTo>
                    <a:lnTo>
                      <a:pt x="3883905" y="1507535"/>
                    </a:lnTo>
                    <a:lnTo>
                      <a:pt x="4175640" y="1392824"/>
                    </a:lnTo>
                    <a:lnTo>
                      <a:pt x="4307346" y="1477795"/>
                    </a:lnTo>
                    <a:lnTo>
                      <a:pt x="4267693" y="1661900"/>
                    </a:lnTo>
                    <a:lnTo>
                      <a:pt x="4092085" y="1707218"/>
                    </a:lnTo>
                    <a:close/>
                    <a:moveTo>
                      <a:pt x="3267862" y="2915229"/>
                    </a:moveTo>
                    <a:lnTo>
                      <a:pt x="3201301" y="2978958"/>
                    </a:lnTo>
                    <a:lnTo>
                      <a:pt x="3146069" y="2857165"/>
                    </a:lnTo>
                    <a:lnTo>
                      <a:pt x="3267862" y="2915229"/>
                    </a:lnTo>
                    <a:close/>
                    <a:moveTo>
                      <a:pt x="2544188" y="2685806"/>
                    </a:moveTo>
                    <a:lnTo>
                      <a:pt x="2631991" y="2748118"/>
                    </a:lnTo>
                    <a:lnTo>
                      <a:pt x="2670229" y="2801934"/>
                    </a:lnTo>
                    <a:lnTo>
                      <a:pt x="2544188" y="2685806"/>
                    </a:lnTo>
                    <a:close/>
                    <a:moveTo>
                      <a:pt x="2402569" y="2556933"/>
                    </a:moveTo>
                    <a:lnTo>
                      <a:pt x="2430893" y="2582424"/>
                    </a:lnTo>
                    <a:lnTo>
                      <a:pt x="2449303" y="2614997"/>
                    </a:lnTo>
                    <a:lnTo>
                      <a:pt x="2398320" y="2578175"/>
                    </a:lnTo>
                    <a:lnTo>
                      <a:pt x="2402569" y="2556933"/>
                    </a:lnTo>
                    <a:close/>
                    <a:moveTo>
                      <a:pt x="1874329" y="1660484"/>
                    </a:moveTo>
                    <a:lnTo>
                      <a:pt x="1966381" y="1734126"/>
                    </a:lnTo>
                    <a:lnTo>
                      <a:pt x="1744040" y="1799270"/>
                    </a:lnTo>
                    <a:lnTo>
                      <a:pt x="1456553" y="1659068"/>
                    </a:lnTo>
                    <a:lnTo>
                      <a:pt x="1450888" y="1647738"/>
                    </a:lnTo>
                    <a:lnTo>
                      <a:pt x="1874329" y="1660484"/>
                    </a:lnTo>
                    <a:close/>
                    <a:moveTo>
                      <a:pt x="1273864" y="1569848"/>
                    </a:moveTo>
                    <a:lnTo>
                      <a:pt x="1314933" y="1571264"/>
                    </a:lnTo>
                    <a:lnTo>
                      <a:pt x="1307852" y="1586842"/>
                    </a:lnTo>
                    <a:lnTo>
                      <a:pt x="1273864" y="1569848"/>
                    </a:lnTo>
                    <a:close/>
                    <a:moveTo>
                      <a:pt x="1285194" y="1055770"/>
                    </a:moveTo>
                    <a:lnTo>
                      <a:pt x="1285194" y="1055770"/>
                    </a:lnTo>
                    <a:lnTo>
                      <a:pt x="1272448" y="1034527"/>
                    </a:lnTo>
                    <a:lnTo>
                      <a:pt x="1278113" y="1037360"/>
                    </a:lnTo>
                    <a:lnTo>
                      <a:pt x="1278113" y="1037360"/>
                    </a:lnTo>
                    <a:lnTo>
                      <a:pt x="1504703" y="952388"/>
                    </a:lnTo>
                    <a:lnTo>
                      <a:pt x="1504703" y="952388"/>
                    </a:lnTo>
                    <a:lnTo>
                      <a:pt x="1622247" y="781029"/>
                    </a:lnTo>
                    <a:lnTo>
                      <a:pt x="1705802" y="897157"/>
                    </a:lnTo>
                    <a:lnTo>
                      <a:pt x="1584010" y="1163401"/>
                    </a:lnTo>
                    <a:lnTo>
                      <a:pt x="1465050" y="1222881"/>
                    </a:lnTo>
                    <a:lnTo>
                      <a:pt x="1173314" y="1497622"/>
                    </a:lnTo>
                    <a:lnTo>
                      <a:pt x="1173314" y="1497622"/>
                    </a:lnTo>
                    <a:lnTo>
                      <a:pt x="1353171" y="1483460"/>
                    </a:lnTo>
                    <a:lnTo>
                      <a:pt x="1313518" y="1567015"/>
                    </a:lnTo>
                    <a:lnTo>
                      <a:pt x="1268199" y="1565599"/>
                    </a:lnTo>
                    <a:lnTo>
                      <a:pt x="1174731" y="1520281"/>
                    </a:lnTo>
                    <a:lnTo>
                      <a:pt x="1170482" y="1467882"/>
                    </a:lnTo>
                    <a:lnTo>
                      <a:pt x="1285194" y="1055770"/>
                    </a:lnTo>
                    <a:close/>
                    <a:moveTo>
                      <a:pt x="2256701" y="1169066"/>
                    </a:moveTo>
                    <a:lnTo>
                      <a:pt x="2003203" y="1285193"/>
                    </a:lnTo>
                    <a:lnTo>
                      <a:pt x="1962133" y="1234210"/>
                    </a:lnTo>
                    <a:lnTo>
                      <a:pt x="2024445" y="1156320"/>
                    </a:lnTo>
                    <a:lnTo>
                      <a:pt x="2256701" y="1169066"/>
                    </a:lnTo>
                    <a:close/>
                    <a:moveTo>
                      <a:pt x="1749704" y="1453720"/>
                    </a:moveTo>
                    <a:lnTo>
                      <a:pt x="2113666" y="1425396"/>
                    </a:lnTo>
                    <a:lnTo>
                      <a:pt x="2188724" y="1520281"/>
                    </a:lnTo>
                    <a:lnTo>
                      <a:pt x="1895572" y="1661900"/>
                    </a:lnTo>
                    <a:lnTo>
                      <a:pt x="1895572" y="1661900"/>
                    </a:lnTo>
                    <a:lnTo>
                      <a:pt x="1896988" y="1663316"/>
                    </a:lnTo>
                    <a:lnTo>
                      <a:pt x="2201469" y="1535859"/>
                    </a:lnTo>
                    <a:lnTo>
                      <a:pt x="2239707" y="1584010"/>
                    </a:lnTo>
                    <a:lnTo>
                      <a:pt x="2241123" y="1654819"/>
                    </a:lnTo>
                    <a:lnTo>
                      <a:pt x="1969214" y="1734126"/>
                    </a:lnTo>
                    <a:lnTo>
                      <a:pt x="1874329" y="1659068"/>
                    </a:lnTo>
                    <a:lnTo>
                      <a:pt x="1874329" y="1659068"/>
                    </a:lnTo>
                    <a:lnTo>
                      <a:pt x="1449472" y="1646322"/>
                    </a:lnTo>
                    <a:lnTo>
                      <a:pt x="1409818" y="1571264"/>
                    </a:lnTo>
                    <a:lnTo>
                      <a:pt x="1409818" y="1571264"/>
                    </a:lnTo>
                    <a:lnTo>
                      <a:pt x="1316350" y="1569848"/>
                    </a:lnTo>
                    <a:lnTo>
                      <a:pt x="1356003" y="1486292"/>
                    </a:lnTo>
                    <a:lnTo>
                      <a:pt x="1518865" y="1473547"/>
                    </a:lnTo>
                    <a:lnTo>
                      <a:pt x="1523114" y="1493373"/>
                    </a:lnTo>
                    <a:lnTo>
                      <a:pt x="1405570" y="1559934"/>
                    </a:lnTo>
                    <a:lnTo>
                      <a:pt x="1405570" y="1559934"/>
                    </a:lnTo>
                    <a:lnTo>
                      <a:pt x="1406986" y="1561350"/>
                    </a:lnTo>
                    <a:lnTo>
                      <a:pt x="1616582" y="1465049"/>
                    </a:lnTo>
                    <a:lnTo>
                      <a:pt x="1685976" y="1459385"/>
                    </a:lnTo>
                    <a:lnTo>
                      <a:pt x="1664733" y="1584010"/>
                    </a:lnTo>
                    <a:lnTo>
                      <a:pt x="1664733" y="1585426"/>
                    </a:lnTo>
                    <a:lnTo>
                      <a:pt x="1749704" y="1453720"/>
                    </a:lnTo>
                    <a:close/>
                    <a:moveTo>
                      <a:pt x="2190140" y="1518865"/>
                    </a:moveTo>
                    <a:lnTo>
                      <a:pt x="2115082" y="1425396"/>
                    </a:lnTo>
                    <a:lnTo>
                      <a:pt x="2235458" y="1415483"/>
                    </a:lnTo>
                    <a:lnTo>
                      <a:pt x="2238290" y="1496206"/>
                    </a:lnTo>
                    <a:lnTo>
                      <a:pt x="2190140" y="1518865"/>
                    </a:lnTo>
                    <a:close/>
                    <a:moveTo>
                      <a:pt x="2239707" y="1494789"/>
                    </a:moveTo>
                    <a:lnTo>
                      <a:pt x="2236874" y="1415483"/>
                    </a:lnTo>
                    <a:lnTo>
                      <a:pt x="2413898" y="1401321"/>
                    </a:lnTo>
                    <a:lnTo>
                      <a:pt x="2419563" y="1406986"/>
                    </a:lnTo>
                    <a:lnTo>
                      <a:pt x="2239707" y="1494789"/>
                    </a:lnTo>
                    <a:close/>
                    <a:moveTo>
                      <a:pt x="2239707" y="1517448"/>
                    </a:moveTo>
                    <a:lnTo>
                      <a:pt x="2239707" y="1497622"/>
                    </a:lnTo>
                    <a:lnTo>
                      <a:pt x="2423812" y="1408402"/>
                    </a:lnTo>
                    <a:lnTo>
                      <a:pt x="2423812" y="1408402"/>
                    </a:lnTo>
                    <a:lnTo>
                      <a:pt x="2416731" y="1401321"/>
                    </a:lnTo>
                    <a:lnTo>
                      <a:pt x="2541355" y="1391407"/>
                    </a:lnTo>
                    <a:lnTo>
                      <a:pt x="2239707" y="1517448"/>
                    </a:lnTo>
                    <a:close/>
                    <a:moveTo>
                      <a:pt x="3039854" y="1351754"/>
                    </a:moveTo>
                    <a:lnTo>
                      <a:pt x="2554101" y="1389991"/>
                    </a:lnTo>
                    <a:lnTo>
                      <a:pt x="3045520" y="1184644"/>
                    </a:lnTo>
                    <a:lnTo>
                      <a:pt x="3066762" y="1200222"/>
                    </a:lnTo>
                    <a:lnTo>
                      <a:pt x="3039854" y="1351754"/>
                    </a:lnTo>
                    <a:close/>
                    <a:moveTo>
                      <a:pt x="2765114" y="950972"/>
                    </a:moveTo>
                    <a:lnTo>
                      <a:pt x="2746703" y="948140"/>
                    </a:lnTo>
                    <a:lnTo>
                      <a:pt x="2990288" y="898573"/>
                    </a:lnTo>
                    <a:lnTo>
                      <a:pt x="3022861" y="945307"/>
                    </a:lnTo>
                    <a:lnTo>
                      <a:pt x="2765114" y="950972"/>
                    </a:lnTo>
                    <a:close/>
                    <a:moveTo>
                      <a:pt x="3150318" y="595508"/>
                    </a:moveTo>
                    <a:lnTo>
                      <a:pt x="3175809" y="606838"/>
                    </a:lnTo>
                    <a:lnTo>
                      <a:pt x="3172977" y="621000"/>
                    </a:lnTo>
                    <a:lnTo>
                      <a:pt x="3150318" y="595508"/>
                    </a:lnTo>
                    <a:close/>
                    <a:moveTo>
                      <a:pt x="4273358" y="611086"/>
                    </a:moveTo>
                    <a:lnTo>
                      <a:pt x="4412144" y="749873"/>
                    </a:lnTo>
                    <a:lnTo>
                      <a:pt x="4431971" y="908486"/>
                    </a:lnTo>
                    <a:lnTo>
                      <a:pt x="4114744" y="916984"/>
                    </a:lnTo>
                    <a:lnTo>
                      <a:pt x="4161478" y="803688"/>
                    </a:lnTo>
                    <a:lnTo>
                      <a:pt x="4161478" y="803688"/>
                    </a:lnTo>
                    <a:lnTo>
                      <a:pt x="4041102" y="881579"/>
                    </a:lnTo>
                    <a:lnTo>
                      <a:pt x="3960379" y="717301"/>
                    </a:lnTo>
                    <a:lnTo>
                      <a:pt x="3960379" y="717301"/>
                    </a:lnTo>
                    <a:lnTo>
                      <a:pt x="3600667" y="922648"/>
                    </a:lnTo>
                    <a:lnTo>
                      <a:pt x="3895234" y="548774"/>
                    </a:lnTo>
                    <a:lnTo>
                      <a:pt x="4273358" y="611086"/>
                    </a:lnTo>
                    <a:close/>
                    <a:moveTo>
                      <a:pt x="2947802" y="2763697"/>
                    </a:moveTo>
                    <a:lnTo>
                      <a:pt x="2942138" y="2770778"/>
                    </a:lnTo>
                    <a:lnTo>
                      <a:pt x="2865663" y="2749535"/>
                    </a:lnTo>
                    <a:lnTo>
                      <a:pt x="2780692" y="2684390"/>
                    </a:lnTo>
                    <a:lnTo>
                      <a:pt x="2780692" y="2684390"/>
                    </a:lnTo>
                    <a:lnTo>
                      <a:pt x="2947802" y="2763697"/>
                    </a:lnTo>
                    <a:close/>
                    <a:moveTo>
                      <a:pt x="1969214" y="1736958"/>
                    </a:moveTo>
                    <a:lnTo>
                      <a:pt x="2156151" y="1885658"/>
                    </a:lnTo>
                    <a:lnTo>
                      <a:pt x="2136324" y="1991873"/>
                    </a:lnTo>
                    <a:lnTo>
                      <a:pt x="1748288" y="1802103"/>
                    </a:lnTo>
                    <a:lnTo>
                      <a:pt x="1969214" y="1736958"/>
                    </a:lnTo>
                    <a:close/>
                    <a:moveTo>
                      <a:pt x="4433387" y="908486"/>
                    </a:moveTo>
                    <a:lnTo>
                      <a:pt x="4413560" y="752705"/>
                    </a:lnTo>
                    <a:lnTo>
                      <a:pt x="4566510" y="905654"/>
                    </a:lnTo>
                    <a:lnTo>
                      <a:pt x="4433387" y="908486"/>
                    </a:lnTo>
                    <a:close/>
                    <a:moveTo>
                      <a:pt x="3508614" y="2661731"/>
                    </a:moveTo>
                    <a:lnTo>
                      <a:pt x="3569510" y="2691471"/>
                    </a:lnTo>
                    <a:lnTo>
                      <a:pt x="3623325" y="2718378"/>
                    </a:lnTo>
                    <a:lnTo>
                      <a:pt x="3586505" y="2804766"/>
                    </a:lnTo>
                    <a:lnTo>
                      <a:pt x="3508614" y="2661731"/>
                    </a:lnTo>
                    <a:close/>
                    <a:moveTo>
                      <a:pt x="3328758" y="2942136"/>
                    </a:moveTo>
                    <a:lnTo>
                      <a:pt x="3340087" y="2936472"/>
                    </a:lnTo>
                    <a:lnTo>
                      <a:pt x="3342920" y="2949217"/>
                    </a:lnTo>
                    <a:lnTo>
                      <a:pt x="3328758" y="2942136"/>
                    </a:lnTo>
                    <a:close/>
                    <a:moveTo>
                      <a:pt x="3308931" y="2878408"/>
                    </a:moveTo>
                    <a:lnTo>
                      <a:pt x="3308931" y="2878408"/>
                    </a:lnTo>
                    <a:lnTo>
                      <a:pt x="3316012" y="2809015"/>
                    </a:lnTo>
                    <a:lnTo>
                      <a:pt x="3340087" y="2933639"/>
                    </a:lnTo>
                    <a:lnTo>
                      <a:pt x="3325925" y="2940720"/>
                    </a:lnTo>
                    <a:lnTo>
                      <a:pt x="3270694" y="2915229"/>
                    </a:lnTo>
                    <a:lnTo>
                      <a:pt x="3308931" y="2878408"/>
                    </a:lnTo>
                    <a:close/>
                    <a:moveTo>
                      <a:pt x="2950635" y="2763697"/>
                    </a:moveTo>
                    <a:lnTo>
                      <a:pt x="2990288" y="2782107"/>
                    </a:lnTo>
                    <a:lnTo>
                      <a:pt x="2944970" y="2769361"/>
                    </a:lnTo>
                    <a:lnTo>
                      <a:pt x="2950635" y="2763697"/>
                    </a:lnTo>
                    <a:close/>
                    <a:moveTo>
                      <a:pt x="2382742" y="2494620"/>
                    </a:moveTo>
                    <a:lnTo>
                      <a:pt x="2411066" y="2507366"/>
                    </a:lnTo>
                    <a:lnTo>
                      <a:pt x="2405401" y="2534273"/>
                    </a:lnTo>
                    <a:lnTo>
                      <a:pt x="2382742" y="2494620"/>
                    </a:lnTo>
                    <a:close/>
                    <a:moveTo>
                      <a:pt x="2403985" y="2401152"/>
                    </a:moveTo>
                    <a:lnTo>
                      <a:pt x="2337424" y="2412481"/>
                    </a:lnTo>
                    <a:lnTo>
                      <a:pt x="2276528" y="2304851"/>
                    </a:lnTo>
                    <a:lnTo>
                      <a:pt x="2403985" y="2401152"/>
                    </a:lnTo>
                    <a:close/>
                    <a:moveTo>
                      <a:pt x="3158815" y="1241291"/>
                    </a:moveTo>
                    <a:lnTo>
                      <a:pt x="3165896" y="1271031"/>
                    </a:lnTo>
                    <a:lnTo>
                      <a:pt x="3069595" y="1198806"/>
                    </a:lnTo>
                    <a:lnTo>
                      <a:pt x="3071011" y="1193141"/>
                    </a:lnTo>
                    <a:lnTo>
                      <a:pt x="3158815" y="1241291"/>
                    </a:lnTo>
                    <a:close/>
                    <a:moveTo>
                      <a:pt x="3072427" y="1007620"/>
                    </a:moveTo>
                    <a:lnTo>
                      <a:pt x="3029942" y="946724"/>
                    </a:lnTo>
                    <a:lnTo>
                      <a:pt x="3114913" y="945307"/>
                    </a:lnTo>
                    <a:lnTo>
                      <a:pt x="3102167" y="1013285"/>
                    </a:lnTo>
                    <a:lnTo>
                      <a:pt x="3072427" y="1007620"/>
                    </a:lnTo>
                    <a:close/>
                    <a:moveTo>
                      <a:pt x="3100751" y="1014701"/>
                    </a:moveTo>
                    <a:lnTo>
                      <a:pt x="3096502" y="1041608"/>
                    </a:lnTo>
                    <a:lnTo>
                      <a:pt x="3073843" y="1010452"/>
                    </a:lnTo>
                    <a:lnTo>
                      <a:pt x="3100751" y="1014701"/>
                    </a:lnTo>
                    <a:close/>
                    <a:moveTo>
                      <a:pt x="4157230" y="809353"/>
                    </a:moveTo>
                    <a:lnTo>
                      <a:pt x="4111911" y="918400"/>
                    </a:lnTo>
                    <a:lnTo>
                      <a:pt x="4059512" y="919816"/>
                    </a:lnTo>
                    <a:lnTo>
                      <a:pt x="4042519" y="884411"/>
                    </a:lnTo>
                    <a:lnTo>
                      <a:pt x="4157230" y="809353"/>
                    </a:lnTo>
                    <a:close/>
                    <a:moveTo>
                      <a:pt x="3961795" y="1280945"/>
                    </a:moveTo>
                    <a:lnTo>
                      <a:pt x="4001449" y="1278112"/>
                    </a:lnTo>
                    <a:lnTo>
                      <a:pt x="4174224" y="1389991"/>
                    </a:lnTo>
                    <a:lnTo>
                      <a:pt x="3883905" y="1504703"/>
                    </a:lnTo>
                    <a:lnTo>
                      <a:pt x="3875407" y="1490541"/>
                    </a:lnTo>
                    <a:lnTo>
                      <a:pt x="3961795" y="1280945"/>
                    </a:lnTo>
                    <a:close/>
                    <a:moveTo>
                      <a:pt x="3864078" y="1511784"/>
                    </a:moveTo>
                    <a:lnTo>
                      <a:pt x="3872576" y="1491957"/>
                    </a:lnTo>
                    <a:lnTo>
                      <a:pt x="3881072" y="1504703"/>
                    </a:lnTo>
                    <a:lnTo>
                      <a:pt x="3864078" y="1511784"/>
                    </a:lnTo>
                    <a:close/>
                    <a:moveTo>
                      <a:pt x="3752199" y="1297939"/>
                    </a:moveTo>
                    <a:lnTo>
                      <a:pt x="3958963" y="1282361"/>
                    </a:lnTo>
                    <a:lnTo>
                      <a:pt x="3872576" y="1489125"/>
                    </a:lnTo>
                    <a:lnTo>
                      <a:pt x="3752199" y="1297939"/>
                    </a:lnTo>
                    <a:close/>
                    <a:moveTo>
                      <a:pt x="3011531" y="2790604"/>
                    </a:moveTo>
                    <a:lnTo>
                      <a:pt x="3127658" y="2823177"/>
                    </a:lnTo>
                    <a:lnTo>
                      <a:pt x="3140404" y="2852916"/>
                    </a:lnTo>
                    <a:lnTo>
                      <a:pt x="3011531" y="2790604"/>
                    </a:lnTo>
                    <a:close/>
                    <a:moveTo>
                      <a:pt x="3051185" y="2654650"/>
                    </a:moveTo>
                    <a:lnTo>
                      <a:pt x="3127658" y="2820344"/>
                    </a:lnTo>
                    <a:lnTo>
                      <a:pt x="3001618" y="2784939"/>
                    </a:lnTo>
                    <a:lnTo>
                      <a:pt x="2952051" y="2760864"/>
                    </a:lnTo>
                    <a:lnTo>
                      <a:pt x="3051185" y="2654650"/>
                    </a:lnTo>
                    <a:close/>
                    <a:moveTo>
                      <a:pt x="1972047" y="1735542"/>
                    </a:moveTo>
                    <a:lnTo>
                      <a:pt x="2241123" y="1656235"/>
                    </a:lnTo>
                    <a:lnTo>
                      <a:pt x="2252452" y="2047104"/>
                    </a:lnTo>
                    <a:lnTo>
                      <a:pt x="2139157" y="1991873"/>
                    </a:lnTo>
                    <a:lnTo>
                      <a:pt x="2158984" y="1884242"/>
                    </a:lnTo>
                    <a:lnTo>
                      <a:pt x="2158984" y="1884242"/>
                    </a:lnTo>
                    <a:lnTo>
                      <a:pt x="1972047" y="1735542"/>
                    </a:lnTo>
                    <a:close/>
                    <a:moveTo>
                      <a:pt x="3069595" y="2630574"/>
                    </a:moveTo>
                    <a:lnTo>
                      <a:pt x="3051185" y="2650401"/>
                    </a:lnTo>
                    <a:lnTo>
                      <a:pt x="3017196" y="2575343"/>
                    </a:lnTo>
                    <a:lnTo>
                      <a:pt x="3069595" y="2630574"/>
                    </a:lnTo>
                    <a:close/>
                    <a:moveTo>
                      <a:pt x="2854334" y="2226960"/>
                    </a:moveTo>
                    <a:lnTo>
                      <a:pt x="2715547" y="1807768"/>
                    </a:lnTo>
                    <a:lnTo>
                      <a:pt x="2729709" y="1810600"/>
                    </a:lnTo>
                    <a:lnTo>
                      <a:pt x="2896819" y="2239706"/>
                    </a:lnTo>
                    <a:lnTo>
                      <a:pt x="2854334" y="2226960"/>
                    </a:lnTo>
                    <a:close/>
                    <a:moveTo>
                      <a:pt x="2714130" y="1804935"/>
                    </a:moveTo>
                    <a:lnTo>
                      <a:pt x="2641905" y="1585426"/>
                    </a:lnTo>
                    <a:lnTo>
                      <a:pt x="2728292" y="1807768"/>
                    </a:lnTo>
                    <a:lnTo>
                      <a:pt x="2714130" y="1804935"/>
                    </a:lnTo>
                    <a:close/>
                    <a:moveTo>
                      <a:pt x="3393902" y="2280775"/>
                    </a:moveTo>
                    <a:lnTo>
                      <a:pt x="3688471" y="2452135"/>
                    </a:lnTo>
                    <a:lnTo>
                      <a:pt x="3327342" y="2354417"/>
                    </a:lnTo>
                    <a:lnTo>
                      <a:pt x="3393902" y="2280775"/>
                    </a:lnTo>
                    <a:close/>
                    <a:moveTo>
                      <a:pt x="3324509" y="2353001"/>
                    </a:moveTo>
                    <a:lnTo>
                      <a:pt x="3124826" y="2299186"/>
                    </a:lnTo>
                    <a:lnTo>
                      <a:pt x="3171561" y="2156151"/>
                    </a:lnTo>
                    <a:lnTo>
                      <a:pt x="3184306" y="2154735"/>
                    </a:lnTo>
                    <a:lnTo>
                      <a:pt x="3182890" y="2157567"/>
                    </a:lnTo>
                    <a:lnTo>
                      <a:pt x="3182890" y="2157567"/>
                    </a:lnTo>
                    <a:lnTo>
                      <a:pt x="3392486" y="2279359"/>
                    </a:lnTo>
                    <a:lnTo>
                      <a:pt x="3324509" y="2353001"/>
                    </a:lnTo>
                    <a:close/>
                    <a:moveTo>
                      <a:pt x="2321846" y="2083925"/>
                    </a:moveTo>
                    <a:lnTo>
                      <a:pt x="2260950" y="2292105"/>
                    </a:lnTo>
                    <a:lnTo>
                      <a:pt x="2253869" y="2051352"/>
                    </a:lnTo>
                    <a:lnTo>
                      <a:pt x="2321846" y="2083925"/>
                    </a:lnTo>
                    <a:close/>
                    <a:moveTo>
                      <a:pt x="2253869" y="2048520"/>
                    </a:moveTo>
                    <a:lnTo>
                      <a:pt x="2243955" y="1656235"/>
                    </a:lnTo>
                    <a:lnTo>
                      <a:pt x="2287857" y="1643489"/>
                    </a:lnTo>
                    <a:lnTo>
                      <a:pt x="2408233" y="1792190"/>
                    </a:lnTo>
                    <a:lnTo>
                      <a:pt x="2323262" y="2081092"/>
                    </a:lnTo>
                    <a:lnTo>
                      <a:pt x="2253869" y="2048520"/>
                    </a:lnTo>
                    <a:close/>
                    <a:moveTo>
                      <a:pt x="2843004" y="2336007"/>
                    </a:moveTo>
                    <a:lnTo>
                      <a:pt x="2488956" y="2163232"/>
                    </a:lnTo>
                    <a:lnTo>
                      <a:pt x="2535691" y="1952219"/>
                    </a:lnTo>
                    <a:lnTo>
                      <a:pt x="2843004" y="2336007"/>
                    </a:lnTo>
                    <a:close/>
                    <a:moveTo>
                      <a:pt x="2957715" y="2394071"/>
                    </a:moveTo>
                    <a:lnTo>
                      <a:pt x="3020028" y="2552684"/>
                    </a:lnTo>
                    <a:lnTo>
                      <a:pt x="2850085" y="2341672"/>
                    </a:lnTo>
                    <a:lnTo>
                      <a:pt x="2957715" y="2394071"/>
                    </a:lnTo>
                    <a:close/>
                    <a:moveTo>
                      <a:pt x="2847253" y="2337423"/>
                    </a:moveTo>
                    <a:lnTo>
                      <a:pt x="2535691" y="1949387"/>
                    </a:lnTo>
                    <a:lnTo>
                      <a:pt x="2573928" y="1778028"/>
                    </a:lnTo>
                    <a:lnTo>
                      <a:pt x="2712715" y="1804935"/>
                    </a:lnTo>
                    <a:lnTo>
                      <a:pt x="2851501" y="2226960"/>
                    </a:lnTo>
                    <a:lnTo>
                      <a:pt x="2851501" y="2226960"/>
                    </a:lnTo>
                    <a:lnTo>
                      <a:pt x="2898235" y="2239706"/>
                    </a:lnTo>
                    <a:lnTo>
                      <a:pt x="2957715" y="2389822"/>
                    </a:lnTo>
                    <a:lnTo>
                      <a:pt x="2847253" y="2337423"/>
                    </a:lnTo>
                    <a:close/>
                    <a:moveTo>
                      <a:pt x="2534274" y="1947971"/>
                    </a:moveTo>
                    <a:lnTo>
                      <a:pt x="2408233" y="1792190"/>
                    </a:lnTo>
                    <a:lnTo>
                      <a:pt x="2420979" y="1749704"/>
                    </a:lnTo>
                    <a:lnTo>
                      <a:pt x="2571095" y="1779444"/>
                    </a:lnTo>
                    <a:lnTo>
                      <a:pt x="2534274" y="1947971"/>
                    </a:lnTo>
                    <a:close/>
                    <a:moveTo>
                      <a:pt x="2420979" y="1746871"/>
                    </a:moveTo>
                    <a:lnTo>
                      <a:pt x="2420979" y="1746871"/>
                    </a:lnTo>
                    <a:lnTo>
                      <a:pt x="2408233" y="1789357"/>
                    </a:lnTo>
                    <a:lnTo>
                      <a:pt x="2289273" y="1642073"/>
                    </a:lnTo>
                    <a:lnTo>
                      <a:pt x="2623495" y="1542940"/>
                    </a:lnTo>
                    <a:lnTo>
                      <a:pt x="2572511" y="1776611"/>
                    </a:lnTo>
                    <a:lnTo>
                      <a:pt x="2420979" y="1746871"/>
                    </a:lnTo>
                    <a:close/>
                    <a:moveTo>
                      <a:pt x="2408233" y="1793606"/>
                    </a:moveTo>
                    <a:lnTo>
                      <a:pt x="2534274" y="1949387"/>
                    </a:lnTo>
                    <a:lnTo>
                      <a:pt x="2487540" y="2160399"/>
                    </a:lnTo>
                    <a:lnTo>
                      <a:pt x="2323262" y="2081092"/>
                    </a:lnTo>
                    <a:lnTo>
                      <a:pt x="2408233" y="1793606"/>
                    </a:lnTo>
                    <a:close/>
                    <a:moveTo>
                      <a:pt x="3310347" y="1892739"/>
                    </a:moveTo>
                    <a:lnTo>
                      <a:pt x="3304682" y="1904069"/>
                    </a:lnTo>
                    <a:lnTo>
                      <a:pt x="3211214" y="1868664"/>
                    </a:lnTo>
                    <a:lnTo>
                      <a:pt x="3209797" y="1868664"/>
                    </a:lnTo>
                    <a:lnTo>
                      <a:pt x="3293353" y="1928144"/>
                    </a:lnTo>
                    <a:lnTo>
                      <a:pt x="3185723" y="2153318"/>
                    </a:lnTo>
                    <a:lnTo>
                      <a:pt x="3170144" y="2154735"/>
                    </a:lnTo>
                    <a:lnTo>
                      <a:pt x="3170144" y="2154735"/>
                    </a:lnTo>
                    <a:lnTo>
                      <a:pt x="3121994" y="2299186"/>
                    </a:lnTo>
                    <a:lnTo>
                      <a:pt x="3031358" y="2275111"/>
                    </a:lnTo>
                    <a:lnTo>
                      <a:pt x="3021444" y="1476379"/>
                    </a:lnTo>
                    <a:lnTo>
                      <a:pt x="3243786" y="1605252"/>
                    </a:lnTo>
                    <a:lnTo>
                      <a:pt x="3310347" y="1892739"/>
                    </a:lnTo>
                    <a:close/>
                    <a:moveTo>
                      <a:pt x="3544019" y="2106584"/>
                    </a:moveTo>
                    <a:lnTo>
                      <a:pt x="3188554" y="2151902"/>
                    </a:lnTo>
                    <a:lnTo>
                      <a:pt x="3296186" y="1928144"/>
                    </a:lnTo>
                    <a:lnTo>
                      <a:pt x="3544019" y="2106584"/>
                    </a:lnTo>
                    <a:close/>
                    <a:moveTo>
                      <a:pt x="3223959" y="1875745"/>
                    </a:moveTo>
                    <a:lnTo>
                      <a:pt x="3303267" y="1905485"/>
                    </a:lnTo>
                    <a:lnTo>
                      <a:pt x="3293353" y="1925311"/>
                    </a:lnTo>
                    <a:lnTo>
                      <a:pt x="3223959" y="1875745"/>
                    </a:lnTo>
                    <a:close/>
                    <a:moveTo>
                      <a:pt x="3121994" y="2300602"/>
                    </a:moveTo>
                    <a:lnTo>
                      <a:pt x="3073843" y="2447886"/>
                    </a:lnTo>
                    <a:lnTo>
                      <a:pt x="3034190" y="2429475"/>
                    </a:lnTo>
                    <a:lnTo>
                      <a:pt x="3032773" y="2277943"/>
                    </a:lnTo>
                    <a:lnTo>
                      <a:pt x="3121994" y="2300602"/>
                    </a:lnTo>
                    <a:close/>
                    <a:moveTo>
                      <a:pt x="3031358" y="2428059"/>
                    </a:moveTo>
                    <a:lnTo>
                      <a:pt x="2959132" y="2392654"/>
                    </a:lnTo>
                    <a:lnTo>
                      <a:pt x="2899652" y="2241122"/>
                    </a:lnTo>
                    <a:lnTo>
                      <a:pt x="3028525" y="2276527"/>
                    </a:lnTo>
                    <a:lnTo>
                      <a:pt x="3031358" y="2428059"/>
                    </a:lnTo>
                    <a:close/>
                    <a:moveTo>
                      <a:pt x="3072427" y="2449302"/>
                    </a:moveTo>
                    <a:lnTo>
                      <a:pt x="3035606" y="2559765"/>
                    </a:lnTo>
                    <a:lnTo>
                      <a:pt x="3034190" y="2429475"/>
                    </a:lnTo>
                    <a:lnTo>
                      <a:pt x="3072427" y="2449302"/>
                    </a:lnTo>
                    <a:close/>
                    <a:moveTo>
                      <a:pt x="3075259" y="2447886"/>
                    </a:moveTo>
                    <a:lnTo>
                      <a:pt x="3123410" y="2300602"/>
                    </a:lnTo>
                    <a:lnTo>
                      <a:pt x="3323093" y="2354417"/>
                    </a:lnTo>
                    <a:lnTo>
                      <a:pt x="3187139" y="2503117"/>
                    </a:lnTo>
                    <a:lnTo>
                      <a:pt x="3075259" y="2447886"/>
                    </a:lnTo>
                    <a:close/>
                    <a:moveTo>
                      <a:pt x="3185723" y="2157567"/>
                    </a:moveTo>
                    <a:lnTo>
                      <a:pt x="3187139" y="2154735"/>
                    </a:lnTo>
                    <a:lnTo>
                      <a:pt x="3546852" y="2109416"/>
                    </a:lnTo>
                    <a:lnTo>
                      <a:pt x="3548267" y="2110833"/>
                    </a:lnTo>
                    <a:lnTo>
                      <a:pt x="3393902" y="2279359"/>
                    </a:lnTo>
                    <a:lnTo>
                      <a:pt x="3185723" y="2157567"/>
                    </a:lnTo>
                    <a:close/>
                    <a:moveTo>
                      <a:pt x="3493036" y="1973462"/>
                    </a:moveTo>
                    <a:lnTo>
                      <a:pt x="3306099" y="1904069"/>
                    </a:lnTo>
                    <a:lnTo>
                      <a:pt x="3311763" y="1892739"/>
                    </a:lnTo>
                    <a:lnTo>
                      <a:pt x="3311763" y="1892739"/>
                    </a:lnTo>
                    <a:lnTo>
                      <a:pt x="3245202" y="1605252"/>
                    </a:lnTo>
                    <a:lnTo>
                      <a:pt x="3372659" y="1678894"/>
                    </a:lnTo>
                    <a:lnTo>
                      <a:pt x="3493036" y="1973462"/>
                    </a:lnTo>
                    <a:close/>
                    <a:moveTo>
                      <a:pt x="3245202" y="1602420"/>
                    </a:moveTo>
                    <a:lnTo>
                      <a:pt x="3184306" y="1341841"/>
                    </a:lnTo>
                    <a:lnTo>
                      <a:pt x="3232457" y="1337592"/>
                    </a:lnTo>
                    <a:lnTo>
                      <a:pt x="3371244" y="1676062"/>
                    </a:lnTo>
                    <a:lnTo>
                      <a:pt x="3245202" y="1602420"/>
                    </a:lnTo>
                    <a:close/>
                    <a:moveTo>
                      <a:pt x="3546852" y="2106584"/>
                    </a:moveTo>
                    <a:lnTo>
                      <a:pt x="3296186" y="1926728"/>
                    </a:lnTo>
                    <a:lnTo>
                      <a:pt x="3306099" y="1905485"/>
                    </a:lnTo>
                    <a:lnTo>
                      <a:pt x="3494452" y="1976294"/>
                    </a:lnTo>
                    <a:lnTo>
                      <a:pt x="3546852" y="2106584"/>
                    </a:lnTo>
                    <a:lnTo>
                      <a:pt x="3546852" y="2106584"/>
                    </a:lnTo>
                    <a:close/>
                    <a:moveTo>
                      <a:pt x="3248035" y="1334760"/>
                    </a:moveTo>
                    <a:lnTo>
                      <a:pt x="3233873" y="1336176"/>
                    </a:lnTo>
                    <a:lnTo>
                      <a:pt x="3226792" y="1320598"/>
                    </a:lnTo>
                    <a:lnTo>
                      <a:pt x="3248035" y="1334760"/>
                    </a:lnTo>
                    <a:close/>
                    <a:moveTo>
                      <a:pt x="3223959" y="1317766"/>
                    </a:moveTo>
                    <a:lnTo>
                      <a:pt x="3231040" y="1336176"/>
                    </a:lnTo>
                    <a:lnTo>
                      <a:pt x="3182890" y="1340425"/>
                    </a:lnTo>
                    <a:lnTo>
                      <a:pt x="3168728" y="1276696"/>
                    </a:lnTo>
                    <a:lnTo>
                      <a:pt x="3223959" y="1317766"/>
                    </a:lnTo>
                    <a:close/>
                    <a:moveTo>
                      <a:pt x="2243955" y="1653403"/>
                    </a:moveTo>
                    <a:lnTo>
                      <a:pt x="2242539" y="1586842"/>
                    </a:lnTo>
                    <a:lnTo>
                      <a:pt x="2286441" y="1642073"/>
                    </a:lnTo>
                    <a:lnTo>
                      <a:pt x="2243955" y="1653403"/>
                    </a:lnTo>
                    <a:close/>
                    <a:moveTo>
                      <a:pt x="3071011" y="2631991"/>
                    </a:moveTo>
                    <a:lnTo>
                      <a:pt x="3301850" y="2869911"/>
                    </a:lnTo>
                    <a:lnTo>
                      <a:pt x="3129075" y="2821760"/>
                    </a:lnTo>
                    <a:lnTo>
                      <a:pt x="3052600" y="2653234"/>
                    </a:lnTo>
                    <a:lnTo>
                      <a:pt x="3071011" y="2631991"/>
                    </a:lnTo>
                    <a:close/>
                    <a:moveTo>
                      <a:pt x="3398152" y="2607916"/>
                    </a:moveTo>
                    <a:lnTo>
                      <a:pt x="3436388" y="2885489"/>
                    </a:lnTo>
                    <a:lnTo>
                      <a:pt x="3342920" y="2932223"/>
                    </a:lnTo>
                    <a:lnTo>
                      <a:pt x="3314596" y="2797685"/>
                    </a:lnTo>
                    <a:lnTo>
                      <a:pt x="3314596" y="2796269"/>
                    </a:lnTo>
                    <a:lnTo>
                      <a:pt x="3307515" y="2872743"/>
                    </a:lnTo>
                    <a:lnTo>
                      <a:pt x="3072427" y="2630574"/>
                    </a:lnTo>
                    <a:lnTo>
                      <a:pt x="3187139" y="2505950"/>
                    </a:lnTo>
                    <a:lnTo>
                      <a:pt x="3398152" y="2607916"/>
                    </a:lnTo>
                    <a:close/>
                    <a:moveTo>
                      <a:pt x="3716795" y="1300771"/>
                    </a:moveTo>
                    <a:lnTo>
                      <a:pt x="3681390" y="1656235"/>
                    </a:lnTo>
                    <a:lnTo>
                      <a:pt x="3253700" y="1337592"/>
                    </a:lnTo>
                    <a:lnTo>
                      <a:pt x="3716795" y="1300771"/>
                    </a:lnTo>
                    <a:close/>
                    <a:moveTo>
                      <a:pt x="3747950" y="1296523"/>
                    </a:moveTo>
                    <a:lnTo>
                      <a:pt x="3718210" y="1299355"/>
                    </a:lnTo>
                    <a:lnTo>
                      <a:pt x="3722459" y="1256869"/>
                    </a:lnTo>
                    <a:lnTo>
                      <a:pt x="3747950" y="1296523"/>
                    </a:lnTo>
                    <a:close/>
                    <a:moveTo>
                      <a:pt x="4004281" y="1178979"/>
                    </a:moveTo>
                    <a:lnTo>
                      <a:pt x="4015611" y="1150655"/>
                    </a:lnTo>
                    <a:lnTo>
                      <a:pt x="4150149" y="1108169"/>
                    </a:lnTo>
                    <a:lnTo>
                      <a:pt x="4202548" y="1215800"/>
                    </a:lnTo>
                    <a:lnTo>
                      <a:pt x="4004281" y="1178979"/>
                    </a:lnTo>
                    <a:close/>
                    <a:moveTo>
                      <a:pt x="3957547" y="1169066"/>
                    </a:moveTo>
                    <a:lnTo>
                      <a:pt x="4014195" y="1150655"/>
                    </a:lnTo>
                    <a:lnTo>
                      <a:pt x="4002865" y="1177563"/>
                    </a:lnTo>
                    <a:lnTo>
                      <a:pt x="3957547" y="1169066"/>
                    </a:lnTo>
                    <a:close/>
                    <a:moveTo>
                      <a:pt x="4182721" y="1095424"/>
                    </a:moveTo>
                    <a:lnTo>
                      <a:pt x="4151565" y="1105337"/>
                    </a:lnTo>
                    <a:lnTo>
                      <a:pt x="4143068" y="1086926"/>
                    </a:lnTo>
                    <a:lnTo>
                      <a:pt x="4182721" y="1095424"/>
                    </a:lnTo>
                    <a:close/>
                    <a:moveTo>
                      <a:pt x="4185554" y="1094007"/>
                    </a:moveTo>
                    <a:lnTo>
                      <a:pt x="4140235" y="1084094"/>
                    </a:lnTo>
                    <a:lnTo>
                      <a:pt x="4087836" y="977880"/>
                    </a:lnTo>
                    <a:lnTo>
                      <a:pt x="4111911" y="919816"/>
                    </a:lnTo>
                    <a:lnTo>
                      <a:pt x="4430555" y="911319"/>
                    </a:lnTo>
                    <a:lnTo>
                      <a:pt x="4443301" y="1010452"/>
                    </a:lnTo>
                    <a:lnTo>
                      <a:pt x="4185554" y="1094007"/>
                    </a:lnTo>
                    <a:close/>
                    <a:moveTo>
                      <a:pt x="4110496" y="919816"/>
                    </a:moveTo>
                    <a:lnTo>
                      <a:pt x="4087836" y="975047"/>
                    </a:lnTo>
                    <a:lnTo>
                      <a:pt x="4060929" y="921232"/>
                    </a:lnTo>
                    <a:lnTo>
                      <a:pt x="4110496" y="919816"/>
                    </a:lnTo>
                    <a:close/>
                    <a:moveTo>
                      <a:pt x="4138819" y="1084094"/>
                    </a:moveTo>
                    <a:lnTo>
                      <a:pt x="4052431" y="1065684"/>
                    </a:lnTo>
                    <a:lnTo>
                      <a:pt x="4087836" y="980712"/>
                    </a:lnTo>
                    <a:lnTo>
                      <a:pt x="4138819" y="1084094"/>
                    </a:lnTo>
                    <a:close/>
                    <a:moveTo>
                      <a:pt x="4140235" y="1085510"/>
                    </a:moveTo>
                    <a:lnTo>
                      <a:pt x="4150149" y="1105337"/>
                    </a:lnTo>
                    <a:lnTo>
                      <a:pt x="4017026" y="1147823"/>
                    </a:lnTo>
                    <a:lnTo>
                      <a:pt x="4051015" y="1065684"/>
                    </a:lnTo>
                    <a:lnTo>
                      <a:pt x="4140235" y="1085510"/>
                    </a:lnTo>
                    <a:close/>
                    <a:moveTo>
                      <a:pt x="3136156" y="1101088"/>
                    </a:moveTo>
                    <a:lnTo>
                      <a:pt x="3222543" y="1313517"/>
                    </a:lnTo>
                    <a:lnTo>
                      <a:pt x="3167312" y="1272448"/>
                    </a:lnTo>
                    <a:lnTo>
                      <a:pt x="3158815" y="1238459"/>
                    </a:lnTo>
                    <a:lnTo>
                      <a:pt x="3158815" y="1238459"/>
                    </a:lnTo>
                    <a:lnTo>
                      <a:pt x="3069595" y="1190308"/>
                    </a:lnTo>
                    <a:lnTo>
                      <a:pt x="3096502" y="1044441"/>
                    </a:lnTo>
                    <a:lnTo>
                      <a:pt x="3136156" y="1101088"/>
                    </a:lnTo>
                    <a:close/>
                    <a:moveTo>
                      <a:pt x="3020028" y="1472130"/>
                    </a:moveTo>
                    <a:lnTo>
                      <a:pt x="3020028" y="1472130"/>
                    </a:lnTo>
                    <a:lnTo>
                      <a:pt x="3041271" y="1353170"/>
                    </a:lnTo>
                    <a:lnTo>
                      <a:pt x="3182890" y="1341841"/>
                    </a:lnTo>
                    <a:lnTo>
                      <a:pt x="3243786" y="1601004"/>
                    </a:lnTo>
                    <a:lnTo>
                      <a:pt x="3020028" y="1472130"/>
                    </a:lnTo>
                    <a:close/>
                    <a:moveTo>
                      <a:pt x="3020028" y="1472130"/>
                    </a:moveTo>
                    <a:lnTo>
                      <a:pt x="3029942" y="2273694"/>
                    </a:lnTo>
                    <a:lnTo>
                      <a:pt x="2899652" y="2238290"/>
                    </a:lnTo>
                    <a:lnTo>
                      <a:pt x="2732542" y="1809184"/>
                    </a:lnTo>
                    <a:lnTo>
                      <a:pt x="2950635" y="1851669"/>
                    </a:lnTo>
                    <a:lnTo>
                      <a:pt x="2950635" y="1851669"/>
                    </a:lnTo>
                    <a:lnTo>
                      <a:pt x="3020028" y="1472130"/>
                    </a:lnTo>
                    <a:close/>
                    <a:moveTo>
                      <a:pt x="2437973" y="2398319"/>
                    </a:moveTo>
                    <a:lnTo>
                      <a:pt x="2665980" y="2358666"/>
                    </a:lnTo>
                    <a:lnTo>
                      <a:pt x="2777859" y="2680141"/>
                    </a:lnTo>
                    <a:lnTo>
                      <a:pt x="2772195" y="2677309"/>
                    </a:lnTo>
                    <a:lnTo>
                      <a:pt x="2433725" y="2420978"/>
                    </a:lnTo>
                    <a:lnTo>
                      <a:pt x="2437973" y="2398319"/>
                    </a:lnTo>
                    <a:close/>
                    <a:moveTo>
                      <a:pt x="2413898" y="2507366"/>
                    </a:moveTo>
                    <a:lnTo>
                      <a:pt x="2432309" y="2423811"/>
                    </a:lnTo>
                    <a:lnTo>
                      <a:pt x="2762281" y="2673060"/>
                    </a:lnTo>
                    <a:lnTo>
                      <a:pt x="2413898" y="2507366"/>
                    </a:lnTo>
                    <a:close/>
                    <a:moveTo>
                      <a:pt x="2409650" y="2402568"/>
                    </a:moveTo>
                    <a:lnTo>
                      <a:pt x="2436557" y="2398319"/>
                    </a:lnTo>
                    <a:lnTo>
                      <a:pt x="2432309" y="2419562"/>
                    </a:lnTo>
                    <a:lnTo>
                      <a:pt x="2409650" y="2402568"/>
                    </a:lnTo>
                    <a:close/>
                    <a:moveTo>
                      <a:pt x="2430893" y="2420978"/>
                    </a:moveTo>
                    <a:lnTo>
                      <a:pt x="2412482" y="2504534"/>
                    </a:lnTo>
                    <a:lnTo>
                      <a:pt x="2382742" y="2490372"/>
                    </a:lnTo>
                    <a:lnTo>
                      <a:pt x="2340256" y="2413897"/>
                    </a:lnTo>
                    <a:lnTo>
                      <a:pt x="2408233" y="2402568"/>
                    </a:lnTo>
                    <a:lnTo>
                      <a:pt x="2430893" y="2420978"/>
                    </a:lnTo>
                    <a:close/>
                    <a:moveTo>
                      <a:pt x="2488956" y="2164648"/>
                    </a:moveTo>
                    <a:lnTo>
                      <a:pt x="2847253" y="2338839"/>
                    </a:lnTo>
                    <a:lnTo>
                      <a:pt x="3027109" y="2562597"/>
                    </a:lnTo>
                    <a:lnTo>
                      <a:pt x="3028525" y="2564014"/>
                    </a:lnTo>
                    <a:lnTo>
                      <a:pt x="2961964" y="2395487"/>
                    </a:lnTo>
                    <a:lnTo>
                      <a:pt x="3032773" y="2429475"/>
                    </a:lnTo>
                    <a:lnTo>
                      <a:pt x="3034190" y="2571095"/>
                    </a:lnTo>
                    <a:lnTo>
                      <a:pt x="3034190" y="2572511"/>
                    </a:lnTo>
                    <a:lnTo>
                      <a:pt x="3075259" y="2450718"/>
                    </a:lnTo>
                    <a:lnTo>
                      <a:pt x="3187139" y="2504534"/>
                    </a:lnTo>
                    <a:lnTo>
                      <a:pt x="3072427" y="2629158"/>
                    </a:lnTo>
                    <a:lnTo>
                      <a:pt x="3011531" y="2566846"/>
                    </a:lnTo>
                    <a:lnTo>
                      <a:pt x="3010115" y="2565430"/>
                    </a:lnTo>
                    <a:lnTo>
                      <a:pt x="3049768" y="2651817"/>
                    </a:lnTo>
                    <a:lnTo>
                      <a:pt x="2949219" y="2760864"/>
                    </a:lnTo>
                    <a:lnTo>
                      <a:pt x="2779276" y="2680141"/>
                    </a:lnTo>
                    <a:lnTo>
                      <a:pt x="2665980" y="2355834"/>
                    </a:lnTo>
                    <a:lnTo>
                      <a:pt x="2665980" y="2355834"/>
                    </a:lnTo>
                    <a:lnTo>
                      <a:pt x="2437973" y="2395487"/>
                    </a:lnTo>
                    <a:lnTo>
                      <a:pt x="2488956" y="2164648"/>
                    </a:lnTo>
                    <a:close/>
                    <a:moveTo>
                      <a:pt x="3504366" y="2657482"/>
                    </a:moveTo>
                    <a:lnTo>
                      <a:pt x="3399567" y="2606499"/>
                    </a:lnTo>
                    <a:lnTo>
                      <a:pt x="3372659" y="2413897"/>
                    </a:lnTo>
                    <a:lnTo>
                      <a:pt x="3504366" y="2657482"/>
                    </a:lnTo>
                    <a:close/>
                    <a:moveTo>
                      <a:pt x="4004281" y="1180395"/>
                    </a:moveTo>
                    <a:lnTo>
                      <a:pt x="4205381" y="1217216"/>
                    </a:lnTo>
                    <a:lnTo>
                      <a:pt x="4271941" y="1351754"/>
                    </a:lnTo>
                    <a:lnTo>
                      <a:pt x="4177057" y="1388575"/>
                    </a:lnTo>
                    <a:lnTo>
                      <a:pt x="4001449" y="1275280"/>
                    </a:lnTo>
                    <a:lnTo>
                      <a:pt x="4001449" y="1275280"/>
                    </a:lnTo>
                    <a:lnTo>
                      <a:pt x="3961795" y="1278112"/>
                    </a:lnTo>
                    <a:lnTo>
                      <a:pt x="4004281" y="1180395"/>
                    </a:lnTo>
                    <a:close/>
                    <a:moveTo>
                      <a:pt x="4436220" y="1149239"/>
                    </a:moveTo>
                    <a:lnTo>
                      <a:pt x="4189802" y="1095424"/>
                    </a:lnTo>
                    <a:lnTo>
                      <a:pt x="4444717" y="1013285"/>
                    </a:lnTo>
                    <a:lnTo>
                      <a:pt x="4457463" y="1115250"/>
                    </a:lnTo>
                    <a:lnTo>
                      <a:pt x="4436220" y="1149239"/>
                    </a:lnTo>
                    <a:close/>
                    <a:moveTo>
                      <a:pt x="3949049" y="1170482"/>
                    </a:moveTo>
                    <a:lnTo>
                      <a:pt x="3723876" y="1242707"/>
                    </a:lnTo>
                    <a:lnTo>
                      <a:pt x="3603499" y="1106753"/>
                    </a:lnTo>
                    <a:lnTo>
                      <a:pt x="3949049" y="1170482"/>
                    </a:lnTo>
                    <a:close/>
                    <a:moveTo>
                      <a:pt x="3953298" y="1170482"/>
                    </a:moveTo>
                    <a:lnTo>
                      <a:pt x="4001449" y="1178979"/>
                    </a:lnTo>
                    <a:lnTo>
                      <a:pt x="3960379" y="1278112"/>
                    </a:lnTo>
                    <a:lnTo>
                      <a:pt x="3750783" y="1295107"/>
                    </a:lnTo>
                    <a:lnTo>
                      <a:pt x="3722459" y="1249788"/>
                    </a:lnTo>
                    <a:lnTo>
                      <a:pt x="3722459" y="1249788"/>
                    </a:lnTo>
                    <a:lnTo>
                      <a:pt x="3718210" y="1297939"/>
                    </a:lnTo>
                    <a:lnTo>
                      <a:pt x="3252283" y="1334760"/>
                    </a:lnTo>
                    <a:lnTo>
                      <a:pt x="3226792" y="1316349"/>
                    </a:lnTo>
                    <a:lnTo>
                      <a:pt x="3138988" y="1101088"/>
                    </a:lnTo>
                    <a:lnTo>
                      <a:pt x="3099335" y="1044441"/>
                    </a:lnTo>
                    <a:lnTo>
                      <a:pt x="3105000" y="1016117"/>
                    </a:lnTo>
                    <a:lnTo>
                      <a:pt x="3600667" y="1106753"/>
                    </a:lnTo>
                    <a:lnTo>
                      <a:pt x="3723876" y="1245540"/>
                    </a:lnTo>
                    <a:lnTo>
                      <a:pt x="3723876" y="1245540"/>
                    </a:lnTo>
                    <a:lnTo>
                      <a:pt x="3953298" y="1170482"/>
                    </a:lnTo>
                    <a:close/>
                    <a:moveTo>
                      <a:pt x="3069595" y="1006204"/>
                    </a:moveTo>
                    <a:lnTo>
                      <a:pt x="2776443" y="952388"/>
                    </a:lnTo>
                    <a:lnTo>
                      <a:pt x="3027109" y="946724"/>
                    </a:lnTo>
                    <a:lnTo>
                      <a:pt x="3069595" y="1006204"/>
                    </a:lnTo>
                    <a:close/>
                    <a:moveTo>
                      <a:pt x="3027109" y="943891"/>
                    </a:moveTo>
                    <a:lnTo>
                      <a:pt x="2993120" y="897157"/>
                    </a:lnTo>
                    <a:lnTo>
                      <a:pt x="3049768" y="885827"/>
                    </a:lnTo>
                    <a:lnTo>
                      <a:pt x="3114913" y="854671"/>
                    </a:lnTo>
                    <a:lnTo>
                      <a:pt x="3114913" y="854671"/>
                    </a:lnTo>
                    <a:lnTo>
                      <a:pt x="3106416" y="577098"/>
                    </a:lnTo>
                    <a:lnTo>
                      <a:pt x="3143237" y="594092"/>
                    </a:lnTo>
                    <a:lnTo>
                      <a:pt x="3170144" y="623832"/>
                    </a:lnTo>
                    <a:lnTo>
                      <a:pt x="3113497" y="942475"/>
                    </a:lnTo>
                    <a:lnTo>
                      <a:pt x="3027109" y="943891"/>
                    </a:lnTo>
                    <a:close/>
                    <a:moveTo>
                      <a:pt x="2379910" y="2493204"/>
                    </a:moveTo>
                    <a:lnTo>
                      <a:pt x="2405401" y="2537106"/>
                    </a:lnTo>
                    <a:lnTo>
                      <a:pt x="2401152" y="2552684"/>
                    </a:lnTo>
                    <a:lnTo>
                      <a:pt x="2287857" y="2449302"/>
                    </a:lnTo>
                    <a:lnTo>
                      <a:pt x="2379910" y="2493204"/>
                    </a:lnTo>
                    <a:close/>
                    <a:moveTo>
                      <a:pt x="2402569" y="2555516"/>
                    </a:moveTo>
                    <a:lnTo>
                      <a:pt x="2405401" y="2539938"/>
                    </a:lnTo>
                    <a:lnTo>
                      <a:pt x="2426644" y="2578175"/>
                    </a:lnTo>
                    <a:lnTo>
                      <a:pt x="2402569" y="2555516"/>
                    </a:lnTo>
                    <a:close/>
                    <a:moveTo>
                      <a:pt x="2777859" y="2681557"/>
                    </a:moveTo>
                    <a:lnTo>
                      <a:pt x="2777859" y="2681557"/>
                    </a:lnTo>
                    <a:lnTo>
                      <a:pt x="2777859" y="2681557"/>
                    </a:lnTo>
                    <a:lnTo>
                      <a:pt x="2777859" y="2681557"/>
                    </a:lnTo>
                    <a:close/>
                    <a:moveTo>
                      <a:pt x="3307515" y="2872743"/>
                    </a:moveTo>
                    <a:lnTo>
                      <a:pt x="3307515" y="2876992"/>
                    </a:lnTo>
                    <a:lnTo>
                      <a:pt x="3270694" y="2912397"/>
                    </a:lnTo>
                    <a:lnTo>
                      <a:pt x="3144653" y="2852916"/>
                    </a:lnTo>
                    <a:lnTo>
                      <a:pt x="3130491" y="2823177"/>
                    </a:lnTo>
                    <a:lnTo>
                      <a:pt x="3307515" y="2872743"/>
                    </a:lnTo>
                    <a:close/>
                    <a:moveTo>
                      <a:pt x="3505782" y="2660315"/>
                    </a:moveTo>
                    <a:lnTo>
                      <a:pt x="3586505" y="2809015"/>
                    </a:lnTo>
                    <a:lnTo>
                      <a:pt x="3586505" y="2809015"/>
                    </a:lnTo>
                    <a:lnTo>
                      <a:pt x="3624742" y="2718378"/>
                    </a:lnTo>
                    <a:lnTo>
                      <a:pt x="3696968" y="2753783"/>
                    </a:lnTo>
                    <a:lnTo>
                      <a:pt x="3439221" y="2882656"/>
                    </a:lnTo>
                    <a:lnTo>
                      <a:pt x="3400983" y="2606499"/>
                    </a:lnTo>
                    <a:lnTo>
                      <a:pt x="3505782" y="2660315"/>
                    </a:lnTo>
                    <a:close/>
                    <a:moveTo>
                      <a:pt x="3375492" y="1680311"/>
                    </a:moveTo>
                    <a:lnTo>
                      <a:pt x="3723876" y="1882826"/>
                    </a:lnTo>
                    <a:lnTo>
                      <a:pt x="3746534" y="2068347"/>
                    </a:lnTo>
                    <a:lnTo>
                      <a:pt x="3495868" y="1974878"/>
                    </a:lnTo>
                    <a:lnTo>
                      <a:pt x="3375492" y="1680311"/>
                    </a:lnTo>
                    <a:close/>
                    <a:moveTo>
                      <a:pt x="3699800" y="1666149"/>
                    </a:moveTo>
                    <a:lnTo>
                      <a:pt x="3892402" y="1891323"/>
                    </a:lnTo>
                    <a:lnTo>
                      <a:pt x="3868326" y="1964965"/>
                    </a:lnTo>
                    <a:lnTo>
                      <a:pt x="3725291" y="1881410"/>
                    </a:lnTo>
                    <a:lnTo>
                      <a:pt x="3699800" y="1666149"/>
                    </a:lnTo>
                    <a:close/>
                    <a:moveTo>
                      <a:pt x="4460295" y="1262534"/>
                    </a:moveTo>
                    <a:lnTo>
                      <a:pt x="4205381" y="1215800"/>
                    </a:lnTo>
                    <a:lnTo>
                      <a:pt x="4151565" y="1106753"/>
                    </a:lnTo>
                    <a:lnTo>
                      <a:pt x="4185554" y="1095424"/>
                    </a:lnTo>
                    <a:lnTo>
                      <a:pt x="4436220" y="1150655"/>
                    </a:lnTo>
                    <a:lnTo>
                      <a:pt x="4436220" y="1150655"/>
                    </a:lnTo>
                    <a:lnTo>
                      <a:pt x="4457463" y="1118083"/>
                    </a:lnTo>
                    <a:lnTo>
                      <a:pt x="4474457" y="1258286"/>
                    </a:lnTo>
                    <a:lnTo>
                      <a:pt x="4460295" y="1262534"/>
                    </a:lnTo>
                    <a:close/>
                    <a:moveTo>
                      <a:pt x="3983038" y="919816"/>
                    </a:moveTo>
                    <a:lnTo>
                      <a:pt x="4039686" y="882995"/>
                    </a:lnTo>
                    <a:lnTo>
                      <a:pt x="4056680" y="918400"/>
                    </a:lnTo>
                    <a:lnTo>
                      <a:pt x="3983038" y="919816"/>
                    </a:lnTo>
                    <a:close/>
                    <a:moveTo>
                      <a:pt x="4058096" y="919816"/>
                    </a:moveTo>
                    <a:lnTo>
                      <a:pt x="4086420" y="976464"/>
                    </a:lnTo>
                    <a:lnTo>
                      <a:pt x="4049600" y="1062851"/>
                    </a:lnTo>
                    <a:lnTo>
                      <a:pt x="3832922" y="1014701"/>
                    </a:lnTo>
                    <a:lnTo>
                      <a:pt x="3978790" y="921232"/>
                    </a:lnTo>
                    <a:lnTo>
                      <a:pt x="4058096" y="919816"/>
                    </a:lnTo>
                    <a:close/>
                    <a:moveTo>
                      <a:pt x="3828673" y="1017533"/>
                    </a:moveTo>
                    <a:lnTo>
                      <a:pt x="3828673" y="1017533"/>
                    </a:lnTo>
                    <a:lnTo>
                      <a:pt x="4049600" y="1067100"/>
                    </a:lnTo>
                    <a:lnTo>
                      <a:pt x="4014195" y="1150655"/>
                    </a:lnTo>
                    <a:lnTo>
                      <a:pt x="3951882" y="1170482"/>
                    </a:lnTo>
                    <a:lnTo>
                      <a:pt x="3599250" y="1105337"/>
                    </a:lnTo>
                    <a:lnTo>
                      <a:pt x="3450550" y="936810"/>
                    </a:lnTo>
                    <a:lnTo>
                      <a:pt x="3975957" y="924064"/>
                    </a:lnTo>
                    <a:lnTo>
                      <a:pt x="3828673" y="1017533"/>
                    </a:lnTo>
                    <a:close/>
                    <a:moveTo>
                      <a:pt x="3103583" y="1013285"/>
                    </a:moveTo>
                    <a:lnTo>
                      <a:pt x="3116329" y="943891"/>
                    </a:lnTo>
                    <a:lnTo>
                      <a:pt x="3449134" y="935394"/>
                    </a:lnTo>
                    <a:lnTo>
                      <a:pt x="3597834" y="1102505"/>
                    </a:lnTo>
                    <a:lnTo>
                      <a:pt x="3103583" y="1013285"/>
                    </a:lnTo>
                    <a:close/>
                    <a:moveTo>
                      <a:pt x="3116329" y="942475"/>
                    </a:moveTo>
                    <a:lnTo>
                      <a:pt x="3174393" y="626664"/>
                    </a:lnTo>
                    <a:lnTo>
                      <a:pt x="3446301" y="933978"/>
                    </a:lnTo>
                    <a:lnTo>
                      <a:pt x="3116329" y="942475"/>
                    </a:lnTo>
                    <a:close/>
                    <a:moveTo>
                      <a:pt x="3146069" y="592676"/>
                    </a:moveTo>
                    <a:lnTo>
                      <a:pt x="3121994" y="565768"/>
                    </a:lnTo>
                    <a:lnTo>
                      <a:pt x="3073843" y="494959"/>
                    </a:lnTo>
                    <a:lnTo>
                      <a:pt x="3211214" y="408571"/>
                    </a:lnTo>
                    <a:lnTo>
                      <a:pt x="3174393" y="606838"/>
                    </a:lnTo>
                    <a:lnTo>
                      <a:pt x="3146069" y="592676"/>
                    </a:lnTo>
                    <a:close/>
                    <a:moveTo>
                      <a:pt x="3212630" y="404322"/>
                    </a:moveTo>
                    <a:lnTo>
                      <a:pt x="3072427" y="492126"/>
                    </a:lnTo>
                    <a:lnTo>
                      <a:pt x="3051185" y="459554"/>
                    </a:lnTo>
                    <a:lnTo>
                      <a:pt x="3218295" y="371750"/>
                    </a:lnTo>
                    <a:lnTo>
                      <a:pt x="3212630" y="404322"/>
                    </a:lnTo>
                    <a:close/>
                    <a:moveTo>
                      <a:pt x="3106416" y="574265"/>
                    </a:moveTo>
                    <a:lnTo>
                      <a:pt x="3106416" y="574265"/>
                    </a:lnTo>
                    <a:lnTo>
                      <a:pt x="3114913" y="853255"/>
                    </a:lnTo>
                    <a:lnTo>
                      <a:pt x="3051185" y="884411"/>
                    </a:lnTo>
                    <a:lnTo>
                      <a:pt x="2994537" y="895741"/>
                    </a:lnTo>
                    <a:lnTo>
                      <a:pt x="2823177" y="653572"/>
                    </a:lnTo>
                    <a:lnTo>
                      <a:pt x="3073843" y="494959"/>
                    </a:lnTo>
                    <a:lnTo>
                      <a:pt x="3121994" y="565768"/>
                    </a:lnTo>
                    <a:lnTo>
                      <a:pt x="3143237" y="589843"/>
                    </a:lnTo>
                    <a:lnTo>
                      <a:pt x="3106416" y="574265"/>
                    </a:lnTo>
                    <a:close/>
                    <a:moveTo>
                      <a:pt x="2715547" y="952388"/>
                    </a:moveTo>
                    <a:lnTo>
                      <a:pt x="2715547" y="952388"/>
                    </a:lnTo>
                    <a:lnTo>
                      <a:pt x="2715547" y="953805"/>
                    </a:lnTo>
                    <a:lnTo>
                      <a:pt x="2715547" y="953805"/>
                    </a:lnTo>
                    <a:lnTo>
                      <a:pt x="2766530" y="952388"/>
                    </a:lnTo>
                    <a:lnTo>
                      <a:pt x="3071011" y="1009036"/>
                    </a:lnTo>
                    <a:lnTo>
                      <a:pt x="3096502" y="1044441"/>
                    </a:lnTo>
                    <a:lnTo>
                      <a:pt x="3069595" y="1190308"/>
                    </a:lnTo>
                    <a:lnTo>
                      <a:pt x="2545604" y="912735"/>
                    </a:lnTo>
                    <a:lnTo>
                      <a:pt x="2738206" y="948140"/>
                    </a:lnTo>
                    <a:lnTo>
                      <a:pt x="2715547" y="952388"/>
                    </a:lnTo>
                    <a:close/>
                    <a:moveTo>
                      <a:pt x="3167312" y="1273864"/>
                    </a:moveTo>
                    <a:lnTo>
                      <a:pt x="3182890" y="1340425"/>
                    </a:lnTo>
                    <a:lnTo>
                      <a:pt x="3042687" y="1351754"/>
                    </a:lnTo>
                    <a:lnTo>
                      <a:pt x="3069595" y="1201638"/>
                    </a:lnTo>
                    <a:lnTo>
                      <a:pt x="3167312" y="1273864"/>
                    </a:lnTo>
                    <a:close/>
                    <a:moveTo>
                      <a:pt x="3038439" y="1353170"/>
                    </a:moveTo>
                    <a:lnTo>
                      <a:pt x="2947802" y="1850253"/>
                    </a:lnTo>
                    <a:lnTo>
                      <a:pt x="2729709" y="1807768"/>
                    </a:lnTo>
                    <a:lnTo>
                      <a:pt x="2627743" y="1548605"/>
                    </a:lnTo>
                    <a:lnTo>
                      <a:pt x="2627743" y="1548605"/>
                    </a:lnTo>
                    <a:lnTo>
                      <a:pt x="2626327" y="1548605"/>
                    </a:lnTo>
                    <a:lnTo>
                      <a:pt x="2711299" y="1803519"/>
                    </a:lnTo>
                    <a:lnTo>
                      <a:pt x="2573928" y="1776611"/>
                    </a:lnTo>
                    <a:lnTo>
                      <a:pt x="2626327" y="1540108"/>
                    </a:lnTo>
                    <a:lnTo>
                      <a:pt x="2626327" y="1540108"/>
                    </a:lnTo>
                    <a:lnTo>
                      <a:pt x="2287857" y="1640657"/>
                    </a:lnTo>
                    <a:lnTo>
                      <a:pt x="2241123" y="1582593"/>
                    </a:lnTo>
                    <a:lnTo>
                      <a:pt x="2239707" y="1520281"/>
                    </a:lnTo>
                    <a:lnTo>
                      <a:pt x="2548436" y="1391407"/>
                    </a:lnTo>
                    <a:lnTo>
                      <a:pt x="3038439" y="1353170"/>
                    </a:lnTo>
                    <a:close/>
                    <a:moveTo>
                      <a:pt x="2201469" y="1533027"/>
                    </a:moveTo>
                    <a:lnTo>
                      <a:pt x="2191556" y="1520281"/>
                    </a:lnTo>
                    <a:lnTo>
                      <a:pt x="2236874" y="1497622"/>
                    </a:lnTo>
                    <a:lnTo>
                      <a:pt x="2236874" y="1517448"/>
                    </a:lnTo>
                    <a:lnTo>
                      <a:pt x="2201469" y="1533027"/>
                    </a:lnTo>
                    <a:close/>
                    <a:moveTo>
                      <a:pt x="2202886" y="1535859"/>
                    </a:moveTo>
                    <a:lnTo>
                      <a:pt x="2236874" y="1521697"/>
                    </a:lnTo>
                    <a:lnTo>
                      <a:pt x="2238290" y="1581177"/>
                    </a:lnTo>
                    <a:lnTo>
                      <a:pt x="2202886" y="1535859"/>
                    </a:lnTo>
                    <a:close/>
                    <a:moveTo>
                      <a:pt x="1930977" y="1646322"/>
                    </a:moveTo>
                    <a:lnTo>
                      <a:pt x="2190140" y="1521697"/>
                    </a:lnTo>
                    <a:lnTo>
                      <a:pt x="2200053" y="1534443"/>
                    </a:lnTo>
                    <a:lnTo>
                      <a:pt x="1930977" y="1646322"/>
                    </a:lnTo>
                    <a:close/>
                    <a:moveTo>
                      <a:pt x="1691640" y="1429645"/>
                    </a:moveTo>
                    <a:lnTo>
                      <a:pt x="1687392" y="1456552"/>
                    </a:lnTo>
                    <a:lnTo>
                      <a:pt x="1623663" y="1462217"/>
                    </a:lnTo>
                    <a:lnTo>
                      <a:pt x="1691640" y="1429645"/>
                    </a:lnTo>
                    <a:close/>
                    <a:moveTo>
                      <a:pt x="1793606" y="1381494"/>
                    </a:moveTo>
                    <a:lnTo>
                      <a:pt x="1694473" y="1426812"/>
                    </a:lnTo>
                    <a:lnTo>
                      <a:pt x="1721381" y="1272448"/>
                    </a:lnTo>
                    <a:lnTo>
                      <a:pt x="1837508" y="1314933"/>
                    </a:lnTo>
                    <a:lnTo>
                      <a:pt x="1793606" y="1381494"/>
                    </a:lnTo>
                    <a:close/>
                    <a:moveTo>
                      <a:pt x="1521697" y="1472130"/>
                    </a:moveTo>
                    <a:lnTo>
                      <a:pt x="1610918" y="1465049"/>
                    </a:lnTo>
                    <a:lnTo>
                      <a:pt x="1428229" y="1548605"/>
                    </a:lnTo>
                    <a:lnTo>
                      <a:pt x="1525946" y="1491957"/>
                    </a:lnTo>
                    <a:lnTo>
                      <a:pt x="1525946" y="1491957"/>
                    </a:lnTo>
                    <a:lnTo>
                      <a:pt x="1521697" y="1472130"/>
                    </a:lnTo>
                    <a:close/>
                    <a:moveTo>
                      <a:pt x="1474963" y="1235626"/>
                    </a:moveTo>
                    <a:lnTo>
                      <a:pt x="1520281" y="1470714"/>
                    </a:lnTo>
                    <a:lnTo>
                      <a:pt x="1358835" y="1483460"/>
                    </a:lnTo>
                    <a:lnTo>
                      <a:pt x="1474963" y="1235626"/>
                    </a:lnTo>
                    <a:close/>
                    <a:moveTo>
                      <a:pt x="1746872" y="1453720"/>
                    </a:moveTo>
                    <a:lnTo>
                      <a:pt x="1668981" y="1574096"/>
                    </a:lnTo>
                    <a:lnTo>
                      <a:pt x="1688808" y="1457969"/>
                    </a:lnTo>
                    <a:lnTo>
                      <a:pt x="1746872" y="1453720"/>
                    </a:lnTo>
                    <a:close/>
                    <a:moveTo>
                      <a:pt x="1688808" y="1456552"/>
                    </a:moveTo>
                    <a:lnTo>
                      <a:pt x="1693057" y="1429645"/>
                    </a:lnTo>
                    <a:lnTo>
                      <a:pt x="1790774" y="1384327"/>
                    </a:lnTo>
                    <a:lnTo>
                      <a:pt x="1746872" y="1452304"/>
                    </a:lnTo>
                    <a:lnTo>
                      <a:pt x="1688808" y="1456552"/>
                    </a:lnTo>
                    <a:close/>
                    <a:moveTo>
                      <a:pt x="1838924" y="1314933"/>
                    </a:moveTo>
                    <a:lnTo>
                      <a:pt x="1882826" y="1330511"/>
                    </a:lnTo>
                    <a:lnTo>
                      <a:pt x="1882826" y="1330511"/>
                    </a:lnTo>
                    <a:lnTo>
                      <a:pt x="1959300" y="1234210"/>
                    </a:lnTo>
                    <a:lnTo>
                      <a:pt x="2000370" y="1285193"/>
                    </a:lnTo>
                    <a:lnTo>
                      <a:pt x="1797855" y="1378662"/>
                    </a:lnTo>
                    <a:lnTo>
                      <a:pt x="1838924" y="1314933"/>
                    </a:lnTo>
                    <a:close/>
                    <a:moveTo>
                      <a:pt x="1718548" y="1271031"/>
                    </a:moveTo>
                    <a:lnTo>
                      <a:pt x="1691640" y="1428229"/>
                    </a:lnTo>
                    <a:lnTo>
                      <a:pt x="1616582" y="1462217"/>
                    </a:lnTo>
                    <a:lnTo>
                      <a:pt x="1521697" y="1469298"/>
                    </a:lnTo>
                    <a:lnTo>
                      <a:pt x="1476380" y="1228546"/>
                    </a:lnTo>
                    <a:lnTo>
                      <a:pt x="1476380" y="1228546"/>
                    </a:lnTo>
                    <a:lnTo>
                      <a:pt x="1356003" y="1482044"/>
                    </a:lnTo>
                    <a:lnTo>
                      <a:pt x="1180395" y="1496206"/>
                    </a:lnTo>
                    <a:lnTo>
                      <a:pt x="1467882" y="1225713"/>
                    </a:lnTo>
                    <a:lnTo>
                      <a:pt x="1584010" y="1167649"/>
                    </a:lnTo>
                    <a:lnTo>
                      <a:pt x="1562767" y="1214384"/>
                    </a:lnTo>
                    <a:lnTo>
                      <a:pt x="1562767" y="1214384"/>
                    </a:lnTo>
                    <a:lnTo>
                      <a:pt x="1718548" y="1271031"/>
                    </a:lnTo>
                    <a:close/>
                    <a:moveTo>
                      <a:pt x="1751121" y="1452304"/>
                    </a:moveTo>
                    <a:lnTo>
                      <a:pt x="1796438" y="1382910"/>
                    </a:lnTo>
                    <a:lnTo>
                      <a:pt x="2003203" y="1288026"/>
                    </a:lnTo>
                    <a:lnTo>
                      <a:pt x="2112249" y="1423980"/>
                    </a:lnTo>
                    <a:lnTo>
                      <a:pt x="1751121" y="1452304"/>
                    </a:lnTo>
                    <a:close/>
                    <a:moveTo>
                      <a:pt x="1881410" y="1329095"/>
                    </a:moveTo>
                    <a:lnTo>
                      <a:pt x="1838924" y="1313517"/>
                    </a:lnTo>
                    <a:lnTo>
                      <a:pt x="1919647" y="1187476"/>
                    </a:lnTo>
                    <a:lnTo>
                      <a:pt x="1956468" y="1234210"/>
                    </a:lnTo>
                    <a:lnTo>
                      <a:pt x="1881410" y="1329095"/>
                    </a:lnTo>
                    <a:close/>
                    <a:moveTo>
                      <a:pt x="1837508" y="1313517"/>
                    </a:moveTo>
                    <a:lnTo>
                      <a:pt x="1719964" y="1271031"/>
                    </a:lnTo>
                    <a:lnTo>
                      <a:pt x="1751121" y="1084094"/>
                    </a:lnTo>
                    <a:lnTo>
                      <a:pt x="1812017" y="1054354"/>
                    </a:lnTo>
                    <a:lnTo>
                      <a:pt x="1918231" y="1187476"/>
                    </a:lnTo>
                    <a:lnTo>
                      <a:pt x="1837508" y="1313517"/>
                    </a:lnTo>
                    <a:close/>
                    <a:moveTo>
                      <a:pt x="1718548" y="1269615"/>
                    </a:moveTo>
                    <a:lnTo>
                      <a:pt x="1565599" y="1212967"/>
                    </a:lnTo>
                    <a:lnTo>
                      <a:pt x="1586842" y="1166233"/>
                    </a:lnTo>
                    <a:lnTo>
                      <a:pt x="1749704" y="1084094"/>
                    </a:lnTo>
                    <a:lnTo>
                      <a:pt x="1718548" y="1269615"/>
                    </a:lnTo>
                    <a:close/>
                    <a:moveTo>
                      <a:pt x="1316350" y="1571264"/>
                    </a:moveTo>
                    <a:lnTo>
                      <a:pt x="1409818" y="1572680"/>
                    </a:lnTo>
                    <a:lnTo>
                      <a:pt x="1448056" y="1646322"/>
                    </a:lnTo>
                    <a:lnTo>
                      <a:pt x="1428229" y="1646322"/>
                    </a:lnTo>
                    <a:lnTo>
                      <a:pt x="1309269" y="1588258"/>
                    </a:lnTo>
                    <a:lnTo>
                      <a:pt x="1316350" y="1571264"/>
                    </a:lnTo>
                    <a:close/>
                    <a:moveTo>
                      <a:pt x="2187307" y="2433724"/>
                    </a:moveTo>
                    <a:lnTo>
                      <a:pt x="2187307" y="2433724"/>
                    </a:lnTo>
                    <a:lnTo>
                      <a:pt x="2054185" y="2452135"/>
                    </a:lnTo>
                    <a:lnTo>
                      <a:pt x="2137741" y="1994705"/>
                    </a:lnTo>
                    <a:lnTo>
                      <a:pt x="2251036" y="2049936"/>
                    </a:lnTo>
                    <a:lnTo>
                      <a:pt x="2258117" y="2303435"/>
                    </a:lnTo>
                    <a:lnTo>
                      <a:pt x="2258117" y="2304851"/>
                    </a:lnTo>
                    <a:lnTo>
                      <a:pt x="2323262" y="2085341"/>
                    </a:lnTo>
                    <a:lnTo>
                      <a:pt x="2487540" y="2164648"/>
                    </a:lnTo>
                    <a:lnTo>
                      <a:pt x="2436557" y="2396903"/>
                    </a:lnTo>
                    <a:lnTo>
                      <a:pt x="2408233" y="2402568"/>
                    </a:lnTo>
                    <a:lnTo>
                      <a:pt x="2272279" y="2299186"/>
                    </a:lnTo>
                    <a:lnTo>
                      <a:pt x="2270863" y="2299186"/>
                    </a:lnTo>
                    <a:lnTo>
                      <a:pt x="2336008" y="2415314"/>
                    </a:lnTo>
                    <a:lnTo>
                      <a:pt x="2197221" y="2439389"/>
                    </a:lnTo>
                    <a:lnTo>
                      <a:pt x="2187307" y="2433724"/>
                    </a:lnTo>
                    <a:lnTo>
                      <a:pt x="2191556" y="2439389"/>
                    </a:lnTo>
                    <a:lnTo>
                      <a:pt x="2183059" y="2440805"/>
                    </a:lnTo>
                    <a:lnTo>
                      <a:pt x="2187307" y="2433724"/>
                    </a:lnTo>
                    <a:close/>
                    <a:moveTo>
                      <a:pt x="2336008" y="2415314"/>
                    </a:moveTo>
                    <a:lnTo>
                      <a:pt x="2377077" y="2488955"/>
                    </a:lnTo>
                    <a:lnTo>
                      <a:pt x="2277944" y="2440805"/>
                    </a:lnTo>
                    <a:lnTo>
                      <a:pt x="2276528" y="2440805"/>
                    </a:lnTo>
                    <a:lnTo>
                      <a:pt x="2399736" y="2555516"/>
                    </a:lnTo>
                    <a:lnTo>
                      <a:pt x="2395488" y="2578175"/>
                    </a:lnTo>
                    <a:lnTo>
                      <a:pt x="2198637" y="2439389"/>
                    </a:lnTo>
                    <a:lnTo>
                      <a:pt x="2336008" y="2415314"/>
                    </a:lnTo>
                    <a:close/>
                    <a:moveTo>
                      <a:pt x="2532858" y="2674476"/>
                    </a:moveTo>
                    <a:lnTo>
                      <a:pt x="2432309" y="2582424"/>
                    </a:lnTo>
                    <a:lnTo>
                      <a:pt x="2406817" y="2537106"/>
                    </a:lnTo>
                    <a:lnTo>
                      <a:pt x="2412482" y="2508782"/>
                    </a:lnTo>
                    <a:lnTo>
                      <a:pt x="2769362" y="2678725"/>
                    </a:lnTo>
                    <a:lnTo>
                      <a:pt x="2777859" y="2685806"/>
                    </a:lnTo>
                    <a:lnTo>
                      <a:pt x="2793438" y="2729708"/>
                    </a:lnTo>
                    <a:lnTo>
                      <a:pt x="2576761" y="2670228"/>
                    </a:lnTo>
                    <a:lnTo>
                      <a:pt x="2576761" y="2670228"/>
                    </a:lnTo>
                    <a:lnTo>
                      <a:pt x="2629159" y="2743870"/>
                    </a:lnTo>
                    <a:lnTo>
                      <a:pt x="2532858" y="2674476"/>
                    </a:lnTo>
                    <a:close/>
                    <a:moveTo>
                      <a:pt x="2923727" y="2792020"/>
                    </a:moveTo>
                    <a:lnTo>
                      <a:pt x="2942138" y="2772194"/>
                    </a:lnTo>
                    <a:lnTo>
                      <a:pt x="2998785" y="2787772"/>
                    </a:lnTo>
                    <a:lnTo>
                      <a:pt x="3140404" y="2855749"/>
                    </a:lnTo>
                    <a:lnTo>
                      <a:pt x="3197052" y="2981790"/>
                    </a:lnTo>
                    <a:lnTo>
                      <a:pt x="3185723" y="2993119"/>
                    </a:lnTo>
                    <a:lnTo>
                      <a:pt x="2923727" y="2792020"/>
                    </a:lnTo>
                    <a:close/>
                    <a:moveTo>
                      <a:pt x="3323093" y="2942136"/>
                    </a:moveTo>
                    <a:lnTo>
                      <a:pt x="3209797" y="2998784"/>
                    </a:lnTo>
                    <a:lnTo>
                      <a:pt x="3201301" y="2981790"/>
                    </a:lnTo>
                    <a:lnTo>
                      <a:pt x="3269278" y="2916645"/>
                    </a:lnTo>
                    <a:lnTo>
                      <a:pt x="3323093" y="2942136"/>
                    </a:lnTo>
                    <a:close/>
                    <a:moveTo>
                      <a:pt x="3325925" y="2943553"/>
                    </a:moveTo>
                    <a:lnTo>
                      <a:pt x="3342920" y="2952050"/>
                    </a:lnTo>
                    <a:lnTo>
                      <a:pt x="3372659" y="3103582"/>
                    </a:lnTo>
                    <a:lnTo>
                      <a:pt x="3216878" y="3017195"/>
                    </a:lnTo>
                    <a:lnTo>
                      <a:pt x="3209797" y="3001616"/>
                    </a:lnTo>
                    <a:lnTo>
                      <a:pt x="3325925" y="2943553"/>
                    </a:lnTo>
                    <a:close/>
                    <a:moveTo>
                      <a:pt x="3345752" y="2949217"/>
                    </a:moveTo>
                    <a:lnTo>
                      <a:pt x="3342920" y="2933639"/>
                    </a:lnTo>
                    <a:lnTo>
                      <a:pt x="3436388" y="2886905"/>
                    </a:lnTo>
                    <a:lnTo>
                      <a:pt x="3451967" y="2998784"/>
                    </a:lnTo>
                    <a:lnTo>
                      <a:pt x="3345752" y="2949217"/>
                    </a:lnTo>
                    <a:close/>
                    <a:moveTo>
                      <a:pt x="3623325" y="2716962"/>
                    </a:moveTo>
                    <a:lnTo>
                      <a:pt x="3570926" y="2690054"/>
                    </a:lnTo>
                    <a:lnTo>
                      <a:pt x="3507198" y="2658898"/>
                    </a:lnTo>
                    <a:lnTo>
                      <a:pt x="3369828" y="2403984"/>
                    </a:lnTo>
                    <a:lnTo>
                      <a:pt x="3369828" y="2402568"/>
                    </a:lnTo>
                    <a:lnTo>
                      <a:pt x="3398152" y="2605083"/>
                    </a:lnTo>
                    <a:lnTo>
                      <a:pt x="3189971" y="2503117"/>
                    </a:lnTo>
                    <a:lnTo>
                      <a:pt x="3325925" y="2354417"/>
                    </a:lnTo>
                    <a:lnTo>
                      <a:pt x="3701216" y="2456383"/>
                    </a:lnTo>
                    <a:lnTo>
                      <a:pt x="3702633" y="2456383"/>
                    </a:lnTo>
                    <a:lnTo>
                      <a:pt x="3395319" y="2277943"/>
                    </a:lnTo>
                    <a:lnTo>
                      <a:pt x="3549683" y="2109416"/>
                    </a:lnTo>
                    <a:lnTo>
                      <a:pt x="3552516" y="2110833"/>
                    </a:lnTo>
                    <a:lnTo>
                      <a:pt x="3552516" y="2110833"/>
                    </a:lnTo>
                    <a:lnTo>
                      <a:pt x="3551100" y="2106584"/>
                    </a:lnTo>
                    <a:lnTo>
                      <a:pt x="3553933" y="2103752"/>
                    </a:lnTo>
                    <a:lnTo>
                      <a:pt x="3553933" y="2103752"/>
                    </a:lnTo>
                    <a:lnTo>
                      <a:pt x="3549683" y="2103752"/>
                    </a:lnTo>
                    <a:lnTo>
                      <a:pt x="3497285" y="1974878"/>
                    </a:lnTo>
                    <a:lnTo>
                      <a:pt x="3746534" y="2068347"/>
                    </a:lnTo>
                    <a:lnTo>
                      <a:pt x="3780523" y="2343088"/>
                    </a:lnTo>
                    <a:lnTo>
                      <a:pt x="3623325" y="2716962"/>
                    </a:lnTo>
                    <a:close/>
                    <a:moveTo>
                      <a:pt x="3726707" y="1884242"/>
                    </a:moveTo>
                    <a:lnTo>
                      <a:pt x="3868326" y="1966381"/>
                    </a:lnTo>
                    <a:lnTo>
                      <a:pt x="3825841" y="2098087"/>
                    </a:lnTo>
                    <a:lnTo>
                      <a:pt x="3747950" y="2069763"/>
                    </a:lnTo>
                    <a:lnTo>
                      <a:pt x="3726707" y="1884242"/>
                    </a:lnTo>
                    <a:close/>
                    <a:moveTo>
                      <a:pt x="3893818" y="1892739"/>
                    </a:moveTo>
                    <a:lnTo>
                      <a:pt x="4041102" y="2065514"/>
                    </a:lnTo>
                    <a:lnTo>
                      <a:pt x="3869743" y="1966381"/>
                    </a:lnTo>
                    <a:lnTo>
                      <a:pt x="3893818" y="1892739"/>
                    </a:lnTo>
                    <a:close/>
                    <a:moveTo>
                      <a:pt x="3696968" y="1660484"/>
                    </a:moveTo>
                    <a:lnTo>
                      <a:pt x="3696968" y="1660484"/>
                    </a:lnTo>
                    <a:lnTo>
                      <a:pt x="3723876" y="1879993"/>
                    </a:lnTo>
                    <a:lnTo>
                      <a:pt x="3374076" y="1677478"/>
                    </a:lnTo>
                    <a:lnTo>
                      <a:pt x="3235289" y="1337592"/>
                    </a:lnTo>
                    <a:lnTo>
                      <a:pt x="3250867" y="1336176"/>
                    </a:lnTo>
                    <a:lnTo>
                      <a:pt x="3682806" y="1659068"/>
                    </a:lnTo>
                    <a:lnTo>
                      <a:pt x="3682806" y="1659068"/>
                    </a:lnTo>
                    <a:lnTo>
                      <a:pt x="3718210" y="1299355"/>
                    </a:lnTo>
                    <a:lnTo>
                      <a:pt x="3749367" y="1296523"/>
                    </a:lnTo>
                    <a:lnTo>
                      <a:pt x="3871159" y="1489125"/>
                    </a:lnTo>
                    <a:lnTo>
                      <a:pt x="3861245" y="1514616"/>
                    </a:lnTo>
                    <a:lnTo>
                      <a:pt x="3882488" y="1506119"/>
                    </a:lnTo>
                    <a:lnTo>
                      <a:pt x="3919310" y="1564183"/>
                    </a:lnTo>
                    <a:lnTo>
                      <a:pt x="3895234" y="1762449"/>
                    </a:lnTo>
                    <a:lnTo>
                      <a:pt x="3895234" y="1762449"/>
                    </a:lnTo>
                    <a:lnTo>
                      <a:pt x="3936304" y="1751120"/>
                    </a:lnTo>
                    <a:lnTo>
                      <a:pt x="3892402" y="1887074"/>
                    </a:lnTo>
                    <a:lnTo>
                      <a:pt x="3696968" y="1660484"/>
                    </a:lnTo>
                    <a:close/>
                    <a:moveTo>
                      <a:pt x="4308763" y="1474963"/>
                    </a:moveTo>
                    <a:lnTo>
                      <a:pt x="4308763" y="1474963"/>
                    </a:lnTo>
                    <a:lnTo>
                      <a:pt x="4177057" y="1389991"/>
                    </a:lnTo>
                    <a:lnTo>
                      <a:pt x="4270525" y="1353170"/>
                    </a:lnTo>
                    <a:lnTo>
                      <a:pt x="4402231" y="1622247"/>
                    </a:lnTo>
                    <a:lnTo>
                      <a:pt x="4269109" y="1659068"/>
                    </a:lnTo>
                    <a:lnTo>
                      <a:pt x="4308763" y="1474963"/>
                    </a:lnTo>
                    <a:close/>
                    <a:moveTo>
                      <a:pt x="4271941" y="1351754"/>
                    </a:moveTo>
                    <a:lnTo>
                      <a:pt x="4206797" y="1217216"/>
                    </a:lnTo>
                    <a:lnTo>
                      <a:pt x="4460295" y="1263950"/>
                    </a:lnTo>
                    <a:lnTo>
                      <a:pt x="4460295" y="1263950"/>
                    </a:lnTo>
                    <a:lnTo>
                      <a:pt x="4475873" y="1259702"/>
                    </a:lnTo>
                    <a:lnTo>
                      <a:pt x="4477289" y="1269615"/>
                    </a:lnTo>
                    <a:lnTo>
                      <a:pt x="4271941" y="1351754"/>
                    </a:lnTo>
                    <a:close/>
                    <a:moveTo>
                      <a:pt x="4539602" y="982128"/>
                    </a:moveTo>
                    <a:lnTo>
                      <a:pt x="4458878" y="1112418"/>
                    </a:lnTo>
                    <a:lnTo>
                      <a:pt x="4446133" y="1013285"/>
                    </a:lnTo>
                    <a:lnTo>
                      <a:pt x="4539602" y="982128"/>
                    </a:lnTo>
                    <a:close/>
                    <a:moveTo>
                      <a:pt x="4446133" y="1010452"/>
                    </a:moveTo>
                    <a:lnTo>
                      <a:pt x="4433387" y="911319"/>
                    </a:lnTo>
                    <a:lnTo>
                      <a:pt x="4569341" y="908486"/>
                    </a:lnTo>
                    <a:lnTo>
                      <a:pt x="4579255" y="918400"/>
                    </a:lnTo>
                    <a:lnTo>
                      <a:pt x="4541017" y="980712"/>
                    </a:lnTo>
                    <a:lnTo>
                      <a:pt x="4446133" y="1010452"/>
                    </a:lnTo>
                    <a:close/>
                    <a:moveTo>
                      <a:pt x="4652897" y="802272"/>
                    </a:moveTo>
                    <a:lnTo>
                      <a:pt x="4589168" y="905654"/>
                    </a:lnTo>
                    <a:lnTo>
                      <a:pt x="4572174" y="905654"/>
                    </a:lnTo>
                    <a:lnTo>
                      <a:pt x="4414977" y="749873"/>
                    </a:lnTo>
                    <a:lnTo>
                      <a:pt x="4397982" y="618167"/>
                    </a:lnTo>
                    <a:lnTo>
                      <a:pt x="4652897" y="802272"/>
                    </a:lnTo>
                    <a:close/>
                    <a:moveTo>
                      <a:pt x="3400983" y="92760"/>
                    </a:moveTo>
                    <a:lnTo>
                      <a:pt x="3528440" y="350507"/>
                    </a:lnTo>
                    <a:lnTo>
                      <a:pt x="3453382" y="731463"/>
                    </a:lnTo>
                    <a:lnTo>
                      <a:pt x="3177225" y="605422"/>
                    </a:lnTo>
                    <a:lnTo>
                      <a:pt x="3214047" y="404322"/>
                    </a:lnTo>
                    <a:lnTo>
                      <a:pt x="3313180" y="342010"/>
                    </a:lnTo>
                    <a:lnTo>
                      <a:pt x="3313180" y="342010"/>
                    </a:lnTo>
                    <a:lnTo>
                      <a:pt x="3231040" y="138079"/>
                    </a:lnTo>
                    <a:lnTo>
                      <a:pt x="3150318" y="13454"/>
                    </a:lnTo>
                    <a:lnTo>
                      <a:pt x="3400983" y="92760"/>
                    </a:lnTo>
                    <a:close/>
                    <a:moveTo>
                      <a:pt x="2412482" y="1399905"/>
                    </a:moveTo>
                    <a:lnTo>
                      <a:pt x="2238290" y="1414067"/>
                    </a:lnTo>
                    <a:lnTo>
                      <a:pt x="2234042" y="1231378"/>
                    </a:lnTo>
                    <a:lnTo>
                      <a:pt x="2412482" y="1399905"/>
                    </a:lnTo>
                    <a:close/>
                    <a:moveTo>
                      <a:pt x="1268199" y="1569848"/>
                    </a:moveTo>
                    <a:lnTo>
                      <a:pt x="1305020" y="1588258"/>
                    </a:lnTo>
                    <a:lnTo>
                      <a:pt x="1279529" y="1640657"/>
                    </a:lnTo>
                    <a:lnTo>
                      <a:pt x="1184644" y="1637825"/>
                    </a:lnTo>
                    <a:lnTo>
                      <a:pt x="1178979" y="1568431"/>
                    </a:lnTo>
                    <a:lnTo>
                      <a:pt x="1268199" y="1569848"/>
                    </a:lnTo>
                    <a:close/>
                    <a:moveTo>
                      <a:pt x="698890" y="1550021"/>
                    </a:moveTo>
                    <a:lnTo>
                      <a:pt x="904238" y="1497622"/>
                    </a:lnTo>
                    <a:lnTo>
                      <a:pt x="885828" y="1561350"/>
                    </a:lnTo>
                    <a:lnTo>
                      <a:pt x="885828" y="1561350"/>
                    </a:lnTo>
                    <a:lnTo>
                      <a:pt x="1176147" y="1567015"/>
                    </a:lnTo>
                    <a:lnTo>
                      <a:pt x="1181812" y="1636409"/>
                    </a:lnTo>
                    <a:lnTo>
                      <a:pt x="1060019" y="1632160"/>
                    </a:lnTo>
                    <a:lnTo>
                      <a:pt x="1060019" y="1632160"/>
                    </a:lnTo>
                    <a:lnTo>
                      <a:pt x="1197390" y="1796438"/>
                    </a:lnTo>
                    <a:lnTo>
                      <a:pt x="1197390" y="1803519"/>
                    </a:lnTo>
                    <a:lnTo>
                      <a:pt x="875914" y="1854502"/>
                    </a:lnTo>
                    <a:lnTo>
                      <a:pt x="844758" y="1807768"/>
                    </a:lnTo>
                    <a:lnTo>
                      <a:pt x="873082" y="1803519"/>
                    </a:lnTo>
                    <a:lnTo>
                      <a:pt x="873082" y="1803519"/>
                    </a:lnTo>
                    <a:lnTo>
                      <a:pt x="698890" y="1550021"/>
                    </a:lnTo>
                    <a:close/>
                    <a:moveTo>
                      <a:pt x="1263951" y="1567015"/>
                    </a:moveTo>
                    <a:lnTo>
                      <a:pt x="1178979" y="1565599"/>
                    </a:lnTo>
                    <a:lnTo>
                      <a:pt x="1174731" y="1524529"/>
                    </a:lnTo>
                    <a:lnTo>
                      <a:pt x="1263951" y="1567015"/>
                    </a:lnTo>
                    <a:close/>
                    <a:moveTo>
                      <a:pt x="1065684" y="1634992"/>
                    </a:moveTo>
                    <a:lnTo>
                      <a:pt x="1183228" y="1639241"/>
                    </a:lnTo>
                    <a:lnTo>
                      <a:pt x="1197390" y="1793606"/>
                    </a:lnTo>
                    <a:lnTo>
                      <a:pt x="1065684" y="1634992"/>
                    </a:lnTo>
                    <a:close/>
                    <a:moveTo>
                      <a:pt x="1200222" y="1796438"/>
                    </a:moveTo>
                    <a:lnTo>
                      <a:pt x="1186060" y="1639241"/>
                    </a:lnTo>
                    <a:lnTo>
                      <a:pt x="1280945" y="1642073"/>
                    </a:lnTo>
                    <a:lnTo>
                      <a:pt x="1205887" y="1802103"/>
                    </a:lnTo>
                    <a:lnTo>
                      <a:pt x="1200222" y="1796438"/>
                    </a:lnTo>
                    <a:close/>
                    <a:moveTo>
                      <a:pt x="1422564" y="1644906"/>
                    </a:moveTo>
                    <a:lnTo>
                      <a:pt x="1283777" y="1640657"/>
                    </a:lnTo>
                    <a:lnTo>
                      <a:pt x="1307852" y="1588258"/>
                    </a:lnTo>
                    <a:lnTo>
                      <a:pt x="1422564" y="1644906"/>
                    </a:lnTo>
                    <a:close/>
                    <a:moveTo>
                      <a:pt x="1449472" y="1647738"/>
                    </a:moveTo>
                    <a:lnTo>
                      <a:pt x="1455137" y="1657651"/>
                    </a:lnTo>
                    <a:lnTo>
                      <a:pt x="1432478" y="1646322"/>
                    </a:lnTo>
                    <a:lnTo>
                      <a:pt x="1449472" y="1647738"/>
                    </a:lnTo>
                    <a:close/>
                    <a:moveTo>
                      <a:pt x="2674477" y="2814679"/>
                    </a:moveTo>
                    <a:lnTo>
                      <a:pt x="2674477" y="2813263"/>
                    </a:lnTo>
                    <a:lnTo>
                      <a:pt x="2634824" y="2942136"/>
                    </a:lnTo>
                    <a:lnTo>
                      <a:pt x="2454968" y="2623494"/>
                    </a:lnTo>
                    <a:lnTo>
                      <a:pt x="2531442" y="2677309"/>
                    </a:lnTo>
                    <a:lnTo>
                      <a:pt x="2675894" y="2810431"/>
                    </a:lnTo>
                    <a:lnTo>
                      <a:pt x="2675894" y="2810431"/>
                    </a:lnTo>
                    <a:lnTo>
                      <a:pt x="2677310" y="2809015"/>
                    </a:lnTo>
                    <a:lnTo>
                      <a:pt x="2636240" y="2750951"/>
                    </a:lnTo>
                    <a:lnTo>
                      <a:pt x="2834507" y="2891154"/>
                    </a:lnTo>
                    <a:lnTo>
                      <a:pt x="2668813" y="2974709"/>
                    </a:lnTo>
                    <a:lnTo>
                      <a:pt x="2674477" y="2814679"/>
                    </a:lnTo>
                    <a:close/>
                    <a:moveTo>
                      <a:pt x="2520112" y="2665979"/>
                    </a:moveTo>
                    <a:lnTo>
                      <a:pt x="2452135" y="2619245"/>
                    </a:lnTo>
                    <a:lnTo>
                      <a:pt x="2435141" y="2589505"/>
                    </a:lnTo>
                    <a:lnTo>
                      <a:pt x="2520112" y="2665979"/>
                    </a:lnTo>
                    <a:close/>
                    <a:moveTo>
                      <a:pt x="2654651" y="2981790"/>
                    </a:moveTo>
                    <a:lnTo>
                      <a:pt x="2617830" y="3000200"/>
                    </a:lnTo>
                    <a:lnTo>
                      <a:pt x="2634824" y="2946385"/>
                    </a:lnTo>
                    <a:lnTo>
                      <a:pt x="2654651" y="2981790"/>
                    </a:lnTo>
                    <a:close/>
                    <a:moveTo>
                      <a:pt x="2671645" y="2827425"/>
                    </a:moveTo>
                    <a:lnTo>
                      <a:pt x="2668813" y="2974709"/>
                    </a:lnTo>
                    <a:lnTo>
                      <a:pt x="2657483" y="2980374"/>
                    </a:lnTo>
                    <a:lnTo>
                      <a:pt x="2636240" y="2943553"/>
                    </a:lnTo>
                    <a:lnTo>
                      <a:pt x="2671645" y="2827425"/>
                    </a:lnTo>
                    <a:close/>
                    <a:moveTo>
                      <a:pt x="2668813" y="2977541"/>
                    </a:moveTo>
                    <a:lnTo>
                      <a:pt x="2668813" y="3001616"/>
                    </a:lnTo>
                    <a:lnTo>
                      <a:pt x="2658899" y="2983206"/>
                    </a:lnTo>
                    <a:lnTo>
                      <a:pt x="2668813" y="2977541"/>
                    </a:lnTo>
                    <a:close/>
                    <a:moveTo>
                      <a:pt x="2695720" y="3054016"/>
                    </a:moveTo>
                    <a:lnTo>
                      <a:pt x="2661732" y="3381156"/>
                    </a:lnTo>
                    <a:lnTo>
                      <a:pt x="2670229" y="3008697"/>
                    </a:lnTo>
                    <a:lnTo>
                      <a:pt x="2695720" y="3054016"/>
                    </a:lnTo>
                    <a:close/>
                    <a:moveTo>
                      <a:pt x="2861415" y="2746702"/>
                    </a:moveTo>
                    <a:lnTo>
                      <a:pt x="2797686" y="2728292"/>
                    </a:lnTo>
                    <a:lnTo>
                      <a:pt x="2783524" y="2685806"/>
                    </a:lnTo>
                    <a:lnTo>
                      <a:pt x="2861415" y="2746702"/>
                    </a:lnTo>
                    <a:close/>
                    <a:moveTo>
                      <a:pt x="2865663" y="2750951"/>
                    </a:moveTo>
                    <a:lnTo>
                      <a:pt x="2920895" y="2793436"/>
                    </a:lnTo>
                    <a:lnTo>
                      <a:pt x="2847253" y="2874159"/>
                    </a:lnTo>
                    <a:lnTo>
                      <a:pt x="2797686" y="2732540"/>
                    </a:lnTo>
                    <a:lnTo>
                      <a:pt x="2865663" y="2750951"/>
                    </a:lnTo>
                    <a:close/>
                    <a:moveTo>
                      <a:pt x="2871328" y="2752367"/>
                    </a:moveTo>
                    <a:lnTo>
                      <a:pt x="2940721" y="2772194"/>
                    </a:lnTo>
                    <a:lnTo>
                      <a:pt x="2922311" y="2792020"/>
                    </a:lnTo>
                    <a:lnTo>
                      <a:pt x="2871328" y="2752367"/>
                    </a:lnTo>
                    <a:close/>
                    <a:moveTo>
                      <a:pt x="3208382" y="3001616"/>
                    </a:moveTo>
                    <a:lnTo>
                      <a:pt x="3214047" y="3015778"/>
                    </a:lnTo>
                    <a:lnTo>
                      <a:pt x="3198468" y="3007281"/>
                    </a:lnTo>
                    <a:lnTo>
                      <a:pt x="3208382" y="3001616"/>
                    </a:lnTo>
                    <a:close/>
                    <a:moveTo>
                      <a:pt x="4617492" y="955221"/>
                    </a:moveTo>
                    <a:lnTo>
                      <a:pt x="4545267" y="979296"/>
                    </a:lnTo>
                    <a:lnTo>
                      <a:pt x="4582087" y="919816"/>
                    </a:lnTo>
                    <a:lnTo>
                      <a:pt x="4617492" y="955221"/>
                    </a:lnTo>
                    <a:close/>
                    <a:moveTo>
                      <a:pt x="4781770" y="902822"/>
                    </a:moveTo>
                    <a:lnTo>
                      <a:pt x="4618908" y="955221"/>
                    </a:lnTo>
                    <a:lnTo>
                      <a:pt x="4582087" y="918400"/>
                    </a:lnTo>
                    <a:lnTo>
                      <a:pt x="4589168" y="908486"/>
                    </a:lnTo>
                    <a:lnTo>
                      <a:pt x="4781770" y="902822"/>
                    </a:lnTo>
                    <a:close/>
                    <a:moveTo>
                      <a:pt x="5083419" y="871665"/>
                    </a:moveTo>
                    <a:lnTo>
                      <a:pt x="5115992" y="868833"/>
                    </a:lnTo>
                    <a:lnTo>
                      <a:pt x="5098997" y="880163"/>
                    </a:lnTo>
                    <a:lnTo>
                      <a:pt x="5083419" y="871665"/>
                    </a:lnTo>
                    <a:close/>
                    <a:moveTo>
                      <a:pt x="5080587" y="870249"/>
                    </a:moveTo>
                    <a:lnTo>
                      <a:pt x="4951713" y="796607"/>
                    </a:lnTo>
                    <a:lnTo>
                      <a:pt x="5182553" y="822099"/>
                    </a:lnTo>
                    <a:lnTo>
                      <a:pt x="5118824" y="866001"/>
                    </a:lnTo>
                    <a:lnTo>
                      <a:pt x="5080587" y="870249"/>
                    </a:lnTo>
                    <a:close/>
                    <a:moveTo>
                      <a:pt x="5057927" y="874498"/>
                    </a:moveTo>
                    <a:lnTo>
                      <a:pt x="5080587" y="871665"/>
                    </a:lnTo>
                    <a:lnTo>
                      <a:pt x="5097581" y="881579"/>
                    </a:lnTo>
                    <a:lnTo>
                      <a:pt x="5086251" y="890076"/>
                    </a:lnTo>
                    <a:lnTo>
                      <a:pt x="5057927" y="874498"/>
                    </a:lnTo>
                    <a:close/>
                    <a:moveTo>
                      <a:pt x="5053679" y="873082"/>
                    </a:moveTo>
                    <a:lnTo>
                      <a:pt x="4910644" y="792359"/>
                    </a:lnTo>
                    <a:lnTo>
                      <a:pt x="4946049" y="796607"/>
                    </a:lnTo>
                    <a:lnTo>
                      <a:pt x="5076338" y="870249"/>
                    </a:lnTo>
                    <a:lnTo>
                      <a:pt x="5053679" y="873082"/>
                    </a:lnTo>
                    <a:close/>
                    <a:moveTo>
                      <a:pt x="4941800" y="793775"/>
                    </a:moveTo>
                    <a:lnTo>
                      <a:pt x="4902146" y="789526"/>
                    </a:lnTo>
                    <a:lnTo>
                      <a:pt x="4900730" y="789526"/>
                    </a:lnTo>
                    <a:lnTo>
                      <a:pt x="5050846" y="873082"/>
                    </a:lnTo>
                    <a:lnTo>
                      <a:pt x="4801597" y="899989"/>
                    </a:lnTo>
                    <a:lnTo>
                      <a:pt x="4791683" y="899989"/>
                    </a:lnTo>
                    <a:lnTo>
                      <a:pt x="4654313" y="800856"/>
                    </a:lnTo>
                    <a:lnTo>
                      <a:pt x="4732203" y="674815"/>
                    </a:lnTo>
                    <a:lnTo>
                      <a:pt x="4941800" y="793775"/>
                    </a:lnTo>
                    <a:close/>
                    <a:moveTo>
                      <a:pt x="4790268" y="902822"/>
                    </a:moveTo>
                    <a:lnTo>
                      <a:pt x="4803013" y="902822"/>
                    </a:lnTo>
                    <a:lnTo>
                      <a:pt x="5055096" y="875914"/>
                    </a:lnTo>
                    <a:lnTo>
                      <a:pt x="5083419" y="891492"/>
                    </a:lnTo>
                    <a:lnTo>
                      <a:pt x="4773273" y="1106753"/>
                    </a:lnTo>
                    <a:lnTo>
                      <a:pt x="4621740" y="956637"/>
                    </a:lnTo>
                    <a:lnTo>
                      <a:pt x="4790268" y="902822"/>
                    </a:lnTo>
                    <a:close/>
                    <a:moveTo>
                      <a:pt x="5086251" y="891492"/>
                    </a:moveTo>
                    <a:lnTo>
                      <a:pt x="5097581" y="882995"/>
                    </a:lnTo>
                    <a:lnTo>
                      <a:pt x="5268940" y="980712"/>
                    </a:lnTo>
                    <a:lnTo>
                      <a:pt x="5263275" y="989209"/>
                    </a:lnTo>
                    <a:lnTo>
                      <a:pt x="5086251" y="891492"/>
                    </a:lnTo>
                    <a:close/>
                    <a:moveTo>
                      <a:pt x="5365241" y="841925"/>
                    </a:moveTo>
                    <a:lnTo>
                      <a:pt x="5271773" y="979296"/>
                    </a:lnTo>
                    <a:lnTo>
                      <a:pt x="5100413" y="881579"/>
                    </a:lnTo>
                    <a:lnTo>
                      <a:pt x="5120240" y="867417"/>
                    </a:lnTo>
                    <a:lnTo>
                      <a:pt x="5365241" y="841925"/>
                    </a:lnTo>
                    <a:close/>
                    <a:moveTo>
                      <a:pt x="1812017" y="1051522"/>
                    </a:moveTo>
                    <a:lnTo>
                      <a:pt x="1752537" y="1081262"/>
                    </a:lnTo>
                    <a:lnTo>
                      <a:pt x="1766699" y="996290"/>
                    </a:lnTo>
                    <a:lnTo>
                      <a:pt x="1812017" y="1051522"/>
                    </a:lnTo>
                    <a:close/>
                    <a:moveTo>
                      <a:pt x="1108170" y="946724"/>
                    </a:moveTo>
                    <a:lnTo>
                      <a:pt x="1103921" y="959469"/>
                    </a:lnTo>
                    <a:lnTo>
                      <a:pt x="1092592" y="938226"/>
                    </a:lnTo>
                    <a:lnTo>
                      <a:pt x="1108170" y="946724"/>
                    </a:lnTo>
                    <a:close/>
                    <a:moveTo>
                      <a:pt x="1421148" y="1898404"/>
                    </a:moveTo>
                    <a:lnTo>
                      <a:pt x="1559935" y="1857334"/>
                    </a:lnTo>
                    <a:lnTo>
                      <a:pt x="1601004" y="1935225"/>
                    </a:lnTo>
                    <a:lnTo>
                      <a:pt x="1421148" y="1898404"/>
                    </a:lnTo>
                    <a:close/>
                    <a:moveTo>
                      <a:pt x="1742623" y="1800687"/>
                    </a:moveTo>
                    <a:lnTo>
                      <a:pt x="1561351" y="1854502"/>
                    </a:lnTo>
                    <a:lnTo>
                      <a:pt x="1459385" y="1663316"/>
                    </a:lnTo>
                    <a:lnTo>
                      <a:pt x="1742623" y="1800687"/>
                    </a:lnTo>
                    <a:close/>
                    <a:moveTo>
                      <a:pt x="2194388" y="2439389"/>
                    </a:moveTo>
                    <a:lnTo>
                      <a:pt x="2195805" y="2439389"/>
                    </a:lnTo>
                    <a:lnTo>
                      <a:pt x="2395488" y="2579592"/>
                    </a:lnTo>
                    <a:lnTo>
                      <a:pt x="2347337" y="2797685"/>
                    </a:lnTo>
                    <a:lnTo>
                      <a:pt x="2194388" y="2439389"/>
                    </a:lnTo>
                    <a:close/>
                    <a:moveTo>
                      <a:pt x="2192972" y="2437973"/>
                    </a:moveTo>
                    <a:lnTo>
                      <a:pt x="2192972" y="2437973"/>
                    </a:lnTo>
                    <a:lnTo>
                      <a:pt x="2192972" y="2437973"/>
                    </a:lnTo>
                    <a:lnTo>
                      <a:pt x="2192972" y="2437973"/>
                    </a:lnTo>
                    <a:close/>
                    <a:moveTo>
                      <a:pt x="4089253" y="1708634"/>
                    </a:moveTo>
                    <a:lnTo>
                      <a:pt x="3939136" y="1749704"/>
                    </a:lnTo>
                    <a:lnTo>
                      <a:pt x="3971709" y="1647738"/>
                    </a:lnTo>
                    <a:lnTo>
                      <a:pt x="4089253" y="1708634"/>
                    </a:lnTo>
                    <a:close/>
                    <a:moveTo>
                      <a:pt x="5284518" y="1140742"/>
                    </a:moveTo>
                    <a:lnTo>
                      <a:pt x="5356744" y="1031695"/>
                    </a:lnTo>
                    <a:lnTo>
                      <a:pt x="5400646" y="1057186"/>
                    </a:lnTo>
                    <a:lnTo>
                      <a:pt x="5284518" y="1140742"/>
                    </a:lnTo>
                    <a:close/>
                    <a:moveTo>
                      <a:pt x="2801934" y="629497"/>
                    </a:moveTo>
                    <a:lnTo>
                      <a:pt x="2818929" y="653572"/>
                    </a:lnTo>
                    <a:lnTo>
                      <a:pt x="2541355" y="829180"/>
                    </a:lnTo>
                    <a:lnTo>
                      <a:pt x="2801934" y="629497"/>
                    </a:lnTo>
                    <a:close/>
                    <a:moveTo>
                      <a:pt x="2532858" y="908486"/>
                    </a:moveTo>
                    <a:lnTo>
                      <a:pt x="1926728" y="796607"/>
                    </a:lnTo>
                    <a:lnTo>
                      <a:pt x="2129244" y="693225"/>
                    </a:lnTo>
                    <a:lnTo>
                      <a:pt x="2532858" y="908486"/>
                    </a:lnTo>
                    <a:close/>
                    <a:moveTo>
                      <a:pt x="1710051" y="897157"/>
                    </a:moveTo>
                    <a:lnTo>
                      <a:pt x="1753953" y="800856"/>
                    </a:lnTo>
                    <a:lnTo>
                      <a:pt x="1763866" y="973631"/>
                    </a:lnTo>
                    <a:lnTo>
                      <a:pt x="1710051" y="897157"/>
                    </a:lnTo>
                    <a:close/>
                    <a:moveTo>
                      <a:pt x="579930" y="1177563"/>
                    </a:moveTo>
                    <a:lnTo>
                      <a:pt x="570017" y="1207303"/>
                    </a:lnTo>
                    <a:lnTo>
                      <a:pt x="568601" y="1208719"/>
                    </a:lnTo>
                    <a:lnTo>
                      <a:pt x="554439" y="1197389"/>
                    </a:lnTo>
                    <a:lnTo>
                      <a:pt x="579930" y="1177563"/>
                    </a:lnTo>
                    <a:close/>
                    <a:moveTo>
                      <a:pt x="759787" y="871665"/>
                    </a:moveTo>
                    <a:lnTo>
                      <a:pt x="748457" y="882995"/>
                    </a:lnTo>
                    <a:lnTo>
                      <a:pt x="747041" y="861752"/>
                    </a:lnTo>
                    <a:lnTo>
                      <a:pt x="759787" y="871665"/>
                    </a:lnTo>
                    <a:close/>
                    <a:moveTo>
                      <a:pt x="762619" y="871665"/>
                    </a:moveTo>
                    <a:lnTo>
                      <a:pt x="948140" y="687561"/>
                    </a:lnTo>
                    <a:lnTo>
                      <a:pt x="983545" y="749873"/>
                    </a:lnTo>
                    <a:lnTo>
                      <a:pt x="822099" y="919816"/>
                    </a:lnTo>
                    <a:lnTo>
                      <a:pt x="762619" y="871665"/>
                    </a:lnTo>
                    <a:close/>
                    <a:moveTo>
                      <a:pt x="820683" y="921232"/>
                    </a:moveTo>
                    <a:lnTo>
                      <a:pt x="762619" y="982128"/>
                    </a:lnTo>
                    <a:lnTo>
                      <a:pt x="756954" y="986377"/>
                    </a:lnTo>
                    <a:lnTo>
                      <a:pt x="749873" y="884411"/>
                    </a:lnTo>
                    <a:lnTo>
                      <a:pt x="762619" y="871665"/>
                    </a:lnTo>
                    <a:lnTo>
                      <a:pt x="820683" y="921232"/>
                    </a:lnTo>
                    <a:close/>
                    <a:moveTo>
                      <a:pt x="756954" y="989209"/>
                    </a:moveTo>
                    <a:lnTo>
                      <a:pt x="764035" y="984961"/>
                    </a:lnTo>
                    <a:lnTo>
                      <a:pt x="822099" y="924064"/>
                    </a:lnTo>
                    <a:lnTo>
                      <a:pt x="871666" y="965134"/>
                    </a:lnTo>
                    <a:lnTo>
                      <a:pt x="761203" y="1045857"/>
                    </a:lnTo>
                    <a:lnTo>
                      <a:pt x="756954" y="989209"/>
                    </a:lnTo>
                    <a:close/>
                    <a:moveTo>
                      <a:pt x="584179" y="1171898"/>
                    </a:moveTo>
                    <a:lnTo>
                      <a:pt x="602589" y="1120915"/>
                    </a:lnTo>
                    <a:lnTo>
                      <a:pt x="616751" y="1118083"/>
                    </a:lnTo>
                    <a:lnTo>
                      <a:pt x="592676" y="1166233"/>
                    </a:lnTo>
                    <a:lnTo>
                      <a:pt x="584179" y="1171898"/>
                    </a:lnTo>
                    <a:close/>
                    <a:moveTo>
                      <a:pt x="591260" y="1169066"/>
                    </a:moveTo>
                    <a:lnTo>
                      <a:pt x="572849" y="1204470"/>
                    </a:lnTo>
                    <a:lnTo>
                      <a:pt x="571433" y="1204470"/>
                    </a:lnTo>
                    <a:lnTo>
                      <a:pt x="582763" y="1174730"/>
                    </a:lnTo>
                    <a:lnTo>
                      <a:pt x="591260" y="1169066"/>
                    </a:lnTo>
                    <a:close/>
                    <a:moveTo>
                      <a:pt x="490710" y="1139326"/>
                    </a:moveTo>
                    <a:lnTo>
                      <a:pt x="490710" y="1139326"/>
                    </a:lnTo>
                    <a:lnTo>
                      <a:pt x="599757" y="1120915"/>
                    </a:lnTo>
                    <a:lnTo>
                      <a:pt x="579930" y="1174730"/>
                    </a:lnTo>
                    <a:lnTo>
                      <a:pt x="550190" y="1195973"/>
                    </a:lnTo>
                    <a:lnTo>
                      <a:pt x="435479" y="1103921"/>
                    </a:lnTo>
                    <a:lnTo>
                      <a:pt x="608254" y="1021782"/>
                    </a:lnTo>
                    <a:lnTo>
                      <a:pt x="490710" y="1139326"/>
                    </a:lnTo>
                    <a:close/>
                    <a:moveTo>
                      <a:pt x="684728" y="984961"/>
                    </a:moveTo>
                    <a:lnTo>
                      <a:pt x="647908" y="1058603"/>
                    </a:lnTo>
                    <a:lnTo>
                      <a:pt x="615335" y="1079845"/>
                    </a:lnTo>
                    <a:lnTo>
                      <a:pt x="615335" y="1079845"/>
                    </a:lnTo>
                    <a:lnTo>
                      <a:pt x="601173" y="1118083"/>
                    </a:lnTo>
                    <a:lnTo>
                      <a:pt x="496375" y="1136493"/>
                    </a:lnTo>
                    <a:lnTo>
                      <a:pt x="615335" y="1017533"/>
                    </a:lnTo>
                    <a:lnTo>
                      <a:pt x="684728" y="984961"/>
                    </a:lnTo>
                    <a:close/>
                    <a:moveTo>
                      <a:pt x="645075" y="1062851"/>
                    </a:moveTo>
                    <a:lnTo>
                      <a:pt x="618167" y="1115250"/>
                    </a:lnTo>
                    <a:lnTo>
                      <a:pt x="602589" y="1118083"/>
                    </a:lnTo>
                    <a:lnTo>
                      <a:pt x="615335" y="1081262"/>
                    </a:lnTo>
                    <a:lnTo>
                      <a:pt x="645075" y="1062851"/>
                    </a:lnTo>
                    <a:close/>
                    <a:moveTo>
                      <a:pt x="650740" y="1057186"/>
                    </a:moveTo>
                    <a:lnTo>
                      <a:pt x="688977" y="982128"/>
                    </a:lnTo>
                    <a:lnTo>
                      <a:pt x="688977" y="982128"/>
                    </a:lnTo>
                    <a:lnTo>
                      <a:pt x="619584" y="1014701"/>
                    </a:lnTo>
                    <a:lnTo>
                      <a:pt x="747041" y="887244"/>
                    </a:lnTo>
                    <a:lnTo>
                      <a:pt x="754122" y="987793"/>
                    </a:lnTo>
                    <a:lnTo>
                      <a:pt x="650740" y="1057186"/>
                    </a:lnTo>
                    <a:close/>
                    <a:moveTo>
                      <a:pt x="647908" y="1060019"/>
                    </a:moveTo>
                    <a:lnTo>
                      <a:pt x="754122" y="989209"/>
                    </a:lnTo>
                    <a:lnTo>
                      <a:pt x="758370" y="1044441"/>
                    </a:lnTo>
                    <a:lnTo>
                      <a:pt x="676231" y="1103921"/>
                    </a:lnTo>
                    <a:lnTo>
                      <a:pt x="621000" y="1113834"/>
                    </a:lnTo>
                    <a:lnTo>
                      <a:pt x="647908" y="1060019"/>
                    </a:lnTo>
                    <a:close/>
                    <a:moveTo>
                      <a:pt x="551606" y="1197389"/>
                    </a:moveTo>
                    <a:lnTo>
                      <a:pt x="565768" y="1208719"/>
                    </a:lnTo>
                    <a:lnTo>
                      <a:pt x="459554" y="1265367"/>
                    </a:lnTo>
                    <a:lnTo>
                      <a:pt x="551606" y="1197389"/>
                    </a:lnTo>
                    <a:close/>
                    <a:moveTo>
                      <a:pt x="571433" y="1211551"/>
                    </a:moveTo>
                    <a:lnTo>
                      <a:pt x="574265" y="1205887"/>
                    </a:lnTo>
                    <a:lnTo>
                      <a:pt x="670566" y="1154904"/>
                    </a:lnTo>
                    <a:lnTo>
                      <a:pt x="681896" y="1300771"/>
                    </a:lnTo>
                    <a:lnTo>
                      <a:pt x="571433" y="1211551"/>
                    </a:lnTo>
                    <a:close/>
                    <a:moveTo>
                      <a:pt x="671983" y="1108169"/>
                    </a:moveTo>
                    <a:lnTo>
                      <a:pt x="596925" y="1163401"/>
                    </a:lnTo>
                    <a:lnTo>
                      <a:pt x="619584" y="1118083"/>
                    </a:lnTo>
                    <a:lnTo>
                      <a:pt x="671983" y="1108169"/>
                    </a:lnTo>
                    <a:close/>
                    <a:moveTo>
                      <a:pt x="758370" y="1047273"/>
                    </a:moveTo>
                    <a:lnTo>
                      <a:pt x="761203" y="1089759"/>
                    </a:lnTo>
                    <a:lnTo>
                      <a:pt x="680480" y="1103921"/>
                    </a:lnTo>
                    <a:lnTo>
                      <a:pt x="758370" y="1047273"/>
                    </a:lnTo>
                    <a:close/>
                    <a:moveTo>
                      <a:pt x="568601" y="1208719"/>
                    </a:moveTo>
                    <a:lnTo>
                      <a:pt x="568601" y="1208719"/>
                    </a:lnTo>
                    <a:lnTo>
                      <a:pt x="568601" y="1208719"/>
                    </a:lnTo>
                    <a:lnTo>
                      <a:pt x="568601" y="1208719"/>
                    </a:lnTo>
                    <a:close/>
                    <a:moveTo>
                      <a:pt x="568601" y="1211551"/>
                    </a:moveTo>
                    <a:lnTo>
                      <a:pt x="568601" y="1211551"/>
                    </a:lnTo>
                    <a:lnTo>
                      <a:pt x="567185" y="1214384"/>
                    </a:lnTo>
                    <a:lnTo>
                      <a:pt x="568601" y="1211551"/>
                    </a:lnTo>
                    <a:close/>
                    <a:moveTo>
                      <a:pt x="570017" y="1208719"/>
                    </a:moveTo>
                    <a:lnTo>
                      <a:pt x="570017" y="1208719"/>
                    </a:lnTo>
                    <a:lnTo>
                      <a:pt x="570017" y="1211551"/>
                    </a:lnTo>
                    <a:lnTo>
                      <a:pt x="570017" y="1211551"/>
                    </a:lnTo>
                    <a:lnTo>
                      <a:pt x="570017" y="1208719"/>
                    </a:lnTo>
                    <a:close/>
                    <a:moveTo>
                      <a:pt x="752706" y="2127827"/>
                    </a:moveTo>
                    <a:lnTo>
                      <a:pt x="728630" y="2195804"/>
                    </a:lnTo>
                    <a:lnTo>
                      <a:pt x="741376" y="2120746"/>
                    </a:lnTo>
                    <a:lnTo>
                      <a:pt x="752706" y="2127827"/>
                    </a:lnTo>
                    <a:close/>
                    <a:moveTo>
                      <a:pt x="605422" y="1766698"/>
                    </a:moveTo>
                    <a:lnTo>
                      <a:pt x="486461" y="1647738"/>
                    </a:lnTo>
                    <a:lnTo>
                      <a:pt x="649323" y="1517448"/>
                    </a:lnTo>
                    <a:lnTo>
                      <a:pt x="843342" y="1809184"/>
                    </a:lnTo>
                    <a:lnTo>
                      <a:pt x="751289" y="1824762"/>
                    </a:lnTo>
                    <a:lnTo>
                      <a:pt x="625248" y="1752536"/>
                    </a:lnTo>
                    <a:lnTo>
                      <a:pt x="625248" y="1752536"/>
                    </a:lnTo>
                    <a:lnTo>
                      <a:pt x="605422" y="1766698"/>
                    </a:lnTo>
                    <a:close/>
                    <a:moveTo>
                      <a:pt x="605422" y="1769530"/>
                    </a:moveTo>
                    <a:lnTo>
                      <a:pt x="674815" y="1838924"/>
                    </a:lnTo>
                    <a:lnTo>
                      <a:pt x="596925" y="1860167"/>
                    </a:lnTo>
                    <a:lnTo>
                      <a:pt x="595508" y="1851669"/>
                    </a:lnTo>
                    <a:lnTo>
                      <a:pt x="595508" y="1851669"/>
                    </a:lnTo>
                    <a:lnTo>
                      <a:pt x="456722" y="1885658"/>
                    </a:lnTo>
                    <a:lnTo>
                      <a:pt x="605422" y="1769530"/>
                    </a:lnTo>
                    <a:close/>
                    <a:moveTo>
                      <a:pt x="739960" y="2117913"/>
                    </a:moveTo>
                    <a:lnTo>
                      <a:pt x="690393" y="2086757"/>
                    </a:lnTo>
                    <a:lnTo>
                      <a:pt x="619584" y="1991873"/>
                    </a:lnTo>
                    <a:lnTo>
                      <a:pt x="592676" y="1862999"/>
                    </a:lnTo>
                    <a:lnTo>
                      <a:pt x="596925" y="1861583"/>
                    </a:lnTo>
                    <a:lnTo>
                      <a:pt x="626665" y="1990456"/>
                    </a:lnTo>
                    <a:lnTo>
                      <a:pt x="626665" y="1990456"/>
                    </a:lnTo>
                    <a:lnTo>
                      <a:pt x="748457" y="2074011"/>
                    </a:lnTo>
                    <a:lnTo>
                      <a:pt x="739960" y="2117913"/>
                    </a:lnTo>
                    <a:close/>
                    <a:moveTo>
                      <a:pt x="187645" y="2093838"/>
                    </a:moveTo>
                    <a:lnTo>
                      <a:pt x="230131" y="1996121"/>
                    </a:lnTo>
                    <a:lnTo>
                      <a:pt x="317935" y="1984792"/>
                    </a:lnTo>
                    <a:lnTo>
                      <a:pt x="302357" y="2004618"/>
                    </a:lnTo>
                    <a:lnTo>
                      <a:pt x="187645" y="2093838"/>
                    </a:lnTo>
                    <a:close/>
                    <a:moveTo>
                      <a:pt x="152241" y="2123578"/>
                    </a:moveTo>
                    <a:lnTo>
                      <a:pt x="180564" y="2102335"/>
                    </a:lnTo>
                    <a:lnTo>
                      <a:pt x="181980" y="2102335"/>
                    </a:lnTo>
                    <a:lnTo>
                      <a:pt x="172067" y="2126411"/>
                    </a:lnTo>
                    <a:lnTo>
                      <a:pt x="152241" y="2123578"/>
                    </a:lnTo>
                    <a:close/>
                    <a:moveTo>
                      <a:pt x="48858" y="2106584"/>
                    </a:moveTo>
                    <a:lnTo>
                      <a:pt x="77182" y="2085341"/>
                    </a:lnTo>
                    <a:lnTo>
                      <a:pt x="98425" y="2115081"/>
                    </a:lnTo>
                    <a:lnTo>
                      <a:pt x="48858" y="2106584"/>
                    </a:lnTo>
                    <a:close/>
                    <a:moveTo>
                      <a:pt x="157905" y="2083925"/>
                    </a:moveTo>
                    <a:lnTo>
                      <a:pt x="223050" y="1997537"/>
                    </a:lnTo>
                    <a:lnTo>
                      <a:pt x="228715" y="1997537"/>
                    </a:lnTo>
                    <a:lnTo>
                      <a:pt x="184813" y="2098087"/>
                    </a:lnTo>
                    <a:lnTo>
                      <a:pt x="180564" y="2100919"/>
                    </a:lnTo>
                    <a:lnTo>
                      <a:pt x="157905" y="2083925"/>
                    </a:lnTo>
                    <a:close/>
                    <a:moveTo>
                      <a:pt x="123917" y="2146237"/>
                    </a:moveTo>
                    <a:lnTo>
                      <a:pt x="150824" y="2124994"/>
                    </a:lnTo>
                    <a:lnTo>
                      <a:pt x="170651" y="2127827"/>
                    </a:lnTo>
                    <a:lnTo>
                      <a:pt x="147992" y="2178810"/>
                    </a:lnTo>
                    <a:lnTo>
                      <a:pt x="123917" y="2146237"/>
                    </a:lnTo>
                    <a:close/>
                    <a:moveTo>
                      <a:pt x="115420" y="2139156"/>
                    </a:moveTo>
                    <a:lnTo>
                      <a:pt x="119668" y="2146237"/>
                    </a:lnTo>
                    <a:lnTo>
                      <a:pt x="95593" y="2164648"/>
                    </a:lnTo>
                    <a:lnTo>
                      <a:pt x="115420" y="2139156"/>
                    </a:lnTo>
                    <a:close/>
                    <a:moveTo>
                      <a:pt x="128165" y="2122162"/>
                    </a:moveTo>
                    <a:lnTo>
                      <a:pt x="146575" y="2124994"/>
                    </a:lnTo>
                    <a:lnTo>
                      <a:pt x="122500" y="2144821"/>
                    </a:lnTo>
                    <a:lnTo>
                      <a:pt x="116836" y="2137740"/>
                    </a:lnTo>
                    <a:lnTo>
                      <a:pt x="128165" y="2122162"/>
                    </a:lnTo>
                    <a:close/>
                    <a:moveTo>
                      <a:pt x="116836" y="2057017"/>
                    </a:moveTo>
                    <a:lnTo>
                      <a:pt x="155073" y="2083925"/>
                    </a:lnTo>
                    <a:lnTo>
                      <a:pt x="128165" y="2119330"/>
                    </a:lnTo>
                    <a:lnTo>
                      <a:pt x="102674" y="2115081"/>
                    </a:lnTo>
                    <a:lnTo>
                      <a:pt x="80015" y="2083925"/>
                    </a:lnTo>
                    <a:lnTo>
                      <a:pt x="116836" y="2057017"/>
                    </a:lnTo>
                    <a:close/>
                    <a:moveTo>
                      <a:pt x="129581" y="2120746"/>
                    </a:moveTo>
                    <a:lnTo>
                      <a:pt x="155073" y="2085341"/>
                    </a:lnTo>
                    <a:lnTo>
                      <a:pt x="177732" y="2100919"/>
                    </a:lnTo>
                    <a:lnTo>
                      <a:pt x="149408" y="2123578"/>
                    </a:lnTo>
                    <a:lnTo>
                      <a:pt x="129581" y="2120746"/>
                    </a:lnTo>
                    <a:close/>
                    <a:moveTo>
                      <a:pt x="118252" y="2055601"/>
                    </a:moveTo>
                    <a:lnTo>
                      <a:pt x="193310" y="2000370"/>
                    </a:lnTo>
                    <a:lnTo>
                      <a:pt x="220218" y="1997537"/>
                    </a:lnTo>
                    <a:lnTo>
                      <a:pt x="156489" y="2082509"/>
                    </a:lnTo>
                    <a:lnTo>
                      <a:pt x="118252" y="2055601"/>
                    </a:lnTo>
                    <a:close/>
                    <a:moveTo>
                      <a:pt x="63020" y="2015948"/>
                    </a:moveTo>
                    <a:lnTo>
                      <a:pt x="189061" y="2000370"/>
                    </a:lnTo>
                    <a:lnTo>
                      <a:pt x="116836" y="2054185"/>
                    </a:lnTo>
                    <a:lnTo>
                      <a:pt x="63020" y="2015948"/>
                    </a:lnTo>
                    <a:close/>
                    <a:moveTo>
                      <a:pt x="126749" y="2122162"/>
                    </a:moveTo>
                    <a:lnTo>
                      <a:pt x="116836" y="2136324"/>
                    </a:lnTo>
                    <a:lnTo>
                      <a:pt x="104090" y="2119330"/>
                    </a:lnTo>
                    <a:lnTo>
                      <a:pt x="126749" y="2122162"/>
                    </a:lnTo>
                    <a:close/>
                    <a:moveTo>
                      <a:pt x="223050" y="1994705"/>
                    </a:moveTo>
                    <a:lnTo>
                      <a:pt x="232963" y="1980543"/>
                    </a:lnTo>
                    <a:lnTo>
                      <a:pt x="227299" y="1993289"/>
                    </a:lnTo>
                    <a:lnTo>
                      <a:pt x="223050" y="1994705"/>
                    </a:lnTo>
                    <a:close/>
                    <a:moveTo>
                      <a:pt x="238628" y="1973462"/>
                    </a:moveTo>
                    <a:lnTo>
                      <a:pt x="238628" y="1973462"/>
                    </a:lnTo>
                    <a:lnTo>
                      <a:pt x="237212" y="1972046"/>
                    </a:lnTo>
                    <a:lnTo>
                      <a:pt x="220218" y="1994705"/>
                    </a:lnTo>
                    <a:lnTo>
                      <a:pt x="194726" y="1997537"/>
                    </a:lnTo>
                    <a:lnTo>
                      <a:pt x="234380" y="1967797"/>
                    </a:lnTo>
                    <a:lnTo>
                      <a:pt x="234380" y="1967797"/>
                    </a:lnTo>
                    <a:lnTo>
                      <a:pt x="74350" y="1981959"/>
                    </a:lnTo>
                    <a:lnTo>
                      <a:pt x="370334" y="1909733"/>
                    </a:lnTo>
                    <a:lnTo>
                      <a:pt x="375999" y="1912566"/>
                    </a:lnTo>
                    <a:lnTo>
                      <a:pt x="317935" y="1984792"/>
                    </a:lnTo>
                    <a:lnTo>
                      <a:pt x="228715" y="1996121"/>
                    </a:lnTo>
                    <a:lnTo>
                      <a:pt x="238628" y="1973462"/>
                    </a:lnTo>
                    <a:close/>
                    <a:moveTo>
                      <a:pt x="230131" y="1970630"/>
                    </a:moveTo>
                    <a:lnTo>
                      <a:pt x="191894" y="1998953"/>
                    </a:lnTo>
                    <a:lnTo>
                      <a:pt x="57356" y="2015948"/>
                    </a:lnTo>
                    <a:lnTo>
                      <a:pt x="57356" y="2015948"/>
                    </a:lnTo>
                    <a:lnTo>
                      <a:pt x="115420" y="2057017"/>
                    </a:lnTo>
                    <a:lnTo>
                      <a:pt x="80015" y="2083925"/>
                    </a:lnTo>
                    <a:lnTo>
                      <a:pt x="19118" y="1997537"/>
                    </a:lnTo>
                    <a:lnTo>
                      <a:pt x="65853" y="1986208"/>
                    </a:lnTo>
                    <a:lnTo>
                      <a:pt x="230131" y="1970630"/>
                    </a:lnTo>
                    <a:close/>
                    <a:moveTo>
                      <a:pt x="13454" y="1994705"/>
                    </a:moveTo>
                    <a:lnTo>
                      <a:pt x="13454" y="1994705"/>
                    </a:lnTo>
                    <a:lnTo>
                      <a:pt x="75766" y="2083925"/>
                    </a:lnTo>
                    <a:lnTo>
                      <a:pt x="43194" y="2108000"/>
                    </a:lnTo>
                    <a:lnTo>
                      <a:pt x="99841" y="2117913"/>
                    </a:lnTo>
                    <a:lnTo>
                      <a:pt x="114003" y="2137740"/>
                    </a:lnTo>
                    <a:lnTo>
                      <a:pt x="89928" y="2170312"/>
                    </a:lnTo>
                    <a:lnTo>
                      <a:pt x="47442" y="2204301"/>
                    </a:lnTo>
                    <a:lnTo>
                      <a:pt x="10621" y="1990456"/>
                    </a:lnTo>
                    <a:lnTo>
                      <a:pt x="50275" y="1987624"/>
                    </a:lnTo>
                    <a:lnTo>
                      <a:pt x="13454" y="1994705"/>
                    </a:lnTo>
                    <a:close/>
                    <a:moveTo>
                      <a:pt x="58772" y="2215631"/>
                    </a:moveTo>
                    <a:lnTo>
                      <a:pt x="92760" y="2170312"/>
                    </a:lnTo>
                    <a:lnTo>
                      <a:pt x="122500" y="2147654"/>
                    </a:lnTo>
                    <a:lnTo>
                      <a:pt x="147992" y="2184474"/>
                    </a:lnTo>
                    <a:lnTo>
                      <a:pt x="147992" y="2184474"/>
                    </a:lnTo>
                    <a:lnTo>
                      <a:pt x="172067" y="2129243"/>
                    </a:lnTo>
                    <a:lnTo>
                      <a:pt x="196142" y="2133492"/>
                    </a:lnTo>
                    <a:lnTo>
                      <a:pt x="130998" y="2214214"/>
                    </a:lnTo>
                    <a:lnTo>
                      <a:pt x="58772" y="2215631"/>
                    </a:lnTo>
                    <a:close/>
                    <a:moveTo>
                      <a:pt x="181980" y="2100919"/>
                    </a:moveTo>
                    <a:lnTo>
                      <a:pt x="181980" y="2100919"/>
                    </a:lnTo>
                    <a:lnTo>
                      <a:pt x="181980" y="2100919"/>
                    </a:lnTo>
                    <a:lnTo>
                      <a:pt x="181980" y="2100919"/>
                    </a:lnTo>
                    <a:close/>
                    <a:moveTo>
                      <a:pt x="183397" y="2102335"/>
                    </a:moveTo>
                    <a:lnTo>
                      <a:pt x="184813" y="2098087"/>
                    </a:lnTo>
                    <a:lnTo>
                      <a:pt x="293860" y="2011699"/>
                    </a:lnTo>
                    <a:lnTo>
                      <a:pt x="206056" y="2119330"/>
                    </a:lnTo>
                    <a:lnTo>
                      <a:pt x="183397" y="2102335"/>
                    </a:lnTo>
                    <a:close/>
                    <a:moveTo>
                      <a:pt x="380247" y="1911149"/>
                    </a:moveTo>
                    <a:lnTo>
                      <a:pt x="384496" y="1905485"/>
                    </a:lnTo>
                    <a:lnTo>
                      <a:pt x="448224" y="1889907"/>
                    </a:lnTo>
                    <a:lnTo>
                      <a:pt x="405739" y="1923895"/>
                    </a:lnTo>
                    <a:lnTo>
                      <a:pt x="380247" y="1911149"/>
                    </a:lnTo>
                    <a:close/>
                    <a:moveTo>
                      <a:pt x="320767" y="1780860"/>
                    </a:moveTo>
                    <a:lnTo>
                      <a:pt x="485046" y="1776611"/>
                    </a:lnTo>
                    <a:lnTo>
                      <a:pt x="381663" y="1902652"/>
                    </a:lnTo>
                    <a:lnTo>
                      <a:pt x="370334" y="1905485"/>
                    </a:lnTo>
                    <a:lnTo>
                      <a:pt x="133830" y="1783692"/>
                    </a:lnTo>
                    <a:lnTo>
                      <a:pt x="254206" y="1780860"/>
                    </a:lnTo>
                    <a:lnTo>
                      <a:pt x="269784" y="1817681"/>
                    </a:lnTo>
                    <a:lnTo>
                      <a:pt x="269784" y="1817681"/>
                    </a:lnTo>
                    <a:lnTo>
                      <a:pt x="320767" y="1780860"/>
                    </a:lnTo>
                    <a:close/>
                    <a:moveTo>
                      <a:pt x="317935" y="1780860"/>
                    </a:moveTo>
                    <a:lnTo>
                      <a:pt x="274033" y="1816265"/>
                    </a:lnTo>
                    <a:lnTo>
                      <a:pt x="258455" y="1782276"/>
                    </a:lnTo>
                    <a:lnTo>
                      <a:pt x="317935" y="1780860"/>
                    </a:lnTo>
                    <a:close/>
                    <a:moveTo>
                      <a:pt x="320767" y="1779444"/>
                    </a:moveTo>
                    <a:lnTo>
                      <a:pt x="258455" y="1780860"/>
                    </a:lnTo>
                    <a:lnTo>
                      <a:pt x="235796" y="1729877"/>
                    </a:lnTo>
                    <a:lnTo>
                      <a:pt x="459554" y="1547188"/>
                    </a:lnTo>
                    <a:lnTo>
                      <a:pt x="459554" y="1625079"/>
                    </a:lnTo>
                    <a:lnTo>
                      <a:pt x="483629" y="1649154"/>
                    </a:lnTo>
                    <a:lnTo>
                      <a:pt x="320767" y="1779444"/>
                    </a:lnTo>
                    <a:close/>
                    <a:moveTo>
                      <a:pt x="387328" y="1902652"/>
                    </a:moveTo>
                    <a:lnTo>
                      <a:pt x="490710" y="1775195"/>
                    </a:lnTo>
                    <a:lnTo>
                      <a:pt x="490710" y="1775195"/>
                    </a:lnTo>
                    <a:lnTo>
                      <a:pt x="323599" y="1779444"/>
                    </a:lnTo>
                    <a:lnTo>
                      <a:pt x="485046" y="1650570"/>
                    </a:lnTo>
                    <a:lnTo>
                      <a:pt x="604006" y="1769530"/>
                    </a:lnTo>
                    <a:lnTo>
                      <a:pt x="452473" y="1888491"/>
                    </a:lnTo>
                    <a:lnTo>
                      <a:pt x="387328" y="1902652"/>
                    </a:lnTo>
                    <a:close/>
                    <a:moveTo>
                      <a:pt x="206056" y="2120746"/>
                    </a:moveTo>
                    <a:lnTo>
                      <a:pt x="197558" y="2132075"/>
                    </a:lnTo>
                    <a:lnTo>
                      <a:pt x="172067" y="2127827"/>
                    </a:lnTo>
                    <a:lnTo>
                      <a:pt x="181980" y="2105168"/>
                    </a:lnTo>
                    <a:lnTo>
                      <a:pt x="206056" y="2120746"/>
                    </a:lnTo>
                    <a:close/>
                    <a:moveTo>
                      <a:pt x="228715" y="2136324"/>
                    </a:moveTo>
                    <a:lnTo>
                      <a:pt x="200391" y="2132075"/>
                    </a:lnTo>
                    <a:lnTo>
                      <a:pt x="208888" y="2122162"/>
                    </a:lnTo>
                    <a:lnTo>
                      <a:pt x="228715" y="2136324"/>
                    </a:lnTo>
                    <a:close/>
                    <a:moveTo>
                      <a:pt x="327848" y="1983375"/>
                    </a:moveTo>
                    <a:lnTo>
                      <a:pt x="308022" y="1998953"/>
                    </a:lnTo>
                    <a:lnTo>
                      <a:pt x="319351" y="1984792"/>
                    </a:lnTo>
                    <a:lnTo>
                      <a:pt x="327848" y="1983375"/>
                    </a:lnTo>
                    <a:close/>
                    <a:moveTo>
                      <a:pt x="402906" y="1925311"/>
                    </a:moveTo>
                    <a:lnTo>
                      <a:pt x="330680" y="1981959"/>
                    </a:lnTo>
                    <a:lnTo>
                      <a:pt x="320767" y="1983375"/>
                    </a:lnTo>
                    <a:lnTo>
                      <a:pt x="377415" y="1912566"/>
                    </a:lnTo>
                    <a:lnTo>
                      <a:pt x="402906" y="1925311"/>
                    </a:lnTo>
                    <a:close/>
                    <a:moveTo>
                      <a:pt x="477965" y="1963549"/>
                    </a:moveTo>
                    <a:lnTo>
                      <a:pt x="334929" y="1980543"/>
                    </a:lnTo>
                    <a:lnTo>
                      <a:pt x="405739" y="1925311"/>
                    </a:lnTo>
                    <a:lnTo>
                      <a:pt x="477965" y="1963549"/>
                    </a:lnTo>
                    <a:close/>
                    <a:moveTo>
                      <a:pt x="687561" y="1836092"/>
                    </a:moveTo>
                    <a:lnTo>
                      <a:pt x="751289" y="1826178"/>
                    </a:lnTo>
                    <a:lnTo>
                      <a:pt x="977880" y="1956468"/>
                    </a:lnTo>
                    <a:lnTo>
                      <a:pt x="687561" y="1836092"/>
                    </a:lnTo>
                    <a:close/>
                    <a:moveTo>
                      <a:pt x="3391071" y="3753614"/>
                    </a:moveTo>
                    <a:lnTo>
                      <a:pt x="3575175" y="3889568"/>
                    </a:lnTo>
                    <a:lnTo>
                      <a:pt x="3572343" y="3899481"/>
                    </a:lnTo>
                    <a:lnTo>
                      <a:pt x="3393902" y="3808845"/>
                    </a:lnTo>
                    <a:lnTo>
                      <a:pt x="3391071" y="3753614"/>
                    </a:lnTo>
                    <a:close/>
                    <a:moveTo>
                      <a:pt x="3395319" y="3832921"/>
                    </a:moveTo>
                    <a:lnTo>
                      <a:pt x="3393902" y="3810261"/>
                    </a:lnTo>
                    <a:lnTo>
                      <a:pt x="3572343" y="3900898"/>
                    </a:lnTo>
                    <a:lnTo>
                      <a:pt x="3556764" y="3957545"/>
                    </a:lnTo>
                    <a:lnTo>
                      <a:pt x="3395319" y="3832921"/>
                    </a:lnTo>
                    <a:close/>
                    <a:moveTo>
                      <a:pt x="3357082" y="3803181"/>
                    </a:moveTo>
                    <a:lnTo>
                      <a:pt x="3347168" y="3786186"/>
                    </a:lnTo>
                    <a:lnTo>
                      <a:pt x="3392486" y="3810261"/>
                    </a:lnTo>
                    <a:lnTo>
                      <a:pt x="3393902" y="3831504"/>
                    </a:lnTo>
                    <a:lnTo>
                      <a:pt x="3357082" y="3803181"/>
                    </a:lnTo>
                    <a:close/>
                    <a:moveTo>
                      <a:pt x="3359914" y="3807429"/>
                    </a:moveTo>
                    <a:lnTo>
                      <a:pt x="3393902" y="3834337"/>
                    </a:lnTo>
                    <a:lnTo>
                      <a:pt x="3395319" y="3866909"/>
                    </a:lnTo>
                    <a:lnTo>
                      <a:pt x="3359914" y="3807429"/>
                    </a:lnTo>
                    <a:close/>
                    <a:moveTo>
                      <a:pt x="3342920" y="3784770"/>
                    </a:moveTo>
                    <a:lnTo>
                      <a:pt x="3351416" y="3800348"/>
                    </a:lnTo>
                    <a:lnTo>
                      <a:pt x="3311763" y="3770608"/>
                    </a:lnTo>
                    <a:lnTo>
                      <a:pt x="3342920" y="3784770"/>
                    </a:lnTo>
                    <a:close/>
                    <a:moveTo>
                      <a:pt x="3344336" y="3783354"/>
                    </a:moveTo>
                    <a:lnTo>
                      <a:pt x="3274943" y="3667226"/>
                    </a:lnTo>
                    <a:lnTo>
                      <a:pt x="3389654" y="3752198"/>
                    </a:lnTo>
                    <a:lnTo>
                      <a:pt x="3392486" y="3807429"/>
                    </a:lnTo>
                    <a:lnTo>
                      <a:pt x="3344336" y="3783354"/>
                    </a:lnTo>
                    <a:close/>
                    <a:moveTo>
                      <a:pt x="3575175" y="3900898"/>
                    </a:moveTo>
                    <a:lnTo>
                      <a:pt x="3578007" y="3890985"/>
                    </a:lnTo>
                    <a:lnTo>
                      <a:pt x="3630406" y="3929221"/>
                    </a:lnTo>
                    <a:lnTo>
                      <a:pt x="3575175" y="3900898"/>
                    </a:lnTo>
                    <a:close/>
                    <a:moveTo>
                      <a:pt x="3266445" y="3525607"/>
                    </a:moveTo>
                    <a:lnTo>
                      <a:pt x="3317428" y="3504364"/>
                    </a:lnTo>
                    <a:lnTo>
                      <a:pt x="3350001" y="3573757"/>
                    </a:lnTo>
                    <a:lnTo>
                      <a:pt x="3266445" y="3525607"/>
                    </a:lnTo>
                    <a:close/>
                    <a:moveTo>
                      <a:pt x="3265029" y="3524191"/>
                    </a:moveTo>
                    <a:lnTo>
                      <a:pt x="3170144" y="3468959"/>
                    </a:lnTo>
                    <a:lnTo>
                      <a:pt x="3317428" y="3501532"/>
                    </a:lnTo>
                    <a:lnTo>
                      <a:pt x="3265029" y="3524191"/>
                    </a:lnTo>
                    <a:close/>
                    <a:moveTo>
                      <a:pt x="3361330" y="3511445"/>
                    </a:moveTo>
                    <a:lnTo>
                      <a:pt x="3359914" y="3711128"/>
                    </a:lnTo>
                    <a:lnTo>
                      <a:pt x="3233873" y="3538353"/>
                    </a:lnTo>
                    <a:lnTo>
                      <a:pt x="3265029" y="3525607"/>
                    </a:lnTo>
                    <a:lnTo>
                      <a:pt x="3355666" y="3578006"/>
                    </a:lnTo>
                    <a:lnTo>
                      <a:pt x="3355666" y="3578006"/>
                    </a:lnTo>
                    <a:lnTo>
                      <a:pt x="3320261" y="3501532"/>
                    </a:lnTo>
                    <a:lnTo>
                      <a:pt x="3320261" y="3501532"/>
                    </a:lnTo>
                    <a:lnTo>
                      <a:pt x="3361330" y="3511445"/>
                    </a:lnTo>
                    <a:close/>
                    <a:moveTo>
                      <a:pt x="3668644" y="3749365"/>
                    </a:moveTo>
                    <a:lnTo>
                      <a:pt x="3780523" y="3692718"/>
                    </a:lnTo>
                    <a:lnTo>
                      <a:pt x="3756448" y="3757862"/>
                    </a:lnTo>
                    <a:lnTo>
                      <a:pt x="3668644" y="3749365"/>
                    </a:lnTo>
                    <a:close/>
                    <a:moveTo>
                      <a:pt x="4385236" y="3800348"/>
                    </a:moveTo>
                    <a:lnTo>
                      <a:pt x="4422058" y="3784770"/>
                    </a:lnTo>
                    <a:lnTo>
                      <a:pt x="4451797" y="3818759"/>
                    </a:lnTo>
                    <a:lnTo>
                      <a:pt x="4426306" y="3815926"/>
                    </a:lnTo>
                    <a:lnTo>
                      <a:pt x="4385236" y="3800348"/>
                    </a:lnTo>
                    <a:close/>
                    <a:moveTo>
                      <a:pt x="4431971" y="3820175"/>
                    </a:moveTo>
                    <a:lnTo>
                      <a:pt x="4453214" y="3821591"/>
                    </a:lnTo>
                    <a:lnTo>
                      <a:pt x="4461711" y="3831504"/>
                    </a:lnTo>
                    <a:lnTo>
                      <a:pt x="4431971" y="3820175"/>
                    </a:lnTo>
                    <a:close/>
                    <a:moveTo>
                      <a:pt x="4361162" y="3811678"/>
                    </a:moveTo>
                    <a:lnTo>
                      <a:pt x="4382405" y="3803181"/>
                    </a:lnTo>
                    <a:lnTo>
                      <a:pt x="4417809" y="3817342"/>
                    </a:lnTo>
                    <a:lnTo>
                      <a:pt x="4361162" y="3811678"/>
                    </a:lnTo>
                    <a:close/>
                    <a:moveTo>
                      <a:pt x="4514110" y="3895233"/>
                    </a:moveTo>
                    <a:lnTo>
                      <a:pt x="4361162" y="3837169"/>
                    </a:lnTo>
                    <a:lnTo>
                      <a:pt x="4473040" y="3845666"/>
                    </a:lnTo>
                    <a:lnTo>
                      <a:pt x="4514110" y="3895233"/>
                    </a:lnTo>
                    <a:close/>
                    <a:moveTo>
                      <a:pt x="4474457" y="3844250"/>
                    </a:moveTo>
                    <a:lnTo>
                      <a:pt x="4468792" y="3837169"/>
                    </a:lnTo>
                    <a:lnTo>
                      <a:pt x="4487202" y="3844250"/>
                    </a:lnTo>
                    <a:lnTo>
                      <a:pt x="4474457" y="3844250"/>
                    </a:lnTo>
                    <a:close/>
                    <a:moveTo>
                      <a:pt x="4521191" y="3899481"/>
                    </a:moveTo>
                    <a:lnTo>
                      <a:pt x="4702464" y="3967459"/>
                    </a:lnTo>
                    <a:lnTo>
                      <a:pt x="4586336" y="3990118"/>
                    </a:lnTo>
                    <a:lnTo>
                      <a:pt x="4446133" y="3963210"/>
                    </a:lnTo>
                    <a:lnTo>
                      <a:pt x="4539602" y="3922140"/>
                    </a:lnTo>
                    <a:lnTo>
                      <a:pt x="4539602" y="3922140"/>
                    </a:lnTo>
                    <a:lnTo>
                      <a:pt x="4521191" y="3899481"/>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49" name="Freeform: Shape 948">
                <a:extLst>
                  <a:ext uri="{FF2B5EF4-FFF2-40B4-BE49-F238E27FC236}">
                    <a16:creationId xmlns:a16="http://schemas.microsoft.com/office/drawing/2014/main" id="{637AEF78-A656-41E8-96FE-0D379B4076CE}"/>
                  </a:ext>
                </a:extLst>
              </p:cNvPr>
              <p:cNvSpPr/>
              <p:nvPr/>
            </p:nvSpPr>
            <p:spPr>
              <a:xfrm>
                <a:off x="5261155" y="2789590"/>
                <a:ext cx="2081801" cy="2563305"/>
              </a:xfrm>
              <a:custGeom>
                <a:avLst/>
                <a:gdLst>
                  <a:gd name="connsiteX0" fmla="*/ 1861584 w 2081801"/>
                  <a:gd name="connsiteY0" fmla="*/ 1065684 h 2563305"/>
                  <a:gd name="connsiteX1" fmla="*/ 1996122 w 2081801"/>
                  <a:gd name="connsiteY1" fmla="*/ 1212967 h 2563305"/>
                  <a:gd name="connsiteX2" fmla="*/ 1976295 w 2081801"/>
                  <a:gd name="connsiteY2" fmla="*/ 1265367 h 2563305"/>
                  <a:gd name="connsiteX3" fmla="*/ 1908318 w 2081801"/>
                  <a:gd name="connsiteY3" fmla="*/ 1344673 h 2563305"/>
                  <a:gd name="connsiteX4" fmla="*/ 1654820 w 2081801"/>
                  <a:gd name="connsiteY4" fmla="*/ 1440974 h 2563305"/>
                  <a:gd name="connsiteX5" fmla="*/ 1663317 w 2081801"/>
                  <a:gd name="connsiteY5" fmla="*/ 1357419 h 2563305"/>
                  <a:gd name="connsiteX6" fmla="*/ 1779445 w 2081801"/>
                  <a:gd name="connsiteY6" fmla="*/ 1259702 h 2563305"/>
                  <a:gd name="connsiteX7" fmla="*/ 1779445 w 2081801"/>
                  <a:gd name="connsiteY7" fmla="*/ 1259702 h 2563305"/>
                  <a:gd name="connsiteX8" fmla="*/ 1778029 w 2081801"/>
                  <a:gd name="connsiteY8" fmla="*/ 1258286 h 2563305"/>
                  <a:gd name="connsiteX9" fmla="*/ 1664733 w 2081801"/>
                  <a:gd name="connsiteY9" fmla="*/ 1339008 h 2563305"/>
                  <a:gd name="connsiteX10" fmla="*/ 1681727 w 2081801"/>
                  <a:gd name="connsiteY10" fmla="*/ 1174730 h 2563305"/>
                  <a:gd name="connsiteX11" fmla="*/ 1691641 w 2081801"/>
                  <a:gd name="connsiteY11" fmla="*/ 1113834 h 2563305"/>
                  <a:gd name="connsiteX12" fmla="*/ 1734127 w 2081801"/>
                  <a:gd name="connsiteY12" fmla="*/ 1109585 h 2563305"/>
                  <a:gd name="connsiteX13" fmla="*/ 1734127 w 2081801"/>
                  <a:gd name="connsiteY13" fmla="*/ 1109585 h 2563305"/>
                  <a:gd name="connsiteX14" fmla="*/ 1735543 w 2081801"/>
                  <a:gd name="connsiteY14" fmla="*/ 857503 h 2563305"/>
                  <a:gd name="connsiteX15" fmla="*/ 1735543 w 2081801"/>
                  <a:gd name="connsiteY15" fmla="*/ 857503 h 2563305"/>
                  <a:gd name="connsiteX16" fmla="*/ 1734127 w 2081801"/>
                  <a:gd name="connsiteY16" fmla="*/ 857503 h 2563305"/>
                  <a:gd name="connsiteX17" fmla="*/ 1690225 w 2081801"/>
                  <a:gd name="connsiteY17" fmla="*/ 1112418 h 2563305"/>
                  <a:gd name="connsiteX18" fmla="*/ 1616583 w 2081801"/>
                  <a:gd name="connsiteY18" fmla="*/ 1119499 h 2563305"/>
                  <a:gd name="connsiteX19" fmla="*/ 1667565 w 2081801"/>
                  <a:gd name="connsiteY19" fmla="*/ 1101088 h 2563305"/>
                  <a:gd name="connsiteX20" fmla="*/ 1667565 w 2081801"/>
                  <a:gd name="connsiteY20" fmla="*/ 1101088 h 2563305"/>
                  <a:gd name="connsiteX21" fmla="*/ 1567016 w 2081801"/>
                  <a:gd name="connsiteY21" fmla="*/ 1052938 h 2563305"/>
                  <a:gd name="connsiteX22" fmla="*/ 1610918 w 2081801"/>
                  <a:gd name="connsiteY22" fmla="*/ 1003371 h 2563305"/>
                  <a:gd name="connsiteX23" fmla="*/ 1610918 w 2081801"/>
                  <a:gd name="connsiteY23" fmla="*/ 1003371 h 2563305"/>
                  <a:gd name="connsiteX24" fmla="*/ 1564184 w 2081801"/>
                  <a:gd name="connsiteY24" fmla="*/ 837677 h 2563305"/>
                  <a:gd name="connsiteX25" fmla="*/ 1690225 w 2081801"/>
                  <a:gd name="connsiteY25" fmla="*/ 707387 h 2563305"/>
                  <a:gd name="connsiteX26" fmla="*/ 1690225 w 2081801"/>
                  <a:gd name="connsiteY26" fmla="*/ 707387 h 2563305"/>
                  <a:gd name="connsiteX27" fmla="*/ 1582594 w 2081801"/>
                  <a:gd name="connsiteY27" fmla="*/ 720133 h 2563305"/>
                  <a:gd name="connsiteX28" fmla="*/ 1650571 w 2081801"/>
                  <a:gd name="connsiteY28" fmla="*/ 643659 h 2563305"/>
                  <a:gd name="connsiteX29" fmla="*/ 1650571 w 2081801"/>
                  <a:gd name="connsiteY29" fmla="*/ 643659 h 2563305"/>
                  <a:gd name="connsiteX30" fmla="*/ 1406986 w 2081801"/>
                  <a:gd name="connsiteY30" fmla="*/ 670566 h 2563305"/>
                  <a:gd name="connsiteX31" fmla="*/ 1436726 w 2081801"/>
                  <a:gd name="connsiteY31" fmla="*/ 625248 h 2563305"/>
                  <a:gd name="connsiteX32" fmla="*/ 1450888 w 2081801"/>
                  <a:gd name="connsiteY32" fmla="*/ 477964 h 2563305"/>
                  <a:gd name="connsiteX33" fmla="*/ 1593924 w 2081801"/>
                  <a:gd name="connsiteY33" fmla="*/ 509121 h 2563305"/>
                  <a:gd name="connsiteX34" fmla="*/ 1620831 w 2081801"/>
                  <a:gd name="connsiteY34" fmla="*/ 585595 h 2563305"/>
                  <a:gd name="connsiteX35" fmla="*/ 1620831 w 2081801"/>
                  <a:gd name="connsiteY35" fmla="*/ 585595 h 2563305"/>
                  <a:gd name="connsiteX36" fmla="*/ 1622248 w 2081801"/>
                  <a:gd name="connsiteY36" fmla="*/ 585595 h 2563305"/>
                  <a:gd name="connsiteX37" fmla="*/ 1593924 w 2081801"/>
                  <a:gd name="connsiteY37" fmla="*/ 507704 h 2563305"/>
                  <a:gd name="connsiteX38" fmla="*/ 1593924 w 2081801"/>
                  <a:gd name="connsiteY38" fmla="*/ 507704 h 2563305"/>
                  <a:gd name="connsiteX39" fmla="*/ 1449472 w 2081801"/>
                  <a:gd name="connsiteY39" fmla="*/ 476548 h 2563305"/>
                  <a:gd name="connsiteX40" fmla="*/ 1473547 w 2081801"/>
                  <a:gd name="connsiteY40" fmla="*/ 215969 h 2563305"/>
                  <a:gd name="connsiteX41" fmla="*/ 1473547 w 2081801"/>
                  <a:gd name="connsiteY41" fmla="*/ 215969 h 2563305"/>
                  <a:gd name="connsiteX42" fmla="*/ 1472131 w 2081801"/>
                  <a:gd name="connsiteY42" fmla="*/ 215969 h 2563305"/>
                  <a:gd name="connsiteX43" fmla="*/ 1472131 w 2081801"/>
                  <a:gd name="connsiteY43" fmla="*/ 215969 h 2563305"/>
                  <a:gd name="connsiteX44" fmla="*/ 1392824 w 2081801"/>
                  <a:gd name="connsiteY44" fmla="*/ 465219 h 2563305"/>
                  <a:gd name="connsiteX45" fmla="*/ 1339009 w 2081801"/>
                  <a:gd name="connsiteY45" fmla="*/ 453889 h 2563305"/>
                  <a:gd name="connsiteX46" fmla="*/ 1310685 w 2081801"/>
                  <a:gd name="connsiteY46" fmla="*/ 208888 h 2563305"/>
                  <a:gd name="connsiteX47" fmla="*/ 1310685 w 2081801"/>
                  <a:gd name="connsiteY47" fmla="*/ 208888 h 2563305"/>
                  <a:gd name="connsiteX48" fmla="*/ 1309269 w 2081801"/>
                  <a:gd name="connsiteY48" fmla="*/ 208888 h 2563305"/>
                  <a:gd name="connsiteX49" fmla="*/ 1302188 w 2081801"/>
                  <a:gd name="connsiteY49" fmla="*/ 446808 h 2563305"/>
                  <a:gd name="connsiteX50" fmla="*/ 1184644 w 2081801"/>
                  <a:gd name="connsiteY50" fmla="*/ 421317 h 2563305"/>
                  <a:gd name="connsiteX51" fmla="*/ 1203055 w 2081801"/>
                  <a:gd name="connsiteY51" fmla="*/ 343426 h 2563305"/>
                  <a:gd name="connsiteX52" fmla="*/ 1203055 w 2081801"/>
                  <a:gd name="connsiteY52" fmla="*/ 343426 h 2563305"/>
                  <a:gd name="connsiteX53" fmla="*/ 1021782 w 2081801"/>
                  <a:gd name="connsiteY53" fmla="*/ 285362 h 2563305"/>
                  <a:gd name="connsiteX54" fmla="*/ 1043025 w 2081801"/>
                  <a:gd name="connsiteY54" fmla="*/ 274033 h 2563305"/>
                  <a:gd name="connsiteX55" fmla="*/ 958054 w 2081801"/>
                  <a:gd name="connsiteY55" fmla="*/ 264120 h 2563305"/>
                  <a:gd name="connsiteX56" fmla="*/ 783862 w 2081801"/>
                  <a:gd name="connsiteY56" fmla="*/ 207472 h 2563305"/>
                  <a:gd name="connsiteX57" fmla="*/ 921233 w 2081801"/>
                  <a:gd name="connsiteY57" fmla="*/ 206056 h 2563305"/>
                  <a:gd name="connsiteX58" fmla="*/ 921233 w 2081801"/>
                  <a:gd name="connsiteY58" fmla="*/ 206056 h 2563305"/>
                  <a:gd name="connsiteX59" fmla="*/ 921233 w 2081801"/>
                  <a:gd name="connsiteY59" fmla="*/ 204640 h 2563305"/>
                  <a:gd name="connsiteX60" fmla="*/ 657821 w 2081801"/>
                  <a:gd name="connsiteY60" fmla="*/ 146576 h 2563305"/>
                  <a:gd name="connsiteX61" fmla="*/ 837678 w 2081801"/>
                  <a:gd name="connsiteY61" fmla="*/ 12037 h 2563305"/>
                  <a:gd name="connsiteX62" fmla="*/ 839093 w 2081801"/>
                  <a:gd name="connsiteY62" fmla="*/ 12037 h 2563305"/>
                  <a:gd name="connsiteX63" fmla="*/ 405739 w 2081801"/>
                  <a:gd name="connsiteY63" fmla="*/ 92760 h 2563305"/>
                  <a:gd name="connsiteX64" fmla="*/ 404323 w 2081801"/>
                  <a:gd name="connsiteY64" fmla="*/ 92760 h 2563305"/>
                  <a:gd name="connsiteX65" fmla="*/ 653573 w 2081801"/>
                  <a:gd name="connsiteY65" fmla="*/ 147992 h 2563305"/>
                  <a:gd name="connsiteX66" fmla="*/ 636578 w 2081801"/>
                  <a:gd name="connsiteY66" fmla="*/ 160738 h 2563305"/>
                  <a:gd name="connsiteX67" fmla="*/ 537445 w 2081801"/>
                  <a:gd name="connsiteY67" fmla="*/ 128165 h 2563305"/>
                  <a:gd name="connsiteX68" fmla="*/ 536029 w 2081801"/>
                  <a:gd name="connsiteY68" fmla="*/ 128165 h 2563305"/>
                  <a:gd name="connsiteX69" fmla="*/ 598341 w 2081801"/>
                  <a:gd name="connsiteY69" fmla="*/ 189061 h 2563305"/>
                  <a:gd name="connsiteX70" fmla="*/ 571433 w 2081801"/>
                  <a:gd name="connsiteY70" fmla="*/ 208888 h 2563305"/>
                  <a:gd name="connsiteX71" fmla="*/ 493543 w 2081801"/>
                  <a:gd name="connsiteY71" fmla="*/ 210304 h 2563305"/>
                  <a:gd name="connsiteX72" fmla="*/ 281114 w 2081801"/>
                  <a:gd name="connsiteY72" fmla="*/ 184813 h 2563305"/>
                  <a:gd name="connsiteX73" fmla="*/ 279698 w 2081801"/>
                  <a:gd name="connsiteY73" fmla="*/ 184813 h 2563305"/>
                  <a:gd name="connsiteX74" fmla="*/ 315103 w 2081801"/>
                  <a:gd name="connsiteY74" fmla="*/ 211720 h 2563305"/>
                  <a:gd name="connsiteX75" fmla="*/ 227299 w 2081801"/>
                  <a:gd name="connsiteY75" fmla="*/ 213137 h 2563305"/>
                  <a:gd name="connsiteX76" fmla="*/ 227299 w 2081801"/>
                  <a:gd name="connsiteY76" fmla="*/ 213137 h 2563305"/>
                  <a:gd name="connsiteX77" fmla="*/ 227299 w 2081801"/>
                  <a:gd name="connsiteY77" fmla="*/ 214553 h 2563305"/>
                  <a:gd name="connsiteX78" fmla="*/ 227299 w 2081801"/>
                  <a:gd name="connsiteY78" fmla="*/ 214553 h 2563305"/>
                  <a:gd name="connsiteX79" fmla="*/ 357588 w 2081801"/>
                  <a:gd name="connsiteY79" fmla="*/ 242877 h 2563305"/>
                  <a:gd name="connsiteX80" fmla="*/ 441144 w 2081801"/>
                  <a:gd name="connsiteY80" fmla="*/ 306605 h 2563305"/>
                  <a:gd name="connsiteX81" fmla="*/ 367502 w 2081801"/>
                  <a:gd name="connsiteY81" fmla="*/ 361837 h 2563305"/>
                  <a:gd name="connsiteX82" fmla="*/ 367502 w 2081801"/>
                  <a:gd name="connsiteY82" fmla="*/ 361837 h 2563305"/>
                  <a:gd name="connsiteX83" fmla="*/ 446809 w 2081801"/>
                  <a:gd name="connsiteY83" fmla="*/ 534612 h 2563305"/>
                  <a:gd name="connsiteX84" fmla="*/ 381664 w 2081801"/>
                  <a:gd name="connsiteY84" fmla="*/ 509121 h 2563305"/>
                  <a:gd name="connsiteX85" fmla="*/ 381664 w 2081801"/>
                  <a:gd name="connsiteY85" fmla="*/ 509121 h 2563305"/>
                  <a:gd name="connsiteX86" fmla="*/ 310854 w 2081801"/>
                  <a:gd name="connsiteY86" fmla="*/ 656404 h 2563305"/>
                  <a:gd name="connsiteX87" fmla="*/ 298109 w 2081801"/>
                  <a:gd name="connsiteY87" fmla="*/ 653572 h 2563305"/>
                  <a:gd name="connsiteX88" fmla="*/ 262704 w 2081801"/>
                  <a:gd name="connsiteY88" fmla="*/ 596924 h 2563305"/>
                  <a:gd name="connsiteX89" fmla="*/ 296692 w 2081801"/>
                  <a:gd name="connsiteY89" fmla="*/ 557271 h 2563305"/>
                  <a:gd name="connsiteX90" fmla="*/ 298109 w 2081801"/>
                  <a:gd name="connsiteY90" fmla="*/ 555855 h 2563305"/>
                  <a:gd name="connsiteX91" fmla="*/ 254207 w 2081801"/>
                  <a:gd name="connsiteY91" fmla="*/ 582762 h 2563305"/>
                  <a:gd name="connsiteX92" fmla="*/ 191894 w 2081801"/>
                  <a:gd name="connsiteY92" fmla="*/ 485045 h 2563305"/>
                  <a:gd name="connsiteX93" fmla="*/ 223050 w 2081801"/>
                  <a:gd name="connsiteY93" fmla="*/ 308022 h 2563305"/>
                  <a:gd name="connsiteX94" fmla="*/ 223050 w 2081801"/>
                  <a:gd name="connsiteY94" fmla="*/ 308022 h 2563305"/>
                  <a:gd name="connsiteX95" fmla="*/ 221634 w 2081801"/>
                  <a:gd name="connsiteY95" fmla="*/ 308022 h 2563305"/>
                  <a:gd name="connsiteX96" fmla="*/ 156489 w 2081801"/>
                  <a:gd name="connsiteY96" fmla="*/ 520450 h 2563305"/>
                  <a:gd name="connsiteX97" fmla="*/ 115420 w 2081801"/>
                  <a:gd name="connsiteY97" fmla="*/ 594092 h 2563305"/>
                  <a:gd name="connsiteX98" fmla="*/ 54523 w 2081801"/>
                  <a:gd name="connsiteY98" fmla="*/ 487878 h 2563305"/>
                  <a:gd name="connsiteX99" fmla="*/ 53107 w 2081801"/>
                  <a:gd name="connsiteY99" fmla="*/ 486461 h 2563305"/>
                  <a:gd name="connsiteX100" fmla="*/ 99842 w 2081801"/>
                  <a:gd name="connsiteY100" fmla="*/ 676231 h 2563305"/>
                  <a:gd name="connsiteX101" fmla="*/ 99842 w 2081801"/>
                  <a:gd name="connsiteY101" fmla="*/ 676231 h 2563305"/>
                  <a:gd name="connsiteX102" fmla="*/ 109755 w 2081801"/>
                  <a:gd name="connsiteY102" fmla="*/ 670566 h 2563305"/>
                  <a:gd name="connsiteX103" fmla="*/ 10621 w 2081801"/>
                  <a:gd name="connsiteY103" fmla="*/ 993458 h 2563305"/>
                  <a:gd name="connsiteX104" fmla="*/ 10621 w 2081801"/>
                  <a:gd name="connsiteY104" fmla="*/ 993458 h 2563305"/>
                  <a:gd name="connsiteX105" fmla="*/ 84264 w 2081801"/>
                  <a:gd name="connsiteY105" fmla="*/ 1081262 h 2563305"/>
                  <a:gd name="connsiteX106" fmla="*/ 82847 w 2081801"/>
                  <a:gd name="connsiteY106" fmla="*/ 1091175 h 2563305"/>
                  <a:gd name="connsiteX107" fmla="*/ 82847 w 2081801"/>
                  <a:gd name="connsiteY107" fmla="*/ 1091175 h 2563305"/>
                  <a:gd name="connsiteX108" fmla="*/ 97009 w 2081801"/>
                  <a:gd name="connsiteY108" fmla="*/ 1095424 h 2563305"/>
                  <a:gd name="connsiteX109" fmla="*/ 268368 w 2081801"/>
                  <a:gd name="connsiteY109" fmla="*/ 1299355 h 2563305"/>
                  <a:gd name="connsiteX110" fmla="*/ 268368 w 2081801"/>
                  <a:gd name="connsiteY110" fmla="*/ 1299355 h 2563305"/>
                  <a:gd name="connsiteX111" fmla="*/ 305190 w 2081801"/>
                  <a:gd name="connsiteY111" fmla="*/ 1157736 h 2563305"/>
                  <a:gd name="connsiteX112" fmla="*/ 390161 w 2081801"/>
                  <a:gd name="connsiteY112" fmla="*/ 1183227 h 2563305"/>
                  <a:gd name="connsiteX113" fmla="*/ 354756 w 2081801"/>
                  <a:gd name="connsiteY113" fmla="*/ 1278112 h 2563305"/>
                  <a:gd name="connsiteX114" fmla="*/ 354756 w 2081801"/>
                  <a:gd name="connsiteY114" fmla="*/ 1278112 h 2563305"/>
                  <a:gd name="connsiteX115" fmla="*/ 536029 w 2081801"/>
                  <a:gd name="connsiteY115" fmla="*/ 1225713 h 2563305"/>
                  <a:gd name="connsiteX116" fmla="*/ 536029 w 2081801"/>
                  <a:gd name="connsiteY116" fmla="*/ 1225713 h 2563305"/>
                  <a:gd name="connsiteX117" fmla="*/ 392993 w 2081801"/>
                  <a:gd name="connsiteY117" fmla="*/ 1181811 h 2563305"/>
                  <a:gd name="connsiteX118" fmla="*/ 421317 w 2081801"/>
                  <a:gd name="connsiteY118" fmla="*/ 1106753 h 2563305"/>
                  <a:gd name="connsiteX119" fmla="*/ 565769 w 2081801"/>
                  <a:gd name="connsiteY119" fmla="*/ 1140742 h 2563305"/>
                  <a:gd name="connsiteX120" fmla="*/ 671983 w 2081801"/>
                  <a:gd name="connsiteY120" fmla="*/ 1256869 h 2563305"/>
                  <a:gd name="connsiteX121" fmla="*/ 943892 w 2081801"/>
                  <a:gd name="connsiteY121" fmla="*/ 1336176 h 2563305"/>
                  <a:gd name="connsiteX122" fmla="*/ 943892 w 2081801"/>
                  <a:gd name="connsiteY122" fmla="*/ 1367332 h 2563305"/>
                  <a:gd name="connsiteX123" fmla="*/ 943892 w 2081801"/>
                  <a:gd name="connsiteY123" fmla="*/ 1367332 h 2563305"/>
                  <a:gd name="connsiteX124" fmla="*/ 959470 w 2081801"/>
                  <a:gd name="connsiteY124" fmla="*/ 1344673 h 2563305"/>
                  <a:gd name="connsiteX125" fmla="*/ 982129 w 2081801"/>
                  <a:gd name="connsiteY125" fmla="*/ 1371581 h 2563305"/>
                  <a:gd name="connsiteX126" fmla="*/ 958054 w 2081801"/>
                  <a:gd name="connsiteY126" fmla="*/ 1439558 h 2563305"/>
                  <a:gd name="connsiteX127" fmla="*/ 847591 w 2081801"/>
                  <a:gd name="connsiteY127" fmla="*/ 1525946 h 2563305"/>
                  <a:gd name="connsiteX128" fmla="*/ 847591 w 2081801"/>
                  <a:gd name="connsiteY128" fmla="*/ 1525946 h 2563305"/>
                  <a:gd name="connsiteX129" fmla="*/ 914152 w 2081801"/>
                  <a:gd name="connsiteY129" fmla="*/ 1528778 h 2563305"/>
                  <a:gd name="connsiteX130" fmla="*/ 925481 w 2081801"/>
                  <a:gd name="connsiteY130" fmla="*/ 1530194 h 2563305"/>
                  <a:gd name="connsiteX131" fmla="*/ 853255 w 2081801"/>
                  <a:gd name="connsiteY131" fmla="*/ 1735542 h 2563305"/>
                  <a:gd name="connsiteX132" fmla="*/ 853255 w 2081801"/>
                  <a:gd name="connsiteY132" fmla="*/ 1735542 h 2563305"/>
                  <a:gd name="connsiteX133" fmla="*/ 977880 w 2081801"/>
                  <a:gd name="connsiteY133" fmla="*/ 1756785 h 2563305"/>
                  <a:gd name="connsiteX134" fmla="*/ 982129 w 2081801"/>
                  <a:gd name="connsiteY134" fmla="*/ 1797854 h 2563305"/>
                  <a:gd name="connsiteX135" fmla="*/ 929730 w 2081801"/>
                  <a:gd name="connsiteY135" fmla="*/ 1891323 h 2563305"/>
                  <a:gd name="connsiteX136" fmla="*/ 929730 w 2081801"/>
                  <a:gd name="connsiteY136" fmla="*/ 1891323 h 2563305"/>
                  <a:gd name="connsiteX137" fmla="*/ 935395 w 2081801"/>
                  <a:gd name="connsiteY137" fmla="*/ 1904068 h 2563305"/>
                  <a:gd name="connsiteX138" fmla="*/ 935395 w 2081801"/>
                  <a:gd name="connsiteY138" fmla="*/ 1905485 h 2563305"/>
                  <a:gd name="connsiteX139" fmla="*/ 953805 w 2081801"/>
                  <a:gd name="connsiteY139" fmla="*/ 1939473 h 2563305"/>
                  <a:gd name="connsiteX140" fmla="*/ 1010453 w 2081801"/>
                  <a:gd name="connsiteY140" fmla="*/ 2041439 h 2563305"/>
                  <a:gd name="connsiteX141" fmla="*/ 1040193 w 2081801"/>
                  <a:gd name="connsiteY141" fmla="*/ 2303434 h 2563305"/>
                  <a:gd name="connsiteX142" fmla="*/ 1040193 w 2081801"/>
                  <a:gd name="connsiteY142" fmla="*/ 2303434 h 2563305"/>
                  <a:gd name="connsiteX143" fmla="*/ 1113835 w 2081801"/>
                  <a:gd name="connsiteY143" fmla="*/ 2185891 h 2563305"/>
                  <a:gd name="connsiteX144" fmla="*/ 1174731 w 2081801"/>
                  <a:gd name="connsiteY144" fmla="*/ 2174561 h 2563305"/>
                  <a:gd name="connsiteX145" fmla="*/ 1136494 w 2081801"/>
                  <a:gd name="connsiteY145" fmla="*/ 2316180 h 2563305"/>
                  <a:gd name="connsiteX146" fmla="*/ 1048690 w 2081801"/>
                  <a:gd name="connsiteY146" fmla="*/ 2302018 h 2563305"/>
                  <a:gd name="connsiteX147" fmla="*/ 1047274 w 2081801"/>
                  <a:gd name="connsiteY147" fmla="*/ 2302018 h 2563305"/>
                  <a:gd name="connsiteX148" fmla="*/ 1129413 w 2081801"/>
                  <a:gd name="connsiteY148" fmla="*/ 2344504 h 2563305"/>
                  <a:gd name="connsiteX149" fmla="*/ 1102505 w 2081801"/>
                  <a:gd name="connsiteY149" fmla="*/ 2446470 h 2563305"/>
                  <a:gd name="connsiteX150" fmla="*/ 1102505 w 2081801"/>
                  <a:gd name="connsiteY150" fmla="*/ 2446470 h 2563305"/>
                  <a:gd name="connsiteX151" fmla="*/ 1224298 w 2081801"/>
                  <a:gd name="connsiteY151" fmla="*/ 2391238 h 2563305"/>
                  <a:gd name="connsiteX152" fmla="*/ 1307853 w 2081801"/>
                  <a:gd name="connsiteY152" fmla="*/ 2433724 h 2563305"/>
                  <a:gd name="connsiteX153" fmla="*/ 1163402 w 2081801"/>
                  <a:gd name="connsiteY153" fmla="*/ 2564013 h 2563305"/>
                  <a:gd name="connsiteX154" fmla="*/ 1163402 w 2081801"/>
                  <a:gd name="connsiteY154" fmla="*/ 2564013 h 2563305"/>
                  <a:gd name="connsiteX155" fmla="*/ 1164817 w 2081801"/>
                  <a:gd name="connsiteY155" fmla="*/ 2565430 h 2563305"/>
                  <a:gd name="connsiteX156" fmla="*/ 1310685 w 2081801"/>
                  <a:gd name="connsiteY156" fmla="*/ 2433724 h 2563305"/>
                  <a:gd name="connsiteX157" fmla="*/ 1310685 w 2081801"/>
                  <a:gd name="connsiteY157" fmla="*/ 2433724 h 2563305"/>
                  <a:gd name="connsiteX158" fmla="*/ 1225714 w 2081801"/>
                  <a:gd name="connsiteY158" fmla="*/ 2389822 h 2563305"/>
                  <a:gd name="connsiteX159" fmla="*/ 1319183 w 2081801"/>
                  <a:gd name="connsiteY159" fmla="*/ 2347336 h 2563305"/>
                  <a:gd name="connsiteX160" fmla="*/ 1387160 w 2081801"/>
                  <a:gd name="connsiteY160" fmla="*/ 2358666 h 2563305"/>
                  <a:gd name="connsiteX161" fmla="*/ 1387160 w 2081801"/>
                  <a:gd name="connsiteY161" fmla="*/ 2358666 h 2563305"/>
                  <a:gd name="connsiteX162" fmla="*/ 1414067 w 2081801"/>
                  <a:gd name="connsiteY162" fmla="*/ 2304851 h 2563305"/>
                  <a:gd name="connsiteX163" fmla="*/ 1525946 w 2081801"/>
                  <a:gd name="connsiteY163" fmla="*/ 2253868 h 2563305"/>
                  <a:gd name="connsiteX164" fmla="*/ 1525946 w 2081801"/>
                  <a:gd name="connsiteY164" fmla="*/ 2253868 h 2563305"/>
                  <a:gd name="connsiteX165" fmla="*/ 1525946 w 2081801"/>
                  <a:gd name="connsiteY165" fmla="*/ 2252451 h 2563305"/>
                  <a:gd name="connsiteX166" fmla="*/ 1525946 w 2081801"/>
                  <a:gd name="connsiteY166" fmla="*/ 2252451 h 2563305"/>
                  <a:gd name="connsiteX167" fmla="*/ 1432478 w 2081801"/>
                  <a:gd name="connsiteY167" fmla="*/ 2269446 h 2563305"/>
                  <a:gd name="connsiteX168" fmla="*/ 1490541 w 2081801"/>
                  <a:gd name="connsiteY168" fmla="*/ 2154734 h 2563305"/>
                  <a:gd name="connsiteX169" fmla="*/ 1595340 w 2081801"/>
                  <a:gd name="connsiteY169" fmla="*/ 2079676 h 2563305"/>
                  <a:gd name="connsiteX170" fmla="*/ 1595340 w 2081801"/>
                  <a:gd name="connsiteY170" fmla="*/ 2079676 h 2563305"/>
                  <a:gd name="connsiteX171" fmla="*/ 1540108 w 2081801"/>
                  <a:gd name="connsiteY171" fmla="*/ 2055601 h 2563305"/>
                  <a:gd name="connsiteX172" fmla="*/ 1660484 w 2081801"/>
                  <a:gd name="connsiteY172" fmla="*/ 1816265 h 2563305"/>
                  <a:gd name="connsiteX173" fmla="*/ 1670398 w 2081801"/>
                  <a:gd name="connsiteY173" fmla="*/ 1823346 h 2563305"/>
                  <a:gd name="connsiteX174" fmla="*/ 1853087 w 2081801"/>
                  <a:gd name="connsiteY174" fmla="*/ 2194388 h 2563305"/>
                  <a:gd name="connsiteX175" fmla="*/ 1853087 w 2081801"/>
                  <a:gd name="connsiteY175" fmla="*/ 2194388 h 2563305"/>
                  <a:gd name="connsiteX176" fmla="*/ 1906902 w 2081801"/>
                  <a:gd name="connsiteY176" fmla="*/ 2007451 h 2563305"/>
                  <a:gd name="connsiteX177" fmla="*/ 1915399 w 2081801"/>
                  <a:gd name="connsiteY177" fmla="*/ 2137740 h 2563305"/>
                  <a:gd name="connsiteX178" fmla="*/ 1894156 w 2081801"/>
                  <a:gd name="connsiteY178" fmla="*/ 2194388 h 2563305"/>
                  <a:gd name="connsiteX179" fmla="*/ 1894156 w 2081801"/>
                  <a:gd name="connsiteY179" fmla="*/ 2195804 h 2563305"/>
                  <a:gd name="connsiteX180" fmla="*/ 1918231 w 2081801"/>
                  <a:gd name="connsiteY180" fmla="*/ 2167480 h 2563305"/>
                  <a:gd name="connsiteX181" fmla="*/ 1923896 w 2081801"/>
                  <a:gd name="connsiteY181" fmla="*/ 2260949 h 2563305"/>
                  <a:gd name="connsiteX182" fmla="*/ 1923896 w 2081801"/>
                  <a:gd name="connsiteY182" fmla="*/ 2262365 h 2563305"/>
                  <a:gd name="connsiteX183" fmla="*/ 1987625 w 2081801"/>
                  <a:gd name="connsiteY183" fmla="*/ 2081092 h 2563305"/>
                  <a:gd name="connsiteX184" fmla="*/ 1987625 w 2081801"/>
                  <a:gd name="connsiteY184" fmla="*/ 2079676 h 2563305"/>
                  <a:gd name="connsiteX185" fmla="*/ 1919648 w 2081801"/>
                  <a:gd name="connsiteY185" fmla="*/ 2161815 h 2563305"/>
                  <a:gd name="connsiteX186" fmla="*/ 1918231 w 2081801"/>
                  <a:gd name="connsiteY186" fmla="*/ 2139156 h 2563305"/>
                  <a:gd name="connsiteX187" fmla="*/ 2021613 w 2081801"/>
                  <a:gd name="connsiteY187" fmla="*/ 1872912 h 2563305"/>
                  <a:gd name="connsiteX188" fmla="*/ 2021613 w 2081801"/>
                  <a:gd name="connsiteY188" fmla="*/ 1871496 h 2563305"/>
                  <a:gd name="connsiteX189" fmla="*/ 1908318 w 2081801"/>
                  <a:gd name="connsiteY189" fmla="*/ 1991872 h 2563305"/>
                  <a:gd name="connsiteX190" fmla="*/ 1673231 w 2081801"/>
                  <a:gd name="connsiteY190" fmla="*/ 1821929 h 2563305"/>
                  <a:gd name="connsiteX191" fmla="*/ 1664733 w 2081801"/>
                  <a:gd name="connsiteY191" fmla="*/ 1803519 h 2563305"/>
                  <a:gd name="connsiteX192" fmla="*/ 1684560 w 2081801"/>
                  <a:gd name="connsiteY192" fmla="*/ 1678894 h 2563305"/>
                  <a:gd name="connsiteX193" fmla="*/ 1684560 w 2081801"/>
                  <a:gd name="connsiteY193" fmla="*/ 1678894 h 2563305"/>
                  <a:gd name="connsiteX194" fmla="*/ 1472131 w 2081801"/>
                  <a:gd name="connsiteY194" fmla="*/ 1804935 h 2563305"/>
                  <a:gd name="connsiteX195" fmla="*/ 1443807 w 2081801"/>
                  <a:gd name="connsiteY195" fmla="*/ 1702970 h 2563305"/>
                  <a:gd name="connsiteX196" fmla="*/ 1637826 w 2081801"/>
                  <a:gd name="connsiteY196" fmla="*/ 1592506 h 2563305"/>
                  <a:gd name="connsiteX197" fmla="*/ 1637826 w 2081801"/>
                  <a:gd name="connsiteY197" fmla="*/ 1592506 h 2563305"/>
                  <a:gd name="connsiteX198" fmla="*/ 1643490 w 2081801"/>
                  <a:gd name="connsiteY198" fmla="*/ 1537275 h 2563305"/>
                  <a:gd name="connsiteX199" fmla="*/ 1724213 w 2081801"/>
                  <a:gd name="connsiteY199" fmla="*/ 1561350 h 2563305"/>
                  <a:gd name="connsiteX200" fmla="*/ 1724213 w 2081801"/>
                  <a:gd name="connsiteY200" fmla="*/ 1561350 h 2563305"/>
                  <a:gd name="connsiteX201" fmla="*/ 1908318 w 2081801"/>
                  <a:gd name="connsiteY201" fmla="*/ 1348922 h 2563305"/>
                  <a:gd name="connsiteX202" fmla="*/ 1953636 w 2081801"/>
                  <a:gd name="connsiteY202" fmla="*/ 1331927 h 2563305"/>
                  <a:gd name="connsiteX203" fmla="*/ 1953636 w 2081801"/>
                  <a:gd name="connsiteY203" fmla="*/ 1331927 h 2563305"/>
                  <a:gd name="connsiteX204" fmla="*/ 1977712 w 2081801"/>
                  <a:gd name="connsiteY204" fmla="*/ 1269615 h 2563305"/>
                  <a:gd name="connsiteX205" fmla="*/ 2011700 w 2081801"/>
                  <a:gd name="connsiteY205" fmla="*/ 1231378 h 2563305"/>
                  <a:gd name="connsiteX206" fmla="*/ 2011700 w 2081801"/>
                  <a:gd name="connsiteY206" fmla="*/ 1231378 h 2563305"/>
                  <a:gd name="connsiteX207" fmla="*/ 1998955 w 2081801"/>
                  <a:gd name="connsiteY207" fmla="*/ 1217216 h 2563305"/>
                  <a:gd name="connsiteX208" fmla="*/ 2072596 w 2081801"/>
                  <a:gd name="connsiteY208" fmla="*/ 1026030 h 2563305"/>
                  <a:gd name="connsiteX209" fmla="*/ 2072596 w 2081801"/>
                  <a:gd name="connsiteY209" fmla="*/ 1026030 h 2563305"/>
                  <a:gd name="connsiteX210" fmla="*/ 1861584 w 2081801"/>
                  <a:gd name="connsiteY210" fmla="*/ 1065684 h 2563305"/>
                  <a:gd name="connsiteX211" fmla="*/ 1861584 w 2081801"/>
                  <a:gd name="connsiteY211" fmla="*/ 1065684 h 2563305"/>
                  <a:gd name="connsiteX212" fmla="*/ 2008868 w 2081801"/>
                  <a:gd name="connsiteY212" fmla="*/ 1227129 h 2563305"/>
                  <a:gd name="connsiteX213" fmla="*/ 1980544 w 2081801"/>
                  <a:gd name="connsiteY213" fmla="*/ 1261118 h 2563305"/>
                  <a:gd name="connsiteX214" fmla="*/ 1997538 w 2081801"/>
                  <a:gd name="connsiteY214" fmla="*/ 1215800 h 2563305"/>
                  <a:gd name="connsiteX215" fmla="*/ 2008868 w 2081801"/>
                  <a:gd name="connsiteY215" fmla="*/ 1227129 h 2563305"/>
                  <a:gd name="connsiteX216" fmla="*/ 2068348 w 2081801"/>
                  <a:gd name="connsiteY216" fmla="*/ 1024614 h 2563305"/>
                  <a:gd name="connsiteX217" fmla="*/ 1996122 w 2081801"/>
                  <a:gd name="connsiteY217" fmla="*/ 1211551 h 2563305"/>
                  <a:gd name="connsiteX218" fmla="*/ 1864416 w 2081801"/>
                  <a:gd name="connsiteY218" fmla="*/ 1067100 h 2563305"/>
                  <a:gd name="connsiteX219" fmla="*/ 2068348 w 2081801"/>
                  <a:gd name="connsiteY219" fmla="*/ 1024614 h 2563305"/>
                  <a:gd name="connsiteX220" fmla="*/ 1973463 w 2081801"/>
                  <a:gd name="connsiteY220" fmla="*/ 1271031 h 2563305"/>
                  <a:gd name="connsiteX221" fmla="*/ 1952220 w 2081801"/>
                  <a:gd name="connsiteY221" fmla="*/ 1327679 h 2563305"/>
                  <a:gd name="connsiteX222" fmla="*/ 1911150 w 2081801"/>
                  <a:gd name="connsiteY222" fmla="*/ 1343257 h 2563305"/>
                  <a:gd name="connsiteX223" fmla="*/ 1973463 w 2081801"/>
                  <a:gd name="connsiteY223" fmla="*/ 1271031 h 2563305"/>
                  <a:gd name="connsiteX224" fmla="*/ 1324847 w 2081801"/>
                  <a:gd name="connsiteY224" fmla="*/ 2343088 h 2563305"/>
                  <a:gd name="connsiteX225" fmla="*/ 1414067 w 2081801"/>
                  <a:gd name="connsiteY225" fmla="*/ 2303434 h 2563305"/>
                  <a:gd name="connsiteX226" fmla="*/ 1388576 w 2081801"/>
                  <a:gd name="connsiteY226" fmla="*/ 2354417 h 2563305"/>
                  <a:gd name="connsiteX227" fmla="*/ 1324847 w 2081801"/>
                  <a:gd name="connsiteY227" fmla="*/ 2343088 h 2563305"/>
                  <a:gd name="connsiteX228" fmla="*/ 99842 w 2081801"/>
                  <a:gd name="connsiteY228" fmla="*/ 1091175 h 2563305"/>
                  <a:gd name="connsiteX229" fmla="*/ 302357 w 2081801"/>
                  <a:gd name="connsiteY229" fmla="*/ 1152071 h 2563305"/>
                  <a:gd name="connsiteX230" fmla="*/ 266952 w 2081801"/>
                  <a:gd name="connsiteY230" fmla="*/ 1289442 h 2563305"/>
                  <a:gd name="connsiteX231" fmla="*/ 99842 w 2081801"/>
                  <a:gd name="connsiteY231" fmla="*/ 1091175 h 2563305"/>
                  <a:gd name="connsiteX232" fmla="*/ 1395657 w 2081801"/>
                  <a:gd name="connsiteY232" fmla="*/ 462386 h 2563305"/>
                  <a:gd name="connsiteX233" fmla="*/ 1472131 w 2081801"/>
                  <a:gd name="connsiteY233" fmla="*/ 224466 h 2563305"/>
                  <a:gd name="connsiteX234" fmla="*/ 1448056 w 2081801"/>
                  <a:gd name="connsiteY234" fmla="*/ 475132 h 2563305"/>
                  <a:gd name="connsiteX235" fmla="*/ 1395657 w 2081801"/>
                  <a:gd name="connsiteY235" fmla="*/ 462386 h 2563305"/>
                  <a:gd name="connsiteX236" fmla="*/ 1317766 w 2081801"/>
                  <a:gd name="connsiteY236" fmla="*/ 2343088 h 2563305"/>
                  <a:gd name="connsiteX237" fmla="*/ 1225714 w 2081801"/>
                  <a:gd name="connsiteY237" fmla="*/ 2384157 h 2563305"/>
                  <a:gd name="connsiteX238" fmla="*/ 1133662 w 2081801"/>
                  <a:gd name="connsiteY238" fmla="*/ 2337423 h 2563305"/>
                  <a:gd name="connsiteX239" fmla="*/ 1139326 w 2081801"/>
                  <a:gd name="connsiteY239" fmla="*/ 2313348 h 2563305"/>
                  <a:gd name="connsiteX240" fmla="*/ 1317766 w 2081801"/>
                  <a:gd name="connsiteY240" fmla="*/ 2343088 h 2563305"/>
                  <a:gd name="connsiteX241" fmla="*/ 1095424 w 2081801"/>
                  <a:gd name="connsiteY241" fmla="*/ 2184474 h 2563305"/>
                  <a:gd name="connsiteX242" fmla="*/ 1095424 w 2081801"/>
                  <a:gd name="connsiteY242" fmla="*/ 2184474 h 2563305"/>
                  <a:gd name="connsiteX243" fmla="*/ 1112419 w 2081801"/>
                  <a:gd name="connsiteY243" fmla="*/ 2181642 h 2563305"/>
                  <a:gd name="connsiteX244" fmla="*/ 1043025 w 2081801"/>
                  <a:gd name="connsiteY244" fmla="*/ 2292105 h 2563305"/>
                  <a:gd name="connsiteX245" fmla="*/ 1014701 w 2081801"/>
                  <a:gd name="connsiteY245" fmla="*/ 2040023 h 2563305"/>
                  <a:gd name="connsiteX246" fmla="*/ 1095424 w 2081801"/>
                  <a:gd name="connsiteY246" fmla="*/ 2184474 h 2563305"/>
                  <a:gd name="connsiteX247" fmla="*/ 418485 w 2081801"/>
                  <a:gd name="connsiteY247" fmla="*/ 1102504 h 2563305"/>
                  <a:gd name="connsiteX248" fmla="*/ 390161 w 2081801"/>
                  <a:gd name="connsiteY248" fmla="*/ 1177563 h 2563305"/>
                  <a:gd name="connsiteX249" fmla="*/ 305190 w 2081801"/>
                  <a:gd name="connsiteY249" fmla="*/ 1152071 h 2563305"/>
                  <a:gd name="connsiteX250" fmla="*/ 323600 w 2081801"/>
                  <a:gd name="connsiteY250" fmla="*/ 1079846 h 2563305"/>
                  <a:gd name="connsiteX251" fmla="*/ 418485 w 2081801"/>
                  <a:gd name="connsiteY251" fmla="*/ 1102504 h 2563305"/>
                  <a:gd name="connsiteX252" fmla="*/ 357588 w 2081801"/>
                  <a:gd name="connsiteY252" fmla="*/ 1269615 h 2563305"/>
                  <a:gd name="connsiteX253" fmla="*/ 391577 w 2081801"/>
                  <a:gd name="connsiteY253" fmla="*/ 1178979 h 2563305"/>
                  <a:gd name="connsiteX254" fmla="*/ 528948 w 2081801"/>
                  <a:gd name="connsiteY254" fmla="*/ 1220048 h 2563305"/>
                  <a:gd name="connsiteX255" fmla="*/ 357588 w 2081801"/>
                  <a:gd name="connsiteY255" fmla="*/ 1269615 h 2563305"/>
                  <a:gd name="connsiteX256" fmla="*/ 94177 w 2081801"/>
                  <a:gd name="connsiteY256" fmla="*/ 1086927 h 2563305"/>
                  <a:gd name="connsiteX257" fmla="*/ 85680 w 2081801"/>
                  <a:gd name="connsiteY257" fmla="*/ 1084094 h 2563305"/>
                  <a:gd name="connsiteX258" fmla="*/ 87096 w 2081801"/>
                  <a:gd name="connsiteY258" fmla="*/ 1077013 h 2563305"/>
                  <a:gd name="connsiteX259" fmla="*/ 94177 w 2081801"/>
                  <a:gd name="connsiteY259" fmla="*/ 1086927 h 2563305"/>
                  <a:gd name="connsiteX260" fmla="*/ 108339 w 2081801"/>
                  <a:gd name="connsiteY260" fmla="*/ 605422 h 2563305"/>
                  <a:gd name="connsiteX261" fmla="*/ 115420 w 2081801"/>
                  <a:gd name="connsiteY261" fmla="*/ 592676 h 2563305"/>
                  <a:gd name="connsiteX262" fmla="*/ 125333 w 2081801"/>
                  <a:gd name="connsiteY262" fmla="*/ 609670 h 2563305"/>
                  <a:gd name="connsiteX263" fmla="*/ 108339 w 2081801"/>
                  <a:gd name="connsiteY263" fmla="*/ 605422 h 2563305"/>
                  <a:gd name="connsiteX264" fmla="*/ 1303604 w 2081801"/>
                  <a:gd name="connsiteY264" fmla="*/ 530363 h 2563305"/>
                  <a:gd name="connsiteX265" fmla="*/ 1306437 w 2081801"/>
                  <a:gd name="connsiteY265" fmla="*/ 445392 h 2563305"/>
                  <a:gd name="connsiteX266" fmla="*/ 1339009 w 2081801"/>
                  <a:gd name="connsiteY266" fmla="*/ 452473 h 2563305"/>
                  <a:gd name="connsiteX267" fmla="*/ 1346090 w 2081801"/>
                  <a:gd name="connsiteY267" fmla="*/ 511953 h 2563305"/>
                  <a:gd name="connsiteX268" fmla="*/ 1303604 w 2081801"/>
                  <a:gd name="connsiteY268" fmla="*/ 530363 h 2563305"/>
                  <a:gd name="connsiteX269" fmla="*/ 1664733 w 2081801"/>
                  <a:gd name="connsiteY269" fmla="*/ 1800687 h 2563305"/>
                  <a:gd name="connsiteX270" fmla="*/ 1664733 w 2081801"/>
                  <a:gd name="connsiteY270" fmla="*/ 1800687 h 2563305"/>
                  <a:gd name="connsiteX271" fmla="*/ 1671814 w 2081801"/>
                  <a:gd name="connsiteY271" fmla="*/ 1816265 h 2563305"/>
                  <a:gd name="connsiteX272" fmla="*/ 1663317 w 2081801"/>
                  <a:gd name="connsiteY272" fmla="*/ 1809184 h 2563305"/>
                  <a:gd name="connsiteX273" fmla="*/ 1663317 w 2081801"/>
                  <a:gd name="connsiteY273" fmla="*/ 1809184 h 2563305"/>
                  <a:gd name="connsiteX274" fmla="*/ 1541524 w 2081801"/>
                  <a:gd name="connsiteY274" fmla="*/ 2051353 h 2563305"/>
                  <a:gd name="connsiteX275" fmla="*/ 1446640 w 2081801"/>
                  <a:gd name="connsiteY275" fmla="*/ 2010283 h 2563305"/>
                  <a:gd name="connsiteX276" fmla="*/ 1496207 w 2081801"/>
                  <a:gd name="connsiteY276" fmla="*/ 1898404 h 2563305"/>
                  <a:gd name="connsiteX277" fmla="*/ 1496207 w 2081801"/>
                  <a:gd name="connsiteY277" fmla="*/ 1898404 h 2563305"/>
                  <a:gd name="connsiteX278" fmla="*/ 1487709 w 2081801"/>
                  <a:gd name="connsiteY278" fmla="*/ 1898404 h 2563305"/>
                  <a:gd name="connsiteX279" fmla="*/ 1499039 w 2081801"/>
                  <a:gd name="connsiteY279" fmla="*/ 1889906 h 2563305"/>
                  <a:gd name="connsiteX280" fmla="*/ 1499039 w 2081801"/>
                  <a:gd name="connsiteY280" fmla="*/ 1889906 h 2563305"/>
                  <a:gd name="connsiteX281" fmla="*/ 1474964 w 2081801"/>
                  <a:gd name="connsiteY281" fmla="*/ 1804935 h 2563305"/>
                  <a:gd name="connsiteX282" fmla="*/ 1684560 w 2081801"/>
                  <a:gd name="connsiteY282" fmla="*/ 1680310 h 2563305"/>
                  <a:gd name="connsiteX283" fmla="*/ 1664733 w 2081801"/>
                  <a:gd name="connsiteY283" fmla="*/ 1800687 h 2563305"/>
                  <a:gd name="connsiteX284" fmla="*/ 1292275 w 2081801"/>
                  <a:gd name="connsiteY284" fmla="*/ 2292105 h 2563305"/>
                  <a:gd name="connsiteX285" fmla="*/ 1292275 w 2081801"/>
                  <a:gd name="connsiteY285" fmla="*/ 2292105 h 2563305"/>
                  <a:gd name="connsiteX286" fmla="*/ 1431062 w 2081801"/>
                  <a:gd name="connsiteY286" fmla="*/ 2268030 h 2563305"/>
                  <a:gd name="connsiteX287" fmla="*/ 1415484 w 2081801"/>
                  <a:gd name="connsiteY287" fmla="*/ 2299186 h 2563305"/>
                  <a:gd name="connsiteX288" fmla="*/ 1320599 w 2081801"/>
                  <a:gd name="connsiteY288" fmla="*/ 2341672 h 2563305"/>
                  <a:gd name="connsiteX289" fmla="*/ 1139326 w 2081801"/>
                  <a:gd name="connsiteY289" fmla="*/ 2311932 h 2563305"/>
                  <a:gd name="connsiteX290" fmla="*/ 1177564 w 2081801"/>
                  <a:gd name="connsiteY290" fmla="*/ 2167480 h 2563305"/>
                  <a:gd name="connsiteX291" fmla="*/ 1177564 w 2081801"/>
                  <a:gd name="connsiteY291" fmla="*/ 2167480 h 2563305"/>
                  <a:gd name="connsiteX292" fmla="*/ 1115251 w 2081801"/>
                  <a:gd name="connsiteY292" fmla="*/ 2178810 h 2563305"/>
                  <a:gd name="connsiteX293" fmla="*/ 1163402 w 2081801"/>
                  <a:gd name="connsiteY293" fmla="*/ 2102335 h 2563305"/>
                  <a:gd name="connsiteX294" fmla="*/ 1170483 w 2081801"/>
                  <a:gd name="connsiteY294" fmla="*/ 2124994 h 2563305"/>
                  <a:gd name="connsiteX295" fmla="*/ 1166234 w 2081801"/>
                  <a:gd name="connsiteY295" fmla="*/ 2160399 h 2563305"/>
                  <a:gd name="connsiteX296" fmla="*/ 1166234 w 2081801"/>
                  <a:gd name="connsiteY296" fmla="*/ 2160399 h 2563305"/>
                  <a:gd name="connsiteX297" fmla="*/ 1178979 w 2081801"/>
                  <a:gd name="connsiteY297" fmla="*/ 2150486 h 2563305"/>
                  <a:gd name="connsiteX298" fmla="*/ 1181812 w 2081801"/>
                  <a:gd name="connsiteY298" fmla="*/ 2158983 h 2563305"/>
                  <a:gd name="connsiteX299" fmla="*/ 1181812 w 2081801"/>
                  <a:gd name="connsiteY299" fmla="*/ 2158983 h 2563305"/>
                  <a:gd name="connsiteX300" fmla="*/ 1323431 w 2081801"/>
                  <a:gd name="connsiteY300" fmla="*/ 2130659 h 2563305"/>
                  <a:gd name="connsiteX301" fmla="*/ 1323431 w 2081801"/>
                  <a:gd name="connsiteY301" fmla="*/ 2130659 h 2563305"/>
                  <a:gd name="connsiteX302" fmla="*/ 1255454 w 2081801"/>
                  <a:gd name="connsiteY302" fmla="*/ 2086757 h 2563305"/>
                  <a:gd name="connsiteX303" fmla="*/ 1483461 w 2081801"/>
                  <a:gd name="connsiteY303" fmla="*/ 1898404 h 2563305"/>
                  <a:gd name="connsiteX304" fmla="*/ 1490541 w 2081801"/>
                  <a:gd name="connsiteY304" fmla="*/ 1898404 h 2563305"/>
                  <a:gd name="connsiteX305" fmla="*/ 1442391 w 2081801"/>
                  <a:gd name="connsiteY305" fmla="*/ 2010283 h 2563305"/>
                  <a:gd name="connsiteX306" fmla="*/ 1442391 w 2081801"/>
                  <a:gd name="connsiteY306" fmla="*/ 2010283 h 2563305"/>
                  <a:gd name="connsiteX307" fmla="*/ 1540108 w 2081801"/>
                  <a:gd name="connsiteY307" fmla="*/ 2051353 h 2563305"/>
                  <a:gd name="connsiteX308" fmla="*/ 1490541 w 2081801"/>
                  <a:gd name="connsiteY308" fmla="*/ 2149070 h 2563305"/>
                  <a:gd name="connsiteX309" fmla="*/ 1292275 w 2081801"/>
                  <a:gd name="connsiteY309" fmla="*/ 2292105 h 2563305"/>
                  <a:gd name="connsiteX310" fmla="*/ 1096840 w 2081801"/>
                  <a:gd name="connsiteY310" fmla="*/ 2183058 h 2563305"/>
                  <a:gd name="connsiteX311" fmla="*/ 1013285 w 2081801"/>
                  <a:gd name="connsiteY311" fmla="*/ 2035774 h 2563305"/>
                  <a:gd name="connsiteX312" fmla="*/ 1013285 w 2081801"/>
                  <a:gd name="connsiteY312" fmla="*/ 2035774 h 2563305"/>
                  <a:gd name="connsiteX313" fmla="*/ 984961 w 2081801"/>
                  <a:gd name="connsiteY313" fmla="*/ 1793606 h 2563305"/>
                  <a:gd name="connsiteX314" fmla="*/ 1004788 w 2081801"/>
                  <a:gd name="connsiteY314" fmla="*/ 1755368 h 2563305"/>
                  <a:gd name="connsiteX315" fmla="*/ 1004788 w 2081801"/>
                  <a:gd name="connsiteY315" fmla="*/ 1753952 h 2563305"/>
                  <a:gd name="connsiteX316" fmla="*/ 979297 w 2081801"/>
                  <a:gd name="connsiteY316" fmla="*/ 1749704 h 2563305"/>
                  <a:gd name="connsiteX317" fmla="*/ 973632 w 2081801"/>
                  <a:gd name="connsiteY317" fmla="*/ 1701553 h 2563305"/>
                  <a:gd name="connsiteX318" fmla="*/ 1044441 w 2081801"/>
                  <a:gd name="connsiteY318" fmla="*/ 1674646 h 2563305"/>
                  <a:gd name="connsiteX319" fmla="*/ 1218633 w 2081801"/>
                  <a:gd name="connsiteY319" fmla="*/ 1663316 h 2563305"/>
                  <a:gd name="connsiteX320" fmla="*/ 1210136 w 2081801"/>
                  <a:gd name="connsiteY320" fmla="*/ 1751120 h 2563305"/>
                  <a:gd name="connsiteX321" fmla="*/ 1055771 w 2081801"/>
                  <a:gd name="connsiteY321" fmla="*/ 1770946 h 2563305"/>
                  <a:gd name="connsiteX322" fmla="*/ 1055771 w 2081801"/>
                  <a:gd name="connsiteY322" fmla="*/ 1770946 h 2563305"/>
                  <a:gd name="connsiteX323" fmla="*/ 1106754 w 2081801"/>
                  <a:gd name="connsiteY323" fmla="*/ 1925311 h 2563305"/>
                  <a:gd name="connsiteX324" fmla="*/ 1010453 w 2081801"/>
                  <a:gd name="connsiteY324" fmla="*/ 1932392 h 2563305"/>
                  <a:gd name="connsiteX325" fmla="*/ 1010453 w 2081801"/>
                  <a:gd name="connsiteY325" fmla="*/ 1932392 h 2563305"/>
                  <a:gd name="connsiteX326" fmla="*/ 1136494 w 2081801"/>
                  <a:gd name="connsiteY326" fmla="*/ 2013115 h 2563305"/>
                  <a:gd name="connsiteX327" fmla="*/ 1164817 w 2081801"/>
                  <a:gd name="connsiteY327" fmla="*/ 2100919 h 2563305"/>
                  <a:gd name="connsiteX328" fmla="*/ 1115251 w 2081801"/>
                  <a:gd name="connsiteY328" fmla="*/ 2180226 h 2563305"/>
                  <a:gd name="connsiteX329" fmla="*/ 1096840 w 2081801"/>
                  <a:gd name="connsiteY329" fmla="*/ 2183058 h 2563305"/>
                  <a:gd name="connsiteX330" fmla="*/ 114004 w 2081801"/>
                  <a:gd name="connsiteY330" fmla="*/ 589843 h 2563305"/>
                  <a:gd name="connsiteX331" fmla="*/ 104090 w 2081801"/>
                  <a:gd name="connsiteY331" fmla="*/ 606838 h 2563305"/>
                  <a:gd name="connsiteX332" fmla="*/ 125333 w 2081801"/>
                  <a:gd name="connsiteY332" fmla="*/ 611086 h 2563305"/>
                  <a:gd name="connsiteX333" fmla="*/ 109755 w 2081801"/>
                  <a:gd name="connsiteY333" fmla="*/ 662069 h 2563305"/>
                  <a:gd name="connsiteX334" fmla="*/ 101258 w 2081801"/>
                  <a:gd name="connsiteY334" fmla="*/ 667734 h 2563305"/>
                  <a:gd name="connsiteX335" fmla="*/ 58772 w 2081801"/>
                  <a:gd name="connsiteY335" fmla="*/ 493542 h 2563305"/>
                  <a:gd name="connsiteX336" fmla="*/ 114004 w 2081801"/>
                  <a:gd name="connsiteY336" fmla="*/ 589843 h 2563305"/>
                  <a:gd name="connsiteX337" fmla="*/ 225883 w 2081801"/>
                  <a:gd name="connsiteY337" fmla="*/ 632329 h 2563305"/>
                  <a:gd name="connsiteX338" fmla="*/ 181981 w 2081801"/>
                  <a:gd name="connsiteY338" fmla="*/ 622416 h 2563305"/>
                  <a:gd name="connsiteX339" fmla="*/ 252790 w 2081801"/>
                  <a:gd name="connsiteY339" fmla="*/ 579930 h 2563305"/>
                  <a:gd name="connsiteX340" fmla="*/ 259871 w 2081801"/>
                  <a:gd name="connsiteY340" fmla="*/ 591260 h 2563305"/>
                  <a:gd name="connsiteX341" fmla="*/ 225883 w 2081801"/>
                  <a:gd name="connsiteY341" fmla="*/ 632329 h 2563305"/>
                  <a:gd name="connsiteX342" fmla="*/ 640827 w 2081801"/>
                  <a:gd name="connsiteY342" fmla="*/ 156489 h 2563305"/>
                  <a:gd name="connsiteX343" fmla="*/ 657821 w 2081801"/>
                  <a:gd name="connsiteY343" fmla="*/ 143743 h 2563305"/>
                  <a:gd name="connsiteX344" fmla="*/ 914152 w 2081801"/>
                  <a:gd name="connsiteY344" fmla="*/ 200391 h 2563305"/>
                  <a:gd name="connsiteX345" fmla="*/ 781030 w 2081801"/>
                  <a:gd name="connsiteY345" fmla="*/ 201807 h 2563305"/>
                  <a:gd name="connsiteX346" fmla="*/ 640827 w 2081801"/>
                  <a:gd name="connsiteY346" fmla="*/ 156489 h 2563305"/>
                  <a:gd name="connsiteX347" fmla="*/ 884412 w 2081801"/>
                  <a:gd name="connsiteY347" fmla="*/ 351923 h 2563305"/>
                  <a:gd name="connsiteX348" fmla="*/ 1020366 w 2081801"/>
                  <a:gd name="connsiteY348" fmla="*/ 282530 h 2563305"/>
                  <a:gd name="connsiteX349" fmla="*/ 1201639 w 2081801"/>
                  <a:gd name="connsiteY349" fmla="*/ 340594 h 2563305"/>
                  <a:gd name="connsiteX350" fmla="*/ 1184644 w 2081801"/>
                  <a:gd name="connsiteY350" fmla="*/ 417068 h 2563305"/>
                  <a:gd name="connsiteX351" fmla="*/ 884412 w 2081801"/>
                  <a:gd name="connsiteY351" fmla="*/ 351923 h 2563305"/>
                  <a:gd name="connsiteX352" fmla="*/ 1493374 w 2081801"/>
                  <a:gd name="connsiteY352" fmla="*/ 1130828 h 2563305"/>
                  <a:gd name="connsiteX353" fmla="*/ 1562767 w 2081801"/>
                  <a:gd name="connsiteY353" fmla="*/ 1054354 h 2563305"/>
                  <a:gd name="connsiteX354" fmla="*/ 1659069 w 2081801"/>
                  <a:gd name="connsiteY354" fmla="*/ 1101088 h 2563305"/>
                  <a:gd name="connsiteX355" fmla="*/ 1605253 w 2081801"/>
                  <a:gd name="connsiteY355" fmla="*/ 1120915 h 2563305"/>
                  <a:gd name="connsiteX356" fmla="*/ 1493374 w 2081801"/>
                  <a:gd name="connsiteY356" fmla="*/ 1130828 h 2563305"/>
                  <a:gd name="connsiteX357" fmla="*/ 1513201 w 2081801"/>
                  <a:gd name="connsiteY357" fmla="*/ 1494789 h 2563305"/>
                  <a:gd name="connsiteX358" fmla="*/ 1501871 w 2081801"/>
                  <a:gd name="connsiteY358" fmla="*/ 1491957 h 2563305"/>
                  <a:gd name="connsiteX359" fmla="*/ 1659069 w 2081801"/>
                  <a:gd name="connsiteY359" fmla="*/ 1360251 h 2563305"/>
                  <a:gd name="connsiteX360" fmla="*/ 1650571 w 2081801"/>
                  <a:gd name="connsiteY360" fmla="*/ 1442390 h 2563305"/>
                  <a:gd name="connsiteX361" fmla="*/ 1513201 w 2081801"/>
                  <a:gd name="connsiteY361" fmla="*/ 1494789 h 2563305"/>
                  <a:gd name="connsiteX362" fmla="*/ 960886 w 2081801"/>
                  <a:gd name="connsiteY362" fmla="*/ 1336176 h 2563305"/>
                  <a:gd name="connsiteX363" fmla="*/ 989210 w 2081801"/>
                  <a:gd name="connsiteY363" fmla="*/ 1344673 h 2563305"/>
                  <a:gd name="connsiteX364" fmla="*/ 982129 w 2081801"/>
                  <a:gd name="connsiteY364" fmla="*/ 1364500 h 2563305"/>
                  <a:gd name="connsiteX365" fmla="*/ 959470 w 2081801"/>
                  <a:gd name="connsiteY365" fmla="*/ 1337592 h 2563305"/>
                  <a:gd name="connsiteX366" fmla="*/ 960886 w 2081801"/>
                  <a:gd name="connsiteY366" fmla="*/ 1336176 h 2563305"/>
                  <a:gd name="connsiteX367" fmla="*/ 945308 w 2081801"/>
                  <a:gd name="connsiteY367" fmla="*/ 1329095 h 2563305"/>
                  <a:gd name="connsiteX368" fmla="*/ 945308 w 2081801"/>
                  <a:gd name="connsiteY368" fmla="*/ 1323430 h 2563305"/>
                  <a:gd name="connsiteX369" fmla="*/ 950973 w 2081801"/>
                  <a:gd name="connsiteY369" fmla="*/ 1330511 h 2563305"/>
                  <a:gd name="connsiteX370" fmla="*/ 945308 w 2081801"/>
                  <a:gd name="connsiteY370" fmla="*/ 1329095 h 2563305"/>
                  <a:gd name="connsiteX371" fmla="*/ 114004 w 2081801"/>
                  <a:gd name="connsiteY371" fmla="*/ 660653 h 2563305"/>
                  <a:gd name="connsiteX372" fmla="*/ 128166 w 2081801"/>
                  <a:gd name="connsiteY372" fmla="*/ 613919 h 2563305"/>
                  <a:gd name="connsiteX373" fmla="*/ 145160 w 2081801"/>
                  <a:gd name="connsiteY373" fmla="*/ 642242 h 2563305"/>
                  <a:gd name="connsiteX374" fmla="*/ 114004 w 2081801"/>
                  <a:gd name="connsiteY374" fmla="*/ 660653 h 2563305"/>
                  <a:gd name="connsiteX375" fmla="*/ 180564 w 2081801"/>
                  <a:gd name="connsiteY375" fmla="*/ 621000 h 2563305"/>
                  <a:gd name="connsiteX376" fmla="*/ 167819 w 2081801"/>
                  <a:gd name="connsiteY376" fmla="*/ 618167 h 2563305"/>
                  <a:gd name="connsiteX377" fmla="*/ 191894 w 2081801"/>
                  <a:gd name="connsiteY377" fmla="*/ 482213 h 2563305"/>
                  <a:gd name="connsiteX378" fmla="*/ 252790 w 2081801"/>
                  <a:gd name="connsiteY378" fmla="*/ 578514 h 2563305"/>
                  <a:gd name="connsiteX379" fmla="*/ 180564 w 2081801"/>
                  <a:gd name="connsiteY379" fmla="*/ 621000 h 2563305"/>
                  <a:gd name="connsiteX380" fmla="*/ 507705 w 2081801"/>
                  <a:gd name="connsiteY380" fmla="*/ 660653 h 2563305"/>
                  <a:gd name="connsiteX381" fmla="*/ 524699 w 2081801"/>
                  <a:gd name="connsiteY381" fmla="*/ 698890 h 2563305"/>
                  <a:gd name="connsiteX382" fmla="*/ 516202 w 2081801"/>
                  <a:gd name="connsiteY382" fmla="*/ 697474 h 2563305"/>
                  <a:gd name="connsiteX383" fmla="*/ 492127 w 2081801"/>
                  <a:gd name="connsiteY383" fmla="*/ 664902 h 2563305"/>
                  <a:gd name="connsiteX384" fmla="*/ 507705 w 2081801"/>
                  <a:gd name="connsiteY384" fmla="*/ 660653 h 2563305"/>
                  <a:gd name="connsiteX385" fmla="*/ 489294 w 2081801"/>
                  <a:gd name="connsiteY385" fmla="*/ 266952 h 2563305"/>
                  <a:gd name="connsiteX386" fmla="*/ 443976 w 2081801"/>
                  <a:gd name="connsiteY386" fmla="*/ 300941 h 2563305"/>
                  <a:gd name="connsiteX387" fmla="*/ 363253 w 2081801"/>
                  <a:gd name="connsiteY387" fmla="*/ 240044 h 2563305"/>
                  <a:gd name="connsiteX388" fmla="*/ 489294 w 2081801"/>
                  <a:gd name="connsiteY388" fmla="*/ 266952 h 2563305"/>
                  <a:gd name="connsiteX389" fmla="*/ 643659 w 2081801"/>
                  <a:gd name="connsiteY389" fmla="*/ 223050 h 2563305"/>
                  <a:gd name="connsiteX390" fmla="*/ 626665 w 2081801"/>
                  <a:gd name="connsiteY390" fmla="*/ 206056 h 2563305"/>
                  <a:gd name="connsiteX391" fmla="*/ 781030 w 2081801"/>
                  <a:gd name="connsiteY391" fmla="*/ 204640 h 2563305"/>
                  <a:gd name="connsiteX392" fmla="*/ 950973 w 2081801"/>
                  <a:gd name="connsiteY392" fmla="*/ 259871 h 2563305"/>
                  <a:gd name="connsiteX393" fmla="*/ 643659 w 2081801"/>
                  <a:gd name="connsiteY393" fmla="*/ 223050 h 2563305"/>
                  <a:gd name="connsiteX394" fmla="*/ 642243 w 2081801"/>
                  <a:gd name="connsiteY394" fmla="*/ 224466 h 2563305"/>
                  <a:gd name="connsiteX395" fmla="*/ 739960 w 2081801"/>
                  <a:gd name="connsiteY395" fmla="*/ 319351 h 2563305"/>
                  <a:gd name="connsiteX396" fmla="*/ 493543 w 2081801"/>
                  <a:gd name="connsiteY396" fmla="*/ 265536 h 2563305"/>
                  <a:gd name="connsiteX397" fmla="*/ 561520 w 2081801"/>
                  <a:gd name="connsiteY397" fmla="*/ 214553 h 2563305"/>
                  <a:gd name="connsiteX398" fmla="*/ 642243 w 2081801"/>
                  <a:gd name="connsiteY398" fmla="*/ 224466 h 2563305"/>
                  <a:gd name="connsiteX399" fmla="*/ 1453721 w 2081801"/>
                  <a:gd name="connsiteY399" fmla="*/ 1174730 h 2563305"/>
                  <a:gd name="connsiteX400" fmla="*/ 1491958 w 2081801"/>
                  <a:gd name="connsiteY400" fmla="*/ 1132245 h 2563305"/>
                  <a:gd name="connsiteX401" fmla="*/ 1598172 w 2081801"/>
                  <a:gd name="connsiteY401" fmla="*/ 1122331 h 2563305"/>
                  <a:gd name="connsiteX402" fmla="*/ 1453721 w 2081801"/>
                  <a:gd name="connsiteY402" fmla="*/ 1174730 h 2563305"/>
                  <a:gd name="connsiteX403" fmla="*/ 1484877 w 2081801"/>
                  <a:gd name="connsiteY403" fmla="*/ 1504703 h 2563305"/>
                  <a:gd name="connsiteX404" fmla="*/ 1499039 w 2081801"/>
                  <a:gd name="connsiteY404" fmla="*/ 1491957 h 2563305"/>
                  <a:gd name="connsiteX405" fmla="*/ 1508952 w 2081801"/>
                  <a:gd name="connsiteY405" fmla="*/ 1494789 h 2563305"/>
                  <a:gd name="connsiteX406" fmla="*/ 1484877 w 2081801"/>
                  <a:gd name="connsiteY406" fmla="*/ 1504703 h 2563305"/>
                  <a:gd name="connsiteX407" fmla="*/ 1397073 w 2081801"/>
                  <a:gd name="connsiteY407" fmla="*/ 1727044 h 2563305"/>
                  <a:gd name="connsiteX408" fmla="*/ 1320599 w 2081801"/>
                  <a:gd name="connsiteY408" fmla="*/ 1848837 h 2563305"/>
                  <a:gd name="connsiteX409" fmla="*/ 1282362 w 2081801"/>
                  <a:gd name="connsiteY409" fmla="*/ 1744039 h 2563305"/>
                  <a:gd name="connsiteX410" fmla="*/ 1391408 w 2081801"/>
                  <a:gd name="connsiteY410" fmla="*/ 1729877 h 2563305"/>
                  <a:gd name="connsiteX411" fmla="*/ 1397073 w 2081801"/>
                  <a:gd name="connsiteY411" fmla="*/ 1727044 h 2563305"/>
                  <a:gd name="connsiteX412" fmla="*/ 1191725 w 2081801"/>
                  <a:gd name="connsiteY412" fmla="*/ 1921063 h 2563305"/>
                  <a:gd name="connsiteX413" fmla="*/ 1178979 w 2081801"/>
                  <a:gd name="connsiteY413" fmla="*/ 2038606 h 2563305"/>
                  <a:gd name="connsiteX414" fmla="*/ 1135078 w 2081801"/>
                  <a:gd name="connsiteY414" fmla="*/ 2010283 h 2563305"/>
                  <a:gd name="connsiteX415" fmla="*/ 1108170 w 2081801"/>
                  <a:gd name="connsiteY415" fmla="*/ 1926727 h 2563305"/>
                  <a:gd name="connsiteX416" fmla="*/ 1191725 w 2081801"/>
                  <a:gd name="connsiteY416" fmla="*/ 1921063 h 2563305"/>
                  <a:gd name="connsiteX417" fmla="*/ 1224298 w 2081801"/>
                  <a:gd name="connsiteY417" fmla="*/ 1606668 h 2563305"/>
                  <a:gd name="connsiteX418" fmla="*/ 1218633 w 2081801"/>
                  <a:gd name="connsiteY418" fmla="*/ 1661900 h 2563305"/>
                  <a:gd name="connsiteX419" fmla="*/ 1051522 w 2081801"/>
                  <a:gd name="connsiteY419" fmla="*/ 1673229 h 2563305"/>
                  <a:gd name="connsiteX420" fmla="*/ 1224298 w 2081801"/>
                  <a:gd name="connsiteY420" fmla="*/ 1606668 h 2563305"/>
                  <a:gd name="connsiteX421" fmla="*/ 1215800 w 2081801"/>
                  <a:gd name="connsiteY421" fmla="*/ 1565599 h 2563305"/>
                  <a:gd name="connsiteX422" fmla="*/ 1225714 w 2081801"/>
                  <a:gd name="connsiteY422" fmla="*/ 1593923 h 2563305"/>
                  <a:gd name="connsiteX423" fmla="*/ 1224298 w 2081801"/>
                  <a:gd name="connsiteY423" fmla="*/ 1603836 h 2563305"/>
                  <a:gd name="connsiteX424" fmla="*/ 1044441 w 2081801"/>
                  <a:gd name="connsiteY424" fmla="*/ 1671813 h 2563305"/>
                  <a:gd name="connsiteX425" fmla="*/ 999123 w 2081801"/>
                  <a:gd name="connsiteY425" fmla="*/ 1674646 h 2563305"/>
                  <a:gd name="connsiteX426" fmla="*/ 1112419 w 2081801"/>
                  <a:gd name="connsiteY426" fmla="*/ 1550021 h 2563305"/>
                  <a:gd name="connsiteX427" fmla="*/ 1215800 w 2081801"/>
                  <a:gd name="connsiteY427" fmla="*/ 1565599 h 2563305"/>
                  <a:gd name="connsiteX428" fmla="*/ 166402 w 2081801"/>
                  <a:gd name="connsiteY428" fmla="*/ 956637 h 2563305"/>
                  <a:gd name="connsiteX429" fmla="*/ 220218 w 2081801"/>
                  <a:gd name="connsiteY429" fmla="*/ 844758 h 2563305"/>
                  <a:gd name="connsiteX430" fmla="*/ 434063 w 2081801"/>
                  <a:gd name="connsiteY430" fmla="*/ 915567 h 2563305"/>
                  <a:gd name="connsiteX431" fmla="*/ 456722 w 2081801"/>
                  <a:gd name="connsiteY431" fmla="*/ 931145 h 2563305"/>
                  <a:gd name="connsiteX432" fmla="*/ 166402 w 2081801"/>
                  <a:gd name="connsiteY432" fmla="*/ 956637 h 2563305"/>
                  <a:gd name="connsiteX433" fmla="*/ 659237 w 2081801"/>
                  <a:gd name="connsiteY433" fmla="*/ 463803 h 2563305"/>
                  <a:gd name="connsiteX434" fmla="*/ 445392 w 2081801"/>
                  <a:gd name="connsiteY434" fmla="*/ 302357 h 2563305"/>
                  <a:gd name="connsiteX435" fmla="*/ 490711 w 2081801"/>
                  <a:gd name="connsiteY435" fmla="*/ 268368 h 2563305"/>
                  <a:gd name="connsiteX436" fmla="*/ 741376 w 2081801"/>
                  <a:gd name="connsiteY436" fmla="*/ 323599 h 2563305"/>
                  <a:gd name="connsiteX437" fmla="*/ 807937 w 2081801"/>
                  <a:gd name="connsiteY437" fmla="*/ 388744 h 2563305"/>
                  <a:gd name="connsiteX438" fmla="*/ 659237 w 2081801"/>
                  <a:gd name="connsiteY438" fmla="*/ 463803 h 2563305"/>
                  <a:gd name="connsiteX439" fmla="*/ 878747 w 2081801"/>
                  <a:gd name="connsiteY439" fmla="*/ 351923 h 2563305"/>
                  <a:gd name="connsiteX440" fmla="*/ 812186 w 2081801"/>
                  <a:gd name="connsiteY440" fmla="*/ 385912 h 2563305"/>
                  <a:gd name="connsiteX441" fmla="*/ 747041 w 2081801"/>
                  <a:gd name="connsiteY441" fmla="*/ 322183 h 2563305"/>
                  <a:gd name="connsiteX442" fmla="*/ 878747 w 2081801"/>
                  <a:gd name="connsiteY442" fmla="*/ 351923 h 2563305"/>
                  <a:gd name="connsiteX443" fmla="*/ 1197390 w 2081801"/>
                  <a:gd name="connsiteY443" fmla="*/ 2049936 h 2563305"/>
                  <a:gd name="connsiteX444" fmla="*/ 1282362 w 2081801"/>
                  <a:gd name="connsiteY444" fmla="*/ 1913982 h 2563305"/>
                  <a:gd name="connsiteX445" fmla="*/ 1480628 w 2081801"/>
                  <a:gd name="connsiteY445" fmla="*/ 1899820 h 2563305"/>
                  <a:gd name="connsiteX446" fmla="*/ 1254038 w 2081801"/>
                  <a:gd name="connsiteY446" fmla="*/ 2086757 h 2563305"/>
                  <a:gd name="connsiteX447" fmla="*/ 1197390 w 2081801"/>
                  <a:gd name="connsiteY447" fmla="*/ 2049936 h 2563305"/>
                  <a:gd name="connsiteX448" fmla="*/ 1183228 w 2081801"/>
                  <a:gd name="connsiteY448" fmla="*/ 2156151 h 2563305"/>
                  <a:gd name="connsiteX449" fmla="*/ 1180396 w 2081801"/>
                  <a:gd name="connsiteY449" fmla="*/ 2149070 h 2563305"/>
                  <a:gd name="connsiteX450" fmla="*/ 1254038 w 2081801"/>
                  <a:gd name="connsiteY450" fmla="*/ 2088173 h 2563305"/>
                  <a:gd name="connsiteX451" fmla="*/ 1317766 w 2081801"/>
                  <a:gd name="connsiteY451" fmla="*/ 2129243 h 2563305"/>
                  <a:gd name="connsiteX452" fmla="*/ 1183228 w 2081801"/>
                  <a:gd name="connsiteY452" fmla="*/ 2156151 h 2563305"/>
                  <a:gd name="connsiteX453" fmla="*/ 1178979 w 2081801"/>
                  <a:gd name="connsiteY453" fmla="*/ 2149070 h 2563305"/>
                  <a:gd name="connsiteX454" fmla="*/ 1170483 w 2081801"/>
                  <a:gd name="connsiteY454" fmla="*/ 2156151 h 2563305"/>
                  <a:gd name="connsiteX455" fmla="*/ 1173315 w 2081801"/>
                  <a:gd name="connsiteY455" fmla="*/ 2130659 h 2563305"/>
                  <a:gd name="connsiteX456" fmla="*/ 1178979 w 2081801"/>
                  <a:gd name="connsiteY456" fmla="*/ 2149070 h 2563305"/>
                  <a:gd name="connsiteX457" fmla="*/ 1194558 w 2081801"/>
                  <a:gd name="connsiteY457" fmla="*/ 1918230 h 2563305"/>
                  <a:gd name="connsiteX458" fmla="*/ 1211552 w 2081801"/>
                  <a:gd name="connsiteY458" fmla="*/ 1751120 h 2563305"/>
                  <a:gd name="connsiteX459" fmla="*/ 1279529 w 2081801"/>
                  <a:gd name="connsiteY459" fmla="*/ 1742623 h 2563305"/>
                  <a:gd name="connsiteX460" fmla="*/ 1317766 w 2081801"/>
                  <a:gd name="connsiteY460" fmla="*/ 1848837 h 2563305"/>
                  <a:gd name="connsiteX461" fmla="*/ 1279529 w 2081801"/>
                  <a:gd name="connsiteY461" fmla="*/ 1911149 h 2563305"/>
                  <a:gd name="connsiteX462" fmla="*/ 1194558 w 2081801"/>
                  <a:gd name="connsiteY462" fmla="*/ 1918230 h 2563305"/>
                  <a:gd name="connsiteX463" fmla="*/ 1252622 w 2081801"/>
                  <a:gd name="connsiteY463" fmla="*/ 2088173 h 2563305"/>
                  <a:gd name="connsiteX464" fmla="*/ 1180396 w 2081801"/>
                  <a:gd name="connsiteY464" fmla="*/ 2147653 h 2563305"/>
                  <a:gd name="connsiteX465" fmla="*/ 1173315 w 2081801"/>
                  <a:gd name="connsiteY465" fmla="*/ 2124994 h 2563305"/>
                  <a:gd name="connsiteX466" fmla="*/ 1177564 w 2081801"/>
                  <a:gd name="connsiteY466" fmla="*/ 2081092 h 2563305"/>
                  <a:gd name="connsiteX467" fmla="*/ 1195974 w 2081801"/>
                  <a:gd name="connsiteY467" fmla="*/ 2052768 h 2563305"/>
                  <a:gd name="connsiteX468" fmla="*/ 1252622 w 2081801"/>
                  <a:gd name="connsiteY468" fmla="*/ 2088173 h 2563305"/>
                  <a:gd name="connsiteX469" fmla="*/ 1279529 w 2081801"/>
                  <a:gd name="connsiteY469" fmla="*/ 1915398 h 2563305"/>
                  <a:gd name="connsiteX470" fmla="*/ 1195974 w 2081801"/>
                  <a:gd name="connsiteY470" fmla="*/ 2049936 h 2563305"/>
                  <a:gd name="connsiteX471" fmla="*/ 1183228 w 2081801"/>
                  <a:gd name="connsiteY471" fmla="*/ 2041439 h 2563305"/>
                  <a:gd name="connsiteX472" fmla="*/ 1195974 w 2081801"/>
                  <a:gd name="connsiteY472" fmla="*/ 1922479 h 2563305"/>
                  <a:gd name="connsiteX473" fmla="*/ 1279529 w 2081801"/>
                  <a:gd name="connsiteY473" fmla="*/ 1915398 h 2563305"/>
                  <a:gd name="connsiteX474" fmla="*/ 1194558 w 2081801"/>
                  <a:gd name="connsiteY474" fmla="*/ 2049936 h 2563305"/>
                  <a:gd name="connsiteX475" fmla="*/ 1178979 w 2081801"/>
                  <a:gd name="connsiteY475" fmla="*/ 2075428 h 2563305"/>
                  <a:gd name="connsiteX476" fmla="*/ 1181812 w 2081801"/>
                  <a:gd name="connsiteY476" fmla="*/ 2042855 h 2563305"/>
                  <a:gd name="connsiteX477" fmla="*/ 1194558 w 2081801"/>
                  <a:gd name="connsiteY477" fmla="*/ 2049936 h 2563305"/>
                  <a:gd name="connsiteX478" fmla="*/ 1174731 w 2081801"/>
                  <a:gd name="connsiteY478" fmla="*/ 2083925 h 2563305"/>
                  <a:gd name="connsiteX479" fmla="*/ 1170483 w 2081801"/>
                  <a:gd name="connsiteY479" fmla="*/ 2119330 h 2563305"/>
                  <a:gd name="connsiteX480" fmla="*/ 1163402 w 2081801"/>
                  <a:gd name="connsiteY480" fmla="*/ 2099503 h 2563305"/>
                  <a:gd name="connsiteX481" fmla="*/ 1174731 w 2081801"/>
                  <a:gd name="connsiteY481" fmla="*/ 2083925 h 2563305"/>
                  <a:gd name="connsiteX482" fmla="*/ 1229962 w 2081801"/>
                  <a:gd name="connsiteY482" fmla="*/ 1603836 h 2563305"/>
                  <a:gd name="connsiteX483" fmla="*/ 1249789 w 2081801"/>
                  <a:gd name="connsiteY483" fmla="*/ 1659068 h 2563305"/>
                  <a:gd name="connsiteX484" fmla="*/ 1221465 w 2081801"/>
                  <a:gd name="connsiteY484" fmla="*/ 1660484 h 2563305"/>
                  <a:gd name="connsiteX485" fmla="*/ 1227130 w 2081801"/>
                  <a:gd name="connsiteY485" fmla="*/ 1605252 h 2563305"/>
                  <a:gd name="connsiteX486" fmla="*/ 1229962 w 2081801"/>
                  <a:gd name="connsiteY486" fmla="*/ 1603836 h 2563305"/>
                  <a:gd name="connsiteX487" fmla="*/ 945308 w 2081801"/>
                  <a:gd name="connsiteY487" fmla="*/ 888660 h 2563305"/>
                  <a:gd name="connsiteX488" fmla="*/ 945308 w 2081801"/>
                  <a:gd name="connsiteY488" fmla="*/ 925481 h 2563305"/>
                  <a:gd name="connsiteX489" fmla="*/ 789527 w 2081801"/>
                  <a:gd name="connsiteY489" fmla="*/ 902822 h 2563305"/>
                  <a:gd name="connsiteX490" fmla="*/ 945308 w 2081801"/>
                  <a:gd name="connsiteY490" fmla="*/ 888660 h 2563305"/>
                  <a:gd name="connsiteX491" fmla="*/ 633746 w 2081801"/>
                  <a:gd name="connsiteY491" fmla="*/ 936810 h 2563305"/>
                  <a:gd name="connsiteX492" fmla="*/ 704555 w 2081801"/>
                  <a:gd name="connsiteY492" fmla="*/ 1092591 h 2563305"/>
                  <a:gd name="connsiteX493" fmla="*/ 690393 w 2081801"/>
                  <a:gd name="connsiteY493" fmla="*/ 1091175 h 2563305"/>
                  <a:gd name="connsiteX494" fmla="*/ 460971 w 2081801"/>
                  <a:gd name="connsiteY494" fmla="*/ 931145 h 2563305"/>
                  <a:gd name="connsiteX495" fmla="*/ 479381 w 2081801"/>
                  <a:gd name="connsiteY495" fmla="*/ 929729 h 2563305"/>
                  <a:gd name="connsiteX496" fmla="*/ 528948 w 2081801"/>
                  <a:gd name="connsiteY496" fmla="*/ 946723 h 2563305"/>
                  <a:gd name="connsiteX497" fmla="*/ 528948 w 2081801"/>
                  <a:gd name="connsiteY497" fmla="*/ 946723 h 2563305"/>
                  <a:gd name="connsiteX498" fmla="*/ 633746 w 2081801"/>
                  <a:gd name="connsiteY498" fmla="*/ 936810 h 2563305"/>
                  <a:gd name="connsiteX499" fmla="*/ 633746 w 2081801"/>
                  <a:gd name="connsiteY499" fmla="*/ 856087 h 2563305"/>
                  <a:gd name="connsiteX500" fmla="*/ 602590 w 2081801"/>
                  <a:gd name="connsiteY500" fmla="*/ 861752 h 2563305"/>
                  <a:gd name="connsiteX501" fmla="*/ 547358 w 2081801"/>
                  <a:gd name="connsiteY501" fmla="*/ 739960 h 2563305"/>
                  <a:gd name="connsiteX502" fmla="*/ 633746 w 2081801"/>
                  <a:gd name="connsiteY502" fmla="*/ 856087 h 2563305"/>
                  <a:gd name="connsiteX503" fmla="*/ 637995 w 2081801"/>
                  <a:gd name="connsiteY503" fmla="*/ 622416 h 2563305"/>
                  <a:gd name="connsiteX504" fmla="*/ 656405 w 2081801"/>
                  <a:gd name="connsiteY504" fmla="*/ 728630 h 2563305"/>
                  <a:gd name="connsiteX505" fmla="*/ 527531 w 2081801"/>
                  <a:gd name="connsiteY505" fmla="*/ 698890 h 2563305"/>
                  <a:gd name="connsiteX506" fmla="*/ 509121 w 2081801"/>
                  <a:gd name="connsiteY506" fmla="*/ 659237 h 2563305"/>
                  <a:gd name="connsiteX507" fmla="*/ 637995 w 2081801"/>
                  <a:gd name="connsiteY507" fmla="*/ 622416 h 2563305"/>
                  <a:gd name="connsiteX508" fmla="*/ 1173315 w 2081801"/>
                  <a:gd name="connsiteY508" fmla="*/ 591260 h 2563305"/>
                  <a:gd name="connsiteX509" fmla="*/ 1204471 w 2081801"/>
                  <a:gd name="connsiteY509" fmla="*/ 577098 h 2563305"/>
                  <a:gd name="connsiteX510" fmla="*/ 1224298 w 2081801"/>
                  <a:gd name="connsiteY510" fmla="*/ 594092 h 2563305"/>
                  <a:gd name="connsiteX511" fmla="*/ 1173315 w 2081801"/>
                  <a:gd name="connsiteY511" fmla="*/ 591260 h 2563305"/>
                  <a:gd name="connsiteX512" fmla="*/ 1227130 w 2081801"/>
                  <a:gd name="connsiteY512" fmla="*/ 594092 h 2563305"/>
                  <a:gd name="connsiteX513" fmla="*/ 1205887 w 2081801"/>
                  <a:gd name="connsiteY513" fmla="*/ 575682 h 2563305"/>
                  <a:gd name="connsiteX514" fmla="*/ 1300772 w 2081801"/>
                  <a:gd name="connsiteY514" fmla="*/ 533196 h 2563305"/>
                  <a:gd name="connsiteX515" fmla="*/ 1299356 w 2081801"/>
                  <a:gd name="connsiteY515" fmla="*/ 598341 h 2563305"/>
                  <a:gd name="connsiteX516" fmla="*/ 1227130 w 2081801"/>
                  <a:gd name="connsiteY516" fmla="*/ 594092 h 2563305"/>
                  <a:gd name="connsiteX517" fmla="*/ 1229962 w 2081801"/>
                  <a:gd name="connsiteY517" fmla="*/ 596924 h 2563305"/>
                  <a:gd name="connsiteX518" fmla="*/ 1299356 w 2081801"/>
                  <a:gd name="connsiteY518" fmla="*/ 601173 h 2563305"/>
                  <a:gd name="connsiteX519" fmla="*/ 1297940 w 2081801"/>
                  <a:gd name="connsiteY519" fmla="*/ 653572 h 2563305"/>
                  <a:gd name="connsiteX520" fmla="*/ 1229962 w 2081801"/>
                  <a:gd name="connsiteY520" fmla="*/ 596924 h 2563305"/>
                  <a:gd name="connsiteX521" fmla="*/ 1299356 w 2081801"/>
                  <a:gd name="connsiteY521" fmla="*/ 680480 h 2563305"/>
                  <a:gd name="connsiteX522" fmla="*/ 1299356 w 2081801"/>
                  <a:gd name="connsiteY522" fmla="*/ 657821 h 2563305"/>
                  <a:gd name="connsiteX523" fmla="*/ 1323431 w 2081801"/>
                  <a:gd name="connsiteY523" fmla="*/ 677647 h 2563305"/>
                  <a:gd name="connsiteX524" fmla="*/ 1299356 w 2081801"/>
                  <a:gd name="connsiteY524" fmla="*/ 680480 h 2563305"/>
                  <a:gd name="connsiteX525" fmla="*/ 1350339 w 2081801"/>
                  <a:gd name="connsiteY525" fmla="*/ 748457 h 2563305"/>
                  <a:gd name="connsiteX526" fmla="*/ 1348922 w 2081801"/>
                  <a:gd name="connsiteY526" fmla="*/ 749873 h 2563305"/>
                  <a:gd name="connsiteX527" fmla="*/ 1350339 w 2081801"/>
                  <a:gd name="connsiteY527" fmla="*/ 748457 h 2563305"/>
                  <a:gd name="connsiteX528" fmla="*/ 1350339 w 2081801"/>
                  <a:gd name="connsiteY528" fmla="*/ 748457 h 2563305"/>
                  <a:gd name="connsiteX529" fmla="*/ 1350339 w 2081801"/>
                  <a:gd name="connsiteY529" fmla="*/ 745624 h 2563305"/>
                  <a:gd name="connsiteX530" fmla="*/ 1357420 w 2081801"/>
                  <a:gd name="connsiteY530" fmla="*/ 703139 h 2563305"/>
                  <a:gd name="connsiteX531" fmla="*/ 1357420 w 2081801"/>
                  <a:gd name="connsiteY531" fmla="*/ 703139 h 2563305"/>
                  <a:gd name="connsiteX532" fmla="*/ 1327679 w 2081801"/>
                  <a:gd name="connsiteY532" fmla="*/ 679063 h 2563305"/>
                  <a:gd name="connsiteX533" fmla="*/ 1401322 w 2081801"/>
                  <a:gd name="connsiteY533" fmla="*/ 670566 h 2563305"/>
                  <a:gd name="connsiteX534" fmla="*/ 1350339 w 2081801"/>
                  <a:gd name="connsiteY534" fmla="*/ 745624 h 2563305"/>
                  <a:gd name="connsiteX535" fmla="*/ 1350339 w 2081801"/>
                  <a:gd name="connsiteY535" fmla="*/ 745624 h 2563305"/>
                  <a:gd name="connsiteX536" fmla="*/ 1561351 w 2081801"/>
                  <a:gd name="connsiteY536" fmla="*/ 837677 h 2563305"/>
                  <a:gd name="connsiteX537" fmla="*/ 1496207 w 2081801"/>
                  <a:gd name="connsiteY537" fmla="*/ 905654 h 2563305"/>
                  <a:gd name="connsiteX538" fmla="*/ 1339009 w 2081801"/>
                  <a:gd name="connsiteY538" fmla="*/ 941059 h 2563305"/>
                  <a:gd name="connsiteX539" fmla="*/ 1319183 w 2081801"/>
                  <a:gd name="connsiteY539" fmla="*/ 931145 h 2563305"/>
                  <a:gd name="connsiteX540" fmla="*/ 1350339 w 2081801"/>
                  <a:gd name="connsiteY540" fmla="*/ 752705 h 2563305"/>
                  <a:gd name="connsiteX541" fmla="*/ 1354587 w 2081801"/>
                  <a:gd name="connsiteY541" fmla="*/ 747041 h 2563305"/>
                  <a:gd name="connsiteX542" fmla="*/ 1578346 w 2081801"/>
                  <a:gd name="connsiteY542" fmla="*/ 721549 h 2563305"/>
                  <a:gd name="connsiteX543" fmla="*/ 1541524 w 2081801"/>
                  <a:gd name="connsiteY543" fmla="*/ 762619 h 2563305"/>
                  <a:gd name="connsiteX544" fmla="*/ 1541524 w 2081801"/>
                  <a:gd name="connsiteY544" fmla="*/ 762619 h 2563305"/>
                  <a:gd name="connsiteX545" fmla="*/ 1561351 w 2081801"/>
                  <a:gd name="connsiteY545" fmla="*/ 837677 h 2563305"/>
                  <a:gd name="connsiteX546" fmla="*/ 1392824 w 2081801"/>
                  <a:gd name="connsiteY546" fmla="*/ 1306436 h 2563305"/>
                  <a:gd name="connsiteX547" fmla="*/ 1421148 w 2081801"/>
                  <a:gd name="connsiteY547" fmla="*/ 1341841 h 2563305"/>
                  <a:gd name="connsiteX548" fmla="*/ 1322015 w 2081801"/>
                  <a:gd name="connsiteY548" fmla="*/ 1423980 h 2563305"/>
                  <a:gd name="connsiteX549" fmla="*/ 1367333 w 2081801"/>
                  <a:gd name="connsiteY549" fmla="*/ 1293690 h 2563305"/>
                  <a:gd name="connsiteX550" fmla="*/ 1392824 w 2081801"/>
                  <a:gd name="connsiteY550" fmla="*/ 1306436 h 2563305"/>
                  <a:gd name="connsiteX551" fmla="*/ 1378662 w 2081801"/>
                  <a:gd name="connsiteY551" fmla="*/ 1256869 h 2563305"/>
                  <a:gd name="connsiteX552" fmla="*/ 1367333 w 2081801"/>
                  <a:gd name="connsiteY552" fmla="*/ 1290858 h 2563305"/>
                  <a:gd name="connsiteX553" fmla="*/ 1354587 w 2081801"/>
                  <a:gd name="connsiteY553" fmla="*/ 1283777 h 2563305"/>
                  <a:gd name="connsiteX554" fmla="*/ 1378662 w 2081801"/>
                  <a:gd name="connsiteY554" fmla="*/ 1256869 h 2563305"/>
                  <a:gd name="connsiteX555" fmla="*/ 1391408 w 2081801"/>
                  <a:gd name="connsiteY555" fmla="*/ 1541524 h 2563305"/>
                  <a:gd name="connsiteX556" fmla="*/ 1450888 w 2081801"/>
                  <a:gd name="connsiteY556" fmla="*/ 1479211 h 2563305"/>
                  <a:gd name="connsiteX557" fmla="*/ 1497622 w 2081801"/>
                  <a:gd name="connsiteY557" fmla="*/ 1493373 h 2563305"/>
                  <a:gd name="connsiteX558" fmla="*/ 1479212 w 2081801"/>
                  <a:gd name="connsiteY558" fmla="*/ 1508951 h 2563305"/>
                  <a:gd name="connsiteX559" fmla="*/ 1391408 w 2081801"/>
                  <a:gd name="connsiteY559" fmla="*/ 1541524 h 2563305"/>
                  <a:gd name="connsiteX560" fmla="*/ 1382911 w 2081801"/>
                  <a:gd name="connsiteY560" fmla="*/ 1545772 h 2563305"/>
                  <a:gd name="connsiteX561" fmla="*/ 1348922 w 2081801"/>
                  <a:gd name="connsiteY561" fmla="*/ 1581177 h 2563305"/>
                  <a:gd name="connsiteX562" fmla="*/ 1306437 w 2081801"/>
                  <a:gd name="connsiteY562" fmla="*/ 1575512 h 2563305"/>
                  <a:gd name="connsiteX563" fmla="*/ 1382911 w 2081801"/>
                  <a:gd name="connsiteY563" fmla="*/ 1545772 h 2563305"/>
                  <a:gd name="connsiteX564" fmla="*/ 1224298 w 2081801"/>
                  <a:gd name="connsiteY564" fmla="*/ 1423980 h 2563305"/>
                  <a:gd name="connsiteX565" fmla="*/ 1183228 w 2081801"/>
                  <a:gd name="connsiteY565" fmla="*/ 1469298 h 2563305"/>
                  <a:gd name="connsiteX566" fmla="*/ 1163402 w 2081801"/>
                  <a:gd name="connsiteY566" fmla="*/ 1416899 h 2563305"/>
                  <a:gd name="connsiteX567" fmla="*/ 1224298 w 2081801"/>
                  <a:gd name="connsiteY567" fmla="*/ 1423980 h 2563305"/>
                  <a:gd name="connsiteX568" fmla="*/ 1237043 w 2081801"/>
                  <a:gd name="connsiteY568" fmla="*/ 1414067 h 2563305"/>
                  <a:gd name="connsiteX569" fmla="*/ 1246957 w 2081801"/>
                  <a:gd name="connsiteY569" fmla="*/ 1404153 h 2563305"/>
                  <a:gd name="connsiteX570" fmla="*/ 1245541 w 2081801"/>
                  <a:gd name="connsiteY570" fmla="*/ 1416899 h 2563305"/>
                  <a:gd name="connsiteX571" fmla="*/ 1237043 w 2081801"/>
                  <a:gd name="connsiteY571" fmla="*/ 1414067 h 2563305"/>
                  <a:gd name="connsiteX572" fmla="*/ 1245541 w 2081801"/>
                  <a:gd name="connsiteY572" fmla="*/ 1425396 h 2563305"/>
                  <a:gd name="connsiteX573" fmla="*/ 1245541 w 2081801"/>
                  <a:gd name="connsiteY573" fmla="*/ 1419731 h 2563305"/>
                  <a:gd name="connsiteX574" fmla="*/ 1285194 w 2081801"/>
                  <a:gd name="connsiteY574" fmla="*/ 1431061 h 2563305"/>
                  <a:gd name="connsiteX575" fmla="*/ 1245541 w 2081801"/>
                  <a:gd name="connsiteY575" fmla="*/ 1425396 h 2563305"/>
                  <a:gd name="connsiteX576" fmla="*/ 1347507 w 2081801"/>
                  <a:gd name="connsiteY576" fmla="*/ 1582593 h 2563305"/>
                  <a:gd name="connsiteX577" fmla="*/ 1275281 w 2081801"/>
                  <a:gd name="connsiteY577" fmla="*/ 1657651 h 2563305"/>
                  <a:gd name="connsiteX578" fmla="*/ 1251205 w 2081801"/>
                  <a:gd name="connsiteY578" fmla="*/ 1659068 h 2563305"/>
                  <a:gd name="connsiteX579" fmla="*/ 1231379 w 2081801"/>
                  <a:gd name="connsiteY579" fmla="*/ 1603836 h 2563305"/>
                  <a:gd name="connsiteX580" fmla="*/ 1302188 w 2081801"/>
                  <a:gd name="connsiteY580" fmla="*/ 1576929 h 2563305"/>
                  <a:gd name="connsiteX581" fmla="*/ 1347507 w 2081801"/>
                  <a:gd name="connsiteY581" fmla="*/ 1582593 h 2563305"/>
                  <a:gd name="connsiteX582" fmla="*/ 1231379 w 2081801"/>
                  <a:gd name="connsiteY582" fmla="*/ 1567015 h 2563305"/>
                  <a:gd name="connsiteX583" fmla="*/ 1299356 w 2081801"/>
                  <a:gd name="connsiteY583" fmla="*/ 1575512 h 2563305"/>
                  <a:gd name="connsiteX584" fmla="*/ 1232795 w 2081801"/>
                  <a:gd name="connsiteY584" fmla="*/ 1601004 h 2563305"/>
                  <a:gd name="connsiteX585" fmla="*/ 1229962 w 2081801"/>
                  <a:gd name="connsiteY585" fmla="*/ 1592506 h 2563305"/>
                  <a:gd name="connsiteX586" fmla="*/ 1231379 w 2081801"/>
                  <a:gd name="connsiteY586" fmla="*/ 1567015 h 2563305"/>
                  <a:gd name="connsiteX587" fmla="*/ 1231379 w 2081801"/>
                  <a:gd name="connsiteY587" fmla="*/ 1565599 h 2563305"/>
                  <a:gd name="connsiteX588" fmla="*/ 1245541 w 2081801"/>
                  <a:gd name="connsiteY588" fmla="*/ 1428229 h 2563305"/>
                  <a:gd name="connsiteX589" fmla="*/ 1299356 w 2081801"/>
                  <a:gd name="connsiteY589" fmla="*/ 1435310 h 2563305"/>
                  <a:gd name="connsiteX590" fmla="*/ 1449472 w 2081801"/>
                  <a:gd name="connsiteY590" fmla="*/ 1479211 h 2563305"/>
                  <a:gd name="connsiteX591" fmla="*/ 1387160 w 2081801"/>
                  <a:gd name="connsiteY591" fmla="*/ 1544356 h 2563305"/>
                  <a:gd name="connsiteX592" fmla="*/ 1303604 w 2081801"/>
                  <a:gd name="connsiteY592" fmla="*/ 1576929 h 2563305"/>
                  <a:gd name="connsiteX593" fmla="*/ 1231379 w 2081801"/>
                  <a:gd name="connsiteY593" fmla="*/ 1565599 h 2563305"/>
                  <a:gd name="connsiteX594" fmla="*/ 1228546 w 2081801"/>
                  <a:gd name="connsiteY594" fmla="*/ 1422563 h 2563305"/>
                  <a:gd name="connsiteX595" fmla="*/ 1235627 w 2081801"/>
                  <a:gd name="connsiteY595" fmla="*/ 1415483 h 2563305"/>
                  <a:gd name="connsiteX596" fmla="*/ 1245541 w 2081801"/>
                  <a:gd name="connsiteY596" fmla="*/ 1418315 h 2563305"/>
                  <a:gd name="connsiteX597" fmla="*/ 1245541 w 2081801"/>
                  <a:gd name="connsiteY597" fmla="*/ 1425396 h 2563305"/>
                  <a:gd name="connsiteX598" fmla="*/ 1228546 w 2081801"/>
                  <a:gd name="connsiteY598" fmla="*/ 1422563 h 2563305"/>
                  <a:gd name="connsiteX599" fmla="*/ 1227130 w 2081801"/>
                  <a:gd name="connsiteY599" fmla="*/ 1425396 h 2563305"/>
                  <a:gd name="connsiteX600" fmla="*/ 1244124 w 2081801"/>
                  <a:gd name="connsiteY600" fmla="*/ 1428229 h 2563305"/>
                  <a:gd name="connsiteX601" fmla="*/ 1229962 w 2081801"/>
                  <a:gd name="connsiteY601" fmla="*/ 1565599 h 2563305"/>
                  <a:gd name="connsiteX602" fmla="*/ 1218633 w 2081801"/>
                  <a:gd name="connsiteY602" fmla="*/ 1564183 h 2563305"/>
                  <a:gd name="connsiteX603" fmla="*/ 1186060 w 2081801"/>
                  <a:gd name="connsiteY603" fmla="*/ 1473546 h 2563305"/>
                  <a:gd name="connsiteX604" fmla="*/ 1227130 w 2081801"/>
                  <a:gd name="connsiteY604" fmla="*/ 1425396 h 2563305"/>
                  <a:gd name="connsiteX605" fmla="*/ 1232795 w 2081801"/>
                  <a:gd name="connsiteY605" fmla="*/ 1415483 h 2563305"/>
                  <a:gd name="connsiteX606" fmla="*/ 1225714 w 2081801"/>
                  <a:gd name="connsiteY606" fmla="*/ 1422563 h 2563305"/>
                  <a:gd name="connsiteX607" fmla="*/ 1163402 w 2081801"/>
                  <a:gd name="connsiteY607" fmla="*/ 1414067 h 2563305"/>
                  <a:gd name="connsiteX608" fmla="*/ 1154904 w 2081801"/>
                  <a:gd name="connsiteY608" fmla="*/ 1392824 h 2563305"/>
                  <a:gd name="connsiteX609" fmla="*/ 1232795 w 2081801"/>
                  <a:gd name="connsiteY609" fmla="*/ 1415483 h 2563305"/>
                  <a:gd name="connsiteX610" fmla="*/ 1474964 w 2081801"/>
                  <a:gd name="connsiteY610" fmla="*/ 1511784 h 2563305"/>
                  <a:gd name="connsiteX611" fmla="*/ 1385743 w 2081801"/>
                  <a:gd name="connsiteY611" fmla="*/ 1586842 h 2563305"/>
                  <a:gd name="connsiteX612" fmla="*/ 1353171 w 2081801"/>
                  <a:gd name="connsiteY612" fmla="*/ 1582593 h 2563305"/>
                  <a:gd name="connsiteX613" fmla="*/ 1388576 w 2081801"/>
                  <a:gd name="connsiteY613" fmla="*/ 1545772 h 2563305"/>
                  <a:gd name="connsiteX614" fmla="*/ 1474964 w 2081801"/>
                  <a:gd name="connsiteY614" fmla="*/ 1511784 h 2563305"/>
                  <a:gd name="connsiteX615" fmla="*/ 1312102 w 2081801"/>
                  <a:gd name="connsiteY615" fmla="*/ 1436725 h 2563305"/>
                  <a:gd name="connsiteX616" fmla="*/ 1469299 w 2081801"/>
                  <a:gd name="connsiteY616" fmla="*/ 1457968 h 2563305"/>
                  <a:gd name="connsiteX617" fmla="*/ 1450888 w 2081801"/>
                  <a:gd name="connsiteY617" fmla="*/ 1477795 h 2563305"/>
                  <a:gd name="connsiteX618" fmla="*/ 1312102 w 2081801"/>
                  <a:gd name="connsiteY618" fmla="*/ 1436725 h 2563305"/>
                  <a:gd name="connsiteX619" fmla="*/ 676231 w 2081801"/>
                  <a:gd name="connsiteY619" fmla="*/ 912735 h 2563305"/>
                  <a:gd name="connsiteX620" fmla="*/ 688977 w 2081801"/>
                  <a:gd name="connsiteY620" fmla="*/ 929729 h 2563305"/>
                  <a:gd name="connsiteX621" fmla="*/ 636578 w 2081801"/>
                  <a:gd name="connsiteY621" fmla="*/ 935394 h 2563305"/>
                  <a:gd name="connsiteX622" fmla="*/ 628081 w 2081801"/>
                  <a:gd name="connsiteY622" fmla="*/ 918400 h 2563305"/>
                  <a:gd name="connsiteX623" fmla="*/ 676231 w 2081801"/>
                  <a:gd name="connsiteY623" fmla="*/ 912735 h 2563305"/>
                  <a:gd name="connsiteX624" fmla="*/ 531780 w 2081801"/>
                  <a:gd name="connsiteY624" fmla="*/ 945307 h 2563305"/>
                  <a:gd name="connsiteX625" fmla="*/ 486462 w 2081801"/>
                  <a:gd name="connsiteY625" fmla="*/ 929729 h 2563305"/>
                  <a:gd name="connsiteX626" fmla="*/ 625249 w 2081801"/>
                  <a:gd name="connsiteY626" fmla="*/ 916984 h 2563305"/>
                  <a:gd name="connsiteX627" fmla="*/ 633746 w 2081801"/>
                  <a:gd name="connsiteY627" fmla="*/ 933978 h 2563305"/>
                  <a:gd name="connsiteX628" fmla="*/ 531780 w 2081801"/>
                  <a:gd name="connsiteY628" fmla="*/ 945307 h 2563305"/>
                  <a:gd name="connsiteX629" fmla="*/ 626665 w 2081801"/>
                  <a:gd name="connsiteY629" fmla="*/ 915567 h 2563305"/>
                  <a:gd name="connsiteX630" fmla="*/ 602590 w 2081801"/>
                  <a:gd name="connsiteY630" fmla="*/ 863168 h 2563305"/>
                  <a:gd name="connsiteX631" fmla="*/ 633746 w 2081801"/>
                  <a:gd name="connsiteY631" fmla="*/ 857503 h 2563305"/>
                  <a:gd name="connsiteX632" fmla="*/ 673399 w 2081801"/>
                  <a:gd name="connsiteY632" fmla="*/ 911319 h 2563305"/>
                  <a:gd name="connsiteX633" fmla="*/ 626665 w 2081801"/>
                  <a:gd name="connsiteY633" fmla="*/ 915567 h 2563305"/>
                  <a:gd name="connsiteX634" fmla="*/ 504873 w 2081801"/>
                  <a:gd name="connsiteY634" fmla="*/ 553022 h 2563305"/>
                  <a:gd name="connsiteX635" fmla="*/ 496375 w 2081801"/>
                  <a:gd name="connsiteY635" fmla="*/ 550190 h 2563305"/>
                  <a:gd name="connsiteX636" fmla="*/ 659237 w 2081801"/>
                  <a:gd name="connsiteY636" fmla="*/ 466635 h 2563305"/>
                  <a:gd name="connsiteX637" fmla="*/ 795192 w 2081801"/>
                  <a:gd name="connsiteY637" fmla="*/ 570017 h 2563305"/>
                  <a:gd name="connsiteX638" fmla="*/ 504873 w 2081801"/>
                  <a:gd name="connsiteY638" fmla="*/ 553022 h 2563305"/>
                  <a:gd name="connsiteX639" fmla="*/ 1094008 w 2081801"/>
                  <a:gd name="connsiteY639" fmla="*/ 485045 h 2563305"/>
                  <a:gd name="connsiteX640" fmla="*/ 1157737 w 2081801"/>
                  <a:gd name="connsiteY640" fmla="*/ 538860 h 2563305"/>
                  <a:gd name="connsiteX641" fmla="*/ 1146407 w 2081801"/>
                  <a:gd name="connsiteY641" fmla="*/ 591260 h 2563305"/>
                  <a:gd name="connsiteX642" fmla="*/ 1035944 w 2081801"/>
                  <a:gd name="connsiteY642" fmla="*/ 585595 h 2563305"/>
                  <a:gd name="connsiteX643" fmla="*/ 996291 w 2081801"/>
                  <a:gd name="connsiteY643" fmla="*/ 414236 h 2563305"/>
                  <a:gd name="connsiteX644" fmla="*/ 1094008 w 2081801"/>
                  <a:gd name="connsiteY644" fmla="*/ 485045 h 2563305"/>
                  <a:gd name="connsiteX645" fmla="*/ 1033112 w 2081801"/>
                  <a:gd name="connsiteY645" fmla="*/ 585595 h 2563305"/>
                  <a:gd name="connsiteX646" fmla="*/ 1037360 w 2081801"/>
                  <a:gd name="connsiteY646" fmla="*/ 605422 h 2563305"/>
                  <a:gd name="connsiteX647" fmla="*/ 1016117 w 2081801"/>
                  <a:gd name="connsiteY647" fmla="*/ 584179 h 2563305"/>
                  <a:gd name="connsiteX648" fmla="*/ 1033112 w 2081801"/>
                  <a:gd name="connsiteY648" fmla="*/ 585595 h 2563305"/>
                  <a:gd name="connsiteX649" fmla="*/ 1297940 w 2081801"/>
                  <a:gd name="connsiteY649" fmla="*/ 752705 h 2563305"/>
                  <a:gd name="connsiteX650" fmla="*/ 1299356 w 2081801"/>
                  <a:gd name="connsiteY650" fmla="*/ 681896 h 2563305"/>
                  <a:gd name="connsiteX651" fmla="*/ 1326264 w 2081801"/>
                  <a:gd name="connsiteY651" fmla="*/ 679063 h 2563305"/>
                  <a:gd name="connsiteX652" fmla="*/ 1356003 w 2081801"/>
                  <a:gd name="connsiteY652" fmla="*/ 704555 h 2563305"/>
                  <a:gd name="connsiteX653" fmla="*/ 1348922 w 2081801"/>
                  <a:gd name="connsiteY653" fmla="*/ 747041 h 2563305"/>
                  <a:gd name="connsiteX654" fmla="*/ 1297940 w 2081801"/>
                  <a:gd name="connsiteY654" fmla="*/ 752705 h 2563305"/>
                  <a:gd name="connsiteX655" fmla="*/ 1314934 w 2081801"/>
                  <a:gd name="connsiteY655" fmla="*/ 946723 h 2563305"/>
                  <a:gd name="connsiteX656" fmla="*/ 1317766 w 2081801"/>
                  <a:gd name="connsiteY656" fmla="*/ 933978 h 2563305"/>
                  <a:gd name="connsiteX657" fmla="*/ 1334760 w 2081801"/>
                  <a:gd name="connsiteY657" fmla="*/ 942475 h 2563305"/>
                  <a:gd name="connsiteX658" fmla="*/ 1314934 w 2081801"/>
                  <a:gd name="connsiteY658" fmla="*/ 946723 h 2563305"/>
                  <a:gd name="connsiteX659" fmla="*/ 1327679 w 2081801"/>
                  <a:gd name="connsiteY659" fmla="*/ 1146406 h 2563305"/>
                  <a:gd name="connsiteX660" fmla="*/ 1450888 w 2081801"/>
                  <a:gd name="connsiteY660" fmla="*/ 1048689 h 2563305"/>
                  <a:gd name="connsiteX661" fmla="*/ 1419732 w 2081801"/>
                  <a:gd name="connsiteY661" fmla="*/ 1136493 h 2563305"/>
                  <a:gd name="connsiteX662" fmla="*/ 1327679 w 2081801"/>
                  <a:gd name="connsiteY662" fmla="*/ 1146406 h 2563305"/>
                  <a:gd name="connsiteX663" fmla="*/ 1271032 w 2081801"/>
                  <a:gd name="connsiteY663" fmla="*/ 1190308 h 2563305"/>
                  <a:gd name="connsiteX664" fmla="*/ 1262535 w 2081801"/>
                  <a:gd name="connsiteY664" fmla="*/ 1235627 h 2563305"/>
                  <a:gd name="connsiteX665" fmla="*/ 1245541 w 2081801"/>
                  <a:gd name="connsiteY665" fmla="*/ 1401321 h 2563305"/>
                  <a:gd name="connsiteX666" fmla="*/ 1234211 w 2081801"/>
                  <a:gd name="connsiteY666" fmla="*/ 1414067 h 2563305"/>
                  <a:gd name="connsiteX667" fmla="*/ 1154904 w 2081801"/>
                  <a:gd name="connsiteY667" fmla="*/ 1391408 h 2563305"/>
                  <a:gd name="connsiteX668" fmla="*/ 1123748 w 2081801"/>
                  <a:gd name="connsiteY668" fmla="*/ 1306436 h 2563305"/>
                  <a:gd name="connsiteX669" fmla="*/ 1271032 w 2081801"/>
                  <a:gd name="connsiteY669" fmla="*/ 1190308 h 2563305"/>
                  <a:gd name="connsiteX670" fmla="*/ 781030 w 2081801"/>
                  <a:gd name="connsiteY670" fmla="*/ 901405 h 2563305"/>
                  <a:gd name="connsiteX671" fmla="*/ 687561 w 2081801"/>
                  <a:gd name="connsiteY671" fmla="*/ 887243 h 2563305"/>
                  <a:gd name="connsiteX672" fmla="*/ 680480 w 2081801"/>
                  <a:gd name="connsiteY672" fmla="*/ 850422 h 2563305"/>
                  <a:gd name="connsiteX673" fmla="*/ 1102505 w 2081801"/>
                  <a:gd name="connsiteY673" fmla="*/ 781029 h 2563305"/>
                  <a:gd name="connsiteX674" fmla="*/ 1102505 w 2081801"/>
                  <a:gd name="connsiteY674" fmla="*/ 781029 h 2563305"/>
                  <a:gd name="connsiteX675" fmla="*/ 1120916 w 2081801"/>
                  <a:gd name="connsiteY675" fmla="*/ 701722 h 2563305"/>
                  <a:gd name="connsiteX676" fmla="*/ 1130829 w 2081801"/>
                  <a:gd name="connsiteY676" fmla="*/ 700306 h 2563305"/>
                  <a:gd name="connsiteX677" fmla="*/ 1198806 w 2081801"/>
                  <a:gd name="connsiteY677" fmla="*/ 765451 h 2563305"/>
                  <a:gd name="connsiteX678" fmla="*/ 1198806 w 2081801"/>
                  <a:gd name="connsiteY678" fmla="*/ 765451 h 2563305"/>
                  <a:gd name="connsiteX679" fmla="*/ 1293691 w 2081801"/>
                  <a:gd name="connsiteY679" fmla="*/ 754122 h 2563305"/>
                  <a:gd name="connsiteX680" fmla="*/ 1290859 w 2081801"/>
                  <a:gd name="connsiteY680" fmla="*/ 833428 h 2563305"/>
                  <a:gd name="connsiteX681" fmla="*/ 1242708 w 2081801"/>
                  <a:gd name="connsiteY681" fmla="*/ 907070 h 2563305"/>
                  <a:gd name="connsiteX682" fmla="*/ 1132245 w 2081801"/>
                  <a:gd name="connsiteY682" fmla="*/ 911319 h 2563305"/>
                  <a:gd name="connsiteX683" fmla="*/ 1132245 w 2081801"/>
                  <a:gd name="connsiteY683" fmla="*/ 911319 h 2563305"/>
                  <a:gd name="connsiteX684" fmla="*/ 1112419 w 2081801"/>
                  <a:gd name="connsiteY684" fmla="*/ 950972 h 2563305"/>
                  <a:gd name="connsiteX685" fmla="*/ 946724 w 2081801"/>
                  <a:gd name="connsiteY685" fmla="*/ 925481 h 2563305"/>
                  <a:gd name="connsiteX686" fmla="*/ 946724 w 2081801"/>
                  <a:gd name="connsiteY686" fmla="*/ 885827 h 2563305"/>
                  <a:gd name="connsiteX687" fmla="*/ 946724 w 2081801"/>
                  <a:gd name="connsiteY687" fmla="*/ 885827 h 2563305"/>
                  <a:gd name="connsiteX688" fmla="*/ 781030 w 2081801"/>
                  <a:gd name="connsiteY688" fmla="*/ 901405 h 2563305"/>
                  <a:gd name="connsiteX689" fmla="*/ 1292275 w 2081801"/>
                  <a:gd name="connsiteY689" fmla="*/ 919816 h 2563305"/>
                  <a:gd name="connsiteX690" fmla="*/ 1295107 w 2081801"/>
                  <a:gd name="connsiteY690" fmla="*/ 834844 h 2563305"/>
                  <a:gd name="connsiteX691" fmla="*/ 1346090 w 2081801"/>
                  <a:gd name="connsiteY691" fmla="*/ 758370 h 2563305"/>
                  <a:gd name="connsiteX692" fmla="*/ 1316350 w 2081801"/>
                  <a:gd name="connsiteY692" fmla="*/ 931145 h 2563305"/>
                  <a:gd name="connsiteX693" fmla="*/ 1292275 w 2081801"/>
                  <a:gd name="connsiteY693" fmla="*/ 919816 h 2563305"/>
                  <a:gd name="connsiteX694" fmla="*/ 1320599 w 2081801"/>
                  <a:gd name="connsiteY694" fmla="*/ 1150655 h 2563305"/>
                  <a:gd name="connsiteX695" fmla="*/ 1324847 w 2081801"/>
                  <a:gd name="connsiteY695" fmla="*/ 1147823 h 2563305"/>
                  <a:gd name="connsiteX696" fmla="*/ 1419732 w 2081801"/>
                  <a:gd name="connsiteY696" fmla="*/ 1139326 h 2563305"/>
                  <a:gd name="connsiteX697" fmla="*/ 1409819 w 2081801"/>
                  <a:gd name="connsiteY697" fmla="*/ 1169065 h 2563305"/>
                  <a:gd name="connsiteX698" fmla="*/ 1320599 w 2081801"/>
                  <a:gd name="connsiteY698" fmla="*/ 1150655 h 2563305"/>
                  <a:gd name="connsiteX699" fmla="*/ 1278113 w 2081801"/>
                  <a:gd name="connsiteY699" fmla="*/ 1152071 h 2563305"/>
                  <a:gd name="connsiteX700" fmla="*/ 1272448 w 2081801"/>
                  <a:gd name="connsiteY700" fmla="*/ 1187476 h 2563305"/>
                  <a:gd name="connsiteX701" fmla="*/ 1123748 w 2081801"/>
                  <a:gd name="connsiteY701" fmla="*/ 1303604 h 2563305"/>
                  <a:gd name="connsiteX702" fmla="*/ 1075598 w 2081801"/>
                  <a:gd name="connsiteY702" fmla="*/ 1170482 h 2563305"/>
                  <a:gd name="connsiteX703" fmla="*/ 1278113 w 2081801"/>
                  <a:gd name="connsiteY703" fmla="*/ 1152071 h 2563305"/>
                  <a:gd name="connsiteX704" fmla="*/ 1273864 w 2081801"/>
                  <a:gd name="connsiteY704" fmla="*/ 1186060 h 2563305"/>
                  <a:gd name="connsiteX705" fmla="*/ 1279529 w 2081801"/>
                  <a:gd name="connsiteY705" fmla="*/ 1153487 h 2563305"/>
                  <a:gd name="connsiteX706" fmla="*/ 1305021 w 2081801"/>
                  <a:gd name="connsiteY706" fmla="*/ 1150655 h 2563305"/>
                  <a:gd name="connsiteX707" fmla="*/ 1316350 w 2081801"/>
                  <a:gd name="connsiteY707" fmla="*/ 1153487 h 2563305"/>
                  <a:gd name="connsiteX708" fmla="*/ 1273864 w 2081801"/>
                  <a:gd name="connsiteY708" fmla="*/ 1186060 h 2563305"/>
                  <a:gd name="connsiteX709" fmla="*/ 1273864 w 2081801"/>
                  <a:gd name="connsiteY709" fmla="*/ 1188892 h 2563305"/>
                  <a:gd name="connsiteX710" fmla="*/ 1319183 w 2081801"/>
                  <a:gd name="connsiteY710" fmla="*/ 1153487 h 2563305"/>
                  <a:gd name="connsiteX711" fmla="*/ 1409819 w 2081801"/>
                  <a:gd name="connsiteY711" fmla="*/ 1171898 h 2563305"/>
                  <a:gd name="connsiteX712" fmla="*/ 1401322 w 2081801"/>
                  <a:gd name="connsiteY712" fmla="*/ 1194557 h 2563305"/>
                  <a:gd name="connsiteX713" fmla="*/ 1265367 w 2081801"/>
                  <a:gd name="connsiteY713" fmla="*/ 1242707 h 2563305"/>
                  <a:gd name="connsiteX714" fmla="*/ 1266783 w 2081801"/>
                  <a:gd name="connsiteY714" fmla="*/ 1235627 h 2563305"/>
                  <a:gd name="connsiteX715" fmla="*/ 1273864 w 2081801"/>
                  <a:gd name="connsiteY715" fmla="*/ 1188892 h 2563305"/>
                  <a:gd name="connsiteX716" fmla="*/ 1263951 w 2081801"/>
                  <a:gd name="connsiteY716" fmla="*/ 1242707 h 2563305"/>
                  <a:gd name="connsiteX717" fmla="*/ 1348922 w 2081801"/>
                  <a:gd name="connsiteY717" fmla="*/ 1285193 h 2563305"/>
                  <a:gd name="connsiteX718" fmla="*/ 1246957 w 2081801"/>
                  <a:gd name="connsiteY718" fmla="*/ 1397072 h 2563305"/>
                  <a:gd name="connsiteX719" fmla="*/ 1263951 w 2081801"/>
                  <a:gd name="connsiteY719" fmla="*/ 1242707 h 2563305"/>
                  <a:gd name="connsiteX720" fmla="*/ 1067100 w 2081801"/>
                  <a:gd name="connsiteY720" fmla="*/ 636578 h 2563305"/>
                  <a:gd name="connsiteX721" fmla="*/ 1048690 w 2081801"/>
                  <a:gd name="connsiteY721" fmla="*/ 645075 h 2563305"/>
                  <a:gd name="connsiteX722" fmla="*/ 1040193 w 2081801"/>
                  <a:gd name="connsiteY722" fmla="*/ 611086 h 2563305"/>
                  <a:gd name="connsiteX723" fmla="*/ 1067100 w 2081801"/>
                  <a:gd name="connsiteY723" fmla="*/ 636578 h 2563305"/>
                  <a:gd name="connsiteX724" fmla="*/ 1200222 w 2081801"/>
                  <a:gd name="connsiteY724" fmla="*/ 764035 h 2563305"/>
                  <a:gd name="connsiteX725" fmla="*/ 1135078 w 2081801"/>
                  <a:gd name="connsiteY725" fmla="*/ 700306 h 2563305"/>
                  <a:gd name="connsiteX726" fmla="*/ 1297940 w 2081801"/>
                  <a:gd name="connsiteY726" fmla="*/ 683312 h 2563305"/>
                  <a:gd name="connsiteX727" fmla="*/ 1296524 w 2081801"/>
                  <a:gd name="connsiteY727" fmla="*/ 754122 h 2563305"/>
                  <a:gd name="connsiteX728" fmla="*/ 1200222 w 2081801"/>
                  <a:gd name="connsiteY728" fmla="*/ 764035 h 2563305"/>
                  <a:gd name="connsiteX729" fmla="*/ 1129413 w 2081801"/>
                  <a:gd name="connsiteY729" fmla="*/ 698890 h 2563305"/>
                  <a:gd name="connsiteX730" fmla="*/ 1120916 w 2081801"/>
                  <a:gd name="connsiteY730" fmla="*/ 700306 h 2563305"/>
                  <a:gd name="connsiteX731" fmla="*/ 1122332 w 2081801"/>
                  <a:gd name="connsiteY731" fmla="*/ 693225 h 2563305"/>
                  <a:gd name="connsiteX732" fmla="*/ 1129413 w 2081801"/>
                  <a:gd name="connsiteY732" fmla="*/ 698890 h 2563305"/>
                  <a:gd name="connsiteX733" fmla="*/ 1140742 w 2081801"/>
                  <a:gd name="connsiteY733" fmla="*/ 605422 h 2563305"/>
                  <a:gd name="connsiteX734" fmla="*/ 1122332 w 2081801"/>
                  <a:gd name="connsiteY734" fmla="*/ 687560 h 2563305"/>
                  <a:gd name="connsiteX735" fmla="*/ 1069933 w 2081801"/>
                  <a:gd name="connsiteY735" fmla="*/ 637994 h 2563305"/>
                  <a:gd name="connsiteX736" fmla="*/ 1140742 w 2081801"/>
                  <a:gd name="connsiteY736" fmla="*/ 605422 h 2563305"/>
                  <a:gd name="connsiteX737" fmla="*/ 1119500 w 2081801"/>
                  <a:gd name="connsiteY737" fmla="*/ 698890 h 2563305"/>
                  <a:gd name="connsiteX738" fmla="*/ 1062852 w 2081801"/>
                  <a:gd name="connsiteY738" fmla="*/ 704555 h 2563305"/>
                  <a:gd name="connsiteX739" fmla="*/ 1048690 w 2081801"/>
                  <a:gd name="connsiteY739" fmla="*/ 646491 h 2563305"/>
                  <a:gd name="connsiteX740" fmla="*/ 1068517 w 2081801"/>
                  <a:gd name="connsiteY740" fmla="*/ 637994 h 2563305"/>
                  <a:gd name="connsiteX741" fmla="*/ 1122332 w 2081801"/>
                  <a:gd name="connsiteY741" fmla="*/ 688977 h 2563305"/>
                  <a:gd name="connsiteX742" fmla="*/ 1119500 w 2081801"/>
                  <a:gd name="connsiteY742" fmla="*/ 698890 h 2563305"/>
                  <a:gd name="connsiteX743" fmla="*/ 1101089 w 2081801"/>
                  <a:gd name="connsiteY743" fmla="*/ 778197 h 2563305"/>
                  <a:gd name="connsiteX744" fmla="*/ 679064 w 2081801"/>
                  <a:gd name="connsiteY744" fmla="*/ 847590 h 2563305"/>
                  <a:gd name="connsiteX745" fmla="*/ 659237 w 2081801"/>
                  <a:gd name="connsiteY745" fmla="*/ 731462 h 2563305"/>
                  <a:gd name="connsiteX746" fmla="*/ 681897 w 2081801"/>
                  <a:gd name="connsiteY746" fmla="*/ 737127 h 2563305"/>
                  <a:gd name="connsiteX747" fmla="*/ 681897 w 2081801"/>
                  <a:gd name="connsiteY747" fmla="*/ 737127 h 2563305"/>
                  <a:gd name="connsiteX748" fmla="*/ 764035 w 2081801"/>
                  <a:gd name="connsiteY748" fmla="*/ 659237 h 2563305"/>
                  <a:gd name="connsiteX749" fmla="*/ 901406 w 2081801"/>
                  <a:gd name="connsiteY749" fmla="*/ 714468 h 2563305"/>
                  <a:gd name="connsiteX750" fmla="*/ 901406 w 2081801"/>
                  <a:gd name="connsiteY750" fmla="*/ 714468 h 2563305"/>
                  <a:gd name="connsiteX751" fmla="*/ 1045857 w 2081801"/>
                  <a:gd name="connsiteY751" fmla="*/ 649323 h 2563305"/>
                  <a:gd name="connsiteX752" fmla="*/ 1060019 w 2081801"/>
                  <a:gd name="connsiteY752" fmla="*/ 708803 h 2563305"/>
                  <a:gd name="connsiteX753" fmla="*/ 1060019 w 2081801"/>
                  <a:gd name="connsiteY753" fmla="*/ 708803 h 2563305"/>
                  <a:gd name="connsiteX754" fmla="*/ 1118083 w 2081801"/>
                  <a:gd name="connsiteY754" fmla="*/ 703139 h 2563305"/>
                  <a:gd name="connsiteX755" fmla="*/ 1101089 w 2081801"/>
                  <a:gd name="connsiteY755" fmla="*/ 778197 h 2563305"/>
                  <a:gd name="connsiteX756" fmla="*/ 1292275 w 2081801"/>
                  <a:gd name="connsiteY756" fmla="*/ 952388 h 2563305"/>
                  <a:gd name="connsiteX757" fmla="*/ 1293691 w 2081801"/>
                  <a:gd name="connsiteY757" fmla="*/ 922648 h 2563305"/>
                  <a:gd name="connsiteX758" fmla="*/ 1316350 w 2081801"/>
                  <a:gd name="connsiteY758" fmla="*/ 933978 h 2563305"/>
                  <a:gd name="connsiteX759" fmla="*/ 1313518 w 2081801"/>
                  <a:gd name="connsiteY759" fmla="*/ 948140 h 2563305"/>
                  <a:gd name="connsiteX760" fmla="*/ 1292275 w 2081801"/>
                  <a:gd name="connsiteY760" fmla="*/ 952388 h 2563305"/>
                  <a:gd name="connsiteX761" fmla="*/ 1279529 w 2081801"/>
                  <a:gd name="connsiteY761" fmla="*/ 1150655 h 2563305"/>
                  <a:gd name="connsiteX762" fmla="*/ 1280945 w 2081801"/>
                  <a:gd name="connsiteY762" fmla="*/ 1146406 h 2563305"/>
                  <a:gd name="connsiteX763" fmla="*/ 1297940 w 2081801"/>
                  <a:gd name="connsiteY763" fmla="*/ 1149239 h 2563305"/>
                  <a:gd name="connsiteX764" fmla="*/ 1279529 w 2081801"/>
                  <a:gd name="connsiteY764" fmla="*/ 1150655 h 2563305"/>
                  <a:gd name="connsiteX765" fmla="*/ 1204471 w 2081801"/>
                  <a:gd name="connsiteY765" fmla="*/ 966550 h 2563305"/>
                  <a:gd name="connsiteX766" fmla="*/ 1200222 w 2081801"/>
                  <a:gd name="connsiteY766" fmla="*/ 973631 h 2563305"/>
                  <a:gd name="connsiteX767" fmla="*/ 1091176 w 2081801"/>
                  <a:gd name="connsiteY767" fmla="*/ 999122 h 2563305"/>
                  <a:gd name="connsiteX768" fmla="*/ 1113835 w 2081801"/>
                  <a:gd name="connsiteY768" fmla="*/ 953804 h 2563305"/>
                  <a:gd name="connsiteX769" fmla="*/ 1204471 w 2081801"/>
                  <a:gd name="connsiteY769" fmla="*/ 966550 h 2563305"/>
                  <a:gd name="connsiteX770" fmla="*/ 1265367 w 2081801"/>
                  <a:gd name="connsiteY770" fmla="*/ 905654 h 2563305"/>
                  <a:gd name="connsiteX771" fmla="*/ 1265367 w 2081801"/>
                  <a:gd name="connsiteY771" fmla="*/ 905654 h 2563305"/>
                  <a:gd name="connsiteX772" fmla="*/ 1246957 w 2081801"/>
                  <a:gd name="connsiteY772" fmla="*/ 905654 h 2563305"/>
                  <a:gd name="connsiteX773" fmla="*/ 1293691 w 2081801"/>
                  <a:gd name="connsiteY773" fmla="*/ 836261 h 2563305"/>
                  <a:gd name="connsiteX774" fmla="*/ 1290859 w 2081801"/>
                  <a:gd name="connsiteY774" fmla="*/ 916984 h 2563305"/>
                  <a:gd name="connsiteX775" fmla="*/ 1265367 w 2081801"/>
                  <a:gd name="connsiteY775" fmla="*/ 905654 h 2563305"/>
                  <a:gd name="connsiteX776" fmla="*/ 1220049 w 2081801"/>
                  <a:gd name="connsiteY776" fmla="*/ 969383 h 2563305"/>
                  <a:gd name="connsiteX777" fmla="*/ 1203055 w 2081801"/>
                  <a:gd name="connsiteY777" fmla="*/ 972215 h 2563305"/>
                  <a:gd name="connsiteX778" fmla="*/ 1207303 w 2081801"/>
                  <a:gd name="connsiteY778" fmla="*/ 966550 h 2563305"/>
                  <a:gd name="connsiteX779" fmla="*/ 1220049 w 2081801"/>
                  <a:gd name="connsiteY779" fmla="*/ 969383 h 2563305"/>
                  <a:gd name="connsiteX780" fmla="*/ 1289443 w 2081801"/>
                  <a:gd name="connsiteY780" fmla="*/ 955221 h 2563305"/>
                  <a:gd name="connsiteX781" fmla="*/ 1289443 w 2081801"/>
                  <a:gd name="connsiteY781" fmla="*/ 977880 h 2563305"/>
                  <a:gd name="connsiteX782" fmla="*/ 1231379 w 2081801"/>
                  <a:gd name="connsiteY782" fmla="*/ 969383 h 2563305"/>
                  <a:gd name="connsiteX783" fmla="*/ 1289443 w 2081801"/>
                  <a:gd name="connsiteY783" fmla="*/ 955221 h 2563305"/>
                  <a:gd name="connsiteX784" fmla="*/ 1289443 w 2081801"/>
                  <a:gd name="connsiteY784" fmla="*/ 952388 h 2563305"/>
                  <a:gd name="connsiteX785" fmla="*/ 1224298 w 2081801"/>
                  <a:gd name="connsiteY785" fmla="*/ 966550 h 2563305"/>
                  <a:gd name="connsiteX786" fmla="*/ 1207303 w 2081801"/>
                  <a:gd name="connsiteY786" fmla="*/ 963718 h 2563305"/>
                  <a:gd name="connsiteX787" fmla="*/ 1244124 w 2081801"/>
                  <a:gd name="connsiteY787" fmla="*/ 907070 h 2563305"/>
                  <a:gd name="connsiteX788" fmla="*/ 1262535 w 2081801"/>
                  <a:gd name="connsiteY788" fmla="*/ 907070 h 2563305"/>
                  <a:gd name="connsiteX789" fmla="*/ 1289443 w 2081801"/>
                  <a:gd name="connsiteY789" fmla="*/ 919816 h 2563305"/>
                  <a:gd name="connsiteX790" fmla="*/ 1289443 w 2081801"/>
                  <a:gd name="connsiteY790" fmla="*/ 952388 h 2563305"/>
                  <a:gd name="connsiteX791" fmla="*/ 1242708 w 2081801"/>
                  <a:gd name="connsiteY791" fmla="*/ 908486 h 2563305"/>
                  <a:gd name="connsiteX792" fmla="*/ 1205887 w 2081801"/>
                  <a:gd name="connsiteY792" fmla="*/ 963718 h 2563305"/>
                  <a:gd name="connsiteX793" fmla="*/ 1115251 w 2081801"/>
                  <a:gd name="connsiteY793" fmla="*/ 949556 h 2563305"/>
                  <a:gd name="connsiteX794" fmla="*/ 1135078 w 2081801"/>
                  <a:gd name="connsiteY794" fmla="*/ 911319 h 2563305"/>
                  <a:gd name="connsiteX795" fmla="*/ 1242708 w 2081801"/>
                  <a:gd name="connsiteY795" fmla="*/ 908486 h 2563305"/>
                  <a:gd name="connsiteX796" fmla="*/ 1195974 w 2081801"/>
                  <a:gd name="connsiteY796" fmla="*/ 1126580 h 2563305"/>
                  <a:gd name="connsiteX797" fmla="*/ 1103921 w 2081801"/>
                  <a:gd name="connsiteY797" fmla="*/ 1120915 h 2563305"/>
                  <a:gd name="connsiteX798" fmla="*/ 1200222 w 2081801"/>
                  <a:gd name="connsiteY798" fmla="*/ 976464 h 2563305"/>
                  <a:gd name="connsiteX799" fmla="*/ 1224298 w 2081801"/>
                  <a:gd name="connsiteY799" fmla="*/ 970799 h 2563305"/>
                  <a:gd name="connsiteX800" fmla="*/ 1289443 w 2081801"/>
                  <a:gd name="connsiteY800" fmla="*/ 980712 h 2563305"/>
                  <a:gd name="connsiteX801" fmla="*/ 1289443 w 2081801"/>
                  <a:gd name="connsiteY801" fmla="*/ 980712 h 2563305"/>
                  <a:gd name="connsiteX802" fmla="*/ 1289443 w 2081801"/>
                  <a:gd name="connsiteY802" fmla="*/ 955221 h 2563305"/>
                  <a:gd name="connsiteX803" fmla="*/ 1310685 w 2081801"/>
                  <a:gd name="connsiteY803" fmla="*/ 950972 h 2563305"/>
                  <a:gd name="connsiteX804" fmla="*/ 1276697 w 2081801"/>
                  <a:gd name="connsiteY804" fmla="*/ 1144990 h 2563305"/>
                  <a:gd name="connsiteX805" fmla="*/ 1195974 w 2081801"/>
                  <a:gd name="connsiteY805" fmla="*/ 1126580 h 2563305"/>
                  <a:gd name="connsiteX806" fmla="*/ 1054355 w 2081801"/>
                  <a:gd name="connsiteY806" fmla="*/ 1119499 h 2563305"/>
                  <a:gd name="connsiteX807" fmla="*/ 1071349 w 2081801"/>
                  <a:gd name="connsiteY807" fmla="*/ 1166233 h 2563305"/>
                  <a:gd name="connsiteX808" fmla="*/ 1068517 w 2081801"/>
                  <a:gd name="connsiteY808" fmla="*/ 1170482 h 2563305"/>
                  <a:gd name="connsiteX809" fmla="*/ 1000540 w 2081801"/>
                  <a:gd name="connsiteY809" fmla="*/ 1176146 h 2563305"/>
                  <a:gd name="connsiteX810" fmla="*/ 1030279 w 2081801"/>
                  <a:gd name="connsiteY810" fmla="*/ 1116666 h 2563305"/>
                  <a:gd name="connsiteX811" fmla="*/ 1054355 w 2081801"/>
                  <a:gd name="connsiteY811" fmla="*/ 1119499 h 2563305"/>
                  <a:gd name="connsiteX812" fmla="*/ 1198806 w 2081801"/>
                  <a:gd name="connsiteY812" fmla="*/ 976464 h 2563305"/>
                  <a:gd name="connsiteX813" fmla="*/ 1102505 w 2081801"/>
                  <a:gd name="connsiteY813" fmla="*/ 1120915 h 2563305"/>
                  <a:gd name="connsiteX814" fmla="*/ 1055771 w 2081801"/>
                  <a:gd name="connsiteY814" fmla="*/ 1118083 h 2563305"/>
                  <a:gd name="connsiteX815" fmla="*/ 1045857 w 2081801"/>
                  <a:gd name="connsiteY815" fmla="*/ 1089759 h 2563305"/>
                  <a:gd name="connsiteX816" fmla="*/ 1091176 w 2081801"/>
                  <a:gd name="connsiteY816" fmla="*/ 1001955 h 2563305"/>
                  <a:gd name="connsiteX817" fmla="*/ 1198806 w 2081801"/>
                  <a:gd name="connsiteY817" fmla="*/ 976464 h 2563305"/>
                  <a:gd name="connsiteX818" fmla="*/ 1031696 w 2081801"/>
                  <a:gd name="connsiteY818" fmla="*/ 1115250 h 2563305"/>
                  <a:gd name="connsiteX819" fmla="*/ 1044441 w 2081801"/>
                  <a:gd name="connsiteY819" fmla="*/ 1091175 h 2563305"/>
                  <a:gd name="connsiteX820" fmla="*/ 1052938 w 2081801"/>
                  <a:gd name="connsiteY820" fmla="*/ 1116666 h 2563305"/>
                  <a:gd name="connsiteX821" fmla="*/ 1031696 w 2081801"/>
                  <a:gd name="connsiteY821" fmla="*/ 1115250 h 2563305"/>
                  <a:gd name="connsiteX822" fmla="*/ 1088343 w 2081801"/>
                  <a:gd name="connsiteY822" fmla="*/ 1000539 h 2563305"/>
                  <a:gd name="connsiteX823" fmla="*/ 1045857 w 2081801"/>
                  <a:gd name="connsiteY823" fmla="*/ 1085510 h 2563305"/>
                  <a:gd name="connsiteX824" fmla="*/ 1020366 w 2081801"/>
                  <a:gd name="connsiteY824" fmla="*/ 1016117 h 2563305"/>
                  <a:gd name="connsiteX825" fmla="*/ 1088343 w 2081801"/>
                  <a:gd name="connsiteY825" fmla="*/ 1000539 h 2563305"/>
                  <a:gd name="connsiteX826" fmla="*/ 1088343 w 2081801"/>
                  <a:gd name="connsiteY826" fmla="*/ 999122 h 2563305"/>
                  <a:gd name="connsiteX827" fmla="*/ 1016117 w 2081801"/>
                  <a:gd name="connsiteY827" fmla="*/ 1016117 h 2563305"/>
                  <a:gd name="connsiteX828" fmla="*/ 1016117 w 2081801"/>
                  <a:gd name="connsiteY828" fmla="*/ 1016117 h 2563305"/>
                  <a:gd name="connsiteX829" fmla="*/ 1043025 w 2081801"/>
                  <a:gd name="connsiteY829" fmla="*/ 1089759 h 2563305"/>
                  <a:gd name="connsiteX830" fmla="*/ 1030279 w 2081801"/>
                  <a:gd name="connsiteY830" fmla="*/ 1116666 h 2563305"/>
                  <a:gd name="connsiteX831" fmla="*/ 946724 w 2081801"/>
                  <a:gd name="connsiteY831" fmla="*/ 1111002 h 2563305"/>
                  <a:gd name="connsiteX832" fmla="*/ 948140 w 2081801"/>
                  <a:gd name="connsiteY832" fmla="*/ 929729 h 2563305"/>
                  <a:gd name="connsiteX833" fmla="*/ 1113835 w 2081801"/>
                  <a:gd name="connsiteY833" fmla="*/ 953804 h 2563305"/>
                  <a:gd name="connsiteX834" fmla="*/ 1088343 w 2081801"/>
                  <a:gd name="connsiteY834" fmla="*/ 999122 h 2563305"/>
                  <a:gd name="connsiteX835" fmla="*/ 1101089 w 2081801"/>
                  <a:gd name="connsiteY835" fmla="*/ 1122331 h 2563305"/>
                  <a:gd name="connsiteX836" fmla="*/ 1072765 w 2081801"/>
                  <a:gd name="connsiteY836" fmla="*/ 1164817 h 2563305"/>
                  <a:gd name="connsiteX837" fmla="*/ 1055771 w 2081801"/>
                  <a:gd name="connsiteY837" fmla="*/ 1119499 h 2563305"/>
                  <a:gd name="connsiteX838" fmla="*/ 1101089 w 2081801"/>
                  <a:gd name="connsiteY838" fmla="*/ 1122331 h 2563305"/>
                  <a:gd name="connsiteX839" fmla="*/ 1102505 w 2081801"/>
                  <a:gd name="connsiteY839" fmla="*/ 1122331 h 2563305"/>
                  <a:gd name="connsiteX840" fmla="*/ 1195974 w 2081801"/>
                  <a:gd name="connsiteY840" fmla="*/ 1129412 h 2563305"/>
                  <a:gd name="connsiteX841" fmla="*/ 1279529 w 2081801"/>
                  <a:gd name="connsiteY841" fmla="*/ 1146406 h 2563305"/>
                  <a:gd name="connsiteX842" fmla="*/ 1278113 w 2081801"/>
                  <a:gd name="connsiteY842" fmla="*/ 1152071 h 2563305"/>
                  <a:gd name="connsiteX843" fmla="*/ 1074181 w 2081801"/>
                  <a:gd name="connsiteY843" fmla="*/ 1170482 h 2563305"/>
                  <a:gd name="connsiteX844" fmla="*/ 1072765 w 2081801"/>
                  <a:gd name="connsiteY844" fmla="*/ 1167649 h 2563305"/>
                  <a:gd name="connsiteX845" fmla="*/ 1102505 w 2081801"/>
                  <a:gd name="connsiteY845" fmla="*/ 1122331 h 2563305"/>
                  <a:gd name="connsiteX846" fmla="*/ 1296524 w 2081801"/>
                  <a:gd name="connsiteY846" fmla="*/ 680480 h 2563305"/>
                  <a:gd name="connsiteX847" fmla="*/ 1132245 w 2081801"/>
                  <a:gd name="connsiteY847" fmla="*/ 697474 h 2563305"/>
                  <a:gd name="connsiteX848" fmla="*/ 1123748 w 2081801"/>
                  <a:gd name="connsiteY848" fmla="*/ 688977 h 2563305"/>
                  <a:gd name="connsiteX849" fmla="*/ 1143575 w 2081801"/>
                  <a:gd name="connsiteY849" fmla="*/ 604005 h 2563305"/>
                  <a:gd name="connsiteX850" fmla="*/ 1169066 w 2081801"/>
                  <a:gd name="connsiteY850" fmla="*/ 592676 h 2563305"/>
                  <a:gd name="connsiteX851" fmla="*/ 1227130 w 2081801"/>
                  <a:gd name="connsiteY851" fmla="*/ 595508 h 2563305"/>
                  <a:gd name="connsiteX852" fmla="*/ 1297940 w 2081801"/>
                  <a:gd name="connsiteY852" fmla="*/ 654988 h 2563305"/>
                  <a:gd name="connsiteX853" fmla="*/ 1296524 w 2081801"/>
                  <a:gd name="connsiteY853" fmla="*/ 680480 h 2563305"/>
                  <a:gd name="connsiteX854" fmla="*/ 1144991 w 2081801"/>
                  <a:gd name="connsiteY854" fmla="*/ 591260 h 2563305"/>
                  <a:gd name="connsiteX855" fmla="*/ 1142159 w 2081801"/>
                  <a:gd name="connsiteY855" fmla="*/ 602589 h 2563305"/>
                  <a:gd name="connsiteX856" fmla="*/ 1069933 w 2081801"/>
                  <a:gd name="connsiteY856" fmla="*/ 635161 h 2563305"/>
                  <a:gd name="connsiteX857" fmla="*/ 1040193 w 2081801"/>
                  <a:gd name="connsiteY857" fmla="*/ 606838 h 2563305"/>
                  <a:gd name="connsiteX858" fmla="*/ 1034528 w 2081801"/>
                  <a:gd name="connsiteY858" fmla="*/ 584179 h 2563305"/>
                  <a:gd name="connsiteX859" fmla="*/ 1144991 w 2081801"/>
                  <a:gd name="connsiteY859" fmla="*/ 591260 h 2563305"/>
                  <a:gd name="connsiteX860" fmla="*/ 510537 w 2081801"/>
                  <a:gd name="connsiteY860" fmla="*/ 555855 h 2563305"/>
                  <a:gd name="connsiteX861" fmla="*/ 798024 w 2081801"/>
                  <a:gd name="connsiteY861" fmla="*/ 572849 h 2563305"/>
                  <a:gd name="connsiteX862" fmla="*/ 827764 w 2081801"/>
                  <a:gd name="connsiteY862" fmla="*/ 595508 h 2563305"/>
                  <a:gd name="connsiteX863" fmla="*/ 762619 w 2081801"/>
                  <a:gd name="connsiteY863" fmla="*/ 657821 h 2563305"/>
                  <a:gd name="connsiteX864" fmla="*/ 510537 w 2081801"/>
                  <a:gd name="connsiteY864" fmla="*/ 555855 h 2563305"/>
                  <a:gd name="connsiteX865" fmla="*/ 679064 w 2081801"/>
                  <a:gd name="connsiteY865" fmla="*/ 850422 h 2563305"/>
                  <a:gd name="connsiteX866" fmla="*/ 686145 w 2081801"/>
                  <a:gd name="connsiteY866" fmla="*/ 888660 h 2563305"/>
                  <a:gd name="connsiteX867" fmla="*/ 686145 w 2081801"/>
                  <a:gd name="connsiteY867" fmla="*/ 888660 h 2563305"/>
                  <a:gd name="connsiteX868" fmla="*/ 772533 w 2081801"/>
                  <a:gd name="connsiteY868" fmla="*/ 901405 h 2563305"/>
                  <a:gd name="connsiteX869" fmla="*/ 677648 w 2081801"/>
                  <a:gd name="connsiteY869" fmla="*/ 909903 h 2563305"/>
                  <a:gd name="connsiteX870" fmla="*/ 637995 w 2081801"/>
                  <a:gd name="connsiteY870" fmla="*/ 856087 h 2563305"/>
                  <a:gd name="connsiteX871" fmla="*/ 679064 w 2081801"/>
                  <a:gd name="connsiteY871" fmla="*/ 850422 h 2563305"/>
                  <a:gd name="connsiteX872" fmla="*/ 1071349 w 2081801"/>
                  <a:gd name="connsiteY872" fmla="*/ 1170482 h 2563305"/>
                  <a:gd name="connsiteX873" fmla="*/ 1072765 w 2081801"/>
                  <a:gd name="connsiteY873" fmla="*/ 1169065 h 2563305"/>
                  <a:gd name="connsiteX874" fmla="*/ 1072765 w 2081801"/>
                  <a:gd name="connsiteY874" fmla="*/ 1170482 h 2563305"/>
                  <a:gd name="connsiteX875" fmla="*/ 1071349 w 2081801"/>
                  <a:gd name="connsiteY875" fmla="*/ 1170482 h 2563305"/>
                  <a:gd name="connsiteX876" fmla="*/ 1402738 w 2081801"/>
                  <a:gd name="connsiteY876" fmla="*/ 1193141 h 2563305"/>
                  <a:gd name="connsiteX877" fmla="*/ 1409819 w 2081801"/>
                  <a:gd name="connsiteY877" fmla="*/ 1171898 h 2563305"/>
                  <a:gd name="connsiteX878" fmla="*/ 1443807 w 2081801"/>
                  <a:gd name="connsiteY878" fmla="*/ 1178979 h 2563305"/>
                  <a:gd name="connsiteX879" fmla="*/ 1402738 w 2081801"/>
                  <a:gd name="connsiteY879" fmla="*/ 1193141 h 2563305"/>
                  <a:gd name="connsiteX880" fmla="*/ 1347507 w 2081801"/>
                  <a:gd name="connsiteY880" fmla="*/ 748457 h 2563305"/>
                  <a:gd name="connsiteX881" fmla="*/ 1346090 w 2081801"/>
                  <a:gd name="connsiteY881" fmla="*/ 752705 h 2563305"/>
                  <a:gd name="connsiteX882" fmla="*/ 1293691 w 2081801"/>
                  <a:gd name="connsiteY882" fmla="*/ 830596 h 2563305"/>
                  <a:gd name="connsiteX883" fmla="*/ 1295107 w 2081801"/>
                  <a:gd name="connsiteY883" fmla="*/ 754122 h 2563305"/>
                  <a:gd name="connsiteX884" fmla="*/ 1347507 w 2081801"/>
                  <a:gd name="connsiteY884" fmla="*/ 748457 h 2563305"/>
                  <a:gd name="connsiteX885" fmla="*/ 1144991 w 2081801"/>
                  <a:gd name="connsiteY885" fmla="*/ 602589 h 2563305"/>
                  <a:gd name="connsiteX886" fmla="*/ 1147823 w 2081801"/>
                  <a:gd name="connsiteY886" fmla="*/ 592676 h 2563305"/>
                  <a:gd name="connsiteX887" fmla="*/ 1166234 w 2081801"/>
                  <a:gd name="connsiteY887" fmla="*/ 594092 h 2563305"/>
                  <a:gd name="connsiteX888" fmla="*/ 1144991 w 2081801"/>
                  <a:gd name="connsiteY888" fmla="*/ 602589 h 2563305"/>
                  <a:gd name="connsiteX889" fmla="*/ 901406 w 2081801"/>
                  <a:gd name="connsiteY889" fmla="*/ 711636 h 2563305"/>
                  <a:gd name="connsiteX890" fmla="*/ 765452 w 2081801"/>
                  <a:gd name="connsiteY890" fmla="*/ 657821 h 2563305"/>
                  <a:gd name="connsiteX891" fmla="*/ 832012 w 2081801"/>
                  <a:gd name="connsiteY891" fmla="*/ 595508 h 2563305"/>
                  <a:gd name="connsiteX892" fmla="*/ 832012 w 2081801"/>
                  <a:gd name="connsiteY892" fmla="*/ 595508 h 2563305"/>
                  <a:gd name="connsiteX893" fmla="*/ 802273 w 2081801"/>
                  <a:gd name="connsiteY893" fmla="*/ 572849 h 2563305"/>
                  <a:gd name="connsiteX894" fmla="*/ 1011869 w 2081801"/>
                  <a:gd name="connsiteY894" fmla="*/ 584179 h 2563305"/>
                  <a:gd name="connsiteX895" fmla="*/ 1037360 w 2081801"/>
                  <a:gd name="connsiteY895" fmla="*/ 608254 h 2563305"/>
                  <a:gd name="connsiteX896" fmla="*/ 1045857 w 2081801"/>
                  <a:gd name="connsiteY896" fmla="*/ 645075 h 2563305"/>
                  <a:gd name="connsiteX897" fmla="*/ 901406 w 2081801"/>
                  <a:gd name="connsiteY897" fmla="*/ 711636 h 2563305"/>
                  <a:gd name="connsiteX898" fmla="*/ 1000540 w 2081801"/>
                  <a:gd name="connsiteY898" fmla="*/ 1317765 h 2563305"/>
                  <a:gd name="connsiteX899" fmla="*/ 1000540 w 2081801"/>
                  <a:gd name="connsiteY899" fmla="*/ 1317765 h 2563305"/>
                  <a:gd name="connsiteX900" fmla="*/ 992042 w 2081801"/>
                  <a:gd name="connsiteY900" fmla="*/ 1289442 h 2563305"/>
                  <a:gd name="connsiteX901" fmla="*/ 1069933 w 2081801"/>
                  <a:gd name="connsiteY901" fmla="*/ 1171898 h 2563305"/>
                  <a:gd name="connsiteX902" fmla="*/ 1072765 w 2081801"/>
                  <a:gd name="connsiteY902" fmla="*/ 1171898 h 2563305"/>
                  <a:gd name="connsiteX903" fmla="*/ 1120916 w 2081801"/>
                  <a:gd name="connsiteY903" fmla="*/ 1305020 h 2563305"/>
                  <a:gd name="connsiteX904" fmla="*/ 1050106 w 2081801"/>
                  <a:gd name="connsiteY904" fmla="*/ 1360251 h 2563305"/>
                  <a:gd name="connsiteX905" fmla="*/ 990626 w 2081801"/>
                  <a:gd name="connsiteY905" fmla="*/ 1343257 h 2563305"/>
                  <a:gd name="connsiteX906" fmla="*/ 1000540 w 2081801"/>
                  <a:gd name="connsiteY906" fmla="*/ 1317765 h 2563305"/>
                  <a:gd name="connsiteX907" fmla="*/ 1054355 w 2081801"/>
                  <a:gd name="connsiteY907" fmla="*/ 1361667 h 2563305"/>
                  <a:gd name="connsiteX908" fmla="*/ 1122332 w 2081801"/>
                  <a:gd name="connsiteY908" fmla="*/ 1307852 h 2563305"/>
                  <a:gd name="connsiteX909" fmla="*/ 1152072 w 2081801"/>
                  <a:gd name="connsiteY909" fmla="*/ 1389991 h 2563305"/>
                  <a:gd name="connsiteX910" fmla="*/ 1054355 w 2081801"/>
                  <a:gd name="connsiteY910" fmla="*/ 1361667 h 2563305"/>
                  <a:gd name="connsiteX911" fmla="*/ 1351755 w 2081801"/>
                  <a:gd name="connsiteY911" fmla="*/ 1283777 h 2563305"/>
                  <a:gd name="connsiteX912" fmla="*/ 1269616 w 2081801"/>
                  <a:gd name="connsiteY912" fmla="*/ 1242707 h 2563305"/>
                  <a:gd name="connsiteX913" fmla="*/ 1399905 w 2081801"/>
                  <a:gd name="connsiteY913" fmla="*/ 1195973 h 2563305"/>
                  <a:gd name="connsiteX914" fmla="*/ 1380079 w 2081801"/>
                  <a:gd name="connsiteY914" fmla="*/ 1252621 h 2563305"/>
                  <a:gd name="connsiteX915" fmla="*/ 1351755 w 2081801"/>
                  <a:gd name="connsiteY915" fmla="*/ 1283777 h 2563305"/>
                  <a:gd name="connsiteX916" fmla="*/ 1446640 w 2081801"/>
                  <a:gd name="connsiteY916" fmla="*/ 1178979 h 2563305"/>
                  <a:gd name="connsiteX917" fmla="*/ 1384327 w 2081801"/>
                  <a:gd name="connsiteY917" fmla="*/ 1248372 h 2563305"/>
                  <a:gd name="connsiteX918" fmla="*/ 1402738 w 2081801"/>
                  <a:gd name="connsiteY918" fmla="*/ 1194557 h 2563305"/>
                  <a:gd name="connsiteX919" fmla="*/ 1446640 w 2081801"/>
                  <a:gd name="connsiteY919" fmla="*/ 1178979 h 2563305"/>
                  <a:gd name="connsiteX920" fmla="*/ 1146407 w 2081801"/>
                  <a:gd name="connsiteY920" fmla="*/ 589843 h 2563305"/>
                  <a:gd name="connsiteX921" fmla="*/ 1157737 w 2081801"/>
                  <a:gd name="connsiteY921" fmla="*/ 538860 h 2563305"/>
                  <a:gd name="connsiteX922" fmla="*/ 1201639 w 2081801"/>
                  <a:gd name="connsiteY922" fmla="*/ 575682 h 2563305"/>
                  <a:gd name="connsiteX923" fmla="*/ 1167650 w 2081801"/>
                  <a:gd name="connsiteY923" fmla="*/ 591260 h 2563305"/>
                  <a:gd name="connsiteX924" fmla="*/ 1146407 w 2081801"/>
                  <a:gd name="connsiteY924" fmla="*/ 589843 h 2563305"/>
                  <a:gd name="connsiteX925" fmla="*/ 799440 w 2081801"/>
                  <a:gd name="connsiteY925" fmla="*/ 570017 h 2563305"/>
                  <a:gd name="connsiteX926" fmla="*/ 662069 w 2081801"/>
                  <a:gd name="connsiteY926" fmla="*/ 465219 h 2563305"/>
                  <a:gd name="connsiteX927" fmla="*/ 812186 w 2081801"/>
                  <a:gd name="connsiteY927" fmla="*/ 388744 h 2563305"/>
                  <a:gd name="connsiteX928" fmla="*/ 1010453 w 2081801"/>
                  <a:gd name="connsiteY928" fmla="*/ 581346 h 2563305"/>
                  <a:gd name="connsiteX929" fmla="*/ 799440 w 2081801"/>
                  <a:gd name="connsiteY929" fmla="*/ 570017 h 2563305"/>
                  <a:gd name="connsiteX930" fmla="*/ 492127 w 2081801"/>
                  <a:gd name="connsiteY930" fmla="*/ 550190 h 2563305"/>
                  <a:gd name="connsiteX931" fmla="*/ 483630 w 2081801"/>
                  <a:gd name="connsiteY931" fmla="*/ 554439 h 2563305"/>
                  <a:gd name="connsiteX932" fmla="*/ 504873 w 2081801"/>
                  <a:gd name="connsiteY932" fmla="*/ 555855 h 2563305"/>
                  <a:gd name="connsiteX933" fmla="*/ 762619 w 2081801"/>
                  <a:gd name="connsiteY933" fmla="*/ 659237 h 2563305"/>
                  <a:gd name="connsiteX934" fmla="*/ 681897 w 2081801"/>
                  <a:gd name="connsiteY934" fmla="*/ 735711 h 2563305"/>
                  <a:gd name="connsiteX935" fmla="*/ 659237 w 2081801"/>
                  <a:gd name="connsiteY935" fmla="*/ 730046 h 2563305"/>
                  <a:gd name="connsiteX936" fmla="*/ 639411 w 2081801"/>
                  <a:gd name="connsiteY936" fmla="*/ 621000 h 2563305"/>
                  <a:gd name="connsiteX937" fmla="*/ 639411 w 2081801"/>
                  <a:gd name="connsiteY937" fmla="*/ 621000 h 2563305"/>
                  <a:gd name="connsiteX938" fmla="*/ 509121 w 2081801"/>
                  <a:gd name="connsiteY938" fmla="*/ 659237 h 2563305"/>
                  <a:gd name="connsiteX939" fmla="*/ 452473 w 2081801"/>
                  <a:gd name="connsiteY939" fmla="*/ 534612 h 2563305"/>
                  <a:gd name="connsiteX940" fmla="*/ 492127 w 2081801"/>
                  <a:gd name="connsiteY940" fmla="*/ 550190 h 2563305"/>
                  <a:gd name="connsiteX941" fmla="*/ 657821 w 2081801"/>
                  <a:gd name="connsiteY941" fmla="*/ 731462 h 2563305"/>
                  <a:gd name="connsiteX942" fmla="*/ 679064 w 2081801"/>
                  <a:gd name="connsiteY942" fmla="*/ 847590 h 2563305"/>
                  <a:gd name="connsiteX943" fmla="*/ 636578 w 2081801"/>
                  <a:gd name="connsiteY943" fmla="*/ 854671 h 2563305"/>
                  <a:gd name="connsiteX944" fmla="*/ 543110 w 2081801"/>
                  <a:gd name="connsiteY944" fmla="*/ 730046 h 2563305"/>
                  <a:gd name="connsiteX945" fmla="*/ 530364 w 2081801"/>
                  <a:gd name="connsiteY945" fmla="*/ 701722 h 2563305"/>
                  <a:gd name="connsiteX946" fmla="*/ 657821 w 2081801"/>
                  <a:gd name="connsiteY946" fmla="*/ 731462 h 2563305"/>
                  <a:gd name="connsiteX947" fmla="*/ 691810 w 2081801"/>
                  <a:gd name="connsiteY947" fmla="*/ 931145 h 2563305"/>
                  <a:gd name="connsiteX948" fmla="*/ 691810 w 2081801"/>
                  <a:gd name="connsiteY948" fmla="*/ 931145 h 2563305"/>
                  <a:gd name="connsiteX949" fmla="*/ 677648 w 2081801"/>
                  <a:gd name="connsiteY949" fmla="*/ 912735 h 2563305"/>
                  <a:gd name="connsiteX950" fmla="*/ 779614 w 2081801"/>
                  <a:gd name="connsiteY950" fmla="*/ 902822 h 2563305"/>
                  <a:gd name="connsiteX951" fmla="*/ 943892 w 2081801"/>
                  <a:gd name="connsiteY951" fmla="*/ 926897 h 2563305"/>
                  <a:gd name="connsiteX952" fmla="*/ 942476 w 2081801"/>
                  <a:gd name="connsiteY952" fmla="*/ 1108169 h 2563305"/>
                  <a:gd name="connsiteX953" fmla="*/ 705972 w 2081801"/>
                  <a:gd name="connsiteY953" fmla="*/ 1091175 h 2563305"/>
                  <a:gd name="connsiteX954" fmla="*/ 633746 w 2081801"/>
                  <a:gd name="connsiteY954" fmla="*/ 935394 h 2563305"/>
                  <a:gd name="connsiteX955" fmla="*/ 691810 w 2081801"/>
                  <a:gd name="connsiteY955" fmla="*/ 931145 h 2563305"/>
                  <a:gd name="connsiteX956" fmla="*/ 946724 w 2081801"/>
                  <a:gd name="connsiteY956" fmla="*/ 1111002 h 2563305"/>
                  <a:gd name="connsiteX957" fmla="*/ 1028863 w 2081801"/>
                  <a:gd name="connsiteY957" fmla="*/ 1116666 h 2563305"/>
                  <a:gd name="connsiteX958" fmla="*/ 997707 w 2081801"/>
                  <a:gd name="connsiteY958" fmla="*/ 1177563 h 2563305"/>
                  <a:gd name="connsiteX959" fmla="*/ 997707 w 2081801"/>
                  <a:gd name="connsiteY959" fmla="*/ 1177563 h 2563305"/>
                  <a:gd name="connsiteX960" fmla="*/ 1067100 w 2081801"/>
                  <a:gd name="connsiteY960" fmla="*/ 1170482 h 2563305"/>
                  <a:gd name="connsiteX961" fmla="*/ 990626 w 2081801"/>
                  <a:gd name="connsiteY961" fmla="*/ 1285193 h 2563305"/>
                  <a:gd name="connsiteX962" fmla="*/ 962302 w 2081801"/>
                  <a:gd name="connsiteY962" fmla="*/ 1188892 h 2563305"/>
                  <a:gd name="connsiteX963" fmla="*/ 962302 w 2081801"/>
                  <a:gd name="connsiteY963" fmla="*/ 1188892 h 2563305"/>
                  <a:gd name="connsiteX964" fmla="*/ 945308 w 2081801"/>
                  <a:gd name="connsiteY964" fmla="*/ 1188892 h 2563305"/>
                  <a:gd name="connsiteX965" fmla="*/ 946724 w 2081801"/>
                  <a:gd name="connsiteY965" fmla="*/ 1111002 h 2563305"/>
                  <a:gd name="connsiteX966" fmla="*/ 1153488 w 2081801"/>
                  <a:gd name="connsiteY966" fmla="*/ 1392824 h 2563305"/>
                  <a:gd name="connsiteX967" fmla="*/ 1161985 w 2081801"/>
                  <a:gd name="connsiteY967" fmla="*/ 1414067 h 2563305"/>
                  <a:gd name="connsiteX968" fmla="*/ 1011869 w 2081801"/>
                  <a:gd name="connsiteY968" fmla="*/ 1394240 h 2563305"/>
                  <a:gd name="connsiteX969" fmla="*/ 1051522 w 2081801"/>
                  <a:gd name="connsiteY969" fmla="*/ 1363084 h 2563305"/>
                  <a:gd name="connsiteX970" fmla="*/ 1153488 w 2081801"/>
                  <a:gd name="connsiteY970" fmla="*/ 1392824 h 2563305"/>
                  <a:gd name="connsiteX971" fmla="*/ 1113835 w 2081801"/>
                  <a:gd name="connsiteY971" fmla="*/ 1548605 h 2563305"/>
                  <a:gd name="connsiteX972" fmla="*/ 1181812 w 2081801"/>
                  <a:gd name="connsiteY972" fmla="*/ 1473546 h 2563305"/>
                  <a:gd name="connsiteX973" fmla="*/ 1214384 w 2081801"/>
                  <a:gd name="connsiteY973" fmla="*/ 1562767 h 2563305"/>
                  <a:gd name="connsiteX974" fmla="*/ 1113835 w 2081801"/>
                  <a:gd name="connsiteY974" fmla="*/ 1548605 h 2563305"/>
                  <a:gd name="connsiteX975" fmla="*/ 1228546 w 2081801"/>
                  <a:gd name="connsiteY975" fmla="*/ 1567015 h 2563305"/>
                  <a:gd name="connsiteX976" fmla="*/ 1225714 w 2081801"/>
                  <a:gd name="connsiteY976" fmla="*/ 1589674 h 2563305"/>
                  <a:gd name="connsiteX977" fmla="*/ 1217217 w 2081801"/>
                  <a:gd name="connsiteY977" fmla="*/ 1565599 h 2563305"/>
                  <a:gd name="connsiteX978" fmla="*/ 1228546 w 2081801"/>
                  <a:gd name="connsiteY978" fmla="*/ 1567015 h 2563305"/>
                  <a:gd name="connsiteX979" fmla="*/ 1251205 w 2081801"/>
                  <a:gd name="connsiteY979" fmla="*/ 1661900 h 2563305"/>
                  <a:gd name="connsiteX980" fmla="*/ 1280945 w 2081801"/>
                  <a:gd name="connsiteY980" fmla="*/ 1742623 h 2563305"/>
                  <a:gd name="connsiteX981" fmla="*/ 1212968 w 2081801"/>
                  <a:gd name="connsiteY981" fmla="*/ 1751120 h 2563305"/>
                  <a:gd name="connsiteX982" fmla="*/ 1221465 w 2081801"/>
                  <a:gd name="connsiteY982" fmla="*/ 1664732 h 2563305"/>
                  <a:gd name="connsiteX983" fmla="*/ 1251205 w 2081801"/>
                  <a:gd name="connsiteY983" fmla="*/ 1661900 h 2563305"/>
                  <a:gd name="connsiteX984" fmla="*/ 1368749 w 2081801"/>
                  <a:gd name="connsiteY984" fmla="*/ 1292274 h 2563305"/>
                  <a:gd name="connsiteX985" fmla="*/ 1382911 w 2081801"/>
                  <a:gd name="connsiteY985" fmla="*/ 1252621 h 2563305"/>
                  <a:gd name="connsiteX986" fmla="*/ 1450888 w 2081801"/>
                  <a:gd name="connsiteY986" fmla="*/ 1177563 h 2563305"/>
                  <a:gd name="connsiteX987" fmla="*/ 1586843 w 2081801"/>
                  <a:gd name="connsiteY987" fmla="*/ 1204470 h 2563305"/>
                  <a:gd name="connsiteX988" fmla="*/ 1423981 w 2081801"/>
                  <a:gd name="connsiteY988" fmla="*/ 1340425 h 2563305"/>
                  <a:gd name="connsiteX989" fmla="*/ 1394241 w 2081801"/>
                  <a:gd name="connsiteY989" fmla="*/ 1303604 h 2563305"/>
                  <a:gd name="connsiteX990" fmla="*/ 1368749 w 2081801"/>
                  <a:gd name="connsiteY990" fmla="*/ 1292274 h 2563305"/>
                  <a:gd name="connsiteX991" fmla="*/ 1449472 w 2081801"/>
                  <a:gd name="connsiteY991" fmla="*/ 1176146 h 2563305"/>
                  <a:gd name="connsiteX992" fmla="*/ 1411235 w 2081801"/>
                  <a:gd name="connsiteY992" fmla="*/ 1169065 h 2563305"/>
                  <a:gd name="connsiteX993" fmla="*/ 1421148 w 2081801"/>
                  <a:gd name="connsiteY993" fmla="*/ 1139326 h 2563305"/>
                  <a:gd name="connsiteX994" fmla="*/ 1487709 w 2081801"/>
                  <a:gd name="connsiteY994" fmla="*/ 1133661 h 2563305"/>
                  <a:gd name="connsiteX995" fmla="*/ 1449472 w 2081801"/>
                  <a:gd name="connsiteY995" fmla="*/ 1176146 h 2563305"/>
                  <a:gd name="connsiteX996" fmla="*/ 1449472 w 2081801"/>
                  <a:gd name="connsiteY996" fmla="*/ 1176146 h 2563305"/>
                  <a:gd name="connsiteX997" fmla="*/ 1422564 w 2081801"/>
                  <a:gd name="connsiteY997" fmla="*/ 1136493 h 2563305"/>
                  <a:gd name="connsiteX998" fmla="*/ 1455137 w 2081801"/>
                  <a:gd name="connsiteY998" fmla="*/ 1043024 h 2563305"/>
                  <a:gd name="connsiteX999" fmla="*/ 1455137 w 2081801"/>
                  <a:gd name="connsiteY999" fmla="*/ 1043024 h 2563305"/>
                  <a:gd name="connsiteX1000" fmla="*/ 1323431 w 2081801"/>
                  <a:gd name="connsiteY1000" fmla="*/ 1146406 h 2563305"/>
                  <a:gd name="connsiteX1001" fmla="*/ 1305021 w 2081801"/>
                  <a:gd name="connsiteY1001" fmla="*/ 1147823 h 2563305"/>
                  <a:gd name="connsiteX1002" fmla="*/ 1280945 w 2081801"/>
                  <a:gd name="connsiteY1002" fmla="*/ 1143574 h 2563305"/>
                  <a:gd name="connsiteX1003" fmla="*/ 1314934 w 2081801"/>
                  <a:gd name="connsiteY1003" fmla="*/ 949556 h 2563305"/>
                  <a:gd name="connsiteX1004" fmla="*/ 1337593 w 2081801"/>
                  <a:gd name="connsiteY1004" fmla="*/ 943891 h 2563305"/>
                  <a:gd name="connsiteX1005" fmla="*/ 1561351 w 2081801"/>
                  <a:gd name="connsiteY1005" fmla="*/ 1052938 h 2563305"/>
                  <a:gd name="connsiteX1006" fmla="*/ 1490541 w 2081801"/>
                  <a:gd name="connsiteY1006" fmla="*/ 1130828 h 2563305"/>
                  <a:gd name="connsiteX1007" fmla="*/ 1422564 w 2081801"/>
                  <a:gd name="connsiteY1007" fmla="*/ 1136493 h 2563305"/>
                  <a:gd name="connsiteX1008" fmla="*/ 1157737 w 2081801"/>
                  <a:gd name="connsiteY1008" fmla="*/ 536028 h 2563305"/>
                  <a:gd name="connsiteX1009" fmla="*/ 1095424 w 2081801"/>
                  <a:gd name="connsiteY1009" fmla="*/ 483629 h 2563305"/>
                  <a:gd name="connsiteX1010" fmla="*/ 992042 w 2081801"/>
                  <a:gd name="connsiteY1010" fmla="*/ 408571 h 2563305"/>
                  <a:gd name="connsiteX1011" fmla="*/ 992042 w 2081801"/>
                  <a:gd name="connsiteY1011" fmla="*/ 408571 h 2563305"/>
                  <a:gd name="connsiteX1012" fmla="*/ 1033112 w 2081801"/>
                  <a:gd name="connsiteY1012" fmla="*/ 584179 h 2563305"/>
                  <a:gd name="connsiteX1013" fmla="*/ 1014701 w 2081801"/>
                  <a:gd name="connsiteY1013" fmla="*/ 582762 h 2563305"/>
                  <a:gd name="connsiteX1014" fmla="*/ 815018 w 2081801"/>
                  <a:gd name="connsiteY1014" fmla="*/ 388744 h 2563305"/>
                  <a:gd name="connsiteX1015" fmla="*/ 884412 w 2081801"/>
                  <a:gd name="connsiteY1015" fmla="*/ 353340 h 2563305"/>
                  <a:gd name="connsiteX1016" fmla="*/ 1186060 w 2081801"/>
                  <a:gd name="connsiteY1016" fmla="*/ 419901 h 2563305"/>
                  <a:gd name="connsiteX1017" fmla="*/ 1157737 w 2081801"/>
                  <a:gd name="connsiteY1017" fmla="*/ 536028 h 2563305"/>
                  <a:gd name="connsiteX1018" fmla="*/ 527531 w 2081801"/>
                  <a:gd name="connsiteY1018" fmla="*/ 701722 h 2563305"/>
                  <a:gd name="connsiteX1019" fmla="*/ 537445 w 2081801"/>
                  <a:gd name="connsiteY1019" fmla="*/ 722965 h 2563305"/>
                  <a:gd name="connsiteX1020" fmla="*/ 520450 w 2081801"/>
                  <a:gd name="connsiteY1020" fmla="*/ 700306 h 2563305"/>
                  <a:gd name="connsiteX1021" fmla="*/ 527531 w 2081801"/>
                  <a:gd name="connsiteY1021" fmla="*/ 701722 h 2563305"/>
                  <a:gd name="connsiteX1022" fmla="*/ 476549 w 2081801"/>
                  <a:gd name="connsiteY1022" fmla="*/ 928313 h 2563305"/>
                  <a:gd name="connsiteX1023" fmla="*/ 460971 w 2081801"/>
                  <a:gd name="connsiteY1023" fmla="*/ 929729 h 2563305"/>
                  <a:gd name="connsiteX1024" fmla="*/ 442560 w 2081801"/>
                  <a:gd name="connsiteY1024" fmla="*/ 916984 h 2563305"/>
                  <a:gd name="connsiteX1025" fmla="*/ 476549 w 2081801"/>
                  <a:gd name="connsiteY1025" fmla="*/ 928313 h 2563305"/>
                  <a:gd name="connsiteX1026" fmla="*/ 962302 w 2081801"/>
                  <a:gd name="connsiteY1026" fmla="*/ 1334760 h 2563305"/>
                  <a:gd name="connsiteX1027" fmla="*/ 990626 w 2081801"/>
                  <a:gd name="connsiteY1027" fmla="*/ 1292274 h 2563305"/>
                  <a:gd name="connsiteX1028" fmla="*/ 997707 w 2081801"/>
                  <a:gd name="connsiteY1028" fmla="*/ 1317765 h 2563305"/>
                  <a:gd name="connsiteX1029" fmla="*/ 989210 w 2081801"/>
                  <a:gd name="connsiteY1029" fmla="*/ 1343257 h 2563305"/>
                  <a:gd name="connsiteX1030" fmla="*/ 962302 w 2081801"/>
                  <a:gd name="connsiteY1030" fmla="*/ 1334760 h 2563305"/>
                  <a:gd name="connsiteX1031" fmla="*/ 1014701 w 2081801"/>
                  <a:gd name="connsiteY1031" fmla="*/ 1933808 h 2563305"/>
                  <a:gd name="connsiteX1032" fmla="*/ 1106754 w 2081801"/>
                  <a:gd name="connsiteY1032" fmla="*/ 1926727 h 2563305"/>
                  <a:gd name="connsiteX1033" fmla="*/ 1133662 w 2081801"/>
                  <a:gd name="connsiteY1033" fmla="*/ 2008867 h 2563305"/>
                  <a:gd name="connsiteX1034" fmla="*/ 1014701 w 2081801"/>
                  <a:gd name="connsiteY1034" fmla="*/ 1933808 h 2563305"/>
                  <a:gd name="connsiteX1035" fmla="*/ 1210136 w 2081801"/>
                  <a:gd name="connsiteY1035" fmla="*/ 1752536 h 2563305"/>
                  <a:gd name="connsiteX1036" fmla="*/ 1193141 w 2081801"/>
                  <a:gd name="connsiteY1036" fmla="*/ 1918230 h 2563305"/>
                  <a:gd name="connsiteX1037" fmla="*/ 1108170 w 2081801"/>
                  <a:gd name="connsiteY1037" fmla="*/ 1923895 h 2563305"/>
                  <a:gd name="connsiteX1038" fmla="*/ 1058603 w 2081801"/>
                  <a:gd name="connsiteY1038" fmla="*/ 1770946 h 2563305"/>
                  <a:gd name="connsiteX1039" fmla="*/ 1210136 w 2081801"/>
                  <a:gd name="connsiteY1039" fmla="*/ 1752536 h 2563305"/>
                  <a:gd name="connsiteX1040" fmla="*/ 1180396 w 2081801"/>
                  <a:gd name="connsiteY1040" fmla="*/ 2041439 h 2563305"/>
                  <a:gd name="connsiteX1041" fmla="*/ 1176147 w 2081801"/>
                  <a:gd name="connsiteY1041" fmla="*/ 2079676 h 2563305"/>
                  <a:gd name="connsiteX1042" fmla="*/ 1164817 w 2081801"/>
                  <a:gd name="connsiteY1042" fmla="*/ 2098087 h 2563305"/>
                  <a:gd name="connsiteX1043" fmla="*/ 1137910 w 2081801"/>
                  <a:gd name="connsiteY1043" fmla="*/ 2014531 h 2563305"/>
                  <a:gd name="connsiteX1044" fmla="*/ 1180396 w 2081801"/>
                  <a:gd name="connsiteY1044" fmla="*/ 2041439 h 2563305"/>
                  <a:gd name="connsiteX1045" fmla="*/ 1340426 w 2081801"/>
                  <a:gd name="connsiteY1045" fmla="*/ 943891 h 2563305"/>
                  <a:gd name="connsiteX1046" fmla="*/ 1496207 w 2081801"/>
                  <a:gd name="connsiteY1046" fmla="*/ 908486 h 2563305"/>
                  <a:gd name="connsiteX1047" fmla="*/ 1496207 w 2081801"/>
                  <a:gd name="connsiteY1047" fmla="*/ 908486 h 2563305"/>
                  <a:gd name="connsiteX1048" fmla="*/ 1561351 w 2081801"/>
                  <a:gd name="connsiteY1048" fmla="*/ 840509 h 2563305"/>
                  <a:gd name="connsiteX1049" fmla="*/ 1606669 w 2081801"/>
                  <a:gd name="connsiteY1049" fmla="*/ 1003371 h 2563305"/>
                  <a:gd name="connsiteX1050" fmla="*/ 1562767 w 2081801"/>
                  <a:gd name="connsiteY1050" fmla="*/ 1051522 h 2563305"/>
                  <a:gd name="connsiteX1051" fmla="*/ 1340426 w 2081801"/>
                  <a:gd name="connsiteY1051" fmla="*/ 943891 h 2563305"/>
                  <a:gd name="connsiteX1052" fmla="*/ 451057 w 2081801"/>
                  <a:gd name="connsiteY1052" fmla="*/ 531780 h 2563305"/>
                  <a:gd name="connsiteX1053" fmla="*/ 371750 w 2081801"/>
                  <a:gd name="connsiteY1053" fmla="*/ 357588 h 2563305"/>
                  <a:gd name="connsiteX1054" fmla="*/ 443976 w 2081801"/>
                  <a:gd name="connsiteY1054" fmla="*/ 303773 h 2563305"/>
                  <a:gd name="connsiteX1055" fmla="*/ 657821 w 2081801"/>
                  <a:gd name="connsiteY1055" fmla="*/ 465219 h 2563305"/>
                  <a:gd name="connsiteX1056" fmla="*/ 493543 w 2081801"/>
                  <a:gd name="connsiteY1056" fmla="*/ 548774 h 2563305"/>
                  <a:gd name="connsiteX1057" fmla="*/ 451057 w 2081801"/>
                  <a:gd name="connsiteY1057" fmla="*/ 531780 h 2563305"/>
                  <a:gd name="connsiteX1058" fmla="*/ 448225 w 2081801"/>
                  <a:gd name="connsiteY1058" fmla="*/ 888660 h 2563305"/>
                  <a:gd name="connsiteX1059" fmla="*/ 448225 w 2081801"/>
                  <a:gd name="connsiteY1059" fmla="*/ 888660 h 2563305"/>
                  <a:gd name="connsiteX1060" fmla="*/ 601173 w 2081801"/>
                  <a:gd name="connsiteY1060" fmla="*/ 863168 h 2563305"/>
                  <a:gd name="connsiteX1061" fmla="*/ 625249 w 2081801"/>
                  <a:gd name="connsiteY1061" fmla="*/ 915567 h 2563305"/>
                  <a:gd name="connsiteX1062" fmla="*/ 482213 w 2081801"/>
                  <a:gd name="connsiteY1062" fmla="*/ 928313 h 2563305"/>
                  <a:gd name="connsiteX1063" fmla="*/ 436895 w 2081801"/>
                  <a:gd name="connsiteY1063" fmla="*/ 912735 h 2563305"/>
                  <a:gd name="connsiteX1064" fmla="*/ 251374 w 2081801"/>
                  <a:gd name="connsiteY1064" fmla="*/ 783862 h 2563305"/>
                  <a:gd name="connsiteX1065" fmla="*/ 308022 w 2081801"/>
                  <a:gd name="connsiteY1065" fmla="*/ 666318 h 2563305"/>
                  <a:gd name="connsiteX1066" fmla="*/ 448225 w 2081801"/>
                  <a:gd name="connsiteY1066" fmla="*/ 888660 h 2563305"/>
                  <a:gd name="connsiteX1067" fmla="*/ 174900 w 2081801"/>
                  <a:gd name="connsiteY1067" fmla="*/ 696058 h 2563305"/>
                  <a:gd name="connsiteX1068" fmla="*/ 211721 w 2081801"/>
                  <a:gd name="connsiteY1068" fmla="*/ 759786 h 2563305"/>
                  <a:gd name="connsiteX1069" fmla="*/ 248542 w 2081801"/>
                  <a:gd name="connsiteY1069" fmla="*/ 785278 h 2563305"/>
                  <a:gd name="connsiteX1070" fmla="*/ 220218 w 2081801"/>
                  <a:gd name="connsiteY1070" fmla="*/ 843341 h 2563305"/>
                  <a:gd name="connsiteX1071" fmla="*/ 133830 w 2081801"/>
                  <a:gd name="connsiteY1071" fmla="*/ 815018 h 2563305"/>
                  <a:gd name="connsiteX1072" fmla="*/ 149408 w 2081801"/>
                  <a:gd name="connsiteY1072" fmla="*/ 728630 h 2563305"/>
                  <a:gd name="connsiteX1073" fmla="*/ 174900 w 2081801"/>
                  <a:gd name="connsiteY1073" fmla="*/ 696058 h 2563305"/>
                  <a:gd name="connsiteX1074" fmla="*/ 173483 w 2081801"/>
                  <a:gd name="connsiteY1074" fmla="*/ 693225 h 2563305"/>
                  <a:gd name="connsiteX1075" fmla="*/ 147992 w 2081801"/>
                  <a:gd name="connsiteY1075" fmla="*/ 722965 h 2563305"/>
                  <a:gd name="connsiteX1076" fmla="*/ 157906 w 2081801"/>
                  <a:gd name="connsiteY1076" fmla="*/ 667734 h 2563305"/>
                  <a:gd name="connsiteX1077" fmla="*/ 173483 w 2081801"/>
                  <a:gd name="connsiteY1077" fmla="*/ 693225 h 2563305"/>
                  <a:gd name="connsiteX1078" fmla="*/ 162154 w 2081801"/>
                  <a:gd name="connsiteY1078" fmla="*/ 633745 h 2563305"/>
                  <a:gd name="connsiteX1079" fmla="*/ 157906 w 2081801"/>
                  <a:gd name="connsiteY1079" fmla="*/ 660653 h 2563305"/>
                  <a:gd name="connsiteX1080" fmla="*/ 147992 w 2081801"/>
                  <a:gd name="connsiteY1080" fmla="*/ 642242 h 2563305"/>
                  <a:gd name="connsiteX1081" fmla="*/ 162154 w 2081801"/>
                  <a:gd name="connsiteY1081" fmla="*/ 633745 h 2563305"/>
                  <a:gd name="connsiteX1082" fmla="*/ 159322 w 2081801"/>
                  <a:gd name="connsiteY1082" fmla="*/ 664902 h 2563305"/>
                  <a:gd name="connsiteX1083" fmla="*/ 164987 w 2081801"/>
                  <a:gd name="connsiteY1083" fmla="*/ 633745 h 2563305"/>
                  <a:gd name="connsiteX1084" fmla="*/ 180564 w 2081801"/>
                  <a:gd name="connsiteY1084" fmla="*/ 625248 h 2563305"/>
                  <a:gd name="connsiteX1085" fmla="*/ 225883 w 2081801"/>
                  <a:gd name="connsiteY1085" fmla="*/ 635161 h 2563305"/>
                  <a:gd name="connsiteX1086" fmla="*/ 176316 w 2081801"/>
                  <a:gd name="connsiteY1086" fmla="*/ 693225 h 2563305"/>
                  <a:gd name="connsiteX1087" fmla="*/ 159322 w 2081801"/>
                  <a:gd name="connsiteY1087" fmla="*/ 664902 h 2563305"/>
                  <a:gd name="connsiteX1088" fmla="*/ 163570 w 2081801"/>
                  <a:gd name="connsiteY1088" fmla="*/ 630913 h 2563305"/>
                  <a:gd name="connsiteX1089" fmla="*/ 146576 w 2081801"/>
                  <a:gd name="connsiteY1089" fmla="*/ 640826 h 2563305"/>
                  <a:gd name="connsiteX1090" fmla="*/ 129582 w 2081801"/>
                  <a:gd name="connsiteY1090" fmla="*/ 611086 h 2563305"/>
                  <a:gd name="connsiteX1091" fmla="*/ 164987 w 2081801"/>
                  <a:gd name="connsiteY1091" fmla="*/ 619584 h 2563305"/>
                  <a:gd name="connsiteX1092" fmla="*/ 163570 w 2081801"/>
                  <a:gd name="connsiteY1092" fmla="*/ 630913 h 2563305"/>
                  <a:gd name="connsiteX1093" fmla="*/ 177732 w 2081801"/>
                  <a:gd name="connsiteY1093" fmla="*/ 622416 h 2563305"/>
                  <a:gd name="connsiteX1094" fmla="*/ 166402 w 2081801"/>
                  <a:gd name="connsiteY1094" fmla="*/ 629497 h 2563305"/>
                  <a:gd name="connsiteX1095" fmla="*/ 167819 w 2081801"/>
                  <a:gd name="connsiteY1095" fmla="*/ 619584 h 2563305"/>
                  <a:gd name="connsiteX1096" fmla="*/ 177732 w 2081801"/>
                  <a:gd name="connsiteY1096" fmla="*/ 622416 h 2563305"/>
                  <a:gd name="connsiteX1097" fmla="*/ 145160 w 2081801"/>
                  <a:gd name="connsiteY1097" fmla="*/ 643659 h 2563305"/>
                  <a:gd name="connsiteX1098" fmla="*/ 156489 w 2081801"/>
                  <a:gd name="connsiteY1098" fmla="*/ 663485 h 2563305"/>
                  <a:gd name="connsiteX1099" fmla="*/ 145160 w 2081801"/>
                  <a:gd name="connsiteY1099" fmla="*/ 724382 h 2563305"/>
                  <a:gd name="connsiteX1100" fmla="*/ 82847 w 2081801"/>
                  <a:gd name="connsiteY1100" fmla="*/ 798023 h 2563305"/>
                  <a:gd name="connsiteX1101" fmla="*/ 82847 w 2081801"/>
                  <a:gd name="connsiteY1101" fmla="*/ 798023 h 2563305"/>
                  <a:gd name="connsiteX1102" fmla="*/ 129582 w 2081801"/>
                  <a:gd name="connsiteY1102" fmla="*/ 813602 h 2563305"/>
                  <a:gd name="connsiteX1103" fmla="*/ 82847 w 2081801"/>
                  <a:gd name="connsiteY1103" fmla="*/ 1071348 h 2563305"/>
                  <a:gd name="connsiteX1104" fmla="*/ 12038 w 2081801"/>
                  <a:gd name="connsiteY1104" fmla="*/ 986377 h 2563305"/>
                  <a:gd name="connsiteX1105" fmla="*/ 111171 w 2081801"/>
                  <a:gd name="connsiteY1105" fmla="*/ 662069 h 2563305"/>
                  <a:gd name="connsiteX1106" fmla="*/ 145160 w 2081801"/>
                  <a:gd name="connsiteY1106" fmla="*/ 643659 h 2563305"/>
                  <a:gd name="connsiteX1107" fmla="*/ 145160 w 2081801"/>
                  <a:gd name="connsiteY1107" fmla="*/ 730046 h 2563305"/>
                  <a:gd name="connsiteX1108" fmla="*/ 130998 w 2081801"/>
                  <a:gd name="connsiteY1108" fmla="*/ 812185 h 2563305"/>
                  <a:gd name="connsiteX1109" fmla="*/ 87096 w 2081801"/>
                  <a:gd name="connsiteY1109" fmla="*/ 798023 h 2563305"/>
                  <a:gd name="connsiteX1110" fmla="*/ 145160 w 2081801"/>
                  <a:gd name="connsiteY1110" fmla="*/ 730046 h 2563305"/>
                  <a:gd name="connsiteX1111" fmla="*/ 945308 w 2081801"/>
                  <a:gd name="connsiteY1111" fmla="*/ 1191725 h 2563305"/>
                  <a:gd name="connsiteX1112" fmla="*/ 960886 w 2081801"/>
                  <a:gd name="connsiteY1112" fmla="*/ 1191725 h 2563305"/>
                  <a:gd name="connsiteX1113" fmla="*/ 989210 w 2081801"/>
                  <a:gd name="connsiteY1113" fmla="*/ 1288025 h 2563305"/>
                  <a:gd name="connsiteX1114" fmla="*/ 959470 w 2081801"/>
                  <a:gd name="connsiteY1114" fmla="*/ 1333344 h 2563305"/>
                  <a:gd name="connsiteX1115" fmla="*/ 955221 w 2081801"/>
                  <a:gd name="connsiteY1115" fmla="*/ 1331927 h 2563305"/>
                  <a:gd name="connsiteX1116" fmla="*/ 945308 w 2081801"/>
                  <a:gd name="connsiteY1116" fmla="*/ 1320598 h 2563305"/>
                  <a:gd name="connsiteX1117" fmla="*/ 945308 w 2081801"/>
                  <a:gd name="connsiteY1117" fmla="*/ 1191725 h 2563305"/>
                  <a:gd name="connsiteX1118" fmla="*/ 1048690 w 2081801"/>
                  <a:gd name="connsiteY1118" fmla="*/ 1361667 h 2563305"/>
                  <a:gd name="connsiteX1119" fmla="*/ 1007621 w 2081801"/>
                  <a:gd name="connsiteY1119" fmla="*/ 1392824 h 2563305"/>
                  <a:gd name="connsiteX1120" fmla="*/ 1003372 w 2081801"/>
                  <a:gd name="connsiteY1120" fmla="*/ 1392824 h 2563305"/>
                  <a:gd name="connsiteX1121" fmla="*/ 980713 w 2081801"/>
                  <a:gd name="connsiteY1121" fmla="*/ 1365916 h 2563305"/>
                  <a:gd name="connsiteX1122" fmla="*/ 987794 w 2081801"/>
                  <a:gd name="connsiteY1122" fmla="*/ 1344673 h 2563305"/>
                  <a:gd name="connsiteX1123" fmla="*/ 1048690 w 2081801"/>
                  <a:gd name="connsiteY1123" fmla="*/ 1361667 h 2563305"/>
                  <a:gd name="connsiteX1124" fmla="*/ 1003372 w 2081801"/>
                  <a:gd name="connsiteY1124" fmla="*/ 1395656 h 2563305"/>
                  <a:gd name="connsiteX1125" fmla="*/ 1003372 w 2081801"/>
                  <a:gd name="connsiteY1125" fmla="*/ 1395656 h 2563305"/>
                  <a:gd name="connsiteX1126" fmla="*/ 1006204 w 2081801"/>
                  <a:gd name="connsiteY1126" fmla="*/ 1395656 h 2563305"/>
                  <a:gd name="connsiteX1127" fmla="*/ 959470 w 2081801"/>
                  <a:gd name="connsiteY1127" fmla="*/ 1432477 h 2563305"/>
                  <a:gd name="connsiteX1128" fmla="*/ 982129 w 2081801"/>
                  <a:gd name="connsiteY1128" fmla="*/ 1368748 h 2563305"/>
                  <a:gd name="connsiteX1129" fmla="*/ 1003372 w 2081801"/>
                  <a:gd name="connsiteY1129" fmla="*/ 1395656 h 2563305"/>
                  <a:gd name="connsiteX1130" fmla="*/ 1333345 w 2081801"/>
                  <a:gd name="connsiteY1130" fmla="*/ 1884242 h 2563305"/>
                  <a:gd name="connsiteX1131" fmla="*/ 1322015 w 2081801"/>
                  <a:gd name="connsiteY1131" fmla="*/ 1851670 h 2563305"/>
                  <a:gd name="connsiteX1132" fmla="*/ 1401322 w 2081801"/>
                  <a:gd name="connsiteY1132" fmla="*/ 1725629 h 2563305"/>
                  <a:gd name="connsiteX1133" fmla="*/ 1443807 w 2081801"/>
                  <a:gd name="connsiteY1133" fmla="*/ 1701553 h 2563305"/>
                  <a:gd name="connsiteX1134" fmla="*/ 1472131 w 2081801"/>
                  <a:gd name="connsiteY1134" fmla="*/ 1803519 h 2563305"/>
                  <a:gd name="connsiteX1135" fmla="*/ 1333345 w 2081801"/>
                  <a:gd name="connsiteY1135" fmla="*/ 1884242 h 2563305"/>
                  <a:gd name="connsiteX1136" fmla="*/ 1402738 w 2081801"/>
                  <a:gd name="connsiteY1136" fmla="*/ 1721380 h 2563305"/>
                  <a:gd name="connsiteX1137" fmla="*/ 1433894 w 2081801"/>
                  <a:gd name="connsiteY1137" fmla="*/ 1670397 h 2563305"/>
                  <a:gd name="connsiteX1138" fmla="*/ 1442391 w 2081801"/>
                  <a:gd name="connsiteY1138" fmla="*/ 1698721 h 2563305"/>
                  <a:gd name="connsiteX1139" fmla="*/ 1402738 w 2081801"/>
                  <a:gd name="connsiteY1139" fmla="*/ 1721380 h 2563305"/>
                  <a:gd name="connsiteX1140" fmla="*/ 1499039 w 2081801"/>
                  <a:gd name="connsiteY1140" fmla="*/ 1490541 h 2563305"/>
                  <a:gd name="connsiteX1141" fmla="*/ 1452305 w 2081801"/>
                  <a:gd name="connsiteY1141" fmla="*/ 1476379 h 2563305"/>
                  <a:gd name="connsiteX1142" fmla="*/ 1472131 w 2081801"/>
                  <a:gd name="connsiteY1142" fmla="*/ 1455136 h 2563305"/>
                  <a:gd name="connsiteX1143" fmla="*/ 1472131 w 2081801"/>
                  <a:gd name="connsiteY1143" fmla="*/ 1455136 h 2563305"/>
                  <a:gd name="connsiteX1144" fmla="*/ 1297940 w 2081801"/>
                  <a:gd name="connsiteY1144" fmla="*/ 1432477 h 2563305"/>
                  <a:gd name="connsiteX1145" fmla="*/ 1245541 w 2081801"/>
                  <a:gd name="connsiteY1145" fmla="*/ 1416899 h 2563305"/>
                  <a:gd name="connsiteX1146" fmla="*/ 1246957 w 2081801"/>
                  <a:gd name="connsiteY1146" fmla="*/ 1401321 h 2563305"/>
                  <a:gd name="connsiteX1147" fmla="*/ 1350339 w 2081801"/>
                  <a:gd name="connsiteY1147" fmla="*/ 1286609 h 2563305"/>
                  <a:gd name="connsiteX1148" fmla="*/ 1364501 w 2081801"/>
                  <a:gd name="connsiteY1148" fmla="*/ 1293690 h 2563305"/>
                  <a:gd name="connsiteX1149" fmla="*/ 1316350 w 2081801"/>
                  <a:gd name="connsiteY1149" fmla="*/ 1431061 h 2563305"/>
                  <a:gd name="connsiteX1150" fmla="*/ 1316350 w 2081801"/>
                  <a:gd name="connsiteY1150" fmla="*/ 1432477 h 2563305"/>
                  <a:gd name="connsiteX1151" fmla="*/ 1421148 w 2081801"/>
                  <a:gd name="connsiteY1151" fmla="*/ 1346089 h 2563305"/>
                  <a:gd name="connsiteX1152" fmla="*/ 1507536 w 2081801"/>
                  <a:gd name="connsiteY1152" fmla="*/ 1453720 h 2563305"/>
                  <a:gd name="connsiteX1153" fmla="*/ 1507536 w 2081801"/>
                  <a:gd name="connsiteY1153" fmla="*/ 1453720 h 2563305"/>
                  <a:gd name="connsiteX1154" fmla="*/ 1659069 w 2081801"/>
                  <a:gd name="connsiteY1154" fmla="*/ 1346089 h 2563305"/>
                  <a:gd name="connsiteX1155" fmla="*/ 1657652 w 2081801"/>
                  <a:gd name="connsiteY1155" fmla="*/ 1358835 h 2563305"/>
                  <a:gd name="connsiteX1156" fmla="*/ 1499039 w 2081801"/>
                  <a:gd name="connsiteY1156" fmla="*/ 1490541 h 2563305"/>
                  <a:gd name="connsiteX1157" fmla="*/ 1660484 w 2081801"/>
                  <a:gd name="connsiteY1157" fmla="*/ 1341841 h 2563305"/>
                  <a:gd name="connsiteX1158" fmla="*/ 1508952 w 2081801"/>
                  <a:gd name="connsiteY1158" fmla="*/ 1449471 h 2563305"/>
                  <a:gd name="connsiteX1159" fmla="*/ 1423981 w 2081801"/>
                  <a:gd name="connsiteY1159" fmla="*/ 1343257 h 2563305"/>
                  <a:gd name="connsiteX1160" fmla="*/ 1591091 w 2081801"/>
                  <a:gd name="connsiteY1160" fmla="*/ 1204470 h 2563305"/>
                  <a:gd name="connsiteX1161" fmla="*/ 1591091 w 2081801"/>
                  <a:gd name="connsiteY1161" fmla="*/ 1204470 h 2563305"/>
                  <a:gd name="connsiteX1162" fmla="*/ 1453721 w 2081801"/>
                  <a:gd name="connsiteY1162" fmla="*/ 1177563 h 2563305"/>
                  <a:gd name="connsiteX1163" fmla="*/ 1606669 w 2081801"/>
                  <a:gd name="connsiteY1163" fmla="*/ 1122331 h 2563305"/>
                  <a:gd name="connsiteX1164" fmla="*/ 1688808 w 2081801"/>
                  <a:gd name="connsiteY1164" fmla="*/ 1115250 h 2563305"/>
                  <a:gd name="connsiteX1165" fmla="*/ 1678895 w 2081801"/>
                  <a:gd name="connsiteY1165" fmla="*/ 1176146 h 2563305"/>
                  <a:gd name="connsiteX1166" fmla="*/ 1660484 w 2081801"/>
                  <a:gd name="connsiteY1166" fmla="*/ 1341841 h 2563305"/>
                  <a:gd name="connsiteX1167" fmla="*/ 1542941 w 2081801"/>
                  <a:gd name="connsiteY1167" fmla="*/ 764035 h 2563305"/>
                  <a:gd name="connsiteX1168" fmla="*/ 1579762 w 2081801"/>
                  <a:gd name="connsiteY1168" fmla="*/ 721549 h 2563305"/>
                  <a:gd name="connsiteX1169" fmla="*/ 1684560 w 2081801"/>
                  <a:gd name="connsiteY1169" fmla="*/ 708803 h 2563305"/>
                  <a:gd name="connsiteX1170" fmla="*/ 1562767 w 2081801"/>
                  <a:gd name="connsiteY1170" fmla="*/ 834844 h 2563305"/>
                  <a:gd name="connsiteX1171" fmla="*/ 1542941 w 2081801"/>
                  <a:gd name="connsiteY1171" fmla="*/ 764035 h 2563305"/>
                  <a:gd name="connsiteX1172" fmla="*/ 1354587 w 2081801"/>
                  <a:gd name="connsiteY1172" fmla="*/ 745624 h 2563305"/>
                  <a:gd name="connsiteX1173" fmla="*/ 1404154 w 2081801"/>
                  <a:gd name="connsiteY1173" fmla="*/ 670566 h 2563305"/>
                  <a:gd name="connsiteX1174" fmla="*/ 1644907 w 2081801"/>
                  <a:gd name="connsiteY1174" fmla="*/ 645075 h 2563305"/>
                  <a:gd name="connsiteX1175" fmla="*/ 1578346 w 2081801"/>
                  <a:gd name="connsiteY1175" fmla="*/ 720133 h 2563305"/>
                  <a:gd name="connsiteX1176" fmla="*/ 1354587 w 2081801"/>
                  <a:gd name="connsiteY1176" fmla="*/ 745624 h 2563305"/>
                  <a:gd name="connsiteX1177" fmla="*/ 1402738 w 2081801"/>
                  <a:gd name="connsiteY1177" fmla="*/ 669150 h 2563305"/>
                  <a:gd name="connsiteX1178" fmla="*/ 1326264 w 2081801"/>
                  <a:gd name="connsiteY1178" fmla="*/ 677647 h 2563305"/>
                  <a:gd name="connsiteX1179" fmla="*/ 1299356 w 2081801"/>
                  <a:gd name="connsiteY1179" fmla="*/ 654988 h 2563305"/>
                  <a:gd name="connsiteX1180" fmla="*/ 1300772 w 2081801"/>
                  <a:gd name="connsiteY1180" fmla="*/ 601173 h 2563305"/>
                  <a:gd name="connsiteX1181" fmla="*/ 1348922 w 2081801"/>
                  <a:gd name="connsiteY1181" fmla="*/ 604005 h 2563305"/>
                  <a:gd name="connsiteX1182" fmla="*/ 1348922 w 2081801"/>
                  <a:gd name="connsiteY1182" fmla="*/ 604005 h 2563305"/>
                  <a:gd name="connsiteX1183" fmla="*/ 1392824 w 2081801"/>
                  <a:gd name="connsiteY1183" fmla="*/ 465219 h 2563305"/>
                  <a:gd name="connsiteX1184" fmla="*/ 1446640 w 2081801"/>
                  <a:gd name="connsiteY1184" fmla="*/ 476548 h 2563305"/>
                  <a:gd name="connsiteX1185" fmla="*/ 1432478 w 2081801"/>
                  <a:gd name="connsiteY1185" fmla="*/ 623832 h 2563305"/>
                  <a:gd name="connsiteX1186" fmla="*/ 1402738 w 2081801"/>
                  <a:gd name="connsiteY1186" fmla="*/ 669150 h 2563305"/>
                  <a:gd name="connsiteX1187" fmla="*/ 1348922 w 2081801"/>
                  <a:gd name="connsiteY1187" fmla="*/ 601173 h 2563305"/>
                  <a:gd name="connsiteX1188" fmla="*/ 1302188 w 2081801"/>
                  <a:gd name="connsiteY1188" fmla="*/ 598341 h 2563305"/>
                  <a:gd name="connsiteX1189" fmla="*/ 1303604 w 2081801"/>
                  <a:gd name="connsiteY1189" fmla="*/ 531780 h 2563305"/>
                  <a:gd name="connsiteX1190" fmla="*/ 1347507 w 2081801"/>
                  <a:gd name="connsiteY1190" fmla="*/ 511953 h 2563305"/>
                  <a:gd name="connsiteX1191" fmla="*/ 1347507 w 2081801"/>
                  <a:gd name="connsiteY1191" fmla="*/ 511953 h 2563305"/>
                  <a:gd name="connsiteX1192" fmla="*/ 1340426 w 2081801"/>
                  <a:gd name="connsiteY1192" fmla="*/ 452473 h 2563305"/>
                  <a:gd name="connsiteX1193" fmla="*/ 1392824 w 2081801"/>
                  <a:gd name="connsiteY1193" fmla="*/ 463803 h 2563305"/>
                  <a:gd name="connsiteX1194" fmla="*/ 1348922 w 2081801"/>
                  <a:gd name="connsiteY1194" fmla="*/ 601173 h 2563305"/>
                  <a:gd name="connsiteX1195" fmla="*/ 1300772 w 2081801"/>
                  <a:gd name="connsiteY1195" fmla="*/ 530363 h 2563305"/>
                  <a:gd name="connsiteX1196" fmla="*/ 1204471 w 2081801"/>
                  <a:gd name="connsiteY1196" fmla="*/ 574265 h 2563305"/>
                  <a:gd name="connsiteX1197" fmla="*/ 1159153 w 2081801"/>
                  <a:gd name="connsiteY1197" fmla="*/ 536028 h 2563305"/>
                  <a:gd name="connsiteX1198" fmla="*/ 1186060 w 2081801"/>
                  <a:gd name="connsiteY1198" fmla="*/ 418484 h 2563305"/>
                  <a:gd name="connsiteX1199" fmla="*/ 1303604 w 2081801"/>
                  <a:gd name="connsiteY1199" fmla="*/ 443976 h 2563305"/>
                  <a:gd name="connsiteX1200" fmla="*/ 1300772 w 2081801"/>
                  <a:gd name="connsiteY1200" fmla="*/ 530363 h 2563305"/>
                  <a:gd name="connsiteX1201" fmla="*/ 881579 w 2081801"/>
                  <a:gd name="connsiteY1201" fmla="*/ 350507 h 2563305"/>
                  <a:gd name="connsiteX1202" fmla="*/ 744209 w 2081801"/>
                  <a:gd name="connsiteY1202" fmla="*/ 320767 h 2563305"/>
                  <a:gd name="connsiteX1203" fmla="*/ 645075 w 2081801"/>
                  <a:gd name="connsiteY1203" fmla="*/ 225882 h 2563305"/>
                  <a:gd name="connsiteX1204" fmla="*/ 959470 w 2081801"/>
                  <a:gd name="connsiteY1204" fmla="*/ 262703 h 2563305"/>
                  <a:gd name="connsiteX1205" fmla="*/ 1017534 w 2081801"/>
                  <a:gd name="connsiteY1205" fmla="*/ 281114 h 2563305"/>
                  <a:gd name="connsiteX1206" fmla="*/ 881579 w 2081801"/>
                  <a:gd name="connsiteY1206" fmla="*/ 350507 h 2563305"/>
                  <a:gd name="connsiteX1207" fmla="*/ 773949 w 2081801"/>
                  <a:gd name="connsiteY1207" fmla="*/ 201807 h 2563305"/>
                  <a:gd name="connsiteX1208" fmla="*/ 623833 w 2081801"/>
                  <a:gd name="connsiteY1208" fmla="*/ 203223 h 2563305"/>
                  <a:gd name="connsiteX1209" fmla="*/ 604006 w 2081801"/>
                  <a:gd name="connsiteY1209" fmla="*/ 183397 h 2563305"/>
                  <a:gd name="connsiteX1210" fmla="*/ 639411 w 2081801"/>
                  <a:gd name="connsiteY1210" fmla="*/ 157905 h 2563305"/>
                  <a:gd name="connsiteX1211" fmla="*/ 773949 w 2081801"/>
                  <a:gd name="connsiteY1211" fmla="*/ 201807 h 2563305"/>
                  <a:gd name="connsiteX1212" fmla="*/ 622416 w 2081801"/>
                  <a:gd name="connsiteY1212" fmla="*/ 206056 h 2563305"/>
                  <a:gd name="connsiteX1213" fmla="*/ 639411 w 2081801"/>
                  <a:gd name="connsiteY1213" fmla="*/ 223050 h 2563305"/>
                  <a:gd name="connsiteX1214" fmla="*/ 564352 w 2081801"/>
                  <a:gd name="connsiteY1214" fmla="*/ 214553 h 2563305"/>
                  <a:gd name="connsiteX1215" fmla="*/ 574266 w 2081801"/>
                  <a:gd name="connsiteY1215" fmla="*/ 207472 h 2563305"/>
                  <a:gd name="connsiteX1216" fmla="*/ 622416 w 2081801"/>
                  <a:gd name="connsiteY1216" fmla="*/ 206056 h 2563305"/>
                  <a:gd name="connsiteX1217" fmla="*/ 449641 w 2081801"/>
                  <a:gd name="connsiteY1217" fmla="*/ 533196 h 2563305"/>
                  <a:gd name="connsiteX1218" fmla="*/ 507705 w 2081801"/>
                  <a:gd name="connsiteY1218" fmla="*/ 659237 h 2563305"/>
                  <a:gd name="connsiteX1219" fmla="*/ 490711 w 2081801"/>
                  <a:gd name="connsiteY1219" fmla="*/ 664902 h 2563305"/>
                  <a:gd name="connsiteX1220" fmla="*/ 490711 w 2081801"/>
                  <a:gd name="connsiteY1220" fmla="*/ 664902 h 2563305"/>
                  <a:gd name="connsiteX1221" fmla="*/ 514786 w 2081801"/>
                  <a:gd name="connsiteY1221" fmla="*/ 697474 h 2563305"/>
                  <a:gd name="connsiteX1222" fmla="*/ 313687 w 2081801"/>
                  <a:gd name="connsiteY1222" fmla="*/ 652156 h 2563305"/>
                  <a:gd name="connsiteX1223" fmla="*/ 383080 w 2081801"/>
                  <a:gd name="connsiteY1223" fmla="*/ 507704 h 2563305"/>
                  <a:gd name="connsiteX1224" fmla="*/ 449641 w 2081801"/>
                  <a:gd name="connsiteY1224" fmla="*/ 533196 h 2563305"/>
                  <a:gd name="connsiteX1225" fmla="*/ 448225 w 2081801"/>
                  <a:gd name="connsiteY1225" fmla="*/ 885827 h 2563305"/>
                  <a:gd name="connsiteX1226" fmla="*/ 308022 w 2081801"/>
                  <a:gd name="connsiteY1226" fmla="*/ 663485 h 2563305"/>
                  <a:gd name="connsiteX1227" fmla="*/ 312270 w 2081801"/>
                  <a:gd name="connsiteY1227" fmla="*/ 653572 h 2563305"/>
                  <a:gd name="connsiteX1228" fmla="*/ 516202 w 2081801"/>
                  <a:gd name="connsiteY1228" fmla="*/ 698890 h 2563305"/>
                  <a:gd name="connsiteX1229" fmla="*/ 540277 w 2081801"/>
                  <a:gd name="connsiteY1229" fmla="*/ 731462 h 2563305"/>
                  <a:gd name="connsiteX1230" fmla="*/ 599757 w 2081801"/>
                  <a:gd name="connsiteY1230" fmla="*/ 860336 h 2563305"/>
                  <a:gd name="connsiteX1231" fmla="*/ 448225 w 2081801"/>
                  <a:gd name="connsiteY1231" fmla="*/ 885827 h 2563305"/>
                  <a:gd name="connsiteX1232" fmla="*/ 221634 w 2081801"/>
                  <a:gd name="connsiteY1232" fmla="*/ 841925 h 2563305"/>
                  <a:gd name="connsiteX1233" fmla="*/ 248542 w 2081801"/>
                  <a:gd name="connsiteY1233" fmla="*/ 785278 h 2563305"/>
                  <a:gd name="connsiteX1234" fmla="*/ 428398 w 2081801"/>
                  <a:gd name="connsiteY1234" fmla="*/ 911319 h 2563305"/>
                  <a:gd name="connsiteX1235" fmla="*/ 221634 w 2081801"/>
                  <a:gd name="connsiteY1235" fmla="*/ 841925 h 2563305"/>
                  <a:gd name="connsiteX1236" fmla="*/ 248542 w 2081801"/>
                  <a:gd name="connsiteY1236" fmla="*/ 782445 h 2563305"/>
                  <a:gd name="connsiteX1237" fmla="*/ 213137 w 2081801"/>
                  <a:gd name="connsiteY1237" fmla="*/ 756954 h 2563305"/>
                  <a:gd name="connsiteX1238" fmla="*/ 176316 w 2081801"/>
                  <a:gd name="connsiteY1238" fmla="*/ 693225 h 2563305"/>
                  <a:gd name="connsiteX1239" fmla="*/ 227299 w 2081801"/>
                  <a:gd name="connsiteY1239" fmla="*/ 633745 h 2563305"/>
                  <a:gd name="connsiteX1240" fmla="*/ 298109 w 2081801"/>
                  <a:gd name="connsiteY1240" fmla="*/ 649323 h 2563305"/>
                  <a:gd name="connsiteX1241" fmla="*/ 306606 w 2081801"/>
                  <a:gd name="connsiteY1241" fmla="*/ 662069 h 2563305"/>
                  <a:gd name="connsiteX1242" fmla="*/ 248542 w 2081801"/>
                  <a:gd name="connsiteY1242" fmla="*/ 782445 h 2563305"/>
                  <a:gd name="connsiteX1243" fmla="*/ 190478 w 2081801"/>
                  <a:gd name="connsiteY1243" fmla="*/ 479380 h 2563305"/>
                  <a:gd name="connsiteX1244" fmla="*/ 166402 w 2081801"/>
                  <a:gd name="connsiteY1244" fmla="*/ 618167 h 2563305"/>
                  <a:gd name="connsiteX1245" fmla="*/ 129582 w 2081801"/>
                  <a:gd name="connsiteY1245" fmla="*/ 609670 h 2563305"/>
                  <a:gd name="connsiteX1246" fmla="*/ 159322 w 2081801"/>
                  <a:gd name="connsiteY1246" fmla="*/ 514785 h 2563305"/>
                  <a:gd name="connsiteX1247" fmla="*/ 184813 w 2081801"/>
                  <a:gd name="connsiteY1247" fmla="*/ 469467 h 2563305"/>
                  <a:gd name="connsiteX1248" fmla="*/ 190478 w 2081801"/>
                  <a:gd name="connsiteY1248" fmla="*/ 479380 h 2563305"/>
                  <a:gd name="connsiteX1249" fmla="*/ 132414 w 2081801"/>
                  <a:gd name="connsiteY1249" fmla="*/ 815018 h 2563305"/>
                  <a:gd name="connsiteX1250" fmla="*/ 218802 w 2081801"/>
                  <a:gd name="connsiteY1250" fmla="*/ 843341 h 2563305"/>
                  <a:gd name="connsiteX1251" fmla="*/ 163570 w 2081801"/>
                  <a:gd name="connsiteY1251" fmla="*/ 958053 h 2563305"/>
                  <a:gd name="connsiteX1252" fmla="*/ 163570 w 2081801"/>
                  <a:gd name="connsiteY1252" fmla="*/ 958053 h 2563305"/>
                  <a:gd name="connsiteX1253" fmla="*/ 459554 w 2081801"/>
                  <a:gd name="connsiteY1253" fmla="*/ 931145 h 2563305"/>
                  <a:gd name="connsiteX1254" fmla="*/ 690393 w 2081801"/>
                  <a:gd name="connsiteY1254" fmla="*/ 1092591 h 2563305"/>
                  <a:gd name="connsiteX1255" fmla="*/ 705972 w 2081801"/>
                  <a:gd name="connsiteY1255" fmla="*/ 1094007 h 2563305"/>
                  <a:gd name="connsiteX1256" fmla="*/ 742793 w 2081801"/>
                  <a:gd name="connsiteY1256" fmla="*/ 1176146 h 2563305"/>
                  <a:gd name="connsiteX1257" fmla="*/ 564352 w 2081801"/>
                  <a:gd name="connsiteY1257" fmla="*/ 1133661 h 2563305"/>
                  <a:gd name="connsiteX1258" fmla="*/ 452473 w 2081801"/>
                  <a:gd name="connsiteY1258" fmla="*/ 1010452 h 2563305"/>
                  <a:gd name="connsiteX1259" fmla="*/ 452473 w 2081801"/>
                  <a:gd name="connsiteY1259" fmla="*/ 1010452 h 2563305"/>
                  <a:gd name="connsiteX1260" fmla="*/ 418485 w 2081801"/>
                  <a:gd name="connsiteY1260" fmla="*/ 1098256 h 2563305"/>
                  <a:gd name="connsiteX1261" fmla="*/ 320768 w 2081801"/>
                  <a:gd name="connsiteY1261" fmla="*/ 1075597 h 2563305"/>
                  <a:gd name="connsiteX1262" fmla="*/ 320768 w 2081801"/>
                  <a:gd name="connsiteY1262" fmla="*/ 1075597 h 2563305"/>
                  <a:gd name="connsiteX1263" fmla="*/ 300941 w 2081801"/>
                  <a:gd name="connsiteY1263" fmla="*/ 1149239 h 2563305"/>
                  <a:gd name="connsiteX1264" fmla="*/ 95593 w 2081801"/>
                  <a:gd name="connsiteY1264" fmla="*/ 1086927 h 2563305"/>
                  <a:gd name="connsiteX1265" fmla="*/ 84264 w 2081801"/>
                  <a:gd name="connsiteY1265" fmla="*/ 1074181 h 2563305"/>
                  <a:gd name="connsiteX1266" fmla="*/ 132414 w 2081801"/>
                  <a:gd name="connsiteY1266" fmla="*/ 815018 h 2563305"/>
                  <a:gd name="connsiteX1267" fmla="*/ 747041 w 2081801"/>
                  <a:gd name="connsiteY1267" fmla="*/ 1178979 h 2563305"/>
                  <a:gd name="connsiteX1268" fmla="*/ 747041 w 2081801"/>
                  <a:gd name="connsiteY1268" fmla="*/ 1178979 h 2563305"/>
                  <a:gd name="connsiteX1269" fmla="*/ 708804 w 2081801"/>
                  <a:gd name="connsiteY1269" fmla="*/ 1094007 h 2563305"/>
                  <a:gd name="connsiteX1270" fmla="*/ 943892 w 2081801"/>
                  <a:gd name="connsiteY1270" fmla="*/ 1109585 h 2563305"/>
                  <a:gd name="connsiteX1271" fmla="*/ 943892 w 2081801"/>
                  <a:gd name="connsiteY1271" fmla="*/ 1188892 h 2563305"/>
                  <a:gd name="connsiteX1272" fmla="*/ 833429 w 2081801"/>
                  <a:gd name="connsiteY1272" fmla="*/ 1186060 h 2563305"/>
                  <a:gd name="connsiteX1273" fmla="*/ 833429 w 2081801"/>
                  <a:gd name="connsiteY1273" fmla="*/ 1186060 h 2563305"/>
                  <a:gd name="connsiteX1274" fmla="*/ 943892 w 2081801"/>
                  <a:gd name="connsiteY1274" fmla="*/ 1320598 h 2563305"/>
                  <a:gd name="connsiteX1275" fmla="*/ 943892 w 2081801"/>
                  <a:gd name="connsiteY1275" fmla="*/ 1327679 h 2563305"/>
                  <a:gd name="connsiteX1276" fmla="*/ 673399 w 2081801"/>
                  <a:gd name="connsiteY1276" fmla="*/ 1248372 h 2563305"/>
                  <a:gd name="connsiteX1277" fmla="*/ 570017 w 2081801"/>
                  <a:gd name="connsiteY1277" fmla="*/ 1135077 h 2563305"/>
                  <a:gd name="connsiteX1278" fmla="*/ 747041 w 2081801"/>
                  <a:gd name="connsiteY1278" fmla="*/ 1178979 h 2563305"/>
                  <a:gd name="connsiteX1279" fmla="*/ 837678 w 2081801"/>
                  <a:gd name="connsiteY1279" fmla="*/ 1190308 h 2563305"/>
                  <a:gd name="connsiteX1280" fmla="*/ 943892 w 2081801"/>
                  <a:gd name="connsiteY1280" fmla="*/ 1193141 h 2563305"/>
                  <a:gd name="connsiteX1281" fmla="*/ 943892 w 2081801"/>
                  <a:gd name="connsiteY1281" fmla="*/ 1319182 h 2563305"/>
                  <a:gd name="connsiteX1282" fmla="*/ 837678 w 2081801"/>
                  <a:gd name="connsiteY1282" fmla="*/ 1190308 h 2563305"/>
                  <a:gd name="connsiteX1283" fmla="*/ 953805 w 2081801"/>
                  <a:gd name="connsiteY1283" fmla="*/ 1334760 h 2563305"/>
                  <a:gd name="connsiteX1284" fmla="*/ 956638 w 2081801"/>
                  <a:gd name="connsiteY1284" fmla="*/ 1339008 h 2563305"/>
                  <a:gd name="connsiteX1285" fmla="*/ 945308 w 2081801"/>
                  <a:gd name="connsiteY1285" fmla="*/ 1356003 h 2563305"/>
                  <a:gd name="connsiteX1286" fmla="*/ 945308 w 2081801"/>
                  <a:gd name="connsiteY1286" fmla="*/ 1331927 h 2563305"/>
                  <a:gd name="connsiteX1287" fmla="*/ 953805 w 2081801"/>
                  <a:gd name="connsiteY1287" fmla="*/ 1334760 h 2563305"/>
                  <a:gd name="connsiteX1288" fmla="*/ 1009036 w 2081801"/>
                  <a:gd name="connsiteY1288" fmla="*/ 1395656 h 2563305"/>
                  <a:gd name="connsiteX1289" fmla="*/ 1161985 w 2081801"/>
                  <a:gd name="connsiteY1289" fmla="*/ 1415483 h 2563305"/>
                  <a:gd name="connsiteX1290" fmla="*/ 1181812 w 2081801"/>
                  <a:gd name="connsiteY1290" fmla="*/ 1470714 h 2563305"/>
                  <a:gd name="connsiteX1291" fmla="*/ 1111002 w 2081801"/>
                  <a:gd name="connsiteY1291" fmla="*/ 1548605 h 2563305"/>
                  <a:gd name="connsiteX1292" fmla="*/ 926897 w 2081801"/>
                  <a:gd name="connsiteY1292" fmla="*/ 1523113 h 2563305"/>
                  <a:gd name="connsiteX1293" fmla="*/ 958054 w 2081801"/>
                  <a:gd name="connsiteY1293" fmla="*/ 1435310 h 2563305"/>
                  <a:gd name="connsiteX1294" fmla="*/ 1009036 w 2081801"/>
                  <a:gd name="connsiteY1294" fmla="*/ 1395656 h 2563305"/>
                  <a:gd name="connsiteX1295" fmla="*/ 926897 w 2081801"/>
                  <a:gd name="connsiteY1295" fmla="*/ 1525946 h 2563305"/>
                  <a:gd name="connsiteX1296" fmla="*/ 1109586 w 2081801"/>
                  <a:gd name="connsiteY1296" fmla="*/ 1551437 h 2563305"/>
                  <a:gd name="connsiteX1297" fmla="*/ 994874 w 2081801"/>
                  <a:gd name="connsiteY1297" fmla="*/ 1678894 h 2563305"/>
                  <a:gd name="connsiteX1298" fmla="*/ 994874 w 2081801"/>
                  <a:gd name="connsiteY1298" fmla="*/ 1678894 h 2563305"/>
                  <a:gd name="connsiteX1299" fmla="*/ 1038776 w 2081801"/>
                  <a:gd name="connsiteY1299" fmla="*/ 1676062 h 2563305"/>
                  <a:gd name="connsiteX1300" fmla="*/ 973632 w 2081801"/>
                  <a:gd name="connsiteY1300" fmla="*/ 1701553 h 2563305"/>
                  <a:gd name="connsiteX1301" fmla="*/ 973632 w 2081801"/>
                  <a:gd name="connsiteY1301" fmla="*/ 1701553 h 2563305"/>
                  <a:gd name="connsiteX1302" fmla="*/ 979297 w 2081801"/>
                  <a:gd name="connsiteY1302" fmla="*/ 1751120 h 2563305"/>
                  <a:gd name="connsiteX1303" fmla="*/ 857504 w 2081801"/>
                  <a:gd name="connsiteY1303" fmla="*/ 1731293 h 2563305"/>
                  <a:gd name="connsiteX1304" fmla="*/ 926897 w 2081801"/>
                  <a:gd name="connsiteY1304" fmla="*/ 1525946 h 2563305"/>
                  <a:gd name="connsiteX1305" fmla="*/ 1483461 w 2081801"/>
                  <a:gd name="connsiteY1305" fmla="*/ 1898404 h 2563305"/>
                  <a:gd name="connsiteX1306" fmla="*/ 1283778 w 2081801"/>
                  <a:gd name="connsiteY1306" fmla="*/ 1912566 h 2563305"/>
                  <a:gd name="connsiteX1307" fmla="*/ 1320599 w 2081801"/>
                  <a:gd name="connsiteY1307" fmla="*/ 1853086 h 2563305"/>
                  <a:gd name="connsiteX1308" fmla="*/ 1333345 w 2081801"/>
                  <a:gd name="connsiteY1308" fmla="*/ 1887074 h 2563305"/>
                  <a:gd name="connsiteX1309" fmla="*/ 1333345 w 2081801"/>
                  <a:gd name="connsiteY1309" fmla="*/ 1887074 h 2563305"/>
                  <a:gd name="connsiteX1310" fmla="*/ 1472131 w 2081801"/>
                  <a:gd name="connsiteY1310" fmla="*/ 1804935 h 2563305"/>
                  <a:gd name="connsiteX1311" fmla="*/ 1496207 w 2081801"/>
                  <a:gd name="connsiteY1311" fmla="*/ 1888491 h 2563305"/>
                  <a:gd name="connsiteX1312" fmla="*/ 1483461 w 2081801"/>
                  <a:gd name="connsiteY1312" fmla="*/ 1898404 h 2563305"/>
                  <a:gd name="connsiteX1313" fmla="*/ 1443807 w 2081801"/>
                  <a:gd name="connsiteY1313" fmla="*/ 1697305 h 2563305"/>
                  <a:gd name="connsiteX1314" fmla="*/ 1435310 w 2081801"/>
                  <a:gd name="connsiteY1314" fmla="*/ 1666148 h 2563305"/>
                  <a:gd name="connsiteX1315" fmla="*/ 1435310 w 2081801"/>
                  <a:gd name="connsiteY1315" fmla="*/ 1666148 h 2563305"/>
                  <a:gd name="connsiteX1316" fmla="*/ 1399905 w 2081801"/>
                  <a:gd name="connsiteY1316" fmla="*/ 1724212 h 2563305"/>
                  <a:gd name="connsiteX1317" fmla="*/ 1392824 w 2081801"/>
                  <a:gd name="connsiteY1317" fmla="*/ 1728461 h 2563305"/>
                  <a:gd name="connsiteX1318" fmla="*/ 1283778 w 2081801"/>
                  <a:gd name="connsiteY1318" fmla="*/ 1742623 h 2563305"/>
                  <a:gd name="connsiteX1319" fmla="*/ 1254038 w 2081801"/>
                  <a:gd name="connsiteY1319" fmla="*/ 1661900 h 2563305"/>
                  <a:gd name="connsiteX1320" fmla="*/ 1278113 w 2081801"/>
                  <a:gd name="connsiteY1320" fmla="*/ 1660484 h 2563305"/>
                  <a:gd name="connsiteX1321" fmla="*/ 1278113 w 2081801"/>
                  <a:gd name="connsiteY1321" fmla="*/ 1660484 h 2563305"/>
                  <a:gd name="connsiteX1322" fmla="*/ 1351755 w 2081801"/>
                  <a:gd name="connsiteY1322" fmla="*/ 1584010 h 2563305"/>
                  <a:gd name="connsiteX1323" fmla="*/ 1387160 w 2081801"/>
                  <a:gd name="connsiteY1323" fmla="*/ 1588258 h 2563305"/>
                  <a:gd name="connsiteX1324" fmla="*/ 1387160 w 2081801"/>
                  <a:gd name="connsiteY1324" fmla="*/ 1588258 h 2563305"/>
                  <a:gd name="connsiteX1325" fmla="*/ 1482045 w 2081801"/>
                  <a:gd name="connsiteY1325" fmla="*/ 1508951 h 2563305"/>
                  <a:gd name="connsiteX1326" fmla="*/ 1514617 w 2081801"/>
                  <a:gd name="connsiteY1326" fmla="*/ 1496206 h 2563305"/>
                  <a:gd name="connsiteX1327" fmla="*/ 1643490 w 2081801"/>
                  <a:gd name="connsiteY1327" fmla="*/ 1533027 h 2563305"/>
                  <a:gd name="connsiteX1328" fmla="*/ 1637826 w 2081801"/>
                  <a:gd name="connsiteY1328" fmla="*/ 1586842 h 2563305"/>
                  <a:gd name="connsiteX1329" fmla="*/ 1443807 w 2081801"/>
                  <a:gd name="connsiteY1329" fmla="*/ 1697305 h 2563305"/>
                  <a:gd name="connsiteX1330" fmla="*/ 1755369 w 2081801"/>
                  <a:gd name="connsiteY1330" fmla="*/ 1276696 h 2563305"/>
                  <a:gd name="connsiteX1331" fmla="*/ 1661901 w 2081801"/>
                  <a:gd name="connsiteY1331" fmla="*/ 1354586 h 2563305"/>
                  <a:gd name="connsiteX1332" fmla="*/ 1663317 w 2081801"/>
                  <a:gd name="connsiteY1332" fmla="*/ 1341841 h 2563305"/>
                  <a:gd name="connsiteX1333" fmla="*/ 1755369 w 2081801"/>
                  <a:gd name="connsiteY1333" fmla="*/ 1276696 h 2563305"/>
                  <a:gd name="connsiteX1334" fmla="*/ 970799 w 2081801"/>
                  <a:gd name="connsiteY1334" fmla="*/ 264120 h 2563305"/>
                  <a:gd name="connsiteX1335" fmla="*/ 1038776 w 2081801"/>
                  <a:gd name="connsiteY1335" fmla="*/ 272617 h 2563305"/>
                  <a:gd name="connsiteX1336" fmla="*/ 1021782 w 2081801"/>
                  <a:gd name="connsiteY1336" fmla="*/ 281114 h 2563305"/>
                  <a:gd name="connsiteX1337" fmla="*/ 970799 w 2081801"/>
                  <a:gd name="connsiteY1337" fmla="*/ 264120 h 2563305"/>
                  <a:gd name="connsiteX1338" fmla="*/ 833429 w 2081801"/>
                  <a:gd name="connsiteY1338" fmla="*/ 10621 h 2563305"/>
                  <a:gd name="connsiteX1339" fmla="*/ 657821 w 2081801"/>
                  <a:gd name="connsiteY1339" fmla="*/ 142327 h 2563305"/>
                  <a:gd name="connsiteX1340" fmla="*/ 417069 w 2081801"/>
                  <a:gd name="connsiteY1340" fmla="*/ 88512 h 2563305"/>
                  <a:gd name="connsiteX1341" fmla="*/ 833429 w 2081801"/>
                  <a:gd name="connsiteY1341" fmla="*/ 10621 h 2563305"/>
                  <a:gd name="connsiteX1342" fmla="*/ 577098 w 2081801"/>
                  <a:gd name="connsiteY1342" fmla="*/ 204640 h 2563305"/>
                  <a:gd name="connsiteX1343" fmla="*/ 602590 w 2081801"/>
                  <a:gd name="connsiteY1343" fmla="*/ 186229 h 2563305"/>
                  <a:gd name="connsiteX1344" fmla="*/ 621000 w 2081801"/>
                  <a:gd name="connsiteY1344" fmla="*/ 204640 h 2563305"/>
                  <a:gd name="connsiteX1345" fmla="*/ 577098 w 2081801"/>
                  <a:gd name="connsiteY1345" fmla="*/ 204640 h 2563305"/>
                  <a:gd name="connsiteX1346" fmla="*/ 636578 w 2081801"/>
                  <a:gd name="connsiteY1346" fmla="*/ 157905 h 2563305"/>
                  <a:gd name="connsiteX1347" fmla="*/ 602590 w 2081801"/>
                  <a:gd name="connsiteY1347" fmla="*/ 183397 h 2563305"/>
                  <a:gd name="connsiteX1348" fmla="*/ 545942 w 2081801"/>
                  <a:gd name="connsiteY1348" fmla="*/ 129581 h 2563305"/>
                  <a:gd name="connsiteX1349" fmla="*/ 636578 w 2081801"/>
                  <a:gd name="connsiteY1349" fmla="*/ 157905 h 2563305"/>
                  <a:gd name="connsiteX1350" fmla="*/ 511954 w 2081801"/>
                  <a:gd name="connsiteY1350" fmla="*/ 207472 h 2563305"/>
                  <a:gd name="connsiteX1351" fmla="*/ 571433 w 2081801"/>
                  <a:gd name="connsiteY1351" fmla="*/ 206056 h 2563305"/>
                  <a:gd name="connsiteX1352" fmla="*/ 562936 w 2081801"/>
                  <a:gd name="connsiteY1352" fmla="*/ 213137 h 2563305"/>
                  <a:gd name="connsiteX1353" fmla="*/ 511954 w 2081801"/>
                  <a:gd name="connsiteY1353" fmla="*/ 207472 h 2563305"/>
                  <a:gd name="connsiteX1354" fmla="*/ 494959 w 2081801"/>
                  <a:gd name="connsiteY1354" fmla="*/ 207472 h 2563305"/>
                  <a:gd name="connsiteX1355" fmla="*/ 558688 w 2081801"/>
                  <a:gd name="connsiteY1355" fmla="*/ 214553 h 2563305"/>
                  <a:gd name="connsiteX1356" fmla="*/ 490711 w 2081801"/>
                  <a:gd name="connsiteY1356" fmla="*/ 265536 h 2563305"/>
                  <a:gd name="connsiteX1357" fmla="*/ 359005 w 2081801"/>
                  <a:gd name="connsiteY1357" fmla="*/ 237212 h 2563305"/>
                  <a:gd name="connsiteX1358" fmla="*/ 323600 w 2081801"/>
                  <a:gd name="connsiteY1358" fmla="*/ 210304 h 2563305"/>
                  <a:gd name="connsiteX1359" fmla="*/ 494959 w 2081801"/>
                  <a:gd name="connsiteY1359" fmla="*/ 207472 h 2563305"/>
                  <a:gd name="connsiteX1360" fmla="*/ 479381 w 2081801"/>
                  <a:gd name="connsiteY1360" fmla="*/ 206056 h 2563305"/>
                  <a:gd name="connsiteX1361" fmla="*/ 320768 w 2081801"/>
                  <a:gd name="connsiteY1361" fmla="*/ 207472 h 2563305"/>
                  <a:gd name="connsiteX1362" fmla="*/ 288195 w 2081801"/>
                  <a:gd name="connsiteY1362" fmla="*/ 183397 h 2563305"/>
                  <a:gd name="connsiteX1363" fmla="*/ 479381 w 2081801"/>
                  <a:gd name="connsiteY1363" fmla="*/ 206056 h 2563305"/>
                  <a:gd name="connsiteX1364" fmla="*/ 320768 w 2081801"/>
                  <a:gd name="connsiteY1364" fmla="*/ 210304 h 2563305"/>
                  <a:gd name="connsiteX1365" fmla="*/ 354756 w 2081801"/>
                  <a:gd name="connsiteY1365" fmla="*/ 237212 h 2563305"/>
                  <a:gd name="connsiteX1366" fmla="*/ 238628 w 2081801"/>
                  <a:gd name="connsiteY1366" fmla="*/ 211720 h 2563305"/>
                  <a:gd name="connsiteX1367" fmla="*/ 320768 w 2081801"/>
                  <a:gd name="connsiteY1367" fmla="*/ 210304 h 2563305"/>
                  <a:gd name="connsiteX1368" fmla="*/ 300941 w 2081801"/>
                  <a:gd name="connsiteY1368" fmla="*/ 650740 h 2563305"/>
                  <a:gd name="connsiteX1369" fmla="*/ 310854 w 2081801"/>
                  <a:gd name="connsiteY1369" fmla="*/ 653572 h 2563305"/>
                  <a:gd name="connsiteX1370" fmla="*/ 306606 w 2081801"/>
                  <a:gd name="connsiteY1370" fmla="*/ 662069 h 2563305"/>
                  <a:gd name="connsiteX1371" fmla="*/ 300941 w 2081801"/>
                  <a:gd name="connsiteY1371" fmla="*/ 650740 h 2563305"/>
                  <a:gd name="connsiteX1372" fmla="*/ 228715 w 2081801"/>
                  <a:gd name="connsiteY1372" fmla="*/ 632329 h 2563305"/>
                  <a:gd name="connsiteX1373" fmla="*/ 262704 w 2081801"/>
                  <a:gd name="connsiteY1373" fmla="*/ 592676 h 2563305"/>
                  <a:gd name="connsiteX1374" fmla="*/ 296692 w 2081801"/>
                  <a:gd name="connsiteY1374" fmla="*/ 646491 h 2563305"/>
                  <a:gd name="connsiteX1375" fmla="*/ 228715 w 2081801"/>
                  <a:gd name="connsiteY1375" fmla="*/ 632329 h 2563305"/>
                  <a:gd name="connsiteX1376" fmla="*/ 262704 w 2081801"/>
                  <a:gd name="connsiteY1376" fmla="*/ 589843 h 2563305"/>
                  <a:gd name="connsiteX1377" fmla="*/ 255623 w 2081801"/>
                  <a:gd name="connsiteY1377" fmla="*/ 578514 h 2563305"/>
                  <a:gd name="connsiteX1378" fmla="*/ 289611 w 2081801"/>
                  <a:gd name="connsiteY1378" fmla="*/ 558687 h 2563305"/>
                  <a:gd name="connsiteX1379" fmla="*/ 262704 w 2081801"/>
                  <a:gd name="connsiteY1379" fmla="*/ 589843 h 2563305"/>
                  <a:gd name="connsiteX1380" fmla="*/ 162154 w 2081801"/>
                  <a:gd name="connsiteY1380" fmla="*/ 506288 h 2563305"/>
                  <a:gd name="connsiteX1381" fmla="*/ 218802 w 2081801"/>
                  <a:gd name="connsiteY1381" fmla="*/ 320767 h 2563305"/>
                  <a:gd name="connsiteX1382" fmla="*/ 190478 w 2081801"/>
                  <a:gd name="connsiteY1382" fmla="*/ 477964 h 2563305"/>
                  <a:gd name="connsiteX1383" fmla="*/ 183397 w 2081801"/>
                  <a:gd name="connsiteY1383" fmla="*/ 466635 h 2563305"/>
                  <a:gd name="connsiteX1384" fmla="*/ 183397 w 2081801"/>
                  <a:gd name="connsiteY1384" fmla="*/ 466635 h 2563305"/>
                  <a:gd name="connsiteX1385" fmla="*/ 162154 w 2081801"/>
                  <a:gd name="connsiteY1385" fmla="*/ 506288 h 2563305"/>
                  <a:gd name="connsiteX1386" fmla="*/ 116836 w 2081801"/>
                  <a:gd name="connsiteY1386" fmla="*/ 589843 h 2563305"/>
                  <a:gd name="connsiteX1387" fmla="*/ 153657 w 2081801"/>
                  <a:gd name="connsiteY1387" fmla="*/ 523282 h 2563305"/>
                  <a:gd name="connsiteX1388" fmla="*/ 128166 w 2081801"/>
                  <a:gd name="connsiteY1388" fmla="*/ 608254 h 2563305"/>
                  <a:gd name="connsiteX1389" fmla="*/ 116836 w 2081801"/>
                  <a:gd name="connsiteY1389" fmla="*/ 589843 h 2563305"/>
                  <a:gd name="connsiteX1390" fmla="*/ 914152 w 2081801"/>
                  <a:gd name="connsiteY1390" fmla="*/ 1521697 h 2563305"/>
                  <a:gd name="connsiteX1391" fmla="*/ 853255 w 2081801"/>
                  <a:gd name="connsiteY1391" fmla="*/ 1518865 h 2563305"/>
                  <a:gd name="connsiteX1392" fmla="*/ 956638 w 2081801"/>
                  <a:gd name="connsiteY1392" fmla="*/ 1438142 h 2563305"/>
                  <a:gd name="connsiteX1393" fmla="*/ 926897 w 2081801"/>
                  <a:gd name="connsiteY1393" fmla="*/ 1523113 h 2563305"/>
                  <a:gd name="connsiteX1394" fmla="*/ 914152 w 2081801"/>
                  <a:gd name="connsiteY1394" fmla="*/ 1521697 h 2563305"/>
                  <a:gd name="connsiteX1395" fmla="*/ 1003372 w 2081801"/>
                  <a:gd name="connsiteY1395" fmla="*/ 1755368 h 2563305"/>
                  <a:gd name="connsiteX1396" fmla="*/ 1000540 w 2081801"/>
                  <a:gd name="connsiteY1396" fmla="*/ 1761033 h 2563305"/>
                  <a:gd name="connsiteX1397" fmla="*/ 984961 w 2081801"/>
                  <a:gd name="connsiteY1397" fmla="*/ 1789357 h 2563305"/>
                  <a:gd name="connsiteX1398" fmla="*/ 980713 w 2081801"/>
                  <a:gd name="connsiteY1398" fmla="*/ 1751120 h 2563305"/>
                  <a:gd name="connsiteX1399" fmla="*/ 1003372 w 2081801"/>
                  <a:gd name="connsiteY1399" fmla="*/ 1755368 h 2563305"/>
                  <a:gd name="connsiteX1400" fmla="*/ 983545 w 2081801"/>
                  <a:gd name="connsiteY1400" fmla="*/ 1796438 h 2563305"/>
                  <a:gd name="connsiteX1401" fmla="*/ 1010453 w 2081801"/>
                  <a:gd name="connsiteY1401" fmla="*/ 2031526 h 2563305"/>
                  <a:gd name="connsiteX1402" fmla="*/ 932562 w 2081801"/>
                  <a:gd name="connsiteY1402" fmla="*/ 1887074 h 2563305"/>
                  <a:gd name="connsiteX1403" fmla="*/ 983545 w 2081801"/>
                  <a:gd name="connsiteY1403" fmla="*/ 1796438 h 2563305"/>
                  <a:gd name="connsiteX1404" fmla="*/ 1299356 w 2081801"/>
                  <a:gd name="connsiteY1404" fmla="*/ 2289272 h 2563305"/>
                  <a:gd name="connsiteX1405" fmla="*/ 1489126 w 2081801"/>
                  <a:gd name="connsiteY1405" fmla="*/ 2153318 h 2563305"/>
                  <a:gd name="connsiteX1406" fmla="*/ 1432478 w 2081801"/>
                  <a:gd name="connsiteY1406" fmla="*/ 2265197 h 2563305"/>
                  <a:gd name="connsiteX1407" fmla="*/ 1299356 w 2081801"/>
                  <a:gd name="connsiteY1407" fmla="*/ 2289272 h 2563305"/>
                  <a:gd name="connsiteX1408" fmla="*/ 1520282 w 2081801"/>
                  <a:gd name="connsiteY1408" fmla="*/ 2252451 h 2563305"/>
                  <a:gd name="connsiteX1409" fmla="*/ 1418316 w 2081801"/>
                  <a:gd name="connsiteY1409" fmla="*/ 2297770 h 2563305"/>
                  <a:gd name="connsiteX1410" fmla="*/ 1433894 w 2081801"/>
                  <a:gd name="connsiteY1410" fmla="*/ 2266613 h 2563305"/>
                  <a:gd name="connsiteX1411" fmla="*/ 1520282 w 2081801"/>
                  <a:gd name="connsiteY1411" fmla="*/ 2252451 h 2563305"/>
                  <a:gd name="connsiteX1412" fmla="*/ 1593924 w 2081801"/>
                  <a:gd name="connsiteY1412" fmla="*/ 2075428 h 2563305"/>
                  <a:gd name="connsiteX1413" fmla="*/ 1494790 w 2081801"/>
                  <a:gd name="connsiteY1413" fmla="*/ 2146237 h 2563305"/>
                  <a:gd name="connsiteX1414" fmla="*/ 1541524 w 2081801"/>
                  <a:gd name="connsiteY1414" fmla="*/ 2052768 h 2563305"/>
                  <a:gd name="connsiteX1415" fmla="*/ 1593924 w 2081801"/>
                  <a:gd name="connsiteY1415" fmla="*/ 2075428 h 2563305"/>
                  <a:gd name="connsiteX1416" fmla="*/ 1650571 w 2081801"/>
                  <a:gd name="connsiteY1416" fmla="*/ 1443806 h 2563305"/>
                  <a:gd name="connsiteX1417" fmla="*/ 1642074 w 2081801"/>
                  <a:gd name="connsiteY1417" fmla="*/ 1531610 h 2563305"/>
                  <a:gd name="connsiteX1418" fmla="*/ 1516033 w 2081801"/>
                  <a:gd name="connsiteY1418" fmla="*/ 1494789 h 2563305"/>
                  <a:gd name="connsiteX1419" fmla="*/ 1650571 w 2081801"/>
                  <a:gd name="connsiteY1419" fmla="*/ 1443806 h 2563305"/>
                  <a:gd name="connsiteX1420" fmla="*/ 1904070 w 2081801"/>
                  <a:gd name="connsiteY1420" fmla="*/ 1347506 h 2563305"/>
                  <a:gd name="connsiteX1421" fmla="*/ 1724213 w 2081801"/>
                  <a:gd name="connsiteY1421" fmla="*/ 1555686 h 2563305"/>
                  <a:gd name="connsiteX1422" fmla="*/ 1643490 w 2081801"/>
                  <a:gd name="connsiteY1422" fmla="*/ 1533027 h 2563305"/>
                  <a:gd name="connsiteX1423" fmla="*/ 1651988 w 2081801"/>
                  <a:gd name="connsiteY1423" fmla="*/ 1443806 h 2563305"/>
                  <a:gd name="connsiteX1424" fmla="*/ 1904070 w 2081801"/>
                  <a:gd name="connsiteY1424" fmla="*/ 1347506 h 2563305"/>
                  <a:gd name="connsiteX1425" fmla="*/ 1305021 w 2081801"/>
                  <a:gd name="connsiteY1425" fmla="*/ 442560 h 2563305"/>
                  <a:gd name="connsiteX1426" fmla="*/ 1310685 w 2081801"/>
                  <a:gd name="connsiteY1426" fmla="*/ 220218 h 2563305"/>
                  <a:gd name="connsiteX1427" fmla="*/ 1336177 w 2081801"/>
                  <a:gd name="connsiteY1427" fmla="*/ 449641 h 2563305"/>
                  <a:gd name="connsiteX1428" fmla="*/ 1305021 w 2081801"/>
                  <a:gd name="connsiteY1428" fmla="*/ 442560 h 2563305"/>
                  <a:gd name="connsiteX1429" fmla="*/ 562936 w 2081801"/>
                  <a:gd name="connsiteY1429" fmla="*/ 1133661 h 2563305"/>
                  <a:gd name="connsiteX1430" fmla="*/ 422733 w 2081801"/>
                  <a:gd name="connsiteY1430" fmla="*/ 1099672 h 2563305"/>
                  <a:gd name="connsiteX1431" fmla="*/ 455306 w 2081801"/>
                  <a:gd name="connsiteY1431" fmla="*/ 1014701 h 2563305"/>
                  <a:gd name="connsiteX1432" fmla="*/ 562936 w 2081801"/>
                  <a:gd name="connsiteY1432" fmla="*/ 1133661 h 2563305"/>
                  <a:gd name="connsiteX1433" fmla="*/ 956638 w 2081801"/>
                  <a:gd name="connsiteY1433" fmla="*/ 1334760 h 2563305"/>
                  <a:gd name="connsiteX1434" fmla="*/ 959470 w 2081801"/>
                  <a:gd name="connsiteY1434" fmla="*/ 1334760 h 2563305"/>
                  <a:gd name="connsiteX1435" fmla="*/ 958054 w 2081801"/>
                  <a:gd name="connsiteY1435" fmla="*/ 1336176 h 2563305"/>
                  <a:gd name="connsiteX1436" fmla="*/ 956638 w 2081801"/>
                  <a:gd name="connsiteY1436" fmla="*/ 1334760 h 2563305"/>
                  <a:gd name="connsiteX1437" fmla="*/ 1136494 w 2081801"/>
                  <a:gd name="connsiteY1437" fmla="*/ 2314764 h 2563305"/>
                  <a:gd name="connsiteX1438" fmla="*/ 1130829 w 2081801"/>
                  <a:gd name="connsiteY1438" fmla="*/ 2337423 h 2563305"/>
                  <a:gd name="connsiteX1439" fmla="*/ 1061436 w 2081801"/>
                  <a:gd name="connsiteY1439" fmla="*/ 2302018 h 2563305"/>
                  <a:gd name="connsiteX1440" fmla="*/ 1136494 w 2081801"/>
                  <a:gd name="connsiteY1440" fmla="*/ 2314764 h 2563305"/>
                  <a:gd name="connsiteX1441" fmla="*/ 1221465 w 2081801"/>
                  <a:gd name="connsiteY1441" fmla="*/ 2386990 h 2563305"/>
                  <a:gd name="connsiteX1442" fmla="*/ 1105338 w 2081801"/>
                  <a:gd name="connsiteY1442" fmla="*/ 2439389 h 2563305"/>
                  <a:gd name="connsiteX1443" fmla="*/ 1130829 w 2081801"/>
                  <a:gd name="connsiteY1443" fmla="*/ 2341672 h 2563305"/>
                  <a:gd name="connsiteX1444" fmla="*/ 1221465 w 2081801"/>
                  <a:gd name="connsiteY1444" fmla="*/ 2386990 h 2563305"/>
                  <a:gd name="connsiteX1445" fmla="*/ 1690225 w 2081801"/>
                  <a:gd name="connsiteY1445" fmla="*/ 1112418 h 2563305"/>
                  <a:gd name="connsiteX1446" fmla="*/ 1731294 w 2081801"/>
                  <a:gd name="connsiteY1446" fmla="*/ 871665 h 2563305"/>
                  <a:gd name="connsiteX1447" fmla="*/ 1729878 w 2081801"/>
                  <a:gd name="connsiteY1447" fmla="*/ 1109585 h 2563305"/>
                  <a:gd name="connsiteX1448" fmla="*/ 1690225 w 2081801"/>
                  <a:gd name="connsiteY1448" fmla="*/ 1112418 h 2563305"/>
                  <a:gd name="connsiteX1449" fmla="*/ 2017365 w 2081801"/>
                  <a:gd name="connsiteY1449" fmla="*/ 1875745 h 2563305"/>
                  <a:gd name="connsiteX1450" fmla="*/ 1918231 w 2081801"/>
                  <a:gd name="connsiteY1450" fmla="*/ 2129243 h 2563305"/>
                  <a:gd name="connsiteX1451" fmla="*/ 1911150 w 2081801"/>
                  <a:gd name="connsiteY1451" fmla="*/ 1991872 h 2563305"/>
                  <a:gd name="connsiteX1452" fmla="*/ 1911150 w 2081801"/>
                  <a:gd name="connsiteY1452" fmla="*/ 1990456 h 2563305"/>
                  <a:gd name="connsiteX1453" fmla="*/ 1855919 w 2081801"/>
                  <a:gd name="connsiteY1453" fmla="*/ 2184474 h 2563305"/>
                  <a:gd name="connsiteX1454" fmla="*/ 1677479 w 2081801"/>
                  <a:gd name="connsiteY1454" fmla="*/ 1821929 h 2563305"/>
                  <a:gd name="connsiteX1455" fmla="*/ 1909734 w 2081801"/>
                  <a:gd name="connsiteY1455" fmla="*/ 1990456 h 2563305"/>
                  <a:gd name="connsiteX1456" fmla="*/ 1909734 w 2081801"/>
                  <a:gd name="connsiteY1456" fmla="*/ 1990456 h 2563305"/>
                  <a:gd name="connsiteX1457" fmla="*/ 2017365 w 2081801"/>
                  <a:gd name="connsiteY1457" fmla="*/ 1875745 h 2563305"/>
                  <a:gd name="connsiteX1458" fmla="*/ 1916815 w 2081801"/>
                  <a:gd name="connsiteY1458" fmla="*/ 2139156 h 2563305"/>
                  <a:gd name="connsiteX1459" fmla="*/ 1918231 w 2081801"/>
                  <a:gd name="connsiteY1459" fmla="*/ 2158983 h 2563305"/>
                  <a:gd name="connsiteX1460" fmla="*/ 1901237 w 2081801"/>
                  <a:gd name="connsiteY1460" fmla="*/ 2180226 h 2563305"/>
                  <a:gd name="connsiteX1461" fmla="*/ 1916815 w 2081801"/>
                  <a:gd name="connsiteY1461" fmla="*/ 2139156 h 2563305"/>
                  <a:gd name="connsiteX1462" fmla="*/ 1925312 w 2081801"/>
                  <a:gd name="connsiteY1462" fmla="*/ 2246787 h 2563305"/>
                  <a:gd name="connsiteX1463" fmla="*/ 1919648 w 2081801"/>
                  <a:gd name="connsiteY1463" fmla="*/ 2160399 h 2563305"/>
                  <a:gd name="connsiteX1464" fmla="*/ 1981960 w 2081801"/>
                  <a:gd name="connsiteY1464" fmla="*/ 2085341 h 2563305"/>
                  <a:gd name="connsiteX1465" fmla="*/ 1925312 w 2081801"/>
                  <a:gd name="connsiteY1465" fmla="*/ 2246787 h 2563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Lst>
                <a:rect l="l" t="t" r="r" b="b"/>
                <a:pathLst>
                  <a:path w="2081801" h="2563305">
                    <a:moveTo>
                      <a:pt x="1861584" y="1065684"/>
                    </a:moveTo>
                    <a:lnTo>
                      <a:pt x="1996122" y="1212967"/>
                    </a:lnTo>
                    <a:lnTo>
                      <a:pt x="1976295" y="1265367"/>
                    </a:lnTo>
                    <a:lnTo>
                      <a:pt x="1908318" y="1344673"/>
                    </a:lnTo>
                    <a:lnTo>
                      <a:pt x="1654820" y="1440974"/>
                    </a:lnTo>
                    <a:lnTo>
                      <a:pt x="1663317" y="1357419"/>
                    </a:lnTo>
                    <a:lnTo>
                      <a:pt x="1779445" y="1259702"/>
                    </a:lnTo>
                    <a:lnTo>
                      <a:pt x="1779445" y="1259702"/>
                    </a:lnTo>
                    <a:lnTo>
                      <a:pt x="1778029" y="1258286"/>
                    </a:lnTo>
                    <a:lnTo>
                      <a:pt x="1664733" y="1339008"/>
                    </a:lnTo>
                    <a:lnTo>
                      <a:pt x="1681727" y="1174730"/>
                    </a:lnTo>
                    <a:lnTo>
                      <a:pt x="1691641" y="1113834"/>
                    </a:lnTo>
                    <a:lnTo>
                      <a:pt x="1734127" y="1109585"/>
                    </a:lnTo>
                    <a:lnTo>
                      <a:pt x="1734127" y="1109585"/>
                    </a:lnTo>
                    <a:lnTo>
                      <a:pt x="1735543" y="857503"/>
                    </a:lnTo>
                    <a:lnTo>
                      <a:pt x="1735543" y="857503"/>
                    </a:lnTo>
                    <a:lnTo>
                      <a:pt x="1734127" y="857503"/>
                    </a:lnTo>
                    <a:lnTo>
                      <a:pt x="1690225" y="1112418"/>
                    </a:lnTo>
                    <a:lnTo>
                      <a:pt x="1616583" y="1119499"/>
                    </a:lnTo>
                    <a:lnTo>
                      <a:pt x="1667565" y="1101088"/>
                    </a:lnTo>
                    <a:lnTo>
                      <a:pt x="1667565" y="1101088"/>
                    </a:lnTo>
                    <a:lnTo>
                      <a:pt x="1567016" y="1052938"/>
                    </a:lnTo>
                    <a:lnTo>
                      <a:pt x="1610918" y="1003371"/>
                    </a:lnTo>
                    <a:lnTo>
                      <a:pt x="1610918" y="1003371"/>
                    </a:lnTo>
                    <a:lnTo>
                      <a:pt x="1564184" y="837677"/>
                    </a:lnTo>
                    <a:lnTo>
                      <a:pt x="1690225" y="707387"/>
                    </a:lnTo>
                    <a:lnTo>
                      <a:pt x="1690225" y="707387"/>
                    </a:lnTo>
                    <a:lnTo>
                      <a:pt x="1582594" y="720133"/>
                    </a:lnTo>
                    <a:lnTo>
                      <a:pt x="1650571" y="643659"/>
                    </a:lnTo>
                    <a:lnTo>
                      <a:pt x="1650571" y="643659"/>
                    </a:lnTo>
                    <a:lnTo>
                      <a:pt x="1406986" y="670566"/>
                    </a:lnTo>
                    <a:lnTo>
                      <a:pt x="1436726" y="625248"/>
                    </a:lnTo>
                    <a:lnTo>
                      <a:pt x="1450888" y="477964"/>
                    </a:lnTo>
                    <a:lnTo>
                      <a:pt x="1593924" y="509121"/>
                    </a:lnTo>
                    <a:lnTo>
                      <a:pt x="1620831" y="585595"/>
                    </a:lnTo>
                    <a:lnTo>
                      <a:pt x="1620831" y="585595"/>
                    </a:lnTo>
                    <a:lnTo>
                      <a:pt x="1622248" y="585595"/>
                    </a:lnTo>
                    <a:lnTo>
                      <a:pt x="1593924" y="507704"/>
                    </a:lnTo>
                    <a:lnTo>
                      <a:pt x="1593924" y="507704"/>
                    </a:lnTo>
                    <a:lnTo>
                      <a:pt x="1449472" y="476548"/>
                    </a:lnTo>
                    <a:lnTo>
                      <a:pt x="1473547" y="215969"/>
                    </a:lnTo>
                    <a:lnTo>
                      <a:pt x="1473547" y="215969"/>
                    </a:lnTo>
                    <a:lnTo>
                      <a:pt x="1472131" y="215969"/>
                    </a:lnTo>
                    <a:lnTo>
                      <a:pt x="1472131" y="215969"/>
                    </a:lnTo>
                    <a:lnTo>
                      <a:pt x="1392824" y="465219"/>
                    </a:lnTo>
                    <a:lnTo>
                      <a:pt x="1339009" y="453889"/>
                    </a:lnTo>
                    <a:lnTo>
                      <a:pt x="1310685" y="208888"/>
                    </a:lnTo>
                    <a:lnTo>
                      <a:pt x="1310685" y="208888"/>
                    </a:lnTo>
                    <a:lnTo>
                      <a:pt x="1309269" y="208888"/>
                    </a:lnTo>
                    <a:lnTo>
                      <a:pt x="1302188" y="446808"/>
                    </a:lnTo>
                    <a:lnTo>
                      <a:pt x="1184644" y="421317"/>
                    </a:lnTo>
                    <a:lnTo>
                      <a:pt x="1203055" y="343426"/>
                    </a:lnTo>
                    <a:lnTo>
                      <a:pt x="1203055" y="343426"/>
                    </a:lnTo>
                    <a:lnTo>
                      <a:pt x="1021782" y="285362"/>
                    </a:lnTo>
                    <a:lnTo>
                      <a:pt x="1043025" y="274033"/>
                    </a:lnTo>
                    <a:lnTo>
                      <a:pt x="958054" y="264120"/>
                    </a:lnTo>
                    <a:lnTo>
                      <a:pt x="783862" y="207472"/>
                    </a:lnTo>
                    <a:lnTo>
                      <a:pt x="921233" y="206056"/>
                    </a:lnTo>
                    <a:lnTo>
                      <a:pt x="921233" y="206056"/>
                    </a:lnTo>
                    <a:lnTo>
                      <a:pt x="921233" y="204640"/>
                    </a:lnTo>
                    <a:lnTo>
                      <a:pt x="657821" y="146576"/>
                    </a:lnTo>
                    <a:lnTo>
                      <a:pt x="837678" y="12037"/>
                    </a:lnTo>
                    <a:lnTo>
                      <a:pt x="839093" y="12037"/>
                    </a:lnTo>
                    <a:lnTo>
                      <a:pt x="405739" y="92760"/>
                    </a:lnTo>
                    <a:lnTo>
                      <a:pt x="404323" y="92760"/>
                    </a:lnTo>
                    <a:lnTo>
                      <a:pt x="653573" y="147992"/>
                    </a:lnTo>
                    <a:lnTo>
                      <a:pt x="636578" y="160738"/>
                    </a:lnTo>
                    <a:lnTo>
                      <a:pt x="537445" y="128165"/>
                    </a:lnTo>
                    <a:lnTo>
                      <a:pt x="536029" y="128165"/>
                    </a:lnTo>
                    <a:lnTo>
                      <a:pt x="598341" y="189061"/>
                    </a:lnTo>
                    <a:lnTo>
                      <a:pt x="571433" y="208888"/>
                    </a:lnTo>
                    <a:lnTo>
                      <a:pt x="493543" y="210304"/>
                    </a:lnTo>
                    <a:lnTo>
                      <a:pt x="281114" y="184813"/>
                    </a:lnTo>
                    <a:lnTo>
                      <a:pt x="279698" y="184813"/>
                    </a:lnTo>
                    <a:lnTo>
                      <a:pt x="315103" y="211720"/>
                    </a:lnTo>
                    <a:lnTo>
                      <a:pt x="227299" y="213137"/>
                    </a:lnTo>
                    <a:lnTo>
                      <a:pt x="227299" y="213137"/>
                    </a:lnTo>
                    <a:lnTo>
                      <a:pt x="227299" y="214553"/>
                    </a:lnTo>
                    <a:lnTo>
                      <a:pt x="227299" y="214553"/>
                    </a:lnTo>
                    <a:lnTo>
                      <a:pt x="357588" y="242877"/>
                    </a:lnTo>
                    <a:lnTo>
                      <a:pt x="441144" y="306605"/>
                    </a:lnTo>
                    <a:lnTo>
                      <a:pt x="367502" y="361837"/>
                    </a:lnTo>
                    <a:lnTo>
                      <a:pt x="367502" y="361837"/>
                    </a:lnTo>
                    <a:lnTo>
                      <a:pt x="446809" y="534612"/>
                    </a:lnTo>
                    <a:lnTo>
                      <a:pt x="381664" y="509121"/>
                    </a:lnTo>
                    <a:lnTo>
                      <a:pt x="381664" y="509121"/>
                    </a:lnTo>
                    <a:lnTo>
                      <a:pt x="310854" y="656404"/>
                    </a:lnTo>
                    <a:lnTo>
                      <a:pt x="298109" y="653572"/>
                    </a:lnTo>
                    <a:lnTo>
                      <a:pt x="262704" y="596924"/>
                    </a:lnTo>
                    <a:lnTo>
                      <a:pt x="296692" y="557271"/>
                    </a:lnTo>
                    <a:lnTo>
                      <a:pt x="298109" y="555855"/>
                    </a:lnTo>
                    <a:lnTo>
                      <a:pt x="254207" y="582762"/>
                    </a:lnTo>
                    <a:lnTo>
                      <a:pt x="191894" y="485045"/>
                    </a:lnTo>
                    <a:lnTo>
                      <a:pt x="223050" y="308022"/>
                    </a:lnTo>
                    <a:lnTo>
                      <a:pt x="223050" y="308022"/>
                    </a:lnTo>
                    <a:lnTo>
                      <a:pt x="221634" y="308022"/>
                    </a:lnTo>
                    <a:lnTo>
                      <a:pt x="156489" y="520450"/>
                    </a:lnTo>
                    <a:lnTo>
                      <a:pt x="115420" y="594092"/>
                    </a:lnTo>
                    <a:lnTo>
                      <a:pt x="54523" y="487878"/>
                    </a:lnTo>
                    <a:lnTo>
                      <a:pt x="53107" y="486461"/>
                    </a:lnTo>
                    <a:lnTo>
                      <a:pt x="99842" y="676231"/>
                    </a:lnTo>
                    <a:lnTo>
                      <a:pt x="99842" y="676231"/>
                    </a:lnTo>
                    <a:lnTo>
                      <a:pt x="109755" y="670566"/>
                    </a:lnTo>
                    <a:lnTo>
                      <a:pt x="10621" y="993458"/>
                    </a:lnTo>
                    <a:lnTo>
                      <a:pt x="10621" y="993458"/>
                    </a:lnTo>
                    <a:lnTo>
                      <a:pt x="84264" y="1081262"/>
                    </a:lnTo>
                    <a:lnTo>
                      <a:pt x="82847" y="1091175"/>
                    </a:lnTo>
                    <a:lnTo>
                      <a:pt x="82847" y="1091175"/>
                    </a:lnTo>
                    <a:lnTo>
                      <a:pt x="97009" y="1095424"/>
                    </a:lnTo>
                    <a:lnTo>
                      <a:pt x="268368" y="1299355"/>
                    </a:lnTo>
                    <a:lnTo>
                      <a:pt x="268368" y="1299355"/>
                    </a:lnTo>
                    <a:lnTo>
                      <a:pt x="305190" y="1157736"/>
                    </a:lnTo>
                    <a:lnTo>
                      <a:pt x="390161" y="1183227"/>
                    </a:lnTo>
                    <a:lnTo>
                      <a:pt x="354756" y="1278112"/>
                    </a:lnTo>
                    <a:lnTo>
                      <a:pt x="354756" y="1278112"/>
                    </a:lnTo>
                    <a:lnTo>
                      <a:pt x="536029" y="1225713"/>
                    </a:lnTo>
                    <a:lnTo>
                      <a:pt x="536029" y="1225713"/>
                    </a:lnTo>
                    <a:lnTo>
                      <a:pt x="392993" y="1181811"/>
                    </a:lnTo>
                    <a:lnTo>
                      <a:pt x="421317" y="1106753"/>
                    </a:lnTo>
                    <a:lnTo>
                      <a:pt x="565769" y="1140742"/>
                    </a:lnTo>
                    <a:lnTo>
                      <a:pt x="671983" y="1256869"/>
                    </a:lnTo>
                    <a:lnTo>
                      <a:pt x="943892" y="1336176"/>
                    </a:lnTo>
                    <a:lnTo>
                      <a:pt x="943892" y="1367332"/>
                    </a:lnTo>
                    <a:lnTo>
                      <a:pt x="943892" y="1367332"/>
                    </a:lnTo>
                    <a:lnTo>
                      <a:pt x="959470" y="1344673"/>
                    </a:lnTo>
                    <a:lnTo>
                      <a:pt x="982129" y="1371581"/>
                    </a:lnTo>
                    <a:lnTo>
                      <a:pt x="958054" y="1439558"/>
                    </a:lnTo>
                    <a:lnTo>
                      <a:pt x="847591" y="1525946"/>
                    </a:lnTo>
                    <a:lnTo>
                      <a:pt x="847591" y="1525946"/>
                    </a:lnTo>
                    <a:lnTo>
                      <a:pt x="914152" y="1528778"/>
                    </a:lnTo>
                    <a:lnTo>
                      <a:pt x="925481" y="1530194"/>
                    </a:lnTo>
                    <a:lnTo>
                      <a:pt x="853255" y="1735542"/>
                    </a:lnTo>
                    <a:lnTo>
                      <a:pt x="853255" y="1735542"/>
                    </a:lnTo>
                    <a:lnTo>
                      <a:pt x="977880" y="1756785"/>
                    </a:lnTo>
                    <a:lnTo>
                      <a:pt x="982129" y="1797854"/>
                    </a:lnTo>
                    <a:cubicBezTo>
                      <a:pt x="950973" y="1855918"/>
                      <a:pt x="932562" y="1889906"/>
                      <a:pt x="929730" y="1891323"/>
                    </a:cubicBezTo>
                    <a:cubicBezTo>
                      <a:pt x="929730" y="1891323"/>
                      <a:pt x="929730" y="1891323"/>
                      <a:pt x="929730" y="1891323"/>
                    </a:cubicBezTo>
                    <a:cubicBezTo>
                      <a:pt x="928314" y="1892739"/>
                      <a:pt x="932562" y="1899820"/>
                      <a:pt x="935395" y="1904068"/>
                    </a:cubicBezTo>
                    <a:cubicBezTo>
                      <a:pt x="935395" y="1904068"/>
                      <a:pt x="935395" y="1905485"/>
                      <a:pt x="935395" y="1905485"/>
                    </a:cubicBezTo>
                    <a:cubicBezTo>
                      <a:pt x="941059" y="1916814"/>
                      <a:pt x="946724" y="1928144"/>
                      <a:pt x="953805" y="1939473"/>
                    </a:cubicBezTo>
                    <a:cubicBezTo>
                      <a:pt x="972216" y="1973462"/>
                      <a:pt x="992042" y="2008867"/>
                      <a:pt x="1010453" y="2041439"/>
                    </a:cubicBezTo>
                    <a:lnTo>
                      <a:pt x="1040193" y="2303434"/>
                    </a:lnTo>
                    <a:lnTo>
                      <a:pt x="1040193" y="2303434"/>
                    </a:lnTo>
                    <a:lnTo>
                      <a:pt x="1113835" y="2185891"/>
                    </a:lnTo>
                    <a:lnTo>
                      <a:pt x="1174731" y="2174561"/>
                    </a:lnTo>
                    <a:lnTo>
                      <a:pt x="1136494" y="2316180"/>
                    </a:lnTo>
                    <a:lnTo>
                      <a:pt x="1048690" y="2302018"/>
                    </a:lnTo>
                    <a:lnTo>
                      <a:pt x="1047274" y="2302018"/>
                    </a:lnTo>
                    <a:lnTo>
                      <a:pt x="1129413" y="2344504"/>
                    </a:lnTo>
                    <a:lnTo>
                      <a:pt x="1102505" y="2446470"/>
                    </a:lnTo>
                    <a:lnTo>
                      <a:pt x="1102505" y="2446470"/>
                    </a:lnTo>
                    <a:lnTo>
                      <a:pt x="1224298" y="2391238"/>
                    </a:lnTo>
                    <a:lnTo>
                      <a:pt x="1307853" y="2433724"/>
                    </a:lnTo>
                    <a:lnTo>
                      <a:pt x="1163402" y="2564013"/>
                    </a:lnTo>
                    <a:lnTo>
                      <a:pt x="1163402" y="2564013"/>
                    </a:lnTo>
                    <a:lnTo>
                      <a:pt x="1164817" y="2565430"/>
                    </a:lnTo>
                    <a:lnTo>
                      <a:pt x="1310685" y="2433724"/>
                    </a:lnTo>
                    <a:lnTo>
                      <a:pt x="1310685" y="2433724"/>
                    </a:lnTo>
                    <a:lnTo>
                      <a:pt x="1225714" y="2389822"/>
                    </a:lnTo>
                    <a:lnTo>
                      <a:pt x="1319183" y="2347336"/>
                    </a:lnTo>
                    <a:lnTo>
                      <a:pt x="1387160" y="2358666"/>
                    </a:lnTo>
                    <a:lnTo>
                      <a:pt x="1387160" y="2358666"/>
                    </a:lnTo>
                    <a:lnTo>
                      <a:pt x="1414067" y="2304851"/>
                    </a:lnTo>
                    <a:lnTo>
                      <a:pt x="1525946" y="2253868"/>
                    </a:lnTo>
                    <a:lnTo>
                      <a:pt x="1525946" y="2253868"/>
                    </a:lnTo>
                    <a:lnTo>
                      <a:pt x="1525946" y="2252451"/>
                    </a:lnTo>
                    <a:lnTo>
                      <a:pt x="1525946" y="2252451"/>
                    </a:lnTo>
                    <a:lnTo>
                      <a:pt x="1432478" y="2269446"/>
                    </a:lnTo>
                    <a:lnTo>
                      <a:pt x="1490541" y="2154734"/>
                    </a:lnTo>
                    <a:lnTo>
                      <a:pt x="1595340" y="2079676"/>
                    </a:lnTo>
                    <a:lnTo>
                      <a:pt x="1595340" y="2079676"/>
                    </a:lnTo>
                    <a:lnTo>
                      <a:pt x="1540108" y="2055601"/>
                    </a:lnTo>
                    <a:lnTo>
                      <a:pt x="1660484" y="1816265"/>
                    </a:lnTo>
                    <a:lnTo>
                      <a:pt x="1670398" y="1823346"/>
                    </a:lnTo>
                    <a:lnTo>
                      <a:pt x="1853087" y="2194388"/>
                    </a:lnTo>
                    <a:lnTo>
                      <a:pt x="1853087" y="2194388"/>
                    </a:lnTo>
                    <a:lnTo>
                      <a:pt x="1906902" y="2007451"/>
                    </a:lnTo>
                    <a:lnTo>
                      <a:pt x="1915399" y="2137740"/>
                    </a:lnTo>
                    <a:lnTo>
                      <a:pt x="1894156" y="2194388"/>
                    </a:lnTo>
                    <a:lnTo>
                      <a:pt x="1894156" y="2195804"/>
                    </a:lnTo>
                    <a:lnTo>
                      <a:pt x="1918231" y="2167480"/>
                    </a:lnTo>
                    <a:lnTo>
                      <a:pt x="1923896" y="2260949"/>
                    </a:lnTo>
                    <a:lnTo>
                      <a:pt x="1923896" y="2262365"/>
                    </a:lnTo>
                    <a:lnTo>
                      <a:pt x="1987625" y="2081092"/>
                    </a:lnTo>
                    <a:lnTo>
                      <a:pt x="1987625" y="2079676"/>
                    </a:lnTo>
                    <a:lnTo>
                      <a:pt x="1919648" y="2161815"/>
                    </a:lnTo>
                    <a:lnTo>
                      <a:pt x="1918231" y="2139156"/>
                    </a:lnTo>
                    <a:lnTo>
                      <a:pt x="2021613" y="1872912"/>
                    </a:lnTo>
                    <a:lnTo>
                      <a:pt x="2021613" y="1871496"/>
                    </a:lnTo>
                    <a:lnTo>
                      <a:pt x="1908318" y="1991872"/>
                    </a:lnTo>
                    <a:lnTo>
                      <a:pt x="1673231" y="1821929"/>
                    </a:lnTo>
                    <a:lnTo>
                      <a:pt x="1664733" y="1803519"/>
                    </a:lnTo>
                    <a:lnTo>
                      <a:pt x="1684560" y="1678894"/>
                    </a:lnTo>
                    <a:lnTo>
                      <a:pt x="1684560" y="1678894"/>
                    </a:lnTo>
                    <a:lnTo>
                      <a:pt x="1472131" y="1804935"/>
                    </a:lnTo>
                    <a:lnTo>
                      <a:pt x="1443807" y="1702970"/>
                    </a:lnTo>
                    <a:lnTo>
                      <a:pt x="1637826" y="1592506"/>
                    </a:lnTo>
                    <a:lnTo>
                      <a:pt x="1637826" y="1592506"/>
                    </a:lnTo>
                    <a:lnTo>
                      <a:pt x="1643490" y="1537275"/>
                    </a:lnTo>
                    <a:lnTo>
                      <a:pt x="1724213" y="1561350"/>
                    </a:lnTo>
                    <a:lnTo>
                      <a:pt x="1724213" y="1561350"/>
                    </a:lnTo>
                    <a:lnTo>
                      <a:pt x="1908318" y="1348922"/>
                    </a:lnTo>
                    <a:lnTo>
                      <a:pt x="1953636" y="1331927"/>
                    </a:lnTo>
                    <a:lnTo>
                      <a:pt x="1953636" y="1331927"/>
                    </a:lnTo>
                    <a:lnTo>
                      <a:pt x="1977712" y="1269615"/>
                    </a:lnTo>
                    <a:lnTo>
                      <a:pt x="2011700" y="1231378"/>
                    </a:lnTo>
                    <a:lnTo>
                      <a:pt x="2011700" y="1231378"/>
                    </a:lnTo>
                    <a:lnTo>
                      <a:pt x="1998955" y="1217216"/>
                    </a:lnTo>
                    <a:lnTo>
                      <a:pt x="2072596" y="1026030"/>
                    </a:lnTo>
                    <a:lnTo>
                      <a:pt x="2072596" y="1026030"/>
                    </a:lnTo>
                    <a:lnTo>
                      <a:pt x="1861584" y="1065684"/>
                    </a:lnTo>
                    <a:lnTo>
                      <a:pt x="1861584" y="1065684"/>
                    </a:lnTo>
                    <a:close/>
                    <a:moveTo>
                      <a:pt x="2008868" y="1227129"/>
                    </a:moveTo>
                    <a:lnTo>
                      <a:pt x="1980544" y="1261118"/>
                    </a:lnTo>
                    <a:lnTo>
                      <a:pt x="1997538" y="1215800"/>
                    </a:lnTo>
                    <a:lnTo>
                      <a:pt x="2008868" y="1227129"/>
                    </a:lnTo>
                    <a:close/>
                    <a:moveTo>
                      <a:pt x="2068348" y="1024614"/>
                    </a:moveTo>
                    <a:lnTo>
                      <a:pt x="1996122" y="1211551"/>
                    </a:lnTo>
                    <a:lnTo>
                      <a:pt x="1864416" y="1067100"/>
                    </a:lnTo>
                    <a:lnTo>
                      <a:pt x="2068348" y="1024614"/>
                    </a:lnTo>
                    <a:close/>
                    <a:moveTo>
                      <a:pt x="1973463" y="1271031"/>
                    </a:moveTo>
                    <a:lnTo>
                      <a:pt x="1952220" y="1327679"/>
                    </a:lnTo>
                    <a:lnTo>
                      <a:pt x="1911150" y="1343257"/>
                    </a:lnTo>
                    <a:lnTo>
                      <a:pt x="1973463" y="1271031"/>
                    </a:lnTo>
                    <a:close/>
                    <a:moveTo>
                      <a:pt x="1324847" y="2343088"/>
                    </a:moveTo>
                    <a:lnTo>
                      <a:pt x="1414067" y="2303434"/>
                    </a:lnTo>
                    <a:lnTo>
                      <a:pt x="1388576" y="2354417"/>
                    </a:lnTo>
                    <a:lnTo>
                      <a:pt x="1324847" y="2343088"/>
                    </a:lnTo>
                    <a:close/>
                    <a:moveTo>
                      <a:pt x="99842" y="1091175"/>
                    </a:moveTo>
                    <a:lnTo>
                      <a:pt x="302357" y="1152071"/>
                    </a:lnTo>
                    <a:lnTo>
                      <a:pt x="266952" y="1289442"/>
                    </a:lnTo>
                    <a:lnTo>
                      <a:pt x="99842" y="1091175"/>
                    </a:lnTo>
                    <a:close/>
                    <a:moveTo>
                      <a:pt x="1395657" y="462386"/>
                    </a:moveTo>
                    <a:lnTo>
                      <a:pt x="1472131" y="224466"/>
                    </a:lnTo>
                    <a:lnTo>
                      <a:pt x="1448056" y="475132"/>
                    </a:lnTo>
                    <a:lnTo>
                      <a:pt x="1395657" y="462386"/>
                    </a:lnTo>
                    <a:close/>
                    <a:moveTo>
                      <a:pt x="1317766" y="2343088"/>
                    </a:moveTo>
                    <a:lnTo>
                      <a:pt x="1225714" y="2384157"/>
                    </a:lnTo>
                    <a:lnTo>
                      <a:pt x="1133662" y="2337423"/>
                    </a:lnTo>
                    <a:lnTo>
                      <a:pt x="1139326" y="2313348"/>
                    </a:lnTo>
                    <a:lnTo>
                      <a:pt x="1317766" y="2343088"/>
                    </a:lnTo>
                    <a:close/>
                    <a:moveTo>
                      <a:pt x="1095424" y="2184474"/>
                    </a:moveTo>
                    <a:lnTo>
                      <a:pt x="1095424" y="2184474"/>
                    </a:lnTo>
                    <a:lnTo>
                      <a:pt x="1112419" y="2181642"/>
                    </a:lnTo>
                    <a:lnTo>
                      <a:pt x="1043025" y="2292105"/>
                    </a:lnTo>
                    <a:lnTo>
                      <a:pt x="1014701" y="2040023"/>
                    </a:lnTo>
                    <a:cubicBezTo>
                      <a:pt x="1038776" y="2083925"/>
                      <a:pt x="1064268" y="2132075"/>
                      <a:pt x="1095424" y="2184474"/>
                    </a:cubicBezTo>
                    <a:close/>
                    <a:moveTo>
                      <a:pt x="418485" y="1102504"/>
                    </a:moveTo>
                    <a:lnTo>
                      <a:pt x="390161" y="1177563"/>
                    </a:lnTo>
                    <a:lnTo>
                      <a:pt x="305190" y="1152071"/>
                    </a:lnTo>
                    <a:lnTo>
                      <a:pt x="323600" y="1079846"/>
                    </a:lnTo>
                    <a:lnTo>
                      <a:pt x="418485" y="1102504"/>
                    </a:lnTo>
                    <a:close/>
                    <a:moveTo>
                      <a:pt x="357588" y="1269615"/>
                    </a:moveTo>
                    <a:lnTo>
                      <a:pt x="391577" y="1178979"/>
                    </a:lnTo>
                    <a:lnTo>
                      <a:pt x="528948" y="1220048"/>
                    </a:lnTo>
                    <a:lnTo>
                      <a:pt x="357588" y="1269615"/>
                    </a:lnTo>
                    <a:close/>
                    <a:moveTo>
                      <a:pt x="94177" y="1086927"/>
                    </a:moveTo>
                    <a:lnTo>
                      <a:pt x="85680" y="1084094"/>
                    </a:lnTo>
                    <a:lnTo>
                      <a:pt x="87096" y="1077013"/>
                    </a:lnTo>
                    <a:lnTo>
                      <a:pt x="94177" y="1086927"/>
                    </a:lnTo>
                    <a:close/>
                    <a:moveTo>
                      <a:pt x="108339" y="605422"/>
                    </a:moveTo>
                    <a:lnTo>
                      <a:pt x="115420" y="592676"/>
                    </a:lnTo>
                    <a:lnTo>
                      <a:pt x="125333" y="609670"/>
                    </a:lnTo>
                    <a:lnTo>
                      <a:pt x="108339" y="605422"/>
                    </a:lnTo>
                    <a:close/>
                    <a:moveTo>
                      <a:pt x="1303604" y="530363"/>
                    </a:moveTo>
                    <a:lnTo>
                      <a:pt x="1306437" y="445392"/>
                    </a:lnTo>
                    <a:lnTo>
                      <a:pt x="1339009" y="452473"/>
                    </a:lnTo>
                    <a:lnTo>
                      <a:pt x="1346090" y="511953"/>
                    </a:lnTo>
                    <a:lnTo>
                      <a:pt x="1303604" y="530363"/>
                    </a:lnTo>
                    <a:close/>
                    <a:moveTo>
                      <a:pt x="1664733" y="1800687"/>
                    </a:moveTo>
                    <a:lnTo>
                      <a:pt x="1664733" y="1800687"/>
                    </a:lnTo>
                    <a:lnTo>
                      <a:pt x="1671814" y="1816265"/>
                    </a:lnTo>
                    <a:lnTo>
                      <a:pt x="1663317" y="1809184"/>
                    </a:lnTo>
                    <a:lnTo>
                      <a:pt x="1663317" y="1809184"/>
                    </a:lnTo>
                    <a:lnTo>
                      <a:pt x="1541524" y="2051353"/>
                    </a:lnTo>
                    <a:lnTo>
                      <a:pt x="1446640" y="2010283"/>
                    </a:lnTo>
                    <a:lnTo>
                      <a:pt x="1496207" y="1898404"/>
                    </a:lnTo>
                    <a:lnTo>
                      <a:pt x="1496207" y="1898404"/>
                    </a:lnTo>
                    <a:lnTo>
                      <a:pt x="1487709" y="1898404"/>
                    </a:lnTo>
                    <a:lnTo>
                      <a:pt x="1499039" y="1889906"/>
                    </a:lnTo>
                    <a:lnTo>
                      <a:pt x="1499039" y="1889906"/>
                    </a:lnTo>
                    <a:lnTo>
                      <a:pt x="1474964" y="1804935"/>
                    </a:lnTo>
                    <a:lnTo>
                      <a:pt x="1684560" y="1680310"/>
                    </a:lnTo>
                    <a:lnTo>
                      <a:pt x="1664733" y="1800687"/>
                    </a:lnTo>
                    <a:close/>
                    <a:moveTo>
                      <a:pt x="1292275" y="2292105"/>
                    </a:moveTo>
                    <a:lnTo>
                      <a:pt x="1292275" y="2292105"/>
                    </a:lnTo>
                    <a:lnTo>
                      <a:pt x="1431062" y="2268030"/>
                    </a:lnTo>
                    <a:lnTo>
                      <a:pt x="1415484" y="2299186"/>
                    </a:lnTo>
                    <a:lnTo>
                      <a:pt x="1320599" y="2341672"/>
                    </a:lnTo>
                    <a:lnTo>
                      <a:pt x="1139326" y="2311932"/>
                    </a:lnTo>
                    <a:lnTo>
                      <a:pt x="1177564" y="2167480"/>
                    </a:lnTo>
                    <a:lnTo>
                      <a:pt x="1177564" y="2167480"/>
                    </a:lnTo>
                    <a:lnTo>
                      <a:pt x="1115251" y="2178810"/>
                    </a:lnTo>
                    <a:lnTo>
                      <a:pt x="1163402" y="2102335"/>
                    </a:lnTo>
                    <a:lnTo>
                      <a:pt x="1170483" y="2124994"/>
                    </a:lnTo>
                    <a:lnTo>
                      <a:pt x="1166234" y="2160399"/>
                    </a:lnTo>
                    <a:lnTo>
                      <a:pt x="1166234" y="2160399"/>
                    </a:lnTo>
                    <a:lnTo>
                      <a:pt x="1178979" y="2150486"/>
                    </a:lnTo>
                    <a:lnTo>
                      <a:pt x="1181812" y="2158983"/>
                    </a:lnTo>
                    <a:lnTo>
                      <a:pt x="1181812" y="2158983"/>
                    </a:lnTo>
                    <a:lnTo>
                      <a:pt x="1323431" y="2130659"/>
                    </a:lnTo>
                    <a:lnTo>
                      <a:pt x="1323431" y="2130659"/>
                    </a:lnTo>
                    <a:lnTo>
                      <a:pt x="1255454" y="2086757"/>
                    </a:lnTo>
                    <a:lnTo>
                      <a:pt x="1483461" y="1898404"/>
                    </a:lnTo>
                    <a:lnTo>
                      <a:pt x="1490541" y="1898404"/>
                    </a:lnTo>
                    <a:lnTo>
                      <a:pt x="1442391" y="2010283"/>
                    </a:lnTo>
                    <a:lnTo>
                      <a:pt x="1442391" y="2010283"/>
                    </a:lnTo>
                    <a:lnTo>
                      <a:pt x="1540108" y="2051353"/>
                    </a:lnTo>
                    <a:lnTo>
                      <a:pt x="1490541" y="2149070"/>
                    </a:lnTo>
                    <a:lnTo>
                      <a:pt x="1292275" y="2292105"/>
                    </a:lnTo>
                    <a:close/>
                    <a:moveTo>
                      <a:pt x="1096840" y="2183058"/>
                    </a:moveTo>
                    <a:cubicBezTo>
                      <a:pt x="1069933" y="2134908"/>
                      <a:pt x="1041609" y="2085341"/>
                      <a:pt x="1013285" y="2035774"/>
                    </a:cubicBezTo>
                    <a:lnTo>
                      <a:pt x="1013285" y="2035774"/>
                    </a:lnTo>
                    <a:lnTo>
                      <a:pt x="984961" y="1793606"/>
                    </a:lnTo>
                    <a:cubicBezTo>
                      <a:pt x="994874" y="1775195"/>
                      <a:pt x="1003372" y="1759617"/>
                      <a:pt x="1004788" y="1755368"/>
                    </a:cubicBezTo>
                    <a:lnTo>
                      <a:pt x="1004788" y="1753952"/>
                    </a:lnTo>
                    <a:lnTo>
                      <a:pt x="979297" y="1749704"/>
                    </a:lnTo>
                    <a:lnTo>
                      <a:pt x="973632" y="1701553"/>
                    </a:lnTo>
                    <a:lnTo>
                      <a:pt x="1044441" y="1674646"/>
                    </a:lnTo>
                    <a:lnTo>
                      <a:pt x="1218633" y="1663316"/>
                    </a:lnTo>
                    <a:lnTo>
                      <a:pt x="1210136" y="1751120"/>
                    </a:lnTo>
                    <a:lnTo>
                      <a:pt x="1055771" y="1770946"/>
                    </a:lnTo>
                    <a:lnTo>
                      <a:pt x="1055771" y="1770946"/>
                    </a:lnTo>
                    <a:lnTo>
                      <a:pt x="1106754" y="1925311"/>
                    </a:lnTo>
                    <a:lnTo>
                      <a:pt x="1010453" y="1932392"/>
                    </a:lnTo>
                    <a:lnTo>
                      <a:pt x="1010453" y="1932392"/>
                    </a:lnTo>
                    <a:lnTo>
                      <a:pt x="1136494" y="2013115"/>
                    </a:lnTo>
                    <a:lnTo>
                      <a:pt x="1164817" y="2100919"/>
                    </a:lnTo>
                    <a:lnTo>
                      <a:pt x="1115251" y="2180226"/>
                    </a:lnTo>
                    <a:lnTo>
                      <a:pt x="1096840" y="2183058"/>
                    </a:lnTo>
                    <a:close/>
                    <a:moveTo>
                      <a:pt x="114004" y="589843"/>
                    </a:moveTo>
                    <a:lnTo>
                      <a:pt x="104090" y="606838"/>
                    </a:lnTo>
                    <a:lnTo>
                      <a:pt x="125333" y="611086"/>
                    </a:lnTo>
                    <a:lnTo>
                      <a:pt x="109755" y="662069"/>
                    </a:lnTo>
                    <a:lnTo>
                      <a:pt x="101258" y="667734"/>
                    </a:lnTo>
                    <a:lnTo>
                      <a:pt x="58772" y="493542"/>
                    </a:lnTo>
                    <a:lnTo>
                      <a:pt x="114004" y="589843"/>
                    </a:lnTo>
                    <a:close/>
                    <a:moveTo>
                      <a:pt x="225883" y="632329"/>
                    </a:moveTo>
                    <a:lnTo>
                      <a:pt x="181981" y="622416"/>
                    </a:lnTo>
                    <a:lnTo>
                      <a:pt x="252790" y="579930"/>
                    </a:lnTo>
                    <a:lnTo>
                      <a:pt x="259871" y="591260"/>
                    </a:lnTo>
                    <a:lnTo>
                      <a:pt x="225883" y="632329"/>
                    </a:lnTo>
                    <a:close/>
                    <a:moveTo>
                      <a:pt x="640827" y="156489"/>
                    </a:moveTo>
                    <a:lnTo>
                      <a:pt x="657821" y="143743"/>
                    </a:lnTo>
                    <a:lnTo>
                      <a:pt x="914152" y="200391"/>
                    </a:lnTo>
                    <a:lnTo>
                      <a:pt x="781030" y="201807"/>
                    </a:lnTo>
                    <a:lnTo>
                      <a:pt x="640827" y="156489"/>
                    </a:lnTo>
                    <a:close/>
                    <a:moveTo>
                      <a:pt x="884412" y="351923"/>
                    </a:moveTo>
                    <a:lnTo>
                      <a:pt x="1020366" y="282530"/>
                    </a:lnTo>
                    <a:lnTo>
                      <a:pt x="1201639" y="340594"/>
                    </a:lnTo>
                    <a:lnTo>
                      <a:pt x="1184644" y="417068"/>
                    </a:lnTo>
                    <a:lnTo>
                      <a:pt x="884412" y="351923"/>
                    </a:lnTo>
                    <a:close/>
                    <a:moveTo>
                      <a:pt x="1493374" y="1130828"/>
                    </a:moveTo>
                    <a:lnTo>
                      <a:pt x="1562767" y="1054354"/>
                    </a:lnTo>
                    <a:lnTo>
                      <a:pt x="1659069" y="1101088"/>
                    </a:lnTo>
                    <a:lnTo>
                      <a:pt x="1605253" y="1120915"/>
                    </a:lnTo>
                    <a:lnTo>
                      <a:pt x="1493374" y="1130828"/>
                    </a:lnTo>
                    <a:close/>
                    <a:moveTo>
                      <a:pt x="1513201" y="1494789"/>
                    </a:moveTo>
                    <a:lnTo>
                      <a:pt x="1501871" y="1491957"/>
                    </a:lnTo>
                    <a:lnTo>
                      <a:pt x="1659069" y="1360251"/>
                    </a:lnTo>
                    <a:lnTo>
                      <a:pt x="1650571" y="1442390"/>
                    </a:lnTo>
                    <a:lnTo>
                      <a:pt x="1513201" y="1494789"/>
                    </a:lnTo>
                    <a:close/>
                    <a:moveTo>
                      <a:pt x="960886" y="1336176"/>
                    </a:moveTo>
                    <a:lnTo>
                      <a:pt x="989210" y="1344673"/>
                    </a:lnTo>
                    <a:lnTo>
                      <a:pt x="982129" y="1364500"/>
                    </a:lnTo>
                    <a:lnTo>
                      <a:pt x="959470" y="1337592"/>
                    </a:lnTo>
                    <a:lnTo>
                      <a:pt x="960886" y="1336176"/>
                    </a:lnTo>
                    <a:close/>
                    <a:moveTo>
                      <a:pt x="945308" y="1329095"/>
                    </a:moveTo>
                    <a:lnTo>
                      <a:pt x="945308" y="1323430"/>
                    </a:lnTo>
                    <a:lnTo>
                      <a:pt x="950973" y="1330511"/>
                    </a:lnTo>
                    <a:lnTo>
                      <a:pt x="945308" y="1329095"/>
                    </a:lnTo>
                    <a:close/>
                    <a:moveTo>
                      <a:pt x="114004" y="660653"/>
                    </a:moveTo>
                    <a:lnTo>
                      <a:pt x="128166" y="613919"/>
                    </a:lnTo>
                    <a:lnTo>
                      <a:pt x="145160" y="642242"/>
                    </a:lnTo>
                    <a:lnTo>
                      <a:pt x="114004" y="660653"/>
                    </a:lnTo>
                    <a:close/>
                    <a:moveTo>
                      <a:pt x="180564" y="621000"/>
                    </a:moveTo>
                    <a:lnTo>
                      <a:pt x="167819" y="618167"/>
                    </a:lnTo>
                    <a:lnTo>
                      <a:pt x="191894" y="482213"/>
                    </a:lnTo>
                    <a:lnTo>
                      <a:pt x="252790" y="578514"/>
                    </a:lnTo>
                    <a:lnTo>
                      <a:pt x="180564" y="621000"/>
                    </a:lnTo>
                    <a:close/>
                    <a:moveTo>
                      <a:pt x="507705" y="660653"/>
                    </a:moveTo>
                    <a:lnTo>
                      <a:pt x="524699" y="698890"/>
                    </a:lnTo>
                    <a:lnTo>
                      <a:pt x="516202" y="697474"/>
                    </a:lnTo>
                    <a:lnTo>
                      <a:pt x="492127" y="664902"/>
                    </a:lnTo>
                    <a:lnTo>
                      <a:pt x="507705" y="660653"/>
                    </a:lnTo>
                    <a:close/>
                    <a:moveTo>
                      <a:pt x="489294" y="266952"/>
                    </a:moveTo>
                    <a:lnTo>
                      <a:pt x="443976" y="300941"/>
                    </a:lnTo>
                    <a:lnTo>
                      <a:pt x="363253" y="240044"/>
                    </a:lnTo>
                    <a:lnTo>
                      <a:pt x="489294" y="266952"/>
                    </a:lnTo>
                    <a:close/>
                    <a:moveTo>
                      <a:pt x="643659" y="223050"/>
                    </a:moveTo>
                    <a:lnTo>
                      <a:pt x="626665" y="206056"/>
                    </a:lnTo>
                    <a:lnTo>
                      <a:pt x="781030" y="204640"/>
                    </a:lnTo>
                    <a:lnTo>
                      <a:pt x="950973" y="259871"/>
                    </a:lnTo>
                    <a:lnTo>
                      <a:pt x="643659" y="223050"/>
                    </a:lnTo>
                    <a:close/>
                    <a:moveTo>
                      <a:pt x="642243" y="224466"/>
                    </a:moveTo>
                    <a:lnTo>
                      <a:pt x="739960" y="319351"/>
                    </a:lnTo>
                    <a:lnTo>
                      <a:pt x="493543" y="265536"/>
                    </a:lnTo>
                    <a:lnTo>
                      <a:pt x="561520" y="214553"/>
                    </a:lnTo>
                    <a:lnTo>
                      <a:pt x="642243" y="224466"/>
                    </a:lnTo>
                    <a:close/>
                    <a:moveTo>
                      <a:pt x="1453721" y="1174730"/>
                    </a:moveTo>
                    <a:lnTo>
                      <a:pt x="1491958" y="1132245"/>
                    </a:lnTo>
                    <a:lnTo>
                      <a:pt x="1598172" y="1122331"/>
                    </a:lnTo>
                    <a:lnTo>
                      <a:pt x="1453721" y="1174730"/>
                    </a:lnTo>
                    <a:close/>
                    <a:moveTo>
                      <a:pt x="1484877" y="1504703"/>
                    </a:moveTo>
                    <a:lnTo>
                      <a:pt x="1499039" y="1491957"/>
                    </a:lnTo>
                    <a:lnTo>
                      <a:pt x="1508952" y="1494789"/>
                    </a:lnTo>
                    <a:lnTo>
                      <a:pt x="1484877" y="1504703"/>
                    </a:lnTo>
                    <a:close/>
                    <a:moveTo>
                      <a:pt x="1397073" y="1727044"/>
                    </a:moveTo>
                    <a:lnTo>
                      <a:pt x="1320599" y="1848837"/>
                    </a:lnTo>
                    <a:lnTo>
                      <a:pt x="1282362" y="1744039"/>
                    </a:lnTo>
                    <a:lnTo>
                      <a:pt x="1391408" y="1729877"/>
                    </a:lnTo>
                    <a:lnTo>
                      <a:pt x="1397073" y="1727044"/>
                    </a:lnTo>
                    <a:close/>
                    <a:moveTo>
                      <a:pt x="1191725" y="1921063"/>
                    </a:moveTo>
                    <a:lnTo>
                      <a:pt x="1178979" y="2038606"/>
                    </a:lnTo>
                    <a:lnTo>
                      <a:pt x="1135078" y="2010283"/>
                    </a:lnTo>
                    <a:lnTo>
                      <a:pt x="1108170" y="1926727"/>
                    </a:lnTo>
                    <a:lnTo>
                      <a:pt x="1191725" y="1921063"/>
                    </a:lnTo>
                    <a:close/>
                    <a:moveTo>
                      <a:pt x="1224298" y="1606668"/>
                    </a:moveTo>
                    <a:lnTo>
                      <a:pt x="1218633" y="1661900"/>
                    </a:lnTo>
                    <a:lnTo>
                      <a:pt x="1051522" y="1673229"/>
                    </a:lnTo>
                    <a:lnTo>
                      <a:pt x="1224298" y="1606668"/>
                    </a:lnTo>
                    <a:close/>
                    <a:moveTo>
                      <a:pt x="1215800" y="1565599"/>
                    </a:moveTo>
                    <a:lnTo>
                      <a:pt x="1225714" y="1593923"/>
                    </a:lnTo>
                    <a:lnTo>
                      <a:pt x="1224298" y="1603836"/>
                    </a:lnTo>
                    <a:lnTo>
                      <a:pt x="1044441" y="1671813"/>
                    </a:lnTo>
                    <a:lnTo>
                      <a:pt x="999123" y="1674646"/>
                    </a:lnTo>
                    <a:lnTo>
                      <a:pt x="1112419" y="1550021"/>
                    </a:lnTo>
                    <a:lnTo>
                      <a:pt x="1215800" y="1565599"/>
                    </a:lnTo>
                    <a:close/>
                    <a:moveTo>
                      <a:pt x="166402" y="956637"/>
                    </a:moveTo>
                    <a:lnTo>
                      <a:pt x="220218" y="844758"/>
                    </a:lnTo>
                    <a:lnTo>
                      <a:pt x="434063" y="915567"/>
                    </a:lnTo>
                    <a:lnTo>
                      <a:pt x="456722" y="931145"/>
                    </a:lnTo>
                    <a:lnTo>
                      <a:pt x="166402" y="956637"/>
                    </a:lnTo>
                    <a:close/>
                    <a:moveTo>
                      <a:pt x="659237" y="463803"/>
                    </a:moveTo>
                    <a:lnTo>
                      <a:pt x="445392" y="302357"/>
                    </a:lnTo>
                    <a:lnTo>
                      <a:pt x="490711" y="268368"/>
                    </a:lnTo>
                    <a:lnTo>
                      <a:pt x="741376" y="323599"/>
                    </a:lnTo>
                    <a:lnTo>
                      <a:pt x="807937" y="388744"/>
                    </a:lnTo>
                    <a:lnTo>
                      <a:pt x="659237" y="463803"/>
                    </a:lnTo>
                    <a:close/>
                    <a:moveTo>
                      <a:pt x="878747" y="351923"/>
                    </a:moveTo>
                    <a:lnTo>
                      <a:pt x="812186" y="385912"/>
                    </a:lnTo>
                    <a:lnTo>
                      <a:pt x="747041" y="322183"/>
                    </a:lnTo>
                    <a:lnTo>
                      <a:pt x="878747" y="351923"/>
                    </a:lnTo>
                    <a:close/>
                    <a:moveTo>
                      <a:pt x="1197390" y="2049936"/>
                    </a:moveTo>
                    <a:lnTo>
                      <a:pt x="1282362" y="1913982"/>
                    </a:lnTo>
                    <a:lnTo>
                      <a:pt x="1480628" y="1899820"/>
                    </a:lnTo>
                    <a:lnTo>
                      <a:pt x="1254038" y="2086757"/>
                    </a:lnTo>
                    <a:lnTo>
                      <a:pt x="1197390" y="2049936"/>
                    </a:lnTo>
                    <a:close/>
                    <a:moveTo>
                      <a:pt x="1183228" y="2156151"/>
                    </a:moveTo>
                    <a:lnTo>
                      <a:pt x="1180396" y="2149070"/>
                    </a:lnTo>
                    <a:lnTo>
                      <a:pt x="1254038" y="2088173"/>
                    </a:lnTo>
                    <a:lnTo>
                      <a:pt x="1317766" y="2129243"/>
                    </a:lnTo>
                    <a:lnTo>
                      <a:pt x="1183228" y="2156151"/>
                    </a:lnTo>
                    <a:close/>
                    <a:moveTo>
                      <a:pt x="1178979" y="2149070"/>
                    </a:moveTo>
                    <a:lnTo>
                      <a:pt x="1170483" y="2156151"/>
                    </a:lnTo>
                    <a:lnTo>
                      <a:pt x="1173315" y="2130659"/>
                    </a:lnTo>
                    <a:lnTo>
                      <a:pt x="1178979" y="2149070"/>
                    </a:lnTo>
                    <a:close/>
                    <a:moveTo>
                      <a:pt x="1194558" y="1918230"/>
                    </a:moveTo>
                    <a:lnTo>
                      <a:pt x="1211552" y="1751120"/>
                    </a:lnTo>
                    <a:lnTo>
                      <a:pt x="1279529" y="1742623"/>
                    </a:lnTo>
                    <a:lnTo>
                      <a:pt x="1317766" y="1848837"/>
                    </a:lnTo>
                    <a:lnTo>
                      <a:pt x="1279529" y="1911149"/>
                    </a:lnTo>
                    <a:lnTo>
                      <a:pt x="1194558" y="1918230"/>
                    </a:lnTo>
                    <a:close/>
                    <a:moveTo>
                      <a:pt x="1252622" y="2088173"/>
                    </a:moveTo>
                    <a:lnTo>
                      <a:pt x="1180396" y="2147653"/>
                    </a:lnTo>
                    <a:lnTo>
                      <a:pt x="1173315" y="2124994"/>
                    </a:lnTo>
                    <a:lnTo>
                      <a:pt x="1177564" y="2081092"/>
                    </a:lnTo>
                    <a:lnTo>
                      <a:pt x="1195974" y="2052768"/>
                    </a:lnTo>
                    <a:lnTo>
                      <a:pt x="1252622" y="2088173"/>
                    </a:lnTo>
                    <a:close/>
                    <a:moveTo>
                      <a:pt x="1279529" y="1915398"/>
                    </a:moveTo>
                    <a:lnTo>
                      <a:pt x="1195974" y="2049936"/>
                    </a:lnTo>
                    <a:lnTo>
                      <a:pt x="1183228" y="2041439"/>
                    </a:lnTo>
                    <a:lnTo>
                      <a:pt x="1195974" y="1922479"/>
                    </a:lnTo>
                    <a:lnTo>
                      <a:pt x="1279529" y="1915398"/>
                    </a:lnTo>
                    <a:close/>
                    <a:moveTo>
                      <a:pt x="1194558" y="2049936"/>
                    </a:moveTo>
                    <a:lnTo>
                      <a:pt x="1178979" y="2075428"/>
                    </a:lnTo>
                    <a:lnTo>
                      <a:pt x="1181812" y="2042855"/>
                    </a:lnTo>
                    <a:lnTo>
                      <a:pt x="1194558" y="2049936"/>
                    </a:lnTo>
                    <a:close/>
                    <a:moveTo>
                      <a:pt x="1174731" y="2083925"/>
                    </a:moveTo>
                    <a:lnTo>
                      <a:pt x="1170483" y="2119330"/>
                    </a:lnTo>
                    <a:lnTo>
                      <a:pt x="1163402" y="2099503"/>
                    </a:lnTo>
                    <a:lnTo>
                      <a:pt x="1174731" y="2083925"/>
                    </a:lnTo>
                    <a:close/>
                    <a:moveTo>
                      <a:pt x="1229962" y="1603836"/>
                    </a:moveTo>
                    <a:lnTo>
                      <a:pt x="1249789" y="1659068"/>
                    </a:lnTo>
                    <a:lnTo>
                      <a:pt x="1221465" y="1660484"/>
                    </a:lnTo>
                    <a:lnTo>
                      <a:pt x="1227130" y="1605252"/>
                    </a:lnTo>
                    <a:lnTo>
                      <a:pt x="1229962" y="1603836"/>
                    </a:lnTo>
                    <a:close/>
                    <a:moveTo>
                      <a:pt x="945308" y="888660"/>
                    </a:moveTo>
                    <a:lnTo>
                      <a:pt x="945308" y="925481"/>
                    </a:lnTo>
                    <a:lnTo>
                      <a:pt x="789527" y="902822"/>
                    </a:lnTo>
                    <a:lnTo>
                      <a:pt x="945308" y="888660"/>
                    </a:lnTo>
                    <a:close/>
                    <a:moveTo>
                      <a:pt x="633746" y="936810"/>
                    </a:moveTo>
                    <a:lnTo>
                      <a:pt x="704555" y="1092591"/>
                    </a:lnTo>
                    <a:lnTo>
                      <a:pt x="690393" y="1091175"/>
                    </a:lnTo>
                    <a:lnTo>
                      <a:pt x="460971" y="931145"/>
                    </a:lnTo>
                    <a:lnTo>
                      <a:pt x="479381" y="929729"/>
                    </a:lnTo>
                    <a:lnTo>
                      <a:pt x="528948" y="946723"/>
                    </a:lnTo>
                    <a:lnTo>
                      <a:pt x="528948" y="946723"/>
                    </a:lnTo>
                    <a:lnTo>
                      <a:pt x="633746" y="936810"/>
                    </a:lnTo>
                    <a:close/>
                    <a:moveTo>
                      <a:pt x="633746" y="856087"/>
                    </a:moveTo>
                    <a:lnTo>
                      <a:pt x="602590" y="861752"/>
                    </a:lnTo>
                    <a:lnTo>
                      <a:pt x="547358" y="739960"/>
                    </a:lnTo>
                    <a:lnTo>
                      <a:pt x="633746" y="856087"/>
                    </a:lnTo>
                    <a:close/>
                    <a:moveTo>
                      <a:pt x="637995" y="622416"/>
                    </a:moveTo>
                    <a:lnTo>
                      <a:pt x="656405" y="728630"/>
                    </a:lnTo>
                    <a:lnTo>
                      <a:pt x="527531" y="698890"/>
                    </a:lnTo>
                    <a:lnTo>
                      <a:pt x="509121" y="659237"/>
                    </a:lnTo>
                    <a:lnTo>
                      <a:pt x="637995" y="622416"/>
                    </a:lnTo>
                    <a:close/>
                    <a:moveTo>
                      <a:pt x="1173315" y="591260"/>
                    </a:moveTo>
                    <a:lnTo>
                      <a:pt x="1204471" y="577098"/>
                    </a:lnTo>
                    <a:lnTo>
                      <a:pt x="1224298" y="594092"/>
                    </a:lnTo>
                    <a:lnTo>
                      <a:pt x="1173315" y="591260"/>
                    </a:lnTo>
                    <a:close/>
                    <a:moveTo>
                      <a:pt x="1227130" y="594092"/>
                    </a:moveTo>
                    <a:lnTo>
                      <a:pt x="1205887" y="575682"/>
                    </a:lnTo>
                    <a:lnTo>
                      <a:pt x="1300772" y="533196"/>
                    </a:lnTo>
                    <a:lnTo>
                      <a:pt x="1299356" y="598341"/>
                    </a:lnTo>
                    <a:lnTo>
                      <a:pt x="1227130" y="594092"/>
                    </a:lnTo>
                    <a:close/>
                    <a:moveTo>
                      <a:pt x="1229962" y="596924"/>
                    </a:moveTo>
                    <a:lnTo>
                      <a:pt x="1299356" y="601173"/>
                    </a:lnTo>
                    <a:lnTo>
                      <a:pt x="1297940" y="653572"/>
                    </a:lnTo>
                    <a:lnTo>
                      <a:pt x="1229962" y="596924"/>
                    </a:lnTo>
                    <a:close/>
                    <a:moveTo>
                      <a:pt x="1299356" y="680480"/>
                    </a:moveTo>
                    <a:lnTo>
                      <a:pt x="1299356" y="657821"/>
                    </a:lnTo>
                    <a:lnTo>
                      <a:pt x="1323431" y="677647"/>
                    </a:lnTo>
                    <a:lnTo>
                      <a:pt x="1299356" y="680480"/>
                    </a:lnTo>
                    <a:close/>
                    <a:moveTo>
                      <a:pt x="1350339" y="748457"/>
                    </a:moveTo>
                    <a:lnTo>
                      <a:pt x="1348922" y="749873"/>
                    </a:lnTo>
                    <a:lnTo>
                      <a:pt x="1350339" y="748457"/>
                    </a:lnTo>
                    <a:lnTo>
                      <a:pt x="1350339" y="748457"/>
                    </a:lnTo>
                    <a:close/>
                    <a:moveTo>
                      <a:pt x="1350339" y="745624"/>
                    </a:moveTo>
                    <a:lnTo>
                      <a:pt x="1357420" y="703139"/>
                    </a:lnTo>
                    <a:lnTo>
                      <a:pt x="1357420" y="703139"/>
                    </a:lnTo>
                    <a:lnTo>
                      <a:pt x="1327679" y="679063"/>
                    </a:lnTo>
                    <a:lnTo>
                      <a:pt x="1401322" y="670566"/>
                    </a:lnTo>
                    <a:lnTo>
                      <a:pt x="1350339" y="745624"/>
                    </a:lnTo>
                    <a:lnTo>
                      <a:pt x="1350339" y="745624"/>
                    </a:lnTo>
                    <a:close/>
                    <a:moveTo>
                      <a:pt x="1561351" y="837677"/>
                    </a:moveTo>
                    <a:lnTo>
                      <a:pt x="1496207" y="905654"/>
                    </a:lnTo>
                    <a:lnTo>
                      <a:pt x="1339009" y="941059"/>
                    </a:lnTo>
                    <a:lnTo>
                      <a:pt x="1319183" y="931145"/>
                    </a:lnTo>
                    <a:lnTo>
                      <a:pt x="1350339" y="752705"/>
                    </a:lnTo>
                    <a:lnTo>
                      <a:pt x="1354587" y="747041"/>
                    </a:lnTo>
                    <a:lnTo>
                      <a:pt x="1578346" y="721549"/>
                    </a:lnTo>
                    <a:lnTo>
                      <a:pt x="1541524" y="762619"/>
                    </a:lnTo>
                    <a:lnTo>
                      <a:pt x="1541524" y="762619"/>
                    </a:lnTo>
                    <a:lnTo>
                      <a:pt x="1561351" y="837677"/>
                    </a:lnTo>
                    <a:close/>
                    <a:moveTo>
                      <a:pt x="1392824" y="1306436"/>
                    </a:moveTo>
                    <a:lnTo>
                      <a:pt x="1421148" y="1341841"/>
                    </a:lnTo>
                    <a:lnTo>
                      <a:pt x="1322015" y="1423980"/>
                    </a:lnTo>
                    <a:lnTo>
                      <a:pt x="1367333" y="1293690"/>
                    </a:lnTo>
                    <a:lnTo>
                      <a:pt x="1392824" y="1306436"/>
                    </a:lnTo>
                    <a:close/>
                    <a:moveTo>
                      <a:pt x="1378662" y="1256869"/>
                    </a:moveTo>
                    <a:lnTo>
                      <a:pt x="1367333" y="1290858"/>
                    </a:lnTo>
                    <a:lnTo>
                      <a:pt x="1354587" y="1283777"/>
                    </a:lnTo>
                    <a:lnTo>
                      <a:pt x="1378662" y="1256869"/>
                    </a:lnTo>
                    <a:close/>
                    <a:moveTo>
                      <a:pt x="1391408" y="1541524"/>
                    </a:moveTo>
                    <a:lnTo>
                      <a:pt x="1450888" y="1479211"/>
                    </a:lnTo>
                    <a:lnTo>
                      <a:pt x="1497622" y="1493373"/>
                    </a:lnTo>
                    <a:lnTo>
                      <a:pt x="1479212" y="1508951"/>
                    </a:lnTo>
                    <a:lnTo>
                      <a:pt x="1391408" y="1541524"/>
                    </a:lnTo>
                    <a:close/>
                    <a:moveTo>
                      <a:pt x="1382911" y="1545772"/>
                    </a:moveTo>
                    <a:lnTo>
                      <a:pt x="1348922" y="1581177"/>
                    </a:lnTo>
                    <a:lnTo>
                      <a:pt x="1306437" y="1575512"/>
                    </a:lnTo>
                    <a:lnTo>
                      <a:pt x="1382911" y="1545772"/>
                    </a:lnTo>
                    <a:close/>
                    <a:moveTo>
                      <a:pt x="1224298" y="1423980"/>
                    </a:moveTo>
                    <a:lnTo>
                      <a:pt x="1183228" y="1469298"/>
                    </a:lnTo>
                    <a:lnTo>
                      <a:pt x="1163402" y="1416899"/>
                    </a:lnTo>
                    <a:lnTo>
                      <a:pt x="1224298" y="1423980"/>
                    </a:lnTo>
                    <a:close/>
                    <a:moveTo>
                      <a:pt x="1237043" y="1414067"/>
                    </a:moveTo>
                    <a:lnTo>
                      <a:pt x="1246957" y="1404153"/>
                    </a:lnTo>
                    <a:lnTo>
                      <a:pt x="1245541" y="1416899"/>
                    </a:lnTo>
                    <a:lnTo>
                      <a:pt x="1237043" y="1414067"/>
                    </a:lnTo>
                    <a:close/>
                    <a:moveTo>
                      <a:pt x="1245541" y="1425396"/>
                    </a:moveTo>
                    <a:lnTo>
                      <a:pt x="1245541" y="1419731"/>
                    </a:lnTo>
                    <a:lnTo>
                      <a:pt x="1285194" y="1431061"/>
                    </a:lnTo>
                    <a:lnTo>
                      <a:pt x="1245541" y="1425396"/>
                    </a:lnTo>
                    <a:close/>
                    <a:moveTo>
                      <a:pt x="1347507" y="1582593"/>
                    </a:moveTo>
                    <a:lnTo>
                      <a:pt x="1275281" y="1657651"/>
                    </a:lnTo>
                    <a:lnTo>
                      <a:pt x="1251205" y="1659068"/>
                    </a:lnTo>
                    <a:lnTo>
                      <a:pt x="1231379" y="1603836"/>
                    </a:lnTo>
                    <a:lnTo>
                      <a:pt x="1302188" y="1576929"/>
                    </a:lnTo>
                    <a:lnTo>
                      <a:pt x="1347507" y="1582593"/>
                    </a:lnTo>
                    <a:close/>
                    <a:moveTo>
                      <a:pt x="1231379" y="1567015"/>
                    </a:moveTo>
                    <a:lnTo>
                      <a:pt x="1299356" y="1575512"/>
                    </a:lnTo>
                    <a:lnTo>
                      <a:pt x="1232795" y="1601004"/>
                    </a:lnTo>
                    <a:lnTo>
                      <a:pt x="1229962" y="1592506"/>
                    </a:lnTo>
                    <a:lnTo>
                      <a:pt x="1231379" y="1567015"/>
                    </a:lnTo>
                    <a:close/>
                    <a:moveTo>
                      <a:pt x="1231379" y="1565599"/>
                    </a:moveTo>
                    <a:lnTo>
                      <a:pt x="1245541" y="1428229"/>
                    </a:lnTo>
                    <a:lnTo>
                      <a:pt x="1299356" y="1435310"/>
                    </a:lnTo>
                    <a:lnTo>
                      <a:pt x="1449472" y="1479211"/>
                    </a:lnTo>
                    <a:lnTo>
                      <a:pt x="1387160" y="1544356"/>
                    </a:lnTo>
                    <a:lnTo>
                      <a:pt x="1303604" y="1576929"/>
                    </a:lnTo>
                    <a:lnTo>
                      <a:pt x="1231379" y="1565599"/>
                    </a:lnTo>
                    <a:close/>
                    <a:moveTo>
                      <a:pt x="1228546" y="1422563"/>
                    </a:moveTo>
                    <a:lnTo>
                      <a:pt x="1235627" y="1415483"/>
                    </a:lnTo>
                    <a:lnTo>
                      <a:pt x="1245541" y="1418315"/>
                    </a:lnTo>
                    <a:lnTo>
                      <a:pt x="1245541" y="1425396"/>
                    </a:lnTo>
                    <a:lnTo>
                      <a:pt x="1228546" y="1422563"/>
                    </a:lnTo>
                    <a:close/>
                    <a:moveTo>
                      <a:pt x="1227130" y="1425396"/>
                    </a:moveTo>
                    <a:lnTo>
                      <a:pt x="1244124" y="1428229"/>
                    </a:lnTo>
                    <a:lnTo>
                      <a:pt x="1229962" y="1565599"/>
                    </a:lnTo>
                    <a:lnTo>
                      <a:pt x="1218633" y="1564183"/>
                    </a:lnTo>
                    <a:lnTo>
                      <a:pt x="1186060" y="1473546"/>
                    </a:lnTo>
                    <a:lnTo>
                      <a:pt x="1227130" y="1425396"/>
                    </a:lnTo>
                    <a:close/>
                    <a:moveTo>
                      <a:pt x="1232795" y="1415483"/>
                    </a:moveTo>
                    <a:lnTo>
                      <a:pt x="1225714" y="1422563"/>
                    </a:lnTo>
                    <a:lnTo>
                      <a:pt x="1163402" y="1414067"/>
                    </a:lnTo>
                    <a:lnTo>
                      <a:pt x="1154904" y="1392824"/>
                    </a:lnTo>
                    <a:lnTo>
                      <a:pt x="1232795" y="1415483"/>
                    </a:lnTo>
                    <a:close/>
                    <a:moveTo>
                      <a:pt x="1474964" y="1511784"/>
                    </a:moveTo>
                    <a:lnTo>
                      <a:pt x="1385743" y="1586842"/>
                    </a:lnTo>
                    <a:lnTo>
                      <a:pt x="1353171" y="1582593"/>
                    </a:lnTo>
                    <a:lnTo>
                      <a:pt x="1388576" y="1545772"/>
                    </a:lnTo>
                    <a:lnTo>
                      <a:pt x="1474964" y="1511784"/>
                    </a:lnTo>
                    <a:close/>
                    <a:moveTo>
                      <a:pt x="1312102" y="1436725"/>
                    </a:moveTo>
                    <a:lnTo>
                      <a:pt x="1469299" y="1457968"/>
                    </a:lnTo>
                    <a:lnTo>
                      <a:pt x="1450888" y="1477795"/>
                    </a:lnTo>
                    <a:lnTo>
                      <a:pt x="1312102" y="1436725"/>
                    </a:lnTo>
                    <a:close/>
                    <a:moveTo>
                      <a:pt x="676231" y="912735"/>
                    </a:moveTo>
                    <a:lnTo>
                      <a:pt x="688977" y="929729"/>
                    </a:lnTo>
                    <a:lnTo>
                      <a:pt x="636578" y="935394"/>
                    </a:lnTo>
                    <a:lnTo>
                      <a:pt x="628081" y="918400"/>
                    </a:lnTo>
                    <a:lnTo>
                      <a:pt x="676231" y="912735"/>
                    </a:lnTo>
                    <a:close/>
                    <a:moveTo>
                      <a:pt x="531780" y="945307"/>
                    </a:moveTo>
                    <a:lnTo>
                      <a:pt x="486462" y="929729"/>
                    </a:lnTo>
                    <a:lnTo>
                      <a:pt x="625249" y="916984"/>
                    </a:lnTo>
                    <a:lnTo>
                      <a:pt x="633746" y="933978"/>
                    </a:lnTo>
                    <a:lnTo>
                      <a:pt x="531780" y="945307"/>
                    </a:lnTo>
                    <a:close/>
                    <a:moveTo>
                      <a:pt x="626665" y="915567"/>
                    </a:moveTo>
                    <a:lnTo>
                      <a:pt x="602590" y="863168"/>
                    </a:lnTo>
                    <a:lnTo>
                      <a:pt x="633746" y="857503"/>
                    </a:lnTo>
                    <a:lnTo>
                      <a:pt x="673399" y="911319"/>
                    </a:lnTo>
                    <a:lnTo>
                      <a:pt x="626665" y="915567"/>
                    </a:lnTo>
                    <a:close/>
                    <a:moveTo>
                      <a:pt x="504873" y="553022"/>
                    </a:moveTo>
                    <a:lnTo>
                      <a:pt x="496375" y="550190"/>
                    </a:lnTo>
                    <a:lnTo>
                      <a:pt x="659237" y="466635"/>
                    </a:lnTo>
                    <a:lnTo>
                      <a:pt x="795192" y="570017"/>
                    </a:lnTo>
                    <a:lnTo>
                      <a:pt x="504873" y="553022"/>
                    </a:lnTo>
                    <a:close/>
                    <a:moveTo>
                      <a:pt x="1094008" y="485045"/>
                    </a:moveTo>
                    <a:lnTo>
                      <a:pt x="1157737" y="538860"/>
                    </a:lnTo>
                    <a:lnTo>
                      <a:pt x="1146407" y="591260"/>
                    </a:lnTo>
                    <a:lnTo>
                      <a:pt x="1035944" y="585595"/>
                    </a:lnTo>
                    <a:lnTo>
                      <a:pt x="996291" y="414236"/>
                    </a:lnTo>
                    <a:lnTo>
                      <a:pt x="1094008" y="485045"/>
                    </a:lnTo>
                    <a:close/>
                    <a:moveTo>
                      <a:pt x="1033112" y="585595"/>
                    </a:moveTo>
                    <a:lnTo>
                      <a:pt x="1037360" y="605422"/>
                    </a:lnTo>
                    <a:lnTo>
                      <a:pt x="1016117" y="584179"/>
                    </a:lnTo>
                    <a:lnTo>
                      <a:pt x="1033112" y="585595"/>
                    </a:lnTo>
                    <a:close/>
                    <a:moveTo>
                      <a:pt x="1297940" y="752705"/>
                    </a:moveTo>
                    <a:lnTo>
                      <a:pt x="1299356" y="681896"/>
                    </a:lnTo>
                    <a:lnTo>
                      <a:pt x="1326264" y="679063"/>
                    </a:lnTo>
                    <a:lnTo>
                      <a:pt x="1356003" y="704555"/>
                    </a:lnTo>
                    <a:lnTo>
                      <a:pt x="1348922" y="747041"/>
                    </a:lnTo>
                    <a:lnTo>
                      <a:pt x="1297940" y="752705"/>
                    </a:lnTo>
                    <a:close/>
                    <a:moveTo>
                      <a:pt x="1314934" y="946723"/>
                    </a:moveTo>
                    <a:lnTo>
                      <a:pt x="1317766" y="933978"/>
                    </a:lnTo>
                    <a:lnTo>
                      <a:pt x="1334760" y="942475"/>
                    </a:lnTo>
                    <a:lnTo>
                      <a:pt x="1314934" y="946723"/>
                    </a:lnTo>
                    <a:close/>
                    <a:moveTo>
                      <a:pt x="1327679" y="1146406"/>
                    </a:moveTo>
                    <a:lnTo>
                      <a:pt x="1450888" y="1048689"/>
                    </a:lnTo>
                    <a:lnTo>
                      <a:pt x="1419732" y="1136493"/>
                    </a:lnTo>
                    <a:lnTo>
                      <a:pt x="1327679" y="1146406"/>
                    </a:lnTo>
                    <a:close/>
                    <a:moveTo>
                      <a:pt x="1271032" y="1190308"/>
                    </a:moveTo>
                    <a:lnTo>
                      <a:pt x="1262535" y="1235627"/>
                    </a:lnTo>
                    <a:lnTo>
                      <a:pt x="1245541" y="1401321"/>
                    </a:lnTo>
                    <a:lnTo>
                      <a:pt x="1234211" y="1414067"/>
                    </a:lnTo>
                    <a:lnTo>
                      <a:pt x="1154904" y="1391408"/>
                    </a:lnTo>
                    <a:lnTo>
                      <a:pt x="1123748" y="1306436"/>
                    </a:lnTo>
                    <a:lnTo>
                      <a:pt x="1271032" y="1190308"/>
                    </a:lnTo>
                    <a:close/>
                    <a:moveTo>
                      <a:pt x="781030" y="901405"/>
                    </a:moveTo>
                    <a:lnTo>
                      <a:pt x="687561" y="887243"/>
                    </a:lnTo>
                    <a:lnTo>
                      <a:pt x="680480" y="850422"/>
                    </a:lnTo>
                    <a:lnTo>
                      <a:pt x="1102505" y="781029"/>
                    </a:lnTo>
                    <a:lnTo>
                      <a:pt x="1102505" y="781029"/>
                    </a:lnTo>
                    <a:lnTo>
                      <a:pt x="1120916" y="701722"/>
                    </a:lnTo>
                    <a:lnTo>
                      <a:pt x="1130829" y="700306"/>
                    </a:lnTo>
                    <a:lnTo>
                      <a:pt x="1198806" y="765451"/>
                    </a:lnTo>
                    <a:lnTo>
                      <a:pt x="1198806" y="765451"/>
                    </a:lnTo>
                    <a:lnTo>
                      <a:pt x="1293691" y="754122"/>
                    </a:lnTo>
                    <a:lnTo>
                      <a:pt x="1290859" y="833428"/>
                    </a:lnTo>
                    <a:lnTo>
                      <a:pt x="1242708" y="907070"/>
                    </a:lnTo>
                    <a:lnTo>
                      <a:pt x="1132245" y="911319"/>
                    </a:lnTo>
                    <a:lnTo>
                      <a:pt x="1132245" y="911319"/>
                    </a:lnTo>
                    <a:lnTo>
                      <a:pt x="1112419" y="950972"/>
                    </a:lnTo>
                    <a:lnTo>
                      <a:pt x="946724" y="925481"/>
                    </a:lnTo>
                    <a:lnTo>
                      <a:pt x="946724" y="885827"/>
                    </a:lnTo>
                    <a:lnTo>
                      <a:pt x="946724" y="885827"/>
                    </a:lnTo>
                    <a:lnTo>
                      <a:pt x="781030" y="901405"/>
                    </a:lnTo>
                    <a:close/>
                    <a:moveTo>
                      <a:pt x="1292275" y="919816"/>
                    </a:moveTo>
                    <a:lnTo>
                      <a:pt x="1295107" y="834844"/>
                    </a:lnTo>
                    <a:lnTo>
                      <a:pt x="1346090" y="758370"/>
                    </a:lnTo>
                    <a:lnTo>
                      <a:pt x="1316350" y="931145"/>
                    </a:lnTo>
                    <a:lnTo>
                      <a:pt x="1292275" y="919816"/>
                    </a:lnTo>
                    <a:close/>
                    <a:moveTo>
                      <a:pt x="1320599" y="1150655"/>
                    </a:moveTo>
                    <a:lnTo>
                      <a:pt x="1324847" y="1147823"/>
                    </a:lnTo>
                    <a:lnTo>
                      <a:pt x="1419732" y="1139326"/>
                    </a:lnTo>
                    <a:lnTo>
                      <a:pt x="1409819" y="1169065"/>
                    </a:lnTo>
                    <a:lnTo>
                      <a:pt x="1320599" y="1150655"/>
                    </a:lnTo>
                    <a:close/>
                    <a:moveTo>
                      <a:pt x="1278113" y="1152071"/>
                    </a:moveTo>
                    <a:lnTo>
                      <a:pt x="1272448" y="1187476"/>
                    </a:lnTo>
                    <a:lnTo>
                      <a:pt x="1123748" y="1303604"/>
                    </a:lnTo>
                    <a:lnTo>
                      <a:pt x="1075598" y="1170482"/>
                    </a:lnTo>
                    <a:lnTo>
                      <a:pt x="1278113" y="1152071"/>
                    </a:lnTo>
                    <a:close/>
                    <a:moveTo>
                      <a:pt x="1273864" y="1186060"/>
                    </a:moveTo>
                    <a:lnTo>
                      <a:pt x="1279529" y="1153487"/>
                    </a:lnTo>
                    <a:lnTo>
                      <a:pt x="1305021" y="1150655"/>
                    </a:lnTo>
                    <a:lnTo>
                      <a:pt x="1316350" y="1153487"/>
                    </a:lnTo>
                    <a:lnTo>
                      <a:pt x="1273864" y="1186060"/>
                    </a:lnTo>
                    <a:close/>
                    <a:moveTo>
                      <a:pt x="1273864" y="1188892"/>
                    </a:moveTo>
                    <a:lnTo>
                      <a:pt x="1319183" y="1153487"/>
                    </a:lnTo>
                    <a:lnTo>
                      <a:pt x="1409819" y="1171898"/>
                    </a:lnTo>
                    <a:lnTo>
                      <a:pt x="1401322" y="1194557"/>
                    </a:lnTo>
                    <a:lnTo>
                      <a:pt x="1265367" y="1242707"/>
                    </a:lnTo>
                    <a:lnTo>
                      <a:pt x="1266783" y="1235627"/>
                    </a:lnTo>
                    <a:lnTo>
                      <a:pt x="1273864" y="1188892"/>
                    </a:lnTo>
                    <a:close/>
                    <a:moveTo>
                      <a:pt x="1263951" y="1242707"/>
                    </a:moveTo>
                    <a:lnTo>
                      <a:pt x="1348922" y="1285193"/>
                    </a:lnTo>
                    <a:lnTo>
                      <a:pt x="1246957" y="1397072"/>
                    </a:lnTo>
                    <a:lnTo>
                      <a:pt x="1263951" y="1242707"/>
                    </a:lnTo>
                    <a:close/>
                    <a:moveTo>
                      <a:pt x="1067100" y="636578"/>
                    </a:moveTo>
                    <a:lnTo>
                      <a:pt x="1048690" y="645075"/>
                    </a:lnTo>
                    <a:lnTo>
                      <a:pt x="1040193" y="611086"/>
                    </a:lnTo>
                    <a:lnTo>
                      <a:pt x="1067100" y="636578"/>
                    </a:lnTo>
                    <a:close/>
                    <a:moveTo>
                      <a:pt x="1200222" y="764035"/>
                    </a:moveTo>
                    <a:lnTo>
                      <a:pt x="1135078" y="700306"/>
                    </a:lnTo>
                    <a:lnTo>
                      <a:pt x="1297940" y="683312"/>
                    </a:lnTo>
                    <a:lnTo>
                      <a:pt x="1296524" y="754122"/>
                    </a:lnTo>
                    <a:lnTo>
                      <a:pt x="1200222" y="764035"/>
                    </a:lnTo>
                    <a:close/>
                    <a:moveTo>
                      <a:pt x="1129413" y="698890"/>
                    </a:moveTo>
                    <a:lnTo>
                      <a:pt x="1120916" y="700306"/>
                    </a:lnTo>
                    <a:lnTo>
                      <a:pt x="1122332" y="693225"/>
                    </a:lnTo>
                    <a:lnTo>
                      <a:pt x="1129413" y="698890"/>
                    </a:lnTo>
                    <a:close/>
                    <a:moveTo>
                      <a:pt x="1140742" y="605422"/>
                    </a:moveTo>
                    <a:lnTo>
                      <a:pt x="1122332" y="687560"/>
                    </a:lnTo>
                    <a:lnTo>
                      <a:pt x="1069933" y="637994"/>
                    </a:lnTo>
                    <a:lnTo>
                      <a:pt x="1140742" y="605422"/>
                    </a:lnTo>
                    <a:close/>
                    <a:moveTo>
                      <a:pt x="1119500" y="698890"/>
                    </a:moveTo>
                    <a:lnTo>
                      <a:pt x="1062852" y="704555"/>
                    </a:lnTo>
                    <a:lnTo>
                      <a:pt x="1048690" y="646491"/>
                    </a:lnTo>
                    <a:lnTo>
                      <a:pt x="1068517" y="637994"/>
                    </a:lnTo>
                    <a:lnTo>
                      <a:pt x="1122332" y="688977"/>
                    </a:lnTo>
                    <a:lnTo>
                      <a:pt x="1119500" y="698890"/>
                    </a:lnTo>
                    <a:close/>
                    <a:moveTo>
                      <a:pt x="1101089" y="778197"/>
                    </a:moveTo>
                    <a:lnTo>
                      <a:pt x="679064" y="847590"/>
                    </a:lnTo>
                    <a:lnTo>
                      <a:pt x="659237" y="731462"/>
                    </a:lnTo>
                    <a:lnTo>
                      <a:pt x="681897" y="737127"/>
                    </a:lnTo>
                    <a:lnTo>
                      <a:pt x="681897" y="737127"/>
                    </a:lnTo>
                    <a:lnTo>
                      <a:pt x="764035" y="659237"/>
                    </a:lnTo>
                    <a:lnTo>
                      <a:pt x="901406" y="714468"/>
                    </a:lnTo>
                    <a:lnTo>
                      <a:pt x="901406" y="714468"/>
                    </a:lnTo>
                    <a:lnTo>
                      <a:pt x="1045857" y="649323"/>
                    </a:lnTo>
                    <a:lnTo>
                      <a:pt x="1060019" y="708803"/>
                    </a:lnTo>
                    <a:lnTo>
                      <a:pt x="1060019" y="708803"/>
                    </a:lnTo>
                    <a:lnTo>
                      <a:pt x="1118083" y="703139"/>
                    </a:lnTo>
                    <a:lnTo>
                      <a:pt x="1101089" y="778197"/>
                    </a:lnTo>
                    <a:close/>
                    <a:moveTo>
                      <a:pt x="1292275" y="952388"/>
                    </a:moveTo>
                    <a:lnTo>
                      <a:pt x="1293691" y="922648"/>
                    </a:lnTo>
                    <a:lnTo>
                      <a:pt x="1316350" y="933978"/>
                    </a:lnTo>
                    <a:lnTo>
                      <a:pt x="1313518" y="948140"/>
                    </a:lnTo>
                    <a:lnTo>
                      <a:pt x="1292275" y="952388"/>
                    </a:lnTo>
                    <a:close/>
                    <a:moveTo>
                      <a:pt x="1279529" y="1150655"/>
                    </a:moveTo>
                    <a:lnTo>
                      <a:pt x="1280945" y="1146406"/>
                    </a:lnTo>
                    <a:lnTo>
                      <a:pt x="1297940" y="1149239"/>
                    </a:lnTo>
                    <a:lnTo>
                      <a:pt x="1279529" y="1150655"/>
                    </a:lnTo>
                    <a:close/>
                    <a:moveTo>
                      <a:pt x="1204471" y="966550"/>
                    </a:moveTo>
                    <a:lnTo>
                      <a:pt x="1200222" y="973631"/>
                    </a:lnTo>
                    <a:lnTo>
                      <a:pt x="1091176" y="999122"/>
                    </a:lnTo>
                    <a:lnTo>
                      <a:pt x="1113835" y="953804"/>
                    </a:lnTo>
                    <a:lnTo>
                      <a:pt x="1204471" y="966550"/>
                    </a:lnTo>
                    <a:close/>
                    <a:moveTo>
                      <a:pt x="1265367" y="905654"/>
                    </a:moveTo>
                    <a:lnTo>
                      <a:pt x="1265367" y="905654"/>
                    </a:lnTo>
                    <a:lnTo>
                      <a:pt x="1246957" y="905654"/>
                    </a:lnTo>
                    <a:lnTo>
                      <a:pt x="1293691" y="836261"/>
                    </a:lnTo>
                    <a:lnTo>
                      <a:pt x="1290859" y="916984"/>
                    </a:lnTo>
                    <a:lnTo>
                      <a:pt x="1265367" y="905654"/>
                    </a:lnTo>
                    <a:close/>
                    <a:moveTo>
                      <a:pt x="1220049" y="969383"/>
                    </a:moveTo>
                    <a:lnTo>
                      <a:pt x="1203055" y="972215"/>
                    </a:lnTo>
                    <a:lnTo>
                      <a:pt x="1207303" y="966550"/>
                    </a:lnTo>
                    <a:lnTo>
                      <a:pt x="1220049" y="969383"/>
                    </a:lnTo>
                    <a:close/>
                    <a:moveTo>
                      <a:pt x="1289443" y="955221"/>
                    </a:moveTo>
                    <a:lnTo>
                      <a:pt x="1289443" y="977880"/>
                    </a:lnTo>
                    <a:lnTo>
                      <a:pt x="1231379" y="969383"/>
                    </a:lnTo>
                    <a:lnTo>
                      <a:pt x="1289443" y="955221"/>
                    </a:lnTo>
                    <a:close/>
                    <a:moveTo>
                      <a:pt x="1289443" y="952388"/>
                    </a:moveTo>
                    <a:lnTo>
                      <a:pt x="1224298" y="966550"/>
                    </a:lnTo>
                    <a:lnTo>
                      <a:pt x="1207303" y="963718"/>
                    </a:lnTo>
                    <a:lnTo>
                      <a:pt x="1244124" y="907070"/>
                    </a:lnTo>
                    <a:lnTo>
                      <a:pt x="1262535" y="907070"/>
                    </a:lnTo>
                    <a:lnTo>
                      <a:pt x="1289443" y="919816"/>
                    </a:lnTo>
                    <a:lnTo>
                      <a:pt x="1289443" y="952388"/>
                    </a:lnTo>
                    <a:close/>
                    <a:moveTo>
                      <a:pt x="1242708" y="908486"/>
                    </a:moveTo>
                    <a:lnTo>
                      <a:pt x="1205887" y="963718"/>
                    </a:lnTo>
                    <a:lnTo>
                      <a:pt x="1115251" y="949556"/>
                    </a:lnTo>
                    <a:lnTo>
                      <a:pt x="1135078" y="911319"/>
                    </a:lnTo>
                    <a:lnTo>
                      <a:pt x="1242708" y="908486"/>
                    </a:lnTo>
                    <a:close/>
                    <a:moveTo>
                      <a:pt x="1195974" y="1126580"/>
                    </a:moveTo>
                    <a:lnTo>
                      <a:pt x="1103921" y="1120915"/>
                    </a:lnTo>
                    <a:lnTo>
                      <a:pt x="1200222" y="976464"/>
                    </a:lnTo>
                    <a:lnTo>
                      <a:pt x="1224298" y="970799"/>
                    </a:lnTo>
                    <a:lnTo>
                      <a:pt x="1289443" y="980712"/>
                    </a:lnTo>
                    <a:lnTo>
                      <a:pt x="1289443" y="980712"/>
                    </a:lnTo>
                    <a:lnTo>
                      <a:pt x="1289443" y="955221"/>
                    </a:lnTo>
                    <a:lnTo>
                      <a:pt x="1310685" y="950972"/>
                    </a:lnTo>
                    <a:lnTo>
                      <a:pt x="1276697" y="1144990"/>
                    </a:lnTo>
                    <a:lnTo>
                      <a:pt x="1195974" y="1126580"/>
                    </a:lnTo>
                    <a:close/>
                    <a:moveTo>
                      <a:pt x="1054355" y="1119499"/>
                    </a:moveTo>
                    <a:lnTo>
                      <a:pt x="1071349" y="1166233"/>
                    </a:lnTo>
                    <a:lnTo>
                      <a:pt x="1068517" y="1170482"/>
                    </a:lnTo>
                    <a:lnTo>
                      <a:pt x="1000540" y="1176146"/>
                    </a:lnTo>
                    <a:lnTo>
                      <a:pt x="1030279" y="1116666"/>
                    </a:lnTo>
                    <a:lnTo>
                      <a:pt x="1054355" y="1119499"/>
                    </a:lnTo>
                    <a:close/>
                    <a:moveTo>
                      <a:pt x="1198806" y="976464"/>
                    </a:moveTo>
                    <a:lnTo>
                      <a:pt x="1102505" y="1120915"/>
                    </a:lnTo>
                    <a:lnTo>
                      <a:pt x="1055771" y="1118083"/>
                    </a:lnTo>
                    <a:lnTo>
                      <a:pt x="1045857" y="1089759"/>
                    </a:lnTo>
                    <a:lnTo>
                      <a:pt x="1091176" y="1001955"/>
                    </a:lnTo>
                    <a:lnTo>
                      <a:pt x="1198806" y="976464"/>
                    </a:lnTo>
                    <a:close/>
                    <a:moveTo>
                      <a:pt x="1031696" y="1115250"/>
                    </a:moveTo>
                    <a:lnTo>
                      <a:pt x="1044441" y="1091175"/>
                    </a:lnTo>
                    <a:lnTo>
                      <a:pt x="1052938" y="1116666"/>
                    </a:lnTo>
                    <a:lnTo>
                      <a:pt x="1031696" y="1115250"/>
                    </a:lnTo>
                    <a:close/>
                    <a:moveTo>
                      <a:pt x="1088343" y="1000539"/>
                    </a:moveTo>
                    <a:lnTo>
                      <a:pt x="1045857" y="1085510"/>
                    </a:lnTo>
                    <a:lnTo>
                      <a:pt x="1020366" y="1016117"/>
                    </a:lnTo>
                    <a:lnTo>
                      <a:pt x="1088343" y="1000539"/>
                    </a:lnTo>
                    <a:close/>
                    <a:moveTo>
                      <a:pt x="1088343" y="999122"/>
                    </a:moveTo>
                    <a:lnTo>
                      <a:pt x="1016117" y="1016117"/>
                    </a:lnTo>
                    <a:lnTo>
                      <a:pt x="1016117" y="1016117"/>
                    </a:lnTo>
                    <a:lnTo>
                      <a:pt x="1043025" y="1089759"/>
                    </a:lnTo>
                    <a:lnTo>
                      <a:pt x="1030279" y="1116666"/>
                    </a:lnTo>
                    <a:lnTo>
                      <a:pt x="946724" y="1111002"/>
                    </a:lnTo>
                    <a:lnTo>
                      <a:pt x="948140" y="929729"/>
                    </a:lnTo>
                    <a:lnTo>
                      <a:pt x="1113835" y="953804"/>
                    </a:lnTo>
                    <a:lnTo>
                      <a:pt x="1088343" y="999122"/>
                    </a:lnTo>
                    <a:close/>
                    <a:moveTo>
                      <a:pt x="1101089" y="1122331"/>
                    </a:moveTo>
                    <a:lnTo>
                      <a:pt x="1072765" y="1164817"/>
                    </a:lnTo>
                    <a:lnTo>
                      <a:pt x="1055771" y="1119499"/>
                    </a:lnTo>
                    <a:lnTo>
                      <a:pt x="1101089" y="1122331"/>
                    </a:lnTo>
                    <a:close/>
                    <a:moveTo>
                      <a:pt x="1102505" y="1122331"/>
                    </a:moveTo>
                    <a:lnTo>
                      <a:pt x="1195974" y="1129412"/>
                    </a:lnTo>
                    <a:lnTo>
                      <a:pt x="1279529" y="1146406"/>
                    </a:lnTo>
                    <a:lnTo>
                      <a:pt x="1278113" y="1152071"/>
                    </a:lnTo>
                    <a:lnTo>
                      <a:pt x="1074181" y="1170482"/>
                    </a:lnTo>
                    <a:lnTo>
                      <a:pt x="1072765" y="1167649"/>
                    </a:lnTo>
                    <a:lnTo>
                      <a:pt x="1102505" y="1122331"/>
                    </a:lnTo>
                    <a:close/>
                    <a:moveTo>
                      <a:pt x="1296524" y="680480"/>
                    </a:moveTo>
                    <a:lnTo>
                      <a:pt x="1132245" y="697474"/>
                    </a:lnTo>
                    <a:lnTo>
                      <a:pt x="1123748" y="688977"/>
                    </a:lnTo>
                    <a:lnTo>
                      <a:pt x="1143575" y="604005"/>
                    </a:lnTo>
                    <a:lnTo>
                      <a:pt x="1169066" y="592676"/>
                    </a:lnTo>
                    <a:lnTo>
                      <a:pt x="1227130" y="595508"/>
                    </a:lnTo>
                    <a:lnTo>
                      <a:pt x="1297940" y="654988"/>
                    </a:lnTo>
                    <a:lnTo>
                      <a:pt x="1296524" y="680480"/>
                    </a:lnTo>
                    <a:close/>
                    <a:moveTo>
                      <a:pt x="1144991" y="591260"/>
                    </a:moveTo>
                    <a:lnTo>
                      <a:pt x="1142159" y="602589"/>
                    </a:lnTo>
                    <a:lnTo>
                      <a:pt x="1069933" y="635161"/>
                    </a:lnTo>
                    <a:lnTo>
                      <a:pt x="1040193" y="606838"/>
                    </a:lnTo>
                    <a:lnTo>
                      <a:pt x="1034528" y="584179"/>
                    </a:lnTo>
                    <a:lnTo>
                      <a:pt x="1144991" y="591260"/>
                    </a:lnTo>
                    <a:close/>
                    <a:moveTo>
                      <a:pt x="510537" y="555855"/>
                    </a:moveTo>
                    <a:lnTo>
                      <a:pt x="798024" y="572849"/>
                    </a:lnTo>
                    <a:lnTo>
                      <a:pt x="827764" y="595508"/>
                    </a:lnTo>
                    <a:lnTo>
                      <a:pt x="762619" y="657821"/>
                    </a:lnTo>
                    <a:lnTo>
                      <a:pt x="510537" y="555855"/>
                    </a:lnTo>
                    <a:close/>
                    <a:moveTo>
                      <a:pt x="679064" y="850422"/>
                    </a:moveTo>
                    <a:lnTo>
                      <a:pt x="686145" y="888660"/>
                    </a:lnTo>
                    <a:lnTo>
                      <a:pt x="686145" y="888660"/>
                    </a:lnTo>
                    <a:lnTo>
                      <a:pt x="772533" y="901405"/>
                    </a:lnTo>
                    <a:lnTo>
                      <a:pt x="677648" y="909903"/>
                    </a:lnTo>
                    <a:lnTo>
                      <a:pt x="637995" y="856087"/>
                    </a:lnTo>
                    <a:lnTo>
                      <a:pt x="679064" y="850422"/>
                    </a:lnTo>
                    <a:close/>
                    <a:moveTo>
                      <a:pt x="1071349" y="1170482"/>
                    </a:moveTo>
                    <a:lnTo>
                      <a:pt x="1072765" y="1169065"/>
                    </a:lnTo>
                    <a:lnTo>
                      <a:pt x="1072765" y="1170482"/>
                    </a:lnTo>
                    <a:lnTo>
                      <a:pt x="1071349" y="1170482"/>
                    </a:lnTo>
                    <a:close/>
                    <a:moveTo>
                      <a:pt x="1402738" y="1193141"/>
                    </a:moveTo>
                    <a:lnTo>
                      <a:pt x="1409819" y="1171898"/>
                    </a:lnTo>
                    <a:lnTo>
                      <a:pt x="1443807" y="1178979"/>
                    </a:lnTo>
                    <a:lnTo>
                      <a:pt x="1402738" y="1193141"/>
                    </a:lnTo>
                    <a:close/>
                    <a:moveTo>
                      <a:pt x="1347507" y="748457"/>
                    </a:moveTo>
                    <a:lnTo>
                      <a:pt x="1346090" y="752705"/>
                    </a:lnTo>
                    <a:lnTo>
                      <a:pt x="1293691" y="830596"/>
                    </a:lnTo>
                    <a:lnTo>
                      <a:pt x="1295107" y="754122"/>
                    </a:lnTo>
                    <a:lnTo>
                      <a:pt x="1347507" y="748457"/>
                    </a:lnTo>
                    <a:close/>
                    <a:moveTo>
                      <a:pt x="1144991" y="602589"/>
                    </a:moveTo>
                    <a:lnTo>
                      <a:pt x="1147823" y="592676"/>
                    </a:lnTo>
                    <a:lnTo>
                      <a:pt x="1166234" y="594092"/>
                    </a:lnTo>
                    <a:lnTo>
                      <a:pt x="1144991" y="602589"/>
                    </a:lnTo>
                    <a:close/>
                    <a:moveTo>
                      <a:pt x="901406" y="711636"/>
                    </a:moveTo>
                    <a:lnTo>
                      <a:pt x="765452" y="657821"/>
                    </a:lnTo>
                    <a:lnTo>
                      <a:pt x="832012" y="595508"/>
                    </a:lnTo>
                    <a:lnTo>
                      <a:pt x="832012" y="595508"/>
                    </a:lnTo>
                    <a:lnTo>
                      <a:pt x="802273" y="572849"/>
                    </a:lnTo>
                    <a:lnTo>
                      <a:pt x="1011869" y="584179"/>
                    </a:lnTo>
                    <a:lnTo>
                      <a:pt x="1037360" y="608254"/>
                    </a:lnTo>
                    <a:lnTo>
                      <a:pt x="1045857" y="645075"/>
                    </a:lnTo>
                    <a:lnTo>
                      <a:pt x="901406" y="711636"/>
                    </a:lnTo>
                    <a:close/>
                    <a:moveTo>
                      <a:pt x="1000540" y="1317765"/>
                    </a:moveTo>
                    <a:lnTo>
                      <a:pt x="1000540" y="1317765"/>
                    </a:lnTo>
                    <a:lnTo>
                      <a:pt x="992042" y="1289442"/>
                    </a:lnTo>
                    <a:lnTo>
                      <a:pt x="1069933" y="1171898"/>
                    </a:lnTo>
                    <a:lnTo>
                      <a:pt x="1072765" y="1171898"/>
                    </a:lnTo>
                    <a:lnTo>
                      <a:pt x="1120916" y="1305020"/>
                    </a:lnTo>
                    <a:lnTo>
                      <a:pt x="1050106" y="1360251"/>
                    </a:lnTo>
                    <a:lnTo>
                      <a:pt x="990626" y="1343257"/>
                    </a:lnTo>
                    <a:lnTo>
                      <a:pt x="1000540" y="1317765"/>
                    </a:lnTo>
                    <a:close/>
                    <a:moveTo>
                      <a:pt x="1054355" y="1361667"/>
                    </a:moveTo>
                    <a:lnTo>
                      <a:pt x="1122332" y="1307852"/>
                    </a:lnTo>
                    <a:lnTo>
                      <a:pt x="1152072" y="1389991"/>
                    </a:lnTo>
                    <a:lnTo>
                      <a:pt x="1054355" y="1361667"/>
                    </a:lnTo>
                    <a:close/>
                    <a:moveTo>
                      <a:pt x="1351755" y="1283777"/>
                    </a:moveTo>
                    <a:lnTo>
                      <a:pt x="1269616" y="1242707"/>
                    </a:lnTo>
                    <a:lnTo>
                      <a:pt x="1399905" y="1195973"/>
                    </a:lnTo>
                    <a:lnTo>
                      <a:pt x="1380079" y="1252621"/>
                    </a:lnTo>
                    <a:lnTo>
                      <a:pt x="1351755" y="1283777"/>
                    </a:lnTo>
                    <a:close/>
                    <a:moveTo>
                      <a:pt x="1446640" y="1178979"/>
                    </a:moveTo>
                    <a:lnTo>
                      <a:pt x="1384327" y="1248372"/>
                    </a:lnTo>
                    <a:lnTo>
                      <a:pt x="1402738" y="1194557"/>
                    </a:lnTo>
                    <a:lnTo>
                      <a:pt x="1446640" y="1178979"/>
                    </a:lnTo>
                    <a:close/>
                    <a:moveTo>
                      <a:pt x="1146407" y="589843"/>
                    </a:moveTo>
                    <a:lnTo>
                      <a:pt x="1157737" y="538860"/>
                    </a:lnTo>
                    <a:lnTo>
                      <a:pt x="1201639" y="575682"/>
                    </a:lnTo>
                    <a:lnTo>
                      <a:pt x="1167650" y="591260"/>
                    </a:lnTo>
                    <a:lnTo>
                      <a:pt x="1146407" y="589843"/>
                    </a:lnTo>
                    <a:close/>
                    <a:moveTo>
                      <a:pt x="799440" y="570017"/>
                    </a:moveTo>
                    <a:lnTo>
                      <a:pt x="662069" y="465219"/>
                    </a:lnTo>
                    <a:lnTo>
                      <a:pt x="812186" y="388744"/>
                    </a:lnTo>
                    <a:lnTo>
                      <a:pt x="1010453" y="581346"/>
                    </a:lnTo>
                    <a:lnTo>
                      <a:pt x="799440" y="570017"/>
                    </a:lnTo>
                    <a:close/>
                    <a:moveTo>
                      <a:pt x="492127" y="550190"/>
                    </a:moveTo>
                    <a:lnTo>
                      <a:pt x="483630" y="554439"/>
                    </a:lnTo>
                    <a:lnTo>
                      <a:pt x="504873" y="555855"/>
                    </a:lnTo>
                    <a:lnTo>
                      <a:pt x="762619" y="659237"/>
                    </a:lnTo>
                    <a:lnTo>
                      <a:pt x="681897" y="735711"/>
                    </a:lnTo>
                    <a:lnTo>
                      <a:pt x="659237" y="730046"/>
                    </a:lnTo>
                    <a:lnTo>
                      <a:pt x="639411" y="621000"/>
                    </a:lnTo>
                    <a:lnTo>
                      <a:pt x="639411" y="621000"/>
                    </a:lnTo>
                    <a:lnTo>
                      <a:pt x="509121" y="659237"/>
                    </a:lnTo>
                    <a:lnTo>
                      <a:pt x="452473" y="534612"/>
                    </a:lnTo>
                    <a:lnTo>
                      <a:pt x="492127" y="550190"/>
                    </a:lnTo>
                    <a:close/>
                    <a:moveTo>
                      <a:pt x="657821" y="731462"/>
                    </a:moveTo>
                    <a:lnTo>
                      <a:pt x="679064" y="847590"/>
                    </a:lnTo>
                    <a:lnTo>
                      <a:pt x="636578" y="854671"/>
                    </a:lnTo>
                    <a:lnTo>
                      <a:pt x="543110" y="730046"/>
                    </a:lnTo>
                    <a:lnTo>
                      <a:pt x="530364" y="701722"/>
                    </a:lnTo>
                    <a:lnTo>
                      <a:pt x="657821" y="731462"/>
                    </a:lnTo>
                    <a:close/>
                    <a:moveTo>
                      <a:pt x="691810" y="931145"/>
                    </a:moveTo>
                    <a:lnTo>
                      <a:pt x="691810" y="931145"/>
                    </a:lnTo>
                    <a:lnTo>
                      <a:pt x="677648" y="912735"/>
                    </a:lnTo>
                    <a:lnTo>
                      <a:pt x="779614" y="902822"/>
                    </a:lnTo>
                    <a:lnTo>
                      <a:pt x="943892" y="926897"/>
                    </a:lnTo>
                    <a:lnTo>
                      <a:pt x="942476" y="1108169"/>
                    </a:lnTo>
                    <a:lnTo>
                      <a:pt x="705972" y="1091175"/>
                    </a:lnTo>
                    <a:lnTo>
                      <a:pt x="633746" y="935394"/>
                    </a:lnTo>
                    <a:lnTo>
                      <a:pt x="691810" y="931145"/>
                    </a:lnTo>
                    <a:close/>
                    <a:moveTo>
                      <a:pt x="946724" y="1111002"/>
                    </a:moveTo>
                    <a:lnTo>
                      <a:pt x="1028863" y="1116666"/>
                    </a:lnTo>
                    <a:lnTo>
                      <a:pt x="997707" y="1177563"/>
                    </a:lnTo>
                    <a:lnTo>
                      <a:pt x="997707" y="1177563"/>
                    </a:lnTo>
                    <a:lnTo>
                      <a:pt x="1067100" y="1170482"/>
                    </a:lnTo>
                    <a:lnTo>
                      <a:pt x="990626" y="1285193"/>
                    </a:lnTo>
                    <a:lnTo>
                      <a:pt x="962302" y="1188892"/>
                    </a:lnTo>
                    <a:lnTo>
                      <a:pt x="962302" y="1188892"/>
                    </a:lnTo>
                    <a:lnTo>
                      <a:pt x="945308" y="1188892"/>
                    </a:lnTo>
                    <a:lnTo>
                      <a:pt x="946724" y="1111002"/>
                    </a:lnTo>
                    <a:close/>
                    <a:moveTo>
                      <a:pt x="1153488" y="1392824"/>
                    </a:moveTo>
                    <a:lnTo>
                      <a:pt x="1161985" y="1414067"/>
                    </a:lnTo>
                    <a:lnTo>
                      <a:pt x="1011869" y="1394240"/>
                    </a:lnTo>
                    <a:lnTo>
                      <a:pt x="1051522" y="1363084"/>
                    </a:lnTo>
                    <a:lnTo>
                      <a:pt x="1153488" y="1392824"/>
                    </a:lnTo>
                    <a:close/>
                    <a:moveTo>
                      <a:pt x="1113835" y="1548605"/>
                    </a:moveTo>
                    <a:lnTo>
                      <a:pt x="1181812" y="1473546"/>
                    </a:lnTo>
                    <a:lnTo>
                      <a:pt x="1214384" y="1562767"/>
                    </a:lnTo>
                    <a:lnTo>
                      <a:pt x="1113835" y="1548605"/>
                    </a:lnTo>
                    <a:close/>
                    <a:moveTo>
                      <a:pt x="1228546" y="1567015"/>
                    </a:moveTo>
                    <a:lnTo>
                      <a:pt x="1225714" y="1589674"/>
                    </a:lnTo>
                    <a:lnTo>
                      <a:pt x="1217217" y="1565599"/>
                    </a:lnTo>
                    <a:lnTo>
                      <a:pt x="1228546" y="1567015"/>
                    </a:lnTo>
                    <a:close/>
                    <a:moveTo>
                      <a:pt x="1251205" y="1661900"/>
                    </a:moveTo>
                    <a:lnTo>
                      <a:pt x="1280945" y="1742623"/>
                    </a:lnTo>
                    <a:lnTo>
                      <a:pt x="1212968" y="1751120"/>
                    </a:lnTo>
                    <a:lnTo>
                      <a:pt x="1221465" y="1664732"/>
                    </a:lnTo>
                    <a:lnTo>
                      <a:pt x="1251205" y="1661900"/>
                    </a:lnTo>
                    <a:close/>
                    <a:moveTo>
                      <a:pt x="1368749" y="1292274"/>
                    </a:moveTo>
                    <a:lnTo>
                      <a:pt x="1382911" y="1252621"/>
                    </a:lnTo>
                    <a:lnTo>
                      <a:pt x="1450888" y="1177563"/>
                    </a:lnTo>
                    <a:lnTo>
                      <a:pt x="1586843" y="1204470"/>
                    </a:lnTo>
                    <a:lnTo>
                      <a:pt x="1423981" y="1340425"/>
                    </a:lnTo>
                    <a:lnTo>
                      <a:pt x="1394241" y="1303604"/>
                    </a:lnTo>
                    <a:lnTo>
                      <a:pt x="1368749" y="1292274"/>
                    </a:lnTo>
                    <a:close/>
                    <a:moveTo>
                      <a:pt x="1449472" y="1176146"/>
                    </a:moveTo>
                    <a:lnTo>
                      <a:pt x="1411235" y="1169065"/>
                    </a:lnTo>
                    <a:lnTo>
                      <a:pt x="1421148" y="1139326"/>
                    </a:lnTo>
                    <a:lnTo>
                      <a:pt x="1487709" y="1133661"/>
                    </a:lnTo>
                    <a:lnTo>
                      <a:pt x="1449472" y="1176146"/>
                    </a:lnTo>
                    <a:lnTo>
                      <a:pt x="1449472" y="1176146"/>
                    </a:lnTo>
                    <a:close/>
                    <a:moveTo>
                      <a:pt x="1422564" y="1136493"/>
                    </a:moveTo>
                    <a:lnTo>
                      <a:pt x="1455137" y="1043024"/>
                    </a:lnTo>
                    <a:lnTo>
                      <a:pt x="1455137" y="1043024"/>
                    </a:lnTo>
                    <a:lnTo>
                      <a:pt x="1323431" y="1146406"/>
                    </a:lnTo>
                    <a:lnTo>
                      <a:pt x="1305021" y="1147823"/>
                    </a:lnTo>
                    <a:lnTo>
                      <a:pt x="1280945" y="1143574"/>
                    </a:lnTo>
                    <a:lnTo>
                      <a:pt x="1314934" y="949556"/>
                    </a:lnTo>
                    <a:lnTo>
                      <a:pt x="1337593" y="943891"/>
                    </a:lnTo>
                    <a:lnTo>
                      <a:pt x="1561351" y="1052938"/>
                    </a:lnTo>
                    <a:lnTo>
                      <a:pt x="1490541" y="1130828"/>
                    </a:lnTo>
                    <a:lnTo>
                      <a:pt x="1422564" y="1136493"/>
                    </a:lnTo>
                    <a:close/>
                    <a:moveTo>
                      <a:pt x="1157737" y="536028"/>
                    </a:moveTo>
                    <a:lnTo>
                      <a:pt x="1095424" y="483629"/>
                    </a:lnTo>
                    <a:lnTo>
                      <a:pt x="992042" y="408571"/>
                    </a:lnTo>
                    <a:lnTo>
                      <a:pt x="992042" y="408571"/>
                    </a:lnTo>
                    <a:lnTo>
                      <a:pt x="1033112" y="584179"/>
                    </a:lnTo>
                    <a:lnTo>
                      <a:pt x="1014701" y="582762"/>
                    </a:lnTo>
                    <a:lnTo>
                      <a:pt x="815018" y="388744"/>
                    </a:lnTo>
                    <a:lnTo>
                      <a:pt x="884412" y="353340"/>
                    </a:lnTo>
                    <a:lnTo>
                      <a:pt x="1186060" y="419901"/>
                    </a:lnTo>
                    <a:lnTo>
                      <a:pt x="1157737" y="536028"/>
                    </a:lnTo>
                    <a:close/>
                    <a:moveTo>
                      <a:pt x="527531" y="701722"/>
                    </a:moveTo>
                    <a:lnTo>
                      <a:pt x="537445" y="722965"/>
                    </a:lnTo>
                    <a:lnTo>
                      <a:pt x="520450" y="700306"/>
                    </a:lnTo>
                    <a:lnTo>
                      <a:pt x="527531" y="701722"/>
                    </a:lnTo>
                    <a:close/>
                    <a:moveTo>
                      <a:pt x="476549" y="928313"/>
                    </a:moveTo>
                    <a:lnTo>
                      <a:pt x="460971" y="929729"/>
                    </a:lnTo>
                    <a:lnTo>
                      <a:pt x="442560" y="916984"/>
                    </a:lnTo>
                    <a:lnTo>
                      <a:pt x="476549" y="928313"/>
                    </a:lnTo>
                    <a:close/>
                    <a:moveTo>
                      <a:pt x="962302" y="1334760"/>
                    </a:moveTo>
                    <a:lnTo>
                      <a:pt x="990626" y="1292274"/>
                    </a:lnTo>
                    <a:lnTo>
                      <a:pt x="997707" y="1317765"/>
                    </a:lnTo>
                    <a:lnTo>
                      <a:pt x="989210" y="1343257"/>
                    </a:lnTo>
                    <a:lnTo>
                      <a:pt x="962302" y="1334760"/>
                    </a:lnTo>
                    <a:close/>
                    <a:moveTo>
                      <a:pt x="1014701" y="1933808"/>
                    </a:moveTo>
                    <a:lnTo>
                      <a:pt x="1106754" y="1926727"/>
                    </a:lnTo>
                    <a:lnTo>
                      <a:pt x="1133662" y="2008867"/>
                    </a:lnTo>
                    <a:lnTo>
                      <a:pt x="1014701" y="1933808"/>
                    </a:lnTo>
                    <a:close/>
                    <a:moveTo>
                      <a:pt x="1210136" y="1752536"/>
                    </a:moveTo>
                    <a:lnTo>
                      <a:pt x="1193141" y="1918230"/>
                    </a:lnTo>
                    <a:lnTo>
                      <a:pt x="1108170" y="1923895"/>
                    </a:lnTo>
                    <a:lnTo>
                      <a:pt x="1058603" y="1770946"/>
                    </a:lnTo>
                    <a:lnTo>
                      <a:pt x="1210136" y="1752536"/>
                    </a:lnTo>
                    <a:close/>
                    <a:moveTo>
                      <a:pt x="1180396" y="2041439"/>
                    </a:moveTo>
                    <a:lnTo>
                      <a:pt x="1176147" y="2079676"/>
                    </a:lnTo>
                    <a:lnTo>
                      <a:pt x="1164817" y="2098087"/>
                    </a:lnTo>
                    <a:lnTo>
                      <a:pt x="1137910" y="2014531"/>
                    </a:lnTo>
                    <a:lnTo>
                      <a:pt x="1180396" y="2041439"/>
                    </a:lnTo>
                    <a:close/>
                    <a:moveTo>
                      <a:pt x="1340426" y="943891"/>
                    </a:moveTo>
                    <a:lnTo>
                      <a:pt x="1496207" y="908486"/>
                    </a:lnTo>
                    <a:lnTo>
                      <a:pt x="1496207" y="908486"/>
                    </a:lnTo>
                    <a:lnTo>
                      <a:pt x="1561351" y="840509"/>
                    </a:lnTo>
                    <a:lnTo>
                      <a:pt x="1606669" y="1003371"/>
                    </a:lnTo>
                    <a:lnTo>
                      <a:pt x="1562767" y="1051522"/>
                    </a:lnTo>
                    <a:lnTo>
                      <a:pt x="1340426" y="943891"/>
                    </a:lnTo>
                    <a:close/>
                    <a:moveTo>
                      <a:pt x="451057" y="531780"/>
                    </a:moveTo>
                    <a:lnTo>
                      <a:pt x="371750" y="357588"/>
                    </a:lnTo>
                    <a:lnTo>
                      <a:pt x="443976" y="303773"/>
                    </a:lnTo>
                    <a:lnTo>
                      <a:pt x="657821" y="465219"/>
                    </a:lnTo>
                    <a:lnTo>
                      <a:pt x="493543" y="548774"/>
                    </a:lnTo>
                    <a:lnTo>
                      <a:pt x="451057" y="531780"/>
                    </a:lnTo>
                    <a:close/>
                    <a:moveTo>
                      <a:pt x="448225" y="888660"/>
                    </a:moveTo>
                    <a:lnTo>
                      <a:pt x="448225" y="888660"/>
                    </a:lnTo>
                    <a:lnTo>
                      <a:pt x="601173" y="863168"/>
                    </a:lnTo>
                    <a:lnTo>
                      <a:pt x="625249" y="915567"/>
                    </a:lnTo>
                    <a:lnTo>
                      <a:pt x="482213" y="928313"/>
                    </a:lnTo>
                    <a:lnTo>
                      <a:pt x="436895" y="912735"/>
                    </a:lnTo>
                    <a:lnTo>
                      <a:pt x="251374" y="783862"/>
                    </a:lnTo>
                    <a:lnTo>
                      <a:pt x="308022" y="666318"/>
                    </a:lnTo>
                    <a:lnTo>
                      <a:pt x="448225" y="888660"/>
                    </a:lnTo>
                    <a:close/>
                    <a:moveTo>
                      <a:pt x="174900" y="696058"/>
                    </a:moveTo>
                    <a:lnTo>
                      <a:pt x="211721" y="759786"/>
                    </a:lnTo>
                    <a:lnTo>
                      <a:pt x="248542" y="785278"/>
                    </a:lnTo>
                    <a:lnTo>
                      <a:pt x="220218" y="843341"/>
                    </a:lnTo>
                    <a:lnTo>
                      <a:pt x="133830" y="815018"/>
                    </a:lnTo>
                    <a:lnTo>
                      <a:pt x="149408" y="728630"/>
                    </a:lnTo>
                    <a:lnTo>
                      <a:pt x="174900" y="696058"/>
                    </a:lnTo>
                    <a:close/>
                    <a:moveTo>
                      <a:pt x="173483" y="693225"/>
                    </a:moveTo>
                    <a:lnTo>
                      <a:pt x="147992" y="722965"/>
                    </a:lnTo>
                    <a:lnTo>
                      <a:pt x="157906" y="667734"/>
                    </a:lnTo>
                    <a:lnTo>
                      <a:pt x="173483" y="693225"/>
                    </a:lnTo>
                    <a:close/>
                    <a:moveTo>
                      <a:pt x="162154" y="633745"/>
                    </a:moveTo>
                    <a:lnTo>
                      <a:pt x="157906" y="660653"/>
                    </a:lnTo>
                    <a:lnTo>
                      <a:pt x="147992" y="642242"/>
                    </a:lnTo>
                    <a:lnTo>
                      <a:pt x="162154" y="633745"/>
                    </a:lnTo>
                    <a:close/>
                    <a:moveTo>
                      <a:pt x="159322" y="664902"/>
                    </a:moveTo>
                    <a:lnTo>
                      <a:pt x="164987" y="633745"/>
                    </a:lnTo>
                    <a:lnTo>
                      <a:pt x="180564" y="625248"/>
                    </a:lnTo>
                    <a:lnTo>
                      <a:pt x="225883" y="635161"/>
                    </a:lnTo>
                    <a:lnTo>
                      <a:pt x="176316" y="693225"/>
                    </a:lnTo>
                    <a:lnTo>
                      <a:pt x="159322" y="664902"/>
                    </a:lnTo>
                    <a:close/>
                    <a:moveTo>
                      <a:pt x="163570" y="630913"/>
                    </a:moveTo>
                    <a:lnTo>
                      <a:pt x="146576" y="640826"/>
                    </a:lnTo>
                    <a:lnTo>
                      <a:pt x="129582" y="611086"/>
                    </a:lnTo>
                    <a:lnTo>
                      <a:pt x="164987" y="619584"/>
                    </a:lnTo>
                    <a:lnTo>
                      <a:pt x="163570" y="630913"/>
                    </a:lnTo>
                    <a:close/>
                    <a:moveTo>
                      <a:pt x="177732" y="622416"/>
                    </a:moveTo>
                    <a:lnTo>
                      <a:pt x="166402" y="629497"/>
                    </a:lnTo>
                    <a:lnTo>
                      <a:pt x="167819" y="619584"/>
                    </a:lnTo>
                    <a:lnTo>
                      <a:pt x="177732" y="622416"/>
                    </a:lnTo>
                    <a:close/>
                    <a:moveTo>
                      <a:pt x="145160" y="643659"/>
                    </a:moveTo>
                    <a:lnTo>
                      <a:pt x="156489" y="663485"/>
                    </a:lnTo>
                    <a:lnTo>
                      <a:pt x="145160" y="724382"/>
                    </a:lnTo>
                    <a:lnTo>
                      <a:pt x="82847" y="798023"/>
                    </a:lnTo>
                    <a:lnTo>
                      <a:pt x="82847" y="798023"/>
                    </a:lnTo>
                    <a:lnTo>
                      <a:pt x="129582" y="813602"/>
                    </a:lnTo>
                    <a:lnTo>
                      <a:pt x="82847" y="1071348"/>
                    </a:lnTo>
                    <a:lnTo>
                      <a:pt x="12038" y="986377"/>
                    </a:lnTo>
                    <a:lnTo>
                      <a:pt x="111171" y="662069"/>
                    </a:lnTo>
                    <a:lnTo>
                      <a:pt x="145160" y="643659"/>
                    </a:lnTo>
                    <a:close/>
                    <a:moveTo>
                      <a:pt x="145160" y="730046"/>
                    </a:moveTo>
                    <a:lnTo>
                      <a:pt x="130998" y="812185"/>
                    </a:lnTo>
                    <a:lnTo>
                      <a:pt x="87096" y="798023"/>
                    </a:lnTo>
                    <a:lnTo>
                      <a:pt x="145160" y="730046"/>
                    </a:lnTo>
                    <a:close/>
                    <a:moveTo>
                      <a:pt x="945308" y="1191725"/>
                    </a:moveTo>
                    <a:lnTo>
                      <a:pt x="960886" y="1191725"/>
                    </a:lnTo>
                    <a:lnTo>
                      <a:pt x="989210" y="1288025"/>
                    </a:lnTo>
                    <a:lnTo>
                      <a:pt x="959470" y="1333344"/>
                    </a:lnTo>
                    <a:lnTo>
                      <a:pt x="955221" y="1331927"/>
                    </a:lnTo>
                    <a:lnTo>
                      <a:pt x="945308" y="1320598"/>
                    </a:lnTo>
                    <a:lnTo>
                      <a:pt x="945308" y="1191725"/>
                    </a:lnTo>
                    <a:close/>
                    <a:moveTo>
                      <a:pt x="1048690" y="1361667"/>
                    </a:moveTo>
                    <a:lnTo>
                      <a:pt x="1007621" y="1392824"/>
                    </a:lnTo>
                    <a:lnTo>
                      <a:pt x="1003372" y="1392824"/>
                    </a:lnTo>
                    <a:lnTo>
                      <a:pt x="980713" y="1365916"/>
                    </a:lnTo>
                    <a:lnTo>
                      <a:pt x="987794" y="1344673"/>
                    </a:lnTo>
                    <a:lnTo>
                      <a:pt x="1048690" y="1361667"/>
                    </a:lnTo>
                    <a:close/>
                    <a:moveTo>
                      <a:pt x="1003372" y="1395656"/>
                    </a:moveTo>
                    <a:lnTo>
                      <a:pt x="1003372" y="1395656"/>
                    </a:lnTo>
                    <a:lnTo>
                      <a:pt x="1006204" y="1395656"/>
                    </a:lnTo>
                    <a:lnTo>
                      <a:pt x="959470" y="1432477"/>
                    </a:lnTo>
                    <a:lnTo>
                      <a:pt x="982129" y="1368748"/>
                    </a:lnTo>
                    <a:lnTo>
                      <a:pt x="1003372" y="1395656"/>
                    </a:lnTo>
                    <a:close/>
                    <a:moveTo>
                      <a:pt x="1333345" y="1884242"/>
                    </a:moveTo>
                    <a:lnTo>
                      <a:pt x="1322015" y="1851670"/>
                    </a:lnTo>
                    <a:lnTo>
                      <a:pt x="1401322" y="1725629"/>
                    </a:lnTo>
                    <a:lnTo>
                      <a:pt x="1443807" y="1701553"/>
                    </a:lnTo>
                    <a:lnTo>
                      <a:pt x="1472131" y="1803519"/>
                    </a:lnTo>
                    <a:lnTo>
                      <a:pt x="1333345" y="1884242"/>
                    </a:lnTo>
                    <a:close/>
                    <a:moveTo>
                      <a:pt x="1402738" y="1721380"/>
                    </a:moveTo>
                    <a:lnTo>
                      <a:pt x="1433894" y="1670397"/>
                    </a:lnTo>
                    <a:lnTo>
                      <a:pt x="1442391" y="1698721"/>
                    </a:lnTo>
                    <a:lnTo>
                      <a:pt x="1402738" y="1721380"/>
                    </a:lnTo>
                    <a:close/>
                    <a:moveTo>
                      <a:pt x="1499039" y="1490541"/>
                    </a:moveTo>
                    <a:lnTo>
                      <a:pt x="1452305" y="1476379"/>
                    </a:lnTo>
                    <a:lnTo>
                      <a:pt x="1472131" y="1455136"/>
                    </a:lnTo>
                    <a:lnTo>
                      <a:pt x="1472131" y="1455136"/>
                    </a:lnTo>
                    <a:lnTo>
                      <a:pt x="1297940" y="1432477"/>
                    </a:lnTo>
                    <a:lnTo>
                      <a:pt x="1245541" y="1416899"/>
                    </a:lnTo>
                    <a:lnTo>
                      <a:pt x="1246957" y="1401321"/>
                    </a:lnTo>
                    <a:lnTo>
                      <a:pt x="1350339" y="1286609"/>
                    </a:lnTo>
                    <a:lnTo>
                      <a:pt x="1364501" y="1293690"/>
                    </a:lnTo>
                    <a:lnTo>
                      <a:pt x="1316350" y="1431061"/>
                    </a:lnTo>
                    <a:lnTo>
                      <a:pt x="1316350" y="1432477"/>
                    </a:lnTo>
                    <a:lnTo>
                      <a:pt x="1421148" y="1346089"/>
                    </a:lnTo>
                    <a:lnTo>
                      <a:pt x="1507536" y="1453720"/>
                    </a:lnTo>
                    <a:lnTo>
                      <a:pt x="1507536" y="1453720"/>
                    </a:lnTo>
                    <a:lnTo>
                      <a:pt x="1659069" y="1346089"/>
                    </a:lnTo>
                    <a:lnTo>
                      <a:pt x="1657652" y="1358835"/>
                    </a:lnTo>
                    <a:lnTo>
                      <a:pt x="1499039" y="1490541"/>
                    </a:lnTo>
                    <a:close/>
                    <a:moveTo>
                      <a:pt x="1660484" y="1341841"/>
                    </a:moveTo>
                    <a:lnTo>
                      <a:pt x="1508952" y="1449471"/>
                    </a:lnTo>
                    <a:lnTo>
                      <a:pt x="1423981" y="1343257"/>
                    </a:lnTo>
                    <a:lnTo>
                      <a:pt x="1591091" y="1204470"/>
                    </a:lnTo>
                    <a:lnTo>
                      <a:pt x="1591091" y="1204470"/>
                    </a:lnTo>
                    <a:lnTo>
                      <a:pt x="1453721" y="1177563"/>
                    </a:lnTo>
                    <a:lnTo>
                      <a:pt x="1606669" y="1122331"/>
                    </a:lnTo>
                    <a:lnTo>
                      <a:pt x="1688808" y="1115250"/>
                    </a:lnTo>
                    <a:lnTo>
                      <a:pt x="1678895" y="1176146"/>
                    </a:lnTo>
                    <a:lnTo>
                      <a:pt x="1660484" y="1341841"/>
                    </a:lnTo>
                    <a:close/>
                    <a:moveTo>
                      <a:pt x="1542941" y="764035"/>
                    </a:moveTo>
                    <a:lnTo>
                      <a:pt x="1579762" y="721549"/>
                    </a:lnTo>
                    <a:lnTo>
                      <a:pt x="1684560" y="708803"/>
                    </a:lnTo>
                    <a:lnTo>
                      <a:pt x="1562767" y="834844"/>
                    </a:lnTo>
                    <a:lnTo>
                      <a:pt x="1542941" y="764035"/>
                    </a:lnTo>
                    <a:close/>
                    <a:moveTo>
                      <a:pt x="1354587" y="745624"/>
                    </a:moveTo>
                    <a:lnTo>
                      <a:pt x="1404154" y="670566"/>
                    </a:lnTo>
                    <a:lnTo>
                      <a:pt x="1644907" y="645075"/>
                    </a:lnTo>
                    <a:lnTo>
                      <a:pt x="1578346" y="720133"/>
                    </a:lnTo>
                    <a:lnTo>
                      <a:pt x="1354587" y="745624"/>
                    </a:lnTo>
                    <a:close/>
                    <a:moveTo>
                      <a:pt x="1402738" y="669150"/>
                    </a:moveTo>
                    <a:lnTo>
                      <a:pt x="1326264" y="677647"/>
                    </a:lnTo>
                    <a:lnTo>
                      <a:pt x="1299356" y="654988"/>
                    </a:lnTo>
                    <a:lnTo>
                      <a:pt x="1300772" y="601173"/>
                    </a:lnTo>
                    <a:lnTo>
                      <a:pt x="1348922" y="604005"/>
                    </a:lnTo>
                    <a:lnTo>
                      <a:pt x="1348922" y="604005"/>
                    </a:lnTo>
                    <a:lnTo>
                      <a:pt x="1392824" y="465219"/>
                    </a:lnTo>
                    <a:lnTo>
                      <a:pt x="1446640" y="476548"/>
                    </a:lnTo>
                    <a:lnTo>
                      <a:pt x="1432478" y="623832"/>
                    </a:lnTo>
                    <a:lnTo>
                      <a:pt x="1402738" y="669150"/>
                    </a:lnTo>
                    <a:close/>
                    <a:moveTo>
                      <a:pt x="1348922" y="601173"/>
                    </a:moveTo>
                    <a:lnTo>
                      <a:pt x="1302188" y="598341"/>
                    </a:lnTo>
                    <a:lnTo>
                      <a:pt x="1303604" y="531780"/>
                    </a:lnTo>
                    <a:lnTo>
                      <a:pt x="1347507" y="511953"/>
                    </a:lnTo>
                    <a:lnTo>
                      <a:pt x="1347507" y="511953"/>
                    </a:lnTo>
                    <a:lnTo>
                      <a:pt x="1340426" y="452473"/>
                    </a:lnTo>
                    <a:lnTo>
                      <a:pt x="1392824" y="463803"/>
                    </a:lnTo>
                    <a:lnTo>
                      <a:pt x="1348922" y="601173"/>
                    </a:lnTo>
                    <a:close/>
                    <a:moveTo>
                      <a:pt x="1300772" y="530363"/>
                    </a:moveTo>
                    <a:lnTo>
                      <a:pt x="1204471" y="574265"/>
                    </a:lnTo>
                    <a:lnTo>
                      <a:pt x="1159153" y="536028"/>
                    </a:lnTo>
                    <a:lnTo>
                      <a:pt x="1186060" y="418484"/>
                    </a:lnTo>
                    <a:lnTo>
                      <a:pt x="1303604" y="443976"/>
                    </a:lnTo>
                    <a:lnTo>
                      <a:pt x="1300772" y="530363"/>
                    </a:lnTo>
                    <a:close/>
                    <a:moveTo>
                      <a:pt x="881579" y="350507"/>
                    </a:moveTo>
                    <a:lnTo>
                      <a:pt x="744209" y="320767"/>
                    </a:lnTo>
                    <a:lnTo>
                      <a:pt x="645075" y="225882"/>
                    </a:lnTo>
                    <a:lnTo>
                      <a:pt x="959470" y="262703"/>
                    </a:lnTo>
                    <a:lnTo>
                      <a:pt x="1017534" y="281114"/>
                    </a:lnTo>
                    <a:lnTo>
                      <a:pt x="881579" y="350507"/>
                    </a:lnTo>
                    <a:close/>
                    <a:moveTo>
                      <a:pt x="773949" y="201807"/>
                    </a:moveTo>
                    <a:lnTo>
                      <a:pt x="623833" y="203223"/>
                    </a:lnTo>
                    <a:lnTo>
                      <a:pt x="604006" y="183397"/>
                    </a:lnTo>
                    <a:lnTo>
                      <a:pt x="639411" y="157905"/>
                    </a:lnTo>
                    <a:lnTo>
                      <a:pt x="773949" y="201807"/>
                    </a:lnTo>
                    <a:close/>
                    <a:moveTo>
                      <a:pt x="622416" y="206056"/>
                    </a:moveTo>
                    <a:lnTo>
                      <a:pt x="639411" y="223050"/>
                    </a:lnTo>
                    <a:lnTo>
                      <a:pt x="564352" y="214553"/>
                    </a:lnTo>
                    <a:lnTo>
                      <a:pt x="574266" y="207472"/>
                    </a:lnTo>
                    <a:lnTo>
                      <a:pt x="622416" y="206056"/>
                    </a:lnTo>
                    <a:close/>
                    <a:moveTo>
                      <a:pt x="449641" y="533196"/>
                    </a:moveTo>
                    <a:lnTo>
                      <a:pt x="507705" y="659237"/>
                    </a:lnTo>
                    <a:lnTo>
                      <a:pt x="490711" y="664902"/>
                    </a:lnTo>
                    <a:lnTo>
                      <a:pt x="490711" y="664902"/>
                    </a:lnTo>
                    <a:lnTo>
                      <a:pt x="514786" y="697474"/>
                    </a:lnTo>
                    <a:lnTo>
                      <a:pt x="313687" y="652156"/>
                    </a:lnTo>
                    <a:lnTo>
                      <a:pt x="383080" y="507704"/>
                    </a:lnTo>
                    <a:lnTo>
                      <a:pt x="449641" y="533196"/>
                    </a:lnTo>
                    <a:close/>
                    <a:moveTo>
                      <a:pt x="448225" y="885827"/>
                    </a:moveTo>
                    <a:lnTo>
                      <a:pt x="308022" y="663485"/>
                    </a:lnTo>
                    <a:lnTo>
                      <a:pt x="312270" y="653572"/>
                    </a:lnTo>
                    <a:lnTo>
                      <a:pt x="516202" y="698890"/>
                    </a:lnTo>
                    <a:lnTo>
                      <a:pt x="540277" y="731462"/>
                    </a:lnTo>
                    <a:lnTo>
                      <a:pt x="599757" y="860336"/>
                    </a:lnTo>
                    <a:lnTo>
                      <a:pt x="448225" y="885827"/>
                    </a:lnTo>
                    <a:close/>
                    <a:moveTo>
                      <a:pt x="221634" y="841925"/>
                    </a:moveTo>
                    <a:lnTo>
                      <a:pt x="248542" y="785278"/>
                    </a:lnTo>
                    <a:lnTo>
                      <a:pt x="428398" y="911319"/>
                    </a:lnTo>
                    <a:lnTo>
                      <a:pt x="221634" y="841925"/>
                    </a:lnTo>
                    <a:close/>
                    <a:moveTo>
                      <a:pt x="248542" y="782445"/>
                    </a:moveTo>
                    <a:lnTo>
                      <a:pt x="213137" y="756954"/>
                    </a:lnTo>
                    <a:lnTo>
                      <a:pt x="176316" y="693225"/>
                    </a:lnTo>
                    <a:lnTo>
                      <a:pt x="227299" y="633745"/>
                    </a:lnTo>
                    <a:lnTo>
                      <a:pt x="298109" y="649323"/>
                    </a:lnTo>
                    <a:lnTo>
                      <a:pt x="306606" y="662069"/>
                    </a:lnTo>
                    <a:lnTo>
                      <a:pt x="248542" y="782445"/>
                    </a:lnTo>
                    <a:close/>
                    <a:moveTo>
                      <a:pt x="190478" y="479380"/>
                    </a:moveTo>
                    <a:lnTo>
                      <a:pt x="166402" y="618167"/>
                    </a:lnTo>
                    <a:lnTo>
                      <a:pt x="129582" y="609670"/>
                    </a:lnTo>
                    <a:lnTo>
                      <a:pt x="159322" y="514785"/>
                    </a:lnTo>
                    <a:lnTo>
                      <a:pt x="184813" y="469467"/>
                    </a:lnTo>
                    <a:lnTo>
                      <a:pt x="190478" y="479380"/>
                    </a:lnTo>
                    <a:close/>
                    <a:moveTo>
                      <a:pt x="132414" y="815018"/>
                    </a:moveTo>
                    <a:lnTo>
                      <a:pt x="218802" y="843341"/>
                    </a:lnTo>
                    <a:lnTo>
                      <a:pt x="163570" y="958053"/>
                    </a:lnTo>
                    <a:lnTo>
                      <a:pt x="163570" y="958053"/>
                    </a:lnTo>
                    <a:lnTo>
                      <a:pt x="459554" y="931145"/>
                    </a:lnTo>
                    <a:lnTo>
                      <a:pt x="690393" y="1092591"/>
                    </a:lnTo>
                    <a:lnTo>
                      <a:pt x="705972" y="1094007"/>
                    </a:lnTo>
                    <a:lnTo>
                      <a:pt x="742793" y="1176146"/>
                    </a:lnTo>
                    <a:lnTo>
                      <a:pt x="564352" y="1133661"/>
                    </a:lnTo>
                    <a:lnTo>
                      <a:pt x="452473" y="1010452"/>
                    </a:lnTo>
                    <a:lnTo>
                      <a:pt x="452473" y="1010452"/>
                    </a:lnTo>
                    <a:lnTo>
                      <a:pt x="418485" y="1098256"/>
                    </a:lnTo>
                    <a:lnTo>
                      <a:pt x="320768" y="1075597"/>
                    </a:lnTo>
                    <a:lnTo>
                      <a:pt x="320768" y="1075597"/>
                    </a:lnTo>
                    <a:lnTo>
                      <a:pt x="300941" y="1149239"/>
                    </a:lnTo>
                    <a:lnTo>
                      <a:pt x="95593" y="1086927"/>
                    </a:lnTo>
                    <a:lnTo>
                      <a:pt x="84264" y="1074181"/>
                    </a:lnTo>
                    <a:lnTo>
                      <a:pt x="132414" y="815018"/>
                    </a:lnTo>
                    <a:close/>
                    <a:moveTo>
                      <a:pt x="747041" y="1178979"/>
                    </a:moveTo>
                    <a:lnTo>
                      <a:pt x="747041" y="1178979"/>
                    </a:lnTo>
                    <a:lnTo>
                      <a:pt x="708804" y="1094007"/>
                    </a:lnTo>
                    <a:lnTo>
                      <a:pt x="943892" y="1109585"/>
                    </a:lnTo>
                    <a:lnTo>
                      <a:pt x="943892" y="1188892"/>
                    </a:lnTo>
                    <a:lnTo>
                      <a:pt x="833429" y="1186060"/>
                    </a:lnTo>
                    <a:lnTo>
                      <a:pt x="833429" y="1186060"/>
                    </a:lnTo>
                    <a:lnTo>
                      <a:pt x="943892" y="1320598"/>
                    </a:lnTo>
                    <a:lnTo>
                      <a:pt x="943892" y="1327679"/>
                    </a:lnTo>
                    <a:lnTo>
                      <a:pt x="673399" y="1248372"/>
                    </a:lnTo>
                    <a:lnTo>
                      <a:pt x="570017" y="1135077"/>
                    </a:lnTo>
                    <a:lnTo>
                      <a:pt x="747041" y="1178979"/>
                    </a:lnTo>
                    <a:close/>
                    <a:moveTo>
                      <a:pt x="837678" y="1190308"/>
                    </a:moveTo>
                    <a:lnTo>
                      <a:pt x="943892" y="1193141"/>
                    </a:lnTo>
                    <a:lnTo>
                      <a:pt x="943892" y="1319182"/>
                    </a:lnTo>
                    <a:lnTo>
                      <a:pt x="837678" y="1190308"/>
                    </a:lnTo>
                    <a:close/>
                    <a:moveTo>
                      <a:pt x="953805" y="1334760"/>
                    </a:moveTo>
                    <a:lnTo>
                      <a:pt x="956638" y="1339008"/>
                    </a:lnTo>
                    <a:lnTo>
                      <a:pt x="945308" y="1356003"/>
                    </a:lnTo>
                    <a:lnTo>
                      <a:pt x="945308" y="1331927"/>
                    </a:lnTo>
                    <a:lnTo>
                      <a:pt x="953805" y="1334760"/>
                    </a:lnTo>
                    <a:close/>
                    <a:moveTo>
                      <a:pt x="1009036" y="1395656"/>
                    </a:moveTo>
                    <a:lnTo>
                      <a:pt x="1161985" y="1415483"/>
                    </a:lnTo>
                    <a:lnTo>
                      <a:pt x="1181812" y="1470714"/>
                    </a:lnTo>
                    <a:lnTo>
                      <a:pt x="1111002" y="1548605"/>
                    </a:lnTo>
                    <a:lnTo>
                      <a:pt x="926897" y="1523113"/>
                    </a:lnTo>
                    <a:lnTo>
                      <a:pt x="958054" y="1435310"/>
                    </a:lnTo>
                    <a:lnTo>
                      <a:pt x="1009036" y="1395656"/>
                    </a:lnTo>
                    <a:close/>
                    <a:moveTo>
                      <a:pt x="926897" y="1525946"/>
                    </a:moveTo>
                    <a:lnTo>
                      <a:pt x="1109586" y="1551437"/>
                    </a:lnTo>
                    <a:lnTo>
                      <a:pt x="994874" y="1678894"/>
                    </a:lnTo>
                    <a:lnTo>
                      <a:pt x="994874" y="1678894"/>
                    </a:lnTo>
                    <a:lnTo>
                      <a:pt x="1038776" y="1676062"/>
                    </a:lnTo>
                    <a:lnTo>
                      <a:pt x="973632" y="1701553"/>
                    </a:lnTo>
                    <a:lnTo>
                      <a:pt x="973632" y="1701553"/>
                    </a:lnTo>
                    <a:lnTo>
                      <a:pt x="979297" y="1751120"/>
                    </a:lnTo>
                    <a:lnTo>
                      <a:pt x="857504" y="1731293"/>
                    </a:lnTo>
                    <a:lnTo>
                      <a:pt x="926897" y="1525946"/>
                    </a:lnTo>
                    <a:close/>
                    <a:moveTo>
                      <a:pt x="1483461" y="1898404"/>
                    </a:moveTo>
                    <a:lnTo>
                      <a:pt x="1283778" y="1912566"/>
                    </a:lnTo>
                    <a:lnTo>
                      <a:pt x="1320599" y="1853086"/>
                    </a:lnTo>
                    <a:lnTo>
                      <a:pt x="1333345" y="1887074"/>
                    </a:lnTo>
                    <a:lnTo>
                      <a:pt x="1333345" y="1887074"/>
                    </a:lnTo>
                    <a:lnTo>
                      <a:pt x="1472131" y="1804935"/>
                    </a:lnTo>
                    <a:lnTo>
                      <a:pt x="1496207" y="1888491"/>
                    </a:lnTo>
                    <a:lnTo>
                      <a:pt x="1483461" y="1898404"/>
                    </a:lnTo>
                    <a:close/>
                    <a:moveTo>
                      <a:pt x="1443807" y="1697305"/>
                    </a:moveTo>
                    <a:lnTo>
                      <a:pt x="1435310" y="1666148"/>
                    </a:lnTo>
                    <a:lnTo>
                      <a:pt x="1435310" y="1666148"/>
                    </a:lnTo>
                    <a:lnTo>
                      <a:pt x="1399905" y="1724212"/>
                    </a:lnTo>
                    <a:lnTo>
                      <a:pt x="1392824" y="1728461"/>
                    </a:lnTo>
                    <a:lnTo>
                      <a:pt x="1283778" y="1742623"/>
                    </a:lnTo>
                    <a:lnTo>
                      <a:pt x="1254038" y="1661900"/>
                    </a:lnTo>
                    <a:lnTo>
                      <a:pt x="1278113" y="1660484"/>
                    </a:lnTo>
                    <a:lnTo>
                      <a:pt x="1278113" y="1660484"/>
                    </a:lnTo>
                    <a:lnTo>
                      <a:pt x="1351755" y="1584010"/>
                    </a:lnTo>
                    <a:lnTo>
                      <a:pt x="1387160" y="1588258"/>
                    </a:lnTo>
                    <a:lnTo>
                      <a:pt x="1387160" y="1588258"/>
                    </a:lnTo>
                    <a:lnTo>
                      <a:pt x="1482045" y="1508951"/>
                    </a:lnTo>
                    <a:lnTo>
                      <a:pt x="1514617" y="1496206"/>
                    </a:lnTo>
                    <a:lnTo>
                      <a:pt x="1643490" y="1533027"/>
                    </a:lnTo>
                    <a:lnTo>
                      <a:pt x="1637826" y="1586842"/>
                    </a:lnTo>
                    <a:lnTo>
                      <a:pt x="1443807" y="1697305"/>
                    </a:lnTo>
                    <a:close/>
                    <a:moveTo>
                      <a:pt x="1755369" y="1276696"/>
                    </a:moveTo>
                    <a:lnTo>
                      <a:pt x="1661901" y="1354586"/>
                    </a:lnTo>
                    <a:lnTo>
                      <a:pt x="1663317" y="1341841"/>
                    </a:lnTo>
                    <a:lnTo>
                      <a:pt x="1755369" y="1276696"/>
                    </a:lnTo>
                    <a:close/>
                    <a:moveTo>
                      <a:pt x="970799" y="264120"/>
                    </a:moveTo>
                    <a:lnTo>
                      <a:pt x="1038776" y="272617"/>
                    </a:lnTo>
                    <a:lnTo>
                      <a:pt x="1021782" y="281114"/>
                    </a:lnTo>
                    <a:lnTo>
                      <a:pt x="970799" y="264120"/>
                    </a:lnTo>
                    <a:close/>
                    <a:moveTo>
                      <a:pt x="833429" y="10621"/>
                    </a:moveTo>
                    <a:lnTo>
                      <a:pt x="657821" y="142327"/>
                    </a:lnTo>
                    <a:lnTo>
                      <a:pt x="417069" y="88512"/>
                    </a:lnTo>
                    <a:lnTo>
                      <a:pt x="833429" y="10621"/>
                    </a:lnTo>
                    <a:close/>
                    <a:moveTo>
                      <a:pt x="577098" y="204640"/>
                    </a:moveTo>
                    <a:lnTo>
                      <a:pt x="602590" y="186229"/>
                    </a:lnTo>
                    <a:lnTo>
                      <a:pt x="621000" y="204640"/>
                    </a:lnTo>
                    <a:lnTo>
                      <a:pt x="577098" y="204640"/>
                    </a:lnTo>
                    <a:close/>
                    <a:moveTo>
                      <a:pt x="636578" y="157905"/>
                    </a:moveTo>
                    <a:lnTo>
                      <a:pt x="602590" y="183397"/>
                    </a:lnTo>
                    <a:lnTo>
                      <a:pt x="545942" y="129581"/>
                    </a:lnTo>
                    <a:lnTo>
                      <a:pt x="636578" y="157905"/>
                    </a:lnTo>
                    <a:close/>
                    <a:moveTo>
                      <a:pt x="511954" y="207472"/>
                    </a:moveTo>
                    <a:lnTo>
                      <a:pt x="571433" y="206056"/>
                    </a:lnTo>
                    <a:lnTo>
                      <a:pt x="562936" y="213137"/>
                    </a:lnTo>
                    <a:lnTo>
                      <a:pt x="511954" y="207472"/>
                    </a:lnTo>
                    <a:close/>
                    <a:moveTo>
                      <a:pt x="494959" y="207472"/>
                    </a:moveTo>
                    <a:lnTo>
                      <a:pt x="558688" y="214553"/>
                    </a:lnTo>
                    <a:lnTo>
                      <a:pt x="490711" y="265536"/>
                    </a:lnTo>
                    <a:lnTo>
                      <a:pt x="359005" y="237212"/>
                    </a:lnTo>
                    <a:lnTo>
                      <a:pt x="323600" y="210304"/>
                    </a:lnTo>
                    <a:lnTo>
                      <a:pt x="494959" y="207472"/>
                    </a:lnTo>
                    <a:close/>
                    <a:moveTo>
                      <a:pt x="479381" y="206056"/>
                    </a:moveTo>
                    <a:lnTo>
                      <a:pt x="320768" y="207472"/>
                    </a:lnTo>
                    <a:lnTo>
                      <a:pt x="288195" y="183397"/>
                    </a:lnTo>
                    <a:lnTo>
                      <a:pt x="479381" y="206056"/>
                    </a:lnTo>
                    <a:close/>
                    <a:moveTo>
                      <a:pt x="320768" y="210304"/>
                    </a:moveTo>
                    <a:lnTo>
                      <a:pt x="354756" y="237212"/>
                    </a:lnTo>
                    <a:lnTo>
                      <a:pt x="238628" y="211720"/>
                    </a:lnTo>
                    <a:lnTo>
                      <a:pt x="320768" y="210304"/>
                    </a:lnTo>
                    <a:close/>
                    <a:moveTo>
                      <a:pt x="300941" y="650740"/>
                    </a:moveTo>
                    <a:lnTo>
                      <a:pt x="310854" y="653572"/>
                    </a:lnTo>
                    <a:lnTo>
                      <a:pt x="306606" y="662069"/>
                    </a:lnTo>
                    <a:lnTo>
                      <a:pt x="300941" y="650740"/>
                    </a:lnTo>
                    <a:close/>
                    <a:moveTo>
                      <a:pt x="228715" y="632329"/>
                    </a:moveTo>
                    <a:lnTo>
                      <a:pt x="262704" y="592676"/>
                    </a:lnTo>
                    <a:lnTo>
                      <a:pt x="296692" y="646491"/>
                    </a:lnTo>
                    <a:lnTo>
                      <a:pt x="228715" y="632329"/>
                    </a:lnTo>
                    <a:close/>
                    <a:moveTo>
                      <a:pt x="262704" y="589843"/>
                    </a:moveTo>
                    <a:lnTo>
                      <a:pt x="255623" y="578514"/>
                    </a:lnTo>
                    <a:lnTo>
                      <a:pt x="289611" y="558687"/>
                    </a:lnTo>
                    <a:lnTo>
                      <a:pt x="262704" y="589843"/>
                    </a:lnTo>
                    <a:close/>
                    <a:moveTo>
                      <a:pt x="162154" y="506288"/>
                    </a:moveTo>
                    <a:lnTo>
                      <a:pt x="218802" y="320767"/>
                    </a:lnTo>
                    <a:lnTo>
                      <a:pt x="190478" y="477964"/>
                    </a:lnTo>
                    <a:lnTo>
                      <a:pt x="183397" y="466635"/>
                    </a:lnTo>
                    <a:lnTo>
                      <a:pt x="183397" y="466635"/>
                    </a:lnTo>
                    <a:lnTo>
                      <a:pt x="162154" y="506288"/>
                    </a:lnTo>
                    <a:close/>
                    <a:moveTo>
                      <a:pt x="116836" y="589843"/>
                    </a:moveTo>
                    <a:lnTo>
                      <a:pt x="153657" y="523282"/>
                    </a:lnTo>
                    <a:lnTo>
                      <a:pt x="128166" y="608254"/>
                    </a:lnTo>
                    <a:lnTo>
                      <a:pt x="116836" y="589843"/>
                    </a:lnTo>
                    <a:close/>
                    <a:moveTo>
                      <a:pt x="914152" y="1521697"/>
                    </a:moveTo>
                    <a:lnTo>
                      <a:pt x="853255" y="1518865"/>
                    </a:lnTo>
                    <a:lnTo>
                      <a:pt x="956638" y="1438142"/>
                    </a:lnTo>
                    <a:lnTo>
                      <a:pt x="926897" y="1523113"/>
                    </a:lnTo>
                    <a:lnTo>
                      <a:pt x="914152" y="1521697"/>
                    </a:lnTo>
                    <a:close/>
                    <a:moveTo>
                      <a:pt x="1003372" y="1755368"/>
                    </a:moveTo>
                    <a:lnTo>
                      <a:pt x="1000540" y="1761033"/>
                    </a:lnTo>
                    <a:cubicBezTo>
                      <a:pt x="996291" y="1768114"/>
                      <a:pt x="992042" y="1778027"/>
                      <a:pt x="984961" y="1789357"/>
                    </a:cubicBezTo>
                    <a:lnTo>
                      <a:pt x="980713" y="1751120"/>
                    </a:lnTo>
                    <a:lnTo>
                      <a:pt x="1003372" y="1755368"/>
                    </a:lnTo>
                    <a:close/>
                    <a:moveTo>
                      <a:pt x="983545" y="1796438"/>
                    </a:moveTo>
                    <a:lnTo>
                      <a:pt x="1010453" y="2031526"/>
                    </a:lnTo>
                    <a:cubicBezTo>
                      <a:pt x="992042" y="1997537"/>
                      <a:pt x="932562" y="1894155"/>
                      <a:pt x="932562" y="1887074"/>
                    </a:cubicBezTo>
                    <a:cubicBezTo>
                      <a:pt x="935395" y="1884242"/>
                      <a:pt x="965135" y="1829010"/>
                      <a:pt x="983545" y="1796438"/>
                    </a:cubicBezTo>
                    <a:close/>
                    <a:moveTo>
                      <a:pt x="1299356" y="2289272"/>
                    </a:moveTo>
                    <a:lnTo>
                      <a:pt x="1489126" y="2153318"/>
                    </a:lnTo>
                    <a:lnTo>
                      <a:pt x="1432478" y="2265197"/>
                    </a:lnTo>
                    <a:lnTo>
                      <a:pt x="1299356" y="2289272"/>
                    </a:lnTo>
                    <a:close/>
                    <a:moveTo>
                      <a:pt x="1520282" y="2252451"/>
                    </a:moveTo>
                    <a:lnTo>
                      <a:pt x="1418316" y="2297770"/>
                    </a:lnTo>
                    <a:lnTo>
                      <a:pt x="1433894" y="2266613"/>
                    </a:lnTo>
                    <a:lnTo>
                      <a:pt x="1520282" y="2252451"/>
                    </a:lnTo>
                    <a:close/>
                    <a:moveTo>
                      <a:pt x="1593924" y="2075428"/>
                    </a:moveTo>
                    <a:lnTo>
                      <a:pt x="1494790" y="2146237"/>
                    </a:lnTo>
                    <a:lnTo>
                      <a:pt x="1541524" y="2052768"/>
                    </a:lnTo>
                    <a:lnTo>
                      <a:pt x="1593924" y="2075428"/>
                    </a:lnTo>
                    <a:close/>
                    <a:moveTo>
                      <a:pt x="1650571" y="1443806"/>
                    </a:moveTo>
                    <a:lnTo>
                      <a:pt x="1642074" y="1531610"/>
                    </a:lnTo>
                    <a:lnTo>
                      <a:pt x="1516033" y="1494789"/>
                    </a:lnTo>
                    <a:lnTo>
                      <a:pt x="1650571" y="1443806"/>
                    </a:lnTo>
                    <a:close/>
                    <a:moveTo>
                      <a:pt x="1904070" y="1347506"/>
                    </a:moveTo>
                    <a:lnTo>
                      <a:pt x="1724213" y="1555686"/>
                    </a:lnTo>
                    <a:lnTo>
                      <a:pt x="1643490" y="1533027"/>
                    </a:lnTo>
                    <a:lnTo>
                      <a:pt x="1651988" y="1443806"/>
                    </a:lnTo>
                    <a:lnTo>
                      <a:pt x="1904070" y="1347506"/>
                    </a:lnTo>
                    <a:close/>
                    <a:moveTo>
                      <a:pt x="1305021" y="442560"/>
                    </a:moveTo>
                    <a:lnTo>
                      <a:pt x="1310685" y="220218"/>
                    </a:lnTo>
                    <a:lnTo>
                      <a:pt x="1336177" y="449641"/>
                    </a:lnTo>
                    <a:lnTo>
                      <a:pt x="1305021" y="442560"/>
                    </a:lnTo>
                    <a:close/>
                    <a:moveTo>
                      <a:pt x="562936" y="1133661"/>
                    </a:moveTo>
                    <a:lnTo>
                      <a:pt x="422733" y="1099672"/>
                    </a:lnTo>
                    <a:lnTo>
                      <a:pt x="455306" y="1014701"/>
                    </a:lnTo>
                    <a:lnTo>
                      <a:pt x="562936" y="1133661"/>
                    </a:lnTo>
                    <a:close/>
                    <a:moveTo>
                      <a:pt x="956638" y="1334760"/>
                    </a:moveTo>
                    <a:lnTo>
                      <a:pt x="959470" y="1334760"/>
                    </a:lnTo>
                    <a:lnTo>
                      <a:pt x="958054" y="1336176"/>
                    </a:lnTo>
                    <a:lnTo>
                      <a:pt x="956638" y="1334760"/>
                    </a:lnTo>
                    <a:close/>
                    <a:moveTo>
                      <a:pt x="1136494" y="2314764"/>
                    </a:moveTo>
                    <a:lnTo>
                      <a:pt x="1130829" y="2337423"/>
                    </a:lnTo>
                    <a:lnTo>
                      <a:pt x="1061436" y="2302018"/>
                    </a:lnTo>
                    <a:lnTo>
                      <a:pt x="1136494" y="2314764"/>
                    </a:lnTo>
                    <a:close/>
                    <a:moveTo>
                      <a:pt x="1221465" y="2386990"/>
                    </a:moveTo>
                    <a:lnTo>
                      <a:pt x="1105338" y="2439389"/>
                    </a:lnTo>
                    <a:lnTo>
                      <a:pt x="1130829" y="2341672"/>
                    </a:lnTo>
                    <a:lnTo>
                      <a:pt x="1221465" y="2386990"/>
                    </a:lnTo>
                    <a:close/>
                    <a:moveTo>
                      <a:pt x="1690225" y="1112418"/>
                    </a:moveTo>
                    <a:lnTo>
                      <a:pt x="1731294" y="871665"/>
                    </a:lnTo>
                    <a:lnTo>
                      <a:pt x="1729878" y="1109585"/>
                    </a:lnTo>
                    <a:lnTo>
                      <a:pt x="1690225" y="1112418"/>
                    </a:lnTo>
                    <a:close/>
                    <a:moveTo>
                      <a:pt x="2017365" y="1875745"/>
                    </a:moveTo>
                    <a:lnTo>
                      <a:pt x="1918231" y="2129243"/>
                    </a:lnTo>
                    <a:lnTo>
                      <a:pt x="1911150" y="1991872"/>
                    </a:lnTo>
                    <a:lnTo>
                      <a:pt x="1911150" y="1990456"/>
                    </a:lnTo>
                    <a:lnTo>
                      <a:pt x="1855919" y="2184474"/>
                    </a:lnTo>
                    <a:lnTo>
                      <a:pt x="1677479" y="1821929"/>
                    </a:lnTo>
                    <a:lnTo>
                      <a:pt x="1909734" y="1990456"/>
                    </a:lnTo>
                    <a:lnTo>
                      <a:pt x="1909734" y="1990456"/>
                    </a:lnTo>
                    <a:lnTo>
                      <a:pt x="2017365" y="1875745"/>
                    </a:lnTo>
                    <a:close/>
                    <a:moveTo>
                      <a:pt x="1916815" y="2139156"/>
                    </a:moveTo>
                    <a:lnTo>
                      <a:pt x="1918231" y="2158983"/>
                    </a:lnTo>
                    <a:lnTo>
                      <a:pt x="1901237" y="2180226"/>
                    </a:lnTo>
                    <a:lnTo>
                      <a:pt x="1916815" y="2139156"/>
                    </a:lnTo>
                    <a:close/>
                    <a:moveTo>
                      <a:pt x="1925312" y="2246787"/>
                    </a:moveTo>
                    <a:lnTo>
                      <a:pt x="1919648" y="2160399"/>
                    </a:lnTo>
                    <a:lnTo>
                      <a:pt x="1981960" y="2085341"/>
                    </a:lnTo>
                    <a:lnTo>
                      <a:pt x="1925312" y="2246787"/>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50" name="Freeform: Shape 949">
                <a:extLst>
                  <a:ext uri="{FF2B5EF4-FFF2-40B4-BE49-F238E27FC236}">
                    <a16:creationId xmlns:a16="http://schemas.microsoft.com/office/drawing/2014/main" id="{5AE1C5AE-5749-4E14-91E7-AF097A978D37}"/>
                  </a:ext>
                </a:extLst>
              </p:cNvPr>
              <p:cNvSpPr/>
              <p:nvPr/>
            </p:nvSpPr>
            <p:spPr>
              <a:xfrm>
                <a:off x="3308227" y="3786588"/>
                <a:ext cx="1416191" cy="2719086"/>
              </a:xfrm>
              <a:custGeom>
                <a:avLst/>
                <a:gdLst>
                  <a:gd name="connsiteX0" fmla="*/ 1330512 w 1416191"/>
                  <a:gd name="connsiteY0" fmla="*/ 660653 h 2719086"/>
                  <a:gd name="connsiteX1" fmla="*/ 1330512 w 1416191"/>
                  <a:gd name="connsiteY1" fmla="*/ 660653 h 2719086"/>
                  <a:gd name="connsiteX2" fmla="*/ 1125164 w 1416191"/>
                  <a:gd name="connsiteY2" fmla="*/ 676231 h 2719086"/>
                  <a:gd name="connsiteX3" fmla="*/ 1123748 w 1416191"/>
                  <a:gd name="connsiteY3" fmla="*/ 653572 h 2719086"/>
                  <a:gd name="connsiteX4" fmla="*/ 1157737 w 1416191"/>
                  <a:gd name="connsiteY4" fmla="*/ 643659 h 2719086"/>
                  <a:gd name="connsiteX5" fmla="*/ 1115251 w 1416191"/>
                  <a:gd name="connsiteY5" fmla="*/ 543109 h 2719086"/>
                  <a:gd name="connsiteX6" fmla="*/ 1115251 w 1416191"/>
                  <a:gd name="connsiteY6" fmla="*/ 541693 h 2719086"/>
                  <a:gd name="connsiteX7" fmla="*/ 1122332 w 1416191"/>
                  <a:gd name="connsiteY7" fmla="*/ 650740 h 2719086"/>
                  <a:gd name="connsiteX8" fmla="*/ 1081262 w 1416191"/>
                  <a:gd name="connsiteY8" fmla="*/ 663486 h 2719086"/>
                  <a:gd name="connsiteX9" fmla="*/ 1081262 w 1416191"/>
                  <a:gd name="connsiteY9" fmla="*/ 618167 h 2719086"/>
                  <a:gd name="connsiteX10" fmla="*/ 1081262 w 1416191"/>
                  <a:gd name="connsiteY10" fmla="*/ 616751 h 2719086"/>
                  <a:gd name="connsiteX11" fmla="*/ 1067100 w 1416191"/>
                  <a:gd name="connsiteY11" fmla="*/ 667734 h 2719086"/>
                  <a:gd name="connsiteX12" fmla="*/ 1014701 w 1416191"/>
                  <a:gd name="connsiteY12" fmla="*/ 683312 h 2719086"/>
                  <a:gd name="connsiteX13" fmla="*/ 963718 w 1416191"/>
                  <a:gd name="connsiteY13" fmla="*/ 687560 h 2719086"/>
                  <a:gd name="connsiteX14" fmla="*/ 766868 w 1416191"/>
                  <a:gd name="connsiteY14" fmla="*/ 632329 h 2719086"/>
                  <a:gd name="connsiteX15" fmla="*/ 888660 w 1416191"/>
                  <a:gd name="connsiteY15" fmla="*/ 453889 h 2719086"/>
                  <a:gd name="connsiteX16" fmla="*/ 953805 w 1416191"/>
                  <a:gd name="connsiteY16" fmla="*/ 486462 h 2719086"/>
                  <a:gd name="connsiteX17" fmla="*/ 953805 w 1416191"/>
                  <a:gd name="connsiteY17" fmla="*/ 486462 h 2719086"/>
                  <a:gd name="connsiteX18" fmla="*/ 942475 w 1416191"/>
                  <a:gd name="connsiteY18" fmla="*/ 371750 h 2719086"/>
                  <a:gd name="connsiteX19" fmla="*/ 942475 w 1416191"/>
                  <a:gd name="connsiteY19" fmla="*/ 371750 h 2719086"/>
                  <a:gd name="connsiteX20" fmla="*/ 887244 w 1416191"/>
                  <a:gd name="connsiteY20" fmla="*/ 451057 h 2719086"/>
                  <a:gd name="connsiteX21" fmla="*/ 795192 w 1416191"/>
                  <a:gd name="connsiteY21" fmla="*/ 404322 h 2719086"/>
                  <a:gd name="connsiteX22" fmla="*/ 793775 w 1416191"/>
                  <a:gd name="connsiteY22" fmla="*/ 356172 h 2719086"/>
                  <a:gd name="connsiteX23" fmla="*/ 907071 w 1416191"/>
                  <a:gd name="connsiteY23" fmla="*/ 289611 h 2719086"/>
                  <a:gd name="connsiteX24" fmla="*/ 907071 w 1416191"/>
                  <a:gd name="connsiteY24" fmla="*/ 289611 h 2719086"/>
                  <a:gd name="connsiteX25" fmla="*/ 660653 w 1416191"/>
                  <a:gd name="connsiteY25" fmla="*/ 149408 h 2719086"/>
                  <a:gd name="connsiteX26" fmla="*/ 659237 w 1416191"/>
                  <a:gd name="connsiteY26" fmla="*/ 149408 h 2719086"/>
                  <a:gd name="connsiteX27" fmla="*/ 735712 w 1416191"/>
                  <a:gd name="connsiteY27" fmla="*/ 241460 h 2719086"/>
                  <a:gd name="connsiteX28" fmla="*/ 514786 w 1416191"/>
                  <a:gd name="connsiteY28" fmla="*/ 167819 h 2719086"/>
                  <a:gd name="connsiteX29" fmla="*/ 570017 w 1416191"/>
                  <a:gd name="connsiteY29" fmla="*/ 63020 h 2719086"/>
                  <a:gd name="connsiteX30" fmla="*/ 570017 w 1416191"/>
                  <a:gd name="connsiteY30" fmla="*/ 61604 h 2719086"/>
                  <a:gd name="connsiteX31" fmla="*/ 475132 w 1416191"/>
                  <a:gd name="connsiteY31" fmla="*/ 155073 h 2719086"/>
                  <a:gd name="connsiteX32" fmla="*/ 343426 w 1416191"/>
                  <a:gd name="connsiteY32" fmla="*/ 111171 h 2719086"/>
                  <a:gd name="connsiteX33" fmla="*/ 303773 w 1416191"/>
                  <a:gd name="connsiteY33" fmla="*/ 98425 h 2719086"/>
                  <a:gd name="connsiteX34" fmla="*/ 350507 w 1416191"/>
                  <a:gd name="connsiteY34" fmla="*/ 10621 h 2719086"/>
                  <a:gd name="connsiteX35" fmla="*/ 350507 w 1416191"/>
                  <a:gd name="connsiteY35" fmla="*/ 10621 h 2719086"/>
                  <a:gd name="connsiteX36" fmla="*/ 262704 w 1416191"/>
                  <a:gd name="connsiteY36" fmla="*/ 57356 h 2719086"/>
                  <a:gd name="connsiteX37" fmla="*/ 262704 w 1416191"/>
                  <a:gd name="connsiteY37" fmla="*/ 57356 h 2719086"/>
                  <a:gd name="connsiteX38" fmla="*/ 264120 w 1416191"/>
                  <a:gd name="connsiteY38" fmla="*/ 87096 h 2719086"/>
                  <a:gd name="connsiteX39" fmla="*/ 204640 w 1416191"/>
                  <a:gd name="connsiteY39" fmla="*/ 67269 h 2719086"/>
                  <a:gd name="connsiteX40" fmla="*/ 204640 w 1416191"/>
                  <a:gd name="connsiteY40" fmla="*/ 67269 h 2719086"/>
                  <a:gd name="connsiteX41" fmla="*/ 40362 w 1416191"/>
                  <a:gd name="connsiteY41" fmla="*/ 147992 h 2719086"/>
                  <a:gd name="connsiteX42" fmla="*/ 40362 w 1416191"/>
                  <a:gd name="connsiteY42" fmla="*/ 147992 h 2719086"/>
                  <a:gd name="connsiteX43" fmla="*/ 41778 w 1416191"/>
                  <a:gd name="connsiteY43" fmla="*/ 149408 h 2719086"/>
                  <a:gd name="connsiteX44" fmla="*/ 206056 w 1416191"/>
                  <a:gd name="connsiteY44" fmla="*/ 68685 h 2719086"/>
                  <a:gd name="connsiteX45" fmla="*/ 265536 w 1416191"/>
                  <a:gd name="connsiteY45" fmla="*/ 88512 h 2719086"/>
                  <a:gd name="connsiteX46" fmla="*/ 266952 w 1416191"/>
                  <a:gd name="connsiteY46" fmla="*/ 167819 h 2719086"/>
                  <a:gd name="connsiteX47" fmla="*/ 201807 w 1416191"/>
                  <a:gd name="connsiteY47" fmla="*/ 292443 h 2719086"/>
                  <a:gd name="connsiteX48" fmla="*/ 121084 w 1416191"/>
                  <a:gd name="connsiteY48" fmla="*/ 266952 h 2719086"/>
                  <a:gd name="connsiteX49" fmla="*/ 186229 w 1416191"/>
                  <a:gd name="connsiteY49" fmla="*/ 320767 h 2719086"/>
                  <a:gd name="connsiteX50" fmla="*/ 130998 w 1416191"/>
                  <a:gd name="connsiteY50" fmla="*/ 425565 h 2719086"/>
                  <a:gd name="connsiteX51" fmla="*/ 101258 w 1416191"/>
                  <a:gd name="connsiteY51" fmla="*/ 383079 h 2719086"/>
                  <a:gd name="connsiteX52" fmla="*/ 101258 w 1416191"/>
                  <a:gd name="connsiteY52" fmla="*/ 383079 h 2719086"/>
                  <a:gd name="connsiteX53" fmla="*/ 10621 w 1416191"/>
                  <a:gd name="connsiteY53" fmla="*/ 630913 h 2719086"/>
                  <a:gd name="connsiteX54" fmla="*/ 10621 w 1416191"/>
                  <a:gd name="connsiteY54" fmla="*/ 630913 h 2719086"/>
                  <a:gd name="connsiteX55" fmla="*/ 189062 w 1416191"/>
                  <a:gd name="connsiteY55" fmla="*/ 510537 h 2719086"/>
                  <a:gd name="connsiteX56" fmla="*/ 288195 w 1416191"/>
                  <a:gd name="connsiteY56" fmla="*/ 653572 h 2719086"/>
                  <a:gd name="connsiteX57" fmla="*/ 225883 w 1416191"/>
                  <a:gd name="connsiteY57" fmla="*/ 690393 h 2719086"/>
                  <a:gd name="connsiteX58" fmla="*/ 143744 w 1416191"/>
                  <a:gd name="connsiteY58" fmla="*/ 647907 h 2719086"/>
                  <a:gd name="connsiteX59" fmla="*/ 143744 w 1416191"/>
                  <a:gd name="connsiteY59" fmla="*/ 647907 h 2719086"/>
                  <a:gd name="connsiteX60" fmla="*/ 160738 w 1416191"/>
                  <a:gd name="connsiteY60" fmla="*/ 728630 h 2719086"/>
                  <a:gd name="connsiteX61" fmla="*/ 89928 w 1416191"/>
                  <a:gd name="connsiteY61" fmla="*/ 771116 h 2719086"/>
                  <a:gd name="connsiteX62" fmla="*/ 172067 w 1416191"/>
                  <a:gd name="connsiteY62" fmla="*/ 782445 h 2719086"/>
                  <a:gd name="connsiteX63" fmla="*/ 198975 w 1416191"/>
                  <a:gd name="connsiteY63" fmla="*/ 909903 h 2719086"/>
                  <a:gd name="connsiteX64" fmla="*/ 198975 w 1416191"/>
                  <a:gd name="connsiteY64" fmla="*/ 909903 h 2719086"/>
                  <a:gd name="connsiteX65" fmla="*/ 289611 w 1416191"/>
                  <a:gd name="connsiteY65" fmla="*/ 798024 h 2719086"/>
                  <a:gd name="connsiteX66" fmla="*/ 349091 w 1416191"/>
                  <a:gd name="connsiteY66" fmla="*/ 806521 h 2719086"/>
                  <a:gd name="connsiteX67" fmla="*/ 344843 w 1416191"/>
                  <a:gd name="connsiteY67" fmla="*/ 986377 h 2719086"/>
                  <a:gd name="connsiteX68" fmla="*/ 344843 w 1416191"/>
                  <a:gd name="connsiteY68" fmla="*/ 986377 h 2719086"/>
                  <a:gd name="connsiteX69" fmla="*/ 584179 w 1416191"/>
                  <a:gd name="connsiteY69" fmla="*/ 880163 h 2719086"/>
                  <a:gd name="connsiteX70" fmla="*/ 598341 w 1416191"/>
                  <a:gd name="connsiteY70" fmla="*/ 986377 h 2719086"/>
                  <a:gd name="connsiteX71" fmla="*/ 561520 w 1416191"/>
                  <a:gd name="connsiteY71" fmla="*/ 1020365 h 2719086"/>
                  <a:gd name="connsiteX72" fmla="*/ 241461 w 1416191"/>
                  <a:gd name="connsiteY72" fmla="*/ 1033111 h 2719086"/>
                  <a:gd name="connsiteX73" fmla="*/ 241461 w 1416191"/>
                  <a:gd name="connsiteY73" fmla="*/ 1033111 h 2719086"/>
                  <a:gd name="connsiteX74" fmla="*/ 353340 w 1416191"/>
                  <a:gd name="connsiteY74" fmla="*/ 1126580 h 2719086"/>
                  <a:gd name="connsiteX75" fmla="*/ 422733 w 1416191"/>
                  <a:gd name="connsiteY75" fmla="*/ 1147823 h 2719086"/>
                  <a:gd name="connsiteX76" fmla="*/ 361837 w 1416191"/>
                  <a:gd name="connsiteY76" fmla="*/ 1204470 h 2719086"/>
                  <a:gd name="connsiteX77" fmla="*/ 361837 w 1416191"/>
                  <a:gd name="connsiteY77" fmla="*/ 1204470 h 2719086"/>
                  <a:gd name="connsiteX78" fmla="*/ 363253 w 1416191"/>
                  <a:gd name="connsiteY78" fmla="*/ 1205886 h 2719086"/>
                  <a:gd name="connsiteX79" fmla="*/ 449641 w 1416191"/>
                  <a:gd name="connsiteY79" fmla="*/ 1156320 h 2719086"/>
                  <a:gd name="connsiteX80" fmla="*/ 572850 w 1416191"/>
                  <a:gd name="connsiteY80" fmla="*/ 1193141 h 2719086"/>
                  <a:gd name="connsiteX81" fmla="*/ 553023 w 1416191"/>
                  <a:gd name="connsiteY81" fmla="*/ 1238459 h 2719086"/>
                  <a:gd name="connsiteX82" fmla="*/ 449641 w 1416191"/>
                  <a:gd name="connsiteY82" fmla="*/ 1288026 h 2719086"/>
                  <a:gd name="connsiteX83" fmla="*/ 368918 w 1416191"/>
                  <a:gd name="connsiteY83" fmla="*/ 1330511 h 2719086"/>
                  <a:gd name="connsiteX84" fmla="*/ 368918 w 1416191"/>
                  <a:gd name="connsiteY84" fmla="*/ 1330511 h 2719086"/>
                  <a:gd name="connsiteX85" fmla="*/ 336345 w 1416191"/>
                  <a:gd name="connsiteY85" fmla="*/ 1463633 h 2719086"/>
                  <a:gd name="connsiteX86" fmla="*/ 336345 w 1416191"/>
                  <a:gd name="connsiteY86" fmla="*/ 1463633 h 2719086"/>
                  <a:gd name="connsiteX87" fmla="*/ 435479 w 1416191"/>
                  <a:gd name="connsiteY87" fmla="*/ 1497622 h 2719086"/>
                  <a:gd name="connsiteX88" fmla="*/ 385912 w 1416191"/>
                  <a:gd name="connsiteY88" fmla="*/ 1605252 h 2719086"/>
                  <a:gd name="connsiteX89" fmla="*/ 333513 w 1416191"/>
                  <a:gd name="connsiteY89" fmla="*/ 1584010 h 2719086"/>
                  <a:gd name="connsiteX90" fmla="*/ 333513 w 1416191"/>
                  <a:gd name="connsiteY90" fmla="*/ 1584010 h 2719086"/>
                  <a:gd name="connsiteX91" fmla="*/ 332097 w 1416191"/>
                  <a:gd name="connsiteY91" fmla="*/ 1585426 h 2719086"/>
                  <a:gd name="connsiteX92" fmla="*/ 381664 w 1416191"/>
                  <a:gd name="connsiteY92" fmla="*/ 1612333 h 2719086"/>
                  <a:gd name="connsiteX93" fmla="*/ 342010 w 1416191"/>
                  <a:gd name="connsiteY93" fmla="*/ 1698721 h 2719086"/>
                  <a:gd name="connsiteX94" fmla="*/ 342010 w 1416191"/>
                  <a:gd name="connsiteY94" fmla="*/ 1698721 h 2719086"/>
                  <a:gd name="connsiteX95" fmla="*/ 448225 w 1416191"/>
                  <a:gd name="connsiteY95" fmla="*/ 1646322 h 2719086"/>
                  <a:gd name="connsiteX96" fmla="*/ 509121 w 1416191"/>
                  <a:gd name="connsiteY96" fmla="*/ 1678894 h 2719086"/>
                  <a:gd name="connsiteX97" fmla="*/ 509121 w 1416191"/>
                  <a:gd name="connsiteY97" fmla="*/ 1678894 h 2719086"/>
                  <a:gd name="connsiteX98" fmla="*/ 544526 w 1416191"/>
                  <a:gd name="connsiteY98" fmla="*/ 1663316 h 2719086"/>
                  <a:gd name="connsiteX99" fmla="*/ 534612 w 1416191"/>
                  <a:gd name="connsiteY99" fmla="*/ 1719964 h 2719086"/>
                  <a:gd name="connsiteX100" fmla="*/ 350507 w 1416191"/>
                  <a:gd name="connsiteY100" fmla="*/ 1751120 h 2719086"/>
                  <a:gd name="connsiteX101" fmla="*/ 350507 w 1416191"/>
                  <a:gd name="connsiteY101" fmla="*/ 1751120 h 2719086"/>
                  <a:gd name="connsiteX102" fmla="*/ 351924 w 1416191"/>
                  <a:gd name="connsiteY102" fmla="*/ 1916814 h 2719086"/>
                  <a:gd name="connsiteX103" fmla="*/ 268368 w 1416191"/>
                  <a:gd name="connsiteY103" fmla="*/ 1912566 h 2719086"/>
                  <a:gd name="connsiteX104" fmla="*/ 268368 w 1416191"/>
                  <a:gd name="connsiteY104" fmla="*/ 1912566 h 2719086"/>
                  <a:gd name="connsiteX105" fmla="*/ 295276 w 1416191"/>
                  <a:gd name="connsiteY105" fmla="*/ 1991872 h 2719086"/>
                  <a:gd name="connsiteX106" fmla="*/ 240045 w 1416191"/>
                  <a:gd name="connsiteY106" fmla="*/ 1984791 h 2719086"/>
                  <a:gd name="connsiteX107" fmla="*/ 240045 w 1416191"/>
                  <a:gd name="connsiteY107" fmla="*/ 1984791 h 2719086"/>
                  <a:gd name="connsiteX108" fmla="*/ 308022 w 1416191"/>
                  <a:gd name="connsiteY108" fmla="*/ 2054185 h 2719086"/>
                  <a:gd name="connsiteX109" fmla="*/ 264120 w 1416191"/>
                  <a:gd name="connsiteY109" fmla="*/ 2228376 h 2719086"/>
                  <a:gd name="connsiteX110" fmla="*/ 264120 w 1416191"/>
                  <a:gd name="connsiteY110" fmla="*/ 2228376 h 2719086"/>
                  <a:gd name="connsiteX111" fmla="*/ 317935 w 1416191"/>
                  <a:gd name="connsiteY111" fmla="*/ 2252451 h 2719086"/>
                  <a:gd name="connsiteX112" fmla="*/ 249958 w 1416191"/>
                  <a:gd name="connsiteY112" fmla="*/ 2319013 h 2719086"/>
                  <a:gd name="connsiteX113" fmla="*/ 249958 w 1416191"/>
                  <a:gd name="connsiteY113" fmla="*/ 2319013 h 2719086"/>
                  <a:gd name="connsiteX114" fmla="*/ 285363 w 1416191"/>
                  <a:gd name="connsiteY114" fmla="*/ 2429475 h 2719086"/>
                  <a:gd name="connsiteX115" fmla="*/ 164986 w 1416191"/>
                  <a:gd name="connsiteY115" fmla="*/ 2432308 h 2719086"/>
                  <a:gd name="connsiteX116" fmla="*/ 164986 w 1416191"/>
                  <a:gd name="connsiteY116" fmla="*/ 2432308 h 2719086"/>
                  <a:gd name="connsiteX117" fmla="*/ 218802 w 1416191"/>
                  <a:gd name="connsiteY117" fmla="*/ 2498869 h 2719086"/>
                  <a:gd name="connsiteX118" fmla="*/ 218802 w 1416191"/>
                  <a:gd name="connsiteY118" fmla="*/ 2498869 h 2719086"/>
                  <a:gd name="connsiteX119" fmla="*/ 288195 w 1416191"/>
                  <a:gd name="connsiteY119" fmla="*/ 2433724 h 2719086"/>
                  <a:gd name="connsiteX120" fmla="*/ 306606 w 1416191"/>
                  <a:gd name="connsiteY120" fmla="*/ 2490372 h 2719086"/>
                  <a:gd name="connsiteX121" fmla="*/ 228715 w 1416191"/>
                  <a:gd name="connsiteY121" fmla="*/ 2633407 h 2719086"/>
                  <a:gd name="connsiteX122" fmla="*/ 228715 w 1416191"/>
                  <a:gd name="connsiteY122" fmla="*/ 2633407 h 2719086"/>
                  <a:gd name="connsiteX123" fmla="*/ 344843 w 1416191"/>
                  <a:gd name="connsiteY123" fmla="*/ 2610748 h 2719086"/>
                  <a:gd name="connsiteX124" fmla="*/ 356172 w 1416191"/>
                  <a:gd name="connsiteY124" fmla="*/ 2648985 h 2719086"/>
                  <a:gd name="connsiteX125" fmla="*/ 325016 w 1416191"/>
                  <a:gd name="connsiteY125" fmla="*/ 2639072 h 2719086"/>
                  <a:gd name="connsiteX126" fmla="*/ 223050 w 1416191"/>
                  <a:gd name="connsiteY126" fmla="*/ 2637655 h 2719086"/>
                  <a:gd name="connsiteX127" fmla="*/ 221634 w 1416191"/>
                  <a:gd name="connsiteY127" fmla="*/ 2637655 h 2719086"/>
                  <a:gd name="connsiteX128" fmla="*/ 366086 w 1416191"/>
                  <a:gd name="connsiteY128" fmla="*/ 2708465 h 2719086"/>
                  <a:gd name="connsiteX129" fmla="*/ 366086 w 1416191"/>
                  <a:gd name="connsiteY129" fmla="*/ 2708465 h 2719086"/>
                  <a:gd name="connsiteX130" fmla="*/ 350507 w 1416191"/>
                  <a:gd name="connsiteY130" fmla="*/ 2657482 h 2719086"/>
                  <a:gd name="connsiteX131" fmla="*/ 452473 w 1416191"/>
                  <a:gd name="connsiteY131" fmla="*/ 2690055 h 2719086"/>
                  <a:gd name="connsiteX132" fmla="*/ 452473 w 1416191"/>
                  <a:gd name="connsiteY132" fmla="*/ 2690055 h 2719086"/>
                  <a:gd name="connsiteX133" fmla="*/ 390161 w 1416191"/>
                  <a:gd name="connsiteY133" fmla="*/ 2603667 h 2719086"/>
                  <a:gd name="connsiteX134" fmla="*/ 390161 w 1416191"/>
                  <a:gd name="connsiteY134" fmla="*/ 2603667 h 2719086"/>
                  <a:gd name="connsiteX135" fmla="*/ 336345 w 1416191"/>
                  <a:gd name="connsiteY135" fmla="*/ 2613580 h 2719086"/>
                  <a:gd name="connsiteX136" fmla="*/ 299525 w 1416191"/>
                  <a:gd name="connsiteY136" fmla="*/ 2494620 h 2719086"/>
                  <a:gd name="connsiteX137" fmla="*/ 303773 w 1416191"/>
                  <a:gd name="connsiteY137" fmla="*/ 2486123 h 2719086"/>
                  <a:gd name="connsiteX138" fmla="*/ 330681 w 1416191"/>
                  <a:gd name="connsiteY138" fmla="*/ 2573927 h 2719086"/>
                  <a:gd name="connsiteX139" fmla="*/ 330681 w 1416191"/>
                  <a:gd name="connsiteY139" fmla="*/ 2575343 h 2719086"/>
                  <a:gd name="connsiteX140" fmla="*/ 337762 w 1416191"/>
                  <a:gd name="connsiteY140" fmla="*/ 2449302 h 2719086"/>
                  <a:gd name="connsiteX141" fmla="*/ 373167 w 1416191"/>
                  <a:gd name="connsiteY141" fmla="*/ 2432308 h 2719086"/>
                  <a:gd name="connsiteX142" fmla="*/ 401490 w 1416191"/>
                  <a:gd name="connsiteY142" fmla="*/ 2430892 h 2719086"/>
                  <a:gd name="connsiteX143" fmla="*/ 490710 w 1416191"/>
                  <a:gd name="connsiteY143" fmla="*/ 2374244 h 2719086"/>
                  <a:gd name="connsiteX144" fmla="*/ 490710 w 1416191"/>
                  <a:gd name="connsiteY144" fmla="*/ 2374244 h 2719086"/>
                  <a:gd name="connsiteX145" fmla="*/ 489294 w 1416191"/>
                  <a:gd name="connsiteY145" fmla="*/ 2372828 h 2719086"/>
                  <a:gd name="connsiteX146" fmla="*/ 371750 w 1416191"/>
                  <a:gd name="connsiteY146" fmla="*/ 2430892 h 2719086"/>
                  <a:gd name="connsiteX147" fmla="*/ 337762 w 1416191"/>
                  <a:gd name="connsiteY147" fmla="*/ 2432308 h 2719086"/>
                  <a:gd name="connsiteX148" fmla="*/ 340594 w 1416191"/>
                  <a:gd name="connsiteY148" fmla="*/ 2381325 h 2719086"/>
                  <a:gd name="connsiteX149" fmla="*/ 421317 w 1416191"/>
                  <a:gd name="connsiteY149" fmla="*/ 2304851 h 2719086"/>
                  <a:gd name="connsiteX150" fmla="*/ 421317 w 1416191"/>
                  <a:gd name="connsiteY150" fmla="*/ 2304851 h 2719086"/>
                  <a:gd name="connsiteX151" fmla="*/ 343426 w 1416191"/>
                  <a:gd name="connsiteY151" fmla="*/ 2313348 h 2719086"/>
                  <a:gd name="connsiteX152" fmla="*/ 346259 w 1416191"/>
                  <a:gd name="connsiteY152" fmla="*/ 2272278 h 2719086"/>
                  <a:gd name="connsiteX153" fmla="*/ 414236 w 1416191"/>
                  <a:gd name="connsiteY153" fmla="*/ 2302018 h 2719086"/>
                  <a:gd name="connsiteX154" fmla="*/ 414236 w 1416191"/>
                  <a:gd name="connsiteY154" fmla="*/ 2302018 h 2719086"/>
                  <a:gd name="connsiteX155" fmla="*/ 409988 w 1416191"/>
                  <a:gd name="connsiteY155" fmla="*/ 2184474 h 2719086"/>
                  <a:gd name="connsiteX156" fmla="*/ 421317 w 1416191"/>
                  <a:gd name="connsiteY156" fmla="*/ 2178810 h 2719086"/>
                  <a:gd name="connsiteX157" fmla="*/ 462387 w 1416191"/>
                  <a:gd name="connsiteY157" fmla="*/ 2219879 h 2719086"/>
                  <a:gd name="connsiteX158" fmla="*/ 462387 w 1416191"/>
                  <a:gd name="connsiteY158" fmla="*/ 2219879 h 2719086"/>
                  <a:gd name="connsiteX159" fmla="*/ 494959 w 1416191"/>
                  <a:gd name="connsiteY159" fmla="*/ 2140572 h 2719086"/>
                  <a:gd name="connsiteX160" fmla="*/ 494959 w 1416191"/>
                  <a:gd name="connsiteY160" fmla="*/ 2140572 h 2719086"/>
                  <a:gd name="connsiteX161" fmla="*/ 421317 w 1416191"/>
                  <a:gd name="connsiteY161" fmla="*/ 2175977 h 2719086"/>
                  <a:gd name="connsiteX162" fmla="*/ 408571 w 1416191"/>
                  <a:gd name="connsiteY162" fmla="*/ 2163232 h 2719086"/>
                  <a:gd name="connsiteX163" fmla="*/ 408571 w 1416191"/>
                  <a:gd name="connsiteY163" fmla="*/ 2158983 h 2719086"/>
                  <a:gd name="connsiteX164" fmla="*/ 533196 w 1416191"/>
                  <a:gd name="connsiteY164" fmla="*/ 2035774 h 2719086"/>
                  <a:gd name="connsiteX165" fmla="*/ 533196 w 1416191"/>
                  <a:gd name="connsiteY165" fmla="*/ 2035774 h 2719086"/>
                  <a:gd name="connsiteX166" fmla="*/ 534612 w 1416191"/>
                  <a:gd name="connsiteY166" fmla="*/ 2027277 h 2719086"/>
                  <a:gd name="connsiteX167" fmla="*/ 543110 w 1416191"/>
                  <a:gd name="connsiteY167" fmla="*/ 2028693 h 2719086"/>
                  <a:gd name="connsiteX168" fmla="*/ 544526 w 1416191"/>
                  <a:gd name="connsiteY168" fmla="*/ 2028693 h 2719086"/>
                  <a:gd name="connsiteX169" fmla="*/ 536029 w 1416191"/>
                  <a:gd name="connsiteY169" fmla="*/ 2023029 h 2719086"/>
                  <a:gd name="connsiteX170" fmla="*/ 550190 w 1416191"/>
                  <a:gd name="connsiteY170" fmla="*/ 1930976 h 2719086"/>
                  <a:gd name="connsiteX171" fmla="*/ 626665 w 1416191"/>
                  <a:gd name="connsiteY171" fmla="*/ 1935225 h 2719086"/>
                  <a:gd name="connsiteX172" fmla="*/ 626665 w 1416191"/>
                  <a:gd name="connsiteY172" fmla="*/ 1935225 h 2719086"/>
                  <a:gd name="connsiteX173" fmla="*/ 628081 w 1416191"/>
                  <a:gd name="connsiteY173" fmla="*/ 1844589 h 2719086"/>
                  <a:gd name="connsiteX174" fmla="*/ 660653 w 1416191"/>
                  <a:gd name="connsiteY174" fmla="*/ 1844589 h 2719086"/>
                  <a:gd name="connsiteX175" fmla="*/ 691810 w 1416191"/>
                  <a:gd name="connsiteY175" fmla="*/ 1952219 h 2719086"/>
                  <a:gd name="connsiteX176" fmla="*/ 691810 w 1416191"/>
                  <a:gd name="connsiteY176" fmla="*/ 1953635 h 2719086"/>
                  <a:gd name="connsiteX177" fmla="*/ 704555 w 1416191"/>
                  <a:gd name="connsiteY177" fmla="*/ 1860167 h 2719086"/>
                  <a:gd name="connsiteX178" fmla="*/ 660653 w 1416191"/>
                  <a:gd name="connsiteY178" fmla="*/ 2555517 h 2719086"/>
                  <a:gd name="connsiteX179" fmla="*/ 660653 w 1416191"/>
                  <a:gd name="connsiteY179" fmla="*/ 2555517 h 2719086"/>
                  <a:gd name="connsiteX180" fmla="*/ 662069 w 1416191"/>
                  <a:gd name="connsiteY180" fmla="*/ 2555517 h 2719086"/>
                  <a:gd name="connsiteX181" fmla="*/ 662069 w 1416191"/>
                  <a:gd name="connsiteY181" fmla="*/ 2555517 h 2719086"/>
                  <a:gd name="connsiteX182" fmla="*/ 720133 w 1416191"/>
                  <a:gd name="connsiteY182" fmla="*/ 1626495 h 2719086"/>
                  <a:gd name="connsiteX183" fmla="*/ 754122 w 1416191"/>
                  <a:gd name="connsiteY183" fmla="*/ 1744039 h 2719086"/>
                  <a:gd name="connsiteX184" fmla="*/ 713052 w 1416191"/>
                  <a:gd name="connsiteY184" fmla="*/ 1789357 h 2719086"/>
                  <a:gd name="connsiteX185" fmla="*/ 713052 w 1416191"/>
                  <a:gd name="connsiteY185" fmla="*/ 1789357 h 2719086"/>
                  <a:gd name="connsiteX186" fmla="*/ 772532 w 1416191"/>
                  <a:gd name="connsiteY186" fmla="*/ 1800687 h 2719086"/>
                  <a:gd name="connsiteX187" fmla="*/ 772532 w 1416191"/>
                  <a:gd name="connsiteY187" fmla="*/ 1800687 h 2719086"/>
                  <a:gd name="connsiteX188" fmla="*/ 756954 w 1416191"/>
                  <a:gd name="connsiteY188" fmla="*/ 1744039 h 2719086"/>
                  <a:gd name="connsiteX189" fmla="*/ 850423 w 1416191"/>
                  <a:gd name="connsiteY189" fmla="*/ 1642073 h 2719086"/>
                  <a:gd name="connsiteX190" fmla="*/ 880163 w 1416191"/>
                  <a:gd name="connsiteY190" fmla="*/ 1651987 h 2719086"/>
                  <a:gd name="connsiteX191" fmla="*/ 880163 w 1416191"/>
                  <a:gd name="connsiteY191" fmla="*/ 1651987 h 2719086"/>
                  <a:gd name="connsiteX192" fmla="*/ 966551 w 1416191"/>
                  <a:gd name="connsiteY192" fmla="*/ 1513200 h 2719086"/>
                  <a:gd name="connsiteX193" fmla="*/ 1119499 w 1416191"/>
                  <a:gd name="connsiteY193" fmla="*/ 1346089 h 2719086"/>
                  <a:gd name="connsiteX194" fmla="*/ 1119499 w 1416191"/>
                  <a:gd name="connsiteY194" fmla="*/ 1346089 h 2719086"/>
                  <a:gd name="connsiteX195" fmla="*/ 1118083 w 1416191"/>
                  <a:gd name="connsiteY195" fmla="*/ 1344673 h 2719086"/>
                  <a:gd name="connsiteX196" fmla="*/ 1027447 w 1416191"/>
                  <a:gd name="connsiteY196" fmla="*/ 1412650 h 2719086"/>
                  <a:gd name="connsiteX197" fmla="*/ 965135 w 1416191"/>
                  <a:gd name="connsiteY197" fmla="*/ 1511784 h 2719086"/>
                  <a:gd name="connsiteX198" fmla="*/ 849007 w 1416191"/>
                  <a:gd name="connsiteY198" fmla="*/ 1639241 h 2719086"/>
                  <a:gd name="connsiteX199" fmla="*/ 713052 w 1416191"/>
                  <a:gd name="connsiteY199" fmla="*/ 1592507 h 2719086"/>
                  <a:gd name="connsiteX200" fmla="*/ 713052 w 1416191"/>
                  <a:gd name="connsiteY200" fmla="*/ 1592507 h 2719086"/>
                  <a:gd name="connsiteX201" fmla="*/ 705972 w 1416191"/>
                  <a:gd name="connsiteY201" fmla="*/ 1589674 h 2719086"/>
                  <a:gd name="connsiteX202" fmla="*/ 756954 w 1416191"/>
                  <a:gd name="connsiteY202" fmla="*/ 1567015 h 2719086"/>
                  <a:gd name="connsiteX203" fmla="*/ 812186 w 1416191"/>
                  <a:gd name="connsiteY203" fmla="*/ 1591091 h 2719086"/>
                  <a:gd name="connsiteX204" fmla="*/ 812186 w 1416191"/>
                  <a:gd name="connsiteY204" fmla="*/ 1591091 h 2719086"/>
                  <a:gd name="connsiteX205" fmla="*/ 796608 w 1416191"/>
                  <a:gd name="connsiteY205" fmla="*/ 1548605 h 2719086"/>
                  <a:gd name="connsiteX206" fmla="*/ 853255 w 1416191"/>
                  <a:gd name="connsiteY206" fmla="*/ 1588258 h 2719086"/>
                  <a:gd name="connsiteX207" fmla="*/ 853255 w 1416191"/>
                  <a:gd name="connsiteY207" fmla="*/ 1588258 h 2719086"/>
                  <a:gd name="connsiteX208" fmla="*/ 943892 w 1416191"/>
                  <a:gd name="connsiteY208" fmla="*/ 1479212 h 2719086"/>
                  <a:gd name="connsiteX209" fmla="*/ 943892 w 1416191"/>
                  <a:gd name="connsiteY209" fmla="*/ 1477795 h 2719086"/>
                  <a:gd name="connsiteX210" fmla="*/ 796608 w 1416191"/>
                  <a:gd name="connsiteY210" fmla="*/ 1545772 h 2719086"/>
                  <a:gd name="connsiteX211" fmla="*/ 795192 w 1416191"/>
                  <a:gd name="connsiteY211" fmla="*/ 1544356 h 2719086"/>
                  <a:gd name="connsiteX212" fmla="*/ 773949 w 1416191"/>
                  <a:gd name="connsiteY212" fmla="*/ 1486292 h 2719086"/>
                  <a:gd name="connsiteX213" fmla="*/ 1201639 w 1416191"/>
                  <a:gd name="connsiteY213" fmla="*/ 1275280 h 2719086"/>
                  <a:gd name="connsiteX214" fmla="*/ 1201639 w 1416191"/>
                  <a:gd name="connsiteY214" fmla="*/ 1275280 h 2719086"/>
                  <a:gd name="connsiteX215" fmla="*/ 1061436 w 1416191"/>
                  <a:gd name="connsiteY215" fmla="*/ 1142158 h 2719086"/>
                  <a:gd name="connsiteX216" fmla="*/ 1256870 w 1416191"/>
                  <a:gd name="connsiteY216" fmla="*/ 1154903 h 2719086"/>
                  <a:gd name="connsiteX217" fmla="*/ 1256870 w 1416191"/>
                  <a:gd name="connsiteY217" fmla="*/ 1154903 h 2719086"/>
                  <a:gd name="connsiteX218" fmla="*/ 1288026 w 1416191"/>
                  <a:gd name="connsiteY218" fmla="*/ 994874 h 2719086"/>
                  <a:gd name="connsiteX219" fmla="*/ 1324847 w 1416191"/>
                  <a:gd name="connsiteY219" fmla="*/ 993458 h 2719086"/>
                  <a:gd name="connsiteX220" fmla="*/ 1324847 w 1416191"/>
                  <a:gd name="connsiteY220" fmla="*/ 993458 h 2719086"/>
                  <a:gd name="connsiteX221" fmla="*/ 1324847 w 1416191"/>
                  <a:gd name="connsiteY221" fmla="*/ 992042 h 2719086"/>
                  <a:gd name="connsiteX222" fmla="*/ 1288026 w 1416191"/>
                  <a:gd name="connsiteY222" fmla="*/ 987793 h 2719086"/>
                  <a:gd name="connsiteX223" fmla="*/ 1314934 w 1416191"/>
                  <a:gd name="connsiteY223" fmla="*/ 843341 h 2719086"/>
                  <a:gd name="connsiteX224" fmla="*/ 1416900 w 1416191"/>
                  <a:gd name="connsiteY224" fmla="*/ 761203 h 2719086"/>
                  <a:gd name="connsiteX225" fmla="*/ 1416900 w 1416191"/>
                  <a:gd name="connsiteY225" fmla="*/ 761203 h 2719086"/>
                  <a:gd name="connsiteX226" fmla="*/ 1238460 w 1416191"/>
                  <a:gd name="connsiteY226" fmla="*/ 790943 h 2719086"/>
                  <a:gd name="connsiteX227" fmla="*/ 1330512 w 1416191"/>
                  <a:gd name="connsiteY227" fmla="*/ 660653 h 2719086"/>
                  <a:gd name="connsiteX228" fmla="*/ 799440 w 1416191"/>
                  <a:gd name="connsiteY228" fmla="*/ 1547189 h 2719086"/>
                  <a:gd name="connsiteX229" fmla="*/ 938227 w 1416191"/>
                  <a:gd name="connsiteY229" fmla="*/ 1483460 h 2719086"/>
                  <a:gd name="connsiteX230" fmla="*/ 854672 w 1416191"/>
                  <a:gd name="connsiteY230" fmla="*/ 1585426 h 2719086"/>
                  <a:gd name="connsiteX231" fmla="*/ 799440 w 1416191"/>
                  <a:gd name="connsiteY231" fmla="*/ 1547189 h 2719086"/>
                  <a:gd name="connsiteX232" fmla="*/ 425566 w 1416191"/>
                  <a:gd name="connsiteY232" fmla="*/ 2178810 h 2719086"/>
                  <a:gd name="connsiteX233" fmla="*/ 493543 w 1416191"/>
                  <a:gd name="connsiteY233" fmla="*/ 2146237 h 2719086"/>
                  <a:gd name="connsiteX234" fmla="*/ 463803 w 1416191"/>
                  <a:gd name="connsiteY234" fmla="*/ 2218463 h 2719086"/>
                  <a:gd name="connsiteX235" fmla="*/ 425566 w 1416191"/>
                  <a:gd name="connsiteY235" fmla="*/ 2178810 h 2719086"/>
                  <a:gd name="connsiteX236" fmla="*/ 337762 w 1416191"/>
                  <a:gd name="connsiteY236" fmla="*/ 2449302 h 2719086"/>
                  <a:gd name="connsiteX237" fmla="*/ 339178 w 1416191"/>
                  <a:gd name="connsiteY237" fmla="*/ 2435140 h 2719086"/>
                  <a:gd name="connsiteX238" fmla="*/ 368918 w 1416191"/>
                  <a:gd name="connsiteY238" fmla="*/ 2433724 h 2719086"/>
                  <a:gd name="connsiteX239" fmla="*/ 337762 w 1416191"/>
                  <a:gd name="connsiteY239" fmla="*/ 2449302 h 2719086"/>
                  <a:gd name="connsiteX240" fmla="*/ 223050 w 1416191"/>
                  <a:gd name="connsiteY240" fmla="*/ 2646153 h 2719086"/>
                  <a:gd name="connsiteX241" fmla="*/ 315103 w 1416191"/>
                  <a:gd name="connsiteY241" fmla="*/ 2647569 h 2719086"/>
                  <a:gd name="connsiteX242" fmla="*/ 347675 w 1416191"/>
                  <a:gd name="connsiteY242" fmla="*/ 2657482 h 2719086"/>
                  <a:gd name="connsiteX243" fmla="*/ 363253 w 1416191"/>
                  <a:gd name="connsiteY243" fmla="*/ 2705632 h 2719086"/>
                  <a:gd name="connsiteX244" fmla="*/ 223050 w 1416191"/>
                  <a:gd name="connsiteY244" fmla="*/ 2646153 h 2719086"/>
                  <a:gd name="connsiteX245" fmla="*/ 350507 w 1416191"/>
                  <a:gd name="connsiteY245" fmla="*/ 2656066 h 2719086"/>
                  <a:gd name="connsiteX246" fmla="*/ 337762 w 1416191"/>
                  <a:gd name="connsiteY246" fmla="*/ 2616413 h 2719086"/>
                  <a:gd name="connsiteX247" fmla="*/ 390161 w 1416191"/>
                  <a:gd name="connsiteY247" fmla="*/ 2606499 h 2719086"/>
                  <a:gd name="connsiteX248" fmla="*/ 448225 w 1416191"/>
                  <a:gd name="connsiteY248" fmla="*/ 2685806 h 2719086"/>
                  <a:gd name="connsiteX249" fmla="*/ 350507 w 1416191"/>
                  <a:gd name="connsiteY249" fmla="*/ 2656066 h 2719086"/>
                  <a:gd name="connsiteX250" fmla="*/ 278282 w 1416191"/>
                  <a:gd name="connsiteY250" fmla="*/ 2437973 h 2719086"/>
                  <a:gd name="connsiteX251" fmla="*/ 210305 w 1416191"/>
                  <a:gd name="connsiteY251" fmla="*/ 2501701 h 2719086"/>
                  <a:gd name="connsiteX252" fmla="*/ 160738 w 1416191"/>
                  <a:gd name="connsiteY252" fmla="*/ 2439389 h 2719086"/>
                  <a:gd name="connsiteX253" fmla="*/ 278282 w 1416191"/>
                  <a:gd name="connsiteY253" fmla="*/ 2437973 h 2719086"/>
                  <a:gd name="connsiteX254" fmla="*/ 278282 w 1416191"/>
                  <a:gd name="connsiteY254" fmla="*/ 2437973 h 2719086"/>
                  <a:gd name="connsiteX255" fmla="*/ 759787 w 1416191"/>
                  <a:gd name="connsiteY255" fmla="*/ 1564183 h 2719086"/>
                  <a:gd name="connsiteX256" fmla="*/ 795192 w 1416191"/>
                  <a:gd name="connsiteY256" fmla="*/ 1547189 h 2719086"/>
                  <a:gd name="connsiteX257" fmla="*/ 809354 w 1416191"/>
                  <a:gd name="connsiteY257" fmla="*/ 1585426 h 2719086"/>
                  <a:gd name="connsiteX258" fmla="*/ 759787 w 1416191"/>
                  <a:gd name="connsiteY258" fmla="*/ 1564183 h 2719086"/>
                  <a:gd name="connsiteX259" fmla="*/ 717301 w 1416191"/>
                  <a:gd name="connsiteY259" fmla="*/ 1789357 h 2719086"/>
                  <a:gd name="connsiteX260" fmla="*/ 755538 w 1416191"/>
                  <a:gd name="connsiteY260" fmla="*/ 1748288 h 2719086"/>
                  <a:gd name="connsiteX261" fmla="*/ 771116 w 1416191"/>
                  <a:gd name="connsiteY261" fmla="*/ 1799270 h 2719086"/>
                  <a:gd name="connsiteX262" fmla="*/ 717301 w 1416191"/>
                  <a:gd name="connsiteY262" fmla="*/ 1789357 h 2719086"/>
                  <a:gd name="connsiteX263" fmla="*/ 626665 w 1416191"/>
                  <a:gd name="connsiteY263" fmla="*/ 1708634 h 2719086"/>
                  <a:gd name="connsiteX264" fmla="*/ 626665 w 1416191"/>
                  <a:gd name="connsiteY264" fmla="*/ 1728461 h 2719086"/>
                  <a:gd name="connsiteX265" fmla="*/ 621000 w 1416191"/>
                  <a:gd name="connsiteY265" fmla="*/ 1710050 h 2719086"/>
                  <a:gd name="connsiteX266" fmla="*/ 626665 w 1416191"/>
                  <a:gd name="connsiteY266" fmla="*/ 1708634 h 2719086"/>
                  <a:gd name="connsiteX267" fmla="*/ 659237 w 1416191"/>
                  <a:gd name="connsiteY267" fmla="*/ 1844589 h 2719086"/>
                  <a:gd name="connsiteX268" fmla="*/ 628081 w 1416191"/>
                  <a:gd name="connsiteY268" fmla="*/ 1844589 h 2719086"/>
                  <a:gd name="connsiteX269" fmla="*/ 629497 w 1416191"/>
                  <a:gd name="connsiteY269" fmla="*/ 1742623 h 2719086"/>
                  <a:gd name="connsiteX270" fmla="*/ 659237 w 1416191"/>
                  <a:gd name="connsiteY270" fmla="*/ 1844589 h 2719086"/>
                  <a:gd name="connsiteX271" fmla="*/ 562936 w 1416191"/>
                  <a:gd name="connsiteY271" fmla="*/ 1846005 h 2719086"/>
                  <a:gd name="connsiteX272" fmla="*/ 626665 w 1416191"/>
                  <a:gd name="connsiteY272" fmla="*/ 1846005 h 2719086"/>
                  <a:gd name="connsiteX273" fmla="*/ 625249 w 1416191"/>
                  <a:gd name="connsiteY273" fmla="*/ 1935225 h 2719086"/>
                  <a:gd name="connsiteX274" fmla="*/ 550190 w 1416191"/>
                  <a:gd name="connsiteY274" fmla="*/ 1930976 h 2719086"/>
                  <a:gd name="connsiteX275" fmla="*/ 562936 w 1416191"/>
                  <a:gd name="connsiteY275" fmla="*/ 1846005 h 2719086"/>
                  <a:gd name="connsiteX276" fmla="*/ 421317 w 1416191"/>
                  <a:gd name="connsiteY276" fmla="*/ 2178810 h 2719086"/>
                  <a:gd name="connsiteX277" fmla="*/ 411404 w 1416191"/>
                  <a:gd name="connsiteY277" fmla="*/ 2184474 h 2719086"/>
                  <a:gd name="connsiteX278" fmla="*/ 411404 w 1416191"/>
                  <a:gd name="connsiteY278" fmla="*/ 2167480 h 2719086"/>
                  <a:gd name="connsiteX279" fmla="*/ 421317 w 1416191"/>
                  <a:gd name="connsiteY279" fmla="*/ 2178810 h 2719086"/>
                  <a:gd name="connsiteX280" fmla="*/ 317935 w 1416191"/>
                  <a:gd name="connsiteY280" fmla="*/ 2459215 h 2719086"/>
                  <a:gd name="connsiteX281" fmla="*/ 305189 w 1416191"/>
                  <a:gd name="connsiteY281" fmla="*/ 2483291 h 2719086"/>
                  <a:gd name="connsiteX282" fmla="*/ 291027 w 1416191"/>
                  <a:gd name="connsiteY282" fmla="*/ 2436556 h 2719086"/>
                  <a:gd name="connsiteX283" fmla="*/ 336345 w 1416191"/>
                  <a:gd name="connsiteY283" fmla="*/ 2435140 h 2719086"/>
                  <a:gd name="connsiteX284" fmla="*/ 334929 w 1416191"/>
                  <a:gd name="connsiteY284" fmla="*/ 2450718 h 2719086"/>
                  <a:gd name="connsiteX285" fmla="*/ 317935 w 1416191"/>
                  <a:gd name="connsiteY285" fmla="*/ 2459215 h 2719086"/>
                  <a:gd name="connsiteX286" fmla="*/ 305189 w 1416191"/>
                  <a:gd name="connsiteY286" fmla="*/ 2486123 h 2719086"/>
                  <a:gd name="connsiteX287" fmla="*/ 319351 w 1416191"/>
                  <a:gd name="connsiteY287" fmla="*/ 2460632 h 2719086"/>
                  <a:gd name="connsiteX288" fmla="*/ 336345 w 1416191"/>
                  <a:gd name="connsiteY288" fmla="*/ 2452134 h 2719086"/>
                  <a:gd name="connsiteX289" fmla="*/ 330681 w 1416191"/>
                  <a:gd name="connsiteY289" fmla="*/ 2565430 h 2719086"/>
                  <a:gd name="connsiteX290" fmla="*/ 305189 w 1416191"/>
                  <a:gd name="connsiteY290" fmla="*/ 2486123 h 2719086"/>
                  <a:gd name="connsiteX291" fmla="*/ 453889 w 1416191"/>
                  <a:gd name="connsiteY291" fmla="*/ 1640657 h 2719086"/>
                  <a:gd name="connsiteX292" fmla="*/ 439727 w 1416191"/>
                  <a:gd name="connsiteY292" fmla="*/ 1647738 h 2719086"/>
                  <a:gd name="connsiteX293" fmla="*/ 375999 w 1416191"/>
                  <a:gd name="connsiteY293" fmla="*/ 1613750 h 2719086"/>
                  <a:gd name="connsiteX294" fmla="*/ 377415 w 1416191"/>
                  <a:gd name="connsiteY294" fmla="*/ 1609501 h 2719086"/>
                  <a:gd name="connsiteX295" fmla="*/ 453889 w 1416191"/>
                  <a:gd name="connsiteY295" fmla="*/ 1640657 h 2719086"/>
                  <a:gd name="connsiteX296" fmla="*/ 438311 w 1416191"/>
                  <a:gd name="connsiteY296" fmla="*/ 1157736 h 2719086"/>
                  <a:gd name="connsiteX297" fmla="*/ 363253 w 1416191"/>
                  <a:gd name="connsiteY297" fmla="*/ 1201638 h 2719086"/>
                  <a:gd name="connsiteX298" fmla="*/ 418485 w 1416191"/>
                  <a:gd name="connsiteY298" fmla="*/ 1152071 h 2719086"/>
                  <a:gd name="connsiteX299" fmla="*/ 438311 w 1416191"/>
                  <a:gd name="connsiteY299" fmla="*/ 1157736 h 2719086"/>
                  <a:gd name="connsiteX300" fmla="*/ 347675 w 1416191"/>
                  <a:gd name="connsiteY300" fmla="*/ 1127996 h 2719086"/>
                  <a:gd name="connsiteX301" fmla="*/ 240045 w 1416191"/>
                  <a:gd name="connsiteY301" fmla="*/ 1037360 h 2719086"/>
                  <a:gd name="connsiteX302" fmla="*/ 553023 w 1416191"/>
                  <a:gd name="connsiteY302" fmla="*/ 1024614 h 2719086"/>
                  <a:gd name="connsiteX303" fmla="*/ 418485 w 1416191"/>
                  <a:gd name="connsiteY303" fmla="*/ 1149239 h 2719086"/>
                  <a:gd name="connsiteX304" fmla="*/ 347675 w 1416191"/>
                  <a:gd name="connsiteY304" fmla="*/ 1127996 h 2719086"/>
                  <a:gd name="connsiteX305" fmla="*/ 419901 w 1416191"/>
                  <a:gd name="connsiteY305" fmla="*/ 1149239 h 2719086"/>
                  <a:gd name="connsiteX306" fmla="*/ 555855 w 1416191"/>
                  <a:gd name="connsiteY306" fmla="*/ 1024614 h 2719086"/>
                  <a:gd name="connsiteX307" fmla="*/ 674815 w 1416191"/>
                  <a:gd name="connsiteY307" fmla="*/ 1018949 h 2719086"/>
                  <a:gd name="connsiteX308" fmla="*/ 441144 w 1416191"/>
                  <a:gd name="connsiteY308" fmla="*/ 1154903 h 2719086"/>
                  <a:gd name="connsiteX309" fmla="*/ 419901 w 1416191"/>
                  <a:gd name="connsiteY309" fmla="*/ 1149239 h 2719086"/>
                  <a:gd name="connsiteX310" fmla="*/ 326432 w 1416191"/>
                  <a:gd name="connsiteY310" fmla="*/ 747041 h 2719086"/>
                  <a:gd name="connsiteX311" fmla="*/ 283946 w 1416191"/>
                  <a:gd name="connsiteY311" fmla="*/ 799440 h 2719086"/>
                  <a:gd name="connsiteX312" fmla="*/ 169235 w 1416191"/>
                  <a:gd name="connsiteY312" fmla="*/ 782445 h 2719086"/>
                  <a:gd name="connsiteX313" fmla="*/ 159322 w 1416191"/>
                  <a:gd name="connsiteY313" fmla="*/ 731462 h 2719086"/>
                  <a:gd name="connsiteX314" fmla="*/ 223050 w 1416191"/>
                  <a:gd name="connsiteY314" fmla="*/ 694641 h 2719086"/>
                  <a:gd name="connsiteX315" fmla="*/ 326432 w 1416191"/>
                  <a:gd name="connsiteY315" fmla="*/ 747041 h 2719086"/>
                  <a:gd name="connsiteX316" fmla="*/ 1069933 w 1416191"/>
                  <a:gd name="connsiteY316" fmla="*/ 667734 h 2719086"/>
                  <a:gd name="connsiteX317" fmla="*/ 1079846 w 1416191"/>
                  <a:gd name="connsiteY317" fmla="*/ 632329 h 2719086"/>
                  <a:gd name="connsiteX318" fmla="*/ 1079846 w 1416191"/>
                  <a:gd name="connsiteY318" fmla="*/ 664902 h 2719086"/>
                  <a:gd name="connsiteX319" fmla="*/ 1069933 w 1416191"/>
                  <a:gd name="connsiteY319" fmla="*/ 667734 h 2719086"/>
                  <a:gd name="connsiteX320" fmla="*/ 1135078 w 1416191"/>
                  <a:gd name="connsiteY320" fmla="*/ 809353 h 2719086"/>
                  <a:gd name="connsiteX321" fmla="*/ 1126580 w 1416191"/>
                  <a:gd name="connsiteY321" fmla="*/ 679064 h 2719086"/>
                  <a:gd name="connsiteX322" fmla="*/ 1327679 w 1416191"/>
                  <a:gd name="connsiteY322" fmla="*/ 663486 h 2719086"/>
                  <a:gd name="connsiteX323" fmla="*/ 1239876 w 1416191"/>
                  <a:gd name="connsiteY323" fmla="*/ 790943 h 2719086"/>
                  <a:gd name="connsiteX324" fmla="*/ 1135078 w 1416191"/>
                  <a:gd name="connsiteY324" fmla="*/ 809353 h 2719086"/>
                  <a:gd name="connsiteX325" fmla="*/ 1082679 w 1416191"/>
                  <a:gd name="connsiteY325" fmla="*/ 965134 h 2719086"/>
                  <a:gd name="connsiteX326" fmla="*/ 1082679 w 1416191"/>
                  <a:gd name="connsiteY326" fmla="*/ 680480 h 2719086"/>
                  <a:gd name="connsiteX327" fmla="*/ 1125164 w 1416191"/>
                  <a:gd name="connsiteY327" fmla="*/ 677647 h 2719086"/>
                  <a:gd name="connsiteX328" fmla="*/ 1133661 w 1416191"/>
                  <a:gd name="connsiteY328" fmla="*/ 810769 h 2719086"/>
                  <a:gd name="connsiteX329" fmla="*/ 1133661 w 1416191"/>
                  <a:gd name="connsiteY329" fmla="*/ 810769 h 2719086"/>
                  <a:gd name="connsiteX330" fmla="*/ 1238460 w 1416191"/>
                  <a:gd name="connsiteY330" fmla="*/ 793775 h 2719086"/>
                  <a:gd name="connsiteX331" fmla="*/ 1118083 w 1416191"/>
                  <a:gd name="connsiteY331" fmla="*/ 969383 h 2719086"/>
                  <a:gd name="connsiteX332" fmla="*/ 1082679 w 1416191"/>
                  <a:gd name="connsiteY332" fmla="*/ 965134 h 2719086"/>
                  <a:gd name="connsiteX333" fmla="*/ 1082679 w 1416191"/>
                  <a:gd name="connsiteY333" fmla="*/ 1000539 h 2719086"/>
                  <a:gd name="connsiteX334" fmla="*/ 1082679 w 1416191"/>
                  <a:gd name="connsiteY334" fmla="*/ 967967 h 2719086"/>
                  <a:gd name="connsiteX335" fmla="*/ 1115251 w 1416191"/>
                  <a:gd name="connsiteY335" fmla="*/ 970799 h 2719086"/>
                  <a:gd name="connsiteX336" fmla="*/ 1095424 w 1416191"/>
                  <a:gd name="connsiteY336" fmla="*/ 1000539 h 2719086"/>
                  <a:gd name="connsiteX337" fmla="*/ 1082679 w 1416191"/>
                  <a:gd name="connsiteY337" fmla="*/ 1000539 h 2719086"/>
                  <a:gd name="connsiteX338" fmla="*/ 1094008 w 1416191"/>
                  <a:gd name="connsiteY338" fmla="*/ 1001955 h 2719086"/>
                  <a:gd name="connsiteX339" fmla="*/ 1082679 w 1416191"/>
                  <a:gd name="connsiteY339" fmla="*/ 1018949 h 2719086"/>
                  <a:gd name="connsiteX340" fmla="*/ 1082679 w 1416191"/>
                  <a:gd name="connsiteY340" fmla="*/ 1003371 h 2719086"/>
                  <a:gd name="connsiteX341" fmla="*/ 1094008 w 1416191"/>
                  <a:gd name="connsiteY341" fmla="*/ 1001955 h 2719086"/>
                  <a:gd name="connsiteX342" fmla="*/ 1156320 w 1416191"/>
                  <a:gd name="connsiteY342" fmla="*/ 642243 h 2719086"/>
                  <a:gd name="connsiteX343" fmla="*/ 1125164 w 1416191"/>
                  <a:gd name="connsiteY343" fmla="*/ 652156 h 2719086"/>
                  <a:gd name="connsiteX344" fmla="*/ 1119499 w 1416191"/>
                  <a:gd name="connsiteY344" fmla="*/ 554439 h 2719086"/>
                  <a:gd name="connsiteX345" fmla="*/ 1156320 w 1416191"/>
                  <a:gd name="connsiteY345" fmla="*/ 642243 h 2719086"/>
                  <a:gd name="connsiteX346" fmla="*/ 1081262 w 1416191"/>
                  <a:gd name="connsiteY346" fmla="*/ 666318 h 2719086"/>
                  <a:gd name="connsiteX347" fmla="*/ 1122332 w 1416191"/>
                  <a:gd name="connsiteY347" fmla="*/ 653572 h 2719086"/>
                  <a:gd name="connsiteX348" fmla="*/ 1123748 w 1416191"/>
                  <a:gd name="connsiteY348" fmla="*/ 676231 h 2719086"/>
                  <a:gd name="connsiteX349" fmla="*/ 1081262 w 1416191"/>
                  <a:gd name="connsiteY349" fmla="*/ 679064 h 2719086"/>
                  <a:gd name="connsiteX350" fmla="*/ 1081262 w 1416191"/>
                  <a:gd name="connsiteY350" fmla="*/ 666318 h 2719086"/>
                  <a:gd name="connsiteX351" fmla="*/ 735712 w 1416191"/>
                  <a:gd name="connsiteY351" fmla="*/ 1504703 h 2719086"/>
                  <a:gd name="connsiteX352" fmla="*/ 793775 w 1416191"/>
                  <a:gd name="connsiteY352" fmla="*/ 1545772 h 2719086"/>
                  <a:gd name="connsiteX353" fmla="*/ 793775 w 1416191"/>
                  <a:gd name="connsiteY353" fmla="*/ 1547189 h 2719086"/>
                  <a:gd name="connsiteX354" fmla="*/ 755538 w 1416191"/>
                  <a:gd name="connsiteY354" fmla="*/ 1564183 h 2719086"/>
                  <a:gd name="connsiteX355" fmla="*/ 680480 w 1416191"/>
                  <a:gd name="connsiteY355" fmla="*/ 1531610 h 2719086"/>
                  <a:gd name="connsiteX356" fmla="*/ 735712 w 1416191"/>
                  <a:gd name="connsiteY356" fmla="*/ 1504703 h 2719086"/>
                  <a:gd name="connsiteX357" fmla="*/ 231547 w 1416191"/>
                  <a:gd name="connsiteY357" fmla="*/ 361837 h 2719086"/>
                  <a:gd name="connsiteX358" fmla="*/ 309438 w 1416191"/>
                  <a:gd name="connsiteY358" fmla="*/ 425565 h 2719086"/>
                  <a:gd name="connsiteX359" fmla="*/ 186229 w 1416191"/>
                  <a:gd name="connsiteY359" fmla="*/ 509121 h 2719086"/>
                  <a:gd name="connsiteX360" fmla="*/ 142327 w 1416191"/>
                  <a:gd name="connsiteY360" fmla="*/ 445392 h 2719086"/>
                  <a:gd name="connsiteX361" fmla="*/ 231547 w 1416191"/>
                  <a:gd name="connsiteY361" fmla="*/ 361837 h 2719086"/>
                  <a:gd name="connsiteX362" fmla="*/ 275449 w 1416191"/>
                  <a:gd name="connsiteY362" fmla="*/ 317935 h 2719086"/>
                  <a:gd name="connsiteX363" fmla="*/ 232964 w 1416191"/>
                  <a:gd name="connsiteY363" fmla="*/ 357588 h 2719086"/>
                  <a:gd name="connsiteX364" fmla="*/ 186229 w 1416191"/>
                  <a:gd name="connsiteY364" fmla="*/ 319351 h 2719086"/>
                  <a:gd name="connsiteX365" fmla="*/ 200391 w 1416191"/>
                  <a:gd name="connsiteY365" fmla="*/ 293860 h 2719086"/>
                  <a:gd name="connsiteX366" fmla="*/ 275449 w 1416191"/>
                  <a:gd name="connsiteY366" fmla="*/ 317935 h 2719086"/>
                  <a:gd name="connsiteX367" fmla="*/ 476549 w 1416191"/>
                  <a:gd name="connsiteY367" fmla="*/ 157905 h 2719086"/>
                  <a:gd name="connsiteX368" fmla="*/ 561520 w 1416191"/>
                  <a:gd name="connsiteY368" fmla="*/ 74350 h 2719086"/>
                  <a:gd name="connsiteX369" fmla="*/ 511953 w 1416191"/>
                  <a:gd name="connsiteY369" fmla="*/ 169235 h 2719086"/>
                  <a:gd name="connsiteX370" fmla="*/ 476549 w 1416191"/>
                  <a:gd name="connsiteY370" fmla="*/ 157905 h 2719086"/>
                  <a:gd name="connsiteX371" fmla="*/ 487878 w 1416191"/>
                  <a:gd name="connsiteY371" fmla="*/ 220218 h 2719086"/>
                  <a:gd name="connsiteX372" fmla="*/ 513369 w 1416191"/>
                  <a:gd name="connsiteY372" fmla="*/ 172067 h 2719086"/>
                  <a:gd name="connsiteX373" fmla="*/ 732879 w 1416191"/>
                  <a:gd name="connsiteY373" fmla="*/ 244293 h 2719086"/>
                  <a:gd name="connsiteX374" fmla="*/ 487878 w 1416191"/>
                  <a:gd name="connsiteY374" fmla="*/ 220218 h 2719086"/>
                  <a:gd name="connsiteX375" fmla="*/ 762619 w 1416191"/>
                  <a:gd name="connsiteY375" fmla="*/ 633745 h 2719086"/>
                  <a:gd name="connsiteX376" fmla="*/ 762619 w 1416191"/>
                  <a:gd name="connsiteY376" fmla="*/ 633745 h 2719086"/>
                  <a:gd name="connsiteX377" fmla="*/ 962302 w 1416191"/>
                  <a:gd name="connsiteY377" fmla="*/ 690393 h 2719086"/>
                  <a:gd name="connsiteX378" fmla="*/ 962302 w 1416191"/>
                  <a:gd name="connsiteY378" fmla="*/ 690393 h 2719086"/>
                  <a:gd name="connsiteX379" fmla="*/ 1004788 w 1416191"/>
                  <a:gd name="connsiteY379" fmla="*/ 687560 h 2719086"/>
                  <a:gd name="connsiteX380" fmla="*/ 727214 w 1416191"/>
                  <a:gd name="connsiteY380" fmla="*/ 771116 h 2719086"/>
                  <a:gd name="connsiteX381" fmla="*/ 571433 w 1416191"/>
                  <a:gd name="connsiteY381" fmla="*/ 640826 h 2719086"/>
                  <a:gd name="connsiteX382" fmla="*/ 735712 w 1416191"/>
                  <a:gd name="connsiteY382" fmla="*/ 662069 h 2719086"/>
                  <a:gd name="connsiteX383" fmla="*/ 737128 w 1416191"/>
                  <a:gd name="connsiteY383" fmla="*/ 662069 h 2719086"/>
                  <a:gd name="connsiteX384" fmla="*/ 536029 w 1416191"/>
                  <a:gd name="connsiteY384" fmla="*/ 541693 h 2719086"/>
                  <a:gd name="connsiteX385" fmla="*/ 536029 w 1416191"/>
                  <a:gd name="connsiteY385" fmla="*/ 541693 h 2719086"/>
                  <a:gd name="connsiteX386" fmla="*/ 545942 w 1416191"/>
                  <a:gd name="connsiteY386" fmla="*/ 618167 h 2719086"/>
                  <a:gd name="connsiteX387" fmla="*/ 465219 w 1416191"/>
                  <a:gd name="connsiteY387" fmla="*/ 551607 h 2719086"/>
                  <a:gd name="connsiteX388" fmla="*/ 621000 w 1416191"/>
                  <a:gd name="connsiteY388" fmla="*/ 459554 h 2719086"/>
                  <a:gd name="connsiteX389" fmla="*/ 662069 w 1416191"/>
                  <a:gd name="connsiteY389" fmla="*/ 490710 h 2719086"/>
                  <a:gd name="connsiteX390" fmla="*/ 662069 w 1416191"/>
                  <a:gd name="connsiteY390" fmla="*/ 490710 h 2719086"/>
                  <a:gd name="connsiteX391" fmla="*/ 669150 w 1416191"/>
                  <a:gd name="connsiteY391" fmla="*/ 431230 h 2719086"/>
                  <a:gd name="connsiteX392" fmla="*/ 725798 w 1416191"/>
                  <a:gd name="connsiteY392" fmla="*/ 397241 h 2719086"/>
                  <a:gd name="connsiteX393" fmla="*/ 795192 w 1416191"/>
                  <a:gd name="connsiteY393" fmla="*/ 418484 h 2719086"/>
                  <a:gd name="connsiteX394" fmla="*/ 795192 w 1416191"/>
                  <a:gd name="connsiteY394" fmla="*/ 418484 h 2719086"/>
                  <a:gd name="connsiteX395" fmla="*/ 795192 w 1416191"/>
                  <a:gd name="connsiteY395" fmla="*/ 407155 h 2719086"/>
                  <a:gd name="connsiteX396" fmla="*/ 887244 w 1416191"/>
                  <a:gd name="connsiteY396" fmla="*/ 452473 h 2719086"/>
                  <a:gd name="connsiteX397" fmla="*/ 762619 w 1416191"/>
                  <a:gd name="connsiteY397" fmla="*/ 633745 h 2719086"/>
                  <a:gd name="connsiteX398" fmla="*/ 987794 w 1416191"/>
                  <a:gd name="connsiteY398" fmla="*/ 956637 h 2719086"/>
                  <a:gd name="connsiteX399" fmla="*/ 1064268 w 1416191"/>
                  <a:gd name="connsiteY399" fmla="*/ 683312 h 2719086"/>
                  <a:gd name="connsiteX400" fmla="*/ 1078430 w 1416191"/>
                  <a:gd name="connsiteY400" fmla="*/ 681896 h 2719086"/>
                  <a:gd name="connsiteX401" fmla="*/ 1078430 w 1416191"/>
                  <a:gd name="connsiteY401" fmla="*/ 965134 h 2719086"/>
                  <a:gd name="connsiteX402" fmla="*/ 987794 w 1416191"/>
                  <a:gd name="connsiteY402" fmla="*/ 956637 h 2719086"/>
                  <a:gd name="connsiteX403" fmla="*/ 738544 w 1416191"/>
                  <a:gd name="connsiteY403" fmla="*/ 1503287 h 2719086"/>
                  <a:gd name="connsiteX404" fmla="*/ 772532 w 1416191"/>
                  <a:gd name="connsiteY404" fmla="*/ 1486292 h 2719086"/>
                  <a:gd name="connsiteX405" fmla="*/ 793775 w 1416191"/>
                  <a:gd name="connsiteY405" fmla="*/ 1541524 h 2719086"/>
                  <a:gd name="connsiteX406" fmla="*/ 738544 w 1416191"/>
                  <a:gd name="connsiteY406" fmla="*/ 1503287 h 2719086"/>
                  <a:gd name="connsiteX407" fmla="*/ 754122 w 1416191"/>
                  <a:gd name="connsiteY407" fmla="*/ 1564183 h 2719086"/>
                  <a:gd name="connsiteX408" fmla="*/ 703139 w 1416191"/>
                  <a:gd name="connsiteY408" fmla="*/ 1586842 h 2719086"/>
                  <a:gd name="connsiteX409" fmla="*/ 649324 w 1416191"/>
                  <a:gd name="connsiteY409" fmla="*/ 1547189 h 2719086"/>
                  <a:gd name="connsiteX410" fmla="*/ 679064 w 1416191"/>
                  <a:gd name="connsiteY410" fmla="*/ 1533027 h 2719086"/>
                  <a:gd name="connsiteX411" fmla="*/ 754122 w 1416191"/>
                  <a:gd name="connsiteY411" fmla="*/ 1564183 h 2719086"/>
                  <a:gd name="connsiteX412" fmla="*/ 558688 w 1416191"/>
                  <a:gd name="connsiteY412" fmla="*/ 1544356 h 2719086"/>
                  <a:gd name="connsiteX413" fmla="*/ 550190 w 1416191"/>
                  <a:gd name="connsiteY413" fmla="*/ 1593923 h 2719086"/>
                  <a:gd name="connsiteX414" fmla="*/ 458138 w 1416191"/>
                  <a:gd name="connsiteY414" fmla="*/ 1639241 h 2719086"/>
                  <a:gd name="connsiteX415" fmla="*/ 380247 w 1416191"/>
                  <a:gd name="connsiteY415" fmla="*/ 1608085 h 2719086"/>
                  <a:gd name="connsiteX416" fmla="*/ 429814 w 1416191"/>
                  <a:gd name="connsiteY416" fmla="*/ 1500454 h 2719086"/>
                  <a:gd name="connsiteX417" fmla="*/ 558688 w 1416191"/>
                  <a:gd name="connsiteY417" fmla="*/ 1544356 h 2719086"/>
                  <a:gd name="connsiteX418" fmla="*/ 299525 w 1416191"/>
                  <a:gd name="connsiteY418" fmla="*/ 101258 h 2719086"/>
                  <a:gd name="connsiteX419" fmla="*/ 265536 w 1416191"/>
                  <a:gd name="connsiteY419" fmla="*/ 164986 h 2719086"/>
                  <a:gd name="connsiteX420" fmla="*/ 264120 w 1416191"/>
                  <a:gd name="connsiteY420" fmla="*/ 89928 h 2719086"/>
                  <a:gd name="connsiteX421" fmla="*/ 299525 w 1416191"/>
                  <a:gd name="connsiteY421" fmla="*/ 101258 h 2719086"/>
                  <a:gd name="connsiteX422" fmla="*/ 346259 w 1416191"/>
                  <a:gd name="connsiteY422" fmla="*/ 724382 h 2719086"/>
                  <a:gd name="connsiteX423" fmla="*/ 346259 w 1416191"/>
                  <a:gd name="connsiteY423" fmla="*/ 738543 h 2719086"/>
                  <a:gd name="connsiteX424" fmla="*/ 340594 w 1416191"/>
                  <a:gd name="connsiteY424" fmla="*/ 731462 h 2719086"/>
                  <a:gd name="connsiteX425" fmla="*/ 346259 w 1416191"/>
                  <a:gd name="connsiteY425" fmla="*/ 724382 h 2719086"/>
                  <a:gd name="connsiteX426" fmla="*/ 329265 w 1416191"/>
                  <a:gd name="connsiteY426" fmla="*/ 745624 h 2719086"/>
                  <a:gd name="connsiteX427" fmla="*/ 339178 w 1416191"/>
                  <a:gd name="connsiteY427" fmla="*/ 732879 h 2719086"/>
                  <a:gd name="connsiteX428" fmla="*/ 346259 w 1416191"/>
                  <a:gd name="connsiteY428" fmla="*/ 742792 h 2719086"/>
                  <a:gd name="connsiteX429" fmla="*/ 346259 w 1416191"/>
                  <a:gd name="connsiteY429" fmla="*/ 754122 h 2719086"/>
                  <a:gd name="connsiteX430" fmla="*/ 329265 w 1416191"/>
                  <a:gd name="connsiteY430" fmla="*/ 745624 h 2719086"/>
                  <a:gd name="connsiteX431" fmla="*/ 568601 w 1416191"/>
                  <a:gd name="connsiteY431" fmla="*/ 640826 h 2719086"/>
                  <a:gd name="connsiteX432" fmla="*/ 725798 w 1416191"/>
                  <a:gd name="connsiteY432" fmla="*/ 772532 h 2719086"/>
                  <a:gd name="connsiteX433" fmla="*/ 571433 w 1416191"/>
                  <a:gd name="connsiteY433" fmla="*/ 819266 h 2719086"/>
                  <a:gd name="connsiteX434" fmla="*/ 548774 w 1416191"/>
                  <a:gd name="connsiteY434" fmla="*/ 639410 h 2719086"/>
                  <a:gd name="connsiteX435" fmla="*/ 568601 w 1416191"/>
                  <a:gd name="connsiteY435" fmla="*/ 640826 h 2719086"/>
                  <a:gd name="connsiteX436" fmla="*/ 528948 w 1416191"/>
                  <a:gd name="connsiteY436" fmla="*/ 833428 h 2719086"/>
                  <a:gd name="connsiteX437" fmla="*/ 570017 w 1416191"/>
                  <a:gd name="connsiteY437" fmla="*/ 820683 h 2719086"/>
                  <a:gd name="connsiteX438" fmla="*/ 572850 w 1416191"/>
                  <a:gd name="connsiteY438" fmla="*/ 839093 h 2719086"/>
                  <a:gd name="connsiteX439" fmla="*/ 528948 w 1416191"/>
                  <a:gd name="connsiteY439" fmla="*/ 833428 h 2719086"/>
                  <a:gd name="connsiteX440" fmla="*/ 360421 w 1416191"/>
                  <a:gd name="connsiteY440" fmla="*/ 764035 h 2719086"/>
                  <a:gd name="connsiteX441" fmla="*/ 394409 w 1416191"/>
                  <a:gd name="connsiteY441" fmla="*/ 813602 h 2719086"/>
                  <a:gd name="connsiteX442" fmla="*/ 344843 w 1416191"/>
                  <a:gd name="connsiteY442" fmla="*/ 806521 h 2719086"/>
                  <a:gd name="connsiteX443" fmla="*/ 346259 w 1416191"/>
                  <a:gd name="connsiteY443" fmla="*/ 756954 h 2719086"/>
                  <a:gd name="connsiteX444" fmla="*/ 360421 w 1416191"/>
                  <a:gd name="connsiteY444" fmla="*/ 764035 h 2719086"/>
                  <a:gd name="connsiteX445" fmla="*/ 357588 w 1416191"/>
                  <a:gd name="connsiteY445" fmla="*/ 761203 h 2719086"/>
                  <a:gd name="connsiteX446" fmla="*/ 346259 w 1416191"/>
                  <a:gd name="connsiteY446" fmla="*/ 755538 h 2719086"/>
                  <a:gd name="connsiteX447" fmla="*/ 346259 w 1416191"/>
                  <a:gd name="connsiteY447" fmla="*/ 745624 h 2719086"/>
                  <a:gd name="connsiteX448" fmla="*/ 357588 w 1416191"/>
                  <a:gd name="connsiteY448" fmla="*/ 761203 h 2719086"/>
                  <a:gd name="connsiteX449" fmla="*/ 356172 w 1416191"/>
                  <a:gd name="connsiteY449" fmla="*/ 462386 h 2719086"/>
                  <a:gd name="connsiteX450" fmla="*/ 500624 w 1416191"/>
                  <a:gd name="connsiteY450" fmla="*/ 370334 h 2719086"/>
                  <a:gd name="connsiteX451" fmla="*/ 540277 w 1416191"/>
                  <a:gd name="connsiteY451" fmla="*/ 400074 h 2719086"/>
                  <a:gd name="connsiteX452" fmla="*/ 421317 w 1416191"/>
                  <a:gd name="connsiteY452" fmla="*/ 516202 h 2719086"/>
                  <a:gd name="connsiteX453" fmla="*/ 356172 w 1416191"/>
                  <a:gd name="connsiteY453" fmla="*/ 462386 h 2719086"/>
                  <a:gd name="connsiteX454" fmla="*/ 623832 w 1416191"/>
                  <a:gd name="connsiteY454" fmla="*/ 320767 h 2719086"/>
                  <a:gd name="connsiteX455" fmla="*/ 684729 w 1416191"/>
                  <a:gd name="connsiteY455" fmla="*/ 261287 h 2719086"/>
                  <a:gd name="connsiteX456" fmla="*/ 676231 w 1416191"/>
                  <a:gd name="connsiteY456" fmla="*/ 346259 h 2719086"/>
                  <a:gd name="connsiteX457" fmla="*/ 623832 w 1416191"/>
                  <a:gd name="connsiteY457" fmla="*/ 320767 h 2719086"/>
                  <a:gd name="connsiteX458" fmla="*/ 666318 w 1416191"/>
                  <a:gd name="connsiteY458" fmla="*/ 432646 h 2719086"/>
                  <a:gd name="connsiteX459" fmla="*/ 660653 w 1416191"/>
                  <a:gd name="connsiteY459" fmla="*/ 487878 h 2719086"/>
                  <a:gd name="connsiteX460" fmla="*/ 622416 w 1416191"/>
                  <a:gd name="connsiteY460" fmla="*/ 458138 h 2719086"/>
                  <a:gd name="connsiteX461" fmla="*/ 666318 w 1416191"/>
                  <a:gd name="connsiteY461" fmla="*/ 432646 h 2719086"/>
                  <a:gd name="connsiteX462" fmla="*/ 727214 w 1416191"/>
                  <a:gd name="connsiteY462" fmla="*/ 659237 h 2719086"/>
                  <a:gd name="connsiteX463" fmla="*/ 568601 w 1416191"/>
                  <a:gd name="connsiteY463" fmla="*/ 637994 h 2719086"/>
                  <a:gd name="connsiteX464" fmla="*/ 545942 w 1416191"/>
                  <a:gd name="connsiteY464" fmla="*/ 619584 h 2719086"/>
                  <a:gd name="connsiteX465" fmla="*/ 536029 w 1416191"/>
                  <a:gd name="connsiteY465" fmla="*/ 544526 h 2719086"/>
                  <a:gd name="connsiteX466" fmla="*/ 727214 w 1416191"/>
                  <a:gd name="connsiteY466" fmla="*/ 659237 h 2719086"/>
                  <a:gd name="connsiteX467" fmla="*/ 353340 w 1416191"/>
                  <a:gd name="connsiteY467" fmla="*/ 538860 h 2719086"/>
                  <a:gd name="connsiteX468" fmla="*/ 354756 w 1416191"/>
                  <a:gd name="connsiteY468" fmla="*/ 463803 h 2719086"/>
                  <a:gd name="connsiteX469" fmla="*/ 421317 w 1416191"/>
                  <a:gd name="connsiteY469" fmla="*/ 519034 h 2719086"/>
                  <a:gd name="connsiteX470" fmla="*/ 388745 w 1416191"/>
                  <a:gd name="connsiteY470" fmla="*/ 551607 h 2719086"/>
                  <a:gd name="connsiteX471" fmla="*/ 353340 w 1416191"/>
                  <a:gd name="connsiteY471" fmla="*/ 538860 h 2719086"/>
                  <a:gd name="connsiteX472" fmla="*/ 548774 w 1416191"/>
                  <a:gd name="connsiteY472" fmla="*/ 340594 h 2719086"/>
                  <a:gd name="connsiteX473" fmla="*/ 596925 w 1416191"/>
                  <a:gd name="connsiteY473" fmla="*/ 309438 h 2719086"/>
                  <a:gd name="connsiteX474" fmla="*/ 621000 w 1416191"/>
                  <a:gd name="connsiteY474" fmla="*/ 322183 h 2719086"/>
                  <a:gd name="connsiteX475" fmla="*/ 589844 w 1416191"/>
                  <a:gd name="connsiteY475" fmla="*/ 353340 h 2719086"/>
                  <a:gd name="connsiteX476" fmla="*/ 548774 w 1416191"/>
                  <a:gd name="connsiteY476" fmla="*/ 340594 h 2719086"/>
                  <a:gd name="connsiteX477" fmla="*/ 618168 w 1416191"/>
                  <a:gd name="connsiteY477" fmla="*/ 458138 h 2719086"/>
                  <a:gd name="connsiteX478" fmla="*/ 462387 w 1416191"/>
                  <a:gd name="connsiteY478" fmla="*/ 550190 h 2719086"/>
                  <a:gd name="connsiteX479" fmla="*/ 424150 w 1416191"/>
                  <a:gd name="connsiteY479" fmla="*/ 517618 h 2719086"/>
                  <a:gd name="connsiteX480" fmla="*/ 543110 w 1416191"/>
                  <a:gd name="connsiteY480" fmla="*/ 401490 h 2719086"/>
                  <a:gd name="connsiteX481" fmla="*/ 618168 w 1416191"/>
                  <a:gd name="connsiteY481" fmla="*/ 458138 h 2719086"/>
                  <a:gd name="connsiteX482" fmla="*/ 462387 w 1416191"/>
                  <a:gd name="connsiteY482" fmla="*/ 553022 h 2719086"/>
                  <a:gd name="connsiteX483" fmla="*/ 544526 w 1416191"/>
                  <a:gd name="connsiteY483" fmla="*/ 622416 h 2719086"/>
                  <a:gd name="connsiteX484" fmla="*/ 545942 w 1416191"/>
                  <a:gd name="connsiteY484" fmla="*/ 636578 h 2719086"/>
                  <a:gd name="connsiteX485" fmla="*/ 428398 w 1416191"/>
                  <a:gd name="connsiteY485" fmla="*/ 621000 h 2719086"/>
                  <a:gd name="connsiteX486" fmla="*/ 428398 w 1416191"/>
                  <a:gd name="connsiteY486" fmla="*/ 621000 h 2719086"/>
                  <a:gd name="connsiteX487" fmla="*/ 347675 w 1416191"/>
                  <a:gd name="connsiteY487" fmla="*/ 720133 h 2719086"/>
                  <a:gd name="connsiteX488" fmla="*/ 350507 w 1416191"/>
                  <a:gd name="connsiteY488" fmla="*/ 619584 h 2719086"/>
                  <a:gd name="connsiteX489" fmla="*/ 462387 w 1416191"/>
                  <a:gd name="connsiteY489" fmla="*/ 553022 h 2719086"/>
                  <a:gd name="connsiteX490" fmla="*/ 460970 w 1416191"/>
                  <a:gd name="connsiteY490" fmla="*/ 551607 h 2719086"/>
                  <a:gd name="connsiteX491" fmla="*/ 351924 w 1416191"/>
                  <a:gd name="connsiteY491" fmla="*/ 615335 h 2719086"/>
                  <a:gd name="connsiteX492" fmla="*/ 353340 w 1416191"/>
                  <a:gd name="connsiteY492" fmla="*/ 540277 h 2719086"/>
                  <a:gd name="connsiteX493" fmla="*/ 388745 w 1416191"/>
                  <a:gd name="connsiteY493" fmla="*/ 553022 h 2719086"/>
                  <a:gd name="connsiteX494" fmla="*/ 388745 w 1416191"/>
                  <a:gd name="connsiteY494" fmla="*/ 553022 h 2719086"/>
                  <a:gd name="connsiteX495" fmla="*/ 422733 w 1416191"/>
                  <a:gd name="connsiteY495" fmla="*/ 519034 h 2719086"/>
                  <a:gd name="connsiteX496" fmla="*/ 460970 w 1416191"/>
                  <a:gd name="connsiteY496" fmla="*/ 551607 h 2719086"/>
                  <a:gd name="connsiteX497" fmla="*/ 278282 w 1416191"/>
                  <a:gd name="connsiteY497" fmla="*/ 511953 h 2719086"/>
                  <a:gd name="connsiteX498" fmla="*/ 351924 w 1416191"/>
                  <a:gd name="connsiteY498" fmla="*/ 465219 h 2719086"/>
                  <a:gd name="connsiteX499" fmla="*/ 350507 w 1416191"/>
                  <a:gd name="connsiteY499" fmla="*/ 538860 h 2719086"/>
                  <a:gd name="connsiteX500" fmla="*/ 278282 w 1416191"/>
                  <a:gd name="connsiteY500" fmla="*/ 511953 h 2719086"/>
                  <a:gd name="connsiteX501" fmla="*/ 565769 w 1416191"/>
                  <a:gd name="connsiteY501" fmla="*/ 637994 h 2719086"/>
                  <a:gd name="connsiteX502" fmla="*/ 550190 w 1416191"/>
                  <a:gd name="connsiteY502" fmla="*/ 635162 h 2719086"/>
                  <a:gd name="connsiteX503" fmla="*/ 548774 w 1416191"/>
                  <a:gd name="connsiteY503" fmla="*/ 622416 h 2719086"/>
                  <a:gd name="connsiteX504" fmla="*/ 565769 w 1416191"/>
                  <a:gd name="connsiteY504" fmla="*/ 637994 h 2719086"/>
                  <a:gd name="connsiteX505" fmla="*/ 621000 w 1416191"/>
                  <a:gd name="connsiteY505" fmla="*/ 458138 h 2719086"/>
                  <a:gd name="connsiteX506" fmla="*/ 544526 w 1416191"/>
                  <a:gd name="connsiteY506" fmla="*/ 400074 h 2719086"/>
                  <a:gd name="connsiteX507" fmla="*/ 589844 w 1416191"/>
                  <a:gd name="connsiteY507" fmla="*/ 356172 h 2719086"/>
                  <a:gd name="connsiteX508" fmla="*/ 671983 w 1416191"/>
                  <a:gd name="connsiteY508" fmla="*/ 381664 h 2719086"/>
                  <a:gd name="connsiteX509" fmla="*/ 666318 w 1416191"/>
                  <a:gd name="connsiteY509" fmla="*/ 431230 h 2719086"/>
                  <a:gd name="connsiteX510" fmla="*/ 621000 w 1416191"/>
                  <a:gd name="connsiteY510" fmla="*/ 458138 h 2719086"/>
                  <a:gd name="connsiteX511" fmla="*/ 591260 w 1416191"/>
                  <a:gd name="connsiteY511" fmla="*/ 353340 h 2719086"/>
                  <a:gd name="connsiteX512" fmla="*/ 622416 w 1416191"/>
                  <a:gd name="connsiteY512" fmla="*/ 322183 h 2719086"/>
                  <a:gd name="connsiteX513" fmla="*/ 674815 w 1416191"/>
                  <a:gd name="connsiteY513" fmla="*/ 347675 h 2719086"/>
                  <a:gd name="connsiteX514" fmla="*/ 671983 w 1416191"/>
                  <a:gd name="connsiteY514" fmla="*/ 377415 h 2719086"/>
                  <a:gd name="connsiteX515" fmla="*/ 591260 w 1416191"/>
                  <a:gd name="connsiteY515" fmla="*/ 353340 h 2719086"/>
                  <a:gd name="connsiteX516" fmla="*/ 587012 w 1416191"/>
                  <a:gd name="connsiteY516" fmla="*/ 354756 h 2719086"/>
                  <a:gd name="connsiteX517" fmla="*/ 541693 w 1416191"/>
                  <a:gd name="connsiteY517" fmla="*/ 398658 h 2719086"/>
                  <a:gd name="connsiteX518" fmla="*/ 502040 w 1416191"/>
                  <a:gd name="connsiteY518" fmla="*/ 368918 h 2719086"/>
                  <a:gd name="connsiteX519" fmla="*/ 544526 w 1416191"/>
                  <a:gd name="connsiteY519" fmla="*/ 342010 h 2719086"/>
                  <a:gd name="connsiteX520" fmla="*/ 587012 w 1416191"/>
                  <a:gd name="connsiteY520" fmla="*/ 354756 h 2719086"/>
                  <a:gd name="connsiteX521" fmla="*/ 349091 w 1416191"/>
                  <a:gd name="connsiteY521" fmla="*/ 722965 h 2719086"/>
                  <a:gd name="connsiteX522" fmla="*/ 429814 w 1416191"/>
                  <a:gd name="connsiteY522" fmla="*/ 622416 h 2719086"/>
                  <a:gd name="connsiteX523" fmla="*/ 547358 w 1416191"/>
                  <a:gd name="connsiteY523" fmla="*/ 637994 h 2719086"/>
                  <a:gd name="connsiteX524" fmla="*/ 570017 w 1416191"/>
                  <a:gd name="connsiteY524" fmla="*/ 819266 h 2719086"/>
                  <a:gd name="connsiteX525" fmla="*/ 524699 w 1416191"/>
                  <a:gd name="connsiteY525" fmla="*/ 833428 h 2719086"/>
                  <a:gd name="connsiteX526" fmla="*/ 489294 w 1416191"/>
                  <a:gd name="connsiteY526" fmla="*/ 827764 h 2719086"/>
                  <a:gd name="connsiteX527" fmla="*/ 361837 w 1416191"/>
                  <a:gd name="connsiteY527" fmla="*/ 762619 h 2719086"/>
                  <a:gd name="connsiteX528" fmla="*/ 347675 w 1416191"/>
                  <a:gd name="connsiteY528" fmla="*/ 742792 h 2719086"/>
                  <a:gd name="connsiteX529" fmla="*/ 349091 w 1416191"/>
                  <a:gd name="connsiteY529" fmla="*/ 722965 h 2719086"/>
                  <a:gd name="connsiteX530" fmla="*/ 722966 w 1416191"/>
                  <a:gd name="connsiteY530" fmla="*/ 397241 h 2719086"/>
                  <a:gd name="connsiteX531" fmla="*/ 669150 w 1416191"/>
                  <a:gd name="connsiteY531" fmla="*/ 429814 h 2719086"/>
                  <a:gd name="connsiteX532" fmla="*/ 674815 w 1416191"/>
                  <a:gd name="connsiteY532" fmla="*/ 383079 h 2719086"/>
                  <a:gd name="connsiteX533" fmla="*/ 722966 w 1416191"/>
                  <a:gd name="connsiteY533" fmla="*/ 397241 h 2719086"/>
                  <a:gd name="connsiteX534" fmla="*/ 543110 w 1416191"/>
                  <a:gd name="connsiteY534" fmla="*/ 340594 h 2719086"/>
                  <a:gd name="connsiteX535" fmla="*/ 500624 w 1416191"/>
                  <a:gd name="connsiteY535" fmla="*/ 367502 h 2719086"/>
                  <a:gd name="connsiteX536" fmla="*/ 411404 w 1416191"/>
                  <a:gd name="connsiteY536" fmla="*/ 299524 h 2719086"/>
                  <a:gd name="connsiteX537" fmla="*/ 543110 w 1416191"/>
                  <a:gd name="connsiteY537" fmla="*/ 340594 h 2719086"/>
                  <a:gd name="connsiteX538" fmla="*/ 327848 w 1416191"/>
                  <a:gd name="connsiteY538" fmla="*/ 271200 h 2719086"/>
                  <a:gd name="connsiteX539" fmla="*/ 357588 w 1416191"/>
                  <a:gd name="connsiteY539" fmla="*/ 242877 h 2719086"/>
                  <a:gd name="connsiteX540" fmla="*/ 356172 w 1416191"/>
                  <a:gd name="connsiteY540" fmla="*/ 279698 h 2719086"/>
                  <a:gd name="connsiteX541" fmla="*/ 327848 w 1416191"/>
                  <a:gd name="connsiteY541" fmla="*/ 271200 h 2719086"/>
                  <a:gd name="connsiteX542" fmla="*/ 407155 w 1416191"/>
                  <a:gd name="connsiteY542" fmla="*/ 360421 h 2719086"/>
                  <a:gd name="connsiteX543" fmla="*/ 356172 w 1416191"/>
                  <a:gd name="connsiteY543" fmla="*/ 394409 h 2719086"/>
                  <a:gd name="connsiteX544" fmla="*/ 357588 w 1416191"/>
                  <a:gd name="connsiteY544" fmla="*/ 344843 h 2719086"/>
                  <a:gd name="connsiteX545" fmla="*/ 407155 w 1416191"/>
                  <a:gd name="connsiteY545" fmla="*/ 360421 h 2719086"/>
                  <a:gd name="connsiteX546" fmla="*/ 357588 w 1416191"/>
                  <a:gd name="connsiteY546" fmla="*/ 282530 h 2719086"/>
                  <a:gd name="connsiteX547" fmla="*/ 356172 w 1416191"/>
                  <a:gd name="connsiteY547" fmla="*/ 342010 h 2719086"/>
                  <a:gd name="connsiteX548" fmla="*/ 279698 w 1416191"/>
                  <a:gd name="connsiteY548" fmla="*/ 317935 h 2719086"/>
                  <a:gd name="connsiteX549" fmla="*/ 326432 w 1416191"/>
                  <a:gd name="connsiteY549" fmla="*/ 274033 h 2719086"/>
                  <a:gd name="connsiteX550" fmla="*/ 357588 w 1416191"/>
                  <a:gd name="connsiteY550" fmla="*/ 282530 h 2719086"/>
                  <a:gd name="connsiteX551" fmla="*/ 354756 w 1416191"/>
                  <a:gd name="connsiteY551" fmla="*/ 397241 h 2719086"/>
                  <a:gd name="connsiteX552" fmla="*/ 353340 w 1416191"/>
                  <a:gd name="connsiteY552" fmla="*/ 458138 h 2719086"/>
                  <a:gd name="connsiteX553" fmla="*/ 313687 w 1416191"/>
                  <a:gd name="connsiteY553" fmla="*/ 425565 h 2719086"/>
                  <a:gd name="connsiteX554" fmla="*/ 354756 w 1416191"/>
                  <a:gd name="connsiteY554" fmla="*/ 397241 h 2719086"/>
                  <a:gd name="connsiteX555" fmla="*/ 354756 w 1416191"/>
                  <a:gd name="connsiteY555" fmla="*/ 460970 h 2719086"/>
                  <a:gd name="connsiteX556" fmla="*/ 356172 w 1416191"/>
                  <a:gd name="connsiteY556" fmla="*/ 397241 h 2719086"/>
                  <a:gd name="connsiteX557" fmla="*/ 411404 w 1416191"/>
                  <a:gd name="connsiteY557" fmla="*/ 360421 h 2719086"/>
                  <a:gd name="connsiteX558" fmla="*/ 411404 w 1416191"/>
                  <a:gd name="connsiteY558" fmla="*/ 360421 h 2719086"/>
                  <a:gd name="connsiteX559" fmla="*/ 357588 w 1416191"/>
                  <a:gd name="connsiteY559" fmla="*/ 343426 h 2719086"/>
                  <a:gd name="connsiteX560" fmla="*/ 359005 w 1416191"/>
                  <a:gd name="connsiteY560" fmla="*/ 283946 h 2719086"/>
                  <a:gd name="connsiteX561" fmla="*/ 405739 w 1416191"/>
                  <a:gd name="connsiteY561" fmla="*/ 298108 h 2719086"/>
                  <a:gd name="connsiteX562" fmla="*/ 499207 w 1416191"/>
                  <a:gd name="connsiteY562" fmla="*/ 368918 h 2719086"/>
                  <a:gd name="connsiteX563" fmla="*/ 354756 w 1416191"/>
                  <a:gd name="connsiteY563" fmla="*/ 460970 h 2719086"/>
                  <a:gd name="connsiteX564" fmla="*/ 356172 w 1416191"/>
                  <a:gd name="connsiteY564" fmla="*/ 343426 h 2719086"/>
                  <a:gd name="connsiteX565" fmla="*/ 354756 w 1416191"/>
                  <a:gd name="connsiteY565" fmla="*/ 394409 h 2719086"/>
                  <a:gd name="connsiteX566" fmla="*/ 310854 w 1416191"/>
                  <a:gd name="connsiteY566" fmla="*/ 424149 h 2719086"/>
                  <a:gd name="connsiteX567" fmla="*/ 232964 w 1416191"/>
                  <a:gd name="connsiteY567" fmla="*/ 359004 h 2719086"/>
                  <a:gd name="connsiteX568" fmla="*/ 276865 w 1416191"/>
                  <a:gd name="connsiteY568" fmla="*/ 317935 h 2719086"/>
                  <a:gd name="connsiteX569" fmla="*/ 356172 w 1416191"/>
                  <a:gd name="connsiteY569" fmla="*/ 343426 h 2719086"/>
                  <a:gd name="connsiteX570" fmla="*/ 349091 w 1416191"/>
                  <a:gd name="connsiteY570" fmla="*/ 619584 h 2719086"/>
                  <a:gd name="connsiteX571" fmla="*/ 346259 w 1416191"/>
                  <a:gd name="connsiteY571" fmla="*/ 721549 h 2719086"/>
                  <a:gd name="connsiteX572" fmla="*/ 339178 w 1416191"/>
                  <a:gd name="connsiteY572" fmla="*/ 730046 h 2719086"/>
                  <a:gd name="connsiteX573" fmla="*/ 286779 w 1416191"/>
                  <a:gd name="connsiteY573" fmla="*/ 654988 h 2719086"/>
                  <a:gd name="connsiteX574" fmla="*/ 349091 w 1416191"/>
                  <a:gd name="connsiteY574" fmla="*/ 619584 h 2719086"/>
                  <a:gd name="connsiteX575" fmla="*/ 398658 w 1416191"/>
                  <a:gd name="connsiteY575" fmla="*/ 815018 h 2719086"/>
                  <a:gd name="connsiteX576" fmla="*/ 364669 w 1416191"/>
                  <a:gd name="connsiteY576" fmla="*/ 766867 h 2719086"/>
                  <a:gd name="connsiteX577" fmla="*/ 482213 w 1416191"/>
                  <a:gd name="connsiteY577" fmla="*/ 827764 h 2719086"/>
                  <a:gd name="connsiteX578" fmla="*/ 398658 w 1416191"/>
                  <a:gd name="connsiteY578" fmla="*/ 815018 h 2719086"/>
                  <a:gd name="connsiteX579" fmla="*/ 426982 w 1416191"/>
                  <a:gd name="connsiteY579" fmla="*/ 856088 h 2719086"/>
                  <a:gd name="connsiteX580" fmla="*/ 400074 w 1416191"/>
                  <a:gd name="connsiteY580" fmla="*/ 817850 h 2719086"/>
                  <a:gd name="connsiteX581" fmla="*/ 489294 w 1416191"/>
                  <a:gd name="connsiteY581" fmla="*/ 830596 h 2719086"/>
                  <a:gd name="connsiteX582" fmla="*/ 506288 w 1416191"/>
                  <a:gd name="connsiteY582" fmla="*/ 839093 h 2719086"/>
                  <a:gd name="connsiteX583" fmla="*/ 465219 w 1416191"/>
                  <a:gd name="connsiteY583" fmla="*/ 851839 h 2719086"/>
                  <a:gd name="connsiteX584" fmla="*/ 426982 w 1416191"/>
                  <a:gd name="connsiteY584" fmla="*/ 856088 h 2719086"/>
                  <a:gd name="connsiteX585" fmla="*/ 674815 w 1416191"/>
                  <a:gd name="connsiteY585" fmla="*/ 380247 h 2719086"/>
                  <a:gd name="connsiteX586" fmla="*/ 677648 w 1416191"/>
                  <a:gd name="connsiteY586" fmla="*/ 350507 h 2719086"/>
                  <a:gd name="connsiteX587" fmla="*/ 745625 w 1416191"/>
                  <a:gd name="connsiteY587" fmla="*/ 384496 h 2719086"/>
                  <a:gd name="connsiteX588" fmla="*/ 725798 w 1416191"/>
                  <a:gd name="connsiteY588" fmla="*/ 395826 h 2719086"/>
                  <a:gd name="connsiteX589" fmla="*/ 674815 w 1416191"/>
                  <a:gd name="connsiteY589" fmla="*/ 380247 h 2719086"/>
                  <a:gd name="connsiteX590" fmla="*/ 200391 w 1416191"/>
                  <a:gd name="connsiteY590" fmla="*/ 292443 h 2719086"/>
                  <a:gd name="connsiteX591" fmla="*/ 264120 w 1416191"/>
                  <a:gd name="connsiteY591" fmla="*/ 172067 h 2719086"/>
                  <a:gd name="connsiteX592" fmla="*/ 266952 w 1416191"/>
                  <a:gd name="connsiteY592" fmla="*/ 254206 h 2719086"/>
                  <a:gd name="connsiteX593" fmla="*/ 266952 w 1416191"/>
                  <a:gd name="connsiteY593" fmla="*/ 254206 h 2719086"/>
                  <a:gd name="connsiteX594" fmla="*/ 325016 w 1416191"/>
                  <a:gd name="connsiteY594" fmla="*/ 272617 h 2719086"/>
                  <a:gd name="connsiteX595" fmla="*/ 278282 w 1416191"/>
                  <a:gd name="connsiteY595" fmla="*/ 316519 h 2719086"/>
                  <a:gd name="connsiteX596" fmla="*/ 200391 w 1416191"/>
                  <a:gd name="connsiteY596" fmla="*/ 292443 h 2719086"/>
                  <a:gd name="connsiteX597" fmla="*/ 310854 w 1416191"/>
                  <a:gd name="connsiteY597" fmla="*/ 426981 h 2719086"/>
                  <a:gd name="connsiteX598" fmla="*/ 353340 w 1416191"/>
                  <a:gd name="connsiteY598" fmla="*/ 462386 h 2719086"/>
                  <a:gd name="connsiteX599" fmla="*/ 275449 w 1416191"/>
                  <a:gd name="connsiteY599" fmla="*/ 511953 h 2719086"/>
                  <a:gd name="connsiteX600" fmla="*/ 275449 w 1416191"/>
                  <a:gd name="connsiteY600" fmla="*/ 511953 h 2719086"/>
                  <a:gd name="connsiteX601" fmla="*/ 351924 w 1416191"/>
                  <a:gd name="connsiteY601" fmla="*/ 540277 h 2719086"/>
                  <a:gd name="connsiteX602" fmla="*/ 350507 w 1416191"/>
                  <a:gd name="connsiteY602" fmla="*/ 618167 h 2719086"/>
                  <a:gd name="connsiteX603" fmla="*/ 288195 w 1416191"/>
                  <a:gd name="connsiteY603" fmla="*/ 654988 h 2719086"/>
                  <a:gd name="connsiteX604" fmla="*/ 189062 w 1416191"/>
                  <a:gd name="connsiteY604" fmla="*/ 511953 h 2719086"/>
                  <a:gd name="connsiteX605" fmla="*/ 310854 w 1416191"/>
                  <a:gd name="connsiteY605" fmla="*/ 426981 h 2719086"/>
                  <a:gd name="connsiteX606" fmla="*/ 519034 w 1416191"/>
                  <a:gd name="connsiteY606" fmla="*/ 834845 h 2719086"/>
                  <a:gd name="connsiteX607" fmla="*/ 507705 w 1416191"/>
                  <a:gd name="connsiteY607" fmla="*/ 837677 h 2719086"/>
                  <a:gd name="connsiteX608" fmla="*/ 493543 w 1416191"/>
                  <a:gd name="connsiteY608" fmla="*/ 830596 h 2719086"/>
                  <a:gd name="connsiteX609" fmla="*/ 519034 w 1416191"/>
                  <a:gd name="connsiteY609" fmla="*/ 834845 h 2719086"/>
                  <a:gd name="connsiteX610" fmla="*/ 510537 w 1416191"/>
                  <a:gd name="connsiteY610" fmla="*/ 839093 h 2719086"/>
                  <a:gd name="connsiteX611" fmla="*/ 524699 w 1416191"/>
                  <a:gd name="connsiteY611" fmla="*/ 834845 h 2719086"/>
                  <a:gd name="connsiteX612" fmla="*/ 572850 w 1416191"/>
                  <a:gd name="connsiteY612" fmla="*/ 841926 h 2719086"/>
                  <a:gd name="connsiteX613" fmla="*/ 577098 w 1416191"/>
                  <a:gd name="connsiteY613" fmla="*/ 873082 h 2719086"/>
                  <a:gd name="connsiteX614" fmla="*/ 510537 w 1416191"/>
                  <a:gd name="connsiteY614" fmla="*/ 839093 h 2719086"/>
                  <a:gd name="connsiteX615" fmla="*/ 1016117 w 1416191"/>
                  <a:gd name="connsiteY615" fmla="*/ 1001955 h 2719086"/>
                  <a:gd name="connsiteX616" fmla="*/ 1016117 w 1416191"/>
                  <a:gd name="connsiteY616" fmla="*/ 1001955 h 2719086"/>
                  <a:gd name="connsiteX617" fmla="*/ 975048 w 1416191"/>
                  <a:gd name="connsiteY617" fmla="*/ 1004788 h 2719086"/>
                  <a:gd name="connsiteX618" fmla="*/ 980713 w 1416191"/>
                  <a:gd name="connsiteY618" fmla="*/ 982128 h 2719086"/>
                  <a:gd name="connsiteX619" fmla="*/ 1016117 w 1416191"/>
                  <a:gd name="connsiteY619" fmla="*/ 1001955 h 2719086"/>
                  <a:gd name="connsiteX620" fmla="*/ 962302 w 1416191"/>
                  <a:gd name="connsiteY620" fmla="*/ 1048689 h 2719086"/>
                  <a:gd name="connsiteX621" fmla="*/ 973632 w 1416191"/>
                  <a:gd name="connsiteY621" fmla="*/ 1007620 h 2719086"/>
                  <a:gd name="connsiteX622" fmla="*/ 1011869 w 1416191"/>
                  <a:gd name="connsiteY622" fmla="*/ 1006203 h 2719086"/>
                  <a:gd name="connsiteX623" fmla="*/ 966551 w 1416191"/>
                  <a:gd name="connsiteY623" fmla="*/ 1052938 h 2719086"/>
                  <a:gd name="connsiteX624" fmla="*/ 962302 w 1416191"/>
                  <a:gd name="connsiteY624" fmla="*/ 1048689 h 2719086"/>
                  <a:gd name="connsiteX625" fmla="*/ 938227 w 1416191"/>
                  <a:gd name="connsiteY625" fmla="*/ 1132245 h 2719086"/>
                  <a:gd name="connsiteX626" fmla="*/ 958054 w 1416191"/>
                  <a:gd name="connsiteY626" fmla="*/ 1064267 h 2719086"/>
                  <a:gd name="connsiteX627" fmla="*/ 966551 w 1416191"/>
                  <a:gd name="connsiteY627" fmla="*/ 1055770 h 2719086"/>
                  <a:gd name="connsiteX628" fmla="*/ 1055771 w 1416191"/>
                  <a:gd name="connsiteY628" fmla="*/ 1140742 h 2719086"/>
                  <a:gd name="connsiteX629" fmla="*/ 938227 w 1416191"/>
                  <a:gd name="connsiteY629" fmla="*/ 1132245 h 2719086"/>
                  <a:gd name="connsiteX630" fmla="*/ 686145 w 1416191"/>
                  <a:gd name="connsiteY630" fmla="*/ 1258286 h 2719086"/>
                  <a:gd name="connsiteX631" fmla="*/ 697474 w 1416191"/>
                  <a:gd name="connsiteY631" fmla="*/ 1288026 h 2719086"/>
                  <a:gd name="connsiteX632" fmla="*/ 630913 w 1416191"/>
                  <a:gd name="connsiteY632" fmla="*/ 1290858 h 2719086"/>
                  <a:gd name="connsiteX633" fmla="*/ 686145 w 1416191"/>
                  <a:gd name="connsiteY633" fmla="*/ 1258286 h 2719086"/>
                  <a:gd name="connsiteX634" fmla="*/ 745625 w 1416191"/>
                  <a:gd name="connsiteY634" fmla="*/ 1014701 h 2719086"/>
                  <a:gd name="connsiteX635" fmla="*/ 738544 w 1416191"/>
                  <a:gd name="connsiteY635" fmla="*/ 994874 h 2719086"/>
                  <a:gd name="connsiteX636" fmla="*/ 738544 w 1416191"/>
                  <a:gd name="connsiteY636" fmla="*/ 994874 h 2719086"/>
                  <a:gd name="connsiteX637" fmla="*/ 725798 w 1416191"/>
                  <a:gd name="connsiteY637" fmla="*/ 1016117 h 2719086"/>
                  <a:gd name="connsiteX638" fmla="*/ 680480 w 1416191"/>
                  <a:gd name="connsiteY638" fmla="*/ 1017533 h 2719086"/>
                  <a:gd name="connsiteX639" fmla="*/ 832012 w 1416191"/>
                  <a:gd name="connsiteY639" fmla="*/ 928313 h 2719086"/>
                  <a:gd name="connsiteX640" fmla="*/ 915568 w 1416191"/>
                  <a:gd name="connsiteY640" fmla="*/ 1007620 h 2719086"/>
                  <a:gd name="connsiteX641" fmla="*/ 745625 w 1416191"/>
                  <a:gd name="connsiteY641" fmla="*/ 1014701 h 2719086"/>
                  <a:gd name="connsiteX642" fmla="*/ 959470 w 1416191"/>
                  <a:gd name="connsiteY642" fmla="*/ 1060019 h 2719086"/>
                  <a:gd name="connsiteX643" fmla="*/ 962302 w 1416191"/>
                  <a:gd name="connsiteY643" fmla="*/ 1050105 h 2719086"/>
                  <a:gd name="connsiteX644" fmla="*/ 965135 w 1416191"/>
                  <a:gd name="connsiteY644" fmla="*/ 1052938 h 2719086"/>
                  <a:gd name="connsiteX645" fmla="*/ 959470 w 1416191"/>
                  <a:gd name="connsiteY645" fmla="*/ 1060019 h 2719086"/>
                  <a:gd name="connsiteX646" fmla="*/ 894325 w 1416191"/>
                  <a:gd name="connsiteY646" fmla="*/ 1129412 h 2719086"/>
                  <a:gd name="connsiteX647" fmla="*/ 955221 w 1416191"/>
                  <a:gd name="connsiteY647" fmla="*/ 1067100 h 2719086"/>
                  <a:gd name="connsiteX648" fmla="*/ 936811 w 1416191"/>
                  <a:gd name="connsiteY648" fmla="*/ 1132245 h 2719086"/>
                  <a:gd name="connsiteX649" fmla="*/ 894325 w 1416191"/>
                  <a:gd name="connsiteY649" fmla="*/ 1129412 h 2719086"/>
                  <a:gd name="connsiteX650" fmla="*/ 894325 w 1416191"/>
                  <a:gd name="connsiteY650" fmla="*/ 1282361 h 2719086"/>
                  <a:gd name="connsiteX651" fmla="*/ 864585 w 1416191"/>
                  <a:gd name="connsiteY651" fmla="*/ 1385743 h 2719086"/>
                  <a:gd name="connsiteX652" fmla="*/ 832012 w 1416191"/>
                  <a:gd name="connsiteY652" fmla="*/ 1283777 h 2719086"/>
                  <a:gd name="connsiteX653" fmla="*/ 894325 w 1416191"/>
                  <a:gd name="connsiteY653" fmla="*/ 1282361 h 2719086"/>
                  <a:gd name="connsiteX654" fmla="*/ 897157 w 1416191"/>
                  <a:gd name="connsiteY654" fmla="*/ 1279529 h 2719086"/>
                  <a:gd name="connsiteX655" fmla="*/ 904238 w 1416191"/>
                  <a:gd name="connsiteY655" fmla="*/ 1252621 h 2719086"/>
                  <a:gd name="connsiteX656" fmla="*/ 1040193 w 1416191"/>
                  <a:gd name="connsiteY656" fmla="*/ 1273864 h 2719086"/>
                  <a:gd name="connsiteX657" fmla="*/ 897157 w 1416191"/>
                  <a:gd name="connsiteY657" fmla="*/ 1279529 h 2719086"/>
                  <a:gd name="connsiteX658" fmla="*/ 902822 w 1416191"/>
                  <a:gd name="connsiteY658" fmla="*/ 1252621 h 2719086"/>
                  <a:gd name="connsiteX659" fmla="*/ 895741 w 1416191"/>
                  <a:gd name="connsiteY659" fmla="*/ 1279529 h 2719086"/>
                  <a:gd name="connsiteX660" fmla="*/ 833429 w 1416191"/>
                  <a:gd name="connsiteY660" fmla="*/ 1282361 h 2719086"/>
                  <a:gd name="connsiteX661" fmla="*/ 819267 w 1416191"/>
                  <a:gd name="connsiteY661" fmla="*/ 1238459 h 2719086"/>
                  <a:gd name="connsiteX662" fmla="*/ 902822 w 1416191"/>
                  <a:gd name="connsiteY662" fmla="*/ 1252621 h 2719086"/>
                  <a:gd name="connsiteX663" fmla="*/ 890076 w 1416191"/>
                  <a:gd name="connsiteY663" fmla="*/ 1130829 h 2719086"/>
                  <a:gd name="connsiteX664" fmla="*/ 890076 w 1416191"/>
                  <a:gd name="connsiteY664" fmla="*/ 1130829 h 2719086"/>
                  <a:gd name="connsiteX665" fmla="*/ 936811 w 1416191"/>
                  <a:gd name="connsiteY665" fmla="*/ 1133661 h 2719086"/>
                  <a:gd name="connsiteX666" fmla="*/ 904238 w 1416191"/>
                  <a:gd name="connsiteY666" fmla="*/ 1249788 h 2719086"/>
                  <a:gd name="connsiteX667" fmla="*/ 817851 w 1416191"/>
                  <a:gd name="connsiteY667" fmla="*/ 1235627 h 2719086"/>
                  <a:gd name="connsiteX668" fmla="*/ 747041 w 1416191"/>
                  <a:gd name="connsiteY668" fmla="*/ 1016117 h 2719086"/>
                  <a:gd name="connsiteX669" fmla="*/ 919817 w 1416191"/>
                  <a:gd name="connsiteY669" fmla="*/ 1009036 h 2719086"/>
                  <a:gd name="connsiteX670" fmla="*/ 960886 w 1416191"/>
                  <a:gd name="connsiteY670" fmla="*/ 1047273 h 2719086"/>
                  <a:gd name="connsiteX671" fmla="*/ 956637 w 1416191"/>
                  <a:gd name="connsiteY671" fmla="*/ 1061435 h 2719086"/>
                  <a:gd name="connsiteX672" fmla="*/ 890076 w 1416191"/>
                  <a:gd name="connsiteY672" fmla="*/ 1130829 h 2719086"/>
                  <a:gd name="connsiteX673" fmla="*/ 922649 w 1416191"/>
                  <a:gd name="connsiteY673" fmla="*/ 1009036 h 2719086"/>
                  <a:gd name="connsiteX674" fmla="*/ 972216 w 1416191"/>
                  <a:gd name="connsiteY674" fmla="*/ 1007620 h 2719086"/>
                  <a:gd name="connsiteX675" fmla="*/ 960886 w 1416191"/>
                  <a:gd name="connsiteY675" fmla="*/ 1045857 h 2719086"/>
                  <a:gd name="connsiteX676" fmla="*/ 922649 w 1416191"/>
                  <a:gd name="connsiteY676" fmla="*/ 1009036 h 2719086"/>
                  <a:gd name="connsiteX677" fmla="*/ 856088 w 1416191"/>
                  <a:gd name="connsiteY677" fmla="*/ 915567 h 2719086"/>
                  <a:gd name="connsiteX678" fmla="*/ 977880 w 1416191"/>
                  <a:gd name="connsiteY678" fmla="*/ 982128 h 2719086"/>
                  <a:gd name="connsiteX679" fmla="*/ 970799 w 1416191"/>
                  <a:gd name="connsiteY679" fmla="*/ 1004788 h 2719086"/>
                  <a:gd name="connsiteX680" fmla="*/ 918400 w 1416191"/>
                  <a:gd name="connsiteY680" fmla="*/ 1007620 h 2719086"/>
                  <a:gd name="connsiteX681" fmla="*/ 834845 w 1416191"/>
                  <a:gd name="connsiteY681" fmla="*/ 928313 h 2719086"/>
                  <a:gd name="connsiteX682" fmla="*/ 856088 w 1416191"/>
                  <a:gd name="connsiteY682" fmla="*/ 915567 h 2719086"/>
                  <a:gd name="connsiteX683" fmla="*/ 730047 w 1416191"/>
                  <a:gd name="connsiteY683" fmla="*/ 1016117 h 2719086"/>
                  <a:gd name="connsiteX684" fmla="*/ 738544 w 1416191"/>
                  <a:gd name="connsiteY684" fmla="*/ 1000539 h 2719086"/>
                  <a:gd name="connsiteX685" fmla="*/ 744209 w 1416191"/>
                  <a:gd name="connsiteY685" fmla="*/ 1016117 h 2719086"/>
                  <a:gd name="connsiteX686" fmla="*/ 730047 w 1416191"/>
                  <a:gd name="connsiteY686" fmla="*/ 1016117 h 2719086"/>
                  <a:gd name="connsiteX687" fmla="*/ 744209 w 1416191"/>
                  <a:gd name="connsiteY687" fmla="*/ 1017533 h 2719086"/>
                  <a:gd name="connsiteX688" fmla="*/ 815018 w 1416191"/>
                  <a:gd name="connsiteY688" fmla="*/ 1237043 h 2719086"/>
                  <a:gd name="connsiteX689" fmla="*/ 741376 w 1416191"/>
                  <a:gd name="connsiteY689" fmla="*/ 1225713 h 2719086"/>
                  <a:gd name="connsiteX690" fmla="*/ 741376 w 1416191"/>
                  <a:gd name="connsiteY690" fmla="*/ 1225713 h 2719086"/>
                  <a:gd name="connsiteX691" fmla="*/ 687561 w 1416191"/>
                  <a:gd name="connsiteY691" fmla="*/ 1256869 h 2719086"/>
                  <a:gd name="connsiteX692" fmla="*/ 650740 w 1416191"/>
                  <a:gd name="connsiteY692" fmla="*/ 1157736 h 2719086"/>
                  <a:gd name="connsiteX693" fmla="*/ 728631 w 1416191"/>
                  <a:gd name="connsiteY693" fmla="*/ 1018949 h 2719086"/>
                  <a:gd name="connsiteX694" fmla="*/ 744209 w 1416191"/>
                  <a:gd name="connsiteY694" fmla="*/ 1017533 h 2719086"/>
                  <a:gd name="connsiteX695" fmla="*/ 742793 w 1416191"/>
                  <a:gd name="connsiteY695" fmla="*/ 1227129 h 2719086"/>
                  <a:gd name="connsiteX696" fmla="*/ 816434 w 1416191"/>
                  <a:gd name="connsiteY696" fmla="*/ 1238459 h 2719086"/>
                  <a:gd name="connsiteX697" fmla="*/ 830596 w 1416191"/>
                  <a:gd name="connsiteY697" fmla="*/ 1282361 h 2719086"/>
                  <a:gd name="connsiteX698" fmla="*/ 700307 w 1416191"/>
                  <a:gd name="connsiteY698" fmla="*/ 1288026 h 2719086"/>
                  <a:gd name="connsiteX699" fmla="*/ 688977 w 1416191"/>
                  <a:gd name="connsiteY699" fmla="*/ 1258286 h 2719086"/>
                  <a:gd name="connsiteX700" fmla="*/ 742793 w 1416191"/>
                  <a:gd name="connsiteY700" fmla="*/ 1227129 h 2719086"/>
                  <a:gd name="connsiteX701" fmla="*/ 686145 w 1416191"/>
                  <a:gd name="connsiteY701" fmla="*/ 1256869 h 2719086"/>
                  <a:gd name="connsiteX702" fmla="*/ 626665 w 1416191"/>
                  <a:gd name="connsiteY702" fmla="*/ 1290858 h 2719086"/>
                  <a:gd name="connsiteX703" fmla="*/ 605422 w 1416191"/>
                  <a:gd name="connsiteY703" fmla="*/ 1292274 h 2719086"/>
                  <a:gd name="connsiteX704" fmla="*/ 619584 w 1416191"/>
                  <a:gd name="connsiteY704" fmla="*/ 1211551 h 2719086"/>
                  <a:gd name="connsiteX705" fmla="*/ 649324 w 1416191"/>
                  <a:gd name="connsiteY705" fmla="*/ 1159152 h 2719086"/>
                  <a:gd name="connsiteX706" fmla="*/ 686145 w 1416191"/>
                  <a:gd name="connsiteY706" fmla="*/ 1256869 h 2719086"/>
                  <a:gd name="connsiteX707" fmla="*/ 602590 w 1416191"/>
                  <a:gd name="connsiteY707" fmla="*/ 1306436 h 2719086"/>
                  <a:gd name="connsiteX708" fmla="*/ 626665 w 1416191"/>
                  <a:gd name="connsiteY708" fmla="*/ 1292274 h 2719086"/>
                  <a:gd name="connsiteX709" fmla="*/ 698891 w 1416191"/>
                  <a:gd name="connsiteY709" fmla="*/ 1289442 h 2719086"/>
                  <a:gd name="connsiteX710" fmla="*/ 771116 w 1416191"/>
                  <a:gd name="connsiteY710" fmla="*/ 1484876 h 2719086"/>
                  <a:gd name="connsiteX711" fmla="*/ 735712 w 1416191"/>
                  <a:gd name="connsiteY711" fmla="*/ 1501870 h 2719086"/>
                  <a:gd name="connsiteX712" fmla="*/ 585595 w 1416191"/>
                  <a:gd name="connsiteY712" fmla="*/ 1395656 h 2719086"/>
                  <a:gd name="connsiteX713" fmla="*/ 602590 w 1416191"/>
                  <a:gd name="connsiteY713" fmla="*/ 1306436 h 2719086"/>
                  <a:gd name="connsiteX714" fmla="*/ 1017534 w 1416191"/>
                  <a:gd name="connsiteY714" fmla="*/ 1003371 h 2719086"/>
                  <a:gd name="connsiteX715" fmla="*/ 1018950 w 1416191"/>
                  <a:gd name="connsiteY715" fmla="*/ 1001955 h 2719086"/>
                  <a:gd name="connsiteX716" fmla="*/ 980713 w 1416191"/>
                  <a:gd name="connsiteY716" fmla="*/ 982128 h 2719086"/>
                  <a:gd name="connsiteX717" fmla="*/ 987794 w 1416191"/>
                  <a:gd name="connsiteY717" fmla="*/ 958053 h 2719086"/>
                  <a:gd name="connsiteX718" fmla="*/ 1079846 w 1416191"/>
                  <a:gd name="connsiteY718" fmla="*/ 967967 h 2719086"/>
                  <a:gd name="connsiteX719" fmla="*/ 1079846 w 1416191"/>
                  <a:gd name="connsiteY719" fmla="*/ 1001955 h 2719086"/>
                  <a:gd name="connsiteX720" fmla="*/ 1017534 w 1416191"/>
                  <a:gd name="connsiteY720" fmla="*/ 1003371 h 2719086"/>
                  <a:gd name="connsiteX721" fmla="*/ 728631 w 1416191"/>
                  <a:gd name="connsiteY721" fmla="*/ 773948 h 2719086"/>
                  <a:gd name="connsiteX722" fmla="*/ 945308 w 1416191"/>
                  <a:gd name="connsiteY722" fmla="*/ 953805 h 2719086"/>
                  <a:gd name="connsiteX723" fmla="*/ 945308 w 1416191"/>
                  <a:gd name="connsiteY723" fmla="*/ 953805 h 2719086"/>
                  <a:gd name="connsiteX724" fmla="*/ 986377 w 1416191"/>
                  <a:gd name="connsiteY724" fmla="*/ 958053 h 2719086"/>
                  <a:gd name="connsiteX725" fmla="*/ 979296 w 1416191"/>
                  <a:gd name="connsiteY725" fmla="*/ 980712 h 2719086"/>
                  <a:gd name="connsiteX726" fmla="*/ 856088 w 1416191"/>
                  <a:gd name="connsiteY726" fmla="*/ 914151 h 2719086"/>
                  <a:gd name="connsiteX727" fmla="*/ 856088 w 1416191"/>
                  <a:gd name="connsiteY727" fmla="*/ 914151 h 2719086"/>
                  <a:gd name="connsiteX728" fmla="*/ 833429 w 1416191"/>
                  <a:gd name="connsiteY728" fmla="*/ 926897 h 2719086"/>
                  <a:gd name="connsiteX729" fmla="*/ 772532 w 1416191"/>
                  <a:gd name="connsiteY729" fmla="*/ 868833 h 2719086"/>
                  <a:gd name="connsiteX730" fmla="*/ 772532 w 1416191"/>
                  <a:gd name="connsiteY730" fmla="*/ 868833 h 2719086"/>
                  <a:gd name="connsiteX731" fmla="*/ 574266 w 1416191"/>
                  <a:gd name="connsiteY731" fmla="*/ 840509 h 2719086"/>
                  <a:gd name="connsiteX732" fmla="*/ 571433 w 1416191"/>
                  <a:gd name="connsiteY732" fmla="*/ 820683 h 2719086"/>
                  <a:gd name="connsiteX733" fmla="*/ 728631 w 1416191"/>
                  <a:gd name="connsiteY733" fmla="*/ 773948 h 2719086"/>
                  <a:gd name="connsiteX734" fmla="*/ 725798 w 1416191"/>
                  <a:gd name="connsiteY734" fmla="*/ 1017533 h 2719086"/>
                  <a:gd name="connsiteX735" fmla="*/ 649324 w 1416191"/>
                  <a:gd name="connsiteY735" fmla="*/ 1153488 h 2719086"/>
                  <a:gd name="connsiteX736" fmla="*/ 619584 w 1416191"/>
                  <a:gd name="connsiteY736" fmla="*/ 1075597 h 2719086"/>
                  <a:gd name="connsiteX737" fmla="*/ 619584 w 1416191"/>
                  <a:gd name="connsiteY737" fmla="*/ 1075597 h 2719086"/>
                  <a:gd name="connsiteX738" fmla="*/ 565769 w 1416191"/>
                  <a:gd name="connsiteY738" fmla="*/ 1194557 h 2719086"/>
                  <a:gd name="connsiteX739" fmla="*/ 443976 w 1416191"/>
                  <a:gd name="connsiteY739" fmla="*/ 1157736 h 2719086"/>
                  <a:gd name="connsiteX740" fmla="*/ 679064 w 1416191"/>
                  <a:gd name="connsiteY740" fmla="*/ 1020365 h 2719086"/>
                  <a:gd name="connsiteX741" fmla="*/ 725798 w 1416191"/>
                  <a:gd name="connsiteY741" fmla="*/ 1017533 h 2719086"/>
                  <a:gd name="connsiteX742" fmla="*/ 622416 w 1416191"/>
                  <a:gd name="connsiteY742" fmla="*/ 1293690 h 2719086"/>
                  <a:gd name="connsiteX743" fmla="*/ 602590 w 1416191"/>
                  <a:gd name="connsiteY743" fmla="*/ 1305020 h 2719086"/>
                  <a:gd name="connsiteX744" fmla="*/ 604006 w 1416191"/>
                  <a:gd name="connsiteY744" fmla="*/ 1295107 h 2719086"/>
                  <a:gd name="connsiteX745" fmla="*/ 622416 w 1416191"/>
                  <a:gd name="connsiteY745" fmla="*/ 1293690 h 2719086"/>
                  <a:gd name="connsiteX746" fmla="*/ 657821 w 1416191"/>
                  <a:gd name="connsiteY746" fmla="*/ 1608085 h 2719086"/>
                  <a:gd name="connsiteX747" fmla="*/ 599757 w 1416191"/>
                  <a:gd name="connsiteY747" fmla="*/ 1634993 h 2719086"/>
                  <a:gd name="connsiteX748" fmla="*/ 596925 w 1416191"/>
                  <a:gd name="connsiteY748" fmla="*/ 1623663 h 2719086"/>
                  <a:gd name="connsiteX749" fmla="*/ 657821 w 1416191"/>
                  <a:gd name="connsiteY749" fmla="*/ 1608085 h 2719086"/>
                  <a:gd name="connsiteX750" fmla="*/ 459554 w 1416191"/>
                  <a:gd name="connsiteY750" fmla="*/ 1640657 h 2719086"/>
                  <a:gd name="connsiteX751" fmla="*/ 548774 w 1416191"/>
                  <a:gd name="connsiteY751" fmla="*/ 1596755 h 2719086"/>
                  <a:gd name="connsiteX752" fmla="*/ 541693 w 1416191"/>
                  <a:gd name="connsiteY752" fmla="*/ 1634993 h 2719086"/>
                  <a:gd name="connsiteX753" fmla="*/ 482213 w 1416191"/>
                  <a:gd name="connsiteY753" fmla="*/ 1649154 h 2719086"/>
                  <a:gd name="connsiteX754" fmla="*/ 459554 w 1416191"/>
                  <a:gd name="connsiteY754" fmla="*/ 1640657 h 2719086"/>
                  <a:gd name="connsiteX755" fmla="*/ 451057 w 1416191"/>
                  <a:gd name="connsiteY755" fmla="*/ 1300771 h 2719086"/>
                  <a:gd name="connsiteX756" fmla="*/ 519034 w 1416191"/>
                  <a:gd name="connsiteY756" fmla="*/ 1297939 h 2719086"/>
                  <a:gd name="connsiteX757" fmla="*/ 502040 w 1416191"/>
                  <a:gd name="connsiteY757" fmla="*/ 1336176 h 2719086"/>
                  <a:gd name="connsiteX758" fmla="*/ 451057 w 1416191"/>
                  <a:gd name="connsiteY758" fmla="*/ 1300771 h 2719086"/>
                  <a:gd name="connsiteX759" fmla="*/ 594092 w 1416191"/>
                  <a:gd name="connsiteY759" fmla="*/ 1625079 h 2719086"/>
                  <a:gd name="connsiteX760" fmla="*/ 596925 w 1416191"/>
                  <a:gd name="connsiteY760" fmla="*/ 1636408 h 2719086"/>
                  <a:gd name="connsiteX761" fmla="*/ 538861 w 1416191"/>
                  <a:gd name="connsiteY761" fmla="*/ 1663316 h 2719086"/>
                  <a:gd name="connsiteX762" fmla="*/ 543110 w 1416191"/>
                  <a:gd name="connsiteY762" fmla="*/ 1637825 h 2719086"/>
                  <a:gd name="connsiteX763" fmla="*/ 594092 w 1416191"/>
                  <a:gd name="connsiteY763" fmla="*/ 1625079 h 2719086"/>
                  <a:gd name="connsiteX764" fmla="*/ 483629 w 1416191"/>
                  <a:gd name="connsiteY764" fmla="*/ 1374413 h 2719086"/>
                  <a:gd name="connsiteX765" fmla="*/ 456722 w 1416191"/>
                  <a:gd name="connsiteY765" fmla="*/ 1433893 h 2719086"/>
                  <a:gd name="connsiteX766" fmla="*/ 412820 w 1416191"/>
                  <a:gd name="connsiteY766" fmla="*/ 1415483 h 2719086"/>
                  <a:gd name="connsiteX767" fmla="*/ 483629 w 1416191"/>
                  <a:gd name="connsiteY767" fmla="*/ 1374413 h 2719086"/>
                  <a:gd name="connsiteX768" fmla="*/ 523283 w 1416191"/>
                  <a:gd name="connsiteY768" fmla="*/ 1351754 h 2719086"/>
                  <a:gd name="connsiteX769" fmla="*/ 599757 w 1416191"/>
                  <a:gd name="connsiteY769" fmla="*/ 1307852 h 2719086"/>
                  <a:gd name="connsiteX770" fmla="*/ 584179 w 1416191"/>
                  <a:gd name="connsiteY770" fmla="*/ 1394240 h 2719086"/>
                  <a:gd name="connsiteX771" fmla="*/ 523283 w 1416191"/>
                  <a:gd name="connsiteY771" fmla="*/ 1351754 h 2719086"/>
                  <a:gd name="connsiteX772" fmla="*/ 571433 w 1416191"/>
                  <a:gd name="connsiteY772" fmla="*/ 1547189 h 2719086"/>
                  <a:gd name="connsiteX773" fmla="*/ 561520 w 1416191"/>
                  <a:gd name="connsiteY773" fmla="*/ 1542940 h 2719086"/>
                  <a:gd name="connsiteX774" fmla="*/ 565769 w 1416191"/>
                  <a:gd name="connsiteY774" fmla="*/ 1523113 h 2719086"/>
                  <a:gd name="connsiteX775" fmla="*/ 571433 w 1416191"/>
                  <a:gd name="connsiteY775" fmla="*/ 1547189 h 2719086"/>
                  <a:gd name="connsiteX776" fmla="*/ 568601 w 1416191"/>
                  <a:gd name="connsiteY776" fmla="*/ 1487708 h 2719086"/>
                  <a:gd name="connsiteX777" fmla="*/ 564352 w 1416191"/>
                  <a:gd name="connsiteY777" fmla="*/ 1513200 h 2719086"/>
                  <a:gd name="connsiteX778" fmla="*/ 553023 w 1416191"/>
                  <a:gd name="connsiteY778" fmla="*/ 1476379 h 2719086"/>
                  <a:gd name="connsiteX779" fmla="*/ 555855 w 1416191"/>
                  <a:gd name="connsiteY779" fmla="*/ 1477795 h 2719086"/>
                  <a:gd name="connsiteX780" fmla="*/ 568601 w 1416191"/>
                  <a:gd name="connsiteY780" fmla="*/ 1487708 h 2719086"/>
                  <a:gd name="connsiteX781" fmla="*/ 557271 w 1416191"/>
                  <a:gd name="connsiteY781" fmla="*/ 1477795 h 2719086"/>
                  <a:gd name="connsiteX782" fmla="*/ 548774 w 1416191"/>
                  <a:gd name="connsiteY782" fmla="*/ 1472131 h 2719086"/>
                  <a:gd name="connsiteX783" fmla="*/ 548774 w 1416191"/>
                  <a:gd name="connsiteY783" fmla="*/ 1472131 h 2719086"/>
                  <a:gd name="connsiteX784" fmla="*/ 550190 w 1416191"/>
                  <a:gd name="connsiteY784" fmla="*/ 1474963 h 2719086"/>
                  <a:gd name="connsiteX785" fmla="*/ 458138 w 1416191"/>
                  <a:gd name="connsiteY785" fmla="*/ 1435310 h 2719086"/>
                  <a:gd name="connsiteX786" fmla="*/ 486462 w 1416191"/>
                  <a:gd name="connsiteY786" fmla="*/ 1372997 h 2719086"/>
                  <a:gd name="connsiteX787" fmla="*/ 521867 w 1416191"/>
                  <a:gd name="connsiteY787" fmla="*/ 1353170 h 2719086"/>
                  <a:gd name="connsiteX788" fmla="*/ 584179 w 1416191"/>
                  <a:gd name="connsiteY788" fmla="*/ 1397072 h 2719086"/>
                  <a:gd name="connsiteX789" fmla="*/ 568601 w 1416191"/>
                  <a:gd name="connsiteY789" fmla="*/ 1483460 h 2719086"/>
                  <a:gd name="connsiteX790" fmla="*/ 557271 w 1416191"/>
                  <a:gd name="connsiteY790" fmla="*/ 1477795 h 2719086"/>
                  <a:gd name="connsiteX791" fmla="*/ 571433 w 1416191"/>
                  <a:gd name="connsiteY791" fmla="*/ 1548605 h 2719086"/>
                  <a:gd name="connsiteX792" fmla="*/ 579931 w 1416191"/>
                  <a:gd name="connsiteY792" fmla="*/ 1578345 h 2719086"/>
                  <a:gd name="connsiteX793" fmla="*/ 551607 w 1416191"/>
                  <a:gd name="connsiteY793" fmla="*/ 1592507 h 2719086"/>
                  <a:gd name="connsiteX794" fmla="*/ 560104 w 1416191"/>
                  <a:gd name="connsiteY794" fmla="*/ 1544356 h 2719086"/>
                  <a:gd name="connsiteX795" fmla="*/ 571433 w 1416191"/>
                  <a:gd name="connsiteY795" fmla="*/ 1548605 h 2719086"/>
                  <a:gd name="connsiteX796" fmla="*/ 612503 w 1416191"/>
                  <a:gd name="connsiteY796" fmla="*/ 1562767 h 2719086"/>
                  <a:gd name="connsiteX797" fmla="*/ 582763 w 1416191"/>
                  <a:gd name="connsiteY797" fmla="*/ 1576929 h 2719086"/>
                  <a:gd name="connsiteX798" fmla="*/ 574266 w 1416191"/>
                  <a:gd name="connsiteY798" fmla="*/ 1548605 h 2719086"/>
                  <a:gd name="connsiteX799" fmla="*/ 612503 w 1416191"/>
                  <a:gd name="connsiteY799" fmla="*/ 1562767 h 2719086"/>
                  <a:gd name="connsiteX800" fmla="*/ 572850 w 1416191"/>
                  <a:gd name="connsiteY800" fmla="*/ 1547189 h 2719086"/>
                  <a:gd name="connsiteX801" fmla="*/ 564352 w 1416191"/>
                  <a:gd name="connsiteY801" fmla="*/ 1518865 h 2719086"/>
                  <a:gd name="connsiteX802" fmla="*/ 570017 w 1416191"/>
                  <a:gd name="connsiteY802" fmla="*/ 1490541 h 2719086"/>
                  <a:gd name="connsiteX803" fmla="*/ 645075 w 1416191"/>
                  <a:gd name="connsiteY803" fmla="*/ 1547189 h 2719086"/>
                  <a:gd name="connsiteX804" fmla="*/ 613919 w 1416191"/>
                  <a:gd name="connsiteY804" fmla="*/ 1562767 h 2719086"/>
                  <a:gd name="connsiteX805" fmla="*/ 572850 w 1416191"/>
                  <a:gd name="connsiteY805" fmla="*/ 1547189 h 2719086"/>
                  <a:gd name="connsiteX806" fmla="*/ 550190 w 1416191"/>
                  <a:gd name="connsiteY806" fmla="*/ 1476379 h 2719086"/>
                  <a:gd name="connsiteX807" fmla="*/ 562936 w 1416191"/>
                  <a:gd name="connsiteY807" fmla="*/ 1518865 h 2719086"/>
                  <a:gd name="connsiteX808" fmla="*/ 558688 w 1416191"/>
                  <a:gd name="connsiteY808" fmla="*/ 1542940 h 2719086"/>
                  <a:gd name="connsiteX809" fmla="*/ 429814 w 1416191"/>
                  <a:gd name="connsiteY809" fmla="*/ 1499038 h 2719086"/>
                  <a:gd name="connsiteX810" fmla="*/ 458138 w 1416191"/>
                  <a:gd name="connsiteY810" fmla="*/ 1436726 h 2719086"/>
                  <a:gd name="connsiteX811" fmla="*/ 550190 w 1416191"/>
                  <a:gd name="connsiteY811" fmla="*/ 1476379 h 2719086"/>
                  <a:gd name="connsiteX812" fmla="*/ 581347 w 1416191"/>
                  <a:gd name="connsiteY812" fmla="*/ 1581177 h 2719086"/>
                  <a:gd name="connsiteX813" fmla="*/ 594092 w 1416191"/>
                  <a:gd name="connsiteY813" fmla="*/ 1623663 h 2719086"/>
                  <a:gd name="connsiteX814" fmla="*/ 544526 w 1416191"/>
                  <a:gd name="connsiteY814" fmla="*/ 1636408 h 2719086"/>
                  <a:gd name="connsiteX815" fmla="*/ 551607 w 1416191"/>
                  <a:gd name="connsiteY815" fmla="*/ 1596755 h 2719086"/>
                  <a:gd name="connsiteX816" fmla="*/ 581347 w 1416191"/>
                  <a:gd name="connsiteY816" fmla="*/ 1581177 h 2719086"/>
                  <a:gd name="connsiteX817" fmla="*/ 676231 w 1416191"/>
                  <a:gd name="connsiteY817" fmla="*/ 1531610 h 2719086"/>
                  <a:gd name="connsiteX818" fmla="*/ 647908 w 1416191"/>
                  <a:gd name="connsiteY818" fmla="*/ 1545772 h 2719086"/>
                  <a:gd name="connsiteX819" fmla="*/ 570017 w 1416191"/>
                  <a:gd name="connsiteY819" fmla="*/ 1487708 h 2719086"/>
                  <a:gd name="connsiteX820" fmla="*/ 570017 w 1416191"/>
                  <a:gd name="connsiteY820" fmla="*/ 1486292 h 2719086"/>
                  <a:gd name="connsiteX821" fmla="*/ 676231 w 1416191"/>
                  <a:gd name="connsiteY821" fmla="*/ 1531610 h 2719086"/>
                  <a:gd name="connsiteX822" fmla="*/ 487878 w 1416191"/>
                  <a:gd name="connsiteY822" fmla="*/ 1370165 h 2719086"/>
                  <a:gd name="connsiteX823" fmla="*/ 502040 w 1416191"/>
                  <a:gd name="connsiteY823" fmla="*/ 1339008 h 2719086"/>
                  <a:gd name="connsiteX824" fmla="*/ 520450 w 1416191"/>
                  <a:gd name="connsiteY824" fmla="*/ 1351754 h 2719086"/>
                  <a:gd name="connsiteX825" fmla="*/ 487878 w 1416191"/>
                  <a:gd name="connsiteY825" fmla="*/ 1370165 h 2719086"/>
                  <a:gd name="connsiteX826" fmla="*/ 595509 w 1416191"/>
                  <a:gd name="connsiteY826" fmla="*/ 1622246 h 2719086"/>
                  <a:gd name="connsiteX827" fmla="*/ 582763 w 1416191"/>
                  <a:gd name="connsiteY827" fmla="*/ 1579761 h 2719086"/>
                  <a:gd name="connsiteX828" fmla="*/ 615335 w 1416191"/>
                  <a:gd name="connsiteY828" fmla="*/ 1564183 h 2719086"/>
                  <a:gd name="connsiteX829" fmla="*/ 696058 w 1416191"/>
                  <a:gd name="connsiteY829" fmla="*/ 1591091 h 2719086"/>
                  <a:gd name="connsiteX830" fmla="*/ 667734 w 1416191"/>
                  <a:gd name="connsiteY830" fmla="*/ 1603836 h 2719086"/>
                  <a:gd name="connsiteX831" fmla="*/ 595509 w 1416191"/>
                  <a:gd name="connsiteY831" fmla="*/ 1622246 h 2719086"/>
                  <a:gd name="connsiteX832" fmla="*/ 647908 w 1416191"/>
                  <a:gd name="connsiteY832" fmla="*/ 1548605 h 2719086"/>
                  <a:gd name="connsiteX833" fmla="*/ 701723 w 1416191"/>
                  <a:gd name="connsiteY833" fmla="*/ 1589674 h 2719086"/>
                  <a:gd name="connsiteX834" fmla="*/ 698891 w 1416191"/>
                  <a:gd name="connsiteY834" fmla="*/ 1591091 h 2719086"/>
                  <a:gd name="connsiteX835" fmla="*/ 618168 w 1416191"/>
                  <a:gd name="connsiteY835" fmla="*/ 1564183 h 2719086"/>
                  <a:gd name="connsiteX836" fmla="*/ 647908 w 1416191"/>
                  <a:gd name="connsiteY836" fmla="*/ 1548605 h 2719086"/>
                  <a:gd name="connsiteX837" fmla="*/ 571433 w 1416191"/>
                  <a:gd name="connsiteY837" fmla="*/ 1483460 h 2719086"/>
                  <a:gd name="connsiteX838" fmla="*/ 587012 w 1416191"/>
                  <a:gd name="connsiteY838" fmla="*/ 1398488 h 2719086"/>
                  <a:gd name="connsiteX839" fmla="*/ 734295 w 1416191"/>
                  <a:gd name="connsiteY839" fmla="*/ 1503287 h 2719086"/>
                  <a:gd name="connsiteX840" fmla="*/ 679064 w 1416191"/>
                  <a:gd name="connsiteY840" fmla="*/ 1530194 h 2719086"/>
                  <a:gd name="connsiteX841" fmla="*/ 571433 w 1416191"/>
                  <a:gd name="connsiteY841" fmla="*/ 1483460 h 2719086"/>
                  <a:gd name="connsiteX842" fmla="*/ 599757 w 1416191"/>
                  <a:gd name="connsiteY842" fmla="*/ 1305020 h 2719086"/>
                  <a:gd name="connsiteX843" fmla="*/ 521867 w 1416191"/>
                  <a:gd name="connsiteY843" fmla="*/ 1350338 h 2719086"/>
                  <a:gd name="connsiteX844" fmla="*/ 503456 w 1416191"/>
                  <a:gd name="connsiteY844" fmla="*/ 1336176 h 2719086"/>
                  <a:gd name="connsiteX845" fmla="*/ 521867 w 1416191"/>
                  <a:gd name="connsiteY845" fmla="*/ 1296523 h 2719086"/>
                  <a:gd name="connsiteX846" fmla="*/ 604006 w 1416191"/>
                  <a:gd name="connsiteY846" fmla="*/ 1293690 h 2719086"/>
                  <a:gd name="connsiteX847" fmla="*/ 599757 w 1416191"/>
                  <a:gd name="connsiteY847" fmla="*/ 1305020 h 2719086"/>
                  <a:gd name="connsiteX848" fmla="*/ 598341 w 1416191"/>
                  <a:gd name="connsiteY848" fmla="*/ 1637825 h 2719086"/>
                  <a:gd name="connsiteX849" fmla="*/ 619584 w 1416191"/>
                  <a:gd name="connsiteY849" fmla="*/ 1707218 h 2719086"/>
                  <a:gd name="connsiteX850" fmla="*/ 528948 w 1416191"/>
                  <a:gd name="connsiteY850" fmla="*/ 1722796 h 2719086"/>
                  <a:gd name="connsiteX851" fmla="*/ 538861 w 1416191"/>
                  <a:gd name="connsiteY851" fmla="*/ 1664732 h 2719086"/>
                  <a:gd name="connsiteX852" fmla="*/ 598341 w 1416191"/>
                  <a:gd name="connsiteY852" fmla="*/ 1637825 h 2719086"/>
                  <a:gd name="connsiteX853" fmla="*/ 705972 w 1416191"/>
                  <a:gd name="connsiteY853" fmla="*/ 1595339 h 2719086"/>
                  <a:gd name="connsiteX854" fmla="*/ 679064 w 1416191"/>
                  <a:gd name="connsiteY854" fmla="*/ 1602420 h 2719086"/>
                  <a:gd name="connsiteX855" fmla="*/ 698891 w 1416191"/>
                  <a:gd name="connsiteY855" fmla="*/ 1593923 h 2719086"/>
                  <a:gd name="connsiteX856" fmla="*/ 705972 w 1416191"/>
                  <a:gd name="connsiteY856" fmla="*/ 1595339 h 2719086"/>
                  <a:gd name="connsiteX857" fmla="*/ 830596 w 1416191"/>
                  <a:gd name="connsiteY857" fmla="*/ 1285193 h 2719086"/>
                  <a:gd name="connsiteX858" fmla="*/ 864585 w 1416191"/>
                  <a:gd name="connsiteY858" fmla="*/ 1392824 h 2719086"/>
                  <a:gd name="connsiteX859" fmla="*/ 864585 w 1416191"/>
                  <a:gd name="connsiteY859" fmla="*/ 1392824 h 2719086"/>
                  <a:gd name="connsiteX860" fmla="*/ 895741 w 1416191"/>
                  <a:gd name="connsiteY860" fmla="*/ 1282361 h 2719086"/>
                  <a:gd name="connsiteX861" fmla="*/ 1051522 w 1416191"/>
                  <a:gd name="connsiteY861" fmla="*/ 1276696 h 2719086"/>
                  <a:gd name="connsiteX862" fmla="*/ 1051522 w 1416191"/>
                  <a:gd name="connsiteY862" fmla="*/ 1276696 h 2719086"/>
                  <a:gd name="connsiteX863" fmla="*/ 1051522 w 1416191"/>
                  <a:gd name="connsiteY863" fmla="*/ 1275280 h 2719086"/>
                  <a:gd name="connsiteX864" fmla="*/ 1051522 w 1416191"/>
                  <a:gd name="connsiteY864" fmla="*/ 1275280 h 2719086"/>
                  <a:gd name="connsiteX865" fmla="*/ 904238 w 1416191"/>
                  <a:gd name="connsiteY865" fmla="*/ 1252621 h 2719086"/>
                  <a:gd name="connsiteX866" fmla="*/ 936811 w 1416191"/>
                  <a:gd name="connsiteY866" fmla="*/ 1136493 h 2719086"/>
                  <a:gd name="connsiteX867" fmla="*/ 1057187 w 1416191"/>
                  <a:gd name="connsiteY867" fmla="*/ 1143574 h 2719086"/>
                  <a:gd name="connsiteX868" fmla="*/ 1197390 w 1416191"/>
                  <a:gd name="connsiteY868" fmla="*/ 1276696 h 2719086"/>
                  <a:gd name="connsiteX869" fmla="*/ 772532 w 1416191"/>
                  <a:gd name="connsiteY869" fmla="*/ 1486292 h 2719086"/>
                  <a:gd name="connsiteX870" fmla="*/ 700307 w 1416191"/>
                  <a:gd name="connsiteY870" fmla="*/ 1292274 h 2719086"/>
                  <a:gd name="connsiteX871" fmla="*/ 830596 w 1416191"/>
                  <a:gd name="connsiteY871" fmla="*/ 1285193 h 2719086"/>
                  <a:gd name="connsiteX872" fmla="*/ 986377 w 1416191"/>
                  <a:gd name="connsiteY872" fmla="*/ 955221 h 2719086"/>
                  <a:gd name="connsiteX873" fmla="*/ 945308 w 1416191"/>
                  <a:gd name="connsiteY873" fmla="*/ 950972 h 2719086"/>
                  <a:gd name="connsiteX874" fmla="*/ 730047 w 1416191"/>
                  <a:gd name="connsiteY874" fmla="*/ 772532 h 2719086"/>
                  <a:gd name="connsiteX875" fmla="*/ 1014701 w 1416191"/>
                  <a:gd name="connsiteY875" fmla="*/ 686145 h 2719086"/>
                  <a:gd name="connsiteX876" fmla="*/ 1062852 w 1416191"/>
                  <a:gd name="connsiteY876" fmla="*/ 681896 h 2719086"/>
                  <a:gd name="connsiteX877" fmla="*/ 986377 w 1416191"/>
                  <a:gd name="connsiteY877" fmla="*/ 955221 h 2719086"/>
                  <a:gd name="connsiteX878" fmla="*/ 728631 w 1416191"/>
                  <a:gd name="connsiteY878" fmla="*/ 397241 h 2719086"/>
                  <a:gd name="connsiteX879" fmla="*/ 748457 w 1416191"/>
                  <a:gd name="connsiteY879" fmla="*/ 385912 h 2719086"/>
                  <a:gd name="connsiteX880" fmla="*/ 793775 w 1416191"/>
                  <a:gd name="connsiteY880" fmla="*/ 408571 h 2719086"/>
                  <a:gd name="connsiteX881" fmla="*/ 793775 w 1416191"/>
                  <a:gd name="connsiteY881" fmla="*/ 418484 h 2719086"/>
                  <a:gd name="connsiteX882" fmla="*/ 728631 w 1416191"/>
                  <a:gd name="connsiteY882" fmla="*/ 397241 h 2719086"/>
                  <a:gd name="connsiteX883" fmla="*/ 749874 w 1416191"/>
                  <a:gd name="connsiteY883" fmla="*/ 384496 h 2719086"/>
                  <a:gd name="connsiteX884" fmla="*/ 790943 w 1416191"/>
                  <a:gd name="connsiteY884" fmla="*/ 360421 h 2719086"/>
                  <a:gd name="connsiteX885" fmla="*/ 792359 w 1416191"/>
                  <a:gd name="connsiteY885" fmla="*/ 405739 h 2719086"/>
                  <a:gd name="connsiteX886" fmla="*/ 749874 w 1416191"/>
                  <a:gd name="connsiteY886" fmla="*/ 384496 h 2719086"/>
                  <a:gd name="connsiteX887" fmla="*/ 902822 w 1416191"/>
                  <a:gd name="connsiteY887" fmla="*/ 292443 h 2719086"/>
                  <a:gd name="connsiteX888" fmla="*/ 793775 w 1416191"/>
                  <a:gd name="connsiteY888" fmla="*/ 356172 h 2719086"/>
                  <a:gd name="connsiteX889" fmla="*/ 792359 w 1416191"/>
                  <a:gd name="connsiteY889" fmla="*/ 306605 h 2719086"/>
                  <a:gd name="connsiteX890" fmla="*/ 792359 w 1416191"/>
                  <a:gd name="connsiteY890" fmla="*/ 306605 h 2719086"/>
                  <a:gd name="connsiteX891" fmla="*/ 742793 w 1416191"/>
                  <a:gd name="connsiteY891" fmla="*/ 247125 h 2719086"/>
                  <a:gd name="connsiteX892" fmla="*/ 744209 w 1416191"/>
                  <a:gd name="connsiteY892" fmla="*/ 247125 h 2719086"/>
                  <a:gd name="connsiteX893" fmla="*/ 744209 w 1416191"/>
                  <a:gd name="connsiteY893" fmla="*/ 245709 h 2719086"/>
                  <a:gd name="connsiteX894" fmla="*/ 739960 w 1416191"/>
                  <a:gd name="connsiteY894" fmla="*/ 244293 h 2719086"/>
                  <a:gd name="connsiteX895" fmla="*/ 669150 w 1416191"/>
                  <a:gd name="connsiteY895" fmla="*/ 159321 h 2719086"/>
                  <a:gd name="connsiteX896" fmla="*/ 902822 w 1416191"/>
                  <a:gd name="connsiteY896" fmla="*/ 292443 h 2719086"/>
                  <a:gd name="connsiteX897" fmla="*/ 511953 w 1416191"/>
                  <a:gd name="connsiteY897" fmla="*/ 170651 h 2719086"/>
                  <a:gd name="connsiteX898" fmla="*/ 485046 w 1416191"/>
                  <a:gd name="connsiteY898" fmla="*/ 221634 h 2719086"/>
                  <a:gd name="connsiteX899" fmla="*/ 738544 w 1416191"/>
                  <a:gd name="connsiteY899" fmla="*/ 247125 h 2719086"/>
                  <a:gd name="connsiteX900" fmla="*/ 788111 w 1416191"/>
                  <a:gd name="connsiteY900" fmla="*/ 308022 h 2719086"/>
                  <a:gd name="connsiteX901" fmla="*/ 789527 w 1416191"/>
                  <a:gd name="connsiteY901" fmla="*/ 359004 h 2719086"/>
                  <a:gd name="connsiteX902" fmla="*/ 747041 w 1416191"/>
                  <a:gd name="connsiteY902" fmla="*/ 384496 h 2719086"/>
                  <a:gd name="connsiteX903" fmla="*/ 676231 w 1416191"/>
                  <a:gd name="connsiteY903" fmla="*/ 349091 h 2719086"/>
                  <a:gd name="connsiteX904" fmla="*/ 686145 w 1416191"/>
                  <a:gd name="connsiteY904" fmla="*/ 258455 h 2719086"/>
                  <a:gd name="connsiteX905" fmla="*/ 686145 w 1416191"/>
                  <a:gd name="connsiteY905" fmla="*/ 258455 h 2719086"/>
                  <a:gd name="connsiteX906" fmla="*/ 621000 w 1416191"/>
                  <a:gd name="connsiteY906" fmla="*/ 322183 h 2719086"/>
                  <a:gd name="connsiteX907" fmla="*/ 595509 w 1416191"/>
                  <a:gd name="connsiteY907" fmla="*/ 309438 h 2719086"/>
                  <a:gd name="connsiteX908" fmla="*/ 595509 w 1416191"/>
                  <a:gd name="connsiteY908" fmla="*/ 309438 h 2719086"/>
                  <a:gd name="connsiteX909" fmla="*/ 544526 w 1416191"/>
                  <a:gd name="connsiteY909" fmla="*/ 342010 h 2719086"/>
                  <a:gd name="connsiteX910" fmla="*/ 407155 w 1416191"/>
                  <a:gd name="connsiteY910" fmla="*/ 299524 h 2719086"/>
                  <a:gd name="connsiteX911" fmla="*/ 366086 w 1416191"/>
                  <a:gd name="connsiteY911" fmla="*/ 268368 h 2719086"/>
                  <a:gd name="connsiteX912" fmla="*/ 475132 w 1416191"/>
                  <a:gd name="connsiteY912" fmla="*/ 162154 h 2719086"/>
                  <a:gd name="connsiteX913" fmla="*/ 511953 w 1416191"/>
                  <a:gd name="connsiteY913" fmla="*/ 170651 h 2719086"/>
                  <a:gd name="connsiteX914" fmla="*/ 363253 w 1416191"/>
                  <a:gd name="connsiteY914" fmla="*/ 265536 h 2719086"/>
                  <a:gd name="connsiteX915" fmla="*/ 363253 w 1416191"/>
                  <a:gd name="connsiteY915" fmla="*/ 265536 h 2719086"/>
                  <a:gd name="connsiteX916" fmla="*/ 401490 w 1416191"/>
                  <a:gd name="connsiteY916" fmla="*/ 295276 h 2719086"/>
                  <a:gd name="connsiteX917" fmla="*/ 359005 w 1416191"/>
                  <a:gd name="connsiteY917" fmla="*/ 282530 h 2719086"/>
                  <a:gd name="connsiteX918" fmla="*/ 360421 w 1416191"/>
                  <a:gd name="connsiteY918" fmla="*/ 240045 h 2719086"/>
                  <a:gd name="connsiteX919" fmla="*/ 360421 w 1416191"/>
                  <a:gd name="connsiteY919" fmla="*/ 240045 h 2719086"/>
                  <a:gd name="connsiteX920" fmla="*/ 326432 w 1416191"/>
                  <a:gd name="connsiteY920" fmla="*/ 272617 h 2719086"/>
                  <a:gd name="connsiteX921" fmla="*/ 269785 w 1416191"/>
                  <a:gd name="connsiteY921" fmla="*/ 254206 h 2719086"/>
                  <a:gd name="connsiteX922" fmla="*/ 266952 w 1416191"/>
                  <a:gd name="connsiteY922" fmla="*/ 169235 h 2719086"/>
                  <a:gd name="connsiteX923" fmla="*/ 302357 w 1416191"/>
                  <a:gd name="connsiteY923" fmla="*/ 102674 h 2719086"/>
                  <a:gd name="connsiteX924" fmla="*/ 343426 w 1416191"/>
                  <a:gd name="connsiteY924" fmla="*/ 115419 h 2719086"/>
                  <a:gd name="connsiteX925" fmla="*/ 475132 w 1416191"/>
                  <a:gd name="connsiteY925" fmla="*/ 159321 h 2719086"/>
                  <a:gd name="connsiteX926" fmla="*/ 363253 w 1416191"/>
                  <a:gd name="connsiteY926" fmla="*/ 265536 h 2719086"/>
                  <a:gd name="connsiteX927" fmla="*/ 224466 w 1416191"/>
                  <a:gd name="connsiteY927" fmla="*/ 693226 h 2719086"/>
                  <a:gd name="connsiteX928" fmla="*/ 285363 w 1416191"/>
                  <a:gd name="connsiteY928" fmla="*/ 657821 h 2719086"/>
                  <a:gd name="connsiteX929" fmla="*/ 337762 w 1416191"/>
                  <a:gd name="connsiteY929" fmla="*/ 732879 h 2719086"/>
                  <a:gd name="connsiteX930" fmla="*/ 326432 w 1416191"/>
                  <a:gd name="connsiteY930" fmla="*/ 745624 h 2719086"/>
                  <a:gd name="connsiteX931" fmla="*/ 224466 w 1416191"/>
                  <a:gd name="connsiteY931" fmla="*/ 693226 h 2719086"/>
                  <a:gd name="connsiteX932" fmla="*/ 344843 w 1416191"/>
                  <a:gd name="connsiteY932" fmla="*/ 756954 h 2719086"/>
                  <a:gd name="connsiteX933" fmla="*/ 343426 w 1416191"/>
                  <a:gd name="connsiteY933" fmla="*/ 807937 h 2719086"/>
                  <a:gd name="connsiteX934" fmla="*/ 285363 w 1416191"/>
                  <a:gd name="connsiteY934" fmla="*/ 799440 h 2719086"/>
                  <a:gd name="connsiteX935" fmla="*/ 326432 w 1416191"/>
                  <a:gd name="connsiteY935" fmla="*/ 748457 h 2719086"/>
                  <a:gd name="connsiteX936" fmla="*/ 344843 w 1416191"/>
                  <a:gd name="connsiteY936" fmla="*/ 756954 h 2719086"/>
                  <a:gd name="connsiteX937" fmla="*/ 346259 w 1416191"/>
                  <a:gd name="connsiteY937" fmla="*/ 809353 h 2719086"/>
                  <a:gd name="connsiteX938" fmla="*/ 397242 w 1416191"/>
                  <a:gd name="connsiteY938" fmla="*/ 816434 h 2719086"/>
                  <a:gd name="connsiteX939" fmla="*/ 425566 w 1416191"/>
                  <a:gd name="connsiteY939" fmla="*/ 857503 h 2719086"/>
                  <a:gd name="connsiteX940" fmla="*/ 425566 w 1416191"/>
                  <a:gd name="connsiteY940" fmla="*/ 857503 h 2719086"/>
                  <a:gd name="connsiteX941" fmla="*/ 465219 w 1416191"/>
                  <a:gd name="connsiteY941" fmla="*/ 851839 h 2719086"/>
                  <a:gd name="connsiteX942" fmla="*/ 507705 w 1416191"/>
                  <a:gd name="connsiteY942" fmla="*/ 839093 h 2719086"/>
                  <a:gd name="connsiteX943" fmla="*/ 577098 w 1416191"/>
                  <a:gd name="connsiteY943" fmla="*/ 874498 h 2719086"/>
                  <a:gd name="connsiteX944" fmla="*/ 577098 w 1416191"/>
                  <a:gd name="connsiteY944" fmla="*/ 880163 h 2719086"/>
                  <a:gd name="connsiteX945" fmla="*/ 340594 w 1416191"/>
                  <a:gd name="connsiteY945" fmla="*/ 986377 h 2719086"/>
                  <a:gd name="connsiteX946" fmla="*/ 346259 w 1416191"/>
                  <a:gd name="connsiteY946" fmla="*/ 809353 h 2719086"/>
                  <a:gd name="connsiteX947" fmla="*/ 772532 w 1416191"/>
                  <a:gd name="connsiteY947" fmla="*/ 870249 h 2719086"/>
                  <a:gd name="connsiteX948" fmla="*/ 832012 w 1416191"/>
                  <a:gd name="connsiteY948" fmla="*/ 926897 h 2719086"/>
                  <a:gd name="connsiteX949" fmla="*/ 677648 w 1416191"/>
                  <a:gd name="connsiteY949" fmla="*/ 1017533 h 2719086"/>
                  <a:gd name="connsiteX950" fmla="*/ 557271 w 1416191"/>
                  <a:gd name="connsiteY950" fmla="*/ 1023198 h 2719086"/>
                  <a:gd name="connsiteX951" fmla="*/ 592676 w 1416191"/>
                  <a:gd name="connsiteY951" fmla="*/ 990626 h 2719086"/>
                  <a:gd name="connsiteX952" fmla="*/ 592676 w 1416191"/>
                  <a:gd name="connsiteY952" fmla="*/ 990626 h 2719086"/>
                  <a:gd name="connsiteX953" fmla="*/ 578514 w 1416191"/>
                  <a:gd name="connsiteY953" fmla="*/ 882995 h 2719086"/>
                  <a:gd name="connsiteX954" fmla="*/ 585595 w 1416191"/>
                  <a:gd name="connsiteY954" fmla="*/ 880163 h 2719086"/>
                  <a:gd name="connsiteX955" fmla="*/ 577098 w 1416191"/>
                  <a:gd name="connsiteY955" fmla="*/ 875914 h 2719086"/>
                  <a:gd name="connsiteX956" fmla="*/ 572850 w 1416191"/>
                  <a:gd name="connsiteY956" fmla="*/ 844758 h 2719086"/>
                  <a:gd name="connsiteX957" fmla="*/ 772532 w 1416191"/>
                  <a:gd name="connsiteY957" fmla="*/ 870249 h 2719086"/>
                  <a:gd name="connsiteX958" fmla="*/ 609670 w 1416191"/>
                  <a:gd name="connsiteY958" fmla="*/ 1208719 h 2719086"/>
                  <a:gd name="connsiteX959" fmla="*/ 547358 w 1416191"/>
                  <a:gd name="connsiteY959" fmla="*/ 1238459 h 2719086"/>
                  <a:gd name="connsiteX960" fmla="*/ 567185 w 1416191"/>
                  <a:gd name="connsiteY960" fmla="*/ 1195973 h 2719086"/>
                  <a:gd name="connsiteX961" fmla="*/ 609670 w 1416191"/>
                  <a:gd name="connsiteY961" fmla="*/ 1208719 h 2719086"/>
                  <a:gd name="connsiteX962" fmla="*/ 615335 w 1416191"/>
                  <a:gd name="connsiteY962" fmla="*/ 1208719 h 2719086"/>
                  <a:gd name="connsiteX963" fmla="*/ 615335 w 1416191"/>
                  <a:gd name="connsiteY963" fmla="*/ 1208719 h 2719086"/>
                  <a:gd name="connsiteX964" fmla="*/ 568601 w 1416191"/>
                  <a:gd name="connsiteY964" fmla="*/ 1194557 h 2719086"/>
                  <a:gd name="connsiteX965" fmla="*/ 621000 w 1416191"/>
                  <a:gd name="connsiteY965" fmla="*/ 1081262 h 2719086"/>
                  <a:gd name="connsiteX966" fmla="*/ 649324 w 1416191"/>
                  <a:gd name="connsiteY966" fmla="*/ 1156320 h 2719086"/>
                  <a:gd name="connsiteX967" fmla="*/ 618168 w 1416191"/>
                  <a:gd name="connsiteY967" fmla="*/ 1211551 h 2719086"/>
                  <a:gd name="connsiteX968" fmla="*/ 604006 w 1416191"/>
                  <a:gd name="connsiteY968" fmla="*/ 1292274 h 2719086"/>
                  <a:gd name="connsiteX969" fmla="*/ 523283 w 1416191"/>
                  <a:gd name="connsiteY969" fmla="*/ 1295107 h 2719086"/>
                  <a:gd name="connsiteX970" fmla="*/ 547358 w 1416191"/>
                  <a:gd name="connsiteY970" fmla="*/ 1241291 h 2719086"/>
                  <a:gd name="connsiteX971" fmla="*/ 615335 w 1416191"/>
                  <a:gd name="connsiteY971" fmla="*/ 1208719 h 2719086"/>
                  <a:gd name="connsiteX972" fmla="*/ 519034 w 1416191"/>
                  <a:gd name="connsiteY972" fmla="*/ 1295107 h 2719086"/>
                  <a:gd name="connsiteX973" fmla="*/ 445392 w 1416191"/>
                  <a:gd name="connsiteY973" fmla="*/ 1297939 h 2719086"/>
                  <a:gd name="connsiteX974" fmla="*/ 445392 w 1416191"/>
                  <a:gd name="connsiteY974" fmla="*/ 1297939 h 2719086"/>
                  <a:gd name="connsiteX975" fmla="*/ 500624 w 1416191"/>
                  <a:gd name="connsiteY975" fmla="*/ 1337592 h 2719086"/>
                  <a:gd name="connsiteX976" fmla="*/ 485046 w 1416191"/>
                  <a:gd name="connsiteY976" fmla="*/ 1371581 h 2719086"/>
                  <a:gd name="connsiteX977" fmla="*/ 408571 w 1416191"/>
                  <a:gd name="connsiteY977" fmla="*/ 1415483 h 2719086"/>
                  <a:gd name="connsiteX978" fmla="*/ 408571 w 1416191"/>
                  <a:gd name="connsiteY978" fmla="*/ 1415483 h 2719086"/>
                  <a:gd name="connsiteX979" fmla="*/ 456722 w 1416191"/>
                  <a:gd name="connsiteY979" fmla="*/ 1436726 h 2719086"/>
                  <a:gd name="connsiteX980" fmla="*/ 428398 w 1416191"/>
                  <a:gd name="connsiteY980" fmla="*/ 1499038 h 2719086"/>
                  <a:gd name="connsiteX981" fmla="*/ 330681 w 1416191"/>
                  <a:gd name="connsiteY981" fmla="*/ 1466465 h 2719086"/>
                  <a:gd name="connsiteX982" fmla="*/ 363253 w 1416191"/>
                  <a:gd name="connsiteY982" fmla="*/ 1334760 h 2719086"/>
                  <a:gd name="connsiteX983" fmla="*/ 443976 w 1416191"/>
                  <a:gd name="connsiteY983" fmla="*/ 1293690 h 2719086"/>
                  <a:gd name="connsiteX984" fmla="*/ 544526 w 1416191"/>
                  <a:gd name="connsiteY984" fmla="*/ 1244124 h 2719086"/>
                  <a:gd name="connsiteX985" fmla="*/ 519034 w 1416191"/>
                  <a:gd name="connsiteY985" fmla="*/ 1295107 h 2719086"/>
                  <a:gd name="connsiteX986" fmla="*/ 456722 w 1416191"/>
                  <a:gd name="connsiteY986" fmla="*/ 1642073 h 2719086"/>
                  <a:gd name="connsiteX987" fmla="*/ 482213 w 1416191"/>
                  <a:gd name="connsiteY987" fmla="*/ 1651987 h 2719086"/>
                  <a:gd name="connsiteX988" fmla="*/ 482213 w 1416191"/>
                  <a:gd name="connsiteY988" fmla="*/ 1651987 h 2719086"/>
                  <a:gd name="connsiteX989" fmla="*/ 541693 w 1416191"/>
                  <a:gd name="connsiteY989" fmla="*/ 1637825 h 2719086"/>
                  <a:gd name="connsiteX990" fmla="*/ 537445 w 1416191"/>
                  <a:gd name="connsiteY990" fmla="*/ 1664732 h 2719086"/>
                  <a:gd name="connsiteX991" fmla="*/ 502040 w 1416191"/>
                  <a:gd name="connsiteY991" fmla="*/ 1681727 h 2719086"/>
                  <a:gd name="connsiteX992" fmla="*/ 442560 w 1416191"/>
                  <a:gd name="connsiteY992" fmla="*/ 1650570 h 2719086"/>
                  <a:gd name="connsiteX993" fmla="*/ 456722 w 1416191"/>
                  <a:gd name="connsiteY993" fmla="*/ 1642073 h 2719086"/>
                  <a:gd name="connsiteX994" fmla="*/ 629497 w 1416191"/>
                  <a:gd name="connsiteY994" fmla="*/ 1707218 h 2719086"/>
                  <a:gd name="connsiteX995" fmla="*/ 629497 w 1416191"/>
                  <a:gd name="connsiteY995" fmla="*/ 1707218 h 2719086"/>
                  <a:gd name="connsiteX996" fmla="*/ 621000 w 1416191"/>
                  <a:gd name="connsiteY996" fmla="*/ 1708634 h 2719086"/>
                  <a:gd name="connsiteX997" fmla="*/ 599757 w 1416191"/>
                  <a:gd name="connsiteY997" fmla="*/ 1637825 h 2719086"/>
                  <a:gd name="connsiteX998" fmla="*/ 669150 w 1416191"/>
                  <a:gd name="connsiteY998" fmla="*/ 1606669 h 2719086"/>
                  <a:gd name="connsiteX999" fmla="*/ 710220 w 1416191"/>
                  <a:gd name="connsiteY999" fmla="*/ 1596755 h 2719086"/>
                  <a:gd name="connsiteX1000" fmla="*/ 849007 w 1416191"/>
                  <a:gd name="connsiteY1000" fmla="*/ 1643489 h 2719086"/>
                  <a:gd name="connsiteX1001" fmla="*/ 756954 w 1416191"/>
                  <a:gd name="connsiteY1001" fmla="*/ 1744039 h 2719086"/>
                  <a:gd name="connsiteX1002" fmla="*/ 720133 w 1416191"/>
                  <a:gd name="connsiteY1002" fmla="*/ 1617998 h 2719086"/>
                  <a:gd name="connsiteX1003" fmla="*/ 720133 w 1416191"/>
                  <a:gd name="connsiteY1003" fmla="*/ 1616582 h 2719086"/>
                  <a:gd name="connsiteX1004" fmla="*/ 705972 w 1416191"/>
                  <a:gd name="connsiteY1004" fmla="*/ 1846005 h 2719086"/>
                  <a:gd name="connsiteX1005" fmla="*/ 662069 w 1416191"/>
                  <a:gd name="connsiteY1005" fmla="*/ 1846005 h 2719086"/>
                  <a:gd name="connsiteX1006" fmla="*/ 629497 w 1416191"/>
                  <a:gd name="connsiteY1006" fmla="*/ 1736958 h 2719086"/>
                  <a:gd name="connsiteX1007" fmla="*/ 629497 w 1416191"/>
                  <a:gd name="connsiteY1007" fmla="*/ 1707218 h 2719086"/>
                  <a:gd name="connsiteX1008" fmla="*/ 1060019 w 1416191"/>
                  <a:gd name="connsiteY1008" fmla="*/ 1140742 h 2719086"/>
                  <a:gd name="connsiteX1009" fmla="*/ 969383 w 1416191"/>
                  <a:gd name="connsiteY1009" fmla="*/ 1054354 h 2719086"/>
                  <a:gd name="connsiteX1010" fmla="*/ 1016117 w 1416191"/>
                  <a:gd name="connsiteY1010" fmla="*/ 1006203 h 2719086"/>
                  <a:gd name="connsiteX1011" fmla="*/ 1081262 w 1416191"/>
                  <a:gd name="connsiteY1011" fmla="*/ 1003371 h 2719086"/>
                  <a:gd name="connsiteX1012" fmla="*/ 1081262 w 1416191"/>
                  <a:gd name="connsiteY1012" fmla="*/ 1024614 h 2719086"/>
                  <a:gd name="connsiteX1013" fmla="*/ 1081262 w 1416191"/>
                  <a:gd name="connsiteY1013" fmla="*/ 1024614 h 2719086"/>
                  <a:gd name="connsiteX1014" fmla="*/ 1096840 w 1416191"/>
                  <a:gd name="connsiteY1014" fmla="*/ 1001955 h 2719086"/>
                  <a:gd name="connsiteX1015" fmla="*/ 1286610 w 1416191"/>
                  <a:gd name="connsiteY1015" fmla="*/ 994874 h 2719086"/>
                  <a:gd name="connsiteX1016" fmla="*/ 1256870 w 1416191"/>
                  <a:gd name="connsiteY1016" fmla="*/ 1153488 h 2719086"/>
                  <a:gd name="connsiteX1017" fmla="*/ 1060019 w 1416191"/>
                  <a:gd name="connsiteY1017" fmla="*/ 1140742 h 2719086"/>
                  <a:gd name="connsiteX1018" fmla="*/ 1079846 w 1416191"/>
                  <a:gd name="connsiteY1018" fmla="*/ 667734 h 2719086"/>
                  <a:gd name="connsiteX1019" fmla="*/ 1079846 w 1416191"/>
                  <a:gd name="connsiteY1019" fmla="*/ 680480 h 2719086"/>
                  <a:gd name="connsiteX1020" fmla="*/ 1065684 w 1416191"/>
                  <a:gd name="connsiteY1020" fmla="*/ 681896 h 2719086"/>
                  <a:gd name="connsiteX1021" fmla="*/ 1068517 w 1416191"/>
                  <a:gd name="connsiteY1021" fmla="*/ 671983 h 2719086"/>
                  <a:gd name="connsiteX1022" fmla="*/ 1079846 w 1416191"/>
                  <a:gd name="connsiteY1022" fmla="*/ 667734 h 2719086"/>
                  <a:gd name="connsiteX1023" fmla="*/ 1023198 w 1416191"/>
                  <a:gd name="connsiteY1023" fmla="*/ 683312 h 2719086"/>
                  <a:gd name="connsiteX1024" fmla="*/ 1065684 w 1416191"/>
                  <a:gd name="connsiteY1024" fmla="*/ 670566 h 2719086"/>
                  <a:gd name="connsiteX1025" fmla="*/ 1062852 w 1416191"/>
                  <a:gd name="connsiteY1025" fmla="*/ 680480 h 2719086"/>
                  <a:gd name="connsiteX1026" fmla="*/ 1023198 w 1416191"/>
                  <a:gd name="connsiteY1026" fmla="*/ 683312 h 2719086"/>
                  <a:gd name="connsiteX1027" fmla="*/ 344843 w 1416191"/>
                  <a:gd name="connsiteY1027" fmla="*/ 16286 h 2719086"/>
                  <a:gd name="connsiteX1028" fmla="*/ 300941 w 1416191"/>
                  <a:gd name="connsiteY1028" fmla="*/ 99841 h 2719086"/>
                  <a:gd name="connsiteX1029" fmla="*/ 264120 w 1416191"/>
                  <a:gd name="connsiteY1029" fmla="*/ 88512 h 2719086"/>
                  <a:gd name="connsiteX1030" fmla="*/ 262704 w 1416191"/>
                  <a:gd name="connsiteY1030" fmla="*/ 60188 h 2719086"/>
                  <a:gd name="connsiteX1031" fmla="*/ 344843 w 1416191"/>
                  <a:gd name="connsiteY1031" fmla="*/ 16286 h 2719086"/>
                  <a:gd name="connsiteX1032" fmla="*/ 126749 w 1416191"/>
                  <a:gd name="connsiteY1032" fmla="*/ 426981 h 2719086"/>
                  <a:gd name="connsiteX1033" fmla="*/ 92761 w 1416191"/>
                  <a:gd name="connsiteY1033" fmla="*/ 492126 h 2719086"/>
                  <a:gd name="connsiteX1034" fmla="*/ 140911 w 1416191"/>
                  <a:gd name="connsiteY1034" fmla="*/ 446808 h 2719086"/>
                  <a:gd name="connsiteX1035" fmla="*/ 184813 w 1416191"/>
                  <a:gd name="connsiteY1035" fmla="*/ 509121 h 2719086"/>
                  <a:gd name="connsiteX1036" fmla="*/ 12038 w 1416191"/>
                  <a:gd name="connsiteY1036" fmla="*/ 625248 h 2719086"/>
                  <a:gd name="connsiteX1037" fmla="*/ 99842 w 1416191"/>
                  <a:gd name="connsiteY1037" fmla="*/ 385912 h 2719086"/>
                  <a:gd name="connsiteX1038" fmla="*/ 126749 w 1416191"/>
                  <a:gd name="connsiteY1038" fmla="*/ 426981 h 2719086"/>
                  <a:gd name="connsiteX1039" fmla="*/ 230131 w 1416191"/>
                  <a:gd name="connsiteY1039" fmla="*/ 360421 h 2719086"/>
                  <a:gd name="connsiteX1040" fmla="*/ 139495 w 1416191"/>
                  <a:gd name="connsiteY1040" fmla="*/ 443976 h 2719086"/>
                  <a:gd name="connsiteX1041" fmla="*/ 128165 w 1416191"/>
                  <a:gd name="connsiteY1041" fmla="*/ 426981 h 2719086"/>
                  <a:gd name="connsiteX1042" fmla="*/ 183397 w 1416191"/>
                  <a:gd name="connsiteY1042" fmla="*/ 322183 h 2719086"/>
                  <a:gd name="connsiteX1043" fmla="*/ 230131 w 1416191"/>
                  <a:gd name="connsiteY1043" fmla="*/ 360421 h 2719086"/>
                  <a:gd name="connsiteX1044" fmla="*/ 197559 w 1416191"/>
                  <a:gd name="connsiteY1044" fmla="*/ 293860 h 2719086"/>
                  <a:gd name="connsiteX1045" fmla="*/ 184813 w 1416191"/>
                  <a:gd name="connsiteY1045" fmla="*/ 319351 h 2719086"/>
                  <a:gd name="connsiteX1046" fmla="*/ 128165 w 1416191"/>
                  <a:gd name="connsiteY1046" fmla="*/ 272617 h 2719086"/>
                  <a:gd name="connsiteX1047" fmla="*/ 197559 w 1416191"/>
                  <a:gd name="connsiteY1047" fmla="*/ 293860 h 2719086"/>
                  <a:gd name="connsiteX1048" fmla="*/ 139495 w 1416191"/>
                  <a:gd name="connsiteY1048" fmla="*/ 445392 h 2719086"/>
                  <a:gd name="connsiteX1049" fmla="*/ 99842 w 1416191"/>
                  <a:gd name="connsiteY1049" fmla="*/ 482213 h 2719086"/>
                  <a:gd name="connsiteX1050" fmla="*/ 128165 w 1416191"/>
                  <a:gd name="connsiteY1050" fmla="*/ 429814 h 2719086"/>
                  <a:gd name="connsiteX1051" fmla="*/ 139495 w 1416191"/>
                  <a:gd name="connsiteY1051" fmla="*/ 445392 h 2719086"/>
                  <a:gd name="connsiteX1052" fmla="*/ 469468 w 1416191"/>
                  <a:gd name="connsiteY1052" fmla="*/ 1926727 h 2719086"/>
                  <a:gd name="connsiteX1053" fmla="*/ 509121 w 1416191"/>
                  <a:gd name="connsiteY1053" fmla="*/ 1829010 h 2719086"/>
                  <a:gd name="connsiteX1054" fmla="*/ 527531 w 1416191"/>
                  <a:gd name="connsiteY1054" fmla="*/ 1724212 h 2719086"/>
                  <a:gd name="connsiteX1055" fmla="*/ 618168 w 1416191"/>
                  <a:gd name="connsiteY1055" fmla="*/ 1708634 h 2719086"/>
                  <a:gd name="connsiteX1056" fmla="*/ 625249 w 1416191"/>
                  <a:gd name="connsiteY1056" fmla="*/ 1734126 h 2719086"/>
                  <a:gd name="connsiteX1057" fmla="*/ 623832 w 1416191"/>
                  <a:gd name="connsiteY1057" fmla="*/ 1843172 h 2719086"/>
                  <a:gd name="connsiteX1058" fmla="*/ 558688 w 1416191"/>
                  <a:gd name="connsiteY1058" fmla="*/ 1843172 h 2719086"/>
                  <a:gd name="connsiteX1059" fmla="*/ 558688 w 1416191"/>
                  <a:gd name="connsiteY1059" fmla="*/ 1843172 h 2719086"/>
                  <a:gd name="connsiteX1060" fmla="*/ 545942 w 1416191"/>
                  <a:gd name="connsiteY1060" fmla="*/ 1930976 h 2719086"/>
                  <a:gd name="connsiteX1061" fmla="*/ 469468 w 1416191"/>
                  <a:gd name="connsiteY1061" fmla="*/ 1926727 h 2719086"/>
                  <a:gd name="connsiteX1062" fmla="*/ 547358 w 1416191"/>
                  <a:gd name="connsiteY1062" fmla="*/ 1933808 h 2719086"/>
                  <a:gd name="connsiteX1063" fmla="*/ 533196 w 1416191"/>
                  <a:gd name="connsiteY1063" fmla="*/ 2025861 h 2719086"/>
                  <a:gd name="connsiteX1064" fmla="*/ 448225 w 1416191"/>
                  <a:gd name="connsiteY1064" fmla="*/ 1974878 h 2719086"/>
                  <a:gd name="connsiteX1065" fmla="*/ 466635 w 1416191"/>
                  <a:gd name="connsiteY1065" fmla="*/ 1929560 h 2719086"/>
                  <a:gd name="connsiteX1066" fmla="*/ 547358 w 1416191"/>
                  <a:gd name="connsiteY1066" fmla="*/ 1933808 h 2719086"/>
                  <a:gd name="connsiteX1067" fmla="*/ 533196 w 1416191"/>
                  <a:gd name="connsiteY1067" fmla="*/ 2027277 h 2719086"/>
                  <a:gd name="connsiteX1068" fmla="*/ 533196 w 1416191"/>
                  <a:gd name="connsiteY1068" fmla="*/ 2027277 h 2719086"/>
                  <a:gd name="connsiteX1069" fmla="*/ 432647 w 1416191"/>
                  <a:gd name="connsiteY1069" fmla="*/ 2014531 h 2719086"/>
                  <a:gd name="connsiteX1070" fmla="*/ 448225 w 1416191"/>
                  <a:gd name="connsiteY1070" fmla="*/ 1976294 h 2719086"/>
                  <a:gd name="connsiteX1071" fmla="*/ 533196 w 1416191"/>
                  <a:gd name="connsiteY1071" fmla="*/ 2027277 h 2719086"/>
                  <a:gd name="connsiteX1072" fmla="*/ 313687 w 1416191"/>
                  <a:gd name="connsiteY1072" fmla="*/ 2255284 h 2719086"/>
                  <a:gd name="connsiteX1073" fmla="*/ 347675 w 1416191"/>
                  <a:gd name="connsiteY1073" fmla="*/ 2221295 h 2719086"/>
                  <a:gd name="connsiteX1074" fmla="*/ 344843 w 1416191"/>
                  <a:gd name="connsiteY1074" fmla="*/ 2269446 h 2719086"/>
                  <a:gd name="connsiteX1075" fmla="*/ 313687 w 1416191"/>
                  <a:gd name="connsiteY1075" fmla="*/ 2255284 h 2719086"/>
                  <a:gd name="connsiteX1076" fmla="*/ 288195 w 1416191"/>
                  <a:gd name="connsiteY1076" fmla="*/ 2428059 h 2719086"/>
                  <a:gd name="connsiteX1077" fmla="*/ 257039 w 1416191"/>
                  <a:gd name="connsiteY1077" fmla="*/ 2323261 h 2719086"/>
                  <a:gd name="connsiteX1078" fmla="*/ 343426 w 1416191"/>
                  <a:gd name="connsiteY1078" fmla="*/ 2314764 h 2719086"/>
                  <a:gd name="connsiteX1079" fmla="*/ 339178 w 1416191"/>
                  <a:gd name="connsiteY1079" fmla="*/ 2379909 h 2719086"/>
                  <a:gd name="connsiteX1080" fmla="*/ 288195 w 1416191"/>
                  <a:gd name="connsiteY1080" fmla="*/ 2428059 h 2719086"/>
                  <a:gd name="connsiteX1081" fmla="*/ 289611 w 1416191"/>
                  <a:gd name="connsiteY1081" fmla="*/ 2433724 h 2719086"/>
                  <a:gd name="connsiteX1082" fmla="*/ 288195 w 1416191"/>
                  <a:gd name="connsiteY1082" fmla="*/ 2430892 h 2719086"/>
                  <a:gd name="connsiteX1083" fmla="*/ 339178 w 1416191"/>
                  <a:gd name="connsiteY1083" fmla="*/ 2384157 h 2719086"/>
                  <a:gd name="connsiteX1084" fmla="*/ 336345 w 1416191"/>
                  <a:gd name="connsiteY1084" fmla="*/ 2433724 h 2719086"/>
                  <a:gd name="connsiteX1085" fmla="*/ 289611 w 1416191"/>
                  <a:gd name="connsiteY1085" fmla="*/ 2433724 h 2719086"/>
                  <a:gd name="connsiteX1086" fmla="*/ 282530 w 1416191"/>
                  <a:gd name="connsiteY1086" fmla="*/ 2436556 h 2719086"/>
                  <a:gd name="connsiteX1087" fmla="*/ 288195 w 1416191"/>
                  <a:gd name="connsiteY1087" fmla="*/ 2436556 h 2719086"/>
                  <a:gd name="connsiteX1088" fmla="*/ 302357 w 1416191"/>
                  <a:gd name="connsiteY1088" fmla="*/ 2486123 h 2719086"/>
                  <a:gd name="connsiteX1089" fmla="*/ 298108 w 1416191"/>
                  <a:gd name="connsiteY1089" fmla="*/ 2494620 h 2719086"/>
                  <a:gd name="connsiteX1090" fmla="*/ 281114 w 1416191"/>
                  <a:gd name="connsiteY1090" fmla="*/ 2439389 h 2719086"/>
                  <a:gd name="connsiteX1091" fmla="*/ 282530 w 1416191"/>
                  <a:gd name="connsiteY1091" fmla="*/ 2436556 h 2719086"/>
                  <a:gd name="connsiteX1092" fmla="*/ 285363 w 1416191"/>
                  <a:gd name="connsiteY1092" fmla="*/ 2435140 h 2719086"/>
                  <a:gd name="connsiteX1093" fmla="*/ 288195 w 1416191"/>
                  <a:gd name="connsiteY1093" fmla="*/ 2432308 h 2719086"/>
                  <a:gd name="connsiteX1094" fmla="*/ 289611 w 1416191"/>
                  <a:gd name="connsiteY1094" fmla="*/ 2435140 h 2719086"/>
                  <a:gd name="connsiteX1095" fmla="*/ 285363 w 1416191"/>
                  <a:gd name="connsiteY1095" fmla="*/ 2435140 h 2719086"/>
                  <a:gd name="connsiteX1096" fmla="*/ 312270 w 1416191"/>
                  <a:gd name="connsiteY1096" fmla="*/ 2256700 h 2719086"/>
                  <a:gd name="connsiteX1097" fmla="*/ 344843 w 1416191"/>
                  <a:gd name="connsiteY1097" fmla="*/ 2270862 h 2719086"/>
                  <a:gd name="connsiteX1098" fmla="*/ 342010 w 1416191"/>
                  <a:gd name="connsiteY1098" fmla="*/ 2311932 h 2719086"/>
                  <a:gd name="connsiteX1099" fmla="*/ 252790 w 1416191"/>
                  <a:gd name="connsiteY1099" fmla="*/ 2320429 h 2719086"/>
                  <a:gd name="connsiteX1100" fmla="*/ 252790 w 1416191"/>
                  <a:gd name="connsiteY1100" fmla="*/ 2320429 h 2719086"/>
                  <a:gd name="connsiteX1101" fmla="*/ 285363 w 1416191"/>
                  <a:gd name="connsiteY1101" fmla="*/ 2428059 h 2719086"/>
                  <a:gd name="connsiteX1102" fmla="*/ 281114 w 1416191"/>
                  <a:gd name="connsiteY1102" fmla="*/ 2432308 h 2719086"/>
                  <a:gd name="connsiteX1103" fmla="*/ 278282 w 1416191"/>
                  <a:gd name="connsiteY1103" fmla="*/ 2432308 h 2719086"/>
                  <a:gd name="connsiteX1104" fmla="*/ 242877 w 1416191"/>
                  <a:gd name="connsiteY1104" fmla="*/ 2321845 h 2719086"/>
                  <a:gd name="connsiteX1105" fmla="*/ 312270 w 1416191"/>
                  <a:gd name="connsiteY1105" fmla="*/ 2256700 h 2719086"/>
                  <a:gd name="connsiteX1106" fmla="*/ 350507 w 1416191"/>
                  <a:gd name="connsiteY1106" fmla="*/ 2217047 h 2719086"/>
                  <a:gd name="connsiteX1107" fmla="*/ 350507 w 1416191"/>
                  <a:gd name="connsiteY1107" fmla="*/ 2215631 h 2719086"/>
                  <a:gd name="connsiteX1108" fmla="*/ 353340 w 1416191"/>
                  <a:gd name="connsiteY1108" fmla="*/ 2214215 h 2719086"/>
                  <a:gd name="connsiteX1109" fmla="*/ 350507 w 1416191"/>
                  <a:gd name="connsiteY1109" fmla="*/ 2217047 h 2719086"/>
                  <a:gd name="connsiteX1110" fmla="*/ 303773 w 1416191"/>
                  <a:gd name="connsiteY1110" fmla="*/ 2057017 h 2719086"/>
                  <a:gd name="connsiteX1111" fmla="*/ 308022 w 1416191"/>
                  <a:gd name="connsiteY1111" fmla="*/ 2042855 h 2719086"/>
                  <a:gd name="connsiteX1112" fmla="*/ 308022 w 1416191"/>
                  <a:gd name="connsiteY1112" fmla="*/ 2042855 h 2719086"/>
                  <a:gd name="connsiteX1113" fmla="*/ 292444 w 1416191"/>
                  <a:gd name="connsiteY1113" fmla="*/ 1998953 h 2719086"/>
                  <a:gd name="connsiteX1114" fmla="*/ 346259 w 1416191"/>
                  <a:gd name="connsiteY1114" fmla="*/ 2006034 h 2719086"/>
                  <a:gd name="connsiteX1115" fmla="*/ 347675 w 1416191"/>
                  <a:gd name="connsiteY1115" fmla="*/ 2102336 h 2719086"/>
                  <a:gd name="connsiteX1116" fmla="*/ 303773 w 1416191"/>
                  <a:gd name="connsiteY1116" fmla="*/ 2057017 h 2719086"/>
                  <a:gd name="connsiteX1117" fmla="*/ 404323 w 1416191"/>
                  <a:gd name="connsiteY1117" fmla="*/ 2010283 h 2719086"/>
                  <a:gd name="connsiteX1118" fmla="*/ 401490 w 1416191"/>
                  <a:gd name="connsiteY1118" fmla="*/ 1947970 h 2719086"/>
                  <a:gd name="connsiteX1119" fmla="*/ 446808 w 1416191"/>
                  <a:gd name="connsiteY1119" fmla="*/ 1974878 h 2719086"/>
                  <a:gd name="connsiteX1120" fmla="*/ 431230 w 1416191"/>
                  <a:gd name="connsiteY1120" fmla="*/ 2014531 h 2719086"/>
                  <a:gd name="connsiteX1121" fmla="*/ 404323 w 1416191"/>
                  <a:gd name="connsiteY1121" fmla="*/ 2010283 h 2719086"/>
                  <a:gd name="connsiteX1122" fmla="*/ 408571 w 1416191"/>
                  <a:gd name="connsiteY1122" fmla="*/ 2163232 h 2719086"/>
                  <a:gd name="connsiteX1123" fmla="*/ 408571 w 1416191"/>
                  <a:gd name="connsiteY1123" fmla="*/ 2163232 h 2719086"/>
                  <a:gd name="connsiteX1124" fmla="*/ 408571 w 1416191"/>
                  <a:gd name="connsiteY1124" fmla="*/ 2163232 h 2719086"/>
                  <a:gd name="connsiteX1125" fmla="*/ 408571 w 1416191"/>
                  <a:gd name="connsiteY1125" fmla="*/ 2163232 h 2719086"/>
                  <a:gd name="connsiteX1126" fmla="*/ 363253 w 1416191"/>
                  <a:gd name="connsiteY1126" fmla="*/ 2207134 h 2719086"/>
                  <a:gd name="connsiteX1127" fmla="*/ 407155 w 1416191"/>
                  <a:gd name="connsiteY1127" fmla="*/ 2163232 h 2719086"/>
                  <a:gd name="connsiteX1128" fmla="*/ 408571 w 1416191"/>
                  <a:gd name="connsiteY1128" fmla="*/ 2164648 h 2719086"/>
                  <a:gd name="connsiteX1129" fmla="*/ 409988 w 1416191"/>
                  <a:gd name="connsiteY1129" fmla="*/ 2184474 h 2719086"/>
                  <a:gd name="connsiteX1130" fmla="*/ 363253 w 1416191"/>
                  <a:gd name="connsiteY1130" fmla="*/ 2207134 h 2719086"/>
                  <a:gd name="connsiteX1131" fmla="*/ 405739 w 1416191"/>
                  <a:gd name="connsiteY1131" fmla="*/ 2163232 h 2719086"/>
                  <a:gd name="connsiteX1132" fmla="*/ 357588 w 1416191"/>
                  <a:gd name="connsiteY1132" fmla="*/ 2211382 h 2719086"/>
                  <a:gd name="connsiteX1133" fmla="*/ 350507 w 1416191"/>
                  <a:gd name="connsiteY1133" fmla="*/ 2214215 h 2719086"/>
                  <a:gd name="connsiteX1134" fmla="*/ 381664 w 1416191"/>
                  <a:gd name="connsiteY1134" fmla="*/ 2139156 h 2719086"/>
                  <a:gd name="connsiteX1135" fmla="*/ 405739 w 1416191"/>
                  <a:gd name="connsiteY1135" fmla="*/ 2163232 h 2719086"/>
                  <a:gd name="connsiteX1136" fmla="*/ 402907 w 1416191"/>
                  <a:gd name="connsiteY1136" fmla="*/ 2013115 h 2719086"/>
                  <a:gd name="connsiteX1137" fmla="*/ 405739 w 1416191"/>
                  <a:gd name="connsiteY1137" fmla="*/ 2078260 h 2719086"/>
                  <a:gd name="connsiteX1138" fmla="*/ 381664 w 1416191"/>
                  <a:gd name="connsiteY1138" fmla="*/ 2134908 h 2719086"/>
                  <a:gd name="connsiteX1139" fmla="*/ 350507 w 1416191"/>
                  <a:gd name="connsiteY1139" fmla="*/ 2103751 h 2719086"/>
                  <a:gd name="connsiteX1140" fmla="*/ 349091 w 1416191"/>
                  <a:gd name="connsiteY1140" fmla="*/ 2006034 h 2719086"/>
                  <a:gd name="connsiteX1141" fmla="*/ 402907 w 1416191"/>
                  <a:gd name="connsiteY1141" fmla="*/ 2013115 h 2719086"/>
                  <a:gd name="connsiteX1142" fmla="*/ 407155 w 1416191"/>
                  <a:gd name="connsiteY1142" fmla="*/ 2160399 h 2719086"/>
                  <a:gd name="connsiteX1143" fmla="*/ 383080 w 1416191"/>
                  <a:gd name="connsiteY1143" fmla="*/ 2136324 h 2719086"/>
                  <a:gd name="connsiteX1144" fmla="*/ 405739 w 1416191"/>
                  <a:gd name="connsiteY1144" fmla="*/ 2082508 h 2719086"/>
                  <a:gd name="connsiteX1145" fmla="*/ 407155 w 1416191"/>
                  <a:gd name="connsiteY1145" fmla="*/ 2160399 h 2719086"/>
                  <a:gd name="connsiteX1146" fmla="*/ 407155 w 1416191"/>
                  <a:gd name="connsiteY1146" fmla="*/ 2160399 h 2719086"/>
                  <a:gd name="connsiteX1147" fmla="*/ 429814 w 1416191"/>
                  <a:gd name="connsiteY1147" fmla="*/ 2015948 h 2719086"/>
                  <a:gd name="connsiteX1148" fmla="*/ 405739 w 1416191"/>
                  <a:gd name="connsiteY1148" fmla="*/ 2072595 h 2719086"/>
                  <a:gd name="connsiteX1149" fmla="*/ 402907 w 1416191"/>
                  <a:gd name="connsiteY1149" fmla="*/ 2011699 h 2719086"/>
                  <a:gd name="connsiteX1150" fmla="*/ 429814 w 1416191"/>
                  <a:gd name="connsiteY1150" fmla="*/ 2015948 h 2719086"/>
                  <a:gd name="connsiteX1151" fmla="*/ 400074 w 1416191"/>
                  <a:gd name="connsiteY1151" fmla="*/ 1945138 h 2719086"/>
                  <a:gd name="connsiteX1152" fmla="*/ 400074 w 1416191"/>
                  <a:gd name="connsiteY1152" fmla="*/ 1945138 h 2719086"/>
                  <a:gd name="connsiteX1153" fmla="*/ 402907 w 1416191"/>
                  <a:gd name="connsiteY1153" fmla="*/ 2011699 h 2719086"/>
                  <a:gd name="connsiteX1154" fmla="*/ 349091 w 1416191"/>
                  <a:gd name="connsiteY1154" fmla="*/ 2004618 h 2719086"/>
                  <a:gd name="connsiteX1155" fmla="*/ 347675 w 1416191"/>
                  <a:gd name="connsiteY1155" fmla="*/ 1923895 h 2719086"/>
                  <a:gd name="connsiteX1156" fmla="*/ 466635 w 1416191"/>
                  <a:gd name="connsiteY1156" fmla="*/ 1929560 h 2719086"/>
                  <a:gd name="connsiteX1157" fmla="*/ 448225 w 1416191"/>
                  <a:gd name="connsiteY1157" fmla="*/ 1973462 h 2719086"/>
                  <a:gd name="connsiteX1158" fmla="*/ 400074 w 1416191"/>
                  <a:gd name="connsiteY1158" fmla="*/ 1945138 h 2719086"/>
                  <a:gd name="connsiteX1159" fmla="*/ 347675 w 1416191"/>
                  <a:gd name="connsiteY1159" fmla="*/ 2103751 h 2719086"/>
                  <a:gd name="connsiteX1160" fmla="*/ 349091 w 1416191"/>
                  <a:gd name="connsiteY1160" fmla="*/ 2214215 h 2719086"/>
                  <a:gd name="connsiteX1161" fmla="*/ 349091 w 1416191"/>
                  <a:gd name="connsiteY1161" fmla="*/ 2214215 h 2719086"/>
                  <a:gd name="connsiteX1162" fmla="*/ 349091 w 1416191"/>
                  <a:gd name="connsiteY1162" fmla="*/ 2218463 h 2719086"/>
                  <a:gd name="connsiteX1163" fmla="*/ 312270 w 1416191"/>
                  <a:gd name="connsiteY1163" fmla="*/ 2253868 h 2719086"/>
                  <a:gd name="connsiteX1164" fmla="*/ 259871 w 1416191"/>
                  <a:gd name="connsiteY1164" fmla="*/ 2229793 h 2719086"/>
                  <a:gd name="connsiteX1165" fmla="*/ 303773 w 1416191"/>
                  <a:gd name="connsiteY1165" fmla="*/ 2058433 h 2719086"/>
                  <a:gd name="connsiteX1166" fmla="*/ 347675 w 1416191"/>
                  <a:gd name="connsiteY1166" fmla="*/ 2103751 h 2719086"/>
                  <a:gd name="connsiteX1167" fmla="*/ 380247 w 1416191"/>
                  <a:gd name="connsiteY1167" fmla="*/ 2137740 h 2719086"/>
                  <a:gd name="connsiteX1168" fmla="*/ 350507 w 1416191"/>
                  <a:gd name="connsiteY1168" fmla="*/ 2208550 h 2719086"/>
                  <a:gd name="connsiteX1169" fmla="*/ 349091 w 1416191"/>
                  <a:gd name="connsiteY1169" fmla="*/ 2106584 h 2719086"/>
                  <a:gd name="connsiteX1170" fmla="*/ 380247 w 1416191"/>
                  <a:gd name="connsiteY1170" fmla="*/ 2137740 h 2719086"/>
                  <a:gd name="connsiteX1171" fmla="*/ 507705 w 1416191"/>
                  <a:gd name="connsiteY1171" fmla="*/ 1829010 h 2719086"/>
                  <a:gd name="connsiteX1172" fmla="*/ 466635 w 1416191"/>
                  <a:gd name="connsiteY1172" fmla="*/ 1926727 h 2719086"/>
                  <a:gd name="connsiteX1173" fmla="*/ 346259 w 1416191"/>
                  <a:gd name="connsiteY1173" fmla="*/ 1921063 h 2719086"/>
                  <a:gd name="connsiteX1174" fmla="*/ 344843 w 1416191"/>
                  <a:gd name="connsiteY1174" fmla="*/ 1756785 h 2719086"/>
                  <a:gd name="connsiteX1175" fmla="*/ 526115 w 1416191"/>
                  <a:gd name="connsiteY1175" fmla="*/ 1727045 h 2719086"/>
                  <a:gd name="connsiteX1176" fmla="*/ 507705 w 1416191"/>
                  <a:gd name="connsiteY1176" fmla="*/ 1829010 h 2719086"/>
                  <a:gd name="connsiteX1177" fmla="*/ 344843 w 1416191"/>
                  <a:gd name="connsiteY1177" fmla="*/ 1922479 h 2719086"/>
                  <a:gd name="connsiteX1178" fmla="*/ 346259 w 1416191"/>
                  <a:gd name="connsiteY1178" fmla="*/ 2003202 h 2719086"/>
                  <a:gd name="connsiteX1179" fmla="*/ 291027 w 1416191"/>
                  <a:gd name="connsiteY1179" fmla="*/ 1996121 h 2719086"/>
                  <a:gd name="connsiteX1180" fmla="*/ 264120 w 1416191"/>
                  <a:gd name="connsiteY1180" fmla="*/ 1918231 h 2719086"/>
                  <a:gd name="connsiteX1181" fmla="*/ 344843 w 1416191"/>
                  <a:gd name="connsiteY1181" fmla="*/ 1922479 h 2719086"/>
                  <a:gd name="connsiteX1182" fmla="*/ 289611 w 1416191"/>
                  <a:gd name="connsiteY1182" fmla="*/ 1997537 h 2719086"/>
                  <a:gd name="connsiteX1183" fmla="*/ 305189 w 1416191"/>
                  <a:gd name="connsiteY1183" fmla="*/ 2042855 h 2719086"/>
                  <a:gd name="connsiteX1184" fmla="*/ 302357 w 1416191"/>
                  <a:gd name="connsiteY1184" fmla="*/ 2055601 h 2719086"/>
                  <a:gd name="connsiteX1185" fmla="*/ 238628 w 1416191"/>
                  <a:gd name="connsiteY1185" fmla="*/ 1991872 h 2719086"/>
                  <a:gd name="connsiteX1186" fmla="*/ 289611 w 1416191"/>
                  <a:gd name="connsiteY1186" fmla="*/ 1997537 h 2719086"/>
                  <a:gd name="connsiteX1187" fmla="*/ 350507 w 1416191"/>
                  <a:gd name="connsiteY1187" fmla="*/ 2219879 h 2719086"/>
                  <a:gd name="connsiteX1188" fmla="*/ 359005 w 1416191"/>
                  <a:gd name="connsiteY1188" fmla="*/ 2211382 h 2719086"/>
                  <a:gd name="connsiteX1189" fmla="*/ 409988 w 1416191"/>
                  <a:gd name="connsiteY1189" fmla="*/ 2185891 h 2719086"/>
                  <a:gd name="connsiteX1190" fmla="*/ 414236 w 1416191"/>
                  <a:gd name="connsiteY1190" fmla="*/ 2299186 h 2719086"/>
                  <a:gd name="connsiteX1191" fmla="*/ 349091 w 1416191"/>
                  <a:gd name="connsiteY1191" fmla="*/ 2269446 h 2719086"/>
                  <a:gd name="connsiteX1192" fmla="*/ 350507 w 1416191"/>
                  <a:gd name="connsiteY1192" fmla="*/ 2219879 h 2719086"/>
                  <a:gd name="connsiteX1193" fmla="*/ 531780 w 1416191"/>
                  <a:gd name="connsiteY1193" fmla="*/ 2037191 h 2719086"/>
                  <a:gd name="connsiteX1194" fmla="*/ 409988 w 1416191"/>
                  <a:gd name="connsiteY1194" fmla="*/ 2158983 h 2719086"/>
                  <a:gd name="connsiteX1195" fmla="*/ 407155 w 1416191"/>
                  <a:gd name="connsiteY1195" fmla="*/ 2079676 h 2719086"/>
                  <a:gd name="connsiteX1196" fmla="*/ 432647 w 1416191"/>
                  <a:gd name="connsiteY1196" fmla="*/ 2018780 h 2719086"/>
                  <a:gd name="connsiteX1197" fmla="*/ 533196 w 1416191"/>
                  <a:gd name="connsiteY1197" fmla="*/ 2031526 h 2719086"/>
                  <a:gd name="connsiteX1198" fmla="*/ 531780 w 1416191"/>
                  <a:gd name="connsiteY1198" fmla="*/ 2037191 h 2719086"/>
                  <a:gd name="connsiteX1199" fmla="*/ 298108 w 1416191"/>
                  <a:gd name="connsiteY1199" fmla="*/ 2498869 h 2719086"/>
                  <a:gd name="connsiteX1200" fmla="*/ 334929 w 1416191"/>
                  <a:gd name="connsiteY1200" fmla="*/ 2614996 h 2719086"/>
                  <a:gd name="connsiteX1201" fmla="*/ 223050 w 1416191"/>
                  <a:gd name="connsiteY1201" fmla="*/ 2636239 h 2719086"/>
                  <a:gd name="connsiteX1202" fmla="*/ 298108 w 1416191"/>
                  <a:gd name="connsiteY1202" fmla="*/ 2498869 h 2719086"/>
                  <a:gd name="connsiteX1203" fmla="*/ 417069 w 1416191"/>
                  <a:gd name="connsiteY1203" fmla="*/ 2307683 h 2719086"/>
                  <a:gd name="connsiteX1204" fmla="*/ 342010 w 1416191"/>
                  <a:gd name="connsiteY1204" fmla="*/ 2378493 h 2719086"/>
                  <a:gd name="connsiteX1205" fmla="*/ 344843 w 1416191"/>
                  <a:gd name="connsiteY1205" fmla="*/ 2314764 h 2719086"/>
                  <a:gd name="connsiteX1206" fmla="*/ 417069 w 1416191"/>
                  <a:gd name="connsiteY1206" fmla="*/ 2307683 h 2719086"/>
                  <a:gd name="connsiteX1207" fmla="*/ 1286610 w 1416191"/>
                  <a:gd name="connsiteY1207" fmla="*/ 989209 h 2719086"/>
                  <a:gd name="connsiteX1208" fmla="*/ 1286610 w 1416191"/>
                  <a:gd name="connsiteY1208" fmla="*/ 992042 h 2719086"/>
                  <a:gd name="connsiteX1209" fmla="*/ 1098257 w 1416191"/>
                  <a:gd name="connsiteY1209" fmla="*/ 1000539 h 2719086"/>
                  <a:gd name="connsiteX1210" fmla="*/ 1118083 w 1416191"/>
                  <a:gd name="connsiteY1210" fmla="*/ 972215 h 2719086"/>
                  <a:gd name="connsiteX1211" fmla="*/ 1286610 w 1416191"/>
                  <a:gd name="connsiteY1211" fmla="*/ 989209 h 2719086"/>
                  <a:gd name="connsiteX1212" fmla="*/ 1412651 w 1416191"/>
                  <a:gd name="connsiteY1212" fmla="*/ 764035 h 2719086"/>
                  <a:gd name="connsiteX1213" fmla="*/ 1314934 w 1416191"/>
                  <a:gd name="connsiteY1213" fmla="*/ 841926 h 2719086"/>
                  <a:gd name="connsiteX1214" fmla="*/ 1314934 w 1416191"/>
                  <a:gd name="connsiteY1214" fmla="*/ 841926 h 2719086"/>
                  <a:gd name="connsiteX1215" fmla="*/ 1286610 w 1416191"/>
                  <a:gd name="connsiteY1215" fmla="*/ 986377 h 2719086"/>
                  <a:gd name="connsiteX1216" fmla="*/ 1118083 w 1416191"/>
                  <a:gd name="connsiteY1216" fmla="*/ 969383 h 2719086"/>
                  <a:gd name="connsiteX1217" fmla="*/ 1239876 w 1416191"/>
                  <a:gd name="connsiteY1217" fmla="*/ 792359 h 2719086"/>
                  <a:gd name="connsiteX1218" fmla="*/ 1412651 w 1416191"/>
                  <a:gd name="connsiteY1218" fmla="*/ 764035 h 2719086"/>
                  <a:gd name="connsiteX1219" fmla="*/ 220218 w 1416191"/>
                  <a:gd name="connsiteY1219" fmla="*/ 693226 h 2719086"/>
                  <a:gd name="connsiteX1220" fmla="*/ 157905 w 1416191"/>
                  <a:gd name="connsiteY1220" fmla="*/ 730046 h 2719086"/>
                  <a:gd name="connsiteX1221" fmla="*/ 142327 w 1416191"/>
                  <a:gd name="connsiteY1221" fmla="*/ 653572 h 2719086"/>
                  <a:gd name="connsiteX1222" fmla="*/ 220218 w 1416191"/>
                  <a:gd name="connsiteY1222" fmla="*/ 693226 h 2719086"/>
                  <a:gd name="connsiteX1223" fmla="*/ 156489 w 1416191"/>
                  <a:gd name="connsiteY1223" fmla="*/ 732879 h 2719086"/>
                  <a:gd name="connsiteX1224" fmla="*/ 166402 w 1416191"/>
                  <a:gd name="connsiteY1224" fmla="*/ 782445 h 2719086"/>
                  <a:gd name="connsiteX1225" fmla="*/ 91345 w 1416191"/>
                  <a:gd name="connsiteY1225" fmla="*/ 771116 h 2719086"/>
                  <a:gd name="connsiteX1226" fmla="*/ 156489 w 1416191"/>
                  <a:gd name="connsiteY1226" fmla="*/ 732879 h 2719086"/>
                  <a:gd name="connsiteX1227" fmla="*/ 282530 w 1416191"/>
                  <a:gd name="connsiteY1227" fmla="*/ 800856 h 2719086"/>
                  <a:gd name="connsiteX1228" fmla="*/ 194726 w 1416191"/>
                  <a:gd name="connsiteY1228" fmla="*/ 908486 h 2719086"/>
                  <a:gd name="connsiteX1229" fmla="*/ 169235 w 1416191"/>
                  <a:gd name="connsiteY1229" fmla="*/ 785278 h 2719086"/>
                  <a:gd name="connsiteX1230" fmla="*/ 282530 w 1416191"/>
                  <a:gd name="connsiteY1230" fmla="*/ 800856 h 2719086"/>
                  <a:gd name="connsiteX1231" fmla="*/ 375999 w 1416191"/>
                  <a:gd name="connsiteY1231" fmla="*/ 1609501 h 2719086"/>
                  <a:gd name="connsiteX1232" fmla="*/ 374583 w 1416191"/>
                  <a:gd name="connsiteY1232" fmla="*/ 1613750 h 2719086"/>
                  <a:gd name="connsiteX1233" fmla="*/ 342010 w 1416191"/>
                  <a:gd name="connsiteY1233" fmla="*/ 1596755 h 2719086"/>
                  <a:gd name="connsiteX1234" fmla="*/ 375999 w 1416191"/>
                  <a:gd name="connsiteY1234" fmla="*/ 1609501 h 2719086"/>
                  <a:gd name="connsiteX1235" fmla="*/ 438311 w 1416191"/>
                  <a:gd name="connsiteY1235" fmla="*/ 1649154 h 2719086"/>
                  <a:gd name="connsiteX1236" fmla="*/ 339178 w 1416191"/>
                  <a:gd name="connsiteY1236" fmla="*/ 1697305 h 2719086"/>
                  <a:gd name="connsiteX1237" fmla="*/ 375999 w 1416191"/>
                  <a:gd name="connsiteY1237" fmla="*/ 1615166 h 2719086"/>
                  <a:gd name="connsiteX1238" fmla="*/ 438311 w 1416191"/>
                  <a:gd name="connsiteY1238" fmla="*/ 1649154 h 2719086"/>
                  <a:gd name="connsiteX1239" fmla="*/ 281114 w 1416191"/>
                  <a:gd name="connsiteY1239" fmla="*/ 2436556 h 2719086"/>
                  <a:gd name="connsiteX1240" fmla="*/ 281114 w 1416191"/>
                  <a:gd name="connsiteY1240" fmla="*/ 2436556 h 2719086"/>
                  <a:gd name="connsiteX1241" fmla="*/ 281114 w 1416191"/>
                  <a:gd name="connsiteY1241" fmla="*/ 2436556 h 2719086"/>
                  <a:gd name="connsiteX1242" fmla="*/ 281114 w 1416191"/>
                  <a:gd name="connsiteY1242" fmla="*/ 2436556 h 2719086"/>
                  <a:gd name="connsiteX1243" fmla="*/ 536029 w 1416191"/>
                  <a:gd name="connsiteY1243" fmla="*/ 2027277 h 2719086"/>
                  <a:gd name="connsiteX1244" fmla="*/ 536029 w 1416191"/>
                  <a:gd name="connsiteY1244" fmla="*/ 2027277 h 2719086"/>
                  <a:gd name="connsiteX1245" fmla="*/ 536029 w 1416191"/>
                  <a:gd name="connsiteY1245" fmla="*/ 2027277 h 2719086"/>
                  <a:gd name="connsiteX1246" fmla="*/ 536029 w 1416191"/>
                  <a:gd name="connsiteY1246" fmla="*/ 2027277 h 2719086"/>
                  <a:gd name="connsiteX1247" fmla="*/ 662069 w 1416191"/>
                  <a:gd name="connsiteY1247" fmla="*/ 1847421 h 2719086"/>
                  <a:gd name="connsiteX1248" fmla="*/ 704555 w 1416191"/>
                  <a:gd name="connsiteY1248" fmla="*/ 1847421 h 2719086"/>
                  <a:gd name="connsiteX1249" fmla="*/ 690393 w 1416191"/>
                  <a:gd name="connsiteY1249" fmla="*/ 1946554 h 2719086"/>
                  <a:gd name="connsiteX1250" fmla="*/ 662069 w 1416191"/>
                  <a:gd name="connsiteY1250" fmla="*/ 1847421 h 2719086"/>
                  <a:gd name="connsiteX1251" fmla="*/ 1310685 w 1416191"/>
                  <a:gd name="connsiteY1251" fmla="*/ 992042 h 2719086"/>
                  <a:gd name="connsiteX1252" fmla="*/ 1288026 w 1416191"/>
                  <a:gd name="connsiteY1252" fmla="*/ 993458 h 2719086"/>
                  <a:gd name="connsiteX1253" fmla="*/ 1288026 w 1416191"/>
                  <a:gd name="connsiteY1253" fmla="*/ 990626 h 2719086"/>
                  <a:gd name="connsiteX1254" fmla="*/ 1310685 w 1416191"/>
                  <a:gd name="connsiteY1254" fmla="*/ 992042 h 2719086"/>
                  <a:gd name="connsiteX1255" fmla="*/ 890076 w 1416191"/>
                  <a:gd name="connsiteY1255" fmla="*/ 452473 h 2719086"/>
                  <a:gd name="connsiteX1256" fmla="*/ 941059 w 1416191"/>
                  <a:gd name="connsiteY1256" fmla="*/ 377415 h 2719086"/>
                  <a:gd name="connsiteX1257" fmla="*/ 950973 w 1416191"/>
                  <a:gd name="connsiteY1257" fmla="*/ 483629 h 2719086"/>
                  <a:gd name="connsiteX1258" fmla="*/ 890076 w 1416191"/>
                  <a:gd name="connsiteY1258" fmla="*/ 452473 h 2719086"/>
                  <a:gd name="connsiteX1259" fmla="*/ 473716 w 1416191"/>
                  <a:gd name="connsiteY1259" fmla="*/ 2384157 h 2719086"/>
                  <a:gd name="connsiteX1260" fmla="*/ 401490 w 1416191"/>
                  <a:gd name="connsiteY1260" fmla="*/ 2430892 h 2719086"/>
                  <a:gd name="connsiteX1261" fmla="*/ 377415 w 1416191"/>
                  <a:gd name="connsiteY1261" fmla="*/ 2430892 h 2719086"/>
                  <a:gd name="connsiteX1262" fmla="*/ 473716 w 1416191"/>
                  <a:gd name="connsiteY1262" fmla="*/ 2384157 h 2719086"/>
                  <a:gd name="connsiteX1263" fmla="*/ 851839 w 1416191"/>
                  <a:gd name="connsiteY1263" fmla="*/ 1642073 h 2719086"/>
                  <a:gd name="connsiteX1264" fmla="*/ 959470 w 1416191"/>
                  <a:gd name="connsiteY1264" fmla="*/ 1524529 h 2719086"/>
                  <a:gd name="connsiteX1265" fmla="*/ 880163 w 1416191"/>
                  <a:gd name="connsiteY1265" fmla="*/ 1651987 h 2719086"/>
                  <a:gd name="connsiteX1266" fmla="*/ 851839 w 1416191"/>
                  <a:gd name="connsiteY1266" fmla="*/ 1642073 h 2719086"/>
                  <a:gd name="connsiteX1267" fmla="*/ 1111002 w 1416191"/>
                  <a:gd name="connsiteY1267" fmla="*/ 1356003 h 2719086"/>
                  <a:gd name="connsiteX1268" fmla="*/ 973632 w 1416191"/>
                  <a:gd name="connsiteY1268" fmla="*/ 1506119 h 2719086"/>
                  <a:gd name="connsiteX1269" fmla="*/ 1028863 w 1416191"/>
                  <a:gd name="connsiteY1269" fmla="*/ 1416899 h 2719086"/>
                  <a:gd name="connsiteX1270" fmla="*/ 1111002 w 1416191"/>
                  <a:gd name="connsiteY1270" fmla="*/ 1356003 h 271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Lst>
                <a:rect l="l" t="t" r="r" b="b"/>
                <a:pathLst>
                  <a:path w="1416191" h="2719086">
                    <a:moveTo>
                      <a:pt x="1330512" y="660653"/>
                    </a:moveTo>
                    <a:lnTo>
                      <a:pt x="1330512" y="660653"/>
                    </a:lnTo>
                    <a:lnTo>
                      <a:pt x="1125164" y="676231"/>
                    </a:lnTo>
                    <a:lnTo>
                      <a:pt x="1123748" y="653572"/>
                    </a:lnTo>
                    <a:lnTo>
                      <a:pt x="1157737" y="643659"/>
                    </a:lnTo>
                    <a:lnTo>
                      <a:pt x="1115251" y="543109"/>
                    </a:lnTo>
                    <a:lnTo>
                      <a:pt x="1115251" y="541693"/>
                    </a:lnTo>
                    <a:lnTo>
                      <a:pt x="1122332" y="650740"/>
                    </a:lnTo>
                    <a:lnTo>
                      <a:pt x="1081262" y="663486"/>
                    </a:lnTo>
                    <a:lnTo>
                      <a:pt x="1081262" y="618167"/>
                    </a:lnTo>
                    <a:lnTo>
                      <a:pt x="1081262" y="616751"/>
                    </a:lnTo>
                    <a:lnTo>
                      <a:pt x="1067100" y="667734"/>
                    </a:lnTo>
                    <a:lnTo>
                      <a:pt x="1014701" y="683312"/>
                    </a:lnTo>
                    <a:lnTo>
                      <a:pt x="963718" y="687560"/>
                    </a:lnTo>
                    <a:lnTo>
                      <a:pt x="766868" y="632329"/>
                    </a:lnTo>
                    <a:lnTo>
                      <a:pt x="888660" y="453889"/>
                    </a:lnTo>
                    <a:lnTo>
                      <a:pt x="953805" y="486462"/>
                    </a:lnTo>
                    <a:lnTo>
                      <a:pt x="953805" y="486462"/>
                    </a:lnTo>
                    <a:lnTo>
                      <a:pt x="942475" y="371750"/>
                    </a:lnTo>
                    <a:lnTo>
                      <a:pt x="942475" y="371750"/>
                    </a:lnTo>
                    <a:lnTo>
                      <a:pt x="887244" y="451057"/>
                    </a:lnTo>
                    <a:lnTo>
                      <a:pt x="795192" y="404322"/>
                    </a:lnTo>
                    <a:lnTo>
                      <a:pt x="793775" y="356172"/>
                    </a:lnTo>
                    <a:lnTo>
                      <a:pt x="907071" y="289611"/>
                    </a:lnTo>
                    <a:lnTo>
                      <a:pt x="907071" y="289611"/>
                    </a:lnTo>
                    <a:lnTo>
                      <a:pt x="660653" y="149408"/>
                    </a:lnTo>
                    <a:lnTo>
                      <a:pt x="659237" y="149408"/>
                    </a:lnTo>
                    <a:lnTo>
                      <a:pt x="735712" y="241460"/>
                    </a:lnTo>
                    <a:lnTo>
                      <a:pt x="514786" y="167819"/>
                    </a:lnTo>
                    <a:lnTo>
                      <a:pt x="570017" y="63020"/>
                    </a:lnTo>
                    <a:lnTo>
                      <a:pt x="570017" y="61604"/>
                    </a:lnTo>
                    <a:lnTo>
                      <a:pt x="475132" y="155073"/>
                    </a:lnTo>
                    <a:lnTo>
                      <a:pt x="343426" y="111171"/>
                    </a:lnTo>
                    <a:lnTo>
                      <a:pt x="303773" y="98425"/>
                    </a:lnTo>
                    <a:lnTo>
                      <a:pt x="350507" y="10621"/>
                    </a:lnTo>
                    <a:lnTo>
                      <a:pt x="350507" y="10621"/>
                    </a:lnTo>
                    <a:lnTo>
                      <a:pt x="262704" y="57356"/>
                    </a:lnTo>
                    <a:lnTo>
                      <a:pt x="262704" y="57356"/>
                    </a:lnTo>
                    <a:lnTo>
                      <a:pt x="264120" y="87096"/>
                    </a:lnTo>
                    <a:lnTo>
                      <a:pt x="204640" y="67269"/>
                    </a:lnTo>
                    <a:lnTo>
                      <a:pt x="204640" y="67269"/>
                    </a:lnTo>
                    <a:lnTo>
                      <a:pt x="40362" y="147992"/>
                    </a:lnTo>
                    <a:lnTo>
                      <a:pt x="40362" y="147992"/>
                    </a:lnTo>
                    <a:lnTo>
                      <a:pt x="41778" y="149408"/>
                    </a:lnTo>
                    <a:lnTo>
                      <a:pt x="206056" y="68685"/>
                    </a:lnTo>
                    <a:lnTo>
                      <a:pt x="265536" y="88512"/>
                    </a:lnTo>
                    <a:lnTo>
                      <a:pt x="266952" y="167819"/>
                    </a:lnTo>
                    <a:lnTo>
                      <a:pt x="201807" y="292443"/>
                    </a:lnTo>
                    <a:lnTo>
                      <a:pt x="121084" y="266952"/>
                    </a:lnTo>
                    <a:lnTo>
                      <a:pt x="186229" y="320767"/>
                    </a:lnTo>
                    <a:lnTo>
                      <a:pt x="130998" y="425565"/>
                    </a:lnTo>
                    <a:lnTo>
                      <a:pt x="101258" y="383079"/>
                    </a:lnTo>
                    <a:lnTo>
                      <a:pt x="101258" y="383079"/>
                    </a:lnTo>
                    <a:lnTo>
                      <a:pt x="10621" y="630913"/>
                    </a:lnTo>
                    <a:lnTo>
                      <a:pt x="10621" y="630913"/>
                    </a:lnTo>
                    <a:lnTo>
                      <a:pt x="189062" y="510537"/>
                    </a:lnTo>
                    <a:lnTo>
                      <a:pt x="288195" y="653572"/>
                    </a:lnTo>
                    <a:lnTo>
                      <a:pt x="225883" y="690393"/>
                    </a:lnTo>
                    <a:lnTo>
                      <a:pt x="143744" y="647907"/>
                    </a:lnTo>
                    <a:lnTo>
                      <a:pt x="143744" y="647907"/>
                    </a:lnTo>
                    <a:lnTo>
                      <a:pt x="160738" y="728630"/>
                    </a:lnTo>
                    <a:lnTo>
                      <a:pt x="89928" y="771116"/>
                    </a:lnTo>
                    <a:lnTo>
                      <a:pt x="172067" y="782445"/>
                    </a:lnTo>
                    <a:lnTo>
                      <a:pt x="198975" y="909903"/>
                    </a:lnTo>
                    <a:lnTo>
                      <a:pt x="198975" y="909903"/>
                    </a:lnTo>
                    <a:lnTo>
                      <a:pt x="289611" y="798024"/>
                    </a:lnTo>
                    <a:lnTo>
                      <a:pt x="349091" y="806521"/>
                    </a:lnTo>
                    <a:lnTo>
                      <a:pt x="344843" y="986377"/>
                    </a:lnTo>
                    <a:lnTo>
                      <a:pt x="344843" y="986377"/>
                    </a:lnTo>
                    <a:lnTo>
                      <a:pt x="584179" y="880163"/>
                    </a:lnTo>
                    <a:lnTo>
                      <a:pt x="598341" y="986377"/>
                    </a:lnTo>
                    <a:lnTo>
                      <a:pt x="561520" y="1020365"/>
                    </a:lnTo>
                    <a:lnTo>
                      <a:pt x="241461" y="1033111"/>
                    </a:lnTo>
                    <a:lnTo>
                      <a:pt x="241461" y="1033111"/>
                    </a:lnTo>
                    <a:lnTo>
                      <a:pt x="353340" y="1126580"/>
                    </a:lnTo>
                    <a:lnTo>
                      <a:pt x="422733" y="1147823"/>
                    </a:lnTo>
                    <a:lnTo>
                      <a:pt x="361837" y="1204470"/>
                    </a:lnTo>
                    <a:lnTo>
                      <a:pt x="361837" y="1204470"/>
                    </a:lnTo>
                    <a:lnTo>
                      <a:pt x="363253" y="1205886"/>
                    </a:lnTo>
                    <a:lnTo>
                      <a:pt x="449641" y="1156320"/>
                    </a:lnTo>
                    <a:lnTo>
                      <a:pt x="572850" y="1193141"/>
                    </a:lnTo>
                    <a:lnTo>
                      <a:pt x="553023" y="1238459"/>
                    </a:lnTo>
                    <a:lnTo>
                      <a:pt x="449641" y="1288026"/>
                    </a:lnTo>
                    <a:lnTo>
                      <a:pt x="368918" y="1330511"/>
                    </a:lnTo>
                    <a:lnTo>
                      <a:pt x="368918" y="1330511"/>
                    </a:lnTo>
                    <a:lnTo>
                      <a:pt x="336345" y="1463633"/>
                    </a:lnTo>
                    <a:lnTo>
                      <a:pt x="336345" y="1463633"/>
                    </a:lnTo>
                    <a:lnTo>
                      <a:pt x="435479" y="1497622"/>
                    </a:lnTo>
                    <a:lnTo>
                      <a:pt x="385912" y="1605252"/>
                    </a:lnTo>
                    <a:lnTo>
                      <a:pt x="333513" y="1584010"/>
                    </a:lnTo>
                    <a:lnTo>
                      <a:pt x="333513" y="1584010"/>
                    </a:lnTo>
                    <a:lnTo>
                      <a:pt x="332097" y="1585426"/>
                    </a:lnTo>
                    <a:lnTo>
                      <a:pt x="381664" y="1612333"/>
                    </a:lnTo>
                    <a:lnTo>
                      <a:pt x="342010" y="1698721"/>
                    </a:lnTo>
                    <a:lnTo>
                      <a:pt x="342010" y="1698721"/>
                    </a:lnTo>
                    <a:lnTo>
                      <a:pt x="448225" y="1646322"/>
                    </a:lnTo>
                    <a:lnTo>
                      <a:pt x="509121" y="1678894"/>
                    </a:lnTo>
                    <a:lnTo>
                      <a:pt x="509121" y="1678894"/>
                    </a:lnTo>
                    <a:lnTo>
                      <a:pt x="544526" y="1663316"/>
                    </a:lnTo>
                    <a:lnTo>
                      <a:pt x="534612" y="1719964"/>
                    </a:lnTo>
                    <a:lnTo>
                      <a:pt x="350507" y="1751120"/>
                    </a:lnTo>
                    <a:lnTo>
                      <a:pt x="350507" y="1751120"/>
                    </a:lnTo>
                    <a:lnTo>
                      <a:pt x="351924" y="1916814"/>
                    </a:lnTo>
                    <a:lnTo>
                      <a:pt x="268368" y="1912566"/>
                    </a:lnTo>
                    <a:lnTo>
                      <a:pt x="268368" y="1912566"/>
                    </a:lnTo>
                    <a:lnTo>
                      <a:pt x="295276" y="1991872"/>
                    </a:lnTo>
                    <a:lnTo>
                      <a:pt x="240045" y="1984791"/>
                    </a:lnTo>
                    <a:lnTo>
                      <a:pt x="240045" y="1984791"/>
                    </a:lnTo>
                    <a:lnTo>
                      <a:pt x="308022" y="2054185"/>
                    </a:lnTo>
                    <a:lnTo>
                      <a:pt x="264120" y="2228376"/>
                    </a:lnTo>
                    <a:lnTo>
                      <a:pt x="264120" y="2228376"/>
                    </a:lnTo>
                    <a:lnTo>
                      <a:pt x="317935" y="2252451"/>
                    </a:lnTo>
                    <a:lnTo>
                      <a:pt x="249958" y="2319013"/>
                    </a:lnTo>
                    <a:lnTo>
                      <a:pt x="249958" y="2319013"/>
                    </a:lnTo>
                    <a:lnTo>
                      <a:pt x="285363" y="2429475"/>
                    </a:lnTo>
                    <a:lnTo>
                      <a:pt x="164986" y="2432308"/>
                    </a:lnTo>
                    <a:lnTo>
                      <a:pt x="164986" y="2432308"/>
                    </a:lnTo>
                    <a:lnTo>
                      <a:pt x="218802" y="2498869"/>
                    </a:lnTo>
                    <a:lnTo>
                      <a:pt x="218802" y="2498869"/>
                    </a:lnTo>
                    <a:lnTo>
                      <a:pt x="288195" y="2433724"/>
                    </a:lnTo>
                    <a:lnTo>
                      <a:pt x="306606" y="2490372"/>
                    </a:lnTo>
                    <a:lnTo>
                      <a:pt x="228715" y="2633407"/>
                    </a:lnTo>
                    <a:lnTo>
                      <a:pt x="228715" y="2633407"/>
                    </a:lnTo>
                    <a:lnTo>
                      <a:pt x="344843" y="2610748"/>
                    </a:lnTo>
                    <a:lnTo>
                      <a:pt x="356172" y="2648985"/>
                    </a:lnTo>
                    <a:lnTo>
                      <a:pt x="325016" y="2639072"/>
                    </a:lnTo>
                    <a:lnTo>
                      <a:pt x="223050" y="2637655"/>
                    </a:lnTo>
                    <a:lnTo>
                      <a:pt x="221634" y="2637655"/>
                    </a:lnTo>
                    <a:lnTo>
                      <a:pt x="366086" y="2708465"/>
                    </a:lnTo>
                    <a:lnTo>
                      <a:pt x="366086" y="2708465"/>
                    </a:lnTo>
                    <a:lnTo>
                      <a:pt x="350507" y="2657482"/>
                    </a:lnTo>
                    <a:lnTo>
                      <a:pt x="452473" y="2690055"/>
                    </a:lnTo>
                    <a:lnTo>
                      <a:pt x="452473" y="2690055"/>
                    </a:lnTo>
                    <a:lnTo>
                      <a:pt x="390161" y="2603667"/>
                    </a:lnTo>
                    <a:lnTo>
                      <a:pt x="390161" y="2603667"/>
                    </a:lnTo>
                    <a:lnTo>
                      <a:pt x="336345" y="2613580"/>
                    </a:lnTo>
                    <a:lnTo>
                      <a:pt x="299525" y="2494620"/>
                    </a:lnTo>
                    <a:lnTo>
                      <a:pt x="303773" y="2486123"/>
                    </a:lnTo>
                    <a:lnTo>
                      <a:pt x="330681" y="2573927"/>
                    </a:lnTo>
                    <a:lnTo>
                      <a:pt x="330681" y="2575343"/>
                    </a:lnTo>
                    <a:lnTo>
                      <a:pt x="337762" y="2449302"/>
                    </a:lnTo>
                    <a:lnTo>
                      <a:pt x="373167" y="2432308"/>
                    </a:lnTo>
                    <a:lnTo>
                      <a:pt x="401490" y="2430892"/>
                    </a:lnTo>
                    <a:lnTo>
                      <a:pt x="490710" y="2374244"/>
                    </a:lnTo>
                    <a:lnTo>
                      <a:pt x="490710" y="2374244"/>
                    </a:lnTo>
                    <a:lnTo>
                      <a:pt x="489294" y="2372828"/>
                    </a:lnTo>
                    <a:lnTo>
                      <a:pt x="371750" y="2430892"/>
                    </a:lnTo>
                    <a:lnTo>
                      <a:pt x="337762" y="2432308"/>
                    </a:lnTo>
                    <a:lnTo>
                      <a:pt x="340594" y="2381325"/>
                    </a:lnTo>
                    <a:lnTo>
                      <a:pt x="421317" y="2304851"/>
                    </a:lnTo>
                    <a:lnTo>
                      <a:pt x="421317" y="2304851"/>
                    </a:lnTo>
                    <a:lnTo>
                      <a:pt x="343426" y="2313348"/>
                    </a:lnTo>
                    <a:lnTo>
                      <a:pt x="346259" y="2272278"/>
                    </a:lnTo>
                    <a:lnTo>
                      <a:pt x="414236" y="2302018"/>
                    </a:lnTo>
                    <a:lnTo>
                      <a:pt x="414236" y="2302018"/>
                    </a:lnTo>
                    <a:lnTo>
                      <a:pt x="409988" y="2184474"/>
                    </a:lnTo>
                    <a:lnTo>
                      <a:pt x="421317" y="2178810"/>
                    </a:lnTo>
                    <a:lnTo>
                      <a:pt x="462387" y="2219879"/>
                    </a:lnTo>
                    <a:lnTo>
                      <a:pt x="462387" y="2219879"/>
                    </a:lnTo>
                    <a:lnTo>
                      <a:pt x="494959" y="2140572"/>
                    </a:lnTo>
                    <a:lnTo>
                      <a:pt x="494959" y="2140572"/>
                    </a:lnTo>
                    <a:lnTo>
                      <a:pt x="421317" y="2175977"/>
                    </a:lnTo>
                    <a:lnTo>
                      <a:pt x="408571" y="2163232"/>
                    </a:lnTo>
                    <a:lnTo>
                      <a:pt x="408571" y="2158983"/>
                    </a:lnTo>
                    <a:lnTo>
                      <a:pt x="533196" y="2035774"/>
                    </a:lnTo>
                    <a:lnTo>
                      <a:pt x="533196" y="2035774"/>
                    </a:lnTo>
                    <a:lnTo>
                      <a:pt x="534612" y="2027277"/>
                    </a:lnTo>
                    <a:lnTo>
                      <a:pt x="543110" y="2028693"/>
                    </a:lnTo>
                    <a:lnTo>
                      <a:pt x="544526" y="2028693"/>
                    </a:lnTo>
                    <a:lnTo>
                      <a:pt x="536029" y="2023029"/>
                    </a:lnTo>
                    <a:lnTo>
                      <a:pt x="550190" y="1930976"/>
                    </a:lnTo>
                    <a:lnTo>
                      <a:pt x="626665" y="1935225"/>
                    </a:lnTo>
                    <a:lnTo>
                      <a:pt x="626665" y="1935225"/>
                    </a:lnTo>
                    <a:lnTo>
                      <a:pt x="628081" y="1844589"/>
                    </a:lnTo>
                    <a:lnTo>
                      <a:pt x="660653" y="1844589"/>
                    </a:lnTo>
                    <a:lnTo>
                      <a:pt x="691810" y="1952219"/>
                    </a:lnTo>
                    <a:lnTo>
                      <a:pt x="691810" y="1953635"/>
                    </a:lnTo>
                    <a:lnTo>
                      <a:pt x="704555" y="1860167"/>
                    </a:lnTo>
                    <a:lnTo>
                      <a:pt x="660653" y="2555517"/>
                    </a:lnTo>
                    <a:lnTo>
                      <a:pt x="660653" y="2555517"/>
                    </a:lnTo>
                    <a:lnTo>
                      <a:pt x="662069" y="2555517"/>
                    </a:lnTo>
                    <a:lnTo>
                      <a:pt x="662069" y="2555517"/>
                    </a:lnTo>
                    <a:lnTo>
                      <a:pt x="720133" y="1626495"/>
                    </a:lnTo>
                    <a:lnTo>
                      <a:pt x="754122" y="1744039"/>
                    </a:lnTo>
                    <a:lnTo>
                      <a:pt x="713052" y="1789357"/>
                    </a:lnTo>
                    <a:lnTo>
                      <a:pt x="713052" y="1789357"/>
                    </a:lnTo>
                    <a:lnTo>
                      <a:pt x="772532" y="1800687"/>
                    </a:lnTo>
                    <a:lnTo>
                      <a:pt x="772532" y="1800687"/>
                    </a:lnTo>
                    <a:lnTo>
                      <a:pt x="756954" y="1744039"/>
                    </a:lnTo>
                    <a:lnTo>
                      <a:pt x="850423" y="1642073"/>
                    </a:lnTo>
                    <a:lnTo>
                      <a:pt x="880163" y="1651987"/>
                    </a:lnTo>
                    <a:lnTo>
                      <a:pt x="880163" y="1651987"/>
                    </a:lnTo>
                    <a:lnTo>
                      <a:pt x="966551" y="1513200"/>
                    </a:lnTo>
                    <a:lnTo>
                      <a:pt x="1119499" y="1346089"/>
                    </a:lnTo>
                    <a:lnTo>
                      <a:pt x="1119499" y="1346089"/>
                    </a:lnTo>
                    <a:lnTo>
                      <a:pt x="1118083" y="1344673"/>
                    </a:lnTo>
                    <a:lnTo>
                      <a:pt x="1027447" y="1412650"/>
                    </a:lnTo>
                    <a:lnTo>
                      <a:pt x="965135" y="1511784"/>
                    </a:lnTo>
                    <a:lnTo>
                      <a:pt x="849007" y="1639241"/>
                    </a:lnTo>
                    <a:lnTo>
                      <a:pt x="713052" y="1592507"/>
                    </a:lnTo>
                    <a:lnTo>
                      <a:pt x="713052" y="1592507"/>
                    </a:lnTo>
                    <a:lnTo>
                      <a:pt x="705972" y="1589674"/>
                    </a:lnTo>
                    <a:lnTo>
                      <a:pt x="756954" y="1567015"/>
                    </a:lnTo>
                    <a:lnTo>
                      <a:pt x="812186" y="1591091"/>
                    </a:lnTo>
                    <a:lnTo>
                      <a:pt x="812186" y="1591091"/>
                    </a:lnTo>
                    <a:lnTo>
                      <a:pt x="796608" y="1548605"/>
                    </a:lnTo>
                    <a:lnTo>
                      <a:pt x="853255" y="1588258"/>
                    </a:lnTo>
                    <a:lnTo>
                      <a:pt x="853255" y="1588258"/>
                    </a:lnTo>
                    <a:lnTo>
                      <a:pt x="943892" y="1479212"/>
                    </a:lnTo>
                    <a:lnTo>
                      <a:pt x="943892" y="1477795"/>
                    </a:lnTo>
                    <a:lnTo>
                      <a:pt x="796608" y="1545772"/>
                    </a:lnTo>
                    <a:lnTo>
                      <a:pt x="795192" y="1544356"/>
                    </a:lnTo>
                    <a:lnTo>
                      <a:pt x="773949" y="1486292"/>
                    </a:lnTo>
                    <a:lnTo>
                      <a:pt x="1201639" y="1275280"/>
                    </a:lnTo>
                    <a:lnTo>
                      <a:pt x="1201639" y="1275280"/>
                    </a:lnTo>
                    <a:lnTo>
                      <a:pt x="1061436" y="1142158"/>
                    </a:lnTo>
                    <a:lnTo>
                      <a:pt x="1256870" y="1154903"/>
                    </a:lnTo>
                    <a:lnTo>
                      <a:pt x="1256870" y="1154903"/>
                    </a:lnTo>
                    <a:lnTo>
                      <a:pt x="1288026" y="994874"/>
                    </a:lnTo>
                    <a:lnTo>
                      <a:pt x="1324847" y="993458"/>
                    </a:lnTo>
                    <a:lnTo>
                      <a:pt x="1324847" y="993458"/>
                    </a:lnTo>
                    <a:lnTo>
                      <a:pt x="1324847" y="992042"/>
                    </a:lnTo>
                    <a:lnTo>
                      <a:pt x="1288026" y="987793"/>
                    </a:lnTo>
                    <a:lnTo>
                      <a:pt x="1314934" y="843341"/>
                    </a:lnTo>
                    <a:lnTo>
                      <a:pt x="1416900" y="761203"/>
                    </a:lnTo>
                    <a:lnTo>
                      <a:pt x="1416900" y="761203"/>
                    </a:lnTo>
                    <a:lnTo>
                      <a:pt x="1238460" y="790943"/>
                    </a:lnTo>
                    <a:lnTo>
                      <a:pt x="1330512" y="660653"/>
                    </a:lnTo>
                    <a:close/>
                    <a:moveTo>
                      <a:pt x="799440" y="1547189"/>
                    </a:moveTo>
                    <a:lnTo>
                      <a:pt x="938227" y="1483460"/>
                    </a:lnTo>
                    <a:lnTo>
                      <a:pt x="854672" y="1585426"/>
                    </a:lnTo>
                    <a:lnTo>
                      <a:pt x="799440" y="1547189"/>
                    </a:lnTo>
                    <a:close/>
                    <a:moveTo>
                      <a:pt x="425566" y="2178810"/>
                    </a:moveTo>
                    <a:lnTo>
                      <a:pt x="493543" y="2146237"/>
                    </a:lnTo>
                    <a:lnTo>
                      <a:pt x="463803" y="2218463"/>
                    </a:lnTo>
                    <a:lnTo>
                      <a:pt x="425566" y="2178810"/>
                    </a:lnTo>
                    <a:close/>
                    <a:moveTo>
                      <a:pt x="337762" y="2449302"/>
                    </a:moveTo>
                    <a:lnTo>
                      <a:pt x="339178" y="2435140"/>
                    </a:lnTo>
                    <a:lnTo>
                      <a:pt x="368918" y="2433724"/>
                    </a:lnTo>
                    <a:lnTo>
                      <a:pt x="337762" y="2449302"/>
                    </a:lnTo>
                    <a:close/>
                    <a:moveTo>
                      <a:pt x="223050" y="2646153"/>
                    </a:moveTo>
                    <a:lnTo>
                      <a:pt x="315103" y="2647569"/>
                    </a:lnTo>
                    <a:lnTo>
                      <a:pt x="347675" y="2657482"/>
                    </a:lnTo>
                    <a:lnTo>
                      <a:pt x="363253" y="2705632"/>
                    </a:lnTo>
                    <a:lnTo>
                      <a:pt x="223050" y="2646153"/>
                    </a:lnTo>
                    <a:close/>
                    <a:moveTo>
                      <a:pt x="350507" y="2656066"/>
                    </a:moveTo>
                    <a:lnTo>
                      <a:pt x="337762" y="2616413"/>
                    </a:lnTo>
                    <a:lnTo>
                      <a:pt x="390161" y="2606499"/>
                    </a:lnTo>
                    <a:lnTo>
                      <a:pt x="448225" y="2685806"/>
                    </a:lnTo>
                    <a:lnTo>
                      <a:pt x="350507" y="2656066"/>
                    </a:lnTo>
                    <a:close/>
                    <a:moveTo>
                      <a:pt x="278282" y="2437973"/>
                    </a:moveTo>
                    <a:lnTo>
                      <a:pt x="210305" y="2501701"/>
                    </a:lnTo>
                    <a:lnTo>
                      <a:pt x="160738" y="2439389"/>
                    </a:lnTo>
                    <a:lnTo>
                      <a:pt x="278282" y="2437973"/>
                    </a:lnTo>
                    <a:lnTo>
                      <a:pt x="278282" y="2437973"/>
                    </a:lnTo>
                    <a:close/>
                    <a:moveTo>
                      <a:pt x="759787" y="1564183"/>
                    </a:moveTo>
                    <a:lnTo>
                      <a:pt x="795192" y="1547189"/>
                    </a:lnTo>
                    <a:lnTo>
                      <a:pt x="809354" y="1585426"/>
                    </a:lnTo>
                    <a:lnTo>
                      <a:pt x="759787" y="1564183"/>
                    </a:lnTo>
                    <a:close/>
                    <a:moveTo>
                      <a:pt x="717301" y="1789357"/>
                    </a:moveTo>
                    <a:lnTo>
                      <a:pt x="755538" y="1748288"/>
                    </a:lnTo>
                    <a:lnTo>
                      <a:pt x="771116" y="1799270"/>
                    </a:lnTo>
                    <a:lnTo>
                      <a:pt x="717301" y="1789357"/>
                    </a:lnTo>
                    <a:close/>
                    <a:moveTo>
                      <a:pt x="626665" y="1708634"/>
                    </a:moveTo>
                    <a:lnTo>
                      <a:pt x="626665" y="1728461"/>
                    </a:lnTo>
                    <a:lnTo>
                      <a:pt x="621000" y="1710050"/>
                    </a:lnTo>
                    <a:lnTo>
                      <a:pt x="626665" y="1708634"/>
                    </a:lnTo>
                    <a:close/>
                    <a:moveTo>
                      <a:pt x="659237" y="1844589"/>
                    </a:moveTo>
                    <a:lnTo>
                      <a:pt x="628081" y="1844589"/>
                    </a:lnTo>
                    <a:lnTo>
                      <a:pt x="629497" y="1742623"/>
                    </a:lnTo>
                    <a:lnTo>
                      <a:pt x="659237" y="1844589"/>
                    </a:lnTo>
                    <a:close/>
                    <a:moveTo>
                      <a:pt x="562936" y="1846005"/>
                    </a:moveTo>
                    <a:lnTo>
                      <a:pt x="626665" y="1846005"/>
                    </a:lnTo>
                    <a:lnTo>
                      <a:pt x="625249" y="1935225"/>
                    </a:lnTo>
                    <a:lnTo>
                      <a:pt x="550190" y="1930976"/>
                    </a:lnTo>
                    <a:lnTo>
                      <a:pt x="562936" y="1846005"/>
                    </a:lnTo>
                    <a:close/>
                    <a:moveTo>
                      <a:pt x="421317" y="2178810"/>
                    </a:moveTo>
                    <a:lnTo>
                      <a:pt x="411404" y="2184474"/>
                    </a:lnTo>
                    <a:lnTo>
                      <a:pt x="411404" y="2167480"/>
                    </a:lnTo>
                    <a:lnTo>
                      <a:pt x="421317" y="2178810"/>
                    </a:lnTo>
                    <a:close/>
                    <a:moveTo>
                      <a:pt x="317935" y="2459215"/>
                    </a:moveTo>
                    <a:lnTo>
                      <a:pt x="305189" y="2483291"/>
                    </a:lnTo>
                    <a:lnTo>
                      <a:pt x="291027" y="2436556"/>
                    </a:lnTo>
                    <a:lnTo>
                      <a:pt x="336345" y="2435140"/>
                    </a:lnTo>
                    <a:lnTo>
                      <a:pt x="334929" y="2450718"/>
                    </a:lnTo>
                    <a:lnTo>
                      <a:pt x="317935" y="2459215"/>
                    </a:lnTo>
                    <a:close/>
                    <a:moveTo>
                      <a:pt x="305189" y="2486123"/>
                    </a:moveTo>
                    <a:lnTo>
                      <a:pt x="319351" y="2460632"/>
                    </a:lnTo>
                    <a:lnTo>
                      <a:pt x="336345" y="2452134"/>
                    </a:lnTo>
                    <a:lnTo>
                      <a:pt x="330681" y="2565430"/>
                    </a:lnTo>
                    <a:lnTo>
                      <a:pt x="305189" y="2486123"/>
                    </a:lnTo>
                    <a:close/>
                    <a:moveTo>
                      <a:pt x="453889" y="1640657"/>
                    </a:moveTo>
                    <a:lnTo>
                      <a:pt x="439727" y="1647738"/>
                    </a:lnTo>
                    <a:lnTo>
                      <a:pt x="375999" y="1613750"/>
                    </a:lnTo>
                    <a:lnTo>
                      <a:pt x="377415" y="1609501"/>
                    </a:lnTo>
                    <a:lnTo>
                      <a:pt x="453889" y="1640657"/>
                    </a:lnTo>
                    <a:close/>
                    <a:moveTo>
                      <a:pt x="438311" y="1157736"/>
                    </a:moveTo>
                    <a:lnTo>
                      <a:pt x="363253" y="1201638"/>
                    </a:lnTo>
                    <a:lnTo>
                      <a:pt x="418485" y="1152071"/>
                    </a:lnTo>
                    <a:lnTo>
                      <a:pt x="438311" y="1157736"/>
                    </a:lnTo>
                    <a:close/>
                    <a:moveTo>
                      <a:pt x="347675" y="1127996"/>
                    </a:moveTo>
                    <a:lnTo>
                      <a:pt x="240045" y="1037360"/>
                    </a:lnTo>
                    <a:lnTo>
                      <a:pt x="553023" y="1024614"/>
                    </a:lnTo>
                    <a:lnTo>
                      <a:pt x="418485" y="1149239"/>
                    </a:lnTo>
                    <a:lnTo>
                      <a:pt x="347675" y="1127996"/>
                    </a:lnTo>
                    <a:close/>
                    <a:moveTo>
                      <a:pt x="419901" y="1149239"/>
                    </a:moveTo>
                    <a:lnTo>
                      <a:pt x="555855" y="1024614"/>
                    </a:lnTo>
                    <a:lnTo>
                      <a:pt x="674815" y="1018949"/>
                    </a:lnTo>
                    <a:lnTo>
                      <a:pt x="441144" y="1154903"/>
                    </a:lnTo>
                    <a:lnTo>
                      <a:pt x="419901" y="1149239"/>
                    </a:lnTo>
                    <a:close/>
                    <a:moveTo>
                      <a:pt x="326432" y="747041"/>
                    </a:moveTo>
                    <a:lnTo>
                      <a:pt x="283946" y="799440"/>
                    </a:lnTo>
                    <a:lnTo>
                      <a:pt x="169235" y="782445"/>
                    </a:lnTo>
                    <a:lnTo>
                      <a:pt x="159322" y="731462"/>
                    </a:lnTo>
                    <a:lnTo>
                      <a:pt x="223050" y="694641"/>
                    </a:lnTo>
                    <a:lnTo>
                      <a:pt x="326432" y="747041"/>
                    </a:lnTo>
                    <a:close/>
                    <a:moveTo>
                      <a:pt x="1069933" y="667734"/>
                    </a:moveTo>
                    <a:lnTo>
                      <a:pt x="1079846" y="632329"/>
                    </a:lnTo>
                    <a:lnTo>
                      <a:pt x="1079846" y="664902"/>
                    </a:lnTo>
                    <a:lnTo>
                      <a:pt x="1069933" y="667734"/>
                    </a:lnTo>
                    <a:close/>
                    <a:moveTo>
                      <a:pt x="1135078" y="809353"/>
                    </a:moveTo>
                    <a:lnTo>
                      <a:pt x="1126580" y="679064"/>
                    </a:lnTo>
                    <a:lnTo>
                      <a:pt x="1327679" y="663486"/>
                    </a:lnTo>
                    <a:lnTo>
                      <a:pt x="1239876" y="790943"/>
                    </a:lnTo>
                    <a:lnTo>
                      <a:pt x="1135078" y="809353"/>
                    </a:lnTo>
                    <a:close/>
                    <a:moveTo>
                      <a:pt x="1082679" y="965134"/>
                    </a:moveTo>
                    <a:lnTo>
                      <a:pt x="1082679" y="680480"/>
                    </a:lnTo>
                    <a:lnTo>
                      <a:pt x="1125164" y="677647"/>
                    </a:lnTo>
                    <a:lnTo>
                      <a:pt x="1133661" y="810769"/>
                    </a:lnTo>
                    <a:lnTo>
                      <a:pt x="1133661" y="810769"/>
                    </a:lnTo>
                    <a:lnTo>
                      <a:pt x="1238460" y="793775"/>
                    </a:lnTo>
                    <a:lnTo>
                      <a:pt x="1118083" y="969383"/>
                    </a:lnTo>
                    <a:lnTo>
                      <a:pt x="1082679" y="965134"/>
                    </a:lnTo>
                    <a:close/>
                    <a:moveTo>
                      <a:pt x="1082679" y="1000539"/>
                    </a:moveTo>
                    <a:lnTo>
                      <a:pt x="1082679" y="967967"/>
                    </a:lnTo>
                    <a:lnTo>
                      <a:pt x="1115251" y="970799"/>
                    </a:lnTo>
                    <a:lnTo>
                      <a:pt x="1095424" y="1000539"/>
                    </a:lnTo>
                    <a:lnTo>
                      <a:pt x="1082679" y="1000539"/>
                    </a:lnTo>
                    <a:close/>
                    <a:moveTo>
                      <a:pt x="1094008" y="1001955"/>
                    </a:moveTo>
                    <a:lnTo>
                      <a:pt x="1082679" y="1018949"/>
                    </a:lnTo>
                    <a:lnTo>
                      <a:pt x="1082679" y="1003371"/>
                    </a:lnTo>
                    <a:lnTo>
                      <a:pt x="1094008" y="1001955"/>
                    </a:lnTo>
                    <a:close/>
                    <a:moveTo>
                      <a:pt x="1156320" y="642243"/>
                    </a:moveTo>
                    <a:lnTo>
                      <a:pt x="1125164" y="652156"/>
                    </a:lnTo>
                    <a:lnTo>
                      <a:pt x="1119499" y="554439"/>
                    </a:lnTo>
                    <a:lnTo>
                      <a:pt x="1156320" y="642243"/>
                    </a:lnTo>
                    <a:close/>
                    <a:moveTo>
                      <a:pt x="1081262" y="666318"/>
                    </a:moveTo>
                    <a:lnTo>
                      <a:pt x="1122332" y="653572"/>
                    </a:lnTo>
                    <a:lnTo>
                      <a:pt x="1123748" y="676231"/>
                    </a:lnTo>
                    <a:lnTo>
                      <a:pt x="1081262" y="679064"/>
                    </a:lnTo>
                    <a:lnTo>
                      <a:pt x="1081262" y="666318"/>
                    </a:lnTo>
                    <a:close/>
                    <a:moveTo>
                      <a:pt x="735712" y="1504703"/>
                    </a:moveTo>
                    <a:lnTo>
                      <a:pt x="793775" y="1545772"/>
                    </a:lnTo>
                    <a:lnTo>
                      <a:pt x="793775" y="1547189"/>
                    </a:lnTo>
                    <a:lnTo>
                      <a:pt x="755538" y="1564183"/>
                    </a:lnTo>
                    <a:lnTo>
                      <a:pt x="680480" y="1531610"/>
                    </a:lnTo>
                    <a:lnTo>
                      <a:pt x="735712" y="1504703"/>
                    </a:lnTo>
                    <a:close/>
                    <a:moveTo>
                      <a:pt x="231547" y="361837"/>
                    </a:moveTo>
                    <a:lnTo>
                      <a:pt x="309438" y="425565"/>
                    </a:lnTo>
                    <a:lnTo>
                      <a:pt x="186229" y="509121"/>
                    </a:lnTo>
                    <a:lnTo>
                      <a:pt x="142327" y="445392"/>
                    </a:lnTo>
                    <a:lnTo>
                      <a:pt x="231547" y="361837"/>
                    </a:lnTo>
                    <a:close/>
                    <a:moveTo>
                      <a:pt x="275449" y="317935"/>
                    </a:moveTo>
                    <a:lnTo>
                      <a:pt x="232964" y="357588"/>
                    </a:lnTo>
                    <a:lnTo>
                      <a:pt x="186229" y="319351"/>
                    </a:lnTo>
                    <a:lnTo>
                      <a:pt x="200391" y="293860"/>
                    </a:lnTo>
                    <a:lnTo>
                      <a:pt x="275449" y="317935"/>
                    </a:lnTo>
                    <a:close/>
                    <a:moveTo>
                      <a:pt x="476549" y="157905"/>
                    </a:moveTo>
                    <a:lnTo>
                      <a:pt x="561520" y="74350"/>
                    </a:lnTo>
                    <a:lnTo>
                      <a:pt x="511953" y="169235"/>
                    </a:lnTo>
                    <a:lnTo>
                      <a:pt x="476549" y="157905"/>
                    </a:lnTo>
                    <a:close/>
                    <a:moveTo>
                      <a:pt x="487878" y="220218"/>
                    </a:moveTo>
                    <a:lnTo>
                      <a:pt x="513369" y="172067"/>
                    </a:lnTo>
                    <a:lnTo>
                      <a:pt x="732879" y="244293"/>
                    </a:lnTo>
                    <a:lnTo>
                      <a:pt x="487878" y="220218"/>
                    </a:lnTo>
                    <a:close/>
                    <a:moveTo>
                      <a:pt x="762619" y="633745"/>
                    </a:moveTo>
                    <a:lnTo>
                      <a:pt x="762619" y="633745"/>
                    </a:lnTo>
                    <a:lnTo>
                      <a:pt x="962302" y="690393"/>
                    </a:lnTo>
                    <a:lnTo>
                      <a:pt x="962302" y="690393"/>
                    </a:lnTo>
                    <a:lnTo>
                      <a:pt x="1004788" y="687560"/>
                    </a:lnTo>
                    <a:lnTo>
                      <a:pt x="727214" y="771116"/>
                    </a:lnTo>
                    <a:lnTo>
                      <a:pt x="571433" y="640826"/>
                    </a:lnTo>
                    <a:lnTo>
                      <a:pt x="735712" y="662069"/>
                    </a:lnTo>
                    <a:lnTo>
                      <a:pt x="737128" y="662069"/>
                    </a:lnTo>
                    <a:lnTo>
                      <a:pt x="536029" y="541693"/>
                    </a:lnTo>
                    <a:lnTo>
                      <a:pt x="536029" y="541693"/>
                    </a:lnTo>
                    <a:lnTo>
                      <a:pt x="545942" y="618167"/>
                    </a:lnTo>
                    <a:lnTo>
                      <a:pt x="465219" y="551607"/>
                    </a:lnTo>
                    <a:lnTo>
                      <a:pt x="621000" y="459554"/>
                    </a:lnTo>
                    <a:lnTo>
                      <a:pt x="662069" y="490710"/>
                    </a:lnTo>
                    <a:lnTo>
                      <a:pt x="662069" y="490710"/>
                    </a:lnTo>
                    <a:lnTo>
                      <a:pt x="669150" y="431230"/>
                    </a:lnTo>
                    <a:lnTo>
                      <a:pt x="725798" y="397241"/>
                    </a:lnTo>
                    <a:lnTo>
                      <a:pt x="795192" y="418484"/>
                    </a:lnTo>
                    <a:lnTo>
                      <a:pt x="795192" y="418484"/>
                    </a:lnTo>
                    <a:lnTo>
                      <a:pt x="795192" y="407155"/>
                    </a:lnTo>
                    <a:lnTo>
                      <a:pt x="887244" y="452473"/>
                    </a:lnTo>
                    <a:lnTo>
                      <a:pt x="762619" y="633745"/>
                    </a:lnTo>
                    <a:close/>
                    <a:moveTo>
                      <a:pt x="987794" y="956637"/>
                    </a:moveTo>
                    <a:lnTo>
                      <a:pt x="1064268" y="683312"/>
                    </a:lnTo>
                    <a:lnTo>
                      <a:pt x="1078430" y="681896"/>
                    </a:lnTo>
                    <a:lnTo>
                      <a:pt x="1078430" y="965134"/>
                    </a:lnTo>
                    <a:lnTo>
                      <a:pt x="987794" y="956637"/>
                    </a:lnTo>
                    <a:close/>
                    <a:moveTo>
                      <a:pt x="738544" y="1503287"/>
                    </a:moveTo>
                    <a:lnTo>
                      <a:pt x="772532" y="1486292"/>
                    </a:lnTo>
                    <a:lnTo>
                      <a:pt x="793775" y="1541524"/>
                    </a:lnTo>
                    <a:lnTo>
                      <a:pt x="738544" y="1503287"/>
                    </a:lnTo>
                    <a:close/>
                    <a:moveTo>
                      <a:pt x="754122" y="1564183"/>
                    </a:moveTo>
                    <a:lnTo>
                      <a:pt x="703139" y="1586842"/>
                    </a:lnTo>
                    <a:lnTo>
                      <a:pt x="649324" y="1547189"/>
                    </a:lnTo>
                    <a:lnTo>
                      <a:pt x="679064" y="1533027"/>
                    </a:lnTo>
                    <a:lnTo>
                      <a:pt x="754122" y="1564183"/>
                    </a:lnTo>
                    <a:close/>
                    <a:moveTo>
                      <a:pt x="558688" y="1544356"/>
                    </a:moveTo>
                    <a:lnTo>
                      <a:pt x="550190" y="1593923"/>
                    </a:lnTo>
                    <a:lnTo>
                      <a:pt x="458138" y="1639241"/>
                    </a:lnTo>
                    <a:lnTo>
                      <a:pt x="380247" y="1608085"/>
                    </a:lnTo>
                    <a:lnTo>
                      <a:pt x="429814" y="1500454"/>
                    </a:lnTo>
                    <a:lnTo>
                      <a:pt x="558688" y="1544356"/>
                    </a:lnTo>
                    <a:close/>
                    <a:moveTo>
                      <a:pt x="299525" y="101258"/>
                    </a:moveTo>
                    <a:lnTo>
                      <a:pt x="265536" y="164986"/>
                    </a:lnTo>
                    <a:lnTo>
                      <a:pt x="264120" y="89928"/>
                    </a:lnTo>
                    <a:lnTo>
                      <a:pt x="299525" y="101258"/>
                    </a:lnTo>
                    <a:close/>
                    <a:moveTo>
                      <a:pt x="346259" y="724382"/>
                    </a:moveTo>
                    <a:lnTo>
                      <a:pt x="346259" y="738543"/>
                    </a:lnTo>
                    <a:lnTo>
                      <a:pt x="340594" y="731462"/>
                    </a:lnTo>
                    <a:lnTo>
                      <a:pt x="346259" y="724382"/>
                    </a:lnTo>
                    <a:close/>
                    <a:moveTo>
                      <a:pt x="329265" y="745624"/>
                    </a:moveTo>
                    <a:lnTo>
                      <a:pt x="339178" y="732879"/>
                    </a:lnTo>
                    <a:lnTo>
                      <a:pt x="346259" y="742792"/>
                    </a:lnTo>
                    <a:lnTo>
                      <a:pt x="346259" y="754122"/>
                    </a:lnTo>
                    <a:lnTo>
                      <a:pt x="329265" y="745624"/>
                    </a:lnTo>
                    <a:close/>
                    <a:moveTo>
                      <a:pt x="568601" y="640826"/>
                    </a:moveTo>
                    <a:lnTo>
                      <a:pt x="725798" y="772532"/>
                    </a:lnTo>
                    <a:lnTo>
                      <a:pt x="571433" y="819266"/>
                    </a:lnTo>
                    <a:lnTo>
                      <a:pt x="548774" y="639410"/>
                    </a:lnTo>
                    <a:lnTo>
                      <a:pt x="568601" y="640826"/>
                    </a:lnTo>
                    <a:close/>
                    <a:moveTo>
                      <a:pt x="528948" y="833428"/>
                    </a:moveTo>
                    <a:lnTo>
                      <a:pt x="570017" y="820683"/>
                    </a:lnTo>
                    <a:lnTo>
                      <a:pt x="572850" y="839093"/>
                    </a:lnTo>
                    <a:lnTo>
                      <a:pt x="528948" y="833428"/>
                    </a:lnTo>
                    <a:close/>
                    <a:moveTo>
                      <a:pt x="360421" y="764035"/>
                    </a:moveTo>
                    <a:lnTo>
                      <a:pt x="394409" y="813602"/>
                    </a:lnTo>
                    <a:lnTo>
                      <a:pt x="344843" y="806521"/>
                    </a:lnTo>
                    <a:lnTo>
                      <a:pt x="346259" y="756954"/>
                    </a:lnTo>
                    <a:lnTo>
                      <a:pt x="360421" y="764035"/>
                    </a:lnTo>
                    <a:close/>
                    <a:moveTo>
                      <a:pt x="357588" y="761203"/>
                    </a:moveTo>
                    <a:lnTo>
                      <a:pt x="346259" y="755538"/>
                    </a:lnTo>
                    <a:lnTo>
                      <a:pt x="346259" y="745624"/>
                    </a:lnTo>
                    <a:lnTo>
                      <a:pt x="357588" y="761203"/>
                    </a:lnTo>
                    <a:close/>
                    <a:moveTo>
                      <a:pt x="356172" y="462386"/>
                    </a:moveTo>
                    <a:lnTo>
                      <a:pt x="500624" y="370334"/>
                    </a:lnTo>
                    <a:lnTo>
                      <a:pt x="540277" y="400074"/>
                    </a:lnTo>
                    <a:lnTo>
                      <a:pt x="421317" y="516202"/>
                    </a:lnTo>
                    <a:lnTo>
                      <a:pt x="356172" y="462386"/>
                    </a:lnTo>
                    <a:close/>
                    <a:moveTo>
                      <a:pt x="623832" y="320767"/>
                    </a:moveTo>
                    <a:lnTo>
                      <a:pt x="684729" y="261287"/>
                    </a:lnTo>
                    <a:lnTo>
                      <a:pt x="676231" y="346259"/>
                    </a:lnTo>
                    <a:lnTo>
                      <a:pt x="623832" y="320767"/>
                    </a:lnTo>
                    <a:close/>
                    <a:moveTo>
                      <a:pt x="666318" y="432646"/>
                    </a:moveTo>
                    <a:lnTo>
                      <a:pt x="660653" y="487878"/>
                    </a:lnTo>
                    <a:lnTo>
                      <a:pt x="622416" y="458138"/>
                    </a:lnTo>
                    <a:lnTo>
                      <a:pt x="666318" y="432646"/>
                    </a:lnTo>
                    <a:close/>
                    <a:moveTo>
                      <a:pt x="727214" y="659237"/>
                    </a:moveTo>
                    <a:lnTo>
                      <a:pt x="568601" y="637994"/>
                    </a:lnTo>
                    <a:lnTo>
                      <a:pt x="545942" y="619584"/>
                    </a:lnTo>
                    <a:lnTo>
                      <a:pt x="536029" y="544526"/>
                    </a:lnTo>
                    <a:lnTo>
                      <a:pt x="727214" y="659237"/>
                    </a:lnTo>
                    <a:close/>
                    <a:moveTo>
                      <a:pt x="353340" y="538860"/>
                    </a:moveTo>
                    <a:lnTo>
                      <a:pt x="354756" y="463803"/>
                    </a:lnTo>
                    <a:lnTo>
                      <a:pt x="421317" y="519034"/>
                    </a:lnTo>
                    <a:lnTo>
                      <a:pt x="388745" y="551607"/>
                    </a:lnTo>
                    <a:lnTo>
                      <a:pt x="353340" y="538860"/>
                    </a:lnTo>
                    <a:close/>
                    <a:moveTo>
                      <a:pt x="548774" y="340594"/>
                    </a:moveTo>
                    <a:lnTo>
                      <a:pt x="596925" y="309438"/>
                    </a:lnTo>
                    <a:lnTo>
                      <a:pt x="621000" y="322183"/>
                    </a:lnTo>
                    <a:lnTo>
                      <a:pt x="589844" y="353340"/>
                    </a:lnTo>
                    <a:lnTo>
                      <a:pt x="548774" y="340594"/>
                    </a:lnTo>
                    <a:close/>
                    <a:moveTo>
                      <a:pt x="618168" y="458138"/>
                    </a:moveTo>
                    <a:lnTo>
                      <a:pt x="462387" y="550190"/>
                    </a:lnTo>
                    <a:lnTo>
                      <a:pt x="424150" y="517618"/>
                    </a:lnTo>
                    <a:lnTo>
                      <a:pt x="543110" y="401490"/>
                    </a:lnTo>
                    <a:lnTo>
                      <a:pt x="618168" y="458138"/>
                    </a:lnTo>
                    <a:close/>
                    <a:moveTo>
                      <a:pt x="462387" y="553022"/>
                    </a:moveTo>
                    <a:lnTo>
                      <a:pt x="544526" y="622416"/>
                    </a:lnTo>
                    <a:lnTo>
                      <a:pt x="545942" y="636578"/>
                    </a:lnTo>
                    <a:lnTo>
                      <a:pt x="428398" y="621000"/>
                    </a:lnTo>
                    <a:lnTo>
                      <a:pt x="428398" y="621000"/>
                    </a:lnTo>
                    <a:lnTo>
                      <a:pt x="347675" y="720133"/>
                    </a:lnTo>
                    <a:lnTo>
                      <a:pt x="350507" y="619584"/>
                    </a:lnTo>
                    <a:lnTo>
                      <a:pt x="462387" y="553022"/>
                    </a:lnTo>
                    <a:close/>
                    <a:moveTo>
                      <a:pt x="460970" y="551607"/>
                    </a:moveTo>
                    <a:lnTo>
                      <a:pt x="351924" y="615335"/>
                    </a:lnTo>
                    <a:lnTo>
                      <a:pt x="353340" y="540277"/>
                    </a:lnTo>
                    <a:lnTo>
                      <a:pt x="388745" y="553022"/>
                    </a:lnTo>
                    <a:lnTo>
                      <a:pt x="388745" y="553022"/>
                    </a:lnTo>
                    <a:lnTo>
                      <a:pt x="422733" y="519034"/>
                    </a:lnTo>
                    <a:lnTo>
                      <a:pt x="460970" y="551607"/>
                    </a:lnTo>
                    <a:close/>
                    <a:moveTo>
                      <a:pt x="278282" y="511953"/>
                    </a:moveTo>
                    <a:lnTo>
                      <a:pt x="351924" y="465219"/>
                    </a:lnTo>
                    <a:lnTo>
                      <a:pt x="350507" y="538860"/>
                    </a:lnTo>
                    <a:lnTo>
                      <a:pt x="278282" y="511953"/>
                    </a:lnTo>
                    <a:close/>
                    <a:moveTo>
                      <a:pt x="565769" y="637994"/>
                    </a:moveTo>
                    <a:lnTo>
                      <a:pt x="550190" y="635162"/>
                    </a:lnTo>
                    <a:lnTo>
                      <a:pt x="548774" y="622416"/>
                    </a:lnTo>
                    <a:lnTo>
                      <a:pt x="565769" y="637994"/>
                    </a:lnTo>
                    <a:close/>
                    <a:moveTo>
                      <a:pt x="621000" y="458138"/>
                    </a:moveTo>
                    <a:lnTo>
                      <a:pt x="544526" y="400074"/>
                    </a:lnTo>
                    <a:lnTo>
                      <a:pt x="589844" y="356172"/>
                    </a:lnTo>
                    <a:lnTo>
                      <a:pt x="671983" y="381664"/>
                    </a:lnTo>
                    <a:lnTo>
                      <a:pt x="666318" y="431230"/>
                    </a:lnTo>
                    <a:lnTo>
                      <a:pt x="621000" y="458138"/>
                    </a:lnTo>
                    <a:close/>
                    <a:moveTo>
                      <a:pt x="591260" y="353340"/>
                    </a:moveTo>
                    <a:lnTo>
                      <a:pt x="622416" y="322183"/>
                    </a:lnTo>
                    <a:lnTo>
                      <a:pt x="674815" y="347675"/>
                    </a:lnTo>
                    <a:lnTo>
                      <a:pt x="671983" y="377415"/>
                    </a:lnTo>
                    <a:lnTo>
                      <a:pt x="591260" y="353340"/>
                    </a:lnTo>
                    <a:close/>
                    <a:moveTo>
                      <a:pt x="587012" y="354756"/>
                    </a:moveTo>
                    <a:lnTo>
                      <a:pt x="541693" y="398658"/>
                    </a:lnTo>
                    <a:lnTo>
                      <a:pt x="502040" y="368918"/>
                    </a:lnTo>
                    <a:lnTo>
                      <a:pt x="544526" y="342010"/>
                    </a:lnTo>
                    <a:lnTo>
                      <a:pt x="587012" y="354756"/>
                    </a:lnTo>
                    <a:close/>
                    <a:moveTo>
                      <a:pt x="349091" y="722965"/>
                    </a:moveTo>
                    <a:lnTo>
                      <a:pt x="429814" y="622416"/>
                    </a:lnTo>
                    <a:lnTo>
                      <a:pt x="547358" y="637994"/>
                    </a:lnTo>
                    <a:lnTo>
                      <a:pt x="570017" y="819266"/>
                    </a:lnTo>
                    <a:lnTo>
                      <a:pt x="524699" y="833428"/>
                    </a:lnTo>
                    <a:lnTo>
                      <a:pt x="489294" y="827764"/>
                    </a:lnTo>
                    <a:lnTo>
                      <a:pt x="361837" y="762619"/>
                    </a:lnTo>
                    <a:lnTo>
                      <a:pt x="347675" y="742792"/>
                    </a:lnTo>
                    <a:lnTo>
                      <a:pt x="349091" y="722965"/>
                    </a:lnTo>
                    <a:close/>
                    <a:moveTo>
                      <a:pt x="722966" y="397241"/>
                    </a:moveTo>
                    <a:lnTo>
                      <a:pt x="669150" y="429814"/>
                    </a:lnTo>
                    <a:lnTo>
                      <a:pt x="674815" y="383079"/>
                    </a:lnTo>
                    <a:lnTo>
                      <a:pt x="722966" y="397241"/>
                    </a:lnTo>
                    <a:close/>
                    <a:moveTo>
                      <a:pt x="543110" y="340594"/>
                    </a:moveTo>
                    <a:lnTo>
                      <a:pt x="500624" y="367502"/>
                    </a:lnTo>
                    <a:lnTo>
                      <a:pt x="411404" y="299524"/>
                    </a:lnTo>
                    <a:lnTo>
                      <a:pt x="543110" y="340594"/>
                    </a:lnTo>
                    <a:close/>
                    <a:moveTo>
                      <a:pt x="327848" y="271200"/>
                    </a:moveTo>
                    <a:lnTo>
                      <a:pt x="357588" y="242877"/>
                    </a:lnTo>
                    <a:lnTo>
                      <a:pt x="356172" y="279698"/>
                    </a:lnTo>
                    <a:lnTo>
                      <a:pt x="327848" y="271200"/>
                    </a:lnTo>
                    <a:close/>
                    <a:moveTo>
                      <a:pt x="407155" y="360421"/>
                    </a:moveTo>
                    <a:lnTo>
                      <a:pt x="356172" y="394409"/>
                    </a:lnTo>
                    <a:lnTo>
                      <a:pt x="357588" y="344843"/>
                    </a:lnTo>
                    <a:lnTo>
                      <a:pt x="407155" y="360421"/>
                    </a:lnTo>
                    <a:close/>
                    <a:moveTo>
                      <a:pt x="357588" y="282530"/>
                    </a:moveTo>
                    <a:lnTo>
                      <a:pt x="356172" y="342010"/>
                    </a:lnTo>
                    <a:lnTo>
                      <a:pt x="279698" y="317935"/>
                    </a:lnTo>
                    <a:lnTo>
                      <a:pt x="326432" y="274033"/>
                    </a:lnTo>
                    <a:lnTo>
                      <a:pt x="357588" y="282530"/>
                    </a:lnTo>
                    <a:close/>
                    <a:moveTo>
                      <a:pt x="354756" y="397241"/>
                    </a:moveTo>
                    <a:lnTo>
                      <a:pt x="353340" y="458138"/>
                    </a:lnTo>
                    <a:lnTo>
                      <a:pt x="313687" y="425565"/>
                    </a:lnTo>
                    <a:lnTo>
                      <a:pt x="354756" y="397241"/>
                    </a:lnTo>
                    <a:close/>
                    <a:moveTo>
                      <a:pt x="354756" y="460970"/>
                    </a:moveTo>
                    <a:lnTo>
                      <a:pt x="356172" y="397241"/>
                    </a:lnTo>
                    <a:lnTo>
                      <a:pt x="411404" y="360421"/>
                    </a:lnTo>
                    <a:lnTo>
                      <a:pt x="411404" y="360421"/>
                    </a:lnTo>
                    <a:lnTo>
                      <a:pt x="357588" y="343426"/>
                    </a:lnTo>
                    <a:lnTo>
                      <a:pt x="359005" y="283946"/>
                    </a:lnTo>
                    <a:lnTo>
                      <a:pt x="405739" y="298108"/>
                    </a:lnTo>
                    <a:lnTo>
                      <a:pt x="499207" y="368918"/>
                    </a:lnTo>
                    <a:lnTo>
                      <a:pt x="354756" y="460970"/>
                    </a:lnTo>
                    <a:close/>
                    <a:moveTo>
                      <a:pt x="356172" y="343426"/>
                    </a:moveTo>
                    <a:lnTo>
                      <a:pt x="354756" y="394409"/>
                    </a:lnTo>
                    <a:lnTo>
                      <a:pt x="310854" y="424149"/>
                    </a:lnTo>
                    <a:lnTo>
                      <a:pt x="232964" y="359004"/>
                    </a:lnTo>
                    <a:lnTo>
                      <a:pt x="276865" y="317935"/>
                    </a:lnTo>
                    <a:lnTo>
                      <a:pt x="356172" y="343426"/>
                    </a:lnTo>
                    <a:close/>
                    <a:moveTo>
                      <a:pt x="349091" y="619584"/>
                    </a:moveTo>
                    <a:lnTo>
                      <a:pt x="346259" y="721549"/>
                    </a:lnTo>
                    <a:lnTo>
                      <a:pt x="339178" y="730046"/>
                    </a:lnTo>
                    <a:lnTo>
                      <a:pt x="286779" y="654988"/>
                    </a:lnTo>
                    <a:lnTo>
                      <a:pt x="349091" y="619584"/>
                    </a:lnTo>
                    <a:close/>
                    <a:moveTo>
                      <a:pt x="398658" y="815018"/>
                    </a:moveTo>
                    <a:lnTo>
                      <a:pt x="364669" y="766867"/>
                    </a:lnTo>
                    <a:lnTo>
                      <a:pt x="482213" y="827764"/>
                    </a:lnTo>
                    <a:lnTo>
                      <a:pt x="398658" y="815018"/>
                    </a:lnTo>
                    <a:close/>
                    <a:moveTo>
                      <a:pt x="426982" y="856088"/>
                    </a:moveTo>
                    <a:lnTo>
                      <a:pt x="400074" y="817850"/>
                    </a:lnTo>
                    <a:lnTo>
                      <a:pt x="489294" y="830596"/>
                    </a:lnTo>
                    <a:lnTo>
                      <a:pt x="506288" y="839093"/>
                    </a:lnTo>
                    <a:lnTo>
                      <a:pt x="465219" y="851839"/>
                    </a:lnTo>
                    <a:lnTo>
                      <a:pt x="426982" y="856088"/>
                    </a:lnTo>
                    <a:close/>
                    <a:moveTo>
                      <a:pt x="674815" y="380247"/>
                    </a:moveTo>
                    <a:lnTo>
                      <a:pt x="677648" y="350507"/>
                    </a:lnTo>
                    <a:lnTo>
                      <a:pt x="745625" y="384496"/>
                    </a:lnTo>
                    <a:lnTo>
                      <a:pt x="725798" y="395826"/>
                    </a:lnTo>
                    <a:lnTo>
                      <a:pt x="674815" y="380247"/>
                    </a:lnTo>
                    <a:close/>
                    <a:moveTo>
                      <a:pt x="200391" y="292443"/>
                    </a:moveTo>
                    <a:lnTo>
                      <a:pt x="264120" y="172067"/>
                    </a:lnTo>
                    <a:lnTo>
                      <a:pt x="266952" y="254206"/>
                    </a:lnTo>
                    <a:lnTo>
                      <a:pt x="266952" y="254206"/>
                    </a:lnTo>
                    <a:lnTo>
                      <a:pt x="325016" y="272617"/>
                    </a:lnTo>
                    <a:lnTo>
                      <a:pt x="278282" y="316519"/>
                    </a:lnTo>
                    <a:lnTo>
                      <a:pt x="200391" y="292443"/>
                    </a:lnTo>
                    <a:close/>
                    <a:moveTo>
                      <a:pt x="310854" y="426981"/>
                    </a:moveTo>
                    <a:lnTo>
                      <a:pt x="353340" y="462386"/>
                    </a:lnTo>
                    <a:lnTo>
                      <a:pt x="275449" y="511953"/>
                    </a:lnTo>
                    <a:lnTo>
                      <a:pt x="275449" y="511953"/>
                    </a:lnTo>
                    <a:lnTo>
                      <a:pt x="351924" y="540277"/>
                    </a:lnTo>
                    <a:lnTo>
                      <a:pt x="350507" y="618167"/>
                    </a:lnTo>
                    <a:lnTo>
                      <a:pt x="288195" y="654988"/>
                    </a:lnTo>
                    <a:lnTo>
                      <a:pt x="189062" y="511953"/>
                    </a:lnTo>
                    <a:lnTo>
                      <a:pt x="310854" y="426981"/>
                    </a:lnTo>
                    <a:close/>
                    <a:moveTo>
                      <a:pt x="519034" y="834845"/>
                    </a:moveTo>
                    <a:lnTo>
                      <a:pt x="507705" y="837677"/>
                    </a:lnTo>
                    <a:lnTo>
                      <a:pt x="493543" y="830596"/>
                    </a:lnTo>
                    <a:lnTo>
                      <a:pt x="519034" y="834845"/>
                    </a:lnTo>
                    <a:close/>
                    <a:moveTo>
                      <a:pt x="510537" y="839093"/>
                    </a:moveTo>
                    <a:lnTo>
                      <a:pt x="524699" y="834845"/>
                    </a:lnTo>
                    <a:lnTo>
                      <a:pt x="572850" y="841926"/>
                    </a:lnTo>
                    <a:lnTo>
                      <a:pt x="577098" y="873082"/>
                    </a:lnTo>
                    <a:lnTo>
                      <a:pt x="510537" y="839093"/>
                    </a:lnTo>
                    <a:close/>
                    <a:moveTo>
                      <a:pt x="1016117" y="1001955"/>
                    </a:moveTo>
                    <a:lnTo>
                      <a:pt x="1016117" y="1001955"/>
                    </a:lnTo>
                    <a:lnTo>
                      <a:pt x="975048" y="1004788"/>
                    </a:lnTo>
                    <a:lnTo>
                      <a:pt x="980713" y="982128"/>
                    </a:lnTo>
                    <a:lnTo>
                      <a:pt x="1016117" y="1001955"/>
                    </a:lnTo>
                    <a:close/>
                    <a:moveTo>
                      <a:pt x="962302" y="1048689"/>
                    </a:moveTo>
                    <a:lnTo>
                      <a:pt x="973632" y="1007620"/>
                    </a:lnTo>
                    <a:lnTo>
                      <a:pt x="1011869" y="1006203"/>
                    </a:lnTo>
                    <a:lnTo>
                      <a:pt x="966551" y="1052938"/>
                    </a:lnTo>
                    <a:lnTo>
                      <a:pt x="962302" y="1048689"/>
                    </a:lnTo>
                    <a:close/>
                    <a:moveTo>
                      <a:pt x="938227" y="1132245"/>
                    </a:moveTo>
                    <a:lnTo>
                      <a:pt x="958054" y="1064267"/>
                    </a:lnTo>
                    <a:lnTo>
                      <a:pt x="966551" y="1055770"/>
                    </a:lnTo>
                    <a:lnTo>
                      <a:pt x="1055771" y="1140742"/>
                    </a:lnTo>
                    <a:lnTo>
                      <a:pt x="938227" y="1132245"/>
                    </a:lnTo>
                    <a:close/>
                    <a:moveTo>
                      <a:pt x="686145" y="1258286"/>
                    </a:moveTo>
                    <a:lnTo>
                      <a:pt x="697474" y="1288026"/>
                    </a:lnTo>
                    <a:lnTo>
                      <a:pt x="630913" y="1290858"/>
                    </a:lnTo>
                    <a:lnTo>
                      <a:pt x="686145" y="1258286"/>
                    </a:lnTo>
                    <a:close/>
                    <a:moveTo>
                      <a:pt x="745625" y="1014701"/>
                    </a:moveTo>
                    <a:lnTo>
                      <a:pt x="738544" y="994874"/>
                    </a:lnTo>
                    <a:lnTo>
                      <a:pt x="738544" y="994874"/>
                    </a:lnTo>
                    <a:lnTo>
                      <a:pt x="725798" y="1016117"/>
                    </a:lnTo>
                    <a:lnTo>
                      <a:pt x="680480" y="1017533"/>
                    </a:lnTo>
                    <a:lnTo>
                      <a:pt x="832012" y="928313"/>
                    </a:lnTo>
                    <a:lnTo>
                      <a:pt x="915568" y="1007620"/>
                    </a:lnTo>
                    <a:lnTo>
                      <a:pt x="745625" y="1014701"/>
                    </a:lnTo>
                    <a:close/>
                    <a:moveTo>
                      <a:pt x="959470" y="1060019"/>
                    </a:moveTo>
                    <a:lnTo>
                      <a:pt x="962302" y="1050105"/>
                    </a:lnTo>
                    <a:lnTo>
                      <a:pt x="965135" y="1052938"/>
                    </a:lnTo>
                    <a:lnTo>
                      <a:pt x="959470" y="1060019"/>
                    </a:lnTo>
                    <a:close/>
                    <a:moveTo>
                      <a:pt x="894325" y="1129412"/>
                    </a:moveTo>
                    <a:lnTo>
                      <a:pt x="955221" y="1067100"/>
                    </a:lnTo>
                    <a:lnTo>
                      <a:pt x="936811" y="1132245"/>
                    </a:lnTo>
                    <a:lnTo>
                      <a:pt x="894325" y="1129412"/>
                    </a:lnTo>
                    <a:close/>
                    <a:moveTo>
                      <a:pt x="894325" y="1282361"/>
                    </a:moveTo>
                    <a:lnTo>
                      <a:pt x="864585" y="1385743"/>
                    </a:lnTo>
                    <a:lnTo>
                      <a:pt x="832012" y="1283777"/>
                    </a:lnTo>
                    <a:lnTo>
                      <a:pt x="894325" y="1282361"/>
                    </a:lnTo>
                    <a:close/>
                    <a:moveTo>
                      <a:pt x="897157" y="1279529"/>
                    </a:moveTo>
                    <a:lnTo>
                      <a:pt x="904238" y="1252621"/>
                    </a:lnTo>
                    <a:lnTo>
                      <a:pt x="1040193" y="1273864"/>
                    </a:lnTo>
                    <a:lnTo>
                      <a:pt x="897157" y="1279529"/>
                    </a:lnTo>
                    <a:close/>
                    <a:moveTo>
                      <a:pt x="902822" y="1252621"/>
                    </a:moveTo>
                    <a:lnTo>
                      <a:pt x="895741" y="1279529"/>
                    </a:lnTo>
                    <a:lnTo>
                      <a:pt x="833429" y="1282361"/>
                    </a:lnTo>
                    <a:lnTo>
                      <a:pt x="819267" y="1238459"/>
                    </a:lnTo>
                    <a:lnTo>
                      <a:pt x="902822" y="1252621"/>
                    </a:lnTo>
                    <a:close/>
                    <a:moveTo>
                      <a:pt x="890076" y="1130829"/>
                    </a:moveTo>
                    <a:lnTo>
                      <a:pt x="890076" y="1130829"/>
                    </a:lnTo>
                    <a:lnTo>
                      <a:pt x="936811" y="1133661"/>
                    </a:lnTo>
                    <a:lnTo>
                      <a:pt x="904238" y="1249788"/>
                    </a:lnTo>
                    <a:lnTo>
                      <a:pt x="817851" y="1235627"/>
                    </a:lnTo>
                    <a:lnTo>
                      <a:pt x="747041" y="1016117"/>
                    </a:lnTo>
                    <a:lnTo>
                      <a:pt x="919817" y="1009036"/>
                    </a:lnTo>
                    <a:lnTo>
                      <a:pt x="960886" y="1047273"/>
                    </a:lnTo>
                    <a:lnTo>
                      <a:pt x="956637" y="1061435"/>
                    </a:lnTo>
                    <a:lnTo>
                      <a:pt x="890076" y="1130829"/>
                    </a:lnTo>
                    <a:close/>
                    <a:moveTo>
                      <a:pt x="922649" y="1009036"/>
                    </a:moveTo>
                    <a:lnTo>
                      <a:pt x="972216" y="1007620"/>
                    </a:lnTo>
                    <a:lnTo>
                      <a:pt x="960886" y="1045857"/>
                    </a:lnTo>
                    <a:lnTo>
                      <a:pt x="922649" y="1009036"/>
                    </a:lnTo>
                    <a:close/>
                    <a:moveTo>
                      <a:pt x="856088" y="915567"/>
                    </a:moveTo>
                    <a:lnTo>
                      <a:pt x="977880" y="982128"/>
                    </a:lnTo>
                    <a:lnTo>
                      <a:pt x="970799" y="1004788"/>
                    </a:lnTo>
                    <a:lnTo>
                      <a:pt x="918400" y="1007620"/>
                    </a:lnTo>
                    <a:lnTo>
                      <a:pt x="834845" y="928313"/>
                    </a:lnTo>
                    <a:lnTo>
                      <a:pt x="856088" y="915567"/>
                    </a:lnTo>
                    <a:close/>
                    <a:moveTo>
                      <a:pt x="730047" y="1016117"/>
                    </a:moveTo>
                    <a:lnTo>
                      <a:pt x="738544" y="1000539"/>
                    </a:lnTo>
                    <a:lnTo>
                      <a:pt x="744209" y="1016117"/>
                    </a:lnTo>
                    <a:lnTo>
                      <a:pt x="730047" y="1016117"/>
                    </a:lnTo>
                    <a:close/>
                    <a:moveTo>
                      <a:pt x="744209" y="1017533"/>
                    </a:moveTo>
                    <a:lnTo>
                      <a:pt x="815018" y="1237043"/>
                    </a:lnTo>
                    <a:lnTo>
                      <a:pt x="741376" y="1225713"/>
                    </a:lnTo>
                    <a:lnTo>
                      <a:pt x="741376" y="1225713"/>
                    </a:lnTo>
                    <a:lnTo>
                      <a:pt x="687561" y="1256869"/>
                    </a:lnTo>
                    <a:lnTo>
                      <a:pt x="650740" y="1157736"/>
                    </a:lnTo>
                    <a:lnTo>
                      <a:pt x="728631" y="1018949"/>
                    </a:lnTo>
                    <a:lnTo>
                      <a:pt x="744209" y="1017533"/>
                    </a:lnTo>
                    <a:close/>
                    <a:moveTo>
                      <a:pt x="742793" y="1227129"/>
                    </a:moveTo>
                    <a:lnTo>
                      <a:pt x="816434" y="1238459"/>
                    </a:lnTo>
                    <a:lnTo>
                      <a:pt x="830596" y="1282361"/>
                    </a:lnTo>
                    <a:lnTo>
                      <a:pt x="700307" y="1288026"/>
                    </a:lnTo>
                    <a:lnTo>
                      <a:pt x="688977" y="1258286"/>
                    </a:lnTo>
                    <a:lnTo>
                      <a:pt x="742793" y="1227129"/>
                    </a:lnTo>
                    <a:close/>
                    <a:moveTo>
                      <a:pt x="686145" y="1256869"/>
                    </a:moveTo>
                    <a:lnTo>
                      <a:pt x="626665" y="1290858"/>
                    </a:lnTo>
                    <a:lnTo>
                      <a:pt x="605422" y="1292274"/>
                    </a:lnTo>
                    <a:lnTo>
                      <a:pt x="619584" y="1211551"/>
                    </a:lnTo>
                    <a:lnTo>
                      <a:pt x="649324" y="1159152"/>
                    </a:lnTo>
                    <a:lnTo>
                      <a:pt x="686145" y="1256869"/>
                    </a:lnTo>
                    <a:close/>
                    <a:moveTo>
                      <a:pt x="602590" y="1306436"/>
                    </a:moveTo>
                    <a:lnTo>
                      <a:pt x="626665" y="1292274"/>
                    </a:lnTo>
                    <a:lnTo>
                      <a:pt x="698891" y="1289442"/>
                    </a:lnTo>
                    <a:lnTo>
                      <a:pt x="771116" y="1484876"/>
                    </a:lnTo>
                    <a:lnTo>
                      <a:pt x="735712" y="1501870"/>
                    </a:lnTo>
                    <a:lnTo>
                      <a:pt x="585595" y="1395656"/>
                    </a:lnTo>
                    <a:lnTo>
                      <a:pt x="602590" y="1306436"/>
                    </a:lnTo>
                    <a:close/>
                    <a:moveTo>
                      <a:pt x="1017534" y="1003371"/>
                    </a:moveTo>
                    <a:lnTo>
                      <a:pt x="1018950" y="1001955"/>
                    </a:lnTo>
                    <a:lnTo>
                      <a:pt x="980713" y="982128"/>
                    </a:lnTo>
                    <a:lnTo>
                      <a:pt x="987794" y="958053"/>
                    </a:lnTo>
                    <a:lnTo>
                      <a:pt x="1079846" y="967967"/>
                    </a:lnTo>
                    <a:lnTo>
                      <a:pt x="1079846" y="1001955"/>
                    </a:lnTo>
                    <a:lnTo>
                      <a:pt x="1017534" y="1003371"/>
                    </a:lnTo>
                    <a:close/>
                    <a:moveTo>
                      <a:pt x="728631" y="773948"/>
                    </a:moveTo>
                    <a:lnTo>
                      <a:pt x="945308" y="953805"/>
                    </a:lnTo>
                    <a:lnTo>
                      <a:pt x="945308" y="953805"/>
                    </a:lnTo>
                    <a:lnTo>
                      <a:pt x="986377" y="958053"/>
                    </a:lnTo>
                    <a:lnTo>
                      <a:pt x="979296" y="980712"/>
                    </a:lnTo>
                    <a:lnTo>
                      <a:pt x="856088" y="914151"/>
                    </a:lnTo>
                    <a:lnTo>
                      <a:pt x="856088" y="914151"/>
                    </a:lnTo>
                    <a:lnTo>
                      <a:pt x="833429" y="926897"/>
                    </a:lnTo>
                    <a:lnTo>
                      <a:pt x="772532" y="868833"/>
                    </a:lnTo>
                    <a:lnTo>
                      <a:pt x="772532" y="868833"/>
                    </a:lnTo>
                    <a:lnTo>
                      <a:pt x="574266" y="840509"/>
                    </a:lnTo>
                    <a:lnTo>
                      <a:pt x="571433" y="820683"/>
                    </a:lnTo>
                    <a:lnTo>
                      <a:pt x="728631" y="773948"/>
                    </a:lnTo>
                    <a:close/>
                    <a:moveTo>
                      <a:pt x="725798" y="1017533"/>
                    </a:moveTo>
                    <a:lnTo>
                      <a:pt x="649324" y="1153488"/>
                    </a:lnTo>
                    <a:lnTo>
                      <a:pt x="619584" y="1075597"/>
                    </a:lnTo>
                    <a:lnTo>
                      <a:pt x="619584" y="1075597"/>
                    </a:lnTo>
                    <a:lnTo>
                      <a:pt x="565769" y="1194557"/>
                    </a:lnTo>
                    <a:lnTo>
                      <a:pt x="443976" y="1157736"/>
                    </a:lnTo>
                    <a:lnTo>
                      <a:pt x="679064" y="1020365"/>
                    </a:lnTo>
                    <a:lnTo>
                      <a:pt x="725798" y="1017533"/>
                    </a:lnTo>
                    <a:close/>
                    <a:moveTo>
                      <a:pt x="622416" y="1293690"/>
                    </a:moveTo>
                    <a:lnTo>
                      <a:pt x="602590" y="1305020"/>
                    </a:lnTo>
                    <a:lnTo>
                      <a:pt x="604006" y="1295107"/>
                    </a:lnTo>
                    <a:lnTo>
                      <a:pt x="622416" y="1293690"/>
                    </a:lnTo>
                    <a:close/>
                    <a:moveTo>
                      <a:pt x="657821" y="1608085"/>
                    </a:moveTo>
                    <a:lnTo>
                      <a:pt x="599757" y="1634993"/>
                    </a:lnTo>
                    <a:lnTo>
                      <a:pt x="596925" y="1623663"/>
                    </a:lnTo>
                    <a:lnTo>
                      <a:pt x="657821" y="1608085"/>
                    </a:lnTo>
                    <a:close/>
                    <a:moveTo>
                      <a:pt x="459554" y="1640657"/>
                    </a:moveTo>
                    <a:lnTo>
                      <a:pt x="548774" y="1596755"/>
                    </a:lnTo>
                    <a:lnTo>
                      <a:pt x="541693" y="1634993"/>
                    </a:lnTo>
                    <a:lnTo>
                      <a:pt x="482213" y="1649154"/>
                    </a:lnTo>
                    <a:lnTo>
                      <a:pt x="459554" y="1640657"/>
                    </a:lnTo>
                    <a:close/>
                    <a:moveTo>
                      <a:pt x="451057" y="1300771"/>
                    </a:moveTo>
                    <a:lnTo>
                      <a:pt x="519034" y="1297939"/>
                    </a:lnTo>
                    <a:lnTo>
                      <a:pt x="502040" y="1336176"/>
                    </a:lnTo>
                    <a:lnTo>
                      <a:pt x="451057" y="1300771"/>
                    </a:lnTo>
                    <a:close/>
                    <a:moveTo>
                      <a:pt x="594092" y="1625079"/>
                    </a:moveTo>
                    <a:lnTo>
                      <a:pt x="596925" y="1636408"/>
                    </a:lnTo>
                    <a:lnTo>
                      <a:pt x="538861" y="1663316"/>
                    </a:lnTo>
                    <a:lnTo>
                      <a:pt x="543110" y="1637825"/>
                    </a:lnTo>
                    <a:lnTo>
                      <a:pt x="594092" y="1625079"/>
                    </a:lnTo>
                    <a:close/>
                    <a:moveTo>
                      <a:pt x="483629" y="1374413"/>
                    </a:moveTo>
                    <a:lnTo>
                      <a:pt x="456722" y="1433893"/>
                    </a:lnTo>
                    <a:lnTo>
                      <a:pt x="412820" y="1415483"/>
                    </a:lnTo>
                    <a:lnTo>
                      <a:pt x="483629" y="1374413"/>
                    </a:lnTo>
                    <a:close/>
                    <a:moveTo>
                      <a:pt x="523283" y="1351754"/>
                    </a:moveTo>
                    <a:lnTo>
                      <a:pt x="599757" y="1307852"/>
                    </a:lnTo>
                    <a:lnTo>
                      <a:pt x="584179" y="1394240"/>
                    </a:lnTo>
                    <a:lnTo>
                      <a:pt x="523283" y="1351754"/>
                    </a:lnTo>
                    <a:close/>
                    <a:moveTo>
                      <a:pt x="571433" y="1547189"/>
                    </a:moveTo>
                    <a:lnTo>
                      <a:pt x="561520" y="1542940"/>
                    </a:lnTo>
                    <a:lnTo>
                      <a:pt x="565769" y="1523113"/>
                    </a:lnTo>
                    <a:lnTo>
                      <a:pt x="571433" y="1547189"/>
                    </a:lnTo>
                    <a:close/>
                    <a:moveTo>
                      <a:pt x="568601" y="1487708"/>
                    </a:moveTo>
                    <a:lnTo>
                      <a:pt x="564352" y="1513200"/>
                    </a:lnTo>
                    <a:lnTo>
                      <a:pt x="553023" y="1476379"/>
                    </a:lnTo>
                    <a:lnTo>
                      <a:pt x="555855" y="1477795"/>
                    </a:lnTo>
                    <a:lnTo>
                      <a:pt x="568601" y="1487708"/>
                    </a:lnTo>
                    <a:close/>
                    <a:moveTo>
                      <a:pt x="557271" y="1477795"/>
                    </a:moveTo>
                    <a:lnTo>
                      <a:pt x="548774" y="1472131"/>
                    </a:lnTo>
                    <a:lnTo>
                      <a:pt x="548774" y="1472131"/>
                    </a:lnTo>
                    <a:lnTo>
                      <a:pt x="550190" y="1474963"/>
                    </a:lnTo>
                    <a:lnTo>
                      <a:pt x="458138" y="1435310"/>
                    </a:lnTo>
                    <a:lnTo>
                      <a:pt x="486462" y="1372997"/>
                    </a:lnTo>
                    <a:lnTo>
                      <a:pt x="521867" y="1353170"/>
                    </a:lnTo>
                    <a:lnTo>
                      <a:pt x="584179" y="1397072"/>
                    </a:lnTo>
                    <a:lnTo>
                      <a:pt x="568601" y="1483460"/>
                    </a:lnTo>
                    <a:lnTo>
                      <a:pt x="557271" y="1477795"/>
                    </a:lnTo>
                    <a:close/>
                    <a:moveTo>
                      <a:pt x="571433" y="1548605"/>
                    </a:moveTo>
                    <a:lnTo>
                      <a:pt x="579931" y="1578345"/>
                    </a:lnTo>
                    <a:lnTo>
                      <a:pt x="551607" y="1592507"/>
                    </a:lnTo>
                    <a:lnTo>
                      <a:pt x="560104" y="1544356"/>
                    </a:lnTo>
                    <a:lnTo>
                      <a:pt x="571433" y="1548605"/>
                    </a:lnTo>
                    <a:close/>
                    <a:moveTo>
                      <a:pt x="612503" y="1562767"/>
                    </a:moveTo>
                    <a:lnTo>
                      <a:pt x="582763" y="1576929"/>
                    </a:lnTo>
                    <a:lnTo>
                      <a:pt x="574266" y="1548605"/>
                    </a:lnTo>
                    <a:lnTo>
                      <a:pt x="612503" y="1562767"/>
                    </a:lnTo>
                    <a:close/>
                    <a:moveTo>
                      <a:pt x="572850" y="1547189"/>
                    </a:moveTo>
                    <a:lnTo>
                      <a:pt x="564352" y="1518865"/>
                    </a:lnTo>
                    <a:lnTo>
                      <a:pt x="570017" y="1490541"/>
                    </a:lnTo>
                    <a:lnTo>
                      <a:pt x="645075" y="1547189"/>
                    </a:lnTo>
                    <a:lnTo>
                      <a:pt x="613919" y="1562767"/>
                    </a:lnTo>
                    <a:lnTo>
                      <a:pt x="572850" y="1547189"/>
                    </a:lnTo>
                    <a:close/>
                    <a:moveTo>
                      <a:pt x="550190" y="1476379"/>
                    </a:moveTo>
                    <a:lnTo>
                      <a:pt x="562936" y="1518865"/>
                    </a:lnTo>
                    <a:lnTo>
                      <a:pt x="558688" y="1542940"/>
                    </a:lnTo>
                    <a:lnTo>
                      <a:pt x="429814" y="1499038"/>
                    </a:lnTo>
                    <a:lnTo>
                      <a:pt x="458138" y="1436726"/>
                    </a:lnTo>
                    <a:lnTo>
                      <a:pt x="550190" y="1476379"/>
                    </a:lnTo>
                    <a:close/>
                    <a:moveTo>
                      <a:pt x="581347" y="1581177"/>
                    </a:moveTo>
                    <a:lnTo>
                      <a:pt x="594092" y="1623663"/>
                    </a:lnTo>
                    <a:lnTo>
                      <a:pt x="544526" y="1636408"/>
                    </a:lnTo>
                    <a:lnTo>
                      <a:pt x="551607" y="1596755"/>
                    </a:lnTo>
                    <a:lnTo>
                      <a:pt x="581347" y="1581177"/>
                    </a:lnTo>
                    <a:close/>
                    <a:moveTo>
                      <a:pt x="676231" y="1531610"/>
                    </a:moveTo>
                    <a:lnTo>
                      <a:pt x="647908" y="1545772"/>
                    </a:lnTo>
                    <a:lnTo>
                      <a:pt x="570017" y="1487708"/>
                    </a:lnTo>
                    <a:lnTo>
                      <a:pt x="570017" y="1486292"/>
                    </a:lnTo>
                    <a:lnTo>
                      <a:pt x="676231" y="1531610"/>
                    </a:lnTo>
                    <a:close/>
                    <a:moveTo>
                      <a:pt x="487878" y="1370165"/>
                    </a:moveTo>
                    <a:lnTo>
                      <a:pt x="502040" y="1339008"/>
                    </a:lnTo>
                    <a:lnTo>
                      <a:pt x="520450" y="1351754"/>
                    </a:lnTo>
                    <a:lnTo>
                      <a:pt x="487878" y="1370165"/>
                    </a:lnTo>
                    <a:close/>
                    <a:moveTo>
                      <a:pt x="595509" y="1622246"/>
                    </a:moveTo>
                    <a:lnTo>
                      <a:pt x="582763" y="1579761"/>
                    </a:lnTo>
                    <a:lnTo>
                      <a:pt x="615335" y="1564183"/>
                    </a:lnTo>
                    <a:lnTo>
                      <a:pt x="696058" y="1591091"/>
                    </a:lnTo>
                    <a:lnTo>
                      <a:pt x="667734" y="1603836"/>
                    </a:lnTo>
                    <a:lnTo>
                      <a:pt x="595509" y="1622246"/>
                    </a:lnTo>
                    <a:close/>
                    <a:moveTo>
                      <a:pt x="647908" y="1548605"/>
                    </a:moveTo>
                    <a:lnTo>
                      <a:pt x="701723" y="1589674"/>
                    </a:lnTo>
                    <a:lnTo>
                      <a:pt x="698891" y="1591091"/>
                    </a:lnTo>
                    <a:lnTo>
                      <a:pt x="618168" y="1564183"/>
                    </a:lnTo>
                    <a:lnTo>
                      <a:pt x="647908" y="1548605"/>
                    </a:lnTo>
                    <a:close/>
                    <a:moveTo>
                      <a:pt x="571433" y="1483460"/>
                    </a:moveTo>
                    <a:lnTo>
                      <a:pt x="587012" y="1398488"/>
                    </a:lnTo>
                    <a:lnTo>
                      <a:pt x="734295" y="1503287"/>
                    </a:lnTo>
                    <a:lnTo>
                      <a:pt x="679064" y="1530194"/>
                    </a:lnTo>
                    <a:lnTo>
                      <a:pt x="571433" y="1483460"/>
                    </a:lnTo>
                    <a:close/>
                    <a:moveTo>
                      <a:pt x="599757" y="1305020"/>
                    </a:moveTo>
                    <a:lnTo>
                      <a:pt x="521867" y="1350338"/>
                    </a:lnTo>
                    <a:lnTo>
                      <a:pt x="503456" y="1336176"/>
                    </a:lnTo>
                    <a:lnTo>
                      <a:pt x="521867" y="1296523"/>
                    </a:lnTo>
                    <a:lnTo>
                      <a:pt x="604006" y="1293690"/>
                    </a:lnTo>
                    <a:lnTo>
                      <a:pt x="599757" y="1305020"/>
                    </a:lnTo>
                    <a:close/>
                    <a:moveTo>
                      <a:pt x="598341" y="1637825"/>
                    </a:moveTo>
                    <a:lnTo>
                      <a:pt x="619584" y="1707218"/>
                    </a:lnTo>
                    <a:lnTo>
                      <a:pt x="528948" y="1722796"/>
                    </a:lnTo>
                    <a:lnTo>
                      <a:pt x="538861" y="1664732"/>
                    </a:lnTo>
                    <a:lnTo>
                      <a:pt x="598341" y="1637825"/>
                    </a:lnTo>
                    <a:close/>
                    <a:moveTo>
                      <a:pt x="705972" y="1595339"/>
                    </a:moveTo>
                    <a:lnTo>
                      <a:pt x="679064" y="1602420"/>
                    </a:lnTo>
                    <a:lnTo>
                      <a:pt x="698891" y="1593923"/>
                    </a:lnTo>
                    <a:lnTo>
                      <a:pt x="705972" y="1595339"/>
                    </a:lnTo>
                    <a:close/>
                    <a:moveTo>
                      <a:pt x="830596" y="1285193"/>
                    </a:moveTo>
                    <a:lnTo>
                      <a:pt x="864585" y="1392824"/>
                    </a:lnTo>
                    <a:lnTo>
                      <a:pt x="864585" y="1392824"/>
                    </a:lnTo>
                    <a:lnTo>
                      <a:pt x="895741" y="1282361"/>
                    </a:lnTo>
                    <a:lnTo>
                      <a:pt x="1051522" y="1276696"/>
                    </a:lnTo>
                    <a:lnTo>
                      <a:pt x="1051522" y="1276696"/>
                    </a:lnTo>
                    <a:lnTo>
                      <a:pt x="1051522" y="1275280"/>
                    </a:lnTo>
                    <a:lnTo>
                      <a:pt x="1051522" y="1275280"/>
                    </a:lnTo>
                    <a:lnTo>
                      <a:pt x="904238" y="1252621"/>
                    </a:lnTo>
                    <a:lnTo>
                      <a:pt x="936811" y="1136493"/>
                    </a:lnTo>
                    <a:lnTo>
                      <a:pt x="1057187" y="1143574"/>
                    </a:lnTo>
                    <a:lnTo>
                      <a:pt x="1197390" y="1276696"/>
                    </a:lnTo>
                    <a:lnTo>
                      <a:pt x="772532" y="1486292"/>
                    </a:lnTo>
                    <a:lnTo>
                      <a:pt x="700307" y="1292274"/>
                    </a:lnTo>
                    <a:lnTo>
                      <a:pt x="830596" y="1285193"/>
                    </a:lnTo>
                    <a:close/>
                    <a:moveTo>
                      <a:pt x="986377" y="955221"/>
                    </a:moveTo>
                    <a:lnTo>
                      <a:pt x="945308" y="950972"/>
                    </a:lnTo>
                    <a:lnTo>
                      <a:pt x="730047" y="772532"/>
                    </a:lnTo>
                    <a:lnTo>
                      <a:pt x="1014701" y="686145"/>
                    </a:lnTo>
                    <a:lnTo>
                      <a:pt x="1062852" y="681896"/>
                    </a:lnTo>
                    <a:lnTo>
                      <a:pt x="986377" y="955221"/>
                    </a:lnTo>
                    <a:close/>
                    <a:moveTo>
                      <a:pt x="728631" y="397241"/>
                    </a:moveTo>
                    <a:lnTo>
                      <a:pt x="748457" y="385912"/>
                    </a:lnTo>
                    <a:lnTo>
                      <a:pt x="793775" y="408571"/>
                    </a:lnTo>
                    <a:lnTo>
                      <a:pt x="793775" y="418484"/>
                    </a:lnTo>
                    <a:lnTo>
                      <a:pt x="728631" y="397241"/>
                    </a:lnTo>
                    <a:close/>
                    <a:moveTo>
                      <a:pt x="749874" y="384496"/>
                    </a:moveTo>
                    <a:lnTo>
                      <a:pt x="790943" y="360421"/>
                    </a:lnTo>
                    <a:lnTo>
                      <a:pt x="792359" y="405739"/>
                    </a:lnTo>
                    <a:lnTo>
                      <a:pt x="749874" y="384496"/>
                    </a:lnTo>
                    <a:close/>
                    <a:moveTo>
                      <a:pt x="902822" y="292443"/>
                    </a:moveTo>
                    <a:lnTo>
                      <a:pt x="793775" y="356172"/>
                    </a:lnTo>
                    <a:lnTo>
                      <a:pt x="792359" y="306605"/>
                    </a:lnTo>
                    <a:lnTo>
                      <a:pt x="792359" y="306605"/>
                    </a:lnTo>
                    <a:lnTo>
                      <a:pt x="742793" y="247125"/>
                    </a:lnTo>
                    <a:lnTo>
                      <a:pt x="744209" y="247125"/>
                    </a:lnTo>
                    <a:lnTo>
                      <a:pt x="744209" y="245709"/>
                    </a:lnTo>
                    <a:lnTo>
                      <a:pt x="739960" y="244293"/>
                    </a:lnTo>
                    <a:lnTo>
                      <a:pt x="669150" y="159321"/>
                    </a:lnTo>
                    <a:lnTo>
                      <a:pt x="902822" y="292443"/>
                    </a:lnTo>
                    <a:close/>
                    <a:moveTo>
                      <a:pt x="511953" y="170651"/>
                    </a:moveTo>
                    <a:lnTo>
                      <a:pt x="485046" y="221634"/>
                    </a:lnTo>
                    <a:lnTo>
                      <a:pt x="738544" y="247125"/>
                    </a:lnTo>
                    <a:lnTo>
                      <a:pt x="788111" y="308022"/>
                    </a:lnTo>
                    <a:lnTo>
                      <a:pt x="789527" y="359004"/>
                    </a:lnTo>
                    <a:lnTo>
                      <a:pt x="747041" y="384496"/>
                    </a:lnTo>
                    <a:lnTo>
                      <a:pt x="676231" y="349091"/>
                    </a:lnTo>
                    <a:lnTo>
                      <a:pt x="686145" y="258455"/>
                    </a:lnTo>
                    <a:lnTo>
                      <a:pt x="686145" y="258455"/>
                    </a:lnTo>
                    <a:lnTo>
                      <a:pt x="621000" y="322183"/>
                    </a:lnTo>
                    <a:lnTo>
                      <a:pt x="595509" y="309438"/>
                    </a:lnTo>
                    <a:lnTo>
                      <a:pt x="595509" y="309438"/>
                    </a:lnTo>
                    <a:lnTo>
                      <a:pt x="544526" y="342010"/>
                    </a:lnTo>
                    <a:lnTo>
                      <a:pt x="407155" y="299524"/>
                    </a:lnTo>
                    <a:lnTo>
                      <a:pt x="366086" y="268368"/>
                    </a:lnTo>
                    <a:lnTo>
                      <a:pt x="475132" y="162154"/>
                    </a:lnTo>
                    <a:lnTo>
                      <a:pt x="511953" y="170651"/>
                    </a:lnTo>
                    <a:close/>
                    <a:moveTo>
                      <a:pt x="363253" y="265536"/>
                    </a:moveTo>
                    <a:lnTo>
                      <a:pt x="363253" y="265536"/>
                    </a:lnTo>
                    <a:lnTo>
                      <a:pt x="401490" y="295276"/>
                    </a:lnTo>
                    <a:lnTo>
                      <a:pt x="359005" y="282530"/>
                    </a:lnTo>
                    <a:lnTo>
                      <a:pt x="360421" y="240045"/>
                    </a:lnTo>
                    <a:lnTo>
                      <a:pt x="360421" y="240045"/>
                    </a:lnTo>
                    <a:lnTo>
                      <a:pt x="326432" y="272617"/>
                    </a:lnTo>
                    <a:lnTo>
                      <a:pt x="269785" y="254206"/>
                    </a:lnTo>
                    <a:lnTo>
                      <a:pt x="266952" y="169235"/>
                    </a:lnTo>
                    <a:lnTo>
                      <a:pt x="302357" y="102674"/>
                    </a:lnTo>
                    <a:lnTo>
                      <a:pt x="343426" y="115419"/>
                    </a:lnTo>
                    <a:lnTo>
                      <a:pt x="475132" y="159321"/>
                    </a:lnTo>
                    <a:lnTo>
                      <a:pt x="363253" y="265536"/>
                    </a:lnTo>
                    <a:close/>
                    <a:moveTo>
                      <a:pt x="224466" y="693226"/>
                    </a:moveTo>
                    <a:lnTo>
                      <a:pt x="285363" y="657821"/>
                    </a:lnTo>
                    <a:lnTo>
                      <a:pt x="337762" y="732879"/>
                    </a:lnTo>
                    <a:lnTo>
                      <a:pt x="326432" y="745624"/>
                    </a:lnTo>
                    <a:lnTo>
                      <a:pt x="224466" y="693226"/>
                    </a:lnTo>
                    <a:close/>
                    <a:moveTo>
                      <a:pt x="344843" y="756954"/>
                    </a:moveTo>
                    <a:lnTo>
                      <a:pt x="343426" y="807937"/>
                    </a:lnTo>
                    <a:lnTo>
                      <a:pt x="285363" y="799440"/>
                    </a:lnTo>
                    <a:lnTo>
                      <a:pt x="326432" y="748457"/>
                    </a:lnTo>
                    <a:lnTo>
                      <a:pt x="344843" y="756954"/>
                    </a:lnTo>
                    <a:close/>
                    <a:moveTo>
                      <a:pt x="346259" y="809353"/>
                    </a:moveTo>
                    <a:lnTo>
                      <a:pt x="397242" y="816434"/>
                    </a:lnTo>
                    <a:lnTo>
                      <a:pt x="425566" y="857503"/>
                    </a:lnTo>
                    <a:lnTo>
                      <a:pt x="425566" y="857503"/>
                    </a:lnTo>
                    <a:lnTo>
                      <a:pt x="465219" y="851839"/>
                    </a:lnTo>
                    <a:lnTo>
                      <a:pt x="507705" y="839093"/>
                    </a:lnTo>
                    <a:lnTo>
                      <a:pt x="577098" y="874498"/>
                    </a:lnTo>
                    <a:lnTo>
                      <a:pt x="577098" y="880163"/>
                    </a:lnTo>
                    <a:lnTo>
                      <a:pt x="340594" y="986377"/>
                    </a:lnTo>
                    <a:lnTo>
                      <a:pt x="346259" y="809353"/>
                    </a:lnTo>
                    <a:close/>
                    <a:moveTo>
                      <a:pt x="772532" y="870249"/>
                    </a:moveTo>
                    <a:lnTo>
                      <a:pt x="832012" y="926897"/>
                    </a:lnTo>
                    <a:lnTo>
                      <a:pt x="677648" y="1017533"/>
                    </a:lnTo>
                    <a:lnTo>
                      <a:pt x="557271" y="1023198"/>
                    </a:lnTo>
                    <a:lnTo>
                      <a:pt x="592676" y="990626"/>
                    </a:lnTo>
                    <a:lnTo>
                      <a:pt x="592676" y="990626"/>
                    </a:lnTo>
                    <a:lnTo>
                      <a:pt x="578514" y="882995"/>
                    </a:lnTo>
                    <a:lnTo>
                      <a:pt x="585595" y="880163"/>
                    </a:lnTo>
                    <a:lnTo>
                      <a:pt x="577098" y="875914"/>
                    </a:lnTo>
                    <a:lnTo>
                      <a:pt x="572850" y="844758"/>
                    </a:lnTo>
                    <a:lnTo>
                      <a:pt x="772532" y="870249"/>
                    </a:lnTo>
                    <a:close/>
                    <a:moveTo>
                      <a:pt x="609670" y="1208719"/>
                    </a:moveTo>
                    <a:lnTo>
                      <a:pt x="547358" y="1238459"/>
                    </a:lnTo>
                    <a:lnTo>
                      <a:pt x="567185" y="1195973"/>
                    </a:lnTo>
                    <a:lnTo>
                      <a:pt x="609670" y="1208719"/>
                    </a:lnTo>
                    <a:close/>
                    <a:moveTo>
                      <a:pt x="615335" y="1208719"/>
                    </a:moveTo>
                    <a:lnTo>
                      <a:pt x="615335" y="1208719"/>
                    </a:lnTo>
                    <a:lnTo>
                      <a:pt x="568601" y="1194557"/>
                    </a:lnTo>
                    <a:lnTo>
                      <a:pt x="621000" y="1081262"/>
                    </a:lnTo>
                    <a:lnTo>
                      <a:pt x="649324" y="1156320"/>
                    </a:lnTo>
                    <a:lnTo>
                      <a:pt x="618168" y="1211551"/>
                    </a:lnTo>
                    <a:lnTo>
                      <a:pt x="604006" y="1292274"/>
                    </a:lnTo>
                    <a:lnTo>
                      <a:pt x="523283" y="1295107"/>
                    </a:lnTo>
                    <a:lnTo>
                      <a:pt x="547358" y="1241291"/>
                    </a:lnTo>
                    <a:lnTo>
                      <a:pt x="615335" y="1208719"/>
                    </a:lnTo>
                    <a:close/>
                    <a:moveTo>
                      <a:pt x="519034" y="1295107"/>
                    </a:moveTo>
                    <a:lnTo>
                      <a:pt x="445392" y="1297939"/>
                    </a:lnTo>
                    <a:lnTo>
                      <a:pt x="445392" y="1297939"/>
                    </a:lnTo>
                    <a:lnTo>
                      <a:pt x="500624" y="1337592"/>
                    </a:lnTo>
                    <a:lnTo>
                      <a:pt x="485046" y="1371581"/>
                    </a:lnTo>
                    <a:lnTo>
                      <a:pt x="408571" y="1415483"/>
                    </a:lnTo>
                    <a:lnTo>
                      <a:pt x="408571" y="1415483"/>
                    </a:lnTo>
                    <a:lnTo>
                      <a:pt x="456722" y="1436726"/>
                    </a:lnTo>
                    <a:lnTo>
                      <a:pt x="428398" y="1499038"/>
                    </a:lnTo>
                    <a:lnTo>
                      <a:pt x="330681" y="1466465"/>
                    </a:lnTo>
                    <a:lnTo>
                      <a:pt x="363253" y="1334760"/>
                    </a:lnTo>
                    <a:lnTo>
                      <a:pt x="443976" y="1293690"/>
                    </a:lnTo>
                    <a:lnTo>
                      <a:pt x="544526" y="1244124"/>
                    </a:lnTo>
                    <a:lnTo>
                      <a:pt x="519034" y="1295107"/>
                    </a:lnTo>
                    <a:close/>
                    <a:moveTo>
                      <a:pt x="456722" y="1642073"/>
                    </a:moveTo>
                    <a:lnTo>
                      <a:pt x="482213" y="1651987"/>
                    </a:lnTo>
                    <a:lnTo>
                      <a:pt x="482213" y="1651987"/>
                    </a:lnTo>
                    <a:lnTo>
                      <a:pt x="541693" y="1637825"/>
                    </a:lnTo>
                    <a:lnTo>
                      <a:pt x="537445" y="1664732"/>
                    </a:lnTo>
                    <a:lnTo>
                      <a:pt x="502040" y="1681727"/>
                    </a:lnTo>
                    <a:lnTo>
                      <a:pt x="442560" y="1650570"/>
                    </a:lnTo>
                    <a:lnTo>
                      <a:pt x="456722" y="1642073"/>
                    </a:lnTo>
                    <a:close/>
                    <a:moveTo>
                      <a:pt x="629497" y="1707218"/>
                    </a:moveTo>
                    <a:lnTo>
                      <a:pt x="629497" y="1707218"/>
                    </a:lnTo>
                    <a:lnTo>
                      <a:pt x="621000" y="1708634"/>
                    </a:lnTo>
                    <a:lnTo>
                      <a:pt x="599757" y="1637825"/>
                    </a:lnTo>
                    <a:lnTo>
                      <a:pt x="669150" y="1606669"/>
                    </a:lnTo>
                    <a:lnTo>
                      <a:pt x="710220" y="1596755"/>
                    </a:lnTo>
                    <a:lnTo>
                      <a:pt x="849007" y="1643489"/>
                    </a:lnTo>
                    <a:lnTo>
                      <a:pt x="756954" y="1744039"/>
                    </a:lnTo>
                    <a:lnTo>
                      <a:pt x="720133" y="1617998"/>
                    </a:lnTo>
                    <a:lnTo>
                      <a:pt x="720133" y="1616582"/>
                    </a:lnTo>
                    <a:lnTo>
                      <a:pt x="705972" y="1846005"/>
                    </a:lnTo>
                    <a:lnTo>
                      <a:pt x="662069" y="1846005"/>
                    </a:lnTo>
                    <a:lnTo>
                      <a:pt x="629497" y="1736958"/>
                    </a:lnTo>
                    <a:lnTo>
                      <a:pt x="629497" y="1707218"/>
                    </a:lnTo>
                    <a:close/>
                    <a:moveTo>
                      <a:pt x="1060019" y="1140742"/>
                    </a:moveTo>
                    <a:lnTo>
                      <a:pt x="969383" y="1054354"/>
                    </a:lnTo>
                    <a:lnTo>
                      <a:pt x="1016117" y="1006203"/>
                    </a:lnTo>
                    <a:lnTo>
                      <a:pt x="1081262" y="1003371"/>
                    </a:lnTo>
                    <a:lnTo>
                      <a:pt x="1081262" y="1024614"/>
                    </a:lnTo>
                    <a:lnTo>
                      <a:pt x="1081262" y="1024614"/>
                    </a:lnTo>
                    <a:lnTo>
                      <a:pt x="1096840" y="1001955"/>
                    </a:lnTo>
                    <a:lnTo>
                      <a:pt x="1286610" y="994874"/>
                    </a:lnTo>
                    <a:lnTo>
                      <a:pt x="1256870" y="1153488"/>
                    </a:lnTo>
                    <a:lnTo>
                      <a:pt x="1060019" y="1140742"/>
                    </a:lnTo>
                    <a:close/>
                    <a:moveTo>
                      <a:pt x="1079846" y="667734"/>
                    </a:moveTo>
                    <a:lnTo>
                      <a:pt x="1079846" y="680480"/>
                    </a:lnTo>
                    <a:lnTo>
                      <a:pt x="1065684" y="681896"/>
                    </a:lnTo>
                    <a:lnTo>
                      <a:pt x="1068517" y="671983"/>
                    </a:lnTo>
                    <a:lnTo>
                      <a:pt x="1079846" y="667734"/>
                    </a:lnTo>
                    <a:close/>
                    <a:moveTo>
                      <a:pt x="1023198" y="683312"/>
                    </a:moveTo>
                    <a:lnTo>
                      <a:pt x="1065684" y="670566"/>
                    </a:lnTo>
                    <a:lnTo>
                      <a:pt x="1062852" y="680480"/>
                    </a:lnTo>
                    <a:lnTo>
                      <a:pt x="1023198" y="683312"/>
                    </a:lnTo>
                    <a:close/>
                    <a:moveTo>
                      <a:pt x="344843" y="16286"/>
                    </a:moveTo>
                    <a:lnTo>
                      <a:pt x="300941" y="99841"/>
                    </a:lnTo>
                    <a:lnTo>
                      <a:pt x="264120" y="88512"/>
                    </a:lnTo>
                    <a:lnTo>
                      <a:pt x="262704" y="60188"/>
                    </a:lnTo>
                    <a:lnTo>
                      <a:pt x="344843" y="16286"/>
                    </a:lnTo>
                    <a:close/>
                    <a:moveTo>
                      <a:pt x="126749" y="426981"/>
                    </a:moveTo>
                    <a:lnTo>
                      <a:pt x="92761" y="492126"/>
                    </a:lnTo>
                    <a:lnTo>
                      <a:pt x="140911" y="446808"/>
                    </a:lnTo>
                    <a:lnTo>
                      <a:pt x="184813" y="509121"/>
                    </a:lnTo>
                    <a:lnTo>
                      <a:pt x="12038" y="625248"/>
                    </a:lnTo>
                    <a:lnTo>
                      <a:pt x="99842" y="385912"/>
                    </a:lnTo>
                    <a:lnTo>
                      <a:pt x="126749" y="426981"/>
                    </a:lnTo>
                    <a:close/>
                    <a:moveTo>
                      <a:pt x="230131" y="360421"/>
                    </a:moveTo>
                    <a:lnTo>
                      <a:pt x="139495" y="443976"/>
                    </a:lnTo>
                    <a:lnTo>
                      <a:pt x="128165" y="426981"/>
                    </a:lnTo>
                    <a:lnTo>
                      <a:pt x="183397" y="322183"/>
                    </a:lnTo>
                    <a:lnTo>
                      <a:pt x="230131" y="360421"/>
                    </a:lnTo>
                    <a:close/>
                    <a:moveTo>
                      <a:pt x="197559" y="293860"/>
                    </a:moveTo>
                    <a:lnTo>
                      <a:pt x="184813" y="319351"/>
                    </a:lnTo>
                    <a:lnTo>
                      <a:pt x="128165" y="272617"/>
                    </a:lnTo>
                    <a:lnTo>
                      <a:pt x="197559" y="293860"/>
                    </a:lnTo>
                    <a:close/>
                    <a:moveTo>
                      <a:pt x="139495" y="445392"/>
                    </a:moveTo>
                    <a:lnTo>
                      <a:pt x="99842" y="482213"/>
                    </a:lnTo>
                    <a:lnTo>
                      <a:pt x="128165" y="429814"/>
                    </a:lnTo>
                    <a:lnTo>
                      <a:pt x="139495" y="445392"/>
                    </a:lnTo>
                    <a:close/>
                    <a:moveTo>
                      <a:pt x="469468" y="1926727"/>
                    </a:moveTo>
                    <a:lnTo>
                      <a:pt x="509121" y="1829010"/>
                    </a:lnTo>
                    <a:lnTo>
                      <a:pt x="527531" y="1724212"/>
                    </a:lnTo>
                    <a:lnTo>
                      <a:pt x="618168" y="1708634"/>
                    </a:lnTo>
                    <a:lnTo>
                      <a:pt x="625249" y="1734126"/>
                    </a:lnTo>
                    <a:lnTo>
                      <a:pt x="623832" y="1843172"/>
                    </a:lnTo>
                    <a:lnTo>
                      <a:pt x="558688" y="1843172"/>
                    </a:lnTo>
                    <a:lnTo>
                      <a:pt x="558688" y="1843172"/>
                    </a:lnTo>
                    <a:lnTo>
                      <a:pt x="545942" y="1930976"/>
                    </a:lnTo>
                    <a:lnTo>
                      <a:pt x="469468" y="1926727"/>
                    </a:lnTo>
                    <a:close/>
                    <a:moveTo>
                      <a:pt x="547358" y="1933808"/>
                    </a:moveTo>
                    <a:lnTo>
                      <a:pt x="533196" y="2025861"/>
                    </a:lnTo>
                    <a:lnTo>
                      <a:pt x="448225" y="1974878"/>
                    </a:lnTo>
                    <a:lnTo>
                      <a:pt x="466635" y="1929560"/>
                    </a:lnTo>
                    <a:lnTo>
                      <a:pt x="547358" y="1933808"/>
                    </a:lnTo>
                    <a:close/>
                    <a:moveTo>
                      <a:pt x="533196" y="2027277"/>
                    </a:moveTo>
                    <a:lnTo>
                      <a:pt x="533196" y="2027277"/>
                    </a:lnTo>
                    <a:lnTo>
                      <a:pt x="432647" y="2014531"/>
                    </a:lnTo>
                    <a:lnTo>
                      <a:pt x="448225" y="1976294"/>
                    </a:lnTo>
                    <a:lnTo>
                      <a:pt x="533196" y="2027277"/>
                    </a:lnTo>
                    <a:close/>
                    <a:moveTo>
                      <a:pt x="313687" y="2255284"/>
                    </a:moveTo>
                    <a:lnTo>
                      <a:pt x="347675" y="2221295"/>
                    </a:lnTo>
                    <a:lnTo>
                      <a:pt x="344843" y="2269446"/>
                    </a:lnTo>
                    <a:lnTo>
                      <a:pt x="313687" y="2255284"/>
                    </a:lnTo>
                    <a:close/>
                    <a:moveTo>
                      <a:pt x="288195" y="2428059"/>
                    </a:moveTo>
                    <a:lnTo>
                      <a:pt x="257039" y="2323261"/>
                    </a:lnTo>
                    <a:lnTo>
                      <a:pt x="343426" y="2314764"/>
                    </a:lnTo>
                    <a:lnTo>
                      <a:pt x="339178" y="2379909"/>
                    </a:lnTo>
                    <a:lnTo>
                      <a:pt x="288195" y="2428059"/>
                    </a:lnTo>
                    <a:close/>
                    <a:moveTo>
                      <a:pt x="289611" y="2433724"/>
                    </a:moveTo>
                    <a:lnTo>
                      <a:pt x="288195" y="2430892"/>
                    </a:lnTo>
                    <a:lnTo>
                      <a:pt x="339178" y="2384157"/>
                    </a:lnTo>
                    <a:lnTo>
                      <a:pt x="336345" y="2433724"/>
                    </a:lnTo>
                    <a:lnTo>
                      <a:pt x="289611" y="2433724"/>
                    </a:lnTo>
                    <a:close/>
                    <a:moveTo>
                      <a:pt x="282530" y="2436556"/>
                    </a:moveTo>
                    <a:lnTo>
                      <a:pt x="288195" y="2436556"/>
                    </a:lnTo>
                    <a:lnTo>
                      <a:pt x="302357" y="2486123"/>
                    </a:lnTo>
                    <a:lnTo>
                      <a:pt x="298108" y="2494620"/>
                    </a:lnTo>
                    <a:lnTo>
                      <a:pt x="281114" y="2439389"/>
                    </a:lnTo>
                    <a:lnTo>
                      <a:pt x="282530" y="2436556"/>
                    </a:lnTo>
                    <a:close/>
                    <a:moveTo>
                      <a:pt x="285363" y="2435140"/>
                    </a:moveTo>
                    <a:lnTo>
                      <a:pt x="288195" y="2432308"/>
                    </a:lnTo>
                    <a:lnTo>
                      <a:pt x="289611" y="2435140"/>
                    </a:lnTo>
                    <a:lnTo>
                      <a:pt x="285363" y="2435140"/>
                    </a:lnTo>
                    <a:close/>
                    <a:moveTo>
                      <a:pt x="312270" y="2256700"/>
                    </a:moveTo>
                    <a:lnTo>
                      <a:pt x="344843" y="2270862"/>
                    </a:lnTo>
                    <a:lnTo>
                      <a:pt x="342010" y="2311932"/>
                    </a:lnTo>
                    <a:lnTo>
                      <a:pt x="252790" y="2320429"/>
                    </a:lnTo>
                    <a:lnTo>
                      <a:pt x="252790" y="2320429"/>
                    </a:lnTo>
                    <a:lnTo>
                      <a:pt x="285363" y="2428059"/>
                    </a:lnTo>
                    <a:lnTo>
                      <a:pt x="281114" y="2432308"/>
                    </a:lnTo>
                    <a:lnTo>
                      <a:pt x="278282" y="2432308"/>
                    </a:lnTo>
                    <a:lnTo>
                      <a:pt x="242877" y="2321845"/>
                    </a:lnTo>
                    <a:lnTo>
                      <a:pt x="312270" y="2256700"/>
                    </a:lnTo>
                    <a:close/>
                    <a:moveTo>
                      <a:pt x="350507" y="2217047"/>
                    </a:moveTo>
                    <a:lnTo>
                      <a:pt x="350507" y="2215631"/>
                    </a:lnTo>
                    <a:lnTo>
                      <a:pt x="353340" y="2214215"/>
                    </a:lnTo>
                    <a:lnTo>
                      <a:pt x="350507" y="2217047"/>
                    </a:lnTo>
                    <a:close/>
                    <a:moveTo>
                      <a:pt x="303773" y="2057017"/>
                    </a:moveTo>
                    <a:lnTo>
                      <a:pt x="308022" y="2042855"/>
                    </a:lnTo>
                    <a:lnTo>
                      <a:pt x="308022" y="2042855"/>
                    </a:lnTo>
                    <a:lnTo>
                      <a:pt x="292444" y="1998953"/>
                    </a:lnTo>
                    <a:lnTo>
                      <a:pt x="346259" y="2006034"/>
                    </a:lnTo>
                    <a:lnTo>
                      <a:pt x="347675" y="2102336"/>
                    </a:lnTo>
                    <a:lnTo>
                      <a:pt x="303773" y="2057017"/>
                    </a:lnTo>
                    <a:close/>
                    <a:moveTo>
                      <a:pt x="404323" y="2010283"/>
                    </a:moveTo>
                    <a:lnTo>
                      <a:pt x="401490" y="1947970"/>
                    </a:lnTo>
                    <a:lnTo>
                      <a:pt x="446808" y="1974878"/>
                    </a:lnTo>
                    <a:lnTo>
                      <a:pt x="431230" y="2014531"/>
                    </a:lnTo>
                    <a:lnTo>
                      <a:pt x="404323" y="2010283"/>
                    </a:lnTo>
                    <a:close/>
                    <a:moveTo>
                      <a:pt x="408571" y="2163232"/>
                    </a:moveTo>
                    <a:lnTo>
                      <a:pt x="408571" y="2163232"/>
                    </a:lnTo>
                    <a:lnTo>
                      <a:pt x="408571" y="2163232"/>
                    </a:lnTo>
                    <a:lnTo>
                      <a:pt x="408571" y="2163232"/>
                    </a:lnTo>
                    <a:close/>
                    <a:moveTo>
                      <a:pt x="363253" y="2207134"/>
                    </a:moveTo>
                    <a:lnTo>
                      <a:pt x="407155" y="2163232"/>
                    </a:lnTo>
                    <a:lnTo>
                      <a:pt x="408571" y="2164648"/>
                    </a:lnTo>
                    <a:lnTo>
                      <a:pt x="409988" y="2184474"/>
                    </a:lnTo>
                    <a:lnTo>
                      <a:pt x="363253" y="2207134"/>
                    </a:lnTo>
                    <a:close/>
                    <a:moveTo>
                      <a:pt x="405739" y="2163232"/>
                    </a:moveTo>
                    <a:lnTo>
                      <a:pt x="357588" y="2211382"/>
                    </a:lnTo>
                    <a:lnTo>
                      <a:pt x="350507" y="2214215"/>
                    </a:lnTo>
                    <a:lnTo>
                      <a:pt x="381664" y="2139156"/>
                    </a:lnTo>
                    <a:lnTo>
                      <a:pt x="405739" y="2163232"/>
                    </a:lnTo>
                    <a:close/>
                    <a:moveTo>
                      <a:pt x="402907" y="2013115"/>
                    </a:moveTo>
                    <a:lnTo>
                      <a:pt x="405739" y="2078260"/>
                    </a:lnTo>
                    <a:lnTo>
                      <a:pt x="381664" y="2134908"/>
                    </a:lnTo>
                    <a:lnTo>
                      <a:pt x="350507" y="2103751"/>
                    </a:lnTo>
                    <a:lnTo>
                      <a:pt x="349091" y="2006034"/>
                    </a:lnTo>
                    <a:lnTo>
                      <a:pt x="402907" y="2013115"/>
                    </a:lnTo>
                    <a:close/>
                    <a:moveTo>
                      <a:pt x="407155" y="2160399"/>
                    </a:moveTo>
                    <a:lnTo>
                      <a:pt x="383080" y="2136324"/>
                    </a:lnTo>
                    <a:lnTo>
                      <a:pt x="405739" y="2082508"/>
                    </a:lnTo>
                    <a:lnTo>
                      <a:pt x="407155" y="2160399"/>
                    </a:lnTo>
                    <a:lnTo>
                      <a:pt x="407155" y="2160399"/>
                    </a:lnTo>
                    <a:close/>
                    <a:moveTo>
                      <a:pt x="429814" y="2015948"/>
                    </a:moveTo>
                    <a:lnTo>
                      <a:pt x="405739" y="2072595"/>
                    </a:lnTo>
                    <a:lnTo>
                      <a:pt x="402907" y="2011699"/>
                    </a:lnTo>
                    <a:lnTo>
                      <a:pt x="429814" y="2015948"/>
                    </a:lnTo>
                    <a:close/>
                    <a:moveTo>
                      <a:pt x="400074" y="1945138"/>
                    </a:moveTo>
                    <a:lnTo>
                      <a:pt x="400074" y="1945138"/>
                    </a:lnTo>
                    <a:lnTo>
                      <a:pt x="402907" y="2011699"/>
                    </a:lnTo>
                    <a:lnTo>
                      <a:pt x="349091" y="2004618"/>
                    </a:lnTo>
                    <a:lnTo>
                      <a:pt x="347675" y="1923895"/>
                    </a:lnTo>
                    <a:lnTo>
                      <a:pt x="466635" y="1929560"/>
                    </a:lnTo>
                    <a:lnTo>
                      <a:pt x="448225" y="1973462"/>
                    </a:lnTo>
                    <a:lnTo>
                      <a:pt x="400074" y="1945138"/>
                    </a:lnTo>
                    <a:close/>
                    <a:moveTo>
                      <a:pt x="347675" y="2103751"/>
                    </a:moveTo>
                    <a:lnTo>
                      <a:pt x="349091" y="2214215"/>
                    </a:lnTo>
                    <a:lnTo>
                      <a:pt x="349091" y="2214215"/>
                    </a:lnTo>
                    <a:lnTo>
                      <a:pt x="349091" y="2218463"/>
                    </a:lnTo>
                    <a:lnTo>
                      <a:pt x="312270" y="2253868"/>
                    </a:lnTo>
                    <a:lnTo>
                      <a:pt x="259871" y="2229793"/>
                    </a:lnTo>
                    <a:lnTo>
                      <a:pt x="303773" y="2058433"/>
                    </a:lnTo>
                    <a:lnTo>
                      <a:pt x="347675" y="2103751"/>
                    </a:lnTo>
                    <a:close/>
                    <a:moveTo>
                      <a:pt x="380247" y="2137740"/>
                    </a:moveTo>
                    <a:lnTo>
                      <a:pt x="350507" y="2208550"/>
                    </a:lnTo>
                    <a:lnTo>
                      <a:pt x="349091" y="2106584"/>
                    </a:lnTo>
                    <a:lnTo>
                      <a:pt x="380247" y="2137740"/>
                    </a:lnTo>
                    <a:close/>
                    <a:moveTo>
                      <a:pt x="507705" y="1829010"/>
                    </a:moveTo>
                    <a:lnTo>
                      <a:pt x="466635" y="1926727"/>
                    </a:lnTo>
                    <a:lnTo>
                      <a:pt x="346259" y="1921063"/>
                    </a:lnTo>
                    <a:lnTo>
                      <a:pt x="344843" y="1756785"/>
                    </a:lnTo>
                    <a:lnTo>
                      <a:pt x="526115" y="1727045"/>
                    </a:lnTo>
                    <a:lnTo>
                      <a:pt x="507705" y="1829010"/>
                    </a:lnTo>
                    <a:close/>
                    <a:moveTo>
                      <a:pt x="344843" y="1922479"/>
                    </a:moveTo>
                    <a:lnTo>
                      <a:pt x="346259" y="2003202"/>
                    </a:lnTo>
                    <a:lnTo>
                      <a:pt x="291027" y="1996121"/>
                    </a:lnTo>
                    <a:lnTo>
                      <a:pt x="264120" y="1918231"/>
                    </a:lnTo>
                    <a:lnTo>
                      <a:pt x="344843" y="1922479"/>
                    </a:lnTo>
                    <a:close/>
                    <a:moveTo>
                      <a:pt x="289611" y="1997537"/>
                    </a:moveTo>
                    <a:lnTo>
                      <a:pt x="305189" y="2042855"/>
                    </a:lnTo>
                    <a:lnTo>
                      <a:pt x="302357" y="2055601"/>
                    </a:lnTo>
                    <a:lnTo>
                      <a:pt x="238628" y="1991872"/>
                    </a:lnTo>
                    <a:lnTo>
                      <a:pt x="289611" y="1997537"/>
                    </a:lnTo>
                    <a:close/>
                    <a:moveTo>
                      <a:pt x="350507" y="2219879"/>
                    </a:moveTo>
                    <a:lnTo>
                      <a:pt x="359005" y="2211382"/>
                    </a:lnTo>
                    <a:lnTo>
                      <a:pt x="409988" y="2185891"/>
                    </a:lnTo>
                    <a:lnTo>
                      <a:pt x="414236" y="2299186"/>
                    </a:lnTo>
                    <a:lnTo>
                      <a:pt x="349091" y="2269446"/>
                    </a:lnTo>
                    <a:lnTo>
                      <a:pt x="350507" y="2219879"/>
                    </a:lnTo>
                    <a:close/>
                    <a:moveTo>
                      <a:pt x="531780" y="2037191"/>
                    </a:moveTo>
                    <a:lnTo>
                      <a:pt x="409988" y="2158983"/>
                    </a:lnTo>
                    <a:lnTo>
                      <a:pt x="407155" y="2079676"/>
                    </a:lnTo>
                    <a:lnTo>
                      <a:pt x="432647" y="2018780"/>
                    </a:lnTo>
                    <a:lnTo>
                      <a:pt x="533196" y="2031526"/>
                    </a:lnTo>
                    <a:lnTo>
                      <a:pt x="531780" y="2037191"/>
                    </a:lnTo>
                    <a:close/>
                    <a:moveTo>
                      <a:pt x="298108" y="2498869"/>
                    </a:moveTo>
                    <a:lnTo>
                      <a:pt x="334929" y="2614996"/>
                    </a:lnTo>
                    <a:lnTo>
                      <a:pt x="223050" y="2636239"/>
                    </a:lnTo>
                    <a:lnTo>
                      <a:pt x="298108" y="2498869"/>
                    </a:lnTo>
                    <a:close/>
                    <a:moveTo>
                      <a:pt x="417069" y="2307683"/>
                    </a:moveTo>
                    <a:lnTo>
                      <a:pt x="342010" y="2378493"/>
                    </a:lnTo>
                    <a:lnTo>
                      <a:pt x="344843" y="2314764"/>
                    </a:lnTo>
                    <a:lnTo>
                      <a:pt x="417069" y="2307683"/>
                    </a:lnTo>
                    <a:close/>
                    <a:moveTo>
                      <a:pt x="1286610" y="989209"/>
                    </a:moveTo>
                    <a:lnTo>
                      <a:pt x="1286610" y="992042"/>
                    </a:lnTo>
                    <a:lnTo>
                      <a:pt x="1098257" y="1000539"/>
                    </a:lnTo>
                    <a:lnTo>
                      <a:pt x="1118083" y="972215"/>
                    </a:lnTo>
                    <a:lnTo>
                      <a:pt x="1286610" y="989209"/>
                    </a:lnTo>
                    <a:close/>
                    <a:moveTo>
                      <a:pt x="1412651" y="764035"/>
                    </a:moveTo>
                    <a:lnTo>
                      <a:pt x="1314934" y="841926"/>
                    </a:lnTo>
                    <a:lnTo>
                      <a:pt x="1314934" y="841926"/>
                    </a:lnTo>
                    <a:lnTo>
                      <a:pt x="1286610" y="986377"/>
                    </a:lnTo>
                    <a:lnTo>
                      <a:pt x="1118083" y="969383"/>
                    </a:lnTo>
                    <a:lnTo>
                      <a:pt x="1239876" y="792359"/>
                    </a:lnTo>
                    <a:lnTo>
                      <a:pt x="1412651" y="764035"/>
                    </a:lnTo>
                    <a:close/>
                    <a:moveTo>
                      <a:pt x="220218" y="693226"/>
                    </a:moveTo>
                    <a:lnTo>
                      <a:pt x="157905" y="730046"/>
                    </a:lnTo>
                    <a:lnTo>
                      <a:pt x="142327" y="653572"/>
                    </a:lnTo>
                    <a:lnTo>
                      <a:pt x="220218" y="693226"/>
                    </a:lnTo>
                    <a:close/>
                    <a:moveTo>
                      <a:pt x="156489" y="732879"/>
                    </a:moveTo>
                    <a:lnTo>
                      <a:pt x="166402" y="782445"/>
                    </a:lnTo>
                    <a:lnTo>
                      <a:pt x="91345" y="771116"/>
                    </a:lnTo>
                    <a:lnTo>
                      <a:pt x="156489" y="732879"/>
                    </a:lnTo>
                    <a:close/>
                    <a:moveTo>
                      <a:pt x="282530" y="800856"/>
                    </a:moveTo>
                    <a:lnTo>
                      <a:pt x="194726" y="908486"/>
                    </a:lnTo>
                    <a:lnTo>
                      <a:pt x="169235" y="785278"/>
                    </a:lnTo>
                    <a:lnTo>
                      <a:pt x="282530" y="800856"/>
                    </a:lnTo>
                    <a:close/>
                    <a:moveTo>
                      <a:pt x="375999" y="1609501"/>
                    </a:moveTo>
                    <a:lnTo>
                      <a:pt x="374583" y="1613750"/>
                    </a:lnTo>
                    <a:lnTo>
                      <a:pt x="342010" y="1596755"/>
                    </a:lnTo>
                    <a:lnTo>
                      <a:pt x="375999" y="1609501"/>
                    </a:lnTo>
                    <a:close/>
                    <a:moveTo>
                      <a:pt x="438311" y="1649154"/>
                    </a:moveTo>
                    <a:lnTo>
                      <a:pt x="339178" y="1697305"/>
                    </a:lnTo>
                    <a:lnTo>
                      <a:pt x="375999" y="1615166"/>
                    </a:lnTo>
                    <a:lnTo>
                      <a:pt x="438311" y="1649154"/>
                    </a:lnTo>
                    <a:close/>
                    <a:moveTo>
                      <a:pt x="281114" y="2436556"/>
                    </a:moveTo>
                    <a:lnTo>
                      <a:pt x="281114" y="2436556"/>
                    </a:lnTo>
                    <a:lnTo>
                      <a:pt x="281114" y="2436556"/>
                    </a:lnTo>
                    <a:lnTo>
                      <a:pt x="281114" y="2436556"/>
                    </a:lnTo>
                    <a:close/>
                    <a:moveTo>
                      <a:pt x="536029" y="2027277"/>
                    </a:moveTo>
                    <a:lnTo>
                      <a:pt x="536029" y="2027277"/>
                    </a:lnTo>
                    <a:lnTo>
                      <a:pt x="536029" y="2027277"/>
                    </a:lnTo>
                    <a:lnTo>
                      <a:pt x="536029" y="2027277"/>
                    </a:lnTo>
                    <a:close/>
                    <a:moveTo>
                      <a:pt x="662069" y="1847421"/>
                    </a:moveTo>
                    <a:lnTo>
                      <a:pt x="704555" y="1847421"/>
                    </a:lnTo>
                    <a:lnTo>
                      <a:pt x="690393" y="1946554"/>
                    </a:lnTo>
                    <a:lnTo>
                      <a:pt x="662069" y="1847421"/>
                    </a:lnTo>
                    <a:close/>
                    <a:moveTo>
                      <a:pt x="1310685" y="992042"/>
                    </a:moveTo>
                    <a:lnTo>
                      <a:pt x="1288026" y="993458"/>
                    </a:lnTo>
                    <a:lnTo>
                      <a:pt x="1288026" y="990626"/>
                    </a:lnTo>
                    <a:lnTo>
                      <a:pt x="1310685" y="992042"/>
                    </a:lnTo>
                    <a:close/>
                    <a:moveTo>
                      <a:pt x="890076" y="452473"/>
                    </a:moveTo>
                    <a:lnTo>
                      <a:pt x="941059" y="377415"/>
                    </a:lnTo>
                    <a:lnTo>
                      <a:pt x="950973" y="483629"/>
                    </a:lnTo>
                    <a:lnTo>
                      <a:pt x="890076" y="452473"/>
                    </a:lnTo>
                    <a:close/>
                    <a:moveTo>
                      <a:pt x="473716" y="2384157"/>
                    </a:moveTo>
                    <a:lnTo>
                      <a:pt x="401490" y="2430892"/>
                    </a:lnTo>
                    <a:lnTo>
                      <a:pt x="377415" y="2430892"/>
                    </a:lnTo>
                    <a:lnTo>
                      <a:pt x="473716" y="2384157"/>
                    </a:lnTo>
                    <a:close/>
                    <a:moveTo>
                      <a:pt x="851839" y="1642073"/>
                    </a:moveTo>
                    <a:lnTo>
                      <a:pt x="959470" y="1524529"/>
                    </a:lnTo>
                    <a:lnTo>
                      <a:pt x="880163" y="1651987"/>
                    </a:lnTo>
                    <a:lnTo>
                      <a:pt x="851839" y="1642073"/>
                    </a:lnTo>
                    <a:close/>
                    <a:moveTo>
                      <a:pt x="1111002" y="1356003"/>
                    </a:moveTo>
                    <a:lnTo>
                      <a:pt x="973632" y="1506119"/>
                    </a:lnTo>
                    <a:lnTo>
                      <a:pt x="1028863" y="1416899"/>
                    </a:lnTo>
                    <a:lnTo>
                      <a:pt x="1111002" y="1356003"/>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51" name="Freeform: Shape 950">
                <a:extLst>
                  <a:ext uri="{FF2B5EF4-FFF2-40B4-BE49-F238E27FC236}">
                    <a16:creationId xmlns:a16="http://schemas.microsoft.com/office/drawing/2014/main" id="{C19D641B-D791-4205-8C3C-1DAEBDA847A3}"/>
                  </a:ext>
                </a:extLst>
              </p:cNvPr>
              <p:cNvSpPr/>
              <p:nvPr/>
            </p:nvSpPr>
            <p:spPr>
              <a:xfrm>
                <a:off x="3238834" y="3227193"/>
                <a:ext cx="538153" cy="339886"/>
              </a:xfrm>
              <a:custGeom>
                <a:avLst/>
                <a:gdLst>
                  <a:gd name="connsiteX0" fmla="*/ 102674 w 538152"/>
                  <a:gd name="connsiteY0" fmla="*/ 153657 h 339885"/>
                  <a:gd name="connsiteX1" fmla="*/ 197559 w 538152"/>
                  <a:gd name="connsiteY1" fmla="*/ 240044 h 339885"/>
                  <a:gd name="connsiteX2" fmla="*/ 189062 w 538152"/>
                  <a:gd name="connsiteY2" fmla="*/ 306605 h 339885"/>
                  <a:gd name="connsiteX3" fmla="*/ 191894 w 538152"/>
                  <a:gd name="connsiteY3" fmla="*/ 340594 h 339885"/>
                  <a:gd name="connsiteX4" fmla="*/ 191894 w 538152"/>
                  <a:gd name="connsiteY4" fmla="*/ 340594 h 339885"/>
                  <a:gd name="connsiteX5" fmla="*/ 303773 w 538152"/>
                  <a:gd name="connsiteY5" fmla="*/ 306605 h 339885"/>
                  <a:gd name="connsiteX6" fmla="*/ 303773 w 538152"/>
                  <a:gd name="connsiteY6" fmla="*/ 306605 h 339885"/>
                  <a:gd name="connsiteX7" fmla="*/ 308022 w 538152"/>
                  <a:gd name="connsiteY7" fmla="*/ 305189 h 339885"/>
                  <a:gd name="connsiteX8" fmla="*/ 402906 w 538152"/>
                  <a:gd name="connsiteY8" fmla="*/ 276865 h 339885"/>
                  <a:gd name="connsiteX9" fmla="*/ 451057 w 538152"/>
                  <a:gd name="connsiteY9" fmla="*/ 302357 h 339885"/>
                  <a:gd name="connsiteX10" fmla="*/ 530364 w 538152"/>
                  <a:gd name="connsiteY10" fmla="*/ 317935 h 339885"/>
                  <a:gd name="connsiteX11" fmla="*/ 530364 w 538152"/>
                  <a:gd name="connsiteY11" fmla="*/ 317935 h 339885"/>
                  <a:gd name="connsiteX12" fmla="*/ 530364 w 538152"/>
                  <a:gd name="connsiteY12" fmla="*/ 316519 h 339885"/>
                  <a:gd name="connsiteX13" fmla="*/ 530364 w 538152"/>
                  <a:gd name="connsiteY13" fmla="*/ 316519 h 339885"/>
                  <a:gd name="connsiteX14" fmla="*/ 417068 w 538152"/>
                  <a:gd name="connsiteY14" fmla="*/ 269784 h 339885"/>
                  <a:gd name="connsiteX15" fmla="*/ 417068 w 538152"/>
                  <a:gd name="connsiteY15" fmla="*/ 269784 h 339885"/>
                  <a:gd name="connsiteX16" fmla="*/ 401490 w 538152"/>
                  <a:gd name="connsiteY16" fmla="*/ 274033 h 339885"/>
                  <a:gd name="connsiteX17" fmla="*/ 401490 w 538152"/>
                  <a:gd name="connsiteY17" fmla="*/ 274033 h 339885"/>
                  <a:gd name="connsiteX18" fmla="*/ 414236 w 538152"/>
                  <a:gd name="connsiteY18" fmla="*/ 269784 h 339885"/>
                  <a:gd name="connsiteX19" fmla="*/ 414236 w 538152"/>
                  <a:gd name="connsiteY19" fmla="*/ 269784 h 339885"/>
                  <a:gd name="connsiteX20" fmla="*/ 337762 w 538152"/>
                  <a:gd name="connsiteY20" fmla="*/ 241461 h 339885"/>
                  <a:gd name="connsiteX21" fmla="*/ 181981 w 538152"/>
                  <a:gd name="connsiteY21" fmla="*/ 159321 h 339885"/>
                  <a:gd name="connsiteX22" fmla="*/ 87096 w 538152"/>
                  <a:gd name="connsiteY22" fmla="*/ 10621 h 339885"/>
                  <a:gd name="connsiteX23" fmla="*/ 87096 w 538152"/>
                  <a:gd name="connsiteY23" fmla="*/ 10621 h 339885"/>
                  <a:gd name="connsiteX24" fmla="*/ 85680 w 538152"/>
                  <a:gd name="connsiteY24" fmla="*/ 12038 h 339885"/>
                  <a:gd name="connsiteX25" fmla="*/ 85680 w 538152"/>
                  <a:gd name="connsiteY25" fmla="*/ 12038 h 339885"/>
                  <a:gd name="connsiteX26" fmla="*/ 179148 w 538152"/>
                  <a:gd name="connsiteY26" fmla="*/ 157905 h 339885"/>
                  <a:gd name="connsiteX27" fmla="*/ 155073 w 538152"/>
                  <a:gd name="connsiteY27" fmla="*/ 145160 h 339885"/>
                  <a:gd name="connsiteX28" fmla="*/ 97009 w 538152"/>
                  <a:gd name="connsiteY28" fmla="*/ 142327 h 339885"/>
                  <a:gd name="connsiteX29" fmla="*/ 10621 w 538152"/>
                  <a:gd name="connsiteY29" fmla="*/ 163570 h 339885"/>
                  <a:gd name="connsiteX30" fmla="*/ 10621 w 538152"/>
                  <a:gd name="connsiteY30" fmla="*/ 163570 h 339885"/>
                  <a:gd name="connsiteX31" fmla="*/ 10621 w 538152"/>
                  <a:gd name="connsiteY31" fmla="*/ 164986 h 339885"/>
                  <a:gd name="connsiteX32" fmla="*/ 94177 w 538152"/>
                  <a:gd name="connsiteY32" fmla="*/ 150824 h 339885"/>
                  <a:gd name="connsiteX33" fmla="*/ 102674 w 538152"/>
                  <a:gd name="connsiteY33" fmla="*/ 153657 h 339885"/>
                  <a:gd name="connsiteX34" fmla="*/ 302357 w 538152"/>
                  <a:gd name="connsiteY34" fmla="*/ 303773 h 339885"/>
                  <a:gd name="connsiteX35" fmla="*/ 213137 w 538152"/>
                  <a:gd name="connsiteY35" fmla="*/ 251374 h 339885"/>
                  <a:gd name="connsiteX36" fmla="*/ 198975 w 538152"/>
                  <a:gd name="connsiteY36" fmla="*/ 238628 h 339885"/>
                  <a:gd name="connsiteX37" fmla="*/ 204640 w 538152"/>
                  <a:gd name="connsiteY37" fmla="*/ 200391 h 339885"/>
                  <a:gd name="connsiteX38" fmla="*/ 204640 w 538152"/>
                  <a:gd name="connsiteY38" fmla="*/ 200391 h 339885"/>
                  <a:gd name="connsiteX39" fmla="*/ 203224 w 538152"/>
                  <a:gd name="connsiteY39" fmla="*/ 200391 h 339885"/>
                  <a:gd name="connsiteX40" fmla="*/ 203224 w 538152"/>
                  <a:gd name="connsiteY40" fmla="*/ 200391 h 339885"/>
                  <a:gd name="connsiteX41" fmla="*/ 197559 w 538152"/>
                  <a:gd name="connsiteY41" fmla="*/ 238628 h 339885"/>
                  <a:gd name="connsiteX42" fmla="*/ 106922 w 538152"/>
                  <a:gd name="connsiteY42" fmla="*/ 156489 h 339885"/>
                  <a:gd name="connsiteX43" fmla="*/ 193310 w 538152"/>
                  <a:gd name="connsiteY43" fmla="*/ 189062 h 339885"/>
                  <a:gd name="connsiteX44" fmla="*/ 204640 w 538152"/>
                  <a:gd name="connsiteY44" fmla="*/ 198975 h 339885"/>
                  <a:gd name="connsiteX45" fmla="*/ 206056 w 538152"/>
                  <a:gd name="connsiteY45" fmla="*/ 200391 h 339885"/>
                  <a:gd name="connsiteX46" fmla="*/ 200391 w 538152"/>
                  <a:gd name="connsiteY46" fmla="*/ 191894 h 339885"/>
                  <a:gd name="connsiteX47" fmla="*/ 334929 w 538152"/>
                  <a:gd name="connsiteY47" fmla="*/ 242877 h 339885"/>
                  <a:gd name="connsiteX48" fmla="*/ 394409 w 538152"/>
                  <a:gd name="connsiteY48" fmla="*/ 274033 h 339885"/>
                  <a:gd name="connsiteX49" fmla="*/ 305189 w 538152"/>
                  <a:gd name="connsiteY49" fmla="*/ 303773 h 339885"/>
                  <a:gd name="connsiteX50" fmla="*/ 302357 w 538152"/>
                  <a:gd name="connsiteY50" fmla="*/ 303773 h 339885"/>
                  <a:gd name="connsiteX51" fmla="*/ 150824 w 538152"/>
                  <a:gd name="connsiteY51" fmla="*/ 150824 h 339885"/>
                  <a:gd name="connsiteX52" fmla="*/ 190478 w 538152"/>
                  <a:gd name="connsiteY52" fmla="*/ 184813 h 339885"/>
                  <a:gd name="connsiteX53" fmla="*/ 104090 w 538152"/>
                  <a:gd name="connsiteY53" fmla="*/ 152241 h 339885"/>
                  <a:gd name="connsiteX54" fmla="*/ 99842 w 538152"/>
                  <a:gd name="connsiteY54" fmla="*/ 147992 h 339885"/>
                  <a:gd name="connsiteX55" fmla="*/ 150824 w 538152"/>
                  <a:gd name="connsiteY55" fmla="*/ 150824 h 339885"/>
                  <a:gd name="connsiteX56" fmla="*/ 196143 w 538152"/>
                  <a:gd name="connsiteY56" fmla="*/ 186229 h 339885"/>
                  <a:gd name="connsiteX57" fmla="*/ 152241 w 538152"/>
                  <a:gd name="connsiteY57" fmla="*/ 147992 h 339885"/>
                  <a:gd name="connsiteX58" fmla="*/ 152241 w 538152"/>
                  <a:gd name="connsiteY58" fmla="*/ 147992 h 339885"/>
                  <a:gd name="connsiteX59" fmla="*/ 94177 w 538152"/>
                  <a:gd name="connsiteY59" fmla="*/ 143743 h 339885"/>
                  <a:gd name="connsiteX60" fmla="*/ 94177 w 538152"/>
                  <a:gd name="connsiteY60" fmla="*/ 143743 h 339885"/>
                  <a:gd name="connsiteX61" fmla="*/ 99842 w 538152"/>
                  <a:gd name="connsiteY61" fmla="*/ 147992 h 339885"/>
                  <a:gd name="connsiteX62" fmla="*/ 94177 w 538152"/>
                  <a:gd name="connsiteY62" fmla="*/ 146576 h 339885"/>
                  <a:gd name="connsiteX63" fmla="*/ 36113 w 538152"/>
                  <a:gd name="connsiteY63" fmla="*/ 156489 h 339885"/>
                  <a:gd name="connsiteX64" fmla="*/ 95593 w 538152"/>
                  <a:gd name="connsiteY64" fmla="*/ 140911 h 339885"/>
                  <a:gd name="connsiteX65" fmla="*/ 153657 w 538152"/>
                  <a:gd name="connsiteY65" fmla="*/ 143743 h 339885"/>
                  <a:gd name="connsiteX66" fmla="*/ 180564 w 538152"/>
                  <a:gd name="connsiteY66" fmla="*/ 157905 h 339885"/>
                  <a:gd name="connsiteX67" fmla="*/ 197559 w 538152"/>
                  <a:gd name="connsiteY67" fmla="*/ 184813 h 339885"/>
                  <a:gd name="connsiteX68" fmla="*/ 196143 w 538152"/>
                  <a:gd name="connsiteY68" fmla="*/ 186229 h 339885"/>
                  <a:gd name="connsiteX69" fmla="*/ 198975 w 538152"/>
                  <a:gd name="connsiteY69" fmla="*/ 241461 h 339885"/>
                  <a:gd name="connsiteX70" fmla="*/ 213137 w 538152"/>
                  <a:gd name="connsiteY70" fmla="*/ 254206 h 339885"/>
                  <a:gd name="connsiteX71" fmla="*/ 300941 w 538152"/>
                  <a:gd name="connsiteY71" fmla="*/ 305189 h 339885"/>
                  <a:gd name="connsiteX72" fmla="*/ 193310 w 538152"/>
                  <a:gd name="connsiteY72" fmla="*/ 337762 h 339885"/>
                  <a:gd name="connsiteX73" fmla="*/ 190478 w 538152"/>
                  <a:gd name="connsiteY73" fmla="*/ 305189 h 339885"/>
                  <a:gd name="connsiteX74" fmla="*/ 198975 w 538152"/>
                  <a:gd name="connsiteY74" fmla="*/ 241461 h 339885"/>
                  <a:gd name="connsiteX75" fmla="*/ 200391 w 538152"/>
                  <a:gd name="connsiteY75" fmla="*/ 187645 h 339885"/>
                  <a:gd name="connsiteX76" fmla="*/ 183397 w 538152"/>
                  <a:gd name="connsiteY76" fmla="*/ 160738 h 339885"/>
                  <a:gd name="connsiteX77" fmla="*/ 320767 w 538152"/>
                  <a:gd name="connsiteY77" fmla="*/ 232963 h 339885"/>
                  <a:gd name="connsiteX78" fmla="*/ 200391 w 538152"/>
                  <a:gd name="connsiteY78" fmla="*/ 187645 h 339885"/>
                  <a:gd name="connsiteX79" fmla="*/ 198975 w 538152"/>
                  <a:gd name="connsiteY79" fmla="*/ 189062 h 339885"/>
                  <a:gd name="connsiteX80" fmla="*/ 198975 w 538152"/>
                  <a:gd name="connsiteY80" fmla="*/ 189062 h 339885"/>
                  <a:gd name="connsiteX81" fmla="*/ 198975 w 538152"/>
                  <a:gd name="connsiteY81" fmla="*/ 189062 h 339885"/>
                  <a:gd name="connsiteX82" fmla="*/ 198975 w 538152"/>
                  <a:gd name="connsiteY82" fmla="*/ 189062 h 339885"/>
                  <a:gd name="connsiteX83" fmla="*/ 398658 w 538152"/>
                  <a:gd name="connsiteY83" fmla="*/ 274033 h 339885"/>
                  <a:gd name="connsiteX84" fmla="*/ 381664 w 538152"/>
                  <a:gd name="connsiteY84" fmla="*/ 279698 h 339885"/>
                  <a:gd name="connsiteX85" fmla="*/ 398658 w 538152"/>
                  <a:gd name="connsiteY85" fmla="*/ 274033 h 339885"/>
                  <a:gd name="connsiteX86" fmla="*/ 398658 w 538152"/>
                  <a:gd name="connsiteY86" fmla="*/ 274033 h 339885"/>
                  <a:gd name="connsiteX87" fmla="*/ 398658 w 538152"/>
                  <a:gd name="connsiteY87" fmla="*/ 271200 h 339885"/>
                  <a:gd name="connsiteX88" fmla="*/ 351924 w 538152"/>
                  <a:gd name="connsiteY88" fmla="*/ 247125 h 339885"/>
                  <a:gd name="connsiteX89" fmla="*/ 407155 w 538152"/>
                  <a:gd name="connsiteY89" fmla="*/ 268368 h 339885"/>
                  <a:gd name="connsiteX90" fmla="*/ 398658 w 538152"/>
                  <a:gd name="connsiteY90" fmla="*/ 271200 h 339885"/>
                  <a:gd name="connsiteX91" fmla="*/ 449641 w 538152"/>
                  <a:gd name="connsiteY91" fmla="*/ 299524 h 339885"/>
                  <a:gd name="connsiteX92" fmla="*/ 404323 w 538152"/>
                  <a:gd name="connsiteY92" fmla="*/ 275449 h 339885"/>
                  <a:gd name="connsiteX93" fmla="*/ 417068 w 538152"/>
                  <a:gd name="connsiteY93" fmla="*/ 271200 h 339885"/>
                  <a:gd name="connsiteX94" fmla="*/ 519034 w 538152"/>
                  <a:gd name="connsiteY94" fmla="*/ 312270 h 339885"/>
                  <a:gd name="connsiteX95" fmla="*/ 449641 w 538152"/>
                  <a:gd name="connsiteY95" fmla="*/ 299524 h 3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538152" h="339885">
                    <a:moveTo>
                      <a:pt x="102674" y="153657"/>
                    </a:moveTo>
                    <a:lnTo>
                      <a:pt x="197559" y="240044"/>
                    </a:lnTo>
                    <a:lnTo>
                      <a:pt x="189062" y="306605"/>
                    </a:lnTo>
                    <a:lnTo>
                      <a:pt x="191894" y="340594"/>
                    </a:lnTo>
                    <a:lnTo>
                      <a:pt x="191894" y="340594"/>
                    </a:lnTo>
                    <a:lnTo>
                      <a:pt x="303773" y="306605"/>
                    </a:lnTo>
                    <a:lnTo>
                      <a:pt x="303773" y="306605"/>
                    </a:lnTo>
                    <a:lnTo>
                      <a:pt x="308022" y="305189"/>
                    </a:lnTo>
                    <a:lnTo>
                      <a:pt x="402906" y="276865"/>
                    </a:lnTo>
                    <a:lnTo>
                      <a:pt x="451057" y="302357"/>
                    </a:lnTo>
                    <a:lnTo>
                      <a:pt x="530364" y="317935"/>
                    </a:lnTo>
                    <a:lnTo>
                      <a:pt x="530364" y="317935"/>
                    </a:lnTo>
                    <a:lnTo>
                      <a:pt x="530364" y="316519"/>
                    </a:lnTo>
                    <a:lnTo>
                      <a:pt x="530364" y="316519"/>
                    </a:lnTo>
                    <a:lnTo>
                      <a:pt x="417068" y="269784"/>
                    </a:lnTo>
                    <a:lnTo>
                      <a:pt x="417068" y="269784"/>
                    </a:lnTo>
                    <a:lnTo>
                      <a:pt x="401490" y="274033"/>
                    </a:lnTo>
                    <a:lnTo>
                      <a:pt x="401490" y="274033"/>
                    </a:lnTo>
                    <a:lnTo>
                      <a:pt x="414236" y="269784"/>
                    </a:lnTo>
                    <a:lnTo>
                      <a:pt x="414236" y="269784"/>
                    </a:lnTo>
                    <a:lnTo>
                      <a:pt x="337762" y="241461"/>
                    </a:lnTo>
                    <a:lnTo>
                      <a:pt x="181981" y="159321"/>
                    </a:lnTo>
                    <a:lnTo>
                      <a:pt x="87096" y="10621"/>
                    </a:lnTo>
                    <a:lnTo>
                      <a:pt x="87096" y="10621"/>
                    </a:lnTo>
                    <a:lnTo>
                      <a:pt x="85680" y="12038"/>
                    </a:lnTo>
                    <a:lnTo>
                      <a:pt x="85680" y="12038"/>
                    </a:lnTo>
                    <a:lnTo>
                      <a:pt x="179148" y="157905"/>
                    </a:lnTo>
                    <a:lnTo>
                      <a:pt x="155073" y="145160"/>
                    </a:lnTo>
                    <a:lnTo>
                      <a:pt x="97009" y="142327"/>
                    </a:lnTo>
                    <a:lnTo>
                      <a:pt x="10621" y="163570"/>
                    </a:lnTo>
                    <a:lnTo>
                      <a:pt x="10621" y="163570"/>
                    </a:lnTo>
                    <a:lnTo>
                      <a:pt x="10621" y="164986"/>
                    </a:lnTo>
                    <a:lnTo>
                      <a:pt x="94177" y="150824"/>
                    </a:lnTo>
                    <a:lnTo>
                      <a:pt x="102674" y="153657"/>
                    </a:lnTo>
                    <a:close/>
                    <a:moveTo>
                      <a:pt x="302357" y="303773"/>
                    </a:moveTo>
                    <a:lnTo>
                      <a:pt x="213137" y="251374"/>
                    </a:lnTo>
                    <a:lnTo>
                      <a:pt x="198975" y="238628"/>
                    </a:lnTo>
                    <a:lnTo>
                      <a:pt x="204640" y="200391"/>
                    </a:lnTo>
                    <a:lnTo>
                      <a:pt x="204640" y="200391"/>
                    </a:lnTo>
                    <a:lnTo>
                      <a:pt x="203224" y="200391"/>
                    </a:lnTo>
                    <a:lnTo>
                      <a:pt x="203224" y="200391"/>
                    </a:lnTo>
                    <a:lnTo>
                      <a:pt x="197559" y="238628"/>
                    </a:lnTo>
                    <a:lnTo>
                      <a:pt x="106922" y="156489"/>
                    </a:lnTo>
                    <a:lnTo>
                      <a:pt x="193310" y="189062"/>
                    </a:lnTo>
                    <a:lnTo>
                      <a:pt x="204640" y="198975"/>
                    </a:lnTo>
                    <a:lnTo>
                      <a:pt x="206056" y="200391"/>
                    </a:lnTo>
                    <a:lnTo>
                      <a:pt x="200391" y="191894"/>
                    </a:lnTo>
                    <a:lnTo>
                      <a:pt x="334929" y="242877"/>
                    </a:lnTo>
                    <a:lnTo>
                      <a:pt x="394409" y="274033"/>
                    </a:lnTo>
                    <a:lnTo>
                      <a:pt x="305189" y="303773"/>
                    </a:lnTo>
                    <a:lnTo>
                      <a:pt x="302357" y="303773"/>
                    </a:lnTo>
                    <a:close/>
                    <a:moveTo>
                      <a:pt x="150824" y="150824"/>
                    </a:moveTo>
                    <a:lnTo>
                      <a:pt x="190478" y="184813"/>
                    </a:lnTo>
                    <a:lnTo>
                      <a:pt x="104090" y="152241"/>
                    </a:lnTo>
                    <a:lnTo>
                      <a:pt x="99842" y="147992"/>
                    </a:lnTo>
                    <a:lnTo>
                      <a:pt x="150824" y="150824"/>
                    </a:lnTo>
                    <a:close/>
                    <a:moveTo>
                      <a:pt x="196143" y="186229"/>
                    </a:moveTo>
                    <a:lnTo>
                      <a:pt x="152241" y="147992"/>
                    </a:lnTo>
                    <a:lnTo>
                      <a:pt x="152241" y="147992"/>
                    </a:lnTo>
                    <a:lnTo>
                      <a:pt x="94177" y="143743"/>
                    </a:lnTo>
                    <a:lnTo>
                      <a:pt x="94177" y="143743"/>
                    </a:lnTo>
                    <a:lnTo>
                      <a:pt x="99842" y="147992"/>
                    </a:lnTo>
                    <a:lnTo>
                      <a:pt x="94177" y="146576"/>
                    </a:lnTo>
                    <a:lnTo>
                      <a:pt x="36113" y="156489"/>
                    </a:lnTo>
                    <a:lnTo>
                      <a:pt x="95593" y="140911"/>
                    </a:lnTo>
                    <a:lnTo>
                      <a:pt x="153657" y="143743"/>
                    </a:lnTo>
                    <a:lnTo>
                      <a:pt x="180564" y="157905"/>
                    </a:lnTo>
                    <a:lnTo>
                      <a:pt x="197559" y="184813"/>
                    </a:lnTo>
                    <a:lnTo>
                      <a:pt x="196143" y="186229"/>
                    </a:lnTo>
                    <a:close/>
                    <a:moveTo>
                      <a:pt x="198975" y="241461"/>
                    </a:moveTo>
                    <a:lnTo>
                      <a:pt x="213137" y="254206"/>
                    </a:lnTo>
                    <a:lnTo>
                      <a:pt x="300941" y="305189"/>
                    </a:lnTo>
                    <a:lnTo>
                      <a:pt x="193310" y="337762"/>
                    </a:lnTo>
                    <a:lnTo>
                      <a:pt x="190478" y="305189"/>
                    </a:lnTo>
                    <a:lnTo>
                      <a:pt x="198975" y="241461"/>
                    </a:lnTo>
                    <a:close/>
                    <a:moveTo>
                      <a:pt x="200391" y="187645"/>
                    </a:moveTo>
                    <a:lnTo>
                      <a:pt x="183397" y="160738"/>
                    </a:lnTo>
                    <a:lnTo>
                      <a:pt x="320767" y="232963"/>
                    </a:lnTo>
                    <a:lnTo>
                      <a:pt x="200391" y="187645"/>
                    </a:lnTo>
                    <a:close/>
                    <a:moveTo>
                      <a:pt x="198975" y="189062"/>
                    </a:moveTo>
                    <a:lnTo>
                      <a:pt x="198975" y="189062"/>
                    </a:lnTo>
                    <a:lnTo>
                      <a:pt x="198975" y="189062"/>
                    </a:lnTo>
                    <a:lnTo>
                      <a:pt x="198975" y="189062"/>
                    </a:lnTo>
                    <a:close/>
                    <a:moveTo>
                      <a:pt x="398658" y="274033"/>
                    </a:moveTo>
                    <a:lnTo>
                      <a:pt x="381664" y="279698"/>
                    </a:lnTo>
                    <a:lnTo>
                      <a:pt x="398658" y="274033"/>
                    </a:lnTo>
                    <a:lnTo>
                      <a:pt x="398658" y="274033"/>
                    </a:lnTo>
                    <a:close/>
                    <a:moveTo>
                      <a:pt x="398658" y="271200"/>
                    </a:moveTo>
                    <a:lnTo>
                      <a:pt x="351924" y="247125"/>
                    </a:lnTo>
                    <a:lnTo>
                      <a:pt x="407155" y="268368"/>
                    </a:lnTo>
                    <a:lnTo>
                      <a:pt x="398658" y="271200"/>
                    </a:lnTo>
                    <a:close/>
                    <a:moveTo>
                      <a:pt x="449641" y="299524"/>
                    </a:moveTo>
                    <a:lnTo>
                      <a:pt x="404323" y="275449"/>
                    </a:lnTo>
                    <a:lnTo>
                      <a:pt x="417068" y="271200"/>
                    </a:lnTo>
                    <a:lnTo>
                      <a:pt x="519034" y="312270"/>
                    </a:lnTo>
                    <a:lnTo>
                      <a:pt x="449641" y="299524"/>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52" name="Freeform: Shape 951">
                <a:extLst>
                  <a:ext uri="{FF2B5EF4-FFF2-40B4-BE49-F238E27FC236}">
                    <a16:creationId xmlns:a16="http://schemas.microsoft.com/office/drawing/2014/main" id="{211BE2F0-E403-46AB-825C-5324306A658F}"/>
                  </a:ext>
                </a:extLst>
              </p:cNvPr>
              <p:cNvSpPr/>
              <p:nvPr/>
            </p:nvSpPr>
            <p:spPr>
              <a:xfrm>
                <a:off x="9201000" y="4709945"/>
                <a:ext cx="1189601" cy="1260410"/>
              </a:xfrm>
              <a:custGeom>
                <a:avLst/>
                <a:gdLst>
                  <a:gd name="connsiteX0" fmla="*/ 1147823 w 1189600"/>
                  <a:gd name="connsiteY0" fmla="*/ 557271 h 1260409"/>
                  <a:gd name="connsiteX1" fmla="*/ 1147823 w 1189600"/>
                  <a:gd name="connsiteY1" fmla="*/ 555855 h 1260409"/>
                  <a:gd name="connsiteX2" fmla="*/ 1147823 w 1189600"/>
                  <a:gd name="connsiteY2" fmla="*/ 555855 h 1260409"/>
                  <a:gd name="connsiteX3" fmla="*/ 1135078 w 1189600"/>
                  <a:gd name="connsiteY3" fmla="*/ 554439 h 1260409"/>
                  <a:gd name="connsiteX4" fmla="*/ 1109586 w 1189600"/>
                  <a:gd name="connsiteY4" fmla="*/ 545941 h 1260409"/>
                  <a:gd name="connsiteX5" fmla="*/ 1120916 w 1189600"/>
                  <a:gd name="connsiteY5" fmla="*/ 441143 h 1260409"/>
                  <a:gd name="connsiteX6" fmla="*/ 1120916 w 1189600"/>
                  <a:gd name="connsiteY6" fmla="*/ 441143 h 1260409"/>
                  <a:gd name="connsiteX7" fmla="*/ 958054 w 1189600"/>
                  <a:gd name="connsiteY7" fmla="*/ 526115 h 1260409"/>
                  <a:gd name="connsiteX8" fmla="*/ 938227 w 1189600"/>
                  <a:gd name="connsiteY8" fmla="*/ 526115 h 1260409"/>
                  <a:gd name="connsiteX9" fmla="*/ 843342 w 1189600"/>
                  <a:gd name="connsiteY9" fmla="*/ 511953 h 1260409"/>
                  <a:gd name="connsiteX10" fmla="*/ 820683 w 1189600"/>
                  <a:gd name="connsiteY10" fmla="*/ 431230 h 1260409"/>
                  <a:gd name="connsiteX11" fmla="*/ 948140 w 1189600"/>
                  <a:gd name="connsiteY11" fmla="*/ 375999 h 1260409"/>
                  <a:gd name="connsiteX12" fmla="*/ 1084094 w 1189600"/>
                  <a:gd name="connsiteY12" fmla="*/ 364669 h 1260409"/>
                  <a:gd name="connsiteX13" fmla="*/ 1084094 w 1189600"/>
                  <a:gd name="connsiteY13" fmla="*/ 364669 h 1260409"/>
                  <a:gd name="connsiteX14" fmla="*/ 960886 w 1189600"/>
                  <a:gd name="connsiteY14" fmla="*/ 211720 h 1260409"/>
                  <a:gd name="connsiteX15" fmla="*/ 965135 w 1189600"/>
                  <a:gd name="connsiteY15" fmla="*/ 211720 h 1260409"/>
                  <a:gd name="connsiteX16" fmla="*/ 959470 w 1189600"/>
                  <a:gd name="connsiteY16" fmla="*/ 208888 h 1260409"/>
                  <a:gd name="connsiteX17" fmla="*/ 959470 w 1189600"/>
                  <a:gd name="connsiteY17" fmla="*/ 208888 h 1260409"/>
                  <a:gd name="connsiteX18" fmla="*/ 958054 w 1189600"/>
                  <a:gd name="connsiteY18" fmla="*/ 208888 h 1260409"/>
                  <a:gd name="connsiteX19" fmla="*/ 882995 w 1189600"/>
                  <a:gd name="connsiteY19" fmla="*/ 172067 h 1260409"/>
                  <a:gd name="connsiteX20" fmla="*/ 887244 w 1189600"/>
                  <a:gd name="connsiteY20" fmla="*/ 21951 h 1260409"/>
                  <a:gd name="connsiteX21" fmla="*/ 928313 w 1189600"/>
                  <a:gd name="connsiteY21" fmla="*/ 126749 h 1260409"/>
                  <a:gd name="connsiteX22" fmla="*/ 928313 w 1189600"/>
                  <a:gd name="connsiteY22" fmla="*/ 126749 h 1260409"/>
                  <a:gd name="connsiteX23" fmla="*/ 929730 w 1189600"/>
                  <a:gd name="connsiteY23" fmla="*/ 125333 h 1260409"/>
                  <a:gd name="connsiteX24" fmla="*/ 885828 w 1189600"/>
                  <a:gd name="connsiteY24" fmla="*/ 12037 h 1260409"/>
                  <a:gd name="connsiteX25" fmla="*/ 885828 w 1189600"/>
                  <a:gd name="connsiteY25" fmla="*/ 10621 h 1260409"/>
                  <a:gd name="connsiteX26" fmla="*/ 881579 w 1189600"/>
                  <a:gd name="connsiteY26" fmla="*/ 172067 h 1260409"/>
                  <a:gd name="connsiteX27" fmla="*/ 881579 w 1189600"/>
                  <a:gd name="connsiteY27" fmla="*/ 172067 h 1260409"/>
                  <a:gd name="connsiteX28" fmla="*/ 952389 w 1189600"/>
                  <a:gd name="connsiteY28" fmla="*/ 206056 h 1260409"/>
                  <a:gd name="connsiteX29" fmla="*/ 673399 w 1189600"/>
                  <a:gd name="connsiteY29" fmla="*/ 163570 h 1260409"/>
                  <a:gd name="connsiteX30" fmla="*/ 721550 w 1189600"/>
                  <a:gd name="connsiteY30" fmla="*/ 160737 h 1260409"/>
                  <a:gd name="connsiteX31" fmla="*/ 721550 w 1189600"/>
                  <a:gd name="connsiteY31" fmla="*/ 160737 h 1260409"/>
                  <a:gd name="connsiteX32" fmla="*/ 608254 w 1189600"/>
                  <a:gd name="connsiteY32" fmla="*/ 41777 h 1260409"/>
                  <a:gd name="connsiteX33" fmla="*/ 608254 w 1189600"/>
                  <a:gd name="connsiteY33" fmla="*/ 41777 h 1260409"/>
                  <a:gd name="connsiteX34" fmla="*/ 608254 w 1189600"/>
                  <a:gd name="connsiteY34" fmla="*/ 38945 h 1260409"/>
                  <a:gd name="connsiteX35" fmla="*/ 608254 w 1189600"/>
                  <a:gd name="connsiteY35" fmla="*/ 37529 h 1260409"/>
                  <a:gd name="connsiteX36" fmla="*/ 511954 w 1189600"/>
                  <a:gd name="connsiteY36" fmla="*/ 138079 h 1260409"/>
                  <a:gd name="connsiteX37" fmla="*/ 402907 w 1189600"/>
                  <a:gd name="connsiteY37" fmla="*/ 121084 h 1260409"/>
                  <a:gd name="connsiteX38" fmla="*/ 400074 w 1189600"/>
                  <a:gd name="connsiteY38" fmla="*/ 118252 h 1260409"/>
                  <a:gd name="connsiteX39" fmla="*/ 400074 w 1189600"/>
                  <a:gd name="connsiteY39" fmla="*/ 118252 h 1260409"/>
                  <a:gd name="connsiteX40" fmla="*/ 392993 w 1189600"/>
                  <a:gd name="connsiteY40" fmla="*/ 126749 h 1260409"/>
                  <a:gd name="connsiteX41" fmla="*/ 283946 w 1189600"/>
                  <a:gd name="connsiteY41" fmla="*/ 200391 h 1260409"/>
                  <a:gd name="connsiteX42" fmla="*/ 232964 w 1189600"/>
                  <a:gd name="connsiteY42" fmla="*/ 295275 h 1260409"/>
                  <a:gd name="connsiteX43" fmla="*/ 95593 w 1189600"/>
                  <a:gd name="connsiteY43" fmla="*/ 367501 h 1260409"/>
                  <a:gd name="connsiteX44" fmla="*/ 85679 w 1189600"/>
                  <a:gd name="connsiteY44" fmla="*/ 368918 h 1260409"/>
                  <a:gd name="connsiteX45" fmla="*/ 85679 w 1189600"/>
                  <a:gd name="connsiteY45" fmla="*/ 368918 h 1260409"/>
                  <a:gd name="connsiteX46" fmla="*/ 88512 w 1189600"/>
                  <a:gd name="connsiteY46" fmla="*/ 371750 h 1260409"/>
                  <a:gd name="connsiteX47" fmla="*/ 41778 w 1189600"/>
                  <a:gd name="connsiteY47" fmla="*/ 392993 h 1260409"/>
                  <a:gd name="connsiteX48" fmla="*/ 36113 w 1189600"/>
                  <a:gd name="connsiteY48" fmla="*/ 391577 h 1260409"/>
                  <a:gd name="connsiteX49" fmla="*/ 36113 w 1189600"/>
                  <a:gd name="connsiteY49" fmla="*/ 391577 h 1260409"/>
                  <a:gd name="connsiteX50" fmla="*/ 36113 w 1189600"/>
                  <a:gd name="connsiteY50" fmla="*/ 392993 h 1260409"/>
                  <a:gd name="connsiteX51" fmla="*/ 38945 w 1189600"/>
                  <a:gd name="connsiteY51" fmla="*/ 392993 h 1260409"/>
                  <a:gd name="connsiteX52" fmla="*/ 37529 w 1189600"/>
                  <a:gd name="connsiteY52" fmla="*/ 392993 h 1260409"/>
                  <a:gd name="connsiteX53" fmla="*/ 37529 w 1189600"/>
                  <a:gd name="connsiteY53" fmla="*/ 392993 h 1260409"/>
                  <a:gd name="connsiteX54" fmla="*/ 70102 w 1189600"/>
                  <a:gd name="connsiteY54" fmla="*/ 438311 h 1260409"/>
                  <a:gd name="connsiteX55" fmla="*/ 10621 w 1189600"/>
                  <a:gd name="connsiteY55" fmla="*/ 469467 h 1260409"/>
                  <a:gd name="connsiteX56" fmla="*/ 10621 w 1189600"/>
                  <a:gd name="connsiteY56" fmla="*/ 469467 h 1260409"/>
                  <a:gd name="connsiteX57" fmla="*/ 10621 w 1189600"/>
                  <a:gd name="connsiteY57" fmla="*/ 470883 h 1260409"/>
                  <a:gd name="connsiteX58" fmla="*/ 126749 w 1189600"/>
                  <a:gd name="connsiteY58" fmla="*/ 438311 h 1260409"/>
                  <a:gd name="connsiteX59" fmla="*/ 132414 w 1189600"/>
                  <a:gd name="connsiteY59" fmla="*/ 438311 h 1260409"/>
                  <a:gd name="connsiteX60" fmla="*/ 92760 w 1189600"/>
                  <a:gd name="connsiteY60" fmla="*/ 523282 h 1260409"/>
                  <a:gd name="connsiteX61" fmla="*/ 53107 w 1189600"/>
                  <a:gd name="connsiteY61" fmla="*/ 534612 h 1260409"/>
                  <a:gd name="connsiteX62" fmla="*/ 38945 w 1189600"/>
                  <a:gd name="connsiteY62" fmla="*/ 534612 h 1260409"/>
                  <a:gd name="connsiteX63" fmla="*/ 37529 w 1189600"/>
                  <a:gd name="connsiteY63" fmla="*/ 534612 h 1260409"/>
                  <a:gd name="connsiteX64" fmla="*/ 41778 w 1189600"/>
                  <a:gd name="connsiteY64" fmla="*/ 537444 h 1260409"/>
                  <a:gd name="connsiteX65" fmla="*/ 41778 w 1189600"/>
                  <a:gd name="connsiteY65" fmla="*/ 537444 h 1260409"/>
                  <a:gd name="connsiteX66" fmla="*/ 41778 w 1189600"/>
                  <a:gd name="connsiteY66" fmla="*/ 537444 h 1260409"/>
                  <a:gd name="connsiteX67" fmla="*/ 41778 w 1189600"/>
                  <a:gd name="connsiteY67" fmla="*/ 538860 h 1260409"/>
                  <a:gd name="connsiteX68" fmla="*/ 44610 w 1189600"/>
                  <a:gd name="connsiteY68" fmla="*/ 538860 h 1260409"/>
                  <a:gd name="connsiteX69" fmla="*/ 75766 w 1189600"/>
                  <a:gd name="connsiteY69" fmla="*/ 557271 h 1260409"/>
                  <a:gd name="connsiteX70" fmla="*/ 41778 w 1189600"/>
                  <a:gd name="connsiteY70" fmla="*/ 629497 h 1260409"/>
                  <a:gd name="connsiteX71" fmla="*/ 41778 w 1189600"/>
                  <a:gd name="connsiteY71" fmla="*/ 630913 h 1260409"/>
                  <a:gd name="connsiteX72" fmla="*/ 109755 w 1189600"/>
                  <a:gd name="connsiteY72" fmla="*/ 578514 h 1260409"/>
                  <a:gd name="connsiteX73" fmla="*/ 172068 w 1189600"/>
                  <a:gd name="connsiteY73" fmla="*/ 615335 h 1260409"/>
                  <a:gd name="connsiteX74" fmla="*/ 153656 w 1189600"/>
                  <a:gd name="connsiteY74" fmla="*/ 659237 h 1260409"/>
                  <a:gd name="connsiteX75" fmla="*/ 70102 w 1189600"/>
                  <a:gd name="connsiteY75" fmla="*/ 697474 h 1260409"/>
                  <a:gd name="connsiteX76" fmla="*/ 70102 w 1189600"/>
                  <a:gd name="connsiteY76" fmla="*/ 697474 h 1260409"/>
                  <a:gd name="connsiteX77" fmla="*/ 97009 w 1189600"/>
                  <a:gd name="connsiteY77" fmla="*/ 790942 h 1260409"/>
                  <a:gd name="connsiteX78" fmla="*/ 84264 w 1189600"/>
                  <a:gd name="connsiteY78" fmla="*/ 819266 h 1260409"/>
                  <a:gd name="connsiteX79" fmla="*/ 84264 w 1189600"/>
                  <a:gd name="connsiteY79" fmla="*/ 819266 h 1260409"/>
                  <a:gd name="connsiteX80" fmla="*/ 85679 w 1189600"/>
                  <a:gd name="connsiteY80" fmla="*/ 820682 h 1260409"/>
                  <a:gd name="connsiteX81" fmla="*/ 99841 w 1189600"/>
                  <a:gd name="connsiteY81" fmla="*/ 802272 h 1260409"/>
                  <a:gd name="connsiteX82" fmla="*/ 118252 w 1189600"/>
                  <a:gd name="connsiteY82" fmla="*/ 863168 h 1260409"/>
                  <a:gd name="connsiteX83" fmla="*/ 118252 w 1189600"/>
                  <a:gd name="connsiteY83" fmla="*/ 863168 h 1260409"/>
                  <a:gd name="connsiteX84" fmla="*/ 257039 w 1189600"/>
                  <a:gd name="connsiteY84" fmla="*/ 796607 h 1260409"/>
                  <a:gd name="connsiteX85" fmla="*/ 257039 w 1189600"/>
                  <a:gd name="connsiteY85" fmla="*/ 796607 h 1260409"/>
                  <a:gd name="connsiteX86" fmla="*/ 180564 w 1189600"/>
                  <a:gd name="connsiteY86" fmla="*/ 739960 h 1260409"/>
                  <a:gd name="connsiteX87" fmla="*/ 272617 w 1189600"/>
                  <a:gd name="connsiteY87" fmla="*/ 766867 h 1260409"/>
                  <a:gd name="connsiteX88" fmla="*/ 296692 w 1189600"/>
                  <a:gd name="connsiteY88" fmla="*/ 846174 h 1260409"/>
                  <a:gd name="connsiteX89" fmla="*/ 296692 w 1189600"/>
                  <a:gd name="connsiteY89" fmla="*/ 846174 h 1260409"/>
                  <a:gd name="connsiteX90" fmla="*/ 466635 w 1189600"/>
                  <a:gd name="connsiteY90" fmla="*/ 772532 h 1260409"/>
                  <a:gd name="connsiteX91" fmla="*/ 466635 w 1189600"/>
                  <a:gd name="connsiteY91" fmla="*/ 772532 h 1260409"/>
                  <a:gd name="connsiteX92" fmla="*/ 436895 w 1189600"/>
                  <a:gd name="connsiteY92" fmla="*/ 745624 h 1260409"/>
                  <a:gd name="connsiteX93" fmla="*/ 551607 w 1189600"/>
                  <a:gd name="connsiteY93" fmla="*/ 722965 h 1260409"/>
                  <a:gd name="connsiteX94" fmla="*/ 554439 w 1189600"/>
                  <a:gd name="connsiteY94" fmla="*/ 728630 h 1260409"/>
                  <a:gd name="connsiteX95" fmla="*/ 554439 w 1189600"/>
                  <a:gd name="connsiteY95" fmla="*/ 730046 h 1260409"/>
                  <a:gd name="connsiteX96" fmla="*/ 554439 w 1189600"/>
                  <a:gd name="connsiteY96" fmla="*/ 721549 h 1260409"/>
                  <a:gd name="connsiteX97" fmla="*/ 561520 w 1189600"/>
                  <a:gd name="connsiteY97" fmla="*/ 711636 h 1260409"/>
                  <a:gd name="connsiteX98" fmla="*/ 674816 w 1189600"/>
                  <a:gd name="connsiteY98" fmla="*/ 792359 h 1260409"/>
                  <a:gd name="connsiteX99" fmla="*/ 670566 w 1189600"/>
                  <a:gd name="connsiteY99" fmla="*/ 849006 h 1260409"/>
                  <a:gd name="connsiteX100" fmla="*/ 670566 w 1189600"/>
                  <a:gd name="connsiteY100" fmla="*/ 849006 h 1260409"/>
                  <a:gd name="connsiteX101" fmla="*/ 816435 w 1189600"/>
                  <a:gd name="connsiteY101" fmla="*/ 1034527 h 1260409"/>
                  <a:gd name="connsiteX102" fmla="*/ 1040193 w 1189600"/>
                  <a:gd name="connsiteY102" fmla="*/ 1173314 h 1260409"/>
                  <a:gd name="connsiteX103" fmla="*/ 994874 w 1189600"/>
                  <a:gd name="connsiteY103" fmla="*/ 1255453 h 1260409"/>
                  <a:gd name="connsiteX104" fmla="*/ 994874 w 1189600"/>
                  <a:gd name="connsiteY104" fmla="*/ 1255453 h 1260409"/>
                  <a:gd name="connsiteX105" fmla="*/ 996290 w 1189600"/>
                  <a:gd name="connsiteY105" fmla="*/ 1256869 h 1260409"/>
                  <a:gd name="connsiteX106" fmla="*/ 1043025 w 1189600"/>
                  <a:gd name="connsiteY106" fmla="*/ 1173314 h 1260409"/>
                  <a:gd name="connsiteX107" fmla="*/ 1043025 w 1189600"/>
                  <a:gd name="connsiteY107" fmla="*/ 1173314 h 1260409"/>
                  <a:gd name="connsiteX108" fmla="*/ 817851 w 1189600"/>
                  <a:gd name="connsiteY108" fmla="*/ 1033111 h 1260409"/>
                  <a:gd name="connsiteX109" fmla="*/ 671983 w 1189600"/>
                  <a:gd name="connsiteY109" fmla="*/ 849006 h 1260409"/>
                  <a:gd name="connsiteX110" fmla="*/ 676231 w 1189600"/>
                  <a:gd name="connsiteY110" fmla="*/ 793775 h 1260409"/>
                  <a:gd name="connsiteX111" fmla="*/ 816435 w 1189600"/>
                  <a:gd name="connsiteY111" fmla="*/ 892908 h 1260409"/>
                  <a:gd name="connsiteX112" fmla="*/ 816435 w 1189600"/>
                  <a:gd name="connsiteY112" fmla="*/ 892908 h 1260409"/>
                  <a:gd name="connsiteX113" fmla="*/ 817851 w 1189600"/>
                  <a:gd name="connsiteY113" fmla="*/ 891492 h 1260409"/>
                  <a:gd name="connsiteX114" fmla="*/ 677647 w 1189600"/>
                  <a:gd name="connsiteY114" fmla="*/ 766867 h 1260409"/>
                  <a:gd name="connsiteX115" fmla="*/ 684728 w 1189600"/>
                  <a:gd name="connsiteY115" fmla="*/ 669150 h 1260409"/>
                  <a:gd name="connsiteX116" fmla="*/ 793775 w 1189600"/>
                  <a:gd name="connsiteY116" fmla="*/ 664901 h 1260409"/>
                  <a:gd name="connsiteX117" fmla="*/ 817851 w 1189600"/>
                  <a:gd name="connsiteY117" fmla="*/ 877330 h 1260409"/>
                  <a:gd name="connsiteX118" fmla="*/ 817851 w 1189600"/>
                  <a:gd name="connsiteY118" fmla="*/ 877330 h 1260409"/>
                  <a:gd name="connsiteX119" fmla="*/ 824932 w 1189600"/>
                  <a:gd name="connsiteY119" fmla="*/ 878746 h 1260409"/>
                  <a:gd name="connsiteX120" fmla="*/ 815018 w 1189600"/>
                  <a:gd name="connsiteY120" fmla="*/ 894324 h 1260409"/>
                  <a:gd name="connsiteX121" fmla="*/ 815018 w 1189600"/>
                  <a:gd name="connsiteY121" fmla="*/ 894324 h 1260409"/>
                  <a:gd name="connsiteX122" fmla="*/ 867417 w 1189600"/>
                  <a:gd name="connsiteY122" fmla="*/ 890076 h 1260409"/>
                  <a:gd name="connsiteX123" fmla="*/ 949556 w 1189600"/>
                  <a:gd name="connsiteY123" fmla="*/ 912735 h 1260409"/>
                  <a:gd name="connsiteX124" fmla="*/ 976464 w 1189600"/>
                  <a:gd name="connsiteY124" fmla="*/ 1006203 h 1260409"/>
                  <a:gd name="connsiteX125" fmla="*/ 885828 w 1189600"/>
                  <a:gd name="connsiteY125" fmla="*/ 1060019 h 1260409"/>
                  <a:gd name="connsiteX126" fmla="*/ 885828 w 1189600"/>
                  <a:gd name="connsiteY126" fmla="*/ 1060019 h 1260409"/>
                  <a:gd name="connsiteX127" fmla="*/ 993459 w 1189600"/>
                  <a:gd name="connsiteY127" fmla="*/ 1057186 h 1260409"/>
                  <a:gd name="connsiteX128" fmla="*/ 993459 w 1189600"/>
                  <a:gd name="connsiteY128" fmla="*/ 1057186 h 1260409"/>
                  <a:gd name="connsiteX129" fmla="*/ 979297 w 1189600"/>
                  <a:gd name="connsiteY129" fmla="*/ 1007620 h 1260409"/>
                  <a:gd name="connsiteX130" fmla="*/ 1078430 w 1189600"/>
                  <a:gd name="connsiteY130" fmla="*/ 949556 h 1260409"/>
                  <a:gd name="connsiteX131" fmla="*/ 1137909 w 1189600"/>
                  <a:gd name="connsiteY131" fmla="*/ 841925 h 1260409"/>
                  <a:gd name="connsiteX132" fmla="*/ 1137909 w 1189600"/>
                  <a:gd name="connsiteY132" fmla="*/ 841925 h 1260409"/>
                  <a:gd name="connsiteX133" fmla="*/ 1118083 w 1189600"/>
                  <a:gd name="connsiteY133" fmla="*/ 700306 h 1260409"/>
                  <a:gd name="connsiteX134" fmla="*/ 1119499 w 1189600"/>
                  <a:gd name="connsiteY134" fmla="*/ 687560 h 1260409"/>
                  <a:gd name="connsiteX135" fmla="*/ 1181812 w 1189600"/>
                  <a:gd name="connsiteY135" fmla="*/ 752705 h 1260409"/>
                  <a:gd name="connsiteX136" fmla="*/ 1181812 w 1189600"/>
                  <a:gd name="connsiteY136" fmla="*/ 752705 h 1260409"/>
                  <a:gd name="connsiteX137" fmla="*/ 1184644 w 1189600"/>
                  <a:gd name="connsiteY137" fmla="*/ 554439 h 1260409"/>
                  <a:gd name="connsiteX138" fmla="*/ 1184644 w 1189600"/>
                  <a:gd name="connsiteY138" fmla="*/ 554439 h 1260409"/>
                  <a:gd name="connsiteX139" fmla="*/ 1147823 w 1189600"/>
                  <a:gd name="connsiteY139" fmla="*/ 557271 h 1260409"/>
                  <a:gd name="connsiteX140" fmla="*/ 1147823 w 1189600"/>
                  <a:gd name="connsiteY140" fmla="*/ 557271 h 1260409"/>
                  <a:gd name="connsiteX141" fmla="*/ 901406 w 1189600"/>
                  <a:gd name="connsiteY141" fmla="*/ 1057186 h 1260409"/>
                  <a:gd name="connsiteX142" fmla="*/ 984961 w 1189600"/>
                  <a:gd name="connsiteY142" fmla="*/ 1007620 h 1260409"/>
                  <a:gd name="connsiteX143" fmla="*/ 997707 w 1189600"/>
                  <a:gd name="connsiteY143" fmla="*/ 1054354 h 1260409"/>
                  <a:gd name="connsiteX144" fmla="*/ 901406 w 1189600"/>
                  <a:gd name="connsiteY144" fmla="*/ 1057186 h 1260409"/>
                  <a:gd name="connsiteX145" fmla="*/ 809354 w 1189600"/>
                  <a:gd name="connsiteY145" fmla="*/ 878746 h 1260409"/>
                  <a:gd name="connsiteX146" fmla="*/ 683312 w 1189600"/>
                  <a:gd name="connsiteY146" fmla="*/ 789526 h 1260409"/>
                  <a:gd name="connsiteX147" fmla="*/ 684728 w 1189600"/>
                  <a:gd name="connsiteY147" fmla="*/ 768284 h 1260409"/>
                  <a:gd name="connsiteX148" fmla="*/ 809354 w 1189600"/>
                  <a:gd name="connsiteY148" fmla="*/ 878746 h 1260409"/>
                  <a:gd name="connsiteX149" fmla="*/ 984961 w 1189600"/>
                  <a:gd name="connsiteY149" fmla="*/ 1004787 h 1260409"/>
                  <a:gd name="connsiteX150" fmla="*/ 958054 w 1189600"/>
                  <a:gd name="connsiteY150" fmla="*/ 912735 h 1260409"/>
                  <a:gd name="connsiteX151" fmla="*/ 1081262 w 1189600"/>
                  <a:gd name="connsiteY151" fmla="*/ 946723 h 1260409"/>
                  <a:gd name="connsiteX152" fmla="*/ 1081262 w 1189600"/>
                  <a:gd name="connsiteY152" fmla="*/ 946723 h 1260409"/>
                  <a:gd name="connsiteX153" fmla="*/ 1120916 w 1189600"/>
                  <a:gd name="connsiteY153" fmla="*/ 705971 h 1260409"/>
                  <a:gd name="connsiteX154" fmla="*/ 1139326 w 1189600"/>
                  <a:gd name="connsiteY154" fmla="*/ 840509 h 1260409"/>
                  <a:gd name="connsiteX155" fmla="*/ 1079846 w 1189600"/>
                  <a:gd name="connsiteY155" fmla="*/ 948140 h 1260409"/>
                  <a:gd name="connsiteX156" fmla="*/ 984961 w 1189600"/>
                  <a:gd name="connsiteY156" fmla="*/ 1004787 h 1260409"/>
                  <a:gd name="connsiteX157" fmla="*/ 123917 w 1189600"/>
                  <a:gd name="connsiteY157" fmla="*/ 861752 h 1260409"/>
                  <a:gd name="connsiteX158" fmla="*/ 105506 w 1189600"/>
                  <a:gd name="connsiteY158" fmla="*/ 800856 h 1260409"/>
                  <a:gd name="connsiteX159" fmla="*/ 220218 w 1189600"/>
                  <a:gd name="connsiteY159" fmla="*/ 645075 h 1260409"/>
                  <a:gd name="connsiteX160" fmla="*/ 244293 w 1189600"/>
                  <a:gd name="connsiteY160" fmla="*/ 660653 h 1260409"/>
                  <a:gd name="connsiteX161" fmla="*/ 275449 w 1189600"/>
                  <a:gd name="connsiteY161" fmla="*/ 766867 h 1260409"/>
                  <a:gd name="connsiteX162" fmla="*/ 174899 w 1189600"/>
                  <a:gd name="connsiteY162" fmla="*/ 737127 h 1260409"/>
                  <a:gd name="connsiteX163" fmla="*/ 173483 w 1189600"/>
                  <a:gd name="connsiteY163" fmla="*/ 737127 h 1260409"/>
                  <a:gd name="connsiteX164" fmla="*/ 255622 w 1189600"/>
                  <a:gd name="connsiteY164" fmla="*/ 799439 h 1260409"/>
                  <a:gd name="connsiteX165" fmla="*/ 123917 w 1189600"/>
                  <a:gd name="connsiteY165" fmla="*/ 861752 h 1260409"/>
                  <a:gd name="connsiteX166" fmla="*/ 210304 w 1189600"/>
                  <a:gd name="connsiteY166" fmla="*/ 536028 h 1260409"/>
                  <a:gd name="connsiteX167" fmla="*/ 176316 w 1189600"/>
                  <a:gd name="connsiteY167" fmla="*/ 615335 h 1260409"/>
                  <a:gd name="connsiteX168" fmla="*/ 115420 w 1189600"/>
                  <a:gd name="connsiteY168" fmla="*/ 578514 h 1260409"/>
                  <a:gd name="connsiteX169" fmla="*/ 169235 w 1189600"/>
                  <a:gd name="connsiteY169" fmla="*/ 536028 h 1260409"/>
                  <a:gd name="connsiteX170" fmla="*/ 210304 w 1189600"/>
                  <a:gd name="connsiteY170" fmla="*/ 536028 h 1260409"/>
                  <a:gd name="connsiteX171" fmla="*/ 82847 w 1189600"/>
                  <a:gd name="connsiteY171" fmla="*/ 558687 h 1260409"/>
                  <a:gd name="connsiteX172" fmla="*/ 92760 w 1189600"/>
                  <a:gd name="connsiteY172" fmla="*/ 537444 h 1260409"/>
                  <a:gd name="connsiteX173" fmla="*/ 166402 w 1189600"/>
                  <a:gd name="connsiteY173" fmla="*/ 536028 h 1260409"/>
                  <a:gd name="connsiteX174" fmla="*/ 114003 w 1189600"/>
                  <a:gd name="connsiteY174" fmla="*/ 577098 h 1260409"/>
                  <a:gd name="connsiteX175" fmla="*/ 82847 w 1189600"/>
                  <a:gd name="connsiteY175" fmla="*/ 558687 h 1260409"/>
                  <a:gd name="connsiteX176" fmla="*/ 57356 w 1189600"/>
                  <a:gd name="connsiteY176" fmla="*/ 538860 h 1260409"/>
                  <a:gd name="connsiteX177" fmla="*/ 91345 w 1189600"/>
                  <a:gd name="connsiteY177" fmla="*/ 538860 h 1260409"/>
                  <a:gd name="connsiteX178" fmla="*/ 81431 w 1189600"/>
                  <a:gd name="connsiteY178" fmla="*/ 558687 h 1260409"/>
                  <a:gd name="connsiteX179" fmla="*/ 51691 w 1189600"/>
                  <a:gd name="connsiteY179" fmla="*/ 540277 h 1260409"/>
                  <a:gd name="connsiteX180" fmla="*/ 57356 w 1189600"/>
                  <a:gd name="connsiteY180" fmla="*/ 538860 h 1260409"/>
                  <a:gd name="connsiteX181" fmla="*/ 91345 w 1189600"/>
                  <a:gd name="connsiteY181" fmla="*/ 536028 h 1260409"/>
                  <a:gd name="connsiteX182" fmla="*/ 64437 w 1189600"/>
                  <a:gd name="connsiteY182" fmla="*/ 536028 h 1260409"/>
                  <a:gd name="connsiteX183" fmla="*/ 94177 w 1189600"/>
                  <a:gd name="connsiteY183" fmla="*/ 527531 h 1260409"/>
                  <a:gd name="connsiteX184" fmla="*/ 91345 w 1189600"/>
                  <a:gd name="connsiteY184" fmla="*/ 536028 h 1260409"/>
                  <a:gd name="connsiteX185" fmla="*/ 94177 w 1189600"/>
                  <a:gd name="connsiteY185" fmla="*/ 371750 h 1260409"/>
                  <a:gd name="connsiteX186" fmla="*/ 94177 w 1189600"/>
                  <a:gd name="connsiteY186" fmla="*/ 371750 h 1260409"/>
                  <a:gd name="connsiteX187" fmla="*/ 94177 w 1189600"/>
                  <a:gd name="connsiteY187" fmla="*/ 371750 h 1260409"/>
                  <a:gd name="connsiteX188" fmla="*/ 94177 w 1189600"/>
                  <a:gd name="connsiteY188" fmla="*/ 371750 h 1260409"/>
                  <a:gd name="connsiteX189" fmla="*/ 601173 w 1189600"/>
                  <a:gd name="connsiteY189" fmla="*/ 166402 h 1260409"/>
                  <a:gd name="connsiteX190" fmla="*/ 602589 w 1189600"/>
                  <a:gd name="connsiteY190" fmla="*/ 155073 h 1260409"/>
                  <a:gd name="connsiteX191" fmla="*/ 656404 w 1189600"/>
                  <a:gd name="connsiteY191" fmla="*/ 163570 h 1260409"/>
                  <a:gd name="connsiteX192" fmla="*/ 601173 w 1189600"/>
                  <a:gd name="connsiteY192" fmla="*/ 166402 h 1260409"/>
                  <a:gd name="connsiteX193" fmla="*/ 602589 w 1189600"/>
                  <a:gd name="connsiteY193" fmla="*/ 153656 h 1260409"/>
                  <a:gd name="connsiteX194" fmla="*/ 612503 w 1189600"/>
                  <a:gd name="connsiteY194" fmla="*/ 47442 h 1260409"/>
                  <a:gd name="connsiteX195" fmla="*/ 720133 w 1189600"/>
                  <a:gd name="connsiteY195" fmla="*/ 160737 h 1260409"/>
                  <a:gd name="connsiteX196" fmla="*/ 666318 w 1189600"/>
                  <a:gd name="connsiteY196" fmla="*/ 163570 h 1260409"/>
                  <a:gd name="connsiteX197" fmla="*/ 602589 w 1189600"/>
                  <a:gd name="connsiteY197" fmla="*/ 153656 h 1260409"/>
                  <a:gd name="connsiteX198" fmla="*/ 781030 w 1189600"/>
                  <a:gd name="connsiteY198" fmla="*/ 385912 h 1260409"/>
                  <a:gd name="connsiteX199" fmla="*/ 857504 w 1189600"/>
                  <a:gd name="connsiteY199" fmla="*/ 272617 h 1260409"/>
                  <a:gd name="connsiteX200" fmla="*/ 955221 w 1189600"/>
                  <a:gd name="connsiteY200" fmla="*/ 370334 h 1260409"/>
                  <a:gd name="connsiteX201" fmla="*/ 949556 w 1189600"/>
                  <a:gd name="connsiteY201" fmla="*/ 373166 h 1260409"/>
                  <a:gd name="connsiteX202" fmla="*/ 781030 w 1189600"/>
                  <a:gd name="connsiteY202" fmla="*/ 385912 h 1260409"/>
                  <a:gd name="connsiteX203" fmla="*/ 841926 w 1189600"/>
                  <a:gd name="connsiteY203" fmla="*/ 509120 h 1260409"/>
                  <a:gd name="connsiteX204" fmla="*/ 783862 w 1189600"/>
                  <a:gd name="connsiteY204" fmla="*/ 500623 h 1260409"/>
                  <a:gd name="connsiteX205" fmla="*/ 772532 w 1189600"/>
                  <a:gd name="connsiteY205" fmla="*/ 397241 h 1260409"/>
                  <a:gd name="connsiteX206" fmla="*/ 772532 w 1189600"/>
                  <a:gd name="connsiteY206" fmla="*/ 397241 h 1260409"/>
                  <a:gd name="connsiteX207" fmla="*/ 779613 w 1189600"/>
                  <a:gd name="connsiteY207" fmla="*/ 387328 h 1260409"/>
                  <a:gd name="connsiteX208" fmla="*/ 942475 w 1189600"/>
                  <a:gd name="connsiteY208" fmla="*/ 374582 h 1260409"/>
                  <a:gd name="connsiteX209" fmla="*/ 819266 w 1189600"/>
                  <a:gd name="connsiteY209" fmla="*/ 428398 h 1260409"/>
                  <a:gd name="connsiteX210" fmla="*/ 819266 w 1189600"/>
                  <a:gd name="connsiteY210" fmla="*/ 428398 h 1260409"/>
                  <a:gd name="connsiteX211" fmla="*/ 841926 w 1189600"/>
                  <a:gd name="connsiteY211" fmla="*/ 509120 h 1260409"/>
                  <a:gd name="connsiteX212" fmla="*/ 1119499 w 1189600"/>
                  <a:gd name="connsiteY212" fmla="*/ 676231 h 1260409"/>
                  <a:gd name="connsiteX213" fmla="*/ 1122332 w 1189600"/>
                  <a:gd name="connsiteY213" fmla="*/ 698890 h 1260409"/>
                  <a:gd name="connsiteX214" fmla="*/ 1081262 w 1189600"/>
                  <a:gd name="connsiteY214" fmla="*/ 943891 h 1260409"/>
                  <a:gd name="connsiteX215" fmla="*/ 958054 w 1189600"/>
                  <a:gd name="connsiteY215" fmla="*/ 909903 h 1260409"/>
                  <a:gd name="connsiteX216" fmla="*/ 949556 w 1189600"/>
                  <a:gd name="connsiteY216" fmla="*/ 881579 h 1260409"/>
                  <a:gd name="connsiteX217" fmla="*/ 1017533 w 1189600"/>
                  <a:gd name="connsiteY217" fmla="*/ 809353 h 1260409"/>
                  <a:gd name="connsiteX218" fmla="*/ 1017533 w 1189600"/>
                  <a:gd name="connsiteY218" fmla="*/ 809353 h 1260409"/>
                  <a:gd name="connsiteX219" fmla="*/ 1017533 w 1189600"/>
                  <a:gd name="connsiteY219" fmla="*/ 809353 h 1260409"/>
                  <a:gd name="connsiteX220" fmla="*/ 1077013 w 1189600"/>
                  <a:gd name="connsiteY220" fmla="*/ 858920 h 1260409"/>
                  <a:gd name="connsiteX221" fmla="*/ 1077013 w 1189600"/>
                  <a:gd name="connsiteY221" fmla="*/ 858920 h 1260409"/>
                  <a:gd name="connsiteX222" fmla="*/ 1109586 w 1189600"/>
                  <a:gd name="connsiteY222" fmla="*/ 553022 h 1260409"/>
                  <a:gd name="connsiteX223" fmla="*/ 1135078 w 1189600"/>
                  <a:gd name="connsiteY223" fmla="*/ 557271 h 1260409"/>
                  <a:gd name="connsiteX224" fmla="*/ 1144990 w 1189600"/>
                  <a:gd name="connsiteY224" fmla="*/ 560103 h 1260409"/>
                  <a:gd name="connsiteX225" fmla="*/ 1123748 w 1189600"/>
                  <a:gd name="connsiteY225" fmla="*/ 684728 h 1260409"/>
                  <a:gd name="connsiteX226" fmla="*/ 1119499 w 1189600"/>
                  <a:gd name="connsiteY226" fmla="*/ 676231 h 1260409"/>
                  <a:gd name="connsiteX227" fmla="*/ 1119499 w 1189600"/>
                  <a:gd name="connsiteY227" fmla="*/ 676231 h 1260409"/>
                  <a:gd name="connsiteX228" fmla="*/ 833428 w 1189600"/>
                  <a:gd name="connsiteY228" fmla="*/ 659237 h 1260409"/>
                  <a:gd name="connsiteX229" fmla="*/ 833428 w 1189600"/>
                  <a:gd name="connsiteY229" fmla="*/ 659237 h 1260409"/>
                  <a:gd name="connsiteX230" fmla="*/ 802273 w 1189600"/>
                  <a:gd name="connsiteY230" fmla="*/ 660653 h 1260409"/>
                  <a:gd name="connsiteX231" fmla="*/ 798024 w 1189600"/>
                  <a:gd name="connsiteY231" fmla="*/ 628080 h 1260409"/>
                  <a:gd name="connsiteX232" fmla="*/ 898574 w 1189600"/>
                  <a:gd name="connsiteY232" fmla="*/ 710220 h 1260409"/>
                  <a:gd name="connsiteX233" fmla="*/ 946724 w 1189600"/>
                  <a:gd name="connsiteY233" fmla="*/ 880163 h 1260409"/>
                  <a:gd name="connsiteX234" fmla="*/ 946724 w 1189600"/>
                  <a:gd name="connsiteY234" fmla="*/ 881579 h 1260409"/>
                  <a:gd name="connsiteX235" fmla="*/ 874498 w 1189600"/>
                  <a:gd name="connsiteY235" fmla="*/ 887243 h 1260409"/>
                  <a:gd name="connsiteX236" fmla="*/ 834845 w 1189600"/>
                  <a:gd name="connsiteY236" fmla="*/ 875914 h 1260409"/>
                  <a:gd name="connsiteX237" fmla="*/ 905655 w 1189600"/>
                  <a:gd name="connsiteY237" fmla="*/ 761203 h 1260409"/>
                  <a:gd name="connsiteX238" fmla="*/ 905655 w 1189600"/>
                  <a:gd name="connsiteY238" fmla="*/ 761203 h 1260409"/>
                  <a:gd name="connsiteX239" fmla="*/ 833428 w 1189600"/>
                  <a:gd name="connsiteY239" fmla="*/ 659237 h 1260409"/>
                  <a:gd name="connsiteX240" fmla="*/ 75766 w 1189600"/>
                  <a:gd name="connsiteY240" fmla="*/ 441143 h 1260409"/>
                  <a:gd name="connsiteX241" fmla="*/ 138079 w 1189600"/>
                  <a:gd name="connsiteY241" fmla="*/ 408571 h 1260409"/>
                  <a:gd name="connsiteX242" fmla="*/ 143744 w 1189600"/>
                  <a:gd name="connsiteY242" fmla="*/ 409987 h 1260409"/>
                  <a:gd name="connsiteX243" fmla="*/ 147992 w 1189600"/>
                  <a:gd name="connsiteY243" fmla="*/ 412820 h 1260409"/>
                  <a:gd name="connsiteX244" fmla="*/ 136663 w 1189600"/>
                  <a:gd name="connsiteY244" fmla="*/ 436895 h 1260409"/>
                  <a:gd name="connsiteX245" fmla="*/ 129582 w 1189600"/>
                  <a:gd name="connsiteY245" fmla="*/ 438311 h 1260409"/>
                  <a:gd name="connsiteX246" fmla="*/ 75766 w 1189600"/>
                  <a:gd name="connsiteY246" fmla="*/ 442560 h 1260409"/>
                  <a:gd name="connsiteX247" fmla="*/ 75766 w 1189600"/>
                  <a:gd name="connsiteY247" fmla="*/ 441143 h 1260409"/>
                  <a:gd name="connsiteX248" fmla="*/ 459554 w 1189600"/>
                  <a:gd name="connsiteY248" fmla="*/ 198975 h 1260409"/>
                  <a:gd name="connsiteX249" fmla="*/ 459554 w 1189600"/>
                  <a:gd name="connsiteY249" fmla="*/ 198975 h 1260409"/>
                  <a:gd name="connsiteX250" fmla="*/ 514785 w 1189600"/>
                  <a:gd name="connsiteY250" fmla="*/ 140911 h 1260409"/>
                  <a:gd name="connsiteX251" fmla="*/ 582763 w 1189600"/>
                  <a:gd name="connsiteY251" fmla="*/ 150824 h 1260409"/>
                  <a:gd name="connsiteX252" fmla="*/ 579931 w 1189600"/>
                  <a:gd name="connsiteY252" fmla="*/ 166402 h 1260409"/>
                  <a:gd name="connsiteX253" fmla="*/ 526115 w 1189600"/>
                  <a:gd name="connsiteY253" fmla="*/ 169235 h 1260409"/>
                  <a:gd name="connsiteX254" fmla="*/ 460970 w 1189600"/>
                  <a:gd name="connsiteY254" fmla="*/ 200391 h 1260409"/>
                  <a:gd name="connsiteX255" fmla="*/ 443976 w 1189600"/>
                  <a:gd name="connsiteY255" fmla="*/ 215969 h 1260409"/>
                  <a:gd name="connsiteX256" fmla="*/ 323599 w 1189600"/>
                  <a:gd name="connsiteY256" fmla="*/ 218801 h 1260409"/>
                  <a:gd name="connsiteX257" fmla="*/ 395826 w 1189600"/>
                  <a:gd name="connsiteY257" fmla="*/ 128165 h 1260409"/>
                  <a:gd name="connsiteX258" fmla="*/ 402907 w 1189600"/>
                  <a:gd name="connsiteY258" fmla="*/ 123917 h 1260409"/>
                  <a:gd name="connsiteX259" fmla="*/ 459554 w 1189600"/>
                  <a:gd name="connsiteY259" fmla="*/ 198975 h 1260409"/>
                  <a:gd name="connsiteX260" fmla="*/ 558688 w 1189600"/>
                  <a:gd name="connsiteY260" fmla="*/ 669150 h 1260409"/>
                  <a:gd name="connsiteX261" fmla="*/ 558688 w 1189600"/>
                  <a:gd name="connsiteY261" fmla="*/ 700306 h 1260409"/>
                  <a:gd name="connsiteX262" fmla="*/ 544526 w 1189600"/>
                  <a:gd name="connsiteY262" fmla="*/ 690393 h 1260409"/>
                  <a:gd name="connsiteX263" fmla="*/ 502040 w 1189600"/>
                  <a:gd name="connsiteY263" fmla="*/ 604005 h 1260409"/>
                  <a:gd name="connsiteX264" fmla="*/ 574265 w 1189600"/>
                  <a:gd name="connsiteY264" fmla="*/ 667734 h 1260409"/>
                  <a:gd name="connsiteX265" fmla="*/ 558688 w 1189600"/>
                  <a:gd name="connsiteY265" fmla="*/ 669150 h 1260409"/>
                  <a:gd name="connsiteX266" fmla="*/ 558688 w 1189600"/>
                  <a:gd name="connsiteY266" fmla="*/ 669150 h 1260409"/>
                  <a:gd name="connsiteX267" fmla="*/ 230131 w 1189600"/>
                  <a:gd name="connsiteY267" fmla="*/ 492126 h 1260409"/>
                  <a:gd name="connsiteX268" fmla="*/ 211721 w 1189600"/>
                  <a:gd name="connsiteY268" fmla="*/ 534612 h 1260409"/>
                  <a:gd name="connsiteX269" fmla="*/ 173483 w 1189600"/>
                  <a:gd name="connsiteY269" fmla="*/ 534612 h 1260409"/>
                  <a:gd name="connsiteX270" fmla="*/ 228715 w 1189600"/>
                  <a:gd name="connsiteY270" fmla="*/ 492126 h 1260409"/>
                  <a:gd name="connsiteX271" fmla="*/ 230131 w 1189600"/>
                  <a:gd name="connsiteY271" fmla="*/ 492126 h 1260409"/>
                  <a:gd name="connsiteX272" fmla="*/ 169235 w 1189600"/>
                  <a:gd name="connsiteY272" fmla="*/ 426981 h 1260409"/>
                  <a:gd name="connsiteX273" fmla="*/ 139495 w 1189600"/>
                  <a:gd name="connsiteY273" fmla="*/ 435479 h 1260409"/>
                  <a:gd name="connsiteX274" fmla="*/ 149408 w 1189600"/>
                  <a:gd name="connsiteY274" fmla="*/ 412820 h 1260409"/>
                  <a:gd name="connsiteX275" fmla="*/ 169235 w 1189600"/>
                  <a:gd name="connsiteY275" fmla="*/ 426981 h 1260409"/>
                  <a:gd name="connsiteX276" fmla="*/ 150825 w 1189600"/>
                  <a:gd name="connsiteY276" fmla="*/ 409987 h 1260409"/>
                  <a:gd name="connsiteX277" fmla="*/ 150825 w 1189600"/>
                  <a:gd name="connsiteY277" fmla="*/ 409987 h 1260409"/>
                  <a:gd name="connsiteX278" fmla="*/ 147992 w 1189600"/>
                  <a:gd name="connsiteY278" fmla="*/ 409987 h 1260409"/>
                  <a:gd name="connsiteX279" fmla="*/ 150825 w 1189600"/>
                  <a:gd name="connsiteY279" fmla="*/ 409987 h 1260409"/>
                  <a:gd name="connsiteX280" fmla="*/ 697474 w 1189600"/>
                  <a:gd name="connsiteY280" fmla="*/ 544525 h 1260409"/>
                  <a:gd name="connsiteX281" fmla="*/ 693226 w 1189600"/>
                  <a:gd name="connsiteY281" fmla="*/ 612503 h 1260409"/>
                  <a:gd name="connsiteX282" fmla="*/ 633746 w 1189600"/>
                  <a:gd name="connsiteY282" fmla="*/ 608254 h 1260409"/>
                  <a:gd name="connsiteX283" fmla="*/ 683312 w 1189600"/>
                  <a:gd name="connsiteY283" fmla="*/ 531780 h 1260409"/>
                  <a:gd name="connsiteX284" fmla="*/ 697474 w 1189600"/>
                  <a:gd name="connsiteY284" fmla="*/ 544525 h 1260409"/>
                  <a:gd name="connsiteX285" fmla="*/ 402907 w 1189600"/>
                  <a:gd name="connsiteY285" fmla="*/ 751289 h 1260409"/>
                  <a:gd name="connsiteX286" fmla="*/ 247126 w 1189600"/>
                  <a:gd name="connsiteY286" fmla="*/ 657820 h 1260409"/>
                  <a:gd name="connsiteX287" fmla="*/ 237212 w 1189600"/>
                  <a:gd name="connsiteY287" fmla="*/ 625248 h 1260409"/>
                  <a:gd name="connsiteX288" fmla="*/ 237212 w 1189600"/>
                  <a:gd name="connsiteY288" fmla="*/ 625248 h 1260409"/>
                  <a:gd name="connsiteX289" fmla="*/ 237212 w 1189600"/>
                  <a:gd name="connsiteY289" fmla="*/ 625248 h 1260409"/>
                  <a:gd name="connsiteX290" fmla="*/ 235796 w 1189600"/>
                  <a:gd name="connsiteY290" fmla="*/ 536028 h 1260409"/>
                  <a:gd name="connsiteX291" fmla="*/ 320768 w 1189600"/>
                  <a:gd name="connsiteY291" fmla="*/ 534612 h 1260409"/>
                  <a:gd name="connsiteX292" fmla="*/ 367502 w 1189600"/>
                  <a:gd name="connsiteY292" fmla="*/ 567184 h 1260409"/>
                  <a:gd name="connsiteX293" fmla="*/ 323599 w 1189600"/>
                  <a:gd name="connsiteY293" fmla="*/ 639410 h 1260409"/>
                  <a:gd name="connsiteX294" fmla="*/ 323599 w 1189600"/>
                  <a:gd name="connsiteY294" fmla="*/ 639410 h 1260409"/>
                  <a:gd name="connsiteX295" fmla="*/ 411403 w 1189600"/>
                  <a:gd name="connsiteY295" fmla="*/ 718717 h 1260409"/>
                  <a:gd name="connsiteX296" fmla="*/ 402907 w 1189600"/>
                  <a:gd name="connsiteY296" fmla="*/ 751289 h 1260409"/>
                  <a:gd name="connsiteX297" fmla="*/ 402907 w 1189600"/>
                  <a:gd name="connsiteY297" fmla="*/ 751289 h 1260409"/>
                  <a:gd name="connsiteX298" fmla="*/ 228715 w 1189600"/>
                  <a:gd name="connsiteY298" fmla="*/ 629497 h 1260409"/>
                  <a:gd name="connsiteX299" fmla="*/ 220218 w 1189600"/>
                  <a:gd name="connsiteY299" fmla="*/ 640826 h 1260409"/>
                  <a:gd name="connsiteX300" fmla="*/ 213137 w 1189600"/>
                  <a:gd name="connsiteY300" fmla="*/ 636578 h 1260409"/>
                  <a:gd name="connsiteX301" fmla="*/ 228715 w 1189600"/>
                  <a:gd name="connsiteY301" fmla="*/ 629497 h 1260409"/>
                  <a:gd name="connsiteX302" fmla="*/ 153656 w 1189600"/>
                  <a:gd name="connsiteY302" fmla="*/ 400074 h 1260409"/>
                  <a:gd name="connsiteX303" fmla="*/ 150825 w 1189600"/>
                  <a:gd name="connsiteY303" fmla="*/ 407155 h 1260409"/>
                  <a:gd name="connsiteX304" fmla="*/ 145160 w 1189600"/>
                  <a:gd name="connsiteY304" fmla="*/ 405739 h 1260409"/>
                  <a:gd name="connsiteX305" fmla="*/ 143744 w 1189600"/>
                  <a:gd name="connsiteY305" fmla="*/ 404322 h 1260409"/>
                  <a:gd name="connsiteX306" fmla="*/ 153656 w 1189600"/>
                  <a:gd name="connsiteY306" fmla="*/ 400074 h 1260409"/>
                  <a:gd name="connsiteX307" fmla="*/ 152241 w 1189600"/>
                  <a:gd name="connsiteY307" fmla="*/ 409987 h 1260409"/>
                  <a:gd name="connsiteX308" fmla="*/ 203223 w 1189600"/>
                  <a:gd name="connsiteY308" fmla="*/ 417068 h 1260409"/>
                  <a:gd name="connsiteX309" fmla="*/ 172068 w 1189600"/>
                  <a:gd name="connsiteY309" fmla="*/ 425565 h 1260409"/>
                  <a:gd name="connsiteX310" fmla="*/ 152241 w 1189600"/>
                  <a:gd name="connsiteY310" fmla="*/ 409987 h 1260409"/>
                  <a:gd name="connsiteX311" fmla="*/ 152241 w 1189600"/>
                  <a:gd name="connsiteY311" fmla="*/ 409987 h 1260409"/>
                  <a:gd name="connsiteX312" fmla="*/ 771116 w 1189600"/>
                  <a:gd name="connsiteY312" fmla="*/ 391577 h 1260409"/>
                  <a:gd name="connsiteX313" fmla="*/ 771116 w 1189600"/>
                  <a:gd name="connsiteY313" fmla="*/ 391577 h 1260409"/>
                  <a:gd name="connsiteX314" fmla="*/ 771116 w 1189600"/>
                  <a:gd name="connsiteY314" fmla="*/ 391577 h 1260409"/>
                  <a:gd name="connsiteX315" fmla="*/ 768284 w 1189600"/>
                  <a:gd name="connsiteY315" fmla="*/ 388744 h 1260409"/>
                  <a:gd name="connsiteX316" fmla="*/ 776781 w 1189600"/>
                  <a:gd name="connsiteY316" fmla="*/ 388744 h 1260409"/>
                  <a:gd name="connsiteX317" fmla="*/ 772532 w 1189600"/>
                  <a:gd name="connsiteY317" fmla="*/ 395825 h 1260409"/>
                  <a:gd name="connsiteX318" fmla="*/ 772532 w 1189600"/>
                  <a:gd name="connsiteY318" fmla="*/ 394409 h 1260409"/>
                  <a:gd name="connsiteX319" fmla="*/ 771116 w 1189600"/>
                  <a:gd name="connsiteY319" fmla="*/ 391577 h 1260409"/>
                  <a:gd name="connsiteX320" fmla="*/ 710220 w 1189600"/>
                  <a:gd name="connsiteY320" fmla="*/ 490710 h 1260409"/>
                  <a:gd name="connsiteX321" fmla="*/ 771116 w 1189600"/>
                  <a:gd name="connsiteY321" fmla="*/ 397241 h 1260409"/>
                  <a:gd name="connsiteX322" fmla="*/ 783862 w 1189600"/>
                  <a:gd name="connsiteY322" fmla="*/ 500623 h 1260409"/>
                  <a:gd name="connsiteX323" fmla="*/ 710220 w 1189600"/>
                  <a:gd name="connsiteY323" fmla="*/ 490710 h 1260409"/>
                  <a:gd name="connsiteX324" fmla="*/ 739960 w 1189600"/>
                  <a:gd name="connsiteY324" fmla="*/ 528947 h 1260409"/>
                  <a:gd name="connsiteX325" fmla="*/ 785278 w 1189600"/>
                  <a:gd name="connsiteY325" fmla="*/ 528947 h 1260409"/>
                  <a:gd name="connsiteX326" fmla="*/ 789527 w 1189600"/>
                  <a:gd name="connsiteY326" fmla="*/ 564352 h 1260409"/>
                  <a:gd name="connsiteX327" fmla="*/ 739960 w 1189600"/>
                  <a:gd name="connsiteY327" fmla="*/ 528947 h 1260409"/>
                  <a:gd name="connsiteX328" fmla="*/ 698890 w 1189600"/>
                  <a:gd name="connsiteY328" fmla="*/ 528947 h 1260409"/>
                  <a:gd name="connsiteX329" fmla="*/ 697474 w 1189600"/>
                  <a:gd name="connsiteY329" fmla="*/ 541693 h 1260409"/>
                  <a:gd name="connsiteX330" fmla="*/ 683312 w 1189600"/>
                  <a:gd name="connsiteY330" fmla="*/ 530363 h 1260409"/>
                  <a:gd name="connsiteX331" fmla="*/ 683312 w 1189600"/>
                  <a:gd name="connsiteY331" fmla="*/ 528947 h 1260409"/>
                  <a:gd name="connsiteX332" fmla="*/ 698890 w 1189600"/>
                  <a:gd name="connsiteY332" fmla="*/ 528947 h 1260409"/>
                  <a:gd name="connsiteX333" fmla="*/ 686145 w 1189600"/>
                  <a:gd name="connsiteY333" fmla="*/ 527531 h 1260409"/>
                  <a:gd name="connsiteX334" fmla="*/ 700307 w 1189600"/>
                  <a:gd name="connsiteY334" fmla="*/ 504872 h 1260409"/>
                  <a:gd name="connsiteX335" fmla="*/ 698890 w 1189600"/>
                  <a:gd name="connsiteY335" fmla="*/ 527531 h 1260409"/>
                  <a:gd name="connsiteX336" fmla="*/ 686145 w 1189600"/>
                  <a:gd name="connsiteY336" fmla="*/ 527531 h 1260409"/>
                  <a:gd name="connsiteX337" fmla="*/ 646492 w 1189600"/>
                  <a:gd name="connsiteY337" fmla="*/ 275449 h 1260409"/>
                  <a:gd name="connsiteX338" fmla="*/ 667735 w 1189600"/>
                  <a:gd name="connsiteY338" fmla="*/ 245709 h 1260409"/>
                  <a:gd name="connsiteX339" fmla="*/ 683312 w 1189600"/>
                  <a:gd name="connsiteY339" fmla="*/ 266952 h 1260409"/>
                  <a:gd name="connsiteX340" fmla="*/ 646492 w 1189600"/>
                  <a:gd name="connsiteY340" fmla="*/ 275449 h 1260409"/>
                  <a:gd name="connsiteX341" fmla="*/ 732879 w 1189600"/>
                  <a:gd name="connsiteY341" fmla="*/ 526115 h 1260409"/>
                  <a:gd name="connsiteX342" fmla="*/ 700307 w 1189600"/>
                  <a:gd name="connsiteY342" fmla="*/ 526115 h 1260409"/>
                  <a:gd name="connsiteX343" fmla="*/ 701723 w 1189600"/>
                  <a:gd name="connsiteY343" fmla="*/ 504872 h 1260409"/>
                  <a:gd name="connsiteX344" fmla="*/ 732879 w 1189600"/>
                  <a:gd name="connsiteY344" fmla="*/ 526115 h 1260409"/>
                  <a:gd name="connsiteX345" fmla="*/ 705971 w 1189600"/>
                  <a:gd name="connsiteY345" fmla="*/ 492126 h 1260409"/>
                  <a:gd name="connsiteX346" fmla="*/ 683312 w 1189600"/>
                  <a:gd name="connsiteY346" fmla="*/ 527531 h 1260409"/>
                  <a:gd name="connsiteX347" fmla="*/ 680480 w 1189600"/>
                  <a:gd name="connsiteY347" fmla="*/ 527531 h 1260409"/>
                  <a:gd name="connsiteX348" fmla="*/ 622416 w 1189600"/>
                  <a:gd name="connsiteY348" fmla="*/ 479380 h 1260409"/>
                  <a:gd name="connsiteX349" fmla="*/ 705971 w 1189600"/>
                  <a:gd name="connsiteY349" fmla="*/ 492126 h 1260409"/>
                  <a:gd name="connsiteX350" fmla="*/ 588427 w 1189600"/>
                  <a:gd name="connsiteY350" fmla="*/ 313686 h 1260409"/>
                  <a:gd name="connsiteX351" fmla="*/ 623832 w 1189600"/>
                  <a:gd name="connsiteY351" fmla="*/ 303773 h 1260409"/>
                  <a:gd name="connsiteX352" fmla="*/ 584179 w 1189600"/>
                  <a:gd name="connsiteY352" fmla="*/ 357588 h 1260409"/>
                  <a:gd name="connsiteX353" fmla="*/ 588427 w 1189600"/>
                  <a:gd name="connsiteY353" fmla="*/ 313686 h 1260409"/>
                  <a:gd name="connsiteX354" fmla="*/ 625249 w 1189600"/>
                  <a:gd name="connsiteY354" fmla="*/ 300941 h 1260409"/>
                  <a:gd name="connsiteX355" fmla="*/ 588427 w 1189600"/>
                  <a:gd name="connsiteY355" fmla="*/ 310854 h 1260409"/>
                  <a:gd name="connsiteX356" fmla="*/ 589844 w 1189600"/>
                  <a:gd name="connsiteY356" fmla="*/ 289611 h 1260409"/>
                  <a:gd name="connsiteX357" fmla="*/ 640827 w 1189600"/>
                  <a:gd name="connsiteY357" fmla="*/ 278281 h 1260409"/>
                  <a:gd name="connsiteX358" fmla="*/ 625249 w 1189600"/>
                  <a:gd name="connsiteY358" fmla="*/ 300941 h 1260409"/>
                  <a:gd name="connsiteX359" fmla="*/ 547358 w 1189600"/>
                  <a:gd name="connsiteY359" fmla="*/ 322183 h 1260409"/>
                  <a:gd name="connsiteX360" fmla="*/ 553023 w 1189600"/>
                  <a:gd name="connsiteY360" fmla="*/ 296692 h 1260409"/>
                  <a:gd name="connsiteX361" fmla="*/ 588427 w 1189600"/>
                  <a:gd name="connsiteY361" fmla="*/ 289611 h 1260409"/>
                  <a:gd name="connsiteX362" fmla="*/ 587012 w 1189600"/>
                  <a:gd name="connsiteY362" fmla="*/ 310854 h 1260409"/>
                  <a:gd name="connsiteX363" fmla="*/ 547358 w 1189600"/>
                  <a:gd name="connsiteY363" fmla="*/ 322183 h 1260409"/>
                  <a:gd name="connsiteX364" fmla="*/ 339178 w 1189600"/>
                  <a:gd name="connsiteY364" fmla="*/ 421317 h 1260409"/>
                  <a:gd name="connsiteX365" fmla="*/ 334930 w 1189600"/>
                  <a:gd name="connsiteY365" fmla="*/ 412820 h 1260409"/>
                  <a:gd name="connsiteX366" fmla="*/ 349092 w 1189600"/>
                  <a:gd name="connsiteY366" fmla="*/ 421317 h 1260409"/>
                  <a:gd name="connsiteX367" fmla="*/ 339178 w 1189600"/>
                  <a:gd name="connsiteY367" fmla="*/ 421317 h 1260409"/>
                  <a:gd name="connsiteX368" fmla="*/ 340594 w 1189600"/>
                  <a:gd name="connsiteY368" fmla="*/ 424149 h 1260409"/>
                  <a:gd name="connsiteX369" fmla="*/ 353340 w 1189600"/>
                  <a:gd name="connsiteY369" fmla="*/ 422733 h 1260409"/>
                  <a:gd name="connsiteX370" fmla="*/ 388745 w 1189600"/>
                  <a:gd name="connsiteY370" fmla="*/ 442560 h 1260409"/>
                  <a:gd name="connsiteX371" fmla="*/ 347675 w 1189600"/>
                  <a:gd name="connsiteY371" fmla="*/ 436895 h 1260409"/>
                  <a:gd name="connsiteX372" fmla="*/ 340594 w 1189600"/>
                  <a:gd name="connsiteY372" fmla="*/ 424149 h 1260409"/>
                  <a:gd name="connsiteX373" fmla="*/ 442560 w 1189600"/>
                  <a:gd name="connsiteY373" fmla="*/ 452473 h 1260409"/>
                  <a:gd name="connsiteX374" fmla="*/ 514785 w 1189600"/>
                  <a:gd name="connsiteY374" fmla="*/ 462386 h 1260409"/>
                  <a:gd name="connsiteX375" fmla="*/ 504873 w 1189600"/>
                  <a:gd name="connsiteY375" fmla="*/ 506288 h 1260409"/>
                  <a:gd name="connsiteX376" fmla="*/ 442560 w 1189600"/>
                  <a:gd name="connsiteY376" fmla="*/ 452473 h 1260409"/>
                  <a:gd name="connsiteX377" fmla="*/ 429814 w 1189600"/>
                  <a:gd name="connsiteY377" fmla="*/ 465218 h 1260409"/>
                  <a:gd name="connsiteX378" fmla="*/ 397242 w 1189600"/>
                  <a:gd name="connsiteY378" fmla="*/ 446808 h 1260409"/>
                  <a:gd name="connsiteX379" fmla="*/ 436895 w 1189600"/>
                  <a:gd name="connsiteY379" fmla="*/ 452473 h 1260409"/>
                  <a:gd name="connsiteX380" fmla="*/ 429814 w 1189600"/>
                  <a:gd name="connsiteY380" fmla="*/ 465218 h 1260409"/>
                  <a:gd name="connsiteX381" fmla="*/ 431230 w 1189600"/>
                  <a:gd name="connsiteY381" fmla="*/ 466635 h 1260409"/>
                  <a:gd name="connsiteX382" fmla="*/ 439727 w 1189600"/>
                  <a:gd name="connsiteY382" fmla="*/ 453889 h 1260409"/>
                  <a:gd name="connsiteX383" fmla="*/ 502040 w 1189600"/>
                  <a:gd name="connsiteY383" fmla="*/ 507704 h 1260409"/>
                  <a:gd name="connsiteX384" fmla="*/ 431230 w 1189600"/>
                  <a:gd name="connsiteY384" fmla="*/ 466635 h 1260409"/>
                  <a:gd name="connsiteX385" fmla="*/ 465219 w 1189600"/>
                  <a:gd name="connsiteY385" fmla="*/ 411403 h 1260409"/>
                  <a:gd name="connsiteX386" fmla="*/ 489294 w 1189600"/>
                  <a:gd name="connsiteY386" fmla="*/ 373166 h 1260409"/>
                  <a:gd name="connsiteX387" fmla="*/ 527531 w 1189600"/>
                  <a:gd name="connsiteY387" fmla="*/ 404322 h 1260409"/>
                  <a:gd name="connsiteX388" fmla="*/ 527531 w 1189600"/>
                  <a:gd name="connsiteY388" fmla="*/ 405739 h 1260409"/>
                  <a:gd name="connsiteX389" fmla="*/ 465219 w 1189600"/>
                  <a:gd name="connsiteY389" fmla="*/ 411403 h 1260409"/>
                  <a:gd name="connsiteX390" fmla="*/ 438311 w 1189600"/>
                  <a:gd name="connsiteY390" fmla="*/ 451056 h 1260409"/>
                  <a:gd name="connsiteX391" fmla="*/ 401490 w 1189600"/>
                  <a:gd name="connsiteY391" fmla="*/ 418484 h 1260409"/>
                  <a:gd name="connsiteX392" fmla="*/ 460970 w 1189600"/>
                  <a:gd name="connsiteY392" fmla="*/ 414236 h 1260409"/>
                  <a:gd name="connsiteX393" fmla="*/ 438311 w 1189600"/>
                  <a:gd name="connsiteY393" fmla="*/ 451056 h 1260409"/>
                  <a:gd name="connsiteX394" fmla="*/ 435479 w 1189600"/>
                  <a:gd name="connsiteY394" fmla="*/ 449641 h 1260409"/>
                  <a:gd name="connsiteX395" fmla="*/ 392993 w 1189600"/>
                  <a:gd name="connsiteY395" fmla="*/ 443975 h 1260409"/>
                  <a:gd name="connsiteX396" fmla="*/ 356172 w 1189600"/>
                  <a:gd name="connsiteY396" fmla="*/ 422733 h 1260409"/>
                  <a:gd name="connsiteX397" fmla="*/ 398658 w 1189600"/>
                  <a:gd name="connsiteY397" fmla="*/ 419901 h 1260409"/>
                  <a:gd name="connsiteX398" fmla="*/ 435479 w 1189600"/>
                  <a:gd name="connsiteY398" fmla="*/ 449641 h 1260409"/>
                  <a:gd name="connsiteX399" fmla="*/ 392993 w 1189600"/>
                  <a:gd name="connsiteY399" fmla="*/ 445392 h 1260409"/>
                  <a:gd name="connsiteX400" fmla="*/ 429814 w 1189600"/>
                  <a:gd name="connsiteY400" fmla="*/ 466635 h 1260409"/>
                  <a:gd name="connsiteX401" fmla="*/ 390161 w 1189600"/>
                  <a:gd name="connsiteY401" fmla="*/ 531780 h 1260409"/>
                  <a:gd name="connsiteX402" fmla="*/ 390161 w 1189600"/>
                  <a:gd name="connsiteY402" fmla="*/ 531780 h 1260409"/>
                  <a:gd name="connsiteX403" fmla="*/ 349092 w 1189600"/>
                  <a:gd name="connsiteY403" fmla="*/ 439727 h 1260409"/>
                  <a:gd name="connsiteX404" fmla="*/ 392993 w 1189600"/>
                  <a:gd name="connsiteY404" fmla="*/ 445392 h 1260409"/>
                  <a:gd name="connsiteX405" fmla="*/ 431230 w 1189600"/>
                  <a:gd name="connsiteY405" fmla="*/ 468051 h 1260409"/>
                  <a:gd name="connsiteX406" fmla="*/ 506288 w 1189600"/>
                  <a:gd name="connsiteY406" fmla="*/ 511953 h 1260409"/>
                  <a:gd name="connsiteX407" fmla="*/ 504873 w 1189600"/>
                  <a:gd name="connsiteY407" fmla="*/ 530363 h 1260409"/>
                  <a:gd name="connsiteX408" fmla="*/ 392993 w 1189600"/>
                  <a:gd name="connsiteY408" fmla="*/ 531780 h 1260409"/>
                  <a:gd name="connsiteX409" fmla="*/ 431230 w 1189600"/>
                  <a:gd name="connsiteY409" fmla="*/ 468051 h 1260409"/>
                  <a:gd name="connsiteX410" fmla="*/ 441144 w 1189600"/>
                  <a:gd name="connsiteY410" fmla="*/ 451056 h 1260409"/>
                  <a:gd name="connsiteX411" fmla="*/ 463803 w 1189600"/>
                  <a:gd name="connsiteY411" fmla="*/ 414236 h 1260409"/>
                  <a:gd name="connsiteX412" fmla="*/ 526115 w 1189600"/>
                  <a:gd name="connsiteY412" fmla="*/ 408571 h 1260409"/>
                  <a:gd name="connsiteX413" fmla="*/ 514785 w 1189600"/>
                  <a:gd name="connsiteY413" fmla="*/ 460970 h 1260409"/>
                  <a:gd name="connsiteX414" fmla="*/ 441144 w 1189600"/>
                  <a:gd name="connsiteY414" fmla="*/ 451056 h 1260409"/>
                  <a:gd name="connsiteX415" fmla="*/ 285363 w 1189600"/>
                  <a:gd name="connsiteY415" fmla="*/ 428398 h 1260409"/>
                  <a:gd name="connsiteX416" fmla="*/ 339178 w 1189600"/>
                  <a:gd name="connsiteY416" fmla="*/ 424149 h 1260409"/>
                  <a:gd name="connsiteX417" fmla="*/ 344842 w 1189600"/>
                  <a:gd name="connsiteY417" fmla="*/ 436895 h 1260409"/>
                  <a:gd name="connsiteX418" fmla="*/ 285363 w 1189600"/>
                  <a:gd name="connsiteY418" fmla="*/ 428398 h 1260409"/>
                  <a:gd name="connsiteX419" fmla="*/ 516202 w 1189600"/>
                  <a:gd name="connsiteY419" fmla="*/ 462386 h 1260409"/>
                  <a:gd name="connsiteX420" fmla="*/ 528947 w 1189600"/>
                  <a:gd name="connsiteY420" fmla="*/ 408571 h 1260409"/>
                  <a:gd name="connsiteX421" fmla="*/ 531780 w 1189600"/>
                  <a:gd name="connsiteY421" fmla="*/ 408571 h 1260409"/>
                  <a:gd name="connsiteX422" fmla="*/ 615335 w 1189600"/>
                  <a:gd name="connsiteY422" fmla="*/ 476548 h 1260409"/>
                  <a:gd name="connsiteX423" fmla="*/ 516202 w 1189600"/>
                  <a:gd name="connsiteY423" fmla="*/ 462386 h 1260409"/>
                  <a:gd name="connsiteX424" fmla="*/ 528947 w 1189600"/>
                  <a:gd name="connsiteY424" fmla="*/ 405739 h 1260409"/>
                  <a:gd name="connsiteX425" fmla="*/ 528947 w 1189600"/>
                  <a:gd name="connsiteY425" fmla="*/ 405739 h 1260409"/>
                  <a:gd name="connsiteX426" fmla="*/ 528947 w 1189600"/>
                  <a:gd name="connsiteY426" fmla="*/ 405739 h 1260409"/>
                  <a:gd name="connsiteX427" fmla="*/ 528947 w 1189600"/>
                  <a:gd name="connsiteY427" fmla="*/ 405739 h 1260409"/>
                  <a:gd name="connsiteX428" fmla="*/ 544526 w 1189600"/>
                  <a:gd name="connsiteY428" fmla="*/ 325016 h 1260409"/>
                  <a:gd name="connsiteX429" fmla="*/ 527531 w 1189600"/>
                  <a:gd name="connsiteY429" fmla="*/ 401490 h 1260409"/>
                  <a:gd name="connsiteX430" fmla="*/ 487878 w 1189600"/>
                  <a:gd name="connsiteY430" fmla="*/ 368918 h 1260409"/>
                  <a:gd name="connsiteX431" fmla="*/ 487878 w 1189600"/>
                  <a:gd name="connsiteY431" fmla="*/ 368918 h 1260409"/>
                  <a:gd name="connsiteX432" fmla="*/ 462387 w 1189600"/>
                  <a:gd name="connsiteY432" fmla="*/ 411403 h 1260409"/>
                  <a:gd name="connsiteX433" fmla="*/ 400074 w 1189600"/>
                  <a:gd name="connsiteY433" fmla="*/ 417068 h 1260409"/>
                  <a:gd name="connsiteX434" fmla="*/ 356172 w 1189600"/>
                  <a:gd name="connsiteY434" fmla="*/ 378831 h 1260409"/>
                  <a:gd name="connsiteX435" fmla="*/ 544526 w 1189600"/>
                  <a:gd name="connsiteY435" fmla="*/ 325016 h 1260409"/>
                  <a:gd name="connsiteX436" fmla="*/ 506288 w 1189600"/>
                  <a:gd name="connsiteY436" fmla="*/ 530363 h 1260409"/>
                  <a:gd name="connsiteX437" fmla="*/ 507704 w 1189600"/>
                  <a:gd name="connsiteY437" fmla="*/ 511953 h 1260409"/>
                  <a:gd name="connsiteX438" fmla="*/ 507704 w 1189600"/>
                  <a:gd name="connsiteY438" fmla="*/ 511953 h 1260409"/>
                  <a:gd name="connsiteX439" fmla="*/ 506288 w 1189600"/>
                  <a:gd name="connsiteY439" fmla="*/ 510537 h 1260409"/>
                  <a:gd name="connsiteX440" fmla="*/ 516202 w 1189600"/>
                  <a:gd name="connsiteY440" fmla="*/ 463803 h 1260409"/>
                  <a:gd name="connsiteX441" fmla="*/ 618168 w 1189600"/>
                  <a:gd name="connsiteY441" fmla="*/ 479380 h 1260409"/>
                  <a:gd name="connsiteX442" fmla="*/ 677647 w 1189600"/>
                  <a:gd name="connsiteY442" fmla="*/ 527531 h 1260409"/>
                  <a:gd name="connsiteX443" fmla="*/ 506288 w 1189600"/>
                  <a:gd name="connsiteY443" fmla="*/ 530363 h 1260409"/>
                  <a:gd name="connsiteX444" fmla="*/ 387328 w 1189600"/>
                  <a:gd name="connsiteY444" fmla="*/ 533196 h 1260409"/>
                  <a:gd name="connsiteX445" fmla="*/ 387328 w 1189600"/>
                  <a:gd name="connsiteY445" fmla="*/ 533196 h 1260409"/>
                  <a:gd name="connsiteX446" fmla="*/ 367502 w 1189600"/>
                  <a:gd name="connsiteY446" fmla="*/ 565768 h 1260409"/>
                  <a:gd name="connsiteX447" fmla="*/ 323599 w 1189600"/>
                  <a:gd name="connsiteY447" fmla="*/ 534612 h 1260409"/>
                  <a:gd name="connsiteX448" fmla="*/ 387328 w 1189600"/>
                  <a:gd name="connsiteY448" fmla="*/ 533196 h 1260409"/>
                  <a:gd name="connsiteX449" fmla="*/ 353340 w 1189600"/>
                  <a:gd name="connsiteY449" fmla="*/ 419901 h 1260409"/>
                  <a:gd name="connsiteX450" fmla="*/ 332097 w 1189600"/>
                  <a:gd name="connsiteY450" fmla="*/ 407155 h 1260409"/>
                  <a:gd name="connsiteX451" fmla="*/ 332097 w 1189600"/>
                  <a:gd name="connsiteY451" fmla="*/ 407155 h 1260409"/>
                  <a:gd name="connsiteX452" fmla="*/ 339178 w 1189600"/>
                  <a:gd name="connsiteY452" fmla="*/ 421317 h 1260409"/>
                  <a:gd name="connsiteX453" fmla="*/ 276865 w 1189600"/>
                  <a:gd name="connsiteY453" fmla="*/ 426981 h 1260409"/>
                  <a:gd name="connsiteX454" fmla="*/ 214553 w 1189600"/>
                  <a:gd name="connsiteY454" fmla="*/ 418484 h 1260409"/>
                  <a:gd name="connsiteX455" fmla="*/ 354756 w 1189600"/>
                  <a:gd name="connsiteY455" fmla="*/ 380247 h 1260409"/>
                  <a:gd name="connsiteX456" fmla="*/ 398658 w 1189600"/>
                  <a:gd name="connsiteY456" fmla="*/ 418484 h 1260409"/>
                  <a:gd name="connsiteX457" fmla="*/ 353340 w 1189600"/>
                  <a:gd name="connsiteY457" fmla="*/ 419901 h 1260409"/>
                  <a:gd name="connsiteX458" fmla="*/ 618168 w 1189600"/>
                  <a:gd name="connsiteY458" fmla="*/ 476548 h 1260409"/>
                  <a:gd name="connsiteX459" fmla="*/ 534612 w 1189600"/>
                  <a:gd name="connsiteY459" fmla="*/ 407155 h 1260409"/>
                  <a:gd name="connsiteX460" fmla="*/ 765451 w 1189600"/>
                  <a:gd name="connsiteY460" fmla="*/ 388744 h 1260409"/>
                  <a:gd name="connsiteX461" fmla="*/ 768284 w 1189600"/>
                  <a:gd name="connsiteY461" fmla="*/ 394409 h 1260409"/>
                  <a:gd name="connsiteX462" fmla="*/ 705971 w 1189600"/>
                  <a:gd name="connsiteY462" fmla="*/ 490710 h 1260409"/>
                  <a:gd name="connsiteX463" fmla="*/ 618168 w 1189600"/>
                  <a:gd name="connsiteY463" fmla="*/ 476548 h 1260409"/>
                  <a:gd name="connsiteX464" fmla="*/ 531780 w 1189600"/>
                  <a:gd name="connsiteY464" fmla="*/ 405739 h 1260409"/>
                  <a:gd name="connsiteX465" fmla="*/ 528947 w 1189600"/>
                  <a:gd name="connsiteY465" fmla="*/ 402906 h 1260409"/>
                  <a:gd name="connsiteX466" fmla="*/ 545942 w 1189600"/>
                  <a:gd name="connsiteY466" fmla="*/ 323599 h 1260409"/>
                  <a:gd name="connsiteX467" fmla="*/ 584179 w 1189600"/>
                  <a:gd name="connsiteY467" fmla="*/ 312270 h 1260409"/>
                  <a:gd name="connsiteX468" fmla="*/ 579931 w 1189600"/>
                  <a:gd name="connsiteY468" fmla="*/ 363253 h 1260409"/>
                  <a:gd name="connsiteX469" fmla="*/ 625249 w 1189600"/>
                  <a:gd name="connsiteY469" fmla="*/ 300941 h 1260409"/>
                  <a:gd name="connsiteX470" fmla="*/ 691809 w 1189600"/>
                  <a:gd name="connsiteY470" fmla="*/ 282530 h 1260409"/>
                  <a:gd name="connsiteX471" fmla="*/ 762619 w 1189600"/>
                  <a:gd name="connsiteY471" fmla="*/ 385912 h 1260409"/>
                  <a:gd name="connsiteX472" fmla="*/ 531780 w 1189600"/>
                  <a:gd name="connsiteY472" fmla="*/ 405739 h 1260409"/>
                  <a:gd name="connsiteX473" fmla="*/ 629497 w 1189600"/>
                  <a:gd name="connsiteY473" fmla="*/ 299524 h 1260409"/>
                  <a:gd name="connsiteX474" fmla="*/ 645075 w 1189600"/>
                  <a:gd name="connsiteY474" fmla="*/ 278281 h 1260409"/>
                  <a:gd name="connsiteX475" fmla="*/ 684728 w 1189600"/>
                  <a:gd name="connsiteY475" fmla="*/ 269784 h 1260409"/>
                  <a:gd name="connsiteX476" fmla="*/ 693226 w 1189600"/>
                  <a:gd name="connsiteY476" fmla="*/ 282530 h 1260409"/>
                  <a:gd name="connsiteX477" fmla="*/ 629497 w 1189600"/>
                  <a:gd name="connsiteY477" fmla="*/ 299524 h 1260409"/>
                  <a:gd name="connsiteX478" fmla="*/ 588427 w 1189600"/>
                  <a:gd name="connsiteY478" fmla="*/ 288194 h 1260409"/>
                  <a:gd name="connsiteX479" fmla="*/ 554439 w 1189600"/>
                  <a:gd name="connsiteY479" fmla="*/ 295275 h 1260409"/>
                  <a:gd name="connsiteX480" fmla="*/ 571433 w 1189600"/>
                  <a:gd name="connsiteY480" fmla="*/ 217385 h 1260409"/>
                  <a:gd name="connsiteX481" fmla="*/ 595508 w 1189600"/>
                  <a:gd name="connsiteY481" fmla="*/ 217385 h 1260409"/>
                  <a:gd name="connsiteX482" fmla="*/ 588427 w 1189600"/>
                  <a:gd name="connsiteY482" fmla="*/ 288194 h 1260409"/>
                  <a:gd name="connsiteX483" fmla="*/ 463803 w 1189600"/>
                  <a:gd name="connsiteY483" fmla="*/ 203223 h 1260409"/>
                  <a:gd name="connsiteX484" fmla="*/ 527531 w 1189600"/>
                  <a:gd name="connsiteY484" fmla="*/ 172067 h 1260409"/>
                  <a:gd name="connsiteX485" fmla="*/ 579931 w 1189600"/>
                  <a:gd name="connsiteY485" fmla="*/ 169235 h 1260409"/>
                  <a:gd name="connsiteX486" fmla="*/ 570017 w 1189600"/>
                  <a:gd name="connsiteY486" fmla="*/ 214553 h 1260409"/>
                  <a:gd name="connsiteX487" fmla="*/ 449641 w 1189600"/>
                  <a:gd name="connsiteY487" fmla="*/ 217385 h 1260409"/>
                  <a:gd name="connsiteX488" fmla="*/ 463803 w 1189600"/>
                  <a:gd name="connsiteY488" fmla="*/ 203223 h 1260409"/>
                  <a:gd name="connsiteX489" fmla="*/ 568601 w 1189600"/>
                  <a:gd name="connsiteY489" fmla="*/ 217385 h 1260409"/>
                  <a:gd name="connsiteX490" fmla="*/ 551607 w 1189600"/>
                  <a:gd name="connsiteY490" fmla="*/ 295275 h 1260409"/>
                  <a:gd name="connsiteX491" fmla="*/ 319351 w 1189600"/>
                  <a:gd name="connsiteY491" fmla="*/ 343426 h 1260409"/>
                  <a:gd name="connsiteX492" fmla="*/ 446808 w 1189600"/>
                  <a:gd name="connsiteY492" fmla="*/ 220218 h 1260409"/>
                  <a:gd name="connsiteX493" fmla="*/ 568601 w 1189600"/>
                  <a:gd name="connsiteY493" fmla="*/ 217385 h 1260409"/>
                  <a:gd name="connsiteX494" fmla="*/ 545942 w 1189600"/>
                  <a:gd name="connsiteY494" fmla="*/ 323599 h 1260409"/>
                  <a:gd name="connsiteX495" fmla="*/ 354756 w 1189600"/>
                  <a:gd name="connsiteY495" fmla="*/ 375999 h 1260409"/>
                  <a:gd name="connsiteX496" fmla="*/ 320768 w 1189600"/>
                  <a:gd name="connsiteY496" fmla="*/ 346258 h 1260409"/>
                  <a:gd name="connsiteX497" fmla="*/ 551607 w 1189600"/>
                  <a:gd name="connsiteY497" fmla="*/ 298108 h 1260409"/>
                  <a:gd name="connsiteX498" fmla="*/ 545942 w 1189600"/>
                  <a:gd name="connsiteY498" fmla="*/ 323599 h 1260409"/>
                  <a:gd name="connsiteX499" fmla="*/ 174899 w 1189600"/>
                  <a:gd name="connsiteY499" fmla="*/ 428398 h 1260409"/>
                  <a:gd name="connsiteX500" fmla="*/ 208888 w 1189600"/>
                  <a:gd name="connsiteY500" fmla="*/ 418484 h 1260409"/>
                  <a:gd name="connsiteX501" fmla="*/ 266952 w 1189600"/>
                  <a:gd name="connsiteY501" fmla="*/ 426981 h 1260409"/>
                  <a:gd name="connsiteX502" fmla="*/ 183397 w 1189600"/>
                  <a:gd name="connsiteY502" fmla="*/ 434062 h 1260409"/>
                  <a:gd name="connsiteX503" fmla="*/ 174899 w 1189600"/>
                  <a:gd name="connsiteY503" fmla="*/ 428398 h 1260409"/>
                  <a:gd name="connsiteX504" fmla="*/ 275449 w 1189600"/>
                  <a:gd name="connsiteY504" fmla="*/ 428398 h 1260409"/>
                  <a:gd name="connsiteX505" fmla="*/ 344842 w 1189600"/>
                  <a:gd name="connsiteY505" fmla="*/ 438311 h 1260409"/>
                  <a:gd name="connsiteX506" fmla="*/ 385912 w 1189600"/>
                  <a:gd name="connsiteY506" fmla="*/ 531780 h 1260409"/>
                  <a:gd name="connsiteX507" fmla="*/ 320768 w 1189600"/>
                  <a:gd name="connsiteY507" fmla="*/ 533196 h 1260409"/>
                  <a:gd name="connsiteX508" fmla="*/ 184813 w 1189600"/>
                  <a:gd name="connsiteY508" fmla="*/ 436895 h 1260409"/>
                  <a:gd name="connsiteX509" fmla="*/ 275449 w 1189600"/>
                  <a:gd name="connsiteY509" fmla="*/ 428398 h 1260409"/>
                  <a:gd name="connsiteX510" fmla="*/ 370334 w 1189600"/>
                  <a:gd name="connsiteY510" fmla="*/ 567184 h 1260409"/>
                  <a:gd name="connsiteX511" fmla="*/ 388745 w 1189600"/>
                  <a:gd name="connsiteY511" fmla="*/ 536028 h 1260409"/>
                  <a:gd name="connsiteX512" fmla="*/ 418484 w 1189600"/>
                  <a:gd name="connsiteY512" fmla="*/ 601173 h 1260409"/>
                  <a:gd name="connsiteX513" fmla="*/ 370334 w 1189600"/>
                  <a:gd name="connsiteY513" fmla="*/ 567184 h 1260409"/>
                  <a:gd name="connsiteX514" fmla="*/ 390161 w 1189600"/>
                  <a:gd name="connsiteY514" fmla="*/ 534612 h 1260409"/>
                  <a:gd name="connsiteX515" fmla="*/ 390161 w 1189600"/>
                  <a:gd name="connsiteY515" fmla="*/ 534612 h 1260409"/>
                  <a:gd name="connsiteX516" fmla="*/ 503456 w 1189600"/>
                  <a:gd name="connsiteY516" fmla="*/ 533196 h 1260409"/>
                  <a:gd name="connsiteX517" fmla="*/ 499207 w 1189600"/>
                  <a:gd name="connsiteY517" fmla="*/ 599756 h 1260409"/>
                  <a:gd name="connsiteX518" fmla="*/ 496375 w 1189600"/>
                  <a:gd name="connsiteY518" fmla="*/ 599756 h 1260409"/>
                  <a:gd name="connsiteX519" fmla="*/ 496375 w 1189600"/>
                  <a:gd name="connsiteY519" fmla="*/ 599756 h 1260409"/>
                  <a:gd name="connsiteX520" fmla="*/ 499207 w 1189600"/>
                  <a:gd name="connsiteY520" fmla="*/ 602589 h 1260409"/>
                  <a:gd name="connsiteX521" fmla="*/ 499207 w 1189600"/>
                  <a:gd name="connsiteY521" fmla="*/ 604005 h 1260409"/>
                  <a:gd name="connsiteX522" fmla="*/ 499207 w 1189600"/>
                  <a:gd name="connsiteY522" fmla="*/ 604005 h 1260409"/>
                  <a:gd name="connsiteX523" fmla="*/ 541693 w 1189600"/>
                  <a:gd name="connsiteY523" fmla="*/ 690393 h 1260409"/>
                  <a:gd name="connsiteX524" fmla="*/ 421317 w 1189600"/>
                  <a:gd name="connsiteY524" fmla="*/ 605422 h 1260409"/>
                  <a:gd name="connsiteX525" fmla="*/ 390161 w 1189600"/>
                  <a:gd name="connsiteY525" fmla="*/ 534612 h 1260409"/>
                  <a:gd name="connsiteX526" fmla="*/ 502040 w 1189600"/>
                  <a:gd name="connsiteY526" fmla="*/ 598341 h 1260409"/>
                  <a:gd name="connsiteX527" fmla="*/ 506288 w 1189600"/>
                  <a:gd name="connsiteY527" fmla="*/ 531780 h 1260409"/>
                  <a:gd name="connsiteX528" fmla="*/ 680480 w 1189600"/>
                  <a:gd name="connsiteY528" fmla="*/ 528947 h 1260409"/>
                  <a:gd name="connsiteX529" fmla="*/ 681897 w 1189600"/>
                  <a:gd name="connsiteY529" fmla="*/ 530363 h 1260409"/>
                  <a:gd name="connsiteX530" fmla="*/ 630913 w 1189600"/>
                  <a:gd name="connsiteY530" fmla="*/ 608254 h 1260409"/>
                  <a:gd name="connsiteX531" fmla="*/ 502040 w 1189600"/>
                  <a:gd name="connsiteY531" fmla="*/ 598341 h 1260409"/>
                  <a:gd name="connsiteX532" fmla="*/ 700307 w 1189600"/>
                  <a:gd name="connsiteY532" fmla="*/ 528947 h 1260409"/>
                  <a:gd name="connsiteX533" fmla="*/ 735712 w 1189600"/>
                  <a:gd name="connsiteY533" fmla="*/ 528947 h 1260409"/>
                  <a:gd name="connsiteX534" fmla="*/ 789527 w 1189600"/>
                  <a:gd name="connsiteY534" fmla="*/ 565768 h 1260409"/>
                  <a:gd name="connsiteX535" fmla="*/ 795192 w 1189600"/>
                  <a:gd name="connsiteY535" fmla="*/ 620999 h 1260409"/>
                  <a:gd name="connsiteX536" fmla="*/ 792359 w 1189600"/>
                  <a:gd name="connsiteY536" fmla="*/ 620999 h 1260409"/>
                  <a:gd name="connsiteX537" fmla="*/ 698890 w 1189600"/>
                  <a:gd name="connsiteY537" fmla="*/ 544525 h 1260409"/>
                  <a:gd name="connsiteX538" fmla="*/ 700307 w 1189600"/>
                  <a:gd name="connsiteY538" fmla="*/ 528947 h 1260409"/>
                  <a:gd name="connsiteX539" fmla="*/ 737127 w 1189600"/>
                  <a:gd name="connsiteY539" fmla="*/ 526115 h 1260409"/>
                  <a:gd name="connsiteX540" fmla="*/ 701723 w 1189600"/>
                  <a:gd name="connsiteY540" fmla="*/ 502039 h 1260409"/>
                  <a:gd name="connsiteX541" fmla="*/ 708804 w 1189600"/>
                  <a:gd name="connsiteY541" fmla="*/ 492126 h 1260409"/>
                  <a:gd name="connsiteX542" fmla="*/ 782446 w 1189600"/>
                  <a:gd name="connsiteY542" fmla="*/ 503456 h 1260409"/>
                  <a:gd name="connsiteX543" fmla="*/ 785278 w 1189600"/>
                  <a:gd name="connsiteY543" fmla="*/ 526115 h 1260409"/>
                  <a:gd name="connsiteX544" fmla="*/ 737127 w 1189600"/>
                  <a:gd name="connsiteY544" fmla="*/ 526115 h 1260409"/>
                  <a:gd name="connsiteX545" fmla="*/ 235796 w 1189600"/>
                  <a:gd name="connsiteY545" fmla="*/ 625248 h 1260409"/>
                  <a:gd name="connsiteX546" fmla="*/ 235796 w 1189600"/>
                  <a:gd name="connsiteY546" fmla="*/ 625248 h 1260409"/>
                  <a:gd name="connsiteX547" fmla="*/ 235796 w 1189600"/>
                  <a:gd name="connsiteY547" fmla="*/ 625248 h 1260409"/>
                  <a:gd name="connsiteX548" fmla="*/ 235796 w 1189600"/>
                  <a:gd name="connsiteY548" fmla="*/ 625248 h 1260409"/>
                  <a:gd name="connsiteX549" fmla="*/ 235796 w 1189600"/>
                  <a:gd name="connsiteY549" fmla="*/ 626664 h 1260409"/>
                  <a:gd name="connsiteX550" fmla="*/ 244293 w 1189600"/>
                  <a:gd name="connsiteY550" fmla="*/ 656404 h 1260409"/>
                  <a:gd name="connsiteX551" fmla="*/ 221634 w 1189600"/>
                  <a:gd name="connsiteY551" fmla="*/ 642242 h 1260409"/>
                  <a:gd name="connsiteX552" fmla="*/ 231547 w 1189600"/>
                  <a:gd name="connsiteY552" fmla="*/ 628080 h 1260409"/>
                  <a:gd name="connsiteX553" fmla="*/ 235796 w 1189600"/>
                  <a:gd name="connsiteY553" fmla="*/ 626664 h 1260409"/>
                  <a:gd name="connsiteX554" fmla="*/ 326432 w 1189600"/>
                  <a:gd name="connsiteY554" fmla="*/ 639410 h 1260409"/>
                  <a:gd name="connsiteX555" fmla="*/ 368918 w 1189600"/>
                  <a:gd name="connsiteY555" fmla="*/ 570017 h 1260409"/>
                  <a:gd name="connsiteX556" fmla="*/ 419901 w 1189600"/>
                  <a:gd name="connsiteY556" fmla="*/ 605422 h 1260409"/>
                  <a:gd name="connsiteX557" fmla="*/ 431230 w 1189600"/>
                  <a:gd name="connsiteY557" fmla="*/ 630913 h 1260409"/>
                  <a:gd name="connsiteX558" fmla="*/ 411403 w 1189600"/>
                  <a:gd name="connsiteY558" fmla="*/ 717301 h 1260409"/>
                  <a:gd name="connsiteX559" fmla="*/ 326432 w 1189600"/>
                  <a:gd name="connsiteY559" fmla="*/ 639410 h 1260409"/>
                  <a:gd name="connsiteX560" fmla="*/ 502040 w 1189600"/>
                  <a:gd name="connsiteY560" fmla="*/ 601173 h 1260409"/>
                  <a:gd name="connsiteX561" fmla="*/ 629497 w 1189600"/>
                  <a:gd name="connsiteY561" fmla="*/ 611086 h 1260409"/>
                  <a:gd name="connsiteX562" fmla="*/ 592676 w 1189600"/>
                  <a:gd name="connsiteY562" fmla="*/ 669150 h 1260409"/>
                  <a:gd name="connsiteX563" fmla="*/ 578514 w 1189600"/>
                  <a:gd name="connsiteY563" fmla="*/ 669150 h 1260409"/>
                  <a:gd name="connsiteX564" fmla="*/ 502040 w 1189600"/>
                  <a:gd name="connsiteY564" fmla="*/ 601173 h 1260409"/>
                  <a:gd name="connsiteX565" fmla="*/ 681897 w 1189600"/>
                  <a:gd name="connsiteY565" fmla="*/ 528947 h 1260409"/>
                  <a:gd name="connsiteX566" fmla="*/ 681897 w 1189600"/>
                  <a:gd name="connsiteY566" fmla="*/ 528947 h 1260409"/>
                  <a:gd name="connsiteX567" fmla="*/ 681897 w 1189600"/>
                  <a:gd name="connsiteY567" fmla="*/ 528947 h 1260409"/>
                  <a:gd name="connsiteX568" fmla="*/ 681897 w 1189600"/>
                  <a:gd name="connsiteY568" fmla="*/ 528947 h 1260409"/>
                  <a:gd name="connsiteX569" fmla="*/ 829180 w 1189600"/>
                  <a:gd name="connsiteY569" fmla="*/ 592676 h 1260409"/>
                  <a:gd name="connsiteX570" fmla="*/ 829180 w 1189600"/>
                  <a:gd name="connsiteY570" fmla="*/ 592676 h 1260409"/>
                  <a:gd name="connsiteX571" fmla="*/ 861752 w 1189600"/>
                  <a:gd name="connsiteY571" fmla="*/ 575682 h 1260409"/>
                  <a:gd name="connsiteX572" fmla="*/ 875914 w 1189600"/>
                  <a:gd name="connsiteY572" fmla="*/ 625248 h 1260409"/>
                  <a:gd name="connsiteX573" fmla="*/ 798024 w 1189600"/>
                  <a:gd name="connsiteY573" fmla="*/ 619584 h 1260409"/>
                  <a:gd name="connsiteX574" fmla="*/ 792359 w 1189600"/>
                  <a:gd name="connsiteY574" fmla="*/ 565768 h 1260409"/>
                  <a:gd name="connsiteX575" fmla="*/ 829180 w 1189600"/>
                  <a:gd name="connsiteY575" fmla="*/ 592676 h 1260409"/>
                  <a:gd name="connsiteX576" fmla="*/ 829180 w 1189600"/>
                  <a:gd name="connsiteY576" fmla="*/ 591260 h 1260409"/>
                  <a:gd name="connsiteX577" fmla="*/ 790943 w 1189600"/>
                  <a:gd name="connsiteY577" fmla="*/ 565768 h 1260409"/>
                  <a:gd name="connsiteX578" fmla="*/ 786694 w 1189600"/>
                  <a:gd name="connsiteY578" fmla="*/ 528947 h 1260409"/>
                  <a:gd name="connsiteX579" fmla="*/ 846174 w 1189600"/>
                  <a:gd name="connsiteY579" fmla="*/ 527531 h 1260409"/>
                  <a:gd name="connsiteX580" fmla="*/ 860336 w 1189600"/>
                  <a:gd name="connsiteY580" fmla="*/ 574265 h 1260409"/>
                  <a:gd name="connsiteX581" fmla="*/ 829180 w 1189600"/>
                  <a:gd name="connsiteY581" fmla="*/ 591260 h 1260409"/>
                  <a:gd name="connsiteX582" fmla="*/ 686145 w 1189600"/>
                  <a:gd name="connsiteY582" fmla="*/ 269784 h 1260409"/>
                  <a:gd name="connsiteX583" fmla="*/ 890076 w 1189600"/>
                  <a:gd name="connsiteY583" fmla="*/ 227298 h 1260409"/>
                  <a:gd name="connsiteX584" fmla="*/ 694642 w 1189600"/>
                  <a:gd name="connsiteY584" fmla="*/ 281114 h 1260409"/>
                  <a:gd name="connsiteX585" fmla="*/ 686145 w 1189600"/>
                  <a:gd name="connsiteY585" fmla="*/ 269784 h 1260409"/>
                  <a:gd name="connsiteX586" fmla="*/ 571433 w 1189600"/>
                  <a:gd name="connsiteY586" fmla="*/ 215969 h 1260409"/>
                  <a:gd name="connsiteX587" fmla="*/ 581346 w 1189600"/>
                  <a:gd name="connsiteY587" fmla="*/ 170651 h 1260409"/>
                  <a:gd name="connsiteX588" fmla="*/ 598341 w 1189600"/>
                  <a:gd name="connsiteY588" fmla="*/ 169235 h 1260409"/>
                  <a:gd name="connsiteX589" fmla="*/ 594092 w 1189600"/>
                  <a:gd name="connsiteY589" fmla="*/ 215969 h 1260409"/>
                  <a:gd name="connsiteX590" fmla="*/ 571433 w 1189600"/>
                  <a:gd name="connsiteY590" fmla="*/ 215969 h 1260409"/>
                  <a:gd name="connsiteX591" fmla="*/ 232964 w 1189600"/>
                  <a:gd name="connsiteY591" fmla="*/ 490710 h 1260409"/>
                  <a:gd name="connsiteX592" fmla="*/ 234380 w 1189600"/>
                  <a:gd name="connsiteY592" fmla="*/ 534612 h 1260409"/>
                  <a:gd name="connsiteX593" fmla="*/ 213137 w 1189600"/>
                  <a:gd name="connsiteY593" fmla="*/ 534612 h 1260409"/>
                  <a:gd name="connsiteX594" fmla="*/ 232964 w 1189600"/>
                  <a:gd name="connsiteY594" fmla="*/ 490710 h 1260409"/>
                  <a:gd name="connsiteX595" fmla="*/ 232964 w 1189600"/>
                  <a:gd name="connsiteY595" fmla="*/ 490710 h 1260409"/>
                  <a:gd name="connsiteX596" fmla="*/ 405739 w 1189600"/>
                  <a:gd name="connsiteY596" fmla="*/ 751289 h 1260409"/>
                  <a:gd name="connsiteX597" fmla="*/ 412820 w 1189600"/>
                  <a:gd name="connsiteY597" fmla="*/ 721549 h 1260409"/>
                  <a:gd name="connsiteX598" fmla="*/ 438311 w 1189600"/>
                  <a:gd name="connsiteY598" fmla="*/ 745624 h 1260409"/>
                  <a:gd name="connsiteX599" fmla="*/ 405739 w 1189600"/>
                  <a:gd name="connsiteY599" fmla="*/ 751289 h 1260409"/>
                  <a:gd name="connsiteX600" fmla="*/ 789527 w 1189600"/>
                  <a:gd name="connsiteY600" fmla="*/ 619584 h 1260409"/>
                  <a:gd name="connsiteX601" fmla="*/ 694642 w 1189600"/>
                  <a:gd name="connsiteY601" fmla="*/ 612503 h 1260409"/>
                  <a:gd name="connsiteX602" fmla="*/ 698890 w 1189600"/>
                  <a:gd name="connsiteY602" fmla="*/ 545941 h 1260409"/>
                  <a:gd name="connsiteX603" fmla="*/ 789527 w 1189600"/>
                  <a:gd name="connsiteY603" fmla="*/ 619584 h 1260409"/>
                  <a:gd name="connsiteX604" fmla="*/ 796608 w 1189600"/>
                  <a:gd name="connsiteY604" fmla="*/ 622416 h 1260409"/>
                  <a:gd name="connsiteX605" fmla="*/ 796608 w 1189600"/>
                  <a:gd name="connsiteY605" fmla="*/ 622416 h 1260409"/>
                  <a:gd name="connsiteX606" fmla="*/ 796608 w 1189600"/>
                  <a:gd name="connsiteY606" fmla="*/ 622416 h 1260409"/>
                  <a:gd name="connsiteX607" fmla="*/ 796608 w 1189600"/>
                  <a:gd name="connsiteY607" fmla="*/ 622416 h 1260409"/>
                  <a:gd name="connsiteX608" fmla="*/ 901406 w 1189600"/>
                  <a:gd name="connsiteY608" fmla="*/ 708803 h 1260409"/>
                  <a:gd name="connsiteX609" fmla="*/ 878747 w 1189600"/>
                  <a:gd name="connsiteY609" fmla="*/ 628080 h 1260409"/>
                  <a:gd name="connsiteX610" fmla="*/ 963718 w 1189600"/>
                  <a:gd name="connsiteY610" fmla="*/ 633745 h 1260409"/>
                  <a:gd name="connsiteX611" fmla="*/ 963718 w 1189600"/>
                  <a:gd name="connsiteY611" fmla="*/ 633745 h 1260409"/>
                  <a:gd name="connsiteX612" fmla="*/ 963718 w 1189600"/>
                  <a:gd name="connsiteY612" fmla="*/ 632329 h 1260409"/>
                  <a:gd name="connsiteX613" fmla="*/ 963718 w 1189600"/>
                  <a:gd name="connsiteY613" fmla="*/ 635161 h 1260409"/>
                  <a:gd name="connsiteX614" fmla="*/ 963718 w 1189600"/>
                  <a:gd name="connsiteY614" fmla="*/ 635161 h 1260409"/>
                  <a:gd name="connsiteX615" fmla="*/ 1013285 w 1189600"/>
                  <a:gd name="connsiteY615" fmla="*/ 800856 h 1260409"/>
                  <a:gd name="connsiteX616" fmla="*/ 901406 w 1189600"/>
                  <a:gd name="connsiteY616" fmla="*/ 708803 h 1260409"/>
                  <a:gd name="connsiteX617" fmla="*/ 1016117 w 1189600"/>
                  <a:gd name="connsiteY617" fmla="*/ 803688 h 1260409"/>
                  <a:gd name="connsiteX618" fmla="*/ 965135 w 1189600"/>
                  <a:gd name="connsiteY618" fmla="*/ 635161 h 1260409"/>
                  <a:gd name="connsiteX619" fmla="*/ 966551 w 1189600"/>
                  <a:gd name="connsiteY619" fmla="*/ 629497 h 1260409"/>
                  <a:gd name="connsiteX620" fmla="*/ 1035944 w 1189600"/>
                  <a:gd name="connsiteY620" fmla="*/ 540277 h 1260409"/>
                  <a:gd name="connsiteX621" fmla="*/ 1108170 w 1189600"/>
                  <a:gd name="connsiteY621" fmla="*/ 550190 h 1260409"/>
                  <a:gd name="connsiteX622" fmla="*/ 1075598 w 1189600"/>
                  <a:gd name="connsiteY622" fmla="*/ 853255 h 1260409"/>
                  <a:gd name="connsiteX623" fmla="*/ 1016117 w 1189600"/>
                  <a:gd name="connsiteY623" fmla="*/ 803688 h 1260409"/>
                  <a:gd name="connsiteX624" fmla="*/ 1035944 w 1189600"/>
                  <a:gd name="connsiteY624" fmla="*/ 537444 h 1260409"/>
                  <a:gd name="connsiteX625" fmla="*/ 1027447 w 1189600"/>
                  <a:gd name="connsiteY625" fmla="*/ 536028 h 1260409"/>
                  <a:gd name="connsiteX626" fmla="*/ 1041609 w 1189600"/>
                  <a:gd name="connsiteY626" fmla="*/ 530363 h 1260409"/>
                  <a:gd name="connsiteX627" fmla="*/ 1035944 w 1189600"/>
                  <a:gd name="connsiteY627" fmla="*/ 537444 h 1260409"/>
                  <a:gd name="connsiteX628" fmla="*/ 1034528 w 1189600"/>
                  <a:gd name="connsiteY628" fmla="*/ 540277 h 1260409"/>
                  <a:gd name="connsiteX629" fmla="*/ 969383 w 1189600"/>
                  <a:gd name="connsiteY629" fmla="*/ 625248 h 1260409"/>
                  <a:gd name="connsiteX630" fmla="*/ 987794 w 1189600"/>
                  <a:gd name="connsiteY630" fmla="*/ 555855 h 1260409"/>
                  <a:gd name="connsiteX631" fmla="*/ 1024614 w 1189600"/>
                  <a:gd name="connsiteY631" fmla="*/ 538860 h 1260409"/>
                  <a:gd name="connsiteX632" fmla="*/ 1034528 w 1189600"/>
                  <a:gd name="connsiteY632" fmla="*/ 540277 h 1260409"/>
                  <a:gd name="connsiteX633" fmla="*/ 875914 w 1189600"/>
                  <a:gd name="connsiteY633" fmla="*/ 628080 h 1260409"/>
                  <a:gd name="connsiteX634" fmla="*/ 898574 w 1189600"/>
                  <a:gd name="connsiteY634" fmla="*/ 707387 h 1260409"/>
                  <a:gd name="connsiteX635" fmla="*/ 798024 w 1189600"/>
                  <a:gd name="connsiteY635" fmla="*/ 625248 h 1260409"/>
                  <a:gd name="connsiteX636" fmla="*/ 798024 w 1189600"/>
                  <a:gd name="connsiteY636" fmla="*/ 622416 h 1260409"/>
                  <a:gd name="connsiteX637" fmla="*/ 875914 w 1189600"/>
                  <a:gd name="connsiteY637" fmla="*/ 628080 h 1260409"/>
                  <a:gd name="connsiteX638" fmla="*/ 1014701 w 1189600"/>
                  <a:gd name="connsiteY638" fmla="*/ 805104 h 1260409"/>
                  <a:gd name="connsiteX639" fmla="*/ 1016117 w 1189600"/>
                  <a:gd name="connsiteY639" fmla="*/ 807937 h 1260409"/>
                  <a:gd name="connsiteX640" fmla="*/ 949556 w 1189600"/>
                  <a:gd name="connsiteY640" fmla="*/ 878746 h 1260409"/>
                  <a:gd name="connsiteX641" fmla="*/ 902822 w 1189600"/>
                  <a:gd name="connsiteY641" fmla="*/ 713052 h 1260409"/>
                  <a:gd name="connsiteX642" fmla="*/ 1014701 w 1189600"/>
                  <a:gd name="connsiteY642" fmla="*/ 805104 h 1260409"/>
                  <a:gd name="connsiteX643" fmla="*/ 684728 w 1189600"/>
                  <a:gd name="connsiteY643" fmla="*/ 268368 h 1260409"/>
                  <a:gd name="connsiteX644" fmla="*/ 667735 w 1189600"/>
                  <a:gd name="connsiteY644" fmla="*/ 244293 h 1260409"/>
                  <a:gd name="connsiteX645" fmla="*/ 667735 w 1189600"/>
                  <a:gd name="connsiteY645" fmla="*/ 244293 h 1260409"/>
                  <a:gd name="connsiteX646" fmla="*/ 643659 w 1189600"/>
                  <a:gd name="connsiteY646" fmla="*/ 276865 h 1260409"/>
                  <a:gd name="connsiteX647" fmla="*/ 591260 w 1189600"/>
                  <a:gd name="connsiteY647" fmla="*/ 288194 h 1260409"/>
                  <a:gd name="connsiteX648" fmla="*/ 596925 w 1189600"/>
                  <a:gd name="connsiteY648" fmla="*/ 217385 h 1260409"/>
                  <a:gd name="connsiteX649" fmla="*/ 952389 w 1189600"/>
                  <a:gd name="connsiteY649" fmla="*/ 210304 h 1260409"/>
                  <a:gd name="connsiteX650" fmla="*/ 919817 w 1189600"/>
                  <a:gd name="connsiteY650" fmla="*/ 218801 h 1260409"/>
                  <a:gd name="connsiteX651" fmla="*/ 684728 w 1189600"/>
                  <a:gd name="connsiteY651" fmla="*/ 268368 h 1260409"/>
                  <a:gd name="connsiteX652" fmla="*/ 140911 w 1189600"/>
                  <a:gd name="connsiteY652" fmla="*/ 407155 h 1260409"/>
                  <a:gd name="connsiteX653" fmla="*/ 140911 w 1189600"/>
                  <a:gd name="connsiteY653" fmla="*/ 407155 h 1260409"/>
                  <a:gd name="connsiteX654" fmla="*/ 140911 w 1189600"/>
                  <a:gd name="connsiteY654" fmla="*/ 407155 h 1260409"/>
                  <a:gd name="connsiteX655" fmla="*/ 140911 w 1189600"/>
                  <a:gd name="connsiteY655" fmla="*/ 407155 h 1260409"/>
                  <a:gd name="connsiteX656" fmla="*/ 234380 w 1189600"/>
                  <a:gd name="connsiteY656" fmla="*/ 536028 h 1260409"/>
                  <a:gd name="connsiteX657" fmla="*/ 235796 w 1189600"/>
                  <a:gd name="connsiteY657" fmla="*/ 620999 h 1260409"/>
                  <a:gd name="connsiteX658" fmla="*/ 235796 w 1189600"/>
                  <a:gd name="connsiteY658" fmla="*/ 620999 h 1260409"/>
                  <a:gd name="connsiteX659" fmla="*/ 231547 w 1189600"/>
                  <a:gd name="connsiteY659" fmla="*/ 626664 h 1260409"/>
                  <a:gd name="connsiteX660" fmla="*/ 211721 w 1189600"/>
                  <a:gd name="connsiteY660" fmla="*/ 636578 h 1260409"/>
                  <a:gd name="connsiteX661" fmla="*/ 179149 w 1189600"/>
                  <a:gd name="connsiteY661" fmla="*/ 616751 h 1260409"/>
                  <a:gd name="connsiteX662" fmla="*/ 213137 w 1189600"/>
                  <a:gd name="connsiteY662" fmla="*/ 536028 h 1260409"/>
                  <a:gd name="connsiteX663" fmla="*/ 234380 w 1189600"/>
                  <a:gd name="connsiteY663" fmla="*/ 536028 h 1260409"/>
                  <a:gd name="connsiteX664" fmla="*/ 591260 w 1189600"/>
                  <a:gd name="connsiteY664" fmla="*/ 670566 h 1260409"/>
                  <a:gd name="connsiteX665" fmla="*/ 587012 w 1189600"/>
                  <a:gd name="connsiteY665" fmla="*/ 677647 h 1260409"/>
                  <a:gd name="connsiteX666" fmla="*/ 579931 w 1189600"/>
                  <a:gd name="connsiteY666" fmla="*/ 671982 h 1260409"/>
                  <a:gd name="connsiteX667" fmla="*/ 591260 w 1189600"/>
                  <a:gd name="connsiteY667" fmla="*/ 670566 h 1260409"/>
                  <a:gd name="connsiteX668" fmla="*/ 1109586 w 1189600"/>
                  <a:gd name="connsiteY668" fmla="*/ 548774 h 1260409"/>
                  <a:gd name="connsiteX669" fmla="*/ 1038776 w 1189600"/>
                  <a:gd name="connsiteY669" fmla="*/ 538860 h 1260409"/>
                  <a:gd name="connsiteX670" fmla="*/ 1045857 w 1189600"/>
                  <a:gd name="connsiteY670" fmla="*/ 528947 h 1260409"/>
                  <a:gd name="connsiteX671" fmla="*/ 1050106 w 1189600"/>
                  <a:gd name="connsiteY671" fmla="*/ 527531 h 1260409"/>
                  <a:gd name="connsiteX672" fmla="*/ 1109586 w 1189600"/>
                  <a:gd name="connsiteY672" fmla="*/ 547358 h 1260409"/>
                  <a:gd name="connsiteX673" fmla="*/ 1109586 w 1189600"/>
                  <a:gd name="connsiteY673" fmla="*/ 548774 h 1260409"/>
                  <a:gd name="connsiteX674" fmla="*/ 984961 w 1189600"/>
                  <a:gd name="connsiteY674" fmla="*/ 553022 h 1260409"/>
                  <a:gd name="connsiteX675" fmla="*/ 984961 w 1189600"/>
                  <a:gd name="connsiteY675" fmla="*/ 553022 h 1260409"/>
                  <a:gd name="connsiteX676" fmla="*/ 965135 w 1189600"/>
                  <a:gd name="connsiteY676" fmla="*/ 628080 h 1260409"/>
                  <a:gd name="connsiteX677" fmla="*/ 962302 w 1189600"/>
                  <a:gd name="connsiteY677" fmla="*/ 632329 h 1260409"/>
                  <a:gd name="connsiteX678" fmla="*/ 877331 w 1189600"/>
                  <a:gd name="connsiteY678" fmla="*/ 626664 h 1260409"/>
                  <a:gd name="connsiteX679" fmla="*/ 863169 w 1189600"/>
                  <a:gd name="connsiteY679" fmla="*/ 575682 h 1260409"/>
                  <a:gd name="connsiteX680" fmla="*/ 955221 w 1189600"/>
                  <a:gd name="connsiteY680" fmla="*/ 528947 h 1260409"/>
                  <a:gd name="connsiteX681" fmla="*/ 1020366 w 1189600"/>
                  <a:gd name="connsiteY681" fmla="*/ 538860 h 1260409"/>
                  <a:gd name="connsiteX682" fmla="*/ 984961 w 1189600"/>
                  <a:gd name="connsiteY682" fmla="*/ 553022 h 1260409"/>
                  <a:gd name="connsiteX683" fmla="*/ 786694 w 1189600"/>
                  <a:gd name="connsiteY683" fmla="*/ 526115 h 1260409"/>
                  <a:gd name="connsiteX684" fmla="*/ 783862 w 1189600"/>
                  <a:gd name="connsiteY684" fmla="*/ 503456 h 1260409"/>
                  <a:gd name="connsiteX685" fmla="*/ 841926 w 1189600"/>
                  <a:gd name="connsiteY685" fmla="*/ 511953 h 1260409"/>
                  <a:gd name="connsiteX686" fmla="*/ 846174 w 1189600"/>
                  <a:gd name="connsiteY686" fmla="*/ 524699 h 1260409"/>
                  <a:gd name="connsiteX687" fmla="*/ 786694 w 1189600"/>
                  <a:gd name="connsiteY687" fmla="*/ 526115 h 1260409"/>
                  <a:gd name="connsiteX688" fmla="*/ 599757 w 1189600"/>
                  <a:gd name="connsiteY688" fmla="*/ 166402 h 1260409"/>
                  <a:gd name="connsiteX689" fmla="*/ 582763 w 1189600"/>
                  <a:gd name="connsiteY689" fmla="*/ 167818 h 1260409"/>
                  <a:gd name="connsiteX690" fmla="*/ 585595 w 1189600"/>
                  <a:gd name="connsiteY690" fmla="*/ 152241 h 1260409"/>
                  <a:gd name="connsiteX691" fmla="*/ 599757 w 1189600"/>
                  <a:gd name="connsiteY691" fmla="*/ 155073 h 1260409"/>
                  <a:gd name="connsiteX692" fmla="*/ 599757 w 1189600"/>
                  <a:gd name="connsiteY692" fmla="*/ 166402 h 1260409"/>
                  <a:gd name="connsiteX693" fmla="*/ 315103 w 1189600"/>
                  <a:gd name="connsiteY693" fmla="*/ 344842 h 1260409"/>
                  <a:gd name="connsiteX694" fmla="*/ 313687 w 1189600"/>
                  <a:gd name="connsiteY694" fmla="*/ 346258 h 1260409"/>
                  <a:gd name="connsiteX695" fmla="*/ 313687 w 1189600"/>
                  <a:gd name="connsiteY695" fmla="*/ 346258 h 1260409"/>
                  <a:gd name="connsiteX696" fmla="*/ 317935 w 1189600"/>
                  <a:gd name="connsiteY696" fmla="*/ 344842 h 1260409"/>
                  <a:gd name="connsiteX697" fmla="*/ 351923 w 1189600"/>
                  <a:gd name="connsiteY697" fmla="*/ 374582 h 1260409"/>
                  <a:gd name="connsiteX698" fmla="*/ 208888 w 1189600"/>
                  <a:gd name="connsiteY698" fmla="*/ 414236 h 1260409"/>
                  <a:gd name="connsiteX699" fmla="*/ 153656 w 1189600"/>
                  <a:gd name="connsiteY699" fmla="*/ 405739 h 1260409"/>
                  <a:gd name="connsiteX700" fmla="*/ 159322 w 1189600"/>
                  <a:gd name="connsiteY700" fmla="*/ 392993 h 1260409"/>
                  <a:gd name="connsiteX701" fmla="*/ 142327 w 1189600"/>
                  <a:gd name="connsiteY701" fmla="*/ 401490 h 1260409"/>
                  <a:gd name="connsiteX702" fmla="*/ 97009 w 1189600"/>
                  <a:gd name="connsiteY702" fmla="*/ 368918 h 1260409"/>
                  <a:gd name="connsiteX703" fmla="*/ 101258 w 1189600"/>
                  <a:gd name="connsiteY703" fmla="*/ 367501 h 1260409"/>
                  <a:gd name="connsiteX704" fmla="*/ 315103 w 1189600"/>
                  <a:gd name="connsiteY704" fmla="*/ 344842 h 1260409"/>
                  <a:gd name="connsiteX705" fmla="*/ 315103 w 1189600"/>
                  <a:gd name="connsiteY705" fmla="*/ 344842 h 1260409"/>
                  <a:gd name="connsiteX706" fmla="*/ 172068 w 1189600"/>
                  <a:gd name="connsiteY706" fmla="*/ 428398 h 1260409"/>
                  <a:gd name="connsiteX707" fmla="*/ 179149 w 1189600"/>
                  <a:gd name="connsiteY707" fmla="*/ 434062 h 1260409"/>
                  <a:gd name="connsiteX708" fmla="*/ 140911 w 1189600"/>
                  <a:gd name="connsiteY708" fmla="*/ 436895 h 1260409"/>
                  <a:gd name="connsiteX709" fmla="*/ 172068 w 1189600"/>
                  <a:gd name="connsiteY709" fmla="*/ 428398 h 1260409"/>
                  <a:gd name="connsiteX710" fmla="*/ 94177 w 1189600"/>
                  <a:gd name="connsiteY710" fmla="*/ 536028 h 1260409"/>
                  <a:gd name="connsiteX711" fmla="*/ 98425 w 1189600"/>
                  <a:gd name="connsiteY711" fmla="*/ 527531 h 1260409"/>
                  <a:gd name="connsiteX712" fmla="*/ 223050 w 1189600"/>
                  <a:gd name="connsiteY712" fmla="*/ 493542 h 1260409"/>
                  <a:gd name="connsiteX713" fmla="*/ 170651 w 1189600"/>
                  <a:gd name="connsiteY713" fmla="*/ 534612 h 1260409"/>
                  <a:gd name="connsiteX714" fmla="*/ 94177 w 1189600"/>
                  <a:gd name="connsiteY714" fmla="*/ 536028 h 1260409"/>
                  <a:gd name="connsiteX715" fmla="*/ 218802 w 1189600"/>
                  <a:gd name="connsiteY715" fmla="*/ 643658 h 1260409"/>
                  <a:gd name="connsiteX716" fmla="*/ 105506 w 1189600"/>
                  <a:gd name="connsiteY716" fmla="*/ 798023 h 1260409"/>
                  <a:gd name="connsiteX717" fmla="*/ 104090 w 1189600"/>
                  <a:gd name="connsiteY717" fmla="*/ 792359 h 1260409"/>
                  <a:gd name="connsiteX718" fmla="*/ 159322 w 1189600"/>
                  <a:gd name="connsiteY718" fmla="*/ 662069 h 1260409"/>
                  <a:gd name="connsiteX719" fmla="*/ 210304 w 1189600"/>
                  <a:gd name="connsiteY719" fmla="*/ 637994 h 1260409"/>
                  <a:gd name="connsiteX720" fmla="*/ 218802 w 1189600"/>
                  <a:gd name="connsiteY720" fmla="*/ 643658 h 1260409"/>
                  <a:gd name="connsiteX721" fmla="*/ 402907 w 1189600"/>
                  <a:gd name="connsiteY721" fmla="*/ 754122 h 1260409"/>
                  <a:gd name="connsiteX722" fmla="*/ 402907 w 1189600"/>
                  <a:gd name="connsiteY722" fmla="*/ 754122 h 1260409"/>
                  <a:gd name="connsiteX723" fmla="*/ 402907 w 1189600"/>
                  <a:gd name="connsiteY723" fmla="*/ 754122 h 1260409"/>
                  <a:gd name="connsiteX724" fmla="*/ 402907 w 1189600"/>
                  <a:gd name="connsiteY724" fmla="*/ 754122 h 1260409"/>
                  <a:gd name="connsiteX725" fmla="*/ 357588 w 1189600"/>
                  <a:gd name="connsiteY725" fmla="*/ 788110 h 1260409"/>
                  <a:gd name="connsiteX726" fmla="*/ 279698 w 1189600"/>
                  <a:gd name="connsiteY726" fmla="*/ 765451 h 1260409"/>
                  <a:gd name="connsiteX727" fmla="*/ 248541 w 1189600"/>
                  <a:gd name="connsiteY727" fmla="*/ 660653 h 1260409"/>
                  <a:gd name="connsiteX728" fmla="*/ 402907 w 1189600"/>
                  <a:gd name="connsiteY728" fmla="*/ 754122 h 1260409"/>
                  <a:gd name="connsiteX729" fmla="*/ 547358 w 1189600"/>
                  <a:gd name="connsiteY729" fmla="*/ 694641 h 1260409"/>
                  <a:gd name="connsiteX730" fmla="*/ 560104 w 1189600"/>
                  <a:gd name="connsiteY730" fmla="*/ 703139 h 1260409"/>
                  <a:gd name="connsiteX731" fmla="*/ 560104 w 1189600"/>
                  <a:gd name="connsiteY731" fmla="*/ 718717 h 1260409"/>
                  <a:gd name="connsiteX732" fmla="*/ 560104 w 1189600"/>
                  <a:gd name="connsiteY732" fmla="*/ 718717 h 1260409"/>
                  <a:gd name="connsiteX733" fmla="*/ 547358 w 1189600"/>
                  <a:gd name="connsiteY733" fmla="*/ 694641 h 1260409"/>
                  <a:gd name="connsiteX734" fmla="*/ 632330 w 1189600"/>
                  <a:gd name="connsiteY734" fmla="*/ 611086 h 1260409"/>
                  <a:gd name="connsiteX735" fmla="*/ 693226 w 1189600"/>
                  <a:gd name="connsiteY735" fmla="*/ 615335 h 1260409"/>
                  <a:gd name="connsiteX736" fmla="*/ 690393 w 1189600"/>
                  <a:gd name="connsiteY736" fmla="*/ 664901 h 1260409"/>
                  <a:gd name="connsiteX737" fmla="*/ 595508 w 1189600"/>
                  <a:gd name="connsiteY737" fmla="*/ 667734 h 1260409"/>
                  <a:gd name="connsiteX738" fmla="*/ 632330 w 1189600"/>
                  <a:gd name="connsiteY738" fmla="*/ 611086 h 1260409"/>
                  <a:gd name="connsiteX739" fmla="*/ 1111002 w 1189600"/>
                  <a:gd name="connsiteY739" fmla="*/ 548774 h 1260409"/>
                  <a:gd name="connsiteX740" fmla="*/ 1111002 w 1189600"/>
                  <a:gd name="connsiteY740" fmla="*/ 545941 h 1260409"/>
                  <a:gd name="connsiteX741" fmla="*/ 1123748 w 1189600"/>
                  <a:gd name="connsiteY741" fmla="*/ 550190 h 1260409"/>
                  <a:gd name="connsiteX742" fmla="*/ 1111002 w 1189600"/>
                  <a:gd name="connsiteY742" fmla="*/ 548774 h 1260409"/>
                  <a:gd name="connsiteX743" fmla="*/ 1050106 w 1189600"/>
                  <a:gd name="connsiteY743" fmla="*/ 524699 h 1260409"/>
                  <a:gd name="connsiteX744" fmla="*/ 1050106 w 1189600"/>
                  <a:gd name="connsiteY744" fmla="*/ 524699 h 1260409"/>
                  <a:gd name="connsiteX745" fmla="*/ 1048690 w 1189600"/>
                  <a:gd name="connsiteY745" fmla="*/ 526115 h 1260409"/>
                  <a:gd name="connsiteX746" fmla="*/ 1051522 w 1189600"/>
                  <a:gd name="connsiteY746" fmla="*/ 523282 h 1260409"/>
                  <a:gd name="connsiteX747" fmla="*/ 1051522 w 1189600"/>
                  <a:gd name="connsiteY747" fmla="*/ 523282 h 1260409"/>
                  <a:gd name="connsiteX748" fmla="*/ 965135 w 1189600"/>
                  <a:gd name="connsiteY748" fmla="*/ 524699 h 1260409"/>
                  <a:gd name="connsiteX749" fmla="*/ 1120916 w 1189600"/>
                  <a:gd name="connsiteY749" fmla="*/ 443975 h 1260409"/>
                  <a:gd name="connsiteX750" fmla="*/ 1109586 w 1189600"/>
                  <a:gd name="connsiteY750" fmla="*/ 545941 h 1260409"/>
                  <a:gd name="connsiteX751" fmla="*/ 1050106 w 1189600"/>
                  <a:gd name="connsiteY751" fmla="*/ 524699 h 1260409"/>
                  <a:gd name="connsiteX752" fmla="*/ 1044441 w 1189600"/>
                  <a:gd name="connsiteY752" fmla="*/ 527531 h 1260409"/>
                  <a:gd name="connsiteX753" fmla="*/ 1024614 w 1189600"/>
                  <a:gd name="connsiteY753" fmla="*/ 536028 h 1260409"/>
                  <a:gd name="connsiteX754" fmla="*/ 958054 w 1189600"/>
                  <a:gd name="connsiteY754" fmla="*/ 526115 h 1260409"/>
                  <a:gd name="connsiteX755" fmla="*/ 959470 w 1189600"/>
                  <a:gd name="connsiteY755" fmla="*/ 524699 h 1260409"/>
                  <a:gd name="connsiteX756" fmla="*/ 1045857 w 1189600"/>
                  <a:gd name="connsiteY756" fmla="*/ 523282 h 1260409"/>
                  <a:gd name="connsiteX757" fmla="*/ 1044441 w 1189600"/>
                  <a:gd name="connsiteY757" fmla="*/ 527531 h 1260409"/>
                  <a:gd name="connsiteX758" fmla="*/ 863169 w 1189600"/>
                  <a:gd name="connsiteY758" fmla="*/ 572849 h 1260409"/>
                  <a:gd name="connsiteX759" fmla="*/ 850423 w 1189600"/>
                  <a:gd name="connsiteY759" fmla="*/ 526115 h 1260409"/>
                  <a:gd name="connsiteX760" fmla="*/ 939643 w 1189600"/>
                  <a:gd name="connsiteY760" fmla="*/ 524699 h 1260409"/>
                  <a:gd name="connsiteX761" fmla="*/ 952389 w 1189600"/>
                  <a:gd name="connsiteY761" fmla="*/ 526115 h 1260409"/>
                  <a:gd name="connsiteX762" fmla="*/ 863169 w 1189600"/>
                  <a:gd name="connsiteY762" fmla="*/ 572849 h 1260409"/>
                  <a:gd name="connsiteX763" fmla="*/ 849007 w 1189600"/>
                  <a:gd name="connsiteY763" fmla="*/ 524699 h 1260409"/>
                  <a:gd name="connsiteX764" fmla="*/ 844759 w 1189600"/>
                  <a:gd name="connsiteY764" fmla="*/ 511953 h 1260409"/>
                  <a:gd name="connsiteX765" fmla="*/ 925481 w 1189600"/>
                  <a:gd name="connsiteY765" fmla="*/ 523282 h 1260409"/>
                  <a:gd name="connsiteX766" fmla="*/ 849007 w 1189600"/>
                  <a:gd name="connsiteY766" fmla="*/ 524699 h 1260409"/>
                  <a:gd name="connsiteX767" fmla="*/ 958054 w 1189600"/>
                  <a:gd name="connsiteY767" fmla="*/ 370334 h 1260409"/>
                  <a:gd name="connsiteX768" fmla="*/ 958054 w 1189600"/>
                  <a:gd name="connsiteY768" fmla="*/ 370334 h 1260409"/>
                  <a:gd name="connsiteX769" fmla="*/ 857504 w 1189600"/>
                  <a:gd name="connsiteY769" fmla="*/ 269784 h 1260409"/>
                  <a:gd name="connsiteX770" fmla="*/ 778197 w 1189600"/>
                  <a:gd name="connsiteY770" fmla="*/ 385912 h 1260409"/>
                  <a:gd name="connsiteX771" fmla="*/ 766868 w 1189600"/>
                  <a:gd name="connsiteY771" fmla="*/ 387328 h 1260409"/>
                  <a:gd name="connsiteX772" fmla="*/ 694642 w 1189600"/>
                  <a:gd name="connsiteY772" fmla="*/ 283946 h 1260409"/>
                  <a:gd name="connsiteX773" fmla="*/ 919817 w 1189600"/>
                  <a:gd name="connsiteY773" fmla="*/ 221634 h 1260409"/>
                  <a:gd name="connsiteX774" fmla="*/ 960886 w 1189600"/>
                  <a:gd name="connsiteY774" fmla="*/ 213137 h 1260409"/>
                  <a:gd name="connsiteX775" fmla="*/ 1081262 w 1189600"/>
                  <a:gd name="connsiteY775" fmla="*/ 361837 h 1260409"/>
                  <a:gd name="connsiteX776" fmla="*/ 955221 w 1189600"/>
                  <a:gd name="connsiteY776" fmla="*/ 371750 h 1260409"/>
                  <a:gd name="connsiteX777" fmla="*/ 958054 w 1189600"/>
                  <a:gd name="connsiteY777" fmla="*/ 370334 h 1260409"/>
                  <a:gd name="connsiteX778" fmla="*/ 596925 w 1189600"/>
                  <a:gd name="connsiteY778" fmla="*/ 214553 h 1260409"/>
                  <a:gd name="connsiteX779" fmla="*/ 601173 w 1189600"/>
                  <a:gd name="connsiteY779" fmla="*/ 167818 h 1260409"/>
                  <a:gd name="connsiteX780" fmla="*/ 664902 w 1189600"/>
                  <a:gd name="connsiteY780" fmla="*/ 163570 h 1260409"/>
                  <a:gd name="connsiteX781" fmla="*/ 946724 w 1189600"/>
                  <a:gd name="connsiteY781" fmla="*/ 207472 h 1260409"/>
                  <a:gd name="connsiteX782" fmla="*/ 596925 w 1189600"/>
                  <a:gd name="connsiteY782" fmla="*/ 214553 h 1260409"/>
                  <a:gd name="connsiteX783" fmla="*/ 517618 w 1189600"/>
                  <a:gd name="connsiteY783" fmla="*/ 139494 h 1260409"/>
                  <a:gd name="connsiteX784" fmla="*/ 608254 w 1189600"/>
                  <a:gd name="connsiteY784" fmla="*/ 44610 h 1260409"/>
                  <a:gd name="connsiteX785" fmla="*/ 584179 w 1189600"/>
                  <a:gd name="connsiteY785" fmla="*/ 149408 h 1260409"/>
                  <a:gd name="connsiteX786" fmla="*/ 517618 w 1189600"/>
                  <a:gd name="connsiteY786" fmla="*/ 139494 h 1260409"/>
                  <a:gd name="connsiteX787" fmla="*/ 460970 w 1189600"/>
                  <a:gd name="connsiteY787" fmla="*/ 196142 h 1260409"/>
                  <a:gd name="connsiteX788" fmla="*/ 407155 w 1189600"/>
                  <a:gd name="connsiteY788" fmla="*/ 125333 h 1260409"/>
                  <a:gd name="connsiteX789" fmla="*/ 513369 w 1189600"/>
                  <a:gd name="connsiteY789" fmla="*/ 142327 h 1260409"/>
                  <a:gd name="connsiteX790" fmla="*/ 460970 w 1189600"/>
                  <a:gd name="connsiteY790" fmla="*/ 196142 h 1260409"/>
                  <a:gd name="connsiteX791" fmla="*/ 401490 w 1189600"/>
                  <a:gd name="connsiteY791" fmla="*/ 123917 h 1260409"/>
                  <a:gd name="connsiteX792" fmla="*/ 402907 w 1189600"/>
                  <a:gd name="connsiteY792" fmla="*/ 122500 h 1260409"/>
                  <a:gd name="connsiteX793" fmla="*/ 402907 w 1189600"/>
                  <a:gd name="connsiteY793" fmla="*/ 122500 h 1260409"/>
                  <a:gd name="connsiteX794" fmla="*/ 401490 w 1189600"/>
                  <a:gd name="connsiteY794" fmla="*/ 123917 h 1260409"/>
                  <a:gd name="connsiteX795" fmla="*/ 320768 w 1189600"/>
                  <a:gd name="connsiteY795" fmla="*/ 223050 h 1260409"/>
                  <a:gd name="connsiteX796" fmla="*/ 320768 w 1189600"/>
                  <a:gd name="connsiteY796" fmla="*/ 223050 h 1260409"/>
                  <a:gd name="connsiteX797" fmla="*/ 443976 w 1189600"/>
                  <a:gd name="connsiteY797" fmla="*/ 221634 h 1260409"/>
                  <a:gd name="connsiteX798" fmla="*/ 316518 w 1189600"/>
                  <a:gd name="connsiteY798" fmla="*/ 344842 h 1260409"/>
                  <a:gd name="connsiteX799" fmla="*/ 315103 w 1189600"/>
                  <a:gd name="connsiteY799" fmla="*/ 343426 h 1260409"/>
                  <a:gd name="connsiteX800" fmla="*/ 315103 w 1189600"/>
                  <a:gd name="connsiteY800" fmla="*/ 343426 h 1260409"/>
                  <a:gd name="connsiteX801" fmla="*/ 105506 w 1189600"/>
                  <a:gd name="connsiteY801" fmla="*/ 368918 h 1260409"/>
                  <a:gd name="connsiteX802" fmla="*/ 238628 w 1189600"/>
                  <a:gd name="connsiteY802" fmla="*/ 299524 h 1260409"/>
                  <a:gd name="connsiteX803" fmla="*/ 238628 w 1189600"/>
                  <a:gd name="connsiteY803" fmla="*/ 299524 h 1260409"/>
                  <a:gd name="connsiteX804" fmla="*/ 289611 w 1189600"/>
                  <a:gd name="connsiteY804" fmla="*/ 204639 h 1260409"/>
                  <a:gd name="connsiteX805" fmla="*/ 391577 w 1189600"/>
                  <a:gd name="connsiteY805" fmla="*/ 135246 h 1260409"/>
                  <a:gd name="connsiteX806" fmla="*/ 320768 w 1189600"/>
                  <a:gd name="connsiteY806" fmla="*/ 223050 h 1260409"/>
                  <a:gd name="connsiteX807" fmla="*/ 139495 w 1189600"/>
                  <a:gd name="connsiteY807" fmla="*/ 405739 h 1260409"/>
                  <a:gd name="connsiteX808" fmla="*/ 139495 w 1189600"/>
                  <a:gd name="connsiteY808" fmla="*/ 405739 h 1260409"/>
                  <a:gd name="connsiteX809" fmla="*/ 48859 w 1189600"/>
                  <a:gd name="connsiteY809" fmla="*/ 392993 h 1260409"/>
                  <a:gd name="connsiteX810" fmla="*/ 92760 w 1189600"/>
                  <a:gd name="connsiteY810" fmla="*/ 373166 h 1260409"/>
                  <a:gd name="connsiteX811" fmla="*/ 92760 w 1189600"/>
                  <a:gd name="connsiteY811" fmla="*/ 373166 h 1260409"/>
                  <a:gd name="connsiteX812" fmla="*/ 139495 w 1189600"/>
                  <a:gd name="connsiteY812" fmla="*/ 405739 h 1260409"/>
                  <a:gd name="connsiteX813" fmla="*/ 135246 w 1189600"/>
                  <a:gd name="connsiteY813" fmla="*/ 408571 h 1260409"/>
                  <a:gd name="connsiteX814" fmla="*/ 74350 w 1189600"/>
                  <a:gd name="connsiteY814" fmla="*/ 439727 h 1260409"/>
                  <a:gd name="connsiteX815" fmla="*/ 43194 w 1189600"/>
                  <a:gd name="connsiteY815" fmla="*/ 395825 h 1260409"/>
                  <a:gd name="connsiteX816" fmla="*/ 46026 w 1189600"/>
                  <a:gd name="connsiteY816" fmla="*/ 394409 h 1260409"/>
                  <a:gd name="connsiteX817" fmla="*/ 135246 w 1189600"/>
                  <a:gd name="connsiteY817" fmla="*/ 408571 h 1260409"/>
                  <a:gd name="connsiteX818" fmla="*/ 75766 w 1189600"/>
                  <a:gd name="connsiteY818" fmla="*/ 445392 h 1260409"/>
                  <a:gd name="connsiteX819" fmla="*/ 75766 w 1189600"/>
                  <a:gd name="connsiteY819" fmla="*/ 445392 h 1260409"/>
                  <a:gd name="connsiteX820" fmla="*/ 119668 w 1189600"/>
                  <a:gd name="connsiteY820" fmla="*/ 442560 h 1260409"/>
                  <a:gd name="connsiteX821" fmla="*/ 24783 w 1189600"/>
                  <a:gd name="connsiteY821" fmla="*/ 468051 h 1260409"/>
                  <a:gd name="connsiteX822" fmla="*/ 74350 w 1189600"/>
                  <a:gd name="connsiteY822" fmla="*/ 442560 h 1260409"/>
                  <a:gd name="connsiteX823" fmla="*/ 75766 w 1189600"/>
                  <a:gd name="connsiteY823" fmla="*/ 445392 h 1260409"/>
                  <a:gd name="connsiteX824" fmla="*/ 181980 w 1189600"/>
                  <a:gd name="connsiteY824" fmla="*/ 436895 h 1260409"/>
                  <a:gd name="connsiteX825" fmla="*/ 317935 w 1189600"/>
                  <a:gd name="connsiteY825" fmla="*/ 533196 h 1260409"/>
                  <a:gd name="connsiteX826" fmla="*/ 235796 w 1189600"/>
                  <a:gd name="connsiteY826" fmla="*/ 534612 h 1260409"/>
                  <a:gd name="connsiteX827" fmla="*/ 234380 w 1189600"/>
                  <a:gd name="connsiteY827" fmla="*/ 489294 h 1260409"/>
                  <a:gd name="connsiteX828" fmla="*/ 234380 w 1189600"/>
                  <a:gd name="connsiteY828" fmla="*/ 489294 h 1260409"/>
                  <a:gd name="connsiteX829" fmla="*/ 231547 w 1189600"/>
                  <a:gd name="connsiteY829" fmla="*/ 489294 h 1260409"/>
                  <a:gd name="connsiteX830" fmla="*/ 232964 w 1189600"/>
                  <a:gd name="connsiteY830" fmla="*/ 485045 h 1260409"/>
                  <a:gd name="connsiteX831" fmla="*/ 232964 w 1189600"/>
                  <a:gd name="connsiteY831" fmla="*/ 483629 h 1260409"/>
                  <a:gd name="connsiteX832" fmla="*/ 224466 w 1189600"/>
                  <a:gd name="connsiteY832" fmla="*/ 490710 h 1260409"/>
                  <a:gd name="connsiteX833" fmla="*/ 97009 w 1189600"/>
                  <a:gd name="connsiteY833" fmla="*/ 526115 h 1260409"/>
                  <a:gd name="connsiteX834" fmla="*/ 136663 w 1189600"/>
                  <a:gd name="connsiteY834" fmla="*/ 441143 h 1260409"/>
                  <a:gd name="connsiteX835" fmla="*/ 181980 w 1189600"/>
                  <a:gd name="connsiteY835" fmla="*/ 436895 h 1260409"/>
                  <a:gd name="connsiteX836" fmla="*/ 208888 w 1189600"/>
                  <a:gd name="connsiteY836" fmla="*/ 636578 h 1260409"/>
                  <a:gd name="connsiteX837" fmla="*/ 160737 w 1189600"/>
                  <a:gd name="connsiteY837" fmla="*/ 659237 h 1260409"/>
                  <a:gd name="connsiteX838" fmla="*/ 177732 w 1189600"/>
                  <a:gd name="connsiteY838" fmla="*/ 618167 h 1260409"/>
                  <a:gd name="connsiteX839" fmla="*/ 208888 w 1189600"/>
                  <a:gd name="connsiteY839" fmla="*/ 636578 h 1260409"/>
                  <a:gd name="connsiteX840" fmla="*/ 102674 w 1189600"/>
                  <a:gd name="connsiteY840" fmla="*/ 788110 h 1260409"/>
                  <a:gd name="connsiteX841" fmla="*/ 77183 w 1189600"/>
                  <a:gd name="connsiteY841" fmla="*/ 698890 h 1260409"/>
                  <a:gd name="connsiteX842" fmla="*/ 156489 w 1189600"/>
                  <a:gd name="connsiteY842" fmla="*/ 662069 h 1260409"/>
                  <a:gd name="connsiteX843" fmla="*/ 102674 w 1189600"/>
                  <a:gd name="connsiteY843" fmla="*/ 788110 h 1260409"/>
                  <a:gd name="connsiteX844" fmla="*/ 104090 w 1189600"/>
                  <a:gd name="connsiteY844" fmla="*/ 799439 h 1260409"/>
                  <a:gd name="connsiteX845" fmla="*/ 95593 w 1189600"/>
                  <a:gd name="connsiteY845" fmla="*/ 812185 h 1260409"/>
                  <a:gd name="connsiteX846" fmla="*/ 102674 w 1189600"/>
                  <a:gd name="connsiteY846" fmla="*/ 795191 h 1260409"/>
                  <a:gd name="connsiteX847" fmla="*/ 104090 w 1189600"/>
                  <a:gd name="connsiteY847" fmla="*/ 799439 h 1260409"/>
                  <a:gd name="connsiteX848" fmla="*/ 357588 w 1189600"/>
                  <a:gd name="connsiteY848" fmla="*/ 790942 h 1260409"/>
                  <a:gd name="connsiteX849" fmla="*/ 357588 w 1189600"/>
                  <a:gd name="connsiteY849" fmla="*/ 790942 h 1260409"/>
                  <a:gd name="connsiteX850" fmla="*/ 405739 w 1189600"/>
                  <a:gd name="connsiteY850" fmla="*/ 756954 h 1260409"/>
                  <a:gd name="connsiteX851" fmla="*/ 405739 w 1189600"/>
                  <a:gd name="connsiteY851" fmla="*/ 756954 h 1260409"/>
                  <a:gd name="connsiteX852" fmla="*/ 405739 w 1189600"/>
                  <a:gd name="connsiteY852" fmla="*/ 754122 h 1260409"/>
                  <a:gd name="connsiteX853" fmla="*/ 441144 w 1189600"/>
                  <a:gd name="connsiteY853" fmla="*/ 747041 h 1260409"/>
                  <a:gd name="connsiteX854" fmla="*/ 469468 w 1189600"/>
                  <a:gd name="connsiteY854" fmla="*/ 772532 h 1260409"/>
                  <a:gd name="connsiteX855" fmla="*/ 303773 w 1189600"/>
                  <a:gd name="connsiteY855" fmla="*/ 844758 h 1260409"/>
                  <a:gd name="connsiteX856" fmla="*/ 281114 w 1189600"/>
                  <a:gd name="connsiteY856" fmla="*/ 769699 h 1260409"/>
                  <a:gd name="connsiteX857" fmla="*/ 357588 w 1189600"/>
                  <a:gd name="connsiteY857" fmla="*/ 790942 h 1260409"/>
                  <a:gd name="connsiteX858" fmla="*/ 434063 w 1189600"/>
                  <a:gd name="connsiteY858" fmla="*/ 630913 h 1260409"/>
                  <a:gd name="connsiteX859" fmla="*/ 434063 w 1189600"/>
                  <a:gd name="connsiteY859" fmla="*/ 630913 h 1260409"/>
                  <a:gd name="connsiteX860" fmla="*/ 424150 w 1189600"/>
                  <a:gd name="connsiteY860" fmla="*/ 608254 h 1260409"/>
                  <a:gd name="connsiteX861" fmla="*/ 544526 w 1189600"/>
                  <a:gd name="connsiteY861" fmla="*/ 693225 h 1260409"/>
                  <a:gd name="connsiteX862" fmla="*/ 558688 w 1189600"/>
                  <a:gd name="connsiteY862" fmla="*/ 721549 h 1260409"/>
                  <a:gd name="connsiteX863" fmla="*/ 442560 w 1189600"/>
                  <a:gd name="connsiteY863" fmla="*/ 744208 h 1260409"/>
                  <a:gd name="connsiteX864" fmla="*/ 414236 w 1189600"/>
                  <a:gd name="connsiteY864" fmla="*/ 718717 h 1260409"/>
                  <a:gd name="connsiteX865" fmla="*/ 434063 w 1189600"/>
                  <a:gd name="connsiteY865" fmla="*/ 630913 h 1260409"/>
                  <a:gd name="connsiteX866" fmla="*/ 561520 w 1189600"/>
                  <a:gd name="connsiteY866" fmla="*/ 704555 h 1260409"/>
                  <a:gd name="connsiteX867" fmla="*/ 565769 w 1189600"/>
                  <a:gd name="connsiteY867" fmla="*/ 707387 h 1260409"/>
                  <a:gd name="connsiteX868" fmla="*/ 561520 w 1189600"/>
                  <a:gd name="connsiteY868" fmla="*/ 714468 h 1260409"/>
                  <a:gd name="connsiteX869" fmla="*/ 561520 w 1189600"/>
                  <a:gd name="connsiteY869" fmla="*/ 704555 h 1260409"/>
                  <a:gd name="connsiteX870" fmla="*/ 561520 w 1189600"/>
                  <a:gd name="connsiteY870" fmla="*/ 670566 h 1260409"/>
                  <a:gd name="connsiteX871" fmla="*/ 577098 w 1189600"/>
                  <a:gd name="connsiteY871" fmla="*/ 670566 h 1260409"/>
                  <a:gd name="connsiteX872" fmla="*/ 585595 w 1189600"/>
                  <a:gd name="connsiteY872" fmla="*/ 677647 h 1260409"/>
                  <a:gd name="connsiteX873" fmla="*/ 567185 w 1189600"/>
                  <a:gd name="connsiteY873" fmla="*/ 705971 h 1260409"/>
                  <a:gd name="connsiteX874" fmla="*/ 561520 w 1189600"/>
                  <a:gd name="connsiteY874" fmla="*/ 701722 h 1260409"/>
                  <a:gd name="connsiteX875" fmla="*/ 561520 w 1189600"/>
                  <a:gd name="connsiteY875" fmla="*/ 670566 h 1260409"/>
                  <a:gd name="connsiteX876" fmla="*/ 588427 w 1189600"/>
                  <a:gd name="connsiteY876" fmla="*/ 677647 h 1260409"/>
                  <a:gd name="connsiteX877" fmla="*/ 594092 w 1189600"/>
                  <a:gd name="connsiteY877" fmla="*/ 669150 h 1260409"/>
                  <a:gd name="connsiteX878" fmla="*/ 690393 w 1189600"/>
                  <a:gd name="connsiteY878" fmla="*/ 666318 h 1260409"/>
                  <a:gd name="connsiteX879" fmla="*/ 683312 w 1189600"/>
                  <a:gd name="connsiteY879" fmla="*/ 762618 h 1260409"/>
                  <a:gd name="connsiteX880" fmla="*/ 588427 w 1189600"/>
                  <a:gd name="connsiteY880" fmla="*/ 677647 h 1260409"/>
                  <a:gd name="connsiteX881" fmla="*/ 694642 w 1189600"/>
                  <a:gd name="connsiteY881" fmla="*/ 615335 h 1260409"/>
                  <a:gd name="connsiteX882" fmla="*/ 792359 w 1189600"/>
                  <a:gd name="connsiteY882" fmla="*/ 622416 h 1260409"/>
                  <a:gd name="connsiteX883" fmla="*/ 796608 w 1189600"/>
                  <a:gd name="connsiteY883" fmla="*/ 626664 h 1260409"/>
                  <a:gd name="connsiteX884" fmla="*/ 800856 w 1189600"/>
                  <a:gd name="connsiteY884" fmla="*/ 662069 h 1260409"/>
                  <a:gd name="connsiteX885" fmla="*/ 691809 w 1189600"/>
                  <a:gd name="connsiteY885" fmla="*/ 666318 h 1260409"/>
                  <a:gd name="connsiteX886" fmla="*/ 694642 w 1189600"/>
                  <a:gd name="connsiteY886" fmla="*/ 615335 h 1260409"/>
                  <a:gd name="connsiteX887" fmla="*/ 832012 w 1189600"/>
                  <a:gd name="connsiteY887" fmla="*/ 662069 h 1260409"/>
                  <a:gd name="connsiteX888" fmla="*/ 904238 w 1189600"/>
                  <a:gd name="connsiteY888" fmla="*/ 761203 h 1260409"/>
                  <a:gd name="connsiteX889" fmla="*/ 833428 w 1189600"/>
                  <a:gd name="connsiteY889" fmla="*/ 875914 h 1260409"/>
                  <a:gd name="connsiteX890" fmla="*/ 827764 w 1189600"/>
                  <a:gd name="connsiteY890" fmla="*/ 874498 h 1260409"/>
                  <a:gd name="connsiteX891" fmla="*/ 803689 w 1189600"/>
                  <a:gd name="connsiteY891" fmla="*/ 663485 h 1260409"/>
                  <a:gd name="connsiteX892" fmla="*/ 832012 w 1189600"/>
                  <a:gd name="connsiteY892" fmla="*/ 662069 h 1260409"/>
                  <a:gd name="connsiteX893" fmla="*/ 870250 w 1189600"/>
                  <a:gd name="connsiteY893" fmla="*/ 887243 h 1260409"/>
                  <a:gd name="connsiteX894" fmla="*/ 827764 w 1189600"/>
                  <a:gd name="connsiteY894" fmla="*/ 890076 h 1260409"/>
                  <a:gd name="connsiteX895" fmla="*/ 836261 w 1189600"/>
                  <a:gd name="connsiteY895" fmla="*/ 877330 h 1260409"/>
                  <a:gd name="connsiteX896" fmla="*/ 870250 w 1189600"/>
                  <a:gd name="connsiteY896" fmla="*/ 887243 h 1260409"/>
                  <a:gd name="connsiteX897" fmla="*/ 948140 w 1189600"/>
                  <a:gd name="connsiteY897" fmla="*/ 882995 h 1260409"/>
                  <a:gd name="connsiteX898" fmla="*/ 948140 w 1189600"/>
                  <a:gd name="connsiteY898" fmla="*/ 882995 h 1260409"/>
                  <a:gd name="connsiteX899" fmla="*/ 948140 w 1189600"/>
                  <a:gd name="connsiteY899" fmla="*/ 882995 h 1260409"/>
                  <a:gd name="connsiteX900" fmla="*/ 956637 w 1189600"/>
                  <a:gd name="connsiteY900" fmla="*/ 908486 h 1260409"/>
                  <a:gd name="connsiteX901" fmla="*/ 881579 w 1189600"/>
                  <a:gd name="connsiteY901" fmla="*/ 887243 h 1260409"/>
                  <a:gd name="connsiteX902" fmla="*/ 948140 w 1189600"/>
                  <a:gd name="connsiteY902" fmla="*/ 882995 h 1260409"/>
                  <a:gd name="connsiteX903" fmla="*/ 1122332 w 1189600"/>
                  <a:gd name="connsiteY903" fmla="*/ 681896 h 1260409"/>
                  <a:gd name="connsiteX904" fmla="*/ 1125164 w 1189600"/>
                  <a:gd name="connsiteY904" fmla="*/ 684728 h 1260409"/>
                  <a:gd name="connsiteX905" fmla="*/ 1123748 w 1189600"/>
                  <a:gd name="connsiteY905" fmla="*/ 691809 h 1260409"/>
                  <a:gd name="connsiteX906" fmla="*/ 1122332 w 1189600"/>
                  <a:gd name="connsiteY906" fmla="*/ 681896 h 1260409"/>
                  <a:gd name="connsiteX907" fmla="*/ 1147823 w 1189600"/>
                  <a:gd name="connsiteY907" fmla="*/ 558687 h 1260409"/>
                  <a:gd name="connsiteX908" fmla="*/ 1147823 w 1189600"/>
                  <a:gd name="connsiteY908" fmla="*/ 558687 h 1260409"/>
                  <a:gd name="connsiteX909" fmla="*/ 1147823 w 1189600"/>
                  <a:gd name="connsiteY909" fmla="*/ 558687 h 1260409"/>
                  <a:gd name="connsiteX910" fmla="*/ 1190309 w 1189600"/>
                  <a:gd name="connsiteY910" fmla="*/ 555855 h 1260409"/>
                  <a:gd name="connsiteX911" fmla="*/ 1187476 w 1189600"/>
                  <a:gd name="connsiteY911" fmla="*/ 747041 h 1260409"/>
                  <a:gd name="connsiteX912" fmla="*/ 1126580 w 1189600"/>
                  <a:gd name="connsiteY912" fmla="*/ 683312 h 1260409"/>
                  <a:gd name="connsiteX913" fmla="*/ 1147823 w 1189600"/>
                  <a:gd name="connsiteY913" fmla="*/ 558687 h 1260409"/>
                  <a:gd name="connsiteX914" fmla="*/ 112587 w 1189600"/>
                  <a:gd name="connsiteY914" fmla="*/ 578514 h 1260409"/>
                  <a:gd name="connsiteX915" fmla="*/ 51691 w 1189600"/>
                  <a:gd name="connsiteY915" fmla="*/ 625248 h 1260409"/>
                  <a:gd name="connsiteX916" fmla="*/ 81431 w 1189600"/>
                  <a:gd name="connsiteY916" fmla="*/ 560103 h 1260409"/>
                  <a:gd name="connsiteX917" fmla="*/ 112587 w 1189600"/>
                  <a:gd name="connsiteY917" fmla="*/ 578514 h 1260409"/>
                  <a:gd name="connsiteX918" fmla="*/ 568601 w 1189600"/>
                  <a:gd name="connsiteY918" fmla="*/ 707387 h 1260409"/>
                  <a:gd name="connsiteX919" fmla="*/ 587012 w 1189600"/>
                  <a:gd name="connsiteY919" fmla="*/ 679063 h 1260409"/>
                  <a:gd name="connsiteX920" fmla="*/ 683312 w 1189600"/>
                  <a:gd name="connsiteY920" fmla="*/ 764035 h 1260409"/>
                  <a:gd name="connsiteX921" fmla="*/ 681897 w 1189600"/>
                  <a:gd name="connsiteY921" fmla="*/ 786694 h 1260409"/>
                  <a:gd name="connsiteX922" fmla="*/ 568601 w 1189600"/>
                  <a:gd name="connsiteY922" fmla="*/ 707387 h 1260409"/>
                  <a:gd name="connsiteX923" fmla="*/ 950973 w 1189600"/>
                  <a:gd name="connsiteY923" fmla="*/ 213137 h 1260409"/>
                  <a:gd name="connsiteX924" fmla="*/ 960886 w 1189600"/>
                  <a:gd name="connsiteY924" fmla="*/ 210304 h 1260409"/>
                  <a:gd name="connsiteX925" fmla="*/ 962302 w 1189600"/>
                  <a:gd name="connsiteY925" fmla="*/ 210304 h 1260409"/>
                  <a:gd name="connsiteX926" fmla="*/ 950973 w 1189600"/>
                  <a:gd name="connsiteY926" fmla="*/ 213137 h 1260409"/>
                  <a:gd name="connsiteX927" fmla="*/ 599757 w 1189600"/>
                  <a:gd name="connsiteY927" fmla="*/ 152241 h 1260409"/>
                  <a:gd name="connsiteX928" fmla="*/ 585595 w 1189600"/>
                  <a:gd name="connsiteY928" fmla="*/ 149408 h 1260409"/>
                  <a:gd name="connsiteX929" fmla="*/ 609670 w 1189600"/>
                  <a:gd name="connsiteY929" fmla="*/ 43194 h 1260409"/>
                  <a:gd name="connsiteX930" fmla="*/ 599757 w 1189600"/>
                  <a:gd name="connsiteY930" fmla="*/ 152241 h 1260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Lst>
                <a:rect l="l" t="t" r="r" b="b"/>
                <a:pathLst>
                  <a:path w="1189600" h="1260409">
                    <a:moveTo>
                      <a:pt x="1147823" y="557271"/>
                    </a:moveTo>
                    <a:lnTo>
                      <a:pt x="1147823" y="555855"/>
                    </a:lnTo>
                    <a:lnTo>
                      <a:pt x="1147823" y="555855"/>
                    </a:lnTo>
                    <a:lnTo>
                      <a:pt x="1135078" y="554439"/>
                    </a:lnTo>
                    <a:lnTo>
                      <a:pt x="1109586" y="545941"/>
                    </a:lnTo>
                    <a:lnTo>
                      <a:pt x="1120916" y="441143"/>
                    </a:lnTo>
                    <a:lnTo>
                      <a:pt x="1120916" y="441143"/>
                    </a:lnTo>
                    <a:lnTo>
                      <a:pt x="958054" y="526115"/>
                    </a:lnTo>
                    <a:lnTo>
                      <a:pt x="938227" y="526115"/>
                    </a:lnTo>
                    <a:lnTo>
                      <a:pt x="843342" y="511953"/>
                    </a:lnTo>
                    <a:lnTo>
                      <a:pt x="820683" y="431230"/>
                    </a:lnTo>
                    <a:lnTo>
                      <a:pt x="948140" y="375999"/>
                    </a:lnTo>
                    <a:lnTo>
                      <a:pt x="1084094" y="364669"/>
                    </a:lnTo>
                    <a:lnTo>
                      <a:pt x="1084094" y="364669"/>
                    </a:lnTo>
                    <a:lnTo>
                      <a:pt x="960886" y="211720"/>
                    </a:lnTo>
                    <a:lnTo>
                      <a:pt x="965135" y="211720"/>
                    </a:lnTo>
                    <a:lnTo>
                      <a:pt x="959470" y="208888"/>
                    </a:lnTo>
                    <a:lnTo>
                      <a:pt x="959470" y="208888"/>
                    </a:lnTo>
                    <a:lnTo>
                      <a:pt x="958054" y="208888"/>
                    </a:lnTo>
                    <a:lnTo>
                      <a:pt x="882995" y="172067"/>
                    </a:lnTo>
                    <a:lnTo>
                      <a:pt x="887244" y="21951"/>
                    </a:lnTo>
                    <a:lnTo>
                      <a:pt x="928313" y="126749"/>
                    </a:lnTo>
                    <a:lnTo>
                      <a:pt x="928313" y="126749"/>
                    </a:lnTo>
                    <a:lnTo>
                      <a:pt x="929730" y="125333"/>
                    </a:lnTo>
                    <a:lnTo>
                      <a:pt x="885828" y="12037"/>
                    </a:lnTo>
                    <a:lnTo>
                      <a:pt x="885828" y="10621"/>
                    </a:lnTo>
                    <a:lnTo>
                      <a:pt x="881579" y="172067"/>
                    </a:lnTo>
                    <a:lnTo>
                      <a:pt x="881579" y="172067"/>
                    </a:lnTo>
                    <a:lnTo>
                      <a:pt x="952389" y="206056"/>
                    </a:lnTo>
                    <a:lnTo>
                      <a:pt x="673399" y="163570"/>
                    </a:lnTo>
                    <a:lnTo>
                      <a:pt x="721550" y="160737"/>
                    </a:lnTo>
                    <a:lnTo>
                      <a:pt x="721550" y="160737"/>
                    </a:lnTo>
                    <a:lnTo>
                      <a:pt x="608254" y="41777"/>
                    </a:lnTo>
                    <a:lnTo>
                      <a:pt x="608254" y="41777"/>
                    </a:lnTo>
                    <a:lnTo>
                      <a:pt x="608254" y="38945"/>
                    </a:lnTo>
                    <a:lnTo>
                      <a:pt x="608254" y="37529"/>
                    </a:lnTo>
                    <a:lnTo>
                      <a:pt x="511954" y="138079"/>
                    </a:lnTo>
                    <a:lnTo>
                      <a:pt x="402907" y="121084"/>
                    </a:lnTo>
                    <a:lnTo>
                      <a:pt x="400074" y="118252"/>
                    </a:lnTo>
                    <a:lnTo>
                      <a:pt x="400074" y="118252"/>
                    </a:lnTo>
                    <a:lnTo>
                      <a:pt x="392993" y="126749"/>
                    </a:lnTo>
                    <a:lnTo>
                      <a:pt x="283946" y="200391"/>
                    </a:lnTo>
                    <a:lnTo>
                      <a:pt x="232964" y="295275"/>
                    </a:lnTo>
                    <a:lnTo>
                      <a:pt x="95593" y="367501"/>
                    </a:lnTo>
                    <a:lnTo>
                      <a:pt x="85679" y="368918"/>
                    </a:lnTo>
                    <a:lnTo>
                      <a:pt x="85679" y="368918"/>
                    </a:lnTo>
                    <a:lnTo>
                      <a:pt x="88512" y="371750"/>
                    </a:lnTo>
                    <a:lnTo>
                      <a:pt x="41778" y="392993"/>
                    </a:lnTo>
                    <a:lnTo>
                      <a:pt x="36113" y="391577"/>
                    </a:lnTo>
                    <a:lnTo>
                      <a:pt x="36113" y="391577"/>
                    </a:lnTo>
                    <a:lnTo>
                      <a:pt x="36113" y="392993"/>
                    </a:lnTo>
                    <a:lnTo>
                      <a:pt x="38945" y="392993"/>
                    </a:lnTo>
                    <a:lnTo>
                      <a:pt x="37529" y="392993"/>
                    </a:lnTo>
                    <a:lnTo>
                      <a:pt x="37529" y="392993"/>
                    </a:lnTo>
                    <a:lnTo>
                      <a:pt x="70102" y="438311"/>
                    </a:lnTo>
                    <a:lnTo>
                      <a:pt x="10621" y="469467"/>
                    </a:lnTo>
                    <a:lnTo>
                      <a:pt x="10621" y="469467"/>
                    </a:lnTo>
                    <a:lnTo>
                      <a:pt x="10621" y="470883"/>
                    </a:lnTo>
                    <a:lnTo>
                      <a:pt x="126749" y="438311"/>
                    </a:lnTo>
                    <a:lnTo>
                      <a:pt x="132414" y="438311"/>
                    </a:lnTo>
                    <a:lnTo>
                      <a:pt x="92760" y="523282"/>
                    </a:lnTo>
                    <a:lnTo>
                      <a:pt x="53107" y="534612"/>
                    </a:lnTo>
                    <a:lnTo>
                      <a:pt x="38945" y="534612"/>
                    </a:lnTo>
                    <a:lnTo>
                      <a:pt x="37529" y="534612"/>
                    </a:lnTo>
                    <a:lnTo>
                      <a:pt x="41778" y="537444"/>
                    </a:lnTo>
                    <a:lnTo>
                      <a:pt x="41778" y="537444"/>
                    </a:lnTo>
                    <a:lnTo>
                      <a:pt x="41778" y="537444"/>
                    </a:lnTo>
                    <a:lnTo>
                      <a:pt x="41778" y="538860"/>
                    </a:lnTo>
                    <a:lnTo>
                      <a:pt x="44610" y="538860"/>
                    </a:lnTo>
                    <a:lnTo>
                      <a:pt x="75766" y="557271"/>
                    </a:lnTo>
                    <a:lnTo>
                      <a:pt x="41778" y="629497"/>
                    </a:lnTo>
                    <a:lnTo>
                      <a:pt x="41778" y="630913"/>
                    </a:lnTo>
                    <a:lnTo>
                      <a:pt x="109755" y="578514"/>
                    </a:lnTo>
                    <a:lnTo>
                      <a:pt x="172068" y="615335"/>
                    </a:lnTo>
                    <a:lnTo>
                      <a:pt x="153656" y="659237"/>
                    </a:lnTo>
                    <a:lnTo>
                      <a:pt x="70102" y="697474"/>
                    </a:lnTo>
                    <a:lnTo>
                      <a:pt x="70102" y="697474"/>
                    </a:lnTo>
                    <a:lnTo>
                      <a:pt x="97009" y="790942"/>
                    </a:lnTo>
                    <a:lnTo>
                      <a:pt x="84264" y="819266"/>
                    </a:lnTo>
                    <a:lnTo>
                      <a:pt x="84264" y="819266"/>
                    </a:lnTo>
                    <a:lnTo>
                      <a:pt x="85679" y="820682"/>
                    </a:lnTo>
                    <a:lnTo>
                      <a:pt x="99841" y="802272"/>
                    </a:lnTo>
                    <a:lnTo>
                      <a:pt x="118252" y="863168"/>
                    </a:lnTo>
                    <a:lnTo>
                      <a:pt x="118252" y="863168"/>
                    </a:lnTo>
                    <a:lnTo>
                      <a:pt x="257039" y="796607"/>
                    </a:lnTo>
                    <a:lnTo>
                      <a:pt x="257039" y="796607"/>
                    </a:lnTo>
                    <a:lnTo>
                      <a:pt x="180564" y="739960"/>
                    </a:lnTo>
                    <a:lnTo>
                      <a:pt x="272617" y="766867"/>
                    </a:lnTo>
                    <a:lnTo>
                      <a:pt x="296692" y="846174"/>
                    </a:lnTo>
                    <a:lnTo>
                      <a:pt x="296692" y="846174"/>
                    </a:lnTo>
                    <a:lnTo>
                      <a:pt x="466635" y="772532"/>
                    </a:lnTo>
                    <a:lnTo>
                      <a:pt x="466635" y="772532"/>
                    </a:lnTo>
                    <a:lnTo>
                      <a:pt x="436895" y="745624"/>
                    </a:lnTo>
                    <a:lnTo>
                      <a:pt x="551607" y="722965"/>
                    </a:lnTo>
                    <a:lnTo>
                      <a:pt x="554439" y="728630"/>
                    </a:lnTo>
                    <a:lnTo>
                      <a:pt x="554439" y="730046"/>
                    </a:lnTo>
                    <a:lnTo>
                      <a:pt x="554439" y="721549"/>
                    </a:lnTo>
                    <a:lnTo>
                      <a:pt x="561520" y="711636"/>
                    </a:lnTo>
                    <a:lnTo>
                      <a:pt x="674816" y="792359"/>
                    </a:lnTo>
                    <a:lnTo>
                      <a:pt x="670566" y="849006"/>
                    </a:lnTo>
                    <a:lnTo>
                      <a:pt x="670566" y="849006"/>
                    </a:lnTo>
                    <a:lnTo>
                      <a:pt x="816435" y="1034527"/>
                    </a:lnTo>
                    <a:lnTo>
                      <a:pt x="1040193" y="1173314"/>
                    </a:lnTo>
                    <a:lnTo>
                      <a:pt x="994874" y="1255453"/>
                    </a:lnTo>
                    <a:lnTo>
                      <a:pt x="994874" y="1255453"/>
                    </a:lnTo>
                    <a:lnTo>
                      <a:pt x="996290" y="1256869"/>
                    </a:lnTo>
                    <a:lnTo>
                      <a:pt x="1043025" y="1173314"/>
                    </a:lnTo>
                    <a:lnTo>
                      <a:pt x="1043025" y="1173314"/>
                    </a:lnTo>
                    <a:lnTo>
                      <a:pt x="817851" y="1033111"/>
                    </a:lnTo>
                    <a:lnTo>
                      <a:pt x="671983" y="849006"/>
                    </a:lnTo>
                    <a:lnTo>
                      <a:pt x="676231" y="793775"/>
                    </a:lnTo>
                    <a:lnTo>
                      <a:pt x="816435" y="892908"/>
                    </a:lnTo>
                    <a:lnTo>
                      <a:pt x="816435" y="892908"/>
                    </a:lnTo>
                    <a:lnTo>
                      <a:pt x="817851" y="891492"/>
                    </a:lnTo>
                    <a:lnTo>
                      <a:pt x="677647" y="766867"/>
                    </a:lnTo>
                    <a:lnTo>
                      <a:pt x="684728" y="669150"/>
                    </a:lnTo>
                    <a:lnTo>
                      <a:pt x="793775" y="664901"/>
                    </a:lnTo>
                    <a:lnTo>
                      <a:pt x="817851" y="877330"/>
                    </a:lnTo>
                    <a:lnTo>
                      <a:pt x="817851" y="877330"/>
                    </a:lnTo>
                    <a:lnTo>
                      <a:pt x="824932" y="878746"/>
                    </a:lnTo>
                    <a:lnTo>
                      <a:pt x="815018" y="894324"/>
                    </a:lnTo>
                    <a:lnTo>
                      <a:pt x="815018" y="894324"/>
                    </a:lnTo>
                    <a:lnTo>
                      <a:pt x="867417" y="890076"/>
                    </a:lnTo>
                    <a:lnTo>
                      <a:pt x="949556" y="912735"/>
                    </a:lnTo>
                    <a:lnTo>
                      <a:pt x="976464" y="1006203"/>
                    </a:lnTo>
                    <a:lnTo>
                      <a:pt x="885828" y="1060019"/>
                    </a:lnTo>
                    <a:lnTo>
                      <a:pt x="885828" y="1060019"/>
                    </a:lnTo>
                    <a:lnTo>
                      <a:pt x="993459" y="1057186"/>
                    </a:lnTo>
                    <a:lnTo>
                      <a:pt x="993459" y="1057186"/>
                    </a:lnTo>
                    <a:lnTo>
                      <a:pt x="979297" y="1007620"/>
                    </a:lnTo>
                    <a:lnTo>
                      <a:pt x="1078430" y="949556"/>
                    </a:lnTo>
                    <a:lnTo>
                      <a:pt x="1137909" y="841925"/>
                    </a:lnTo>
                    <a:lnTo>
                      <a:pt x="1137909" y="841925"/>
                    </a:lnTo>
                    <a:lnTo>
                      <a:pt x="1118083" y="700306"/>
                    </a:lnTo>
                    <a:lnTo>
                      <a:pt x="1119499" y="687560"/>
                    </a:lnTo>
                    <a:lnTo>
                      <a:pt x="1181812" y="752705"/>
                    </a:lnTo>
                    <a:lnTo>
                      <a:pt x="1181812" y="752705"/>
                    </a:lnTo>
                    <a:lnTo>
                      <a:pt x="1184644" y="554439"/>
                    </a:lnTo>
                    <a:lnTo>
                      <a:pt x="1184644" y="554439"/>
                    </a:lnTo>
                    <a:lnTo>
                      <a:pt x="1147823" y="557271"/>
                    </a:lnTo>
                    <a:lnTo>
                      <a:pt x="1147823" y="557271"/>
                    </a:lnTo>
                    <a:close/>
                    <a:moveTo>
                      <a:pt x="901406" y="1057186"/>
                    </a:moveTo>
                    <a:lnTo>
                      <a:pt x="984961" y="1007620"/>
                    </a:lnTo>
                    <a:lnTo>
                      <a:pt x="997707" y="1054354"/>
                    </a:lnTo>
                    <a:lnTo>
                      <a:pt x="901406" y="1057186"/>
                    </a:lnTo>
                    <a:close/>
                    <a:moveTo>
                      <a:pt x="809354" y="878746"/>
                    </a:moveTo>
                    <a:lnTo>
                      <a:pt x="683312" y="789526"/>
                    </a:lnTo>
                    <a:lnTo>
                      <a:pt x="684728" y="768284"/>
                    </a:lnTo>
                    <a:lnTo>
                      <a:pt x="809354" y="878746"/>
                    </a:lnTo>
                    <a:close/>
                    <a:moveTo>
                      <a:pt x="984961" y="1004787"/>
                    </a:moveTo>
                    <a:lnTo>
                      <a:pt x="958054" y="912735"/>
                    </a:lnTo>
                    <a:lnTo>
                      <a:pt x="1081262" y="946723"/>
                    </a:lnTo>
                    <a:lnTo>
                      <a:pt x="1081262" y="946723"/>
                    </a:lnTo>
                    <a:lnTo>
                      <a:pt x="1120916" y="705971"/>
                    </a:lnTo>
                    <a:lnTo>
                      <a:pt x="1139326" y="840509"/>
                    </a:lnTo>
                    <a:lnTo>
                      <a:pt x="1079846" y="948140"/>
                    </a:lnTo>
                    <a:lnTo>
                      <a:pt x="984961" y="1004787"/>
                    </a:lnTo>
                    <a:close/>
                    <a:moveTo>
                      <a:pt x="123917" y="861752"/>
                    </a:moveTo>
                    <a:lnTo>
                      <a:pt x="105506" y="800856"/>
                    </a:lnTo>
                    <a:lnTo>
                      <a:pt x="220218" y="645075"/>
                    </a:lnTo>
                    <a:lnTo>
                      <a:pt x="244293" y="660653"/>
                    </a:lnTo>
                    <a:lnTo>
                      <a:pt x="275449" y="766867"/>
                    </a:lnTo>
                    <a:lnTo>
                      <a:pt x="174899" y="737127"/>
                    </a:lnTo>
                    <a:lnTo>
                      <a:pt x="173483" y="737127"/>
                    </a:lnTo>
                    <a:lnTo>
                      <a:pt x="255622" y="799439"/>
                    </a:lnTo>
                    <a:lnTo>
                      <a:pt x="123917" y="861752"/>
                    </a:lnTo>
                    <a:close/>
                    <a:moveTo>
                      <a:pt x="210304" y="536028"/>
                    </a:moveTo>
                    <a:lnTo>
                      <a:pt x="176316" y="615335"/>
                    </a:lnTo>
                    <a:lnTo>
                      <a:pt x="115420" y="578514"/>
                    </a:lnTo>
                    <a:lnTo>
                      <a:pt x="169235" y="536028"/>
                    </a:lnTo>
                    <a:lnTo>
                      <a:pt x="210304" y="536028"/>
                    </a:lnTo>
                    <a:close/>
                    <a:moveTo>
                      <a:pt x="82847" y="558687"/>
                    </a:moveTo>
                    <a:lnTo>
                      <a:pt x="92760" y="537444"/>
                    </a:lnTo>
                    <a:lnTo>
                      <a:pt x="166402" y="536028"/>
                    </a:lnTo>
                    <a:lnTo>
                      <a:pt x="114003" y="577098"/>
                    </a:lnTo>
                    <a:lnTo>
                      <a:pt x="82847" y="558687"/>
                    </a:lnTo>
                    <a:close/>
                    <a:moveTo>
                      <a:pt x="57356" y="538860"/>
                    </a:moveTo>
                    <a:lnTo>
                      <a:pt x="91345" y="538860"/>
                    </a:lnTo>
                    <a:lnTo>
                      <a:pt x="81431" y="558687"/>
                    </a:lnTo>
                    <a:lnTo>
                      <a:pt x="51691" y="540277"/>
                    </a:lnTo>
                    <a:lnTo>
                      <a:pt x="57356" y="538860"/>
                    </a:lnTo>
                    <a:close/>
                    <a:moveTo>
                      <a:pt x="91345" y="536028"/>
                    </a:moveTo>
                    <a:lnTo>
                      <a:pt x="64437" y="536028"/>
                    </a:lnTo>
                    <a:lnTo>
                      <a:pt x="94177" y="527531"/>
                    </a:lnTo>
                    <a:lnTo>
                      <a:pt x="91345" y="536028"/>
                    </a:lnTo>
                    <a:close/>
                    <a:moveTo>
                      <a:pt x="94177" y="371750"/>
                    </a:moveTo>
                    <a:lnTo>
                      <a:pt x="94177" y="371750"/>
                    </a:lnTo>
                    <a:lnTo>
                      <a:pt x="94177" y="371750"/>
                    </a:lnTo>
                    <a:lnTo>
                      <a:pt x="94177" y="371750"/>
                    </a:lnTo>
                    <a:close/>
                    <a:moveTo>
                      <a:pt x="601173" y="166402"/>
                    </a:moveTo>
                    <a:lnTo>
                      <a:pt x="602589" y="155073"/>
                    </a:lnTo>
                    <a:lnTo>
                      <a:pt x="656404" y="163570"/>
                    </a:lnTo>
                    <a:lnTo>
                      <a:pt x="601173" y="166402"/>
                    </a:lnTo>
                    <a:close/>
                    <a:moveTo>
                      <a:pt x="602589" y="153656"/>
                    </a:moveTo>
                    <a:lnTo>
                      <a:pt x="612503" y="47442"/>
                    </a:lnTo>
                    <a:lnTo>
                      <a:pt x="720133" y="160737"/>
                    </a:lnTo>
                    <a:lnTo>
                      <a:pt x="666318" y="163570"/>
                    </a:lnTo>
                    <a:lnTo>
                      <a:pt x="602589" y="153656"/>
                    </a:lnTo>
                    <a:close/>
                    <a:moveTo>
                      <a:pt x="781030" y="385912"/>
                    </a:moveTo>
                    <a:lnTo>
                      <a:pt x="857504" y="272617"/>
                    </a:lnTo>
                    <a:lnTo>
                      <a:pt x="955221" y="370334"/>
                    </a:lnTo>
                    <a:lnTo>
                      <a:pt x="949556" y="373166"/>
                    </a:lnTo>
                    <a:lnTo>
                      <a:pt x="781030" y="385912"/>
                    </a:lnTo>
                    <a:close/>
                    <a:moveTo>
                      <a:pt x="841926" y="509120"/>
                    </a:moveTo>
                    <a:lnTo>
                      <a:pt x="783862" y="500623"/>
                    </a:lnTo>
                    <a:lnTo>
                      <a:pt x="772532" y="397241"/>
                    </a:lnTo>
                    <a:lnTo>
                      <a:pt x="772532" y="397241"/>
                    </a:lnTo>
                    <a:lnTo>
                      <a:pt x="779613" y="387328"/>
                    </a:lnTo>
                    <a:lnTo>
                      <a:pt x="942475" y="374582"/>
                    </a:lnTo>
                    <a:lnTo>
                      <a:pt x="819266" y="428398"/>
                    </a:lnTo>
                    <a:lnTo>
                      <a:pt x="819266" y="428398"/>
                    </a:lnTo>
                    <a:lnTo>
                      <a:pt x="841926" y="509120"/>
                    </a:lnTo>
                    <a:close/>
                    <a:moveTo>
                      <a:pt x="1119499" y="676231"/>
                    </a:moveTo>
                    <a:lnTo>
                      <a:pt x="1122332" y="698890"/>
                    </a:lnTo>
                    <a:lnTo>
                      <a:pt x="1081262" y="943891"/>
                    </a:lnTo>
                    <a:lnTo>
                      <a:pt x="958054" y="909903"/>
                    </a:lnTo>
                    <a:lnTo>
                      <a:pt x="949556" y="881579"/>
                    </a:lnTo>
                    <a:lnTo>
                      <a:pt x="1017533" y="809353"/>
                    </a:lnTo>
                    <a:lnTo>
                      <a:pt x="1017533" y="809353"/>
                    </a:lnTo>
                    <a:lnTo>
                      <a:pt x="1017533" y="809353"/>
                    </a:lnTo>
                    <a:lnTo>
                      <a:pt x="1077013" y="858920"/>
                    </a:lnTo>
                    <a:lnTo>
                      <a:pt x="1077013" y="858920"/>
                    </a:lnTo>
                    <a:lnTo>
                      <a:pt x="1109586" y="553022"/>
                    </a:lnTo>
                    <a:lnTo>
                      <a:pt x="1135078" y="557271"/>
                    </a:lnTo>
                    <a:lnTo>
                      <a:pt x="1144990" y="560103"/>
                    </a:lnTo>
                    <a:lnTo>
                      <a:pt x="1123748" y="684728"/>
                    </a:lnTo>
                    <a:lnTo>
                      <a:pt x="1119499" y="676231"/>
                    </a:lnTo>
                    <a:lnTo>
                      <a:pt x="1119499" y="676231"/>
                    </a:lnTo>
                    <a:close/>
                    <a:moveTo>
                      <a:pt x="833428" y="659237"/>
                    </a:moveTo>
                    <a:lnTo>
                      <a:pt x="833428" y="659237"/>
                    </a:lnTo>
                    <a:lnTo>
                      <a:pt x="802273" y="660653"/>
                    </a:lnTo>
                    <a:lnTo>
                      <a:pt x="798024" y="628080"/>
                    </a:lnTo>
                    <a:lnTo>
                      <a:pt x="898574" y="710220"/>
                    </a:lnTo>
                    <a:lnTo>
                      <a:pt x="946724" y="880163"/>
                    </a:lnTo>
                    <a:lnTo>
                      <a:pt x="946724" y="881579"/>
                    </a:lnTo>
                    <a:lnTo>
                      <a:pt x="874498" y="887243"/>
                    </a:lnTo>
                    <a:lnTo>
                      <a:pt x="834845" y="875914"/>
                    </a:lnTo>
                    <a:lnTo>
                      <a:pt x="905655" y="761203"/>
                    </a:lnTo>
                    <a:lnTo>
                      <a:pt x="905655" y="761203"/>
                    </a:lnTo>
                    <a:lnTo>
                      <a:pt x="833428" y="659237"/>
                    </a:lnTo>
                    <a:close/>
                    <a:moveTo>
                      <a:pt x="75766" y="441143"/>
                    </a:moveTo>
                    <a:lnTo>
                      <a:pt x="138079" y="408571"/>
                    </a:lnTo>
                    <a:lnTo>
                      <a:pt x="143744" y="409987"/>
                    </a:lnTo>
                    <a:lnTo>
                      <a:pt x="147992" y="412820"/>
                    </a:lnTo>
                    <a:lnTo>
                      <a:pt x="136663" y="436895"/>
                    </a:lnTo>
                    <a:lnTo>
                      <a:pt x="129582" y="438311"/>
                    </a:lnTo>
                    <a:lnTo>
                      <a:pt x="75766" y="442560"/>
                    </a:lnTo>
                    <a:lnTo>
                      <a:pt x="75766" y="441143"/>
                    </a:lnTo>
                    <a:close/>
                    <a:moveTo>
                      <a:pt x="459554" y="198975"/>
                    </a:moveTo>
                    <a:lnTo>
                      <a:pt x="459554" y="198975"/>
                    </a:lnTo>
                    <a:lnTo>
                      <a:pt x="514785" y="140911"/>
                    </a:lnTo>
                    <a:lnTo>
                      <a:pt x="582763" y="150824"/>
                    </a:lnTo>
                    <a:lnTo>
                      <a:pt x="579931" y="166402"/>
                    </a:lnTo>
                    <a:lnTo>
                      <a:pt x="526115" y="169235"/>
                    </a:lnTo>
                    <a:lnTo>
                      <a:pt x="460970" y="200391"/>
                    </a:lnTo>
                    <a:lnTo>
                      <a:pt x="443976" y="215969"/>
                    </a:lnTo>
                    <a:lnTo>
                      <a:pt x="323599" y="218801"/>
                    </a:lnTo>
                    <a:lnTo>
                      <a:pt x="395826" y="128165"/>
                    </a:lnTo>
                    <a:lnTo>
                      <a:pt x="402907" y="123917"/>
                    </a:lnTo>
                    <a:lnTo>
                      <a:pt x="459554" y="198975"/>
                    </a:lnTo>
                    <a:close/>
                    <a:moveTo>
                      <a:pt x="558688" y="669150"/>
                    </a:moveTo>
                    <a:lnTo>
                      <a:pt x="558688" y="700306"/>
                    </a:lnTo>
                    <a:lnTo>
                      <a:pt x="544526" y="690393"/>
                    </a:lnTo>
                    <a:lnTo>
                      <a:pt x="502040" y="604005"/>
                    </a:lnTo>
                    <a:lnTo>
                      <a:pt x="574265" y="667734"/>
                    </a:lnTo>
                    <a:lnTo>
                      <a:pt x="558688" y="669150"/>
                    </a:lnTo>
                    <a:lnTo>
                      <a:pt x="558688" y="669150"/>
                    </a:lnTo>
                    <a:close/>
                    <a:moveTo>
                      <a:pt x="230131" y="492126"/>
                    </a:moveTo>
                    <a:lnTo>
                      <a:pt x="211721" y="534612"/>
                    </a:lnTo>
                    <a:lnTo>
                      <a:pt x="173483" y="534612"/>
                    </a:lnTo>
                    <a:lnTo>
                      <a:pt x="228715" y="492126"/>
                    </a:lnTo>
                    <a:lnTo>
                      <a:pt x="230131" y="492126"/>
                    </a:lnTo>
                    <a:close/>
                    <a:moveTo>
                      <a:pt x="169235" y="426981"/>
                    </a:moveTo>
                    <a:lnTo>
                      <a:pt x="139495" y="435479"/>
                    </a:lnTo>
                    <a:lnTo>
                      <a:pt x="149408" y="412820"/>
                    </a:lnTo>
                    <a:lnTo>
                      <a:pt x="169235" y="426981"/>
                    </a:lnTo>
                    <a:close/>
                    <a:moveTo>
                      <a:pt x="150825" y="409987"/>
                    </a:moveTo>
                    <a:lnTo>
                      <a:pt x="150825" y="409987"/>
                    </a:lnTo>
                    <a:lnTo>
                      <a:pt x="147992" y="409987"/>
                    </a:lnTo>
                    <a:lnTo>
                      <a:pt x="150825" y="409987"/>
                    </a:lnTo>
                    <a:close/>
                    <a:moveTo>
                      <a:pt x="697474" y="544525"/>
                    </a:moveTo>
                    <a:lnTo>
                      <a:pt x="693226" y="612503"/>
                    </a:lnTo>
                    <a:lnTo>
                      <a:pt x="633746" y="608254"/>
                    </a:lnTo>
                    <a:lnTo>
                      <a:pt x="683312" y="531780"/>
                    </a:lnTo>
                    <a:lnTo>
                      <a:pt x="697474" y="544525"/>
                    </a:lnTo>
                    <a:close/>
                    <a:moveTo>
                      <a:pt x="402907" y="751289"/>
                    </a:moveTo>
                    <a:lnTo>
                      <a:pt x="247126" y="657820"/>
                    </a:lnTo>
                    <a:lnTo>
                      <a:pt x="237212" y="625248"/>
                    </a:lnTo>
                    <a:lnTo>
                      <a:pt x="237212" y="625248"/>
                    </a:lnTo>
                    <a:lnTo>
                      <a:pt x="237212" y="625248"/>
                    </a:lnTo>
                    <a:lnTo>
                      <a:pt x="235796" y="536028"/>
                    </a:lnTo>
                    <a:lnTo>
                      <a:pt x="320768" y="534612"/>
                    </a:lnTo>
                    <a:lnTo>
                      <a:pt x="367502" y="567184"/>
                    </a:lnTo>
                    <a:lnTo>
                      <a:pt x="323599" y="639410"/>
                    </a:lnTo>
                    <a:lnTo>
                      <a:pt x="323599" y="639410"/>
                    </a:lnTo>
                    <a:lnTo>
                      <a:pt x="411403" y="718717"/>
                    </a:lnTo>
                    <a:lnTo>
                      <a:pt x="402907" y="751289"/>
                    </a:lnTo>
                    <a:lnTo>
                      <a:pt x="402907" y="751289"/>
                    </a:lnTo>
                    <a:close/>
                    <a:moveTo>
                      <a:pt x="228715" y="629497"/>
                    </a:moveTo>
                    <a:lnTo>
                      <a:pt x="220218" y="640826"/>
                    </a:lnTo>
                    <a:lnTo>
                      <a:pt x="213137" y="636578"/>
                    </a:lnTo>
                    <a:lnTo>
                      <a:pt x="228715" y="629497"/>
                    </a:lnTo>
                    <a:close/>
                    <a:moveTo>
                      <a:pt x="153656" y="400074"/>
                    </a:moveTo>
                    <a:lnTo>
                      <a:pt x="150825" y="407155"/>
                    </a:lnTo>
                    <a:lnTo>
                      <a:pt x="145160" y="405739"/>
                    </a:lnTo>
                    <a:lnTo>
                      <a:pt x="143744" y="404322"/>
                    </a:lnTo>
                    <a:lnTo>
                      <a:pt x="153656" y="400074"/>
                    </a:lnTo>
                    <a:close/>
                    <a:moveTo>
                      <a:pt x="152241" y="409987"/>
                    </a:moveTo>
                    <a:lnTo>
                      <a:pt x="203223" y="417068"/>
                    </a:lnTo>
                    <a:lnTo>
                      <a:pt x="172068" y="425565"/>
                    </a:lnTo>
                    <a:lnTo>
                      <a:pt x="152241" y="409987"/>
                    </a:lnTo>
                    <a:lnTo>
                      <a:pt x="152241" y="409987"/>
                    </a:lnTo>
                    <a:close/>
                    <a:moveTo>
                      <a:pt x="771116" y="391577"/>
                    </a:moveTo>
                    <a:lnTo>
                      <a:pt x="771116" y="391577"/>
                    </a:lnTo>
                    <a:lnTo>
                      <a:pt x="771116" y="391577"/>
                    </a:lnTo>
                    <a:lnTo>
                      <a:pt x="768284" y="388744"/>
                    </a:lnTo>
                    <a:lnTo>
                      <a:pt x="776781" y="388744"/>
                    </a:lnTo>
                    <a:lnTo>
                      <a:pt x="772532" y="395825"/>
                    </a:lnTo>
                    <a:lnTo>
                      <a:pt x="772532" y="394409"/>
                    </a:lnTo>
                    <a:lnTo>
                      <a:pt x="771116" y="391577"/>
                    </a:lnTo>
                    <a:close/>
                    <a:moveTo>
                      <a:pt x="710220" y="490710"/>
                    </a:moveTo>
                    <a:lnTo>
                      <a:pt x="771116" y="397241"/>
                    </a:lnTo>
                    <a:lnTo>
                      <a:pt x="783862" y="500623"/>
                    </a:lnTo>
                    <a:lnTo>
                      <a:pt x="710220" y="490710"/>
                    </a:lnTo>
                    <a:close/>
                    <a:moveTo>
                      <a:pt x="739960" y="528947"/>
                    </a:moveTo>
                    <a:lnTo>
                      <a:pt x="785278" y="528947"/>
                    </a:lnTo>
                    <a:lnTo>
                      <a:pt x="789527" y="564352"/>
                    </a:lnTo>
                    <a:lnTo>
                      <a:pt x="739960" y="528947"/>
                    </a:lnTo>
                    <a:close/>
                    <a:moveTo>
                      <a:pt x="698890" y="528947"/>
                    </a:moveTo>
                    <a:lnTo>
                      <a:pt x="697474" y="541693"/>
                    </a:lnTo>
                    <a:lnTo>
                      <a:pt x="683312" y="530363"/>
                    </a:lnTo>
                    <a:lnTo>
                      <a:pt x="683312" y="528947"/>
                    </a:lnTo>
                    <a:lnTo>
                      <a:pt x="698890" y="528947"/>
                    </a:lnTo>
                    <a:close/>
                    <a:moveTo>
                      <a:pt x="686145" y="527531"/>
                    </a:moveTo>
                    <a:lnTo>
                      <a:pt x="700307" y="504872"/>
                    </a:lnTo>
                    <a:lnTo>
                      <a:pt x="698890" y="527531"/>
                    </a:lnTo>
                    <a:lnTo>
                      <a:pt x="686145" y="527531"/>
                    </a:lnTo>
                    <a:close/>
                    <a:moveTo>
                      <a:pt x="646492" y="275449"/>
                    </a:moveTo>
                    <a:lnTo>
                      <a:pt x="667735" y="245709"/>
                    </a:lnTo>
                    <a:lnTo>
                      <a:pt x="683312" y="266952"/>
                    </a:lnTo>
                    <a:lnTo>
                      <a:pt x="646492" y="275449"/>
                    </a:lnTo>
                    <a:close/>
                    <a:moveTo>
                      <a:pt x="732879" y="526115"/>
                    </a:moveTo>
                    <a:lnTo>
                      <a:pt x="700307" y="526115"/>
                    </a:lnTo>
                    <a:lnTo>
                      <a:pt x="701723" y="504872"/>
                    </a:lnTo>
                    <a:lnTo>
                      <a:pt x="732879" y="526115"/>
                    </a:lnTo>
                    <a:close/>
                    <a:moveTo>
                      <a:pt x="705971" y="492126"/>
                    </a:moveTo>
                    <a:lnTo>
                      <a:pt x="683312" y="527531"/>
                    </a:lnTo>
                    <a:lnTo>
                      <a:pt x="680480" y="527531"/>
                    </a:lnTo>
                    <a:lnTo>
                      <a:pt x="622416" y="479380"/>
                    </a:lnTo>
                    <a:lnTo>
                      <a:pt x="705971" y="492126"/>
                    </a:lnTo>
                    <a:close/>
                    <a:moveTo>
                      <a:pt x="588427" y="313686"/>
                    </a:moveTo>
                    <a:lnTo>
                      <a:pt x="623832" y="303773"/>
                    </a:lnTo>
                    <a:lnTo>
                      <a:pt x="584179" y="357588"/>
                    </a:lnTo>
                    <a:lnTo>
                      <a:pt x="588427" y="313686"/>
                    </a:lnTo>
                    <a:close/>
                    <a:moveTo>
                      <a:pt x="625249" y="300941"/>
                    </a:moveTo>
                    <a:lnTo>
                      <a:pt x="588427" y="310854"/>
                    </a:lnTo>
                    <a:lnTo>
                      <a:pt x="589844" y="289611"/>
                    </a:lnTo>
                    <a:lnTo>
                      <a:pt x="640827" y="278281"/>
                    </a:lnTo>
                    <a:lnTo>
                      <a:pt x="625249" y="300941"/>
                    </a:lnTo>
                    <a:close/>
                    <a:moveTo>
                      <a:pt x="547358" y="322183"/>
                    </a:moveTo>
                    <a:lnTo>
                      <a:pt x="553023" y="296692"/>
                    </a:lnTo>
                    <a:lnTo>
                      <a:pt x="588427" y="289611"/>
                    </a:lnTo>
                    <a:lnTo>
                      <a:pt x="587012" y="310854"/>
                    </a:lnTo>
                    <a:lnTo>
                      <a:pt x="547358" y="322183"/>
                    </a:lnTo>
                    <a:close/>
                    <a:moveTo>
                      <a:pt x="339178" y="421317"/>
                    </a:moveTo>
                    <a:lnTo>
                      <a:pt x="334930" y="412820"/>
                    </a:lnTo>
                    <a:lnTo>
                      <a:pt x="349092" y="421317"/>
                    </a:lnTo>
                    <a:lnTo>
                      <a:pt x="339178" y="421317"/>
                    </a:lnTo>
                    <a:close/>
                    <a:moveTo>
                      <a:pt x="340594" y="424149"/>
                    </a:moveTo>
                    <a:lnTo>
                      <a:pt x="353340" y="422733"/>
                    </a:lnTo>
                    <a:lnTo>
                      <a:pt x="388745" y="442560"/>
                    </a:lnTo>
                    <a:lnTo>
                      <a:pt x="347675" y="436895"/>
                    </a:lnTo>
                    <a:lnTo>
                      <a:pt x="340594" y="424149"/>
                    </a:lnTo>
                    <a:close/>
                    <a:moveTo>
                      <a:pt x="442560" y="452473"/>
                    </a:moveTo>
                    <a:lnTo>
                      <a:pt x="514785" y="462386"/>
                    </a:lnTo>
                    <a:lnTo>
                      <a:pt x="504873" y="506288"/>
                    </a:lnTo>
                    <a:lnTo>
                      <a:pt x="442560" y="452473"/>
                    </a:lnTo>
                    <a:close/>
                    <a:moveTo>
                      <a:pt x="429814" y="465218"/>
                    </a:moveTo>
                    <a:lnTo>
                      <a:pt x="397242" y="446808"/>
                    </a:lnTo>
                    <a:lnTo>
                      <a:pt x="436895" y="452473"/>
                    </a:lnTo>
                    <a:lnTo>
                      <a:pt x="429814" y="465218"/>
                    </a:lnTo>
                    <a:close/>
                    <a:moveTo>
                      <a:pt x="431230" y="466635"/>
                    </a:moveTo>
                    <a:lnTo>
                      <a:pt x="439727" y="453889"/>
                    </a:lnTo>
                    <a:lnTo>
                      <a:pt x="502040" y="507704"/>
                    </a:lnTo>
                    <a:lnTo>
                      <a:pt x="431230" y="466635"/>
                    </a:lnTo>
                    <a:close/>
                    <a:moveTo>
                      <a:pt x="465219" y="411403"/>
                    </a:moveTo>
                    <a:lnTo>
                      <a:pt x="489294" y="373166"/>
                    </a:lnTo>
                    <a:lnTo>
                      <a:pt x="527531" y="404322"/>
                    </a:lnTo>
                    <a:lnTo>
                      <a:pt x="527531" y="405739"/>
                    </a:lnTo>
                    <a:lnTo>
                      <a:pt x="465219" y="411403"/>
                    </a:lnTo>
                    <a:close/>
                    <a:moveTo>
                      <a:pt x="438311" y="451056"/>
                    </a:moveTo>
                    <a:lnTo>
                      <a:pt x="401490" y="418484"/>
                    </a:lnTo>
                    <a:lnTo>
                      <a:pt x="460970" y="414236"/>
                    </a:lnTo>
                    <a:lnTo>
                      <a:pt x="438311" y="451056"/>
                    </a:lnTo>
                    <a:close/>
                    <a:moveTo>
                      <a:pt x="435479" y="449641"/>
                    </a:moveTo>
                    <a:lnTo>
                      <a:pt x="392993" y="443975"/>
                    </a:lnTo>
                    <a:lnTo>
                      <a:pt x="356172" y="422733"/>
                    </a:lnTo>
                    <a:lnTo>
                      <a:pt x="398658" y="419901"/>
                    </a:lnTo>
                    <a:lnTo>
                      <a:pt x="435479" y="449641"/>
                    </a:lnTo>
                    <a:close/>
                    <a:moveTo>
                      <a:pt x="392993" y="445392"/>
                    </a:moveTo>
                    <a:lnTo>
                      <a:pt x="429814" y="466635"/>
                    </a:lnTo>
                    <a:lnTo>
                      <a:pt x="390161" y="531780"/>
                    </a:lnTo>
                    <a:lnTo>
                      <a:pt x="390161" y="531780"/>
                    </a:lnTo>
                    <a:lnTo>
                      <a:pt x="349092" y="439727"/>
                    </a:lnTo>
                    <a:lnTo>
                      <a:pt x="392993" y="445392"/>
                    </a:lnTo>
                    <a:close/>
                    <a:moveTo>
                      <a:pt x="431230" y="468051"/>
                    </a:moveTo>
                    <a:lnTo>
                      <a:pt x="506288" y="511953"/>
                    </a:lnTo>
                    <a:lnTo>
                      <a:pt x="504873" y="530363"/>
                    </a:lnTo>
                    <a:lnTo>
                      <a:pt x="392993" y="531780"/>
                    </a:lnTo>
                    <a:lnTo>
                      <a:pt x="431230" y="468051"/>
                    </a:lnTo>
                    <a:close/>
                    <a:moveTo>
                      <a:pt x="441144" y="451056"/>
                    </a:moveTo>
                    <a:lnTo>
                      <a:pt x="463803" y="414236"/>
                    </a:lnTo>
                    <a:lnTo>
                      <a:pt x="526115" y="408571"/>
                    </a:lnTo>
                    <a:lnTo>
                      <a:pt x="514785" y="460970"/>
                    </a:lnTo>
                    <a:lnTo>
                      <a:pt x="441144" y="451056"/>
                    </a:lnTo>
                    <a:close/>
                    <a:moveTo>
                      <a:pt x="285363" y="428398"/>
                    </a:moveTo>
                    <a:lnTo>
                      <a:pt x="339178" y="424149"/>
                    </a:lnTo>
                    <a:lnTo>
                      <a:pt x="344842" y="436895"/>
                    </a:lnTo>
                    <a:lnTo>
                      <a:pt x="285363" y="428398"/>
                    </a:lnTo>
                    <a:close/>
                    <a:moveTo>
                      <a:pt x="516202" y="462386"/>
                    </a:moveTo>
                    <a:lnTo>
                      <a:pt x="528947" y="408571"/>
                    </a:lnTo>
                    <a:lnTo>
                      <a:pt x="531780" y="408571"/>
                    </a:lnTo>
                    <a:lnTo>
                      <a:pt x="615335" y="476548"/>
                    </a:lnTo>
                    <a:lnTo>
                      <a:pt x="516202" y="462386"/>
                    </a:lnTo>
                    <a:close/>
                    <a:moveTo>
                      <a:pt x="528947" y="405739"/>
                    </a:moveTo>
                    <a:lnTo>
                      <a:pt x="528947" y="405739"/>
                    </a:lnTo>
                    <a:lnTo>
                      <a:pt x="528947" y="405739"/>
                    </a:lnTo>
                    <a:lnTo>
                      <a:pt x="528947" y="405739"/>
                    </a:lnTo>
                    <a:close/>
                    <a:moveTo>
                      <a:pt x="544526" y="325016"/>
                    </a:moveTo>
                    <a:lnTo>
                      <a:pt x="527531" y="401490"/>
                    </a:lnTo>
                    <a:lnTo>
                      <a:pt x="487878" y="368918"/>
                    </a:lnTo>
                    <a:lnTo>
                      <a:pt x="487878" y="368918"/>
                    </a:lnTo>
                    <a:lnTo>
                      <a:pt x="462387" y="411403"/>
                    </a:lnTo>
                    <a:lnTo>
                      <a:pt x="400074" y="417068"/>
                    </a:lnTo>
                    <a:lnTo>
                      <a:pt x="356172" y="378831"/>
                    </a:lnTo>
                    <a:lnTo>
                      <a:pt x="544526" y="325016"/>
                    </a:lnTo>
                    <a:close/>
                    <a:moveTo>
                      <a:pt x="506288" y="530363"/>
                    </a:moveTo>
                    <a:lnTo>
                      <a:pt x="507704" y="511953"/>
                    </a:lnTo>
                    <a:lnTo>
                      <a:pt x="507704" y="511953"/>
                    </a:lnTo>
                    <a:lnTo>
                      <a:pt x="506288" y="510537"/>
                    </a:lnTo>
                    <a:lnTo>
                      <a:pt x="516202" y="463803"/>
                    </a:lnTo>
                    <a:lnTo>
                      <a:pt x="618168" y="479380"/>
                    </a:lnTo>
                    <a:lnTo>
                      <a:pt x="677647" y="527531"/>
                    </a:lnTo>
                    <a:lnTo>
                      <a:pt x="506288" y="530363"/>
                    </a:lnTo>
                    <a:close/>
                    <a:moveTo>
                      <a:pt x="387328" y="533196"/>
                    </a:moveTo>
                    <a:lnTo>
                      <a:pt x="387328" y="533196"/>
                    </a:lnTo>
                    <a:lnTo>
                      <a:pt x="367502" y="565768"/>
                    </a:lnTo>
                    <a:lnTo>
                      <a:pt x="323599" y="534612"/>
                    </a:lnTo>
                    <a:lnTo>
                      <a:pt x="387328" y="533196"/>
                    </a:lnTo>
                    <a:close/>
                    <a:moveTo>
                      <a:pt x="353340" y="419901"/>
                    </a:moveTo>
                    <a:lnTo>
                      <a:pt x="332097" y="407155"/>
                    </a:lnTo>
                    <a:lnTo>
                      <a:pt x="332097" y="407155"/>
                    </a:lnTo>
                    <a:lnTo>
                      <a:pt x="339178" y="421317"/>
                    </a:lnTo>
                    <a:lnTo>
                      <a:pt x="276865" y="426981"/>
                    </a:lnTo>
                    <a:lnTo>
                      <a:pt x="214553" y="418484"/>
                    </a:lnTo>
                    <a:lnTo>
                      <a:pt x="354756" y="380247"/>
                    </a:lnTo>
                    <a:lnTo>
                      <a:pt x="398658" y="418484"/>
                    </a:lnTo>
                    <a:lnTo>
                      <a:pt x="353340" y="419901"/>
                    </a:lnTo>
                    <a:close/>
                    <a:moveTo>
                      <a:pt x="618168" y="476548"/>
                    </a:moveTo>
                    <a:lnTo>
                      <a:pt x="534612" y="407155"/>
                    </a:lnTo>
                    <a:lnTo>
                      <a:pt x="765451" y="388744"/>
                    </a:lnTo>
                    <a:lnTo>
                      <a:pt x="768284" y="394409"/>
                    </a:lnTo>
                    <a:lnTo>
                      <a:pt x="705971" y="490710"/>
                    </a:lnTo>
                    <a:lnTo>
                      <a:pt x="618168" y="476548"/>
                    </a:lnTo>
                    <a:close/>
                    <a:moveTo>
                      <a:pt x="531780" y="405739"/>
                    </a:moveTo>
                    <a:lnTo>
                      <a:pt x="528947" y="402906"/>
                    </a:lnTo>
                    <a:lnTo>
                      <a:pt x="545942" y="323599"/>
                    </a:lnTo>
                    <a:lnTo>
                      <a:pt x="584179" y="312270"/>
                    </a:lnTo>
                    <a:lnTo>
                      <a:pt x="579931" y="363253"/>
                    </a:lnTo>
                    <a:lnTo>
                      <a:pt x="625249" y="300941"/>
                    </a:lnTo>
                    <a:lnTo>
                      <a:pt x="691809" y="282530"/>
                    </a:lnTo>
                    <a:lnTo>
                      <a:pt x="762619" y="385912"/>
                    </a:lnTo>
                    <a:lnTo>
                      <a:pt x="531780" y="405739"/>
                    </a:lnTo>
                    <a:close/>
                    <a:moveTo>
                      <a:pt x="629497" y="299524"/>
                    </a:moveTo>
                    <a:lnTo>
                      <a:pt x="645075" y="278281"/>
                    </a:lnTo>
                    <a:lnTo>
                      <a:pt x="684728" y="269784"/>
                    </a:lnTo>
                    <a:lnTo>
                      <a:pt x="693226" y="282530"/>
                    </a:lnTo>
                    <a:lnTo>
                      <a:pt x="629497" y="299524"/>
                    </a:lnTo>
                    <a:close/>
                    <a:moveTo>
                      <a:pt x="588427" y="288194"/>
                    </a:moveTo>
                    <a:lnTo>
                      <a:pt x="554439" y="295275"/>
                    </a:lnTo>
                    <a:lnTo>
                      <a:pt x="571433" y="217385"/>
                    </a:lnTo>
                    <a:lnTo>
                      <a:pt x="595508" y="217385"/>
                    </a:lnTo>
                    <a:lnTo>
                      <a:pt x="588427" y="288194"/>
                    </a:lnTo>
                    <a:close/>
                    <a:moveTo>
                      <a:pt x="463803" y="203223"/>
                    </a:moveTo>
                    <a:lnTo>
                      <a:pt x="527531" y="172067"/>
                    </a:lnTo>
                    <a:lnTo>
                      <a:pt x="579931" y="169235"/>
                    </a:lnTo>
                    <a:lnTo>
                      <a:pt x="570017" y="214553"/>
                    </a:lnTo>
                    <a:lnTo>
                      <a:pt x="449641" y="217385"/>
                    </a:lnTo>
                    <a:lnTo>
                      <a:pt x="463803" y="203223"/>
                    </a:lnTo>
                    <a:close/>
                    <a:moveTo>
                      <a:pt x="568601" y="217385"/>
                    </a:moveTo>
                    <a:lnTo>
                      <a:pt x="551607" y="295275"/>
                    </a:lnTo>
                    <a:lnTo>
                      <a:pt x="319351" y="343426"/>
                    </a:lnTo>
                    <a:lnTo>
                      <a:pt x="446808" y="220218"/>
                    </a:lnTo>
                    <a:lnTo>
                      <a:pt x="568601" y="217385"/>
                    </a:lnTo>
                    <a:close/>
                    <a:moveTo>
                      <a:pt x="545942" y="323599"/>
                    </a:moveTo>
                    <a:lnTo>
                      <a:pt x="354756" y="375999"/>
                    </a:lnTo>
                    <a:lnTo>
                      <a:pt x="320768" y="346258"/>
                    </a:lnTo>
                    <a:lnTo>
                      <a:pt x="551607" y="298108"/>
                    </a:lnTo>
                    <a:lnTo>
                      <a:pt x="545942" y="323599"/>
                    </a:lnTo>
                    <a:close/>
                    <a:moveTo>
                      <a:pt x="174899" y="428398"/>
                    </a:moveTo>
                    <a:lnTo>
                      <a:pt x="208888" y="418484"/>
                    </a:lnTo>
                    <a:lnTo>
                      <a:pt x="266952" y="426981"/>
                    </a:lnTo>
                    <a:lnTo>
                      <a:pt x="183397" y="434062"/>
                    </a:lnTo>
                    <a:lnTo>
                      <a:pt x="174899" y="428398"/>
                    </a:lnTo>
                    <a:close/>
                    <a:moveTo>
                      <a:pt x="275449" y="428398"/>
                    </a:moveTo>
                    <a:lnTo>
                      <a:pt x="344842" y="438311"/>
                    </a:lnTo>
                    <a:lnTo>
                      <a:pt x="385912" y="531780"/>
                    </a:lnTo>
                    <a:lnTo>
                      <a:pt x="320768" y="533196"/>
                    </a:lnTo>
                    <a:lnTo>
                      <a:pt x="184813" y="436895"/>
                    </a:lnTo>
                    <a:lnTo>
                      <a:pt x="275449" y="428398"/>
                    </a:lnTo>
                    <a:close/>
                    <a:moveTo>
                      <a:pt x="370334" y="567184"/>
                    </a:moveTo>
                    <a:lnTo>
                      <a:pt x="388745" y="536028"/>
                    </a:lnTo>
                    <a:lnTo>
                      <a:pt x="418484" y="601173"/>
                    </a:lnTo>
                    <a:lnTo>
                      <a:pt x="370334" y="567184"/>
                    </a:lnTo>
                    <a:close/>
                    <a:moveTo>
                      <a:pt x="390161" y="534612"/>
                    </a:moveTo>
                    <a:lnTo>
                      <a:pt x="390161" y="534612"/>
                    </a:lnTo>
                    <a:lnTo>
                      <a:pt x="503456" y="533196"/>
                    </a:lnTo>
                    <a:lnTo>
                      <a:pt x="499207" y="599756"/>
                    </a:lnTo>
                    <a:lnTo>
                      <a:pt x="496375" y="599756"/>
                    </a:lnTo>
                    <a:lnTo>
                      <a:pt x="496375" y="599756"/>
                    </a:lnTo>
                    <a:lnTo>
                      <a:pt x="499207" y="602589"/>
                    </a:lnTo>
                    <a:lnTo>
                      <a:pt x="499207" y="604005"/>
                    </a:lnTo>
                    <a:lnTo>
                      <a:pt x="499207" y="604005"/>
                    </a:lnTo>
                    <a:lnTo>
                      <a:pt x="541693" y="690393"/>
                    </a:lnTo>
                    <a:lnTo>
                      <a:pt x="421317" y="605422"/>
                    </a:lnTo>
                    <a:lnTo>
                      <a:pt x="390161" y="534612"/>
                    </a:lnTo>
                    <a:close/>
                    <a:moveTo>
                      <a:pt x="502040" y="598341"/>
                    </a:moveTo>
                    <a:lnTo>
                      <a:pt x="506288" y="531780"/>
                    </a:lnTo>
                    <a:lnTo>
                      <a:pt x="680480" y="528947"/>
                    </a:lnTo>
                    <a:lnTo>
                      <a:pt x="681897" y="530363"/>
                    </a:lnTo>
                    <a:lnTo>
                      <a:pt x="630913" y="608254"/>
                    </a:lnTo>
                    <a:lnTo>
                      <a:pt x="502040" y="598341"/>
                    </a:lnTo>
                    <a:close/>
                    <a:moveTo>
                      <a:pt x="700307" y="528947"/>
                    </a:moveTo>
                    <a:lnTo>
                      <a:pt x="735712" y="528947"/>
                    </a:lnTo>
                    <a:lnTo>
                      <a:pt x="789527" y="565768"/>
                    </a:lnTo>
                    <a:lnTo>
                      <a:pt x="795192" y="620999"/>
                    </a:lnTo>
                    <a:lnTo>
                      <a:pt x="792359" y="620999"/>
                    </a:lnTo>
                    <a:lnTo>
                      <a:pt x="698890" y="544525"/>
                    </a:lnTo>
                    <a:lnTo>
                      <a:pt x="700307" y="528947"/>
                    </a:lnTo>
                    <a:close/>
                    <a:moveTo>
                      <a:pt x="737127" y="526115"/>
                    </a:moveTo>
                    <a:lnTo>
                      <a:pt x="701723" y="502039"/>
                    </a:lnTo>
                    <a:lnTo>
                      <a:pt x="708804" y="492126"/>
                    </a:lnTo>
                    <a:lnTo>
                      <a:pt x="782446" y="503456"/>
                    </a:lnTo>
                    <a:lnTo>
                      <a:pt x="785278" y="526115"/>
                    </a:lnTo>
                    <a:lnTo>
                      <a:pt x="737127" y="526115"/>
                    </a:lnTo>
                    <a:close/>
                    <a:moveTo>
                      <a:pt x="235796" y="625248"/>
                    </a:moveTo>
                    <a:lnTo>
                      <a:pt x="235796" y="625248"/>
                    </a:lnTo>
                    <a:lnTo>
                      <a:pt x="235796" y="625248"/>
                    </a:lnTo>
                    <a:lnTo>
                      <a:pt x="235796" y="625248"/>
                    </a:lnTo>
                    <a:close/>
                    <a:moveTo>
                      <a:pt x="235796" y="626664"/>
                    </a:moveTo>
                    <a:lnTo>
                      <a:pt x="244293" y="656404"/>
                    </a:lnTo>
                    <a:lnTo>
                      <a:pt x="221634" y="642242"/>
                    </a:lnTo>
                    <a:lnTo>
                      <a:pt x="231547" y="628080"/>
                    </a:lnTo>
                    <a:lnTo>
                      <a:pt x="235796" y="626664"/>
                    </a:lnTo>
                    <a:close/>
                    <a:moveTo>
                      <a:pt x="326432" y="639410"/>
                    </a:moveTo>
                    <a:lnTo>
                      <a:pt x="368918" y="570017"/>
                    </a:lnTo>
                    <a:lnTo>
                      <a:pt x="419901" y="605422"/>
                    </a:lnTo>
                    <a:lnTo>
                      <a:pt x="431230" y="630913"/>
                    </a:lnTo>
                    <a:lnTo>
                      <a:pt x="411403" y="717301"/>
                    </a:lnTo>
                    <a:lnTo>
                      <a:pt x="326432" y="639410"/>
                    </a:lnTo>
                    <a:close/>
                    <a:moveTo>
                      <a:pt x="502040" y="601173"/>
                    </a:moveTo>
                    <a:lnTo>
                      <a:pt x="629497" y="611086"/>
                    </a:lnTo>
                    <a:lnTo>
                      <a:pt x="592676" y="669150"/>
                    </a:lnTo>
                    <a:lnTo>
                      <a:pt x="578514" y="669150"/>
                    </a:lnTo>
                    <a:lnTo>
                      <a:pt x="502040" y="601173"/>
                    </a:lnTo>
                    <a:close/>
                    <a:moveTo>
                      <a:pt x="681897" y="528947"/>
                    </a:moveTo>
                    <a:lnTo>
                      <a:pt x="681897" y="528947"/>
                    </a:lnTo>
                    <a:lnTo>
                      <a:pt x="681897" y="528947"/>
                    </a:lnTo>
                    <a:lnTo>
                      <a:pt x="681897" y="528947"/>
                    </a:lnTo>
                    <a:close/>
                    <a:moveTo>
                      <a:pt x="829180" y="592676"/>
                    </a:moveTo>
                    <a:lnTo>
                      <a:pt x="829180" y="592676"/>
                    </a:lnTo>
                    <a:lnTo>
                      <a:pt x="861752" y="575682"/>
                    </a:lnTo>
                    <a:lnTo>
                      <a:pt x="875914" y="625248"/>
                    </a:lnTo>
                    <a:lnTo>
                      <a:pt x="798024" y="619584"/>
                    </a:lnTo>
                    <a:lnTo>
                      <a:pt x="792359" y="565768"/>
                    </a:lnTo>
                    <a:lnTo>
                      <a:pt x="829180" y="592676"/>
                    </a:lnTo>
                    <a:close/>
                    <a:moveTo>
                      <a:pt x="829180" y="591260"/>
                    </a:moveTo>
                    <a:lnTo>
                      <a:pt x="790943" y="565768"/>
                    </a:lnTo>
                    <a:lnTo>
                      <a:pt x="786694" y="528947"/>
                    </a:lnTo>
                    <a:lnTo>
                      <a:pt x="846174" y="527531"/>
                    </a:lnTo>
                    <a:lnTo>
                      <a:pt x="860336" y="574265"/>
                    </a:lnTo>
                    <a:lnTo>
                      <a:pt x="829180" y="591260"/>
                    </a:lnTo>
                    <a:close/>
                    <a:moveTo>
                      <a:pt x="686145" y="269784"/>
                    </a:moveTo>
                    <a:lnTo>
                      <a:pt x="890076" y="227298"/>
                    </a:lnTo>
                    <a:lnTo>
                      <a:pt x="694642" y="281114"/>
                    </a:lnTo>
                    <a:lnTo>
                      <a:pt x="686145" y="269784"/>
                    </a:lnTo>
                    <a:close/>
                    <a:moveTo>
                      <a:pt x="571433" y="215969"/>
                    </a:moveTo>
                    <a:lnTo>
                      <a:pt x="581346" y="170651"/>
                    </a:lnTo>
                    <a:lnTo>
                      <a:pt x="598341" y="169235"/>
                    </a:lnTo>
                    <a:lnTo>
                      <a:pt x="594092" y="215969"/>
                    </a:lnTo>
                    <a:lnTo>
                      <a:pt x="571433" y="215969"/>
                    </a:lnTo>
                    <a:close/>
                    <a:moveTo>
                      <a:pt x="232964" y="490710"/>
                    </a:moveTo>
                    <a:lnTo>
                      <a:pt x="234380" y="534612"/>
                    </a:lnTo>
                    <a:lnTo>
                      <a:pt x="213137" y="534612"/>
                    </a:lnTo>
                    <a:lnTo>
                      <a:pt x="232964" y="490710"/>
                    </a:lnTo>
                    <a:lnTo>
                      <a:pt x="232964" y="490710"/>
                    </a:lnTo>
                    <a:close/>
                    <a:moveTo>
                      <a:pt x="405739" y="751289"/>
                    </a:moveTo>
                    <a:lnTo>
                      <a:pt x="412820" y="721549"/>
                    </a:lnTo>
                    <a:lnTo>
                      <a:pt x="438311" y="745624"/>
                    </a:lnTo>
                    <a:lnTo>
                      <a:pt x="405739" y="751289"/>
                    </a:lnTo>
                    <a:close/>
                    <a:moveTo>
                      <a:pt x="789527" y="619584"/>
                    </a:moveTo>
                    <a:lnTo>
                      <a:pt x="694642" y="612503"/>
                    </a:lnTo>
                    <a:lnTo>
                      <a:pt x="698890" y="545941"/>
                    </a:lnTo>
                    <a:lnTo>
                      <a:pt x="789527" y="619584"/>
                    </a:lnTo>
                    <a:close/>
                    <a:moveTo>
                      <a:pt x="796608" y="622416"/>
                    </a:moveTo>
                    <a:lnTo>
                      <a:pt x="796608" y="622416"/>
                    </a:lnTo>
                    <a:lnTo>
                      <a:pt x="796608" y="622416"/>
                    </a:lnTo>
                    <a:lnTo>
                      <a:pt x="796608" y="622416"/>
                    </a:lnTo>
                    <a:close/>
                    <a:moveTo>
                      <a:pt x="901406" y="708803"/>
                    </a:moveTo>
                    <a:lnTo>
                      <a:pt x="878747" y="628080"/>
                    </a:lnTo>
                    <a:lnTo>
                      <a:pt x="963718" y="633745"/>
                    </a:lnTo>
                    <a:lnTo>
                      <a:pt x="963718" y="633745"/>
                    </a:lnTo>
                    <a:lnTo>
                      <a:pt x="963718" y="632329"/>
                    </a:lnTo>
                    <a:lnTo>
                      <a:pt x="963718" y="635161"/>
                    </a:lnTo>
                    <a:lnTo>
                      <a:pt x="963718" y="635161"/>
                    </a:lnTo>
                    <a:lnTo>
                      <a:pt x="1013285" y="800856"/>
                    </a:lnTo>
                    <a:lnTo>
                      <a:pt x="901406" y="708803"/>
                    </a:lnTo>
                    <a:close/>
                    <a:moveTo>
                      <a:pt x="1016117" y="803688"/>
                    </a:moveTo>
                    <a:lnTo>
                      <a:pt x="965135" y="635161"/>
                    </a:lnTo>
                    <a:lnTo>
                      <a:pt x="966551" y="629497"/>
                    </a:lnTo>
                    <a:lnTo>
                      <a:pt x="1035944" y="540277"/>
                    </a:lnTo>
                    <a:lnTo>
                      <a:pt x="1108170" y="550190"/>
                    </a:lnTo>
                    <a:lnTo>
                      <a:pt x="1075598" y="853255"/>
                    </a:lnTo>
                    <a:lnTo>
                      <a:pt x="1016117" y="803688"/>
                    </a:lnTo>
                    <a:close/>
                    <a:moveTo>
                      <a:pt x="1035944" y="537444"/>
                    </a:moveTo>
                    <a:lnTo>
                      <a:pt x="1027447" y="536028"/>
                    </a:lnTo>
                    <a:lnTo>
                      <a:pt x="1041609" y="530363"/>
                    </a:lnTo>
                    <a:lnTo>
                      <a:pt x="1035944" y="537444"/>
                    </a:lnTo>
                    <a:close/>
                    <a:moveTo>
                      <a:pt x="1034528" y="540277"/>
                    </a:moveTo>
                    <a:lnTo>
                      <a:pt x="969383" y="625248"/>
                    </a:lnTo>
                    <a:lnTo>
                      <a:pt x="987794" y="555855"/>
                    </a:lnTo>
                    <a:lnTo>
                      <a:pt x="1024614" y="538860"/>
                    </a:lnTo>
                    <a:lnTo>
                      <a:pt x="1034528" y="540277"/>
                    </a:lnTo>
                    <a:close/>
                    <a:moveTo>
                      <a:pt x="875914" y="628080"/>
                    </a:moveTo>
                    <a:lnTo>
                      <a:pt x="898574" y="707387"/>
                    </a:lnTo>
                    <a:lnTo>
                      <a:pt x="798024" y="625248"/>
                    </a:lnTo>
                    <a:lnTo>
                      <a:pt x="798024" y="622416"/>
                    </a:lnTo>
                    <a:lnTo>
                      <a:pt x="875914" y="628080"/>
                    </a:lnTo>
                    <a:close/>
                    <a:moveTo>
                      <a:pt x="1014701" y="805104"/>
                    </a:moveTo>
                    <a:lnTo>
                      <a:pt x="1016117" y="807937"/>
                    </a:lnTo>
                    <a:lnTo>
                      <a:pt x="949556" y="878746"/>
                    </a:lnTo>
                    <a:lnTo>
                      <a:pt x="902822" y="713052"/>
                    </a:lnTo>
                    <a:lnTo>
                      <a:pt x="1014701" y="805104"/>
                    </a:lnTo>
                    <a:close/>
                    <a:moveTo>
                      <a:pt x="684728" y="268368"/>
                    </a:moveTo>
                    <a:lnTo>
                      <a:pt x="667735" y="244293"/>
                    </a:lnTo>
                    <a:lnTo>
                      <a:pt x="667735" y="244293"/>
                    </a:lnTo>
                    <a:lnTo>
                      <a:pt x="643659" y="276865"/>
                    </a:lnTo>
                    <a:lnTo>
                      <a:pt x="591260" y="288194"/>
                    </a:lnTo>
                    <a:lnTo>
                      <a:pt x="596925" y="217385"/>
                    </a:lnTo>
                    <a:lnTo>
                      <a:pt x="952389" y="210304"/>
                    </a:lnTo>
                    <a:lnTo>
                      <a:pt x="919817" y="218801"/>
                    </a:lnTo>
                    <a:lnTo>
                      <a:pt x="684728" y="268368"/>
                    </a:lnTo>
                    <a:close/>
                    <a:moveTo>
                      <a:pt x="140911" y="407155"/>
                    </a:moveTo>
                    <a:lnTo>
                      <a:pt x="140911" y="407155"/>
                    </a:lnTo>
                    <a:lnTo>
                      <a:pt x="140911" y="407155"/>
                    </a:lnTo>
                    <a:lnTo>
                      <a:pt x="140911" y="407155"/>
                    </a:lnTo>
                    <a:close/>
                    <a:moveTo>
                      <a:pt x="234380" y="536028"/>
                    </a:moveTo>
                    <a:lnTo>
                      <a:pt x="235796" y="620999"/>
                    </a:lnTo>
                    <a:lnTo>
                      <a:pt x="235796" y="620999"/>
                    </a:lnTo>
                    <a:lnTo>
                      <a:pt x="231547" y="626664"/>
                    </a:lnTo>
                    <a:lnTo>
                      <a:pt x="211721" y="636578"/>
                    </a:lnTo>
                    <a:lnTo>
                      <a:pt x="179149" y="616751"/>
                    </a:lnTo>
                    <a:lnTo>
                      <a:pt x="213137" y="536028"/>
                    </a:lnTo>
                    <a:lnTo>
                      <a:pt x="234380" y="536028"/>
                    </a:lnTo>
                    <a:close/>
                    <a:moveTo>
                      <a:pt x="591260" y="670566"/>
                    </a:moveTo>
                    <a:lnTo>
                      <a:pt x="587012" y="677647"/>
                    </a:lnTo>
                    <a:lnTo>
                      <a:pt x="579931" y="671982"/>
                    </a:lnTo>
                    <a:lnTo>
                      <a:pt x="591260" y="670566"/>
                    </a:lnTo>
                    <a:close/>
                    <a:moveTo>
                      <a:pt x="1109586" y="548774"/>
                    </a:moveTo>
                    <a:lnTo>
                      <a:pt x="1038776" y="538860"/>
                    </a:lnTo>
                    <a:lnTo>
                      <a:pt x="1045857" y="528947"/>
                    </a:lnTo>
                    <a:lnTo>
                      <a:pt x="1050106" y="527531"/>
                    </a:lnTo>
                    <a:lnTo>
                      <a:pt x="1109586" y="547358"/>
                    </a:lnTo>
                    <a:lnTo>
                      <a:pt x="1109586" y="548774"/>
                    </a:lnTo>
                    <a:close/>
                    <a:moveTo>
                      <a:pt x="984961" y="553022"/>
                    </a:moveTo>
                    <a:lnTo>
                      <a:pt x="984961" y="553022"/>
                    </a:lnTo>
                    <a:lnTo>
                      <a:pt x="965135" y="628080"/>
                    </a:lnTo>
                    <a:lnTo>
                      <a:pt x="962302" y="632329"/>
                    </a:lnTo>
                    <a:lnTo>
                      <a:pt x="877331" y="626664"/>
                    </a:lnTo>
                    <a:lnTo>
                      <a:pt x="863169" y="575682"/>
                    </a:lnTo>
                    <a:lnTo>
                      <a:pt x="955221" y="528947"/>
                    </a:lnTo>
                    <a:lnTo>
                      <a:pt x="1020366" y="538860"/>
                    </a:lnTo>
                    <a:lnTo>
                      <a:pt x="984961" y="553022"/>
                    </a:lnTo>
                    <a:close/>
                    <a:moveTo>
                      <a:pt x="786694" y="526115"/>
                    </a:moveTo>
                    <a:lnTo>
                      <a:pt x="783862" y="503456"/>
                    </a:lnTo>
                    <a:lnTo>
                      <a:pt x="841926" y="511953"/>
                    </a:lnTo>
                    <a:lnTo>
                      <a:pt x="846174" y="524699"/>
                    </a:lnTo>
                    <a:lnTo>
                      <a:pt x="786694" y="526115"/>
                    </a:lnTo>
                    <a:close/>
                    <a:moveTo>
                      <a:pt x="599757" y="166402"/>
                    </a:moveTo>
                    <a:lnTo>
                      <a:pt x="582763" y="167818"/>
                    </a:lnTo>
                    <a:lnTo>
                      <a:pt x="585595" y="152241"/>
                    </a:lnTo>
                    <a:lnTo>
                      <a:pt x="599757" y="155073"/>
                    </a:lnTo>
                    <a:lnTo>
                      <a:pt x="599757" y="166402"/>
                    </a:lnTo>
                    <a:close/>
                    <a:moveTo>
                      <a:pt x="315103" y="344842"/>
                    </a:moveTo>
                    <a:lnTo>
                      <a:pt x="313687" y="346258"/>
                    </a:lnTo>
                    <a:lnTo>
                      <a:pt x="313687" y="346258"/>
                    </a:lnTo>
                    <a:lnTo>
                      <a:pt x="317935" y="344842"/>
                    </a:lnTo>
                    <a:lnTo>
                      <a:pt x="351923" y="374582"/>
                    </a:lnTo>
                    <a:lnTo>
                      <a:pt x="208888" y="414236"/>
                    </a:lnTo>
                    <a:lnTo>
                      <a:pt x="153656" y="405739"/>
                    </a:lnTo>
                    <a:lnTo>
                      <a:pt x="159322" y="392993"/>
                    </a:lnTo>
                    <a:lnTo>
                      <a:pt x="142327" y="401490"/>
                    </a:lnTo>
                    <a:lnTo>
                      <a:pt x="97009" y="368918"/>
                    </a:lnTo>
                    <a:lnTo>
                      <a:pt x="101258" y="367501"/>
                    </a:lnTo>
                    <a:lnTo>
                      <a:pt x="315103" y="344842"/>
                    </a:lnTo>
                    <a:lnTo>
                      <a:pt x="315103" y="344842"/>
                    </a:lnTo>
                    <a:close/>
                    <a:moveTo>
                      <a:pt x="172068" y="428398"/>
                    </a:moveTo>
                    <a:lnTo>
                      <a:pt x="179149" y="434062"/>
                    </a:lnTo>
                    <a:lnTo>
                      <a:pt x="140911" y="436895"/>
                    </a:lnTo>
                    <a:lnTo>
                      <a:pt x="172068" y="428398"/>
                    </a:lnTo>
                    <a:close/>
                    <a:moveTo>
                      <a:pt x="94177" y="536028"/>
                    </a:moveTo>
                    <a:lnTo>
                      <a:pt x="98425" y="527531"/>
                    </a:lnTo>
                    <a:lnTo>
                      <a:pt x="223050" y="493542"/>
                    </a:lnTo>
                    <a:lnTo>
                      <a:pt x="170651" y="534612"/>
                    </a:lnTo>
                    <a:lnTo>
                      <a:pt x="94177" y="536028"/>
                    </a:lnTo>
                    <a:close/>
                    <a:moveTo>
                      <a:pt x="218802" y="643658"/>
                    </a:moveTo>
                    <a:lnTo>
                      <a:pt x="105506" y="798023"/>
                    </a:lnTo>
                    <a:lnTo>
                      <a:pt x="104090" y="792359"/>
                    </a:lnTo>
                    <a:lnTo>
                      <a:pt x="159322" y="662069"/>
                    </a:lnTo>
                    <a:lnTo>
                      <a:pt x="210304" y="637994"/>
                    </a:lnTo>
                    <a:lnTo>
                      <a:pt x="218802" y="643658"/>
                    </a:lnTo>
                    <a:close/>
                    <a:moveTo>
                      <a:pt x="402907" y="754122"/>
                    </a:moveTo>
                    <a:lnTo>
                      <a:pt x="402907" y="754122"/>
                    </a:lnTo>
                    <a:lnTo>
                      <a:pt x="402907" y="754122"/>
                    </a:lnTo>
                    <a:lnTo>
                      <a:pt x="402907" y="754122"/>
                    </a:lnTo>
                    <a:lnTo>
                      <a:pt x="357588" y="788110"/>
                    </a:lnTo>
                    <a:lnTo>
                      <a:pt x="279698" y="765451"/>
                    </a:lnTo>
                    <a:lnTo>
                      <a:pt x="248541" y="660653"/>
                    </a:lnTo>
                    <a:lnTo>
                      <a:pt x="402907" y="754122"/>
                    </a:lnTo>
                    <a:close/>
                    <a:moveTo>
                      <a:pt x="547358" y="694641"/>
                    </a:moveTo>
                    <a:lnTo>
                      <a:pt x="560104" y="703139"/>
                    </a:lnTo>
                    <a:lnTo>
                      <a:pt x="560104" y="718717"/>
                    </a:lnTo>
                    <a:lnTo>
                      <a:pt x="560104" y="718717"/>
                    </a:lnTo>
                    <a:lnTo>
                      <a:pt x="547358" y="694641"/>
                    </a:lnTo>
                    <a:close/>
                    <a:moveTo>
                      <a:pt x="632330" y="611086"/>
                    </a:moveTo>
                    <a:lnTo>
                      <a:pt x="693226" y="615335"/>
                    </a:lnTo>
                    <a:lnTo>
                      <a:pt x="690393" y="664901"/>
                    </a:lnTo>
                    <a:lnTo>
                      <a:pt x="595508" y="667734"/>
                    </a:lnTo>
                    <a:lnTo>
                      <a:pt x="632330" y="611086"/>
                    </a:lnTo>
                    <a:close/>
                    <a:moveTo>
                      <a:pt x="1111002" y="548774"/>
                    </a:moveTo>
                    <a:lnTo>
                      <a:pt x="1111002" y="545941"/>
                    </a:lnTo>
                    <a:lnTo>
                      <a:pt x="1123748" y="550190"/>
                    </a:lnTo>
                    <a:lnTo>
                      <a:pt x="1111002" y="548774"/>
                    </a:lnTo>
                    <a:close/>
                    <a:moveTo>
                      <a:pt x="1050106" y="524699"/>
                    </a:moveTo>
                    <a:lnTo>
                      <a:pt x="1050106" y="524699"/>
                    </a:lnTo>
                    <a:lnTo>
                      <a:pt x="1048690" y="526115"/>
                    </a:lnTo>
                    <a:lnTo>
                      <a:pt x="1051522" y="523282"/>
                    </a:lnTo>
                    <a:lnTo>
                      <a:pt x="1051522" y="523282"/>
                    </a:lnTo>
                    <a:lnTo>
                      <a:pt x="965135" y="524699"/>
                    </a:lnTo>
                    <a:lnTo>
                      <a:pt x="1120916" y="443975"/>
                    </a:lnTo>
                    <a:lnTo>
                      <a:pt x="1109586" y="545941"/>
                    </a:lnTo>
                    <a:lnTo>
                      <a:pt x="1050106" y="524699"/>
                    </a:lnTo>
                    <a:close/>
                    <a:moveTo>
                      <a:pt x="1044441" y="527531"/>
                    </a:moveTo>
                    <a:lnTo>
                      <a:pt x="1024614" y="536028"/>
                    </a:lnTo>
                    <a:lnTo>
                      <a:pt x="958054" y="526115"/>
                    </a:lnTo>
                    <a:lnTo>
                      <a:pt x="959470" y="524699"/>
                    </a:lnTo>
                    <a:lnTo>
                      <a:pt x="1045857" y="523282"/>
                    </a:lnTo>
                    <a:lnTo>
                      <a:pt x="1044441" y="527531"/>
                    </a:lnTo>
                    <a:close/>
                    <a:moveTo>
                      <a:pt x="863169" y="572849"/>
                    </a:moveTo>
                    <a:lnTo>
                      <a:pt x="850423" y="526115"/>
                    </a:lnTo>
                    <a:lnTo>
                      <a:pt x="939643" y="524699"/>
                    </a:lnTo>
                    <a:lnTo>
                      <a:pt x="952389" y="526115"/>
                    </a:lnTo>
                    <a:lnTo>
                      <a:pt x="863169" y="572849"/>
                    </a:lnTo>
                    <a:close/>
                    <a:moveTo>
                      <a:pt x="849007" y="524699"/>
                    </a:moveTo>
                    <a:lnTo>
                      <a:pt x="844759" y="511953"/>
                    </a:lnTo>
                    <a:lnTo>
                      <a:pt x="925481" y="523282"/>
                    </a:lnTo>
                    <a:lnTo>
                      <a:pt x="849007" y="524699"/>
                    </a:lnTo>
                    <a:close/>
                    <a:moveTo>
                      <a:pt x="958054" y="370334"/>
                    </a:moveTo>
                    <a:lnTo>
                      <a:pt x="958054" y="370334"/>
                    </a:lnTo>
                    <a:lnTo>
                      <a:pt x="857504" y="269784"/>
                    </a:lnTo>
                    <a:lnTo>
                      <a:pt x="778197" y="385912"/>
                    </a:lnTo>
                    <a:lnTo>
                      <a:pt x="766868" y="387328"/>
                    </a:lnTo>
                    <a:lnTo>
                      <a:pt x="694642" y="283946"/>
                    </a:lnTo>
                    <a:lnTo>
                      <a:pt x="919817" y="221634"/>
                    </a:lnTo>
                    <a:lnTo>
                      <a:pt x="960886" y="213137"/>
                    </a:lnTo>
                    <a:lnTo>
                      <a:pt x="1081262" y="361837"/>
                    </a:lnTo>
                    <a:lnTo>
                      <a:pt x="955221" y="371750"/>
                    </a:lnTo>
                    <a:lnTo>
                      <a:pt x="958054" y="370334"/>
                    </a:lnTo>
                    <a:close/>
                    <a:moveTo>
                      <a:pt x="596925" y="214553"/>
                    </a:moveTo>
                    <a:lnTo>
                      <a:pt x="601173" y="167818"/>
                    </a:lnTo>
                    <a:lnTo>
                      <a:pt x="664902" y="163570"/>
                    </a:lnTo>
                    <a:lnTo>
                      <a:pt x="946724" y="207472"/>
                    </a:lnTo>
                    <a:lnTo>
                      <a:pt x="596925" y="214553"/>
                    </a:lnTo>
                    <a:close/>
                    <a:moveTo>
                      <a:pt x="517618" y="139494"/>
                    </a:moveTo>
                    <a:lnTo>
                      <a:pt x="608254" y="44610"/>
                    </a:lnTo>
                    <a:lnTo>
                      <a:pt x="584179" y="149408"/>
                    </a:lnTo>
                    <a:lnTo>
                      <a:pt x="517618" y="139494"/>
                    </a:lnTo>
                    <a:close/>
                    <a:moveTo>
                      <a:pt x="460970" y="196142"/>
                    </a:moveTo>
                    <a:lnTo>
                      <a:pt x="407155" y="125333"/>
                    </a:lnTo>
                    <a:lnTo>
                      <a:pt x="513369" y="142327"/>
                    </a:lnTo>
                    <a:lnTo>
                      <a:pt x="460970" y="196142"/>
                    </a:lnTo>
                    <a:close/>
                    <a:moveTo>
                      <a:pt x="401490" y="123917"/>
                    </a:moveTo>
                    <a:lnTo>
                      <a:pt x="402907" y="122500"/>
                    </a:lnTo>
                    <a:lnTo>
                      <a:pt x="402907" y="122500"/>
                    </a:lnTo>
                    <a:lnTo>
                      <a:pt x="401490" y="123917"/>
                    </a:lnTo>
                    <a:close/>
                    <a:moveTo>
                      <a:pt x="320768" y="223050"/>
                    </a:moveTo>
                    <a:lnTo>
                      <a:pt x="320768" y="223050"/>
                    </a:lnTo>
                    <a:lnTo>
                      <a:pt x="443976" y="221634"/>
                    </a:lnTo>
                    <a:lnTo>
                      <a:pt x="316518" y="344842"/>
                    </a:lnTo>
                    <a:lnTo>
                      <a:pt x="315103" y="343426"/>
                    </a:lnTo>
                    <a:lnTo>
                      <a:pt x="315103" y="343426"/>
                    </a:lnTo>
                    <a:lnTo>
                      <a:pt x="105506" y="368918"/>
                    </a:lnTo>
                    <a:lnTo>
                      <a:pt x="238628" y="299524"/>
                    </a:lnTo>
                    <a:lnTo>
                      <a:pt x="238628" y="299524"/>
                    </a:lnTo>
                    <a:lnTo>
                      <a:pt x="289611" y="204639"/>
                    </a:lnTo>
                    <a:lnTo>
                      <a:pt x="391577" y="135246"/>
                    </a:lnTo>
                    <a:lnTo>
                      <a:pt x="320768" y="223050"/>
                    </a:lnTo>
                    <a:close/>
                    <a:moveTo>
                      <a:pt x="139495" y="405739"/>
                    </a:moveTo>
                    <a:lnTo>
                      <a:pt x="139495" y="405739"/>
                    </a:lnTo>
                    <a:lnTo>
                      <a:pt x="48859" y="392993"/>
                    </a:lnTo>
                    <a:lnTo>
                      <a:pt x="92760" y="373166"/>
                    </a:lnTo>
                    <a:lnTo>
                      <a:pt x="92760" y="373166"/>
                    </a:lnTo>
                    <a:lnTo>
                      <a:pt x="139495" y="405739"/>
                    </a:lnTo>
                    <a:close/>
                    <a:moveTo>
                      <a:pt x="135246" y="408571"/>
                    </a:moveTo>
                    <a:lnTo>
                      <a:pt x="74350" y="439727"/>
                    </a:lnTo>
                    <a:lnTo>
                      <a:pt x="43194" y="395825"/>
                    </a:lnTo>
                    <a:lnTo>
                      <a:pt x="46026" y="394409"/>
                    </a:lnTo>
                    <a:lnTo>
                      <a:pt x="135246" y="408571"/>
                    </a:lnTo>
                    <a:close/>
                    <a:moveTo>
                      <a:pt x="75766" y="445392"/>
                    </a:moveTo>
                    <a:lnTo>
                      <a:pt x="75766" y="445392"/>
                    </a:lnTo>
                    <a:lnTo>
                      <a:pt x="119668" y="442560"/>
                    </a:lnTo>
                    <a:lnTo>
                      <a:pt x="24783" y="468051"/>
                    </a:lnTo>
                    <a:lnTo>
                      <a:pt x="74350" y="442560"/>
                    </a:lnTo>
                    <a:lnTo>
                      <a:pt x="75766" y="445392"/>
                    </a:lnTo>
                    <a:close/>
                    <a:moveTo>
                      <a:pt x="181980" y="436895"/>
                    </a:moveTo>
                    <a:lnTo>
                      <a:pt x="317935" y="533196"/>
                    </a:lnTo>
                    <a:lnTo>
                      <a:pt x="235796" y="534612"/>
                    </a:lnTo>
                    <a:lnTo>
                      <a:pt x="234380" y="489294"/>
                    </a:lnTo>
                    <a:lnTo>
                      <a:pt x="234380" y="489294"/>
                    </a:lnTo>
                    <a:lnTo>
                      <a:pt x="231547" y="489294"/>
                    </a:lnTo>
                    <a:lnTo>
                      <a:pt x="232964" y="485045"/>
                    </a:lnTo>
                    <a:lnTo>
                      <a:pt x="232964" y="483629"/>
                    </a:lnTo>
                    <a:lnTo>
                      <a:pt x="224466" y="490710"/>
                    </a:lnTo>
                    <a:lnTo>
                      <a:pt x="97009" y="526115"/>
                    </a:lnTo>
                    <a:lnTo>
                      <a:pt x="136663" y="441143"/>
                    </a:lnTo>
                    <a:lnTo>
                      <a:pt x="181980" y="436895"/>
                    </a:lnTo>
                    <a:close/>
                    <a:moveTo>
                      <a:pt x="208888" y="636578"/>
                    </a:moveTo>
                    <a:lnTo>
                      <a:pt x="160737" y="659237"/>
                    </a:lnTo>
                    <a:lnTo>
                      <a:pt x="177732" y="618167"/>
                    </a:lnTo>
                    <a:lnTo>
                      <a:pt x="208888" y="636578"/>
                    </a:lnTo>
                    <a:close/>
                    <a:moveTo>
                      <a:pt x="102674" y="788110"/>
                    </a:moveTo>
                    <a:lnTo>
                      <a:pt x="77183" y="698890"/>
                    </a:lnTo>
                    <a:lnTo>
                      <a:pt x="156489" y="662069"/>
                    </a:lnTo>
                    <a:lnTo>
                      <a:pt x="102674" y="788110"/>
                    </a:lnTo>
                    <a:close/>
                    <a:moveTo>
                      <a:pt x="104090" y="799439"/>
                    </a:moveTo>
                    <a:lnTo>
                      <a:pt x="95593" y="812185"/>
                    </a:lnTo>
                    <a:lnTo>
                      <a:pt x="102674" y="795191"/>
                    </a:lnTo>
                    <a:lnTo>
                      <a:pt x="104090" y="799439"/>
                    </a:lnTo>
                    <a:close/>
                    <a:moveTo>
                      <a:pt x="357588" y="790942"/>
                    </a:moveTo>
                    <a:lnTo>
                      <a:pt x="357588" y="790942"/>
                    </a:lnTo>
                    <a:lnTo>
                      <a:pt x="405739" y="756954"/>
                    </a:lnTo>
                    <a:lnTo>
                      <a:pt x="405739" y="756954"/>
                    </a:lnTo>
                    <a:lnTo>
                      <a:pt x="405739" y="754122"/>
                    </a:lnTo>
                    <a:lnTo>
                      <a:pt x="441144" y="747041"/>
                    </a:lnTo>
                    <a:lnTo>
                      <a:pt x="469468" y="772532"/>
                    </a:lnTo>
                    <a:lnTo>
                      <a:pt x="303773" y="844758"/>
                    </a:lnTo>
                    <a:lnTo>
                      <a:pt x="281114" y="769699"/>
                    </a:lnTo>
                    <a:lnTo>
                      <a:pt x="357588" y="790942"/>
                    </a:lnTo>
                    <a:close/>
                    <a:moveTo>
                      <a:pt x="434063" y="630913"/>
                    </a:moveTo>
                    <a:lnTo>
                      <a:pt x="434063" y="630913"/>
                    </a:lnTo>
                    <a:lnTo>
                      <a:pt x="424150" y="608254"/>
                    </a:lnTo>
                    <a:lnTo>
                      <a:pt x="544526" y="693225"/>
                    </a:lnTo>
                    <a:lnTo>
                      <a:pt x="558688" y="721549"/>
                    </a:lnTo>
                    <a:lnTo>
                      <a:pt x="442560" y="744208"/>
                    </a:lnTo>
                    <a:lnTo>
                      <a:pt x="414236" y="718717"/>
                    </a:lnTo>
                    <a:lnTo>
                      <a:pt x="434063" y="630913"/>
                    </a:lnTo>
                    <a:close/>
                    <a:moveTo>
                      <a:pt x="561520" y="704555"/>
                    </a:moveTo>
                    <a:lnTo>
                      <a:pt x="565769" y="707387"/>
                    </a:lnTo>
                    <a:lnTo>
                      <a:pt x="561520" y="714468"/>
                    </a:lnTo>
                    <a:lnTo>
                      <a:pt x="561520" y="704555"/>
                    </a:lnTo>
                    <a:close/>
                    <a:moveTo>
                      <a:pt x="561520" y="670566"/>
                    </a:moveTo>
                    <a:lnTo>
                      <a:pt x="577098" y="670566"/>
                    </a:lnTo>
                    <a:lnTo>
                      <a:pt x="585595" y="677647"/>
                    </a:lnTo>
                    <a:lnTo>
                      <a:pt x="567185" y="705971"/>
                    </a:lnTo>
                    <a:lnTo>
                      <a:pt x="561520" y="701722"/>
                    </a:lnTo>
                    <a:lnTo>
                      <a:pt x="561520" y="670566"/>
                    </a:lnTo>
                    <a:close/>
                    <a:moveTo>
                      <a:pt x="588427" y="677647"/>
                    </a:moveTo>
                    <a:lnTo>
                      <a:pt x="594092" y="669150"/>
                    </a:lnTo>
                    <a:lnTo>
                      <a:pt x="690393" y="666318"/>
                    </a:lnTo>
                    <a:lnTo>
                      <a:pt x="683312" y="762618"/>
                    </a:lnTo>
                    <a:lnTo>
                      <a:pt x="588427" y="677647"/>
                    </a:lnTo>
                    <a:close/>
                    <a:moveTo>
                      <a:pt x="694642" y="615335"/>
                    </a:moveTo>
                    <a:lnTo>
                      <a:pt x="792359" y="622416"/>
                    </a:lnTo>
                    <a:lnTo>
                      <a:pt x="796608" y="626664"/>
                    </a:lnTo>
                    <a:lnTo>
                      <a:pt x="800856" y="662069"/>
                    </a:lnTo>
                    <a:lnTo>
                      <a:pt x="691809" y="666318"/>
                    </a:lnTo>
                    <a:lnTo>
                      <a:pt x="694642" y="615335"/>
                    </a:lnTo>
                    <a:close/>
                    <a:moveTo>
                      <a:pt x="832012" y="662069"/>
                    </a:moveTo>
                    <a:lnTo>
                      <a:pt x="904238" y="761203"/>
                    </a:lnTo>
                    <a:lnTo>
                      <a:pt x="833428" y="875914"/>
                    </a:lnTo>
                    <a:lnTo>
                      <a:pt x="827764" y="874498"/>
                    </a:lnTo>
                    <a:lnTo>
                      <a:pt x="803689" y="663485"/>
                    </a:lnTo>
                    <a:lnTo>
                      <a:pt x="832012" y="662069"/>
                    </a:lnTo>
                    <a:close/>
                    <a:moveTo>
                      <a:pt x="870250" y="887243"/>
                    </a:moveTo>
                    <a:lnTo>
                      <a:pt x="827764" y="890076"/>
                    </a:lnTo>
                    <a:lnTo>
                      <a:pt x="836261" y="877330"/>
                    </a:lnTo>
                    <a:lnTo>
                      <a:pt x="870250" y="887243"/>
                    </a:lnTo>
                    <a:close/>
                    <a:moveTo>
                      <a:pt x="948140" y="882995"/>
                    </a:moveTo>
                    <a:lnTo>
                      <a:pt x="948140" y="882995"/>
                    </a:lnTo>
                    <a:lnTo>
                      <a:pt x="948140" y="882995"/>
                    </a:lnTo>
                    <a:lnTo>
                      <a:pt x="956637" y="908486"/>
                    </a:lnTo>
                    <a:lnTo>
                      <a:pt x="881579" y="887243"/>
                    </a:lnTo>
                    <a:lnTo>
                      <a:pt x="948140" y="882995"/>
                    </a:lnTo>
                    <a:close/>
                    <a:moveTo>
                      <a:pt x="1122332" y="681896"/>
                    </a:moveTo>
                    <a:lnTo>
                      <a:pt x="1125164" y="684728"/>
                    </a:lnTo>
                    <a:lnTo>
                      <a:pt x="1123748" y="691809"/>
                    </a:lnTo>
                    <a:lnTo>
                      <a:pt x="1122332" y="681896"/>
                    </a:lnTo>
                    <a:close/>
                    <a:moveTo>
                      <a:pt x="1147823" y="558687"/>
                    </a:moveTo>
                    <a:lnTo>
                      <a:pt x="1147823" y="558687"/>
                    </a:lnTo>
                    <a:lnTo>
                      <a:pt x="1147823" y="558687"/>
                    </a:lnTo>
                    <a:lnTo>
                      <a:pt x="1190309" y="555855"/>
                    </a:lnTo>
                    <a:lnTo>
                      <a:pt x="1187476" y="747041"/>
                    </a:lnTo>
                    <a:lnTo>
                      <a:pt x="1126580" y="683312"/>
                    </a:lnTo>
                    <a:lnTo>
                      <a:pt x="1147823" y="558687"/>
                    </a:lnTo>
                    <a:close/>
                    <a:moveTo>
                      <a:pt x="112587" y="578514"/>
                    </a:moveTo>
                    <a:lnTo>
                      <a:pt x="51691" y="625248"/>
                    </a:lnTo>
                    <a:lnTo>
                      <a:pt x="81431" y="560103"/>
                    </a:lnTo>
                    <a:lnTo>
                      <a:pt x="112587" y="578514"/>
                    </a:lnTo>
                    <a:close/>
                    <a:moveTo>
                      <a:pt x="568601" y="707387"/>
                    </a:moveTo>
                    <a:lnTo>
                      <a:pt x="587012" y="679063"/>
                    </a:lnTo>
                    <a:lnTo>
                      <a:pt x="683312" y="764035"/>
                    </a:lnTo>
                    <a:lnTo>
                      <a:pt x="681897" y="786694"/>
                    </a:lnTo>
                    <a:lnTo>
                      <a:pt x="568601" y="707387"/>
                    </a:lnTo>
                    <a:close/>
                    <a:moveTo>
                      <a:pt x="950973" y="213137"/>
                    </a:moveTo>
                    <a:lnTo>
                      <a:pt x="960886" y="210304"/>
                    </a:lnTo>
                    <a:lnTo>
                      <a:pt x="962302" y="210304"/>
                    </a:lnTo>
                    <a:lnTo>
                      <a:pt x="950973" y="213137"/>
                    </a:lnTo>
                    <a:close/>
                    <a:moveTo>
                      <a:pt x="599757" y="152241"/>
                    </a:moveTo>
                    <a:lnTo>
                      <a:pt x="585595" y="149408"/>
                    </a:lnTo>
                    <a:lnTo>
                      <a:pt x="609670" y="43194"/>
                    </a:lnTo>
                    <a:lnTo>
                      <a:pt x="599757" y="152241"/>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53" name="Freeform: Shape 952">
                <a:extLst>
                  <a:ext uri="{FF2B5EF4-FFF2-40B4-BE49-F238E27FC236}">
                    <a16:creationId xmlns:a16="http://schemas.microsoft.com/office/drawing/2014/main" id="{0CB5FFD0-B61B-4790-99F1-42A15595475C}"/>
                  </a:ext>
                </a:extLst>
              </p:cNvPr>
              <p:cNvSpPr/>
              <p:nvPr/>
            </p:nvSpPr>
            <p:spPr>
              <a:xfrm>
                <a:off x="5476416" y="1812418"/>
                <a:ext cx="608962" cy="396533"/>
              </a:xfrm>
              <a:custGeom>
                <a:avLst/>
                <a:gdLst>
                  <a:gd name="connsiteX0" fmla="*/ 13454 w 608962"/>
                  <a:gd name="connsiteY0" fmla="*/ 340594 h 396533"/>
                  <a:gd name="connsiteX1" fmla="*/ 13454 w 608962"/>
                  <a:gd name="connsiteY1" fmla="*/ 340594 h 396533"/>
                  <a:gd name="connsiteX2" fmla="*/ 68685 w 608962"/>
                  <a:gd name="connsiteY2" fmla="*/ 340594 h 396533"/>
                  <a:gd name="connsiteX3" fmla="*/ 68685 w 608962"/>
                  <a:gd name="connsiteY3" fmla="*/ 340594 h 396533"/>
                  <a:gd name="connsiteX4" fmla="*/ 40362 w 608962"/>
                  <a:gd name="connsiteY4" fmla="*/ 296692 h 396533"/>
                  <a:gd name="connsiteX5" fmla="*/ 54523 w 608962"/>
                  <a:gd name="connsiteY5" fmla="*/ 271201 h 396533"/>
                  <a:gd name="connsiteX6" fmla="*/ 84264 w 608962"/>
                  <a:gd name="connsiteY6" fmla="*/ 282530 h 396533"/>
                  <a:gd name="connsiteX7" fmla="*/ 84264 w 608962"/>
                  <a:gd name="connsiteY7" fmla="*/ 282530 h 396533"/>
                  <a:gd name="connsiteX8" fmla="*/ 98425 w 608962"/>
                  <a:gd name="connsiteY8" fmla="*/ 198975 h 396533"/>
                  <a:gd name="connsiteX9" fmla="*/ 135246 w 608962"/>
                  <a:gd name="connsiteY9" fmla="*/ 194726 h 396533"/>
                  <a:gd name="connsiteX10" fmla="*/ 245709 w 608962"/>
                  <a:gd name="connsiteY10" fmla="*/ 187645 h 396533"/>
                  <a:gd name="connsiteX11" fmla="*/ 317935 w 608962"/>
                  <a:gd name="connsiteY11" fmla="*/ 312270 h 396533"/>
                  <a:gd name="connsiteX12" fmla="*/ 174900 w 608962"/>
                  <a:gd name="connsiteY12" fmla="*/ 313686 h 396533"/>
                  <a:gd name="connsiteX13" fmla="*/ 174900 w 608962"/>
                  <a:gd name="connsiteY13" fmla="*/ 313686 h 396533"/>
                  <a:gd name="connsiteX14" fmla="*/ 241460 w 608962"/>
                  <a:gd name="connsiteY14" fmla="*/ 388744 h 396533"/>
                  <a:gd name="connsiteX15" fmla="*/ 241460 w 608962"/>
                  <a:gd name="connsiteY15" fmla="*/ 388744 h 396533"/>
                  <a:gd name="connsiteX16" fmla="*/ 329265 w 608962"/>
                  <a:gd name="connsiteY16" fmla="*/ 322183 h 396533"/>
                  <a:gd name="connsiteX17" fmla="*/ 513369 w 608962"/>
                  <a:gd name="connsiteY17" fmla="*/ 298108 h 396533"/>
                  <a:gd name="connsiteX18" fmla="*/ 601173 w 608962"/>
                  <a:gd name="connsiteY18" fmla="*/ 241461 h 396533"/>
                  <a:gd name="connsiteX19" fmla="*/ 601173 w 608962"/>
                  <a:gd name="connsiteY19" fmla="*/ 241461 h 396533"/>
                  <a:gd name="connsiteX20" fmla="*/ 587012 w 608962"/>
                  <a:gd name="connsiteY20" fmla="*/ 106922 h 396533"/>
                  <a:gd name="connsiteX21" fmla="*/ 587012 w 608962"/>
                  <a:gd name="connsiteY21" fmla="*/ 106922 h 396533"/>
                  <a:gd name="connsiteX22" fmla="*/ 585595 w 608962"/>
                  <a:gd name="connsiteY22" fmla="*/ 106922 h 396533"/>
                  <a:gd name="connsiteX23" fmla="*/ 599757 w 608962"/>
                  <a:gd name="connsiteY23" fmla="*/ 240044 h 396533"/>
                  <a:gd name="connsiteX24" fmla="*/ 513369 w 608962"/>
                  <a:gd name="connsiteY24" fmla="*/ 295276 h 396533"/>
                  <a:gd name="connsiteX25" fmla="*/ 329265 w 608962"/>
                  <a:gd name="connsiteY25" fmla="*/ 319351 h 396533"/>
                  <a:gd name="connsiteX26" fmla="*/ 242877 w 608962"/>
                  <a:gd name="connsiteY26" fmla="*/ 385912 h 396533"/>
                  <a:gd name="connsiteX27" fmla="*/ 180564 w 608962"/>
                  <a:gd name="connsiteY27" fmla="*/ 316519 h 396533"/>
                  <a:gd name="connsiteX28" fmla="*/ 322184 w 608962"/>
                  <a:gd name="connsiteY28" fmla="*/ 315102 h 396533"/>
                  <a:gd name="connsiteX29" fmla="*/ 322184 w 608962"/>
                  <a:gd name="connsiteY29" fmla="*/ 315102 h 396533"/>
                  <a:gd name="connsiteX30" fmla="*/ 247126 w 608962"/>
                  <a:gd name="connsiteY30" fmla="*/ 186229 h 396533"/>
                  <a:gd name="connsiteX31" fmla="*/ 247126 w 608962"/>
                  <a:gd name="connsiteY31" fmla="*/ 186229 h 396533"/>
                  <a:gd name="connsiteX32" fmla="*/ 173483 w 608962"/>
                  <a:gd name="connsiteY32" fmla="*/ 190478 h 396533"/>
                  <a:gd name="connsiteX33" fmla="*/ 247126 w 608962"/>
                  <a:gd name="connsiteY33" fmla="*/ 181981 h 396533"/>
                  <a:gd name="connsiteX34" fmla="*/ 247126 w 608962"/>
                  <a:gd name="connsiteY34" fmla="*/ 181981 h 396533"/>
                  <a:gd name="connsiteX35" fmla="*/ 143743 w 608962"/>
                  <a:gd name="connsiteY35" fmla="*/ 97009 h 396533"/>
                  <a:gd name="connsiteX36" fmla="*/ 160738 w 608962"/>
                  <a:gd name="connsiteY36" fmla="*/ 54523 h 396533"/>
                  <a:gd name="connsiteX37" fmla="*/ 177732 w 608962"/>
                  <a:gd name="connsiteY37" fmla="*/ 13454 h 396533"/>
                  <a:gd name="connsiteX38" fmla="*/ 177732 w 608962"/>
                  <a:gd name="connsiteY38" fmla="*/ 12038 h 396533"/>
                  <a:gd name="connsiteX39" fmla="*/ 176316 w 608962"/>
                  <a:gd name="connsiteY39" fmla="*/ 10621 h 396533"/>
                  <a:gd name="connsiteX40" fmla="*/ 176316 w 608962"/>
                  <a:gd name="connsiteY40" fmla="*/ 12038 h 396533"/>
                  <a:gd name="connsiteX41" fmla="*/ 159322 w 608962"/>
                  <a:gd name="connsiteY41" fmla="*/ 53107 h 396533"/>
                  <a:gd name="connsiteX42" fmla="*/ 142327 w 608962"/>
                  <a:gd name="connsiteY42" fmla="*/ 95593 h 396533"/>
                  <a:gd name="connsiteX43" fmla="*/ 142327 w 608962"/>
                  <a:gd name="connsiteY43" fmla="*/ 97009 h 396533"/>
                  <a:gd name="connsiteX44" fmla="*/ 242877 w 608962"/>
                  <a:gd name="connsiteY44" fmla="*/ 179148 h 396533"/>
                  <a:gd name="connsiteX45" fmla="*/ 135246 w 608962"/>
                  <a:gd name="connsiteY45" fmla="*/ 191894 h 396533"/>
                  <a:gd name="connsiteX46" fmla="*/ 95593 w 608962"/>
                  <a:gd name="connsiteY46" fmla="*/ 194726 h 396533"/>
                  <a:gd name="connsiteX47" fmla="*/ 95593 w 608962"/>
                  <a:gd name="connsiteY47" fmla="*/ 194726 h 396533"/>
                  <a:gd name="connsiteX48" fmla="*/ 54523 w 608962"/>
                  <a:gd name="connsiteY48" fmla="*/ 268368 h 396533"/>
                  <a:gd name="connsiteX49" fmla="*/ 10621 w 608962"/>
                  <a:gd name="connsiteY49" fmla="*/ 252790 h 396533"/>
                  <a:gd name="connsiteX50" fmla="*/ 10621 w 608962"/>
                  <a:gd name="connsiteY50" fmla="*/ 252790 h 396533"/>
                  <a:gd name="connsiteX51" fmla="*/ 38945 w 608962"/>
                  <a:gd name="connsiteY51" fmla="*/ 298108 h 396533"/>
                  <a:gd name="connsiteX52" fmla="*/ 13454 w 608962"/>
                  <a:gd name="connsiteY52" fmla="*/ 340594 h 396533"/>
                  <a:gd name="connsiteX53" fmla="*/ 16286 w 608962"/>
                  <a:gd name="connsiteY53" fmla="*/ 339178 h 396533"/>
                  <a:gd name="connsiteX54" fmla="*/ 38945 w 608962"/>
                  <a:gd name="connsiteY54" fmla="*/ 298108 h 396533"/>
                  <a:gd name="connsiteX55" fmla="*/ 64437 w 608962"/>
                  <a:gd name="connsiteY55" fmla="*/ 337762 h 396533"/>
                  <a:gd name="connsiteX56" fmla="*/ 16286 w 608962"/>
                  <a:gd name="connsiteY56" fmla="*/ 339178 h 396533"/>
                  <a:gd name="connsiteX57" fmla="*/ 53107 w 608962"/>
                  <a:gd name="connsiteY57" fmla="*/ 269784 h 396533"/>
                  <a:gd name="connsiteX58" fmla="*/ 38945 w 608962"/>
                  <a:gd name="connsiteY58" fmla="*/ 293860 h 396533"/>
                  <a:gd name="connsiteX59" fmla="*/ 14870 w 608962"/>
                  <a:gd name="connsiteY59" fmla="*/ 255622 h 396533"/>
                  <a:gd name="connsiteX60" fmla="*/ 53107 w 608962"/>
                  <a:gd name="connsiteY60" fmla="*/ 269784 h 396533"/>
                  <a:gd name="connsiteX61" fmla="*/ 55940 w 608962"/>
                  <a:gd name="connsiteY61" fmla="*/ 268368 h 396533"/>
                  <a:gd name="connsiteX62" fmla="*/ 95593 w 608962"/>
                  <a:gd name="connsiteY62" fmla="*/ 196142 h 396533"/>
                  <a:gd name="connsiteX63" fmla="*/ 97009 w 608962"/>
                  <a:gd name="connsiteY63" fmla="*/ 196142 h 396533"/>
                  <a:gd name="connsiteX64" fmla="*/ 97009 w 608962"/>
                  <a:gd name="connsiteY64" fmla="*/ 196142 h 396533"/>
                  <a:gd name="connsiteX65" fmla="*/ 82847 w 608962"/>
                  <a:gd name="connsiteY65" fmla="*/ 278282 h 396533"/>
                  <a:gd name="connsiteX66" fmla="*/ 55940 w 608962"/>
                  <a:gd name="connsiteY66" fmla="*/ 268368 h 39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08962" h="396533">
                    <a:moveTo>
                      <a:pt x="13454" y="340594"/>
                    </a:moveTo>
                    <a:lnTo>
                      <a:pt x="13454" y="340594"/>
                    </a:lnTo>
                    <a:lnTo>
                      <a:pt x="68685" y="340594"/>
                    </a:lnTo>
                    <a:lnTo>
                      <a:pt x="68685" y="340594"/>
                    </a:lnTo>
                    <a:lnTo>
                      <a:pt x="40362" y="296692"/>
                    </a:lnTo>
                    <a:lnTo>
                      <a:pt x="54523" y="271201"/>
                    </a:lnTo>
                    <a:lnTo>
                      <a:pt x="84264" y="282530"/>
                    </a:lnTo>
                    <a:lnTo>
                      <a:pt x="84264" y="282530"/>
                    </a:lnTo>
                    <a:lnTo>
                      <a:pt x="98425" y="198975"/>
                    </a:lnTo>
                    <a:lnTo>
                      <a:pt x="135246" y="194726"/>
                    </a:lnTo>
                    <a:lnTo>
                      <a:pt x="245709" y="187645"/>
                    </a:lnTo>
                    <a:lnTo>
                      <a:pt x="317935" y="312270"/>
                    </a:lnTo>
                    <a:lnTo>
                      <a:pt x="174900" y="313686"/>
                    </a:lnTo>
                    <a:lnTo>
                      <a:pt x="174900" y="313686"/>
                    </a:lnTo>
                    <a:lnTo>
                      <a:pt x="241460" y="388744"/>
                    </a:lnTo>
                    <a:lnTo>
                      <a:pt x="241460" y="388744"/>
                    </a:lnTo>
                    <a:lnTo>
                      <a:pt x="329265" y="322183"/>
                    </a:lnTo>
                    <a:lnTo>
                      <a:pt x="513369" y="298108"/>
                    </a:lnTo>
                    <a:lnTo>
                      <a:pt x="601173" y="241461"/>
                    </a:lnTo>
                    <a:lnTo>
                      <a:pt x="601173" y="241461"/>
                    </a:lnTo>
                    <a:lnTo>
                      <a:pt x="587012" y="106922"/>
                    </a:lnTo>
                    <a:lnTo>
                      <a:pt x="587012" y="106922"/>
                    </a:lnTo>
                    <a:lnTo>
                      <a:pt x="585595" y="106922"/>
                    </a:lnTo>
                    <a:lnTo>
                      <a:pt x="599757" y="240044"/>
                    </a:lnTo>
                    <a:lnTo>
                      <a:pt x="513369" y="295276"/>
                    </a:lnTo>
                    <a:lnTo>
                      <a:pt x="329265" y="319351"/>
                    </a:lnTo>
                    <a:lnTo>
                      <a:pt x="242877" y="385912"/>
                    </a:lnTo>
                    <a:lnTo>
                      <a:pt x="180564" y="316519"/>
                    </a:lnTo>
                    <a:lnTo>
                      <a:pt x="322184" y="315102"/>
                    </a:lnTo>
                    <a:lnTo>
                      <a:pt x="322184" y="315102"/>
                    </a:lnTo>
                    <a:lnTo>
                      <a:pt x="247126" y="186229"/>
                    </a:lnTo>
                    <a:lnTo>
                      <a:pt x="247126" y="186229"/>
                    </a:lnTo>
                    <a:lnTo>
                      <a:pt x="173483" y="190478"/>
                    </a:lnTo>
                    <a:lnTo>
                      <a:pt x="247126" y="181981"/>
                    </a:lnTo>
                    <a:lnTo>
                      <a:pt x="247126" y="181981"/>
                    </a:lnTo>
                    <a:lnTo>
                      <a:pt x="143743" y="97009"/>
                    </a:lnTo>
                    <a:cubicBezTo>
                      <a:pt x="149408" y="82847"/>
                      <a:pt x="155073" y="68685"/>
                      <a:pt x="160738" y="54523"/>
                    </a:cubicBezTo>
                    <a:cubicBezTo>
                      <a:pt x="166402" y="41778"/>
                      <a:pt x="172067" y="27616"/>
                      <a:pt x="177732" y="13454"/>
                    </a:cubicBezTo>
                    <a:lnTo>
                      <a:pt x="177732" y="12038"/>
                    </a:lnTo>
                    <a:lnTo>
                      <a:pt x="176316" y="10621"/>
                    </a:lnTo>
                    <a:lnTo>
                      <a:pt x="176316" y="12038"/>
                    </a:lnTo>
                    <a:cubicBezTo>
                      <a:pt x="170651" y="26200"/>
                      <a:pt x="164986" y="40361"/>
                      <a:pt x="159322" y="53107"/>
                    </a:cubicBezTo>
                    <a:cubicBezTo>
                      <a:pt x="153657" y="67269"/>
                      <a:pt x="147992" y="81431"/>
                      <a:pt x="142327" y="95593"/>
                    </a:cubicBezTo>
                    <a:lnTo>
                      <a:pt x="142327" y="97009"/>
                    </a:lnTo>
                    <a:lnTo>
                      <a:pt x="242877" y="179148"/>
                    </a:lnTo>
                    <a:lnTo>
                      <a:pt x="135246" y="191894"/>
                    </a:lnTo>
                    <a:lnTo>
                      <a:pt x="95593" y="194726"/>
                    </a:lnTo>
                    <a:lnTo>
                      <a:pt x="95593" y="194726"/>
                    </a:lnTo>
                    <a:lnTo>
                      <a:pt x="54523" y="268368"/>
                    </a:lnTo>
                    <a:lnTo>
                      <a:pt x="10621" y="252790"/>
                    </a:lnTo>
                    <a:lnTo>
                      <a:pt x="10621" y="252790"/>
                    </a:lnTo>
                    <a:lnTo>
                      <a:pt x="38945" y="298108"/>
                    </a:lnTo>
                    <a:lnTo>
                      <a:pt x="13454" y="340594"/>
                    </a:lnTo>
                    <a:close/>
                    <a:moveTo>
                      <a:pt x="16286" y="339178"/>
                    </a:moveTo>
                    <a:lnTo>
                      <a:pt x="38945" y="298108"/>
                    </a:lnTo>
                    <a:lnTo>
                      <a:pt x="64437" y="337762"/>
                    </a:lnTo>
                    <a:lnTo>
                      <a:pt x="16286" y="339178"/>
                    </a:lnTo>
                    <a:close/>
                    <a:moveTo>
                      <a:pt x="53107" y="269784"/>
                    </a:moveTo>
                    <a:lnTo>
                      <a:pt x="38945" y="293860"/>
                    </a:lnTo>
                    <a:lnTo>
                      <a:pt x="14870" y="255622"/>
                    </a:lnTo>
                    <a:lnTo>
                      <a:pt x="53107" y="269784"/>
                    </a:lnTo>
                    <a:close/>
                    <a:moveTo>
                      <a:pt x="55940" y="268368"/>
                    </a:moveTo>
                    <a:lnTo>
                      <a:pt x="95593" y="196142"/>
                    </a:lnTo>
                    <a:lnTo>
                      <a:pt x="97009" y="196142"/>
                    </a:lnTo>
                    <a:lnTo>
                      <a:pt x="97009" y="196142"/>
                    </a:lnTo>
                    <a:lnTo>
                      <a:pt x="82847" y="278282"/>
                    </a:lnTo>
                    <a:lnTo>
                      <a:pt x="55940" y="268368"/>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54" name="Freeform: Shape 953">
                <a:extLst>
                  <a:ext uri="{FF2B5EF4-FFF2-40B4-BE49-F238E27FC236}">
                    <a16:creationId xmlns:a16="http://schemas.microsoft.com/office/drawing/2014/main" id="{8E9D87CE-5ED0-4504-B9DA-85C5391247E3}"/>
                  </a:ext>
                </a:extLst>
              </p:cNvPr>
              <p:cNvSpPr/>
              <p:nvPr/>
            </p:nvSpPr>
            <p:spPr>
              <a:xfrm>
                <a:off x="6147691" y="621402"/>
                <a:ext cx="453181" cy="169943"/>
              </a:xfrm>
              <a:custGeom>
                <a:avLst/>
                <a:gdLst>
                  <a:gd name="connsiteX0" fmla="*/ 138079 w 453181"/>
                  <a:gd name="connsiteY0" fmla="*/ 27616 h 169942"/>
                  <a:gd name="connsiteX1" fmla="*/ 159322 w 453181"/>
                  <a:gd name="connsiteY1" fmla="*/ 160738 h 169942"/>
                  <a:gd name="connsiteX2" fmla="*/ 159322 w 453181"/>
                  <a:gd name="connsiteY2" fmla="*/ 160738 h 169942"/>
                  <a:gd name="connsiteX3" fmla="*/ 336345 w 453181"/>
                  <a:gd name="connsiteY3" fmla="*/ 61604 h 169942"/>
                  <a:gd name="connsiteX4" fmla="*/ 336345 w 453181"/>
                  <a:gd name="connsiteY4" fmla="*/ 61604 h 169942"/>
                  <a:gd name="connsiteX5" fmla="*/ 150824 w 453181"/>
                  <a:gd name="connsiteY5" fmla="*/ 17702 h 169942"/>
                  <a:gd name="connsiteX6" fmla="*/ 443976 w 453181"/>
                  <a:gd name="connsiteY6" fmla="*/ 13454 h 169942"/>
                  <a:gd name="connsiteX7" fmla="*/ 443976 w 453181"/>
                  <a:gd name="connsiteY7" fmla="*/ 13454 h 169942"/>
                  <a:gd name="connsiteX8" fmla="*/ 443976 w 453181"/>
                  <a:gd name="connsiteY8" fmla="*/ 10621 h 169942"/>
                  <a:gd name="connsiteX9" fmla="*/ 142328 w 453181"/>
                  <a:gd name="connsiteY9" fmla="*/ 16286 h 169942"/>
                  <a:gd name="connsiteX10" fmla="*/ 140911 w 453181"/>
                  <a:gd name="connsiteY10" fmla="*/ 16286 h 169942"/>
                  <a:gd name="connsiteX11" fmla="*/ 140911 w 453181"/>
                  <a:gd name="connsiteY11" fmla="*/ 17702 h 169942"/>
                  <a:gd name="connsiteX12" fmla="*/ 330681 w 453181"/>
                  <a:gd name="connsiteY12" fmla="*/ 61604 h 169942"/>
                  <a:gd name="connsiteX13" fmla="*/ 162154 w 453181"/>
                  <a:gd name="connsiteY13" fmla="*/ 157905 h 169942"/>
                  <a:gd name="connsiteX14" fmla="*/ 139495 w 453181"/>
                  <a:gd name="connsiteY14" fmla="*/ 24783 h 169942"/>
                  <a:gd name="connsiteX15" fmla="*/ 139495 w 453181"/>
                  <a:gd name="connsiteY15" fmla="*/ 24783 h 169942"/>
                  <a:gd name="connsiteX16" fmla="*/ 10621 w 453181"/>
                  <a:gd name="connsiteY16" fmla="*/ 81431 h 169942"/>
                  <a:gd name="connsiteX17" fmla="*/ 10621 w 453181"/>
                  <a:gd name="connsiteY17" fmla="*/ 81431 h 169942"/>
                  <a:gd name="connsiteX18" fmla="*/ 12038 w 453181"/>
                  <a:gd name="connsiteY18" fmla="*/ 82847 h 16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53181" h="169942">
                    <a:moveTo>
                      <a:pt x="138079" y="27616"/>
                    </a:moveTo>
                    <a:lnTo>
                      <a:pt x="159322" y="160738"/>
                    </a:lnTo>
                    <a:lnTo>
                      <a:pt x="159322" y="160738"/>
                    </a:lnTo>
                    <a:lnTo>
                      <a:pt x="336345" y="61604"/>
                    </a:lnTo>
                    <a:lnTo>
                      <a:pt x="336345" y="61604"/>
                    </a:lnTo>
                    <a:lnTo>
                      <a:pt x="150824" y="17702"/>
                    </a:lnTo>
                    <a:lnTo>
                      <a:pt x="443976" y="13454"/>
                    </a:lnTo>
                    <a:lnTo>
                      <a:pt x="443976" y="13454"/>
                    </a:lnTo>
                    <a:lnTo>
                      <a:pt x="443976" y="10621"/>
                    </a:lnTo>
                    <a:lnTo>
                      <a:pt x="142328" y="16286"/>
                    </a:lnTo>
                    <a:lnTo>
                      <a:pt x="140911" y="16286"/>
                    </a:lnTo>
                    <a:lnTo>
                      <a:pt x="140911" y="17702"/>
                    </a:lnTo>
                    <a:lnTo>
                      <a:pt x="330681" y="61604"/>
                    </a:lnTo>
                    <a:lnTo>
                      <a:pt x="162154" y="157905"/>
                    </a:lnTo>
                    <a:lnTo>
                      <a:pt x="139495" y="24783"/>
                    </a:lnTo>
                    <a:lnTo>
                      <a:pt x="139495" y="24783"/>
                    </a:lnTo>
                    <a:lnTo>
                      <a:pt x="10621" y="81431"/>
                    </a:lnTo>
                    <a:lnTo>
                      <a:pt x="10621" y="81431"/>
                    </a:lnTo>
                    <a:lnTo>
                      <a:pt x="12038" y="82847"/>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55" name="Freeform: Shape 954">
                <a:extLst>
                  <a:ext uri="{FF2B5EF4-FFF2-40B4-BE49-F238E27FC236}">
                    <a16:creationId xmlns:a16="http://schemas.microsoft.com/office/drawing/2014/main" id="{9708B38E-8466-4605-8F8A-29272C7532FA}"/>
                  </a:ext>
                </a:extLst>
              </p:cNvPr>
              <p:cNvSpPr/>
              <p:nvPr/>
            </p:nvSpPr>
            <p:spPr>
              <a:xfrm>
                <a:off x="7331627" y="847992"/>
                <a:ext cx="368210" cy="325724"/>
              </a:xfrm>
              <a:custGeom>
                <a:avLst/>
                <a:gdLst>
                  <a:gd name="connsiteX0" fmla="*/ 10621 w 368209"/>
                  <a:gd name="connsiteY0" fmla="*/ 211721 h 325723"/>
                  <a:gd name="connsiteX1" fmla="*/ 12038 w 368209"/>
                  <a:gd name="connsiteY1" fmla="*/ 213137 h 325723"/>
                  <a:gd name="connsiteX2" fmla="*/ 12038 w 368209"/>
                  <a:gd name="connsiteY2" fmla="*/ 213137 h 325723"/>
                  <a:gd name="connsiteX3" fmla="*/ 361837 w 368209"/>
                  <a:gd name="connsiteY3" fmla="*/ 17702 h 325723"/>
                  <a:gd name="connsiteX4" fmla="*/ 186229 w 368209"/>
                  <a:gd name="connsiteY4" fmla="*/ 183397 h 325723"/>
                  <a:gd name="connsiteX5" fmla="*/ 10621 w 368209"/>
                  <a:gd name="connsiteY5" fmla="*/ 220218 h 325723"/>
                  <a:gd name="connsiteX6" fmla="*/ 10621 w 368209"/>
                  <a:gd name="connsiteY6" fmla="*/ 220218 h 325723"/>
                  <a:gd name="connsiteX7" fmla="*/ 128165 w 368209"/>
                  <a:gd name="connsiteY7" fmla="*/ 320767 h 325723"/>
                  <a:gd name="connsiteX8" fmla="*/ 129581 w 368209"/>
                  <a:gd name="connsiteY8" fmla="*/ 320767 h 325723"/>
                  <a:gd name="connsiteX9" fmla="*/ 129581 w 368209"/>
                  <a:gd name="connsiteY9" fmla="*/ 319351 h 325723"/>
                  <a:gd name="connsiteX10" fmla="*/ 129581 w 368209"/>
                  <a:gd name="connsiteY10" fmla="*/ 319351 h 325723"/>
                  <a:gd name="connsiteX11" fmla="*/ 14870 w 368209"/>
                  <a:gd name="connsiteY11" fmla="*/ 221634 h 325723"/>
                  <a:gd name="connsiteX12" fmla="*/ 187645 w 368209"/>
                  <a:gd name="connsiteY12" fmla="*/ 184813 h 325723"/>
                  <a:gd name="connsiteX13" fmla="*/ 368918 w 368209"/>
                  <a:gd name="connsiteY13" fmla="*/ 12038 h 325723"/>
                  <a:gd name="connsiteX14" fmla="*/ 370334 w 368209"/>
                  <a:gd name="connsiteY14" fmla="*/ 12038 h 325723"/>
                  <a:gd name="connsiteX15" fmla="*/ 368918 w 368209"/>
                  <a:gd name="connsiteY15" fmla="*/ 10621 h 325723"/>
                  <a:gd name="connsiteX16" fmla="*/ 10621 w 368209"/>
                  <a:gd name="connsiteY16" fmla="*/ 211721 h 325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8209" h="325723">
                    <a:moveTo>
                      <a:pt x="10621" y="211721"/>
                    </a:moveTo>
                    <a:lnTo>
                      <a:pt x="12038" y="213137"/>
                    </a:lnTo>
                    <a:lnTo>
                      <a:pt x="12038" y="213137"/>
                    </a:lnTo>
                    <a:lnTo>
                      <a:pt x="361837" y="17702"/>
                    </a:lnTo>
                    <a:lnTo>
                      <a:pt x="186229" y="183397"/>
                    </a:lnTo>
                    <a:lnTo>
                      <a:pt x="10621" y="220218"/>
                    </a:lnTo>
                    <a:lnTo>
                      <a:pt x="10621" y="220218"/>
                    </a:lnTo>
                    <a:lnTo>
                      <a:pt x="128165" y="320767"/>
                    </a:lnTo>
                    <a:lnTo>
                      <a:pt x="129581" y="320767"/>
                    </a:lnTo>
                    <a:lnTo>
                      <a:pt x="129581" y="319351"/>
                    </a:lnTo>
                    <a:lnTo>
                      <a:pt x="129581" y="319351"/>
                    </a:lnTo>
                    <a:lnTo>
                      <a:pt x="14870" y="221634"/>
                    </a:lnTo>
                    <a:lnTo>
                      <a:pt x="187645" y="184813"/>
                    </a:lnTo>
                    <a:lnTo>
                      <a:pt x="368918" y="12038"/>
                    </a:lnTo>
                    <a:lnTo>
                      <a:pt x="370334" y="12038"/>
                    </a:lnTo>
                    <a:lnTo>
                      <a:pt x="368918" y="10621"/>
                    </a:lnTo>
                    <a:lnTo>
                      <a:pt x="10621" y="211721"/>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56" name="Freeform: Shape 955">
                <a:extLst>
                  <a:ext uri="{FF2B5EF4-FFF2-40B4-BE49-F238E27FC236}">
                    <a16:creationId xmlns:a16="http://schemas.microsoft.com/office/drawing/2014/main" id="{31C9DB33-B299-4C83-944C-6A821707AA7F}"/>
                  </a:ext>
                </a:extLst>
              </p:cNvPr>
              <p:cNvSpPr/>
              <p:nvPr/>
            </p:nvSpPr>
            <p:spPr>
              <a:xfrm>
                <a:off x="7238158" y="482615"/>
                <a:ext cx="410695" cy="127457"/>
              </a:xfrm>
              <a:custGeom>
                <a:avLst/>
                <a:gdLst>
                  <a:gd name="connsiteX0" fmla="*/ 279698 w 410695"/>
                  <a:gd name="connsiteY0" fmla="*/ 13454 h 127457"/>
                  <a:gd name="connsiteX1" fmla="*/ 292443 w 410695"/>
                  <a:gd name="connsiteY1" fmla="*/ 82847 h 127457"/>
                  <a:gd name="connsiteX2" fmla="*/ 20535 w 410695"/>
                  <a:gd name="connsiteY2" fmla="*/ 104090 h 127457"/>
                  <a:gd name="connsiteX3" fmla="*/ 20535 w 410695"/>
                  <a:gd name="connsiteY3" fmla="*/ 104090 h 127457"/>
                  <a:gd name="connsiteX4" fmla="*/ 20535 w 410695"/>
                  <a:gd name="connsiteY4" fmla="*/ 105506 h 127457"/>
                  <a:gd name="connsiteX5" fmla="*/ 292443 w 410695"/>
                  <a:gd name="connsiteY5" fmla="*/ 84263 h 127457"/>
                  <a:gd name="connsiteX6" fmla="*/ 300941 w 410695"/>
                  <a:gd name="connsiteY6" fmla="*/ 129581 h 127457"/>
                  <a:gd name="connsiteX7" fmla="*/ 300941 w 410695"/>
                  <a:gd name="connsiteY7" fmla="*/ 129581 h 127457"/>
                  <a:gd name="connsiteX8" fmla="*/ 401490 w 410695"/>
                  <a:gd name="connsiteY8" fmla="*/ 74350 h 127457"/>
                  <a:gd name="connsiteX9" fmla="*/ 402907 w 410695"/>
                  <a:gd name="connsiteY9" fmla="*/ 74350 h 127457"/>
                  <a:gd name="connsiteX10" fmla="*/ 293860 w 410695"/>
                  <a:gd name="connsiteY10" fmla="*/ 82847 h 127457"/>
                  <a:gd name="connsiteX11" fmla="*/ 281114 w 410695"/>
                  <a:gd name="connsiteY11" fmla="*/ 10621 h 127457"/>
                  <a:gd name="connsiteX12" fmla="*/ 281114 w 410695"/>
                  <a:gd name="connsiteY12" fmla="*/ 10621 h 127457"/>
                  <a:gd name="connsiteX13" fmla="*/ 10621 w 410695"/>
                  <a:gd name="connsiteY13" fmla="*/ 97009 h 127457"/>
                  <a:gd name="connsiteX14" fmla="*/ 10621 w 410695"/>
                  <a:gd name="connsiteY14" fmla="*/ 97009 h 127457"/>
                  <a:gd name="connsiteX15" fmla="*/ 10621 w 410695"/>
                  <a:gd name="connsiteY15" fmla="*/ 98425 h 127457"/>
                  <a:gd name="connsiteX16" fmla="*/ 279698 w 410695"/>
                  <a:gd name="connsiteY16" fmla="*/ 13454 h 127457"/>
                  <a:gd name="connsiteX17" fmla="*/ 302357 w 410695"/>
                  <a:gd name="connsiteY17" fmla="*/ 126749 h 127457"/>
                  <a:gd name="connsiteX18" fmla="*/ 295276 w 410695"/>
                  <a:gd name="connsiteY18" fmla="*/ 84263 h 127457"/>
                  <a:gd name="connsiteX19" fmla="*/ 394409 w 410695"/>
                  <a:gd name="connsiteY19" fmla="*/ 75766 h 127457"/>
                  <a:gd name="connsiteX20" fmla="*/ 302357 w 410695"/>
                  <a:gd name="connsiteY20" fmla="*/ 126749 h 12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0695" h="127457">
                    <a:moveTo>
                      <a:pt x="279698" y="13454"/>
                    </a:moveTo>
                    <a:lnTo>
                      <a:pt x="292443" y="82847"/>
                    </a:lnTo>
                    <a:lnTo>
                      <a:pt x="20535" y="104090"/>
                    </a:lnTo>
                    <a:lnTo>
                      <a:pt x="20535" y="104090"/>
                    </a:lnTo>
                    <a:lnTo>
                      <a:pt x="20535" y="105506"/>
                    </a:lnTo>
                    <a:lnTo>
                      <a:pt x="292443" y="84263"/>
                    </a:lnTo>
                    <a:lnTo>
                      <a:pt x="300941" y="129581"/>
                    </a:lnTo>
                    <a:lnTo>
                      <a:pt x="300941" y="129581"/>
                    </a:lnTo>
                    <a:lnTo>
                      <a:pt x="401490" y="74350"/>
                    </a:lnTo>
                    <a:lnTo>
                      <a:pt x="402907" y="74350"/>
                    </a:lnTo>
                    <a:lnTo>
                      <a:pt x="293860" y="82847"/>
                    </a:lnTo>
                    <a:lnTo>
                      <a:pt x="281114" y="10621"/>
                    </a:lnTo>
                    <a:lnTo>
                      <a:pt x="281114" y="10621"/>
                    </a:lnTo>
                    <a:lnTo>
                      <a:pt x="10621" y="97009"/>
                    </a:lnTo>
                    <a:lnTo>
                      <a:pt x="10621" y="97009"/>
                    </a:lnTo>
                    <a:lnTo>
                      <a:pt x="10621" y="98425"/>
                    </a:lnTo>
                    <a:lnTo>
                      <a:pt x="279698" y="13454"/>
                    </a:lnTo>
                    <a:close/>
                    <a:moveTo>
                      <a:pt x="302357" y="126749"/>
                    </a:moveTo>
                    <a:lnTo>
                      <a:pt x="295276" y="84263"/>
                    </a:lnTo>
                    <a:lnTo>
                      <a:pt x="394409" y="75766"/>
                    </a:lnTo>
                    <a:lnTo>
                      <a:pt x="302357" y="126749"/>
                    </a:lnTo>
                    <a:close/>
                  </a:path>
                </a:pathLst>
              </a:custGeom>
              <a:grpFill/>
              <a:ln w="6350" cap="flat">
                <a:solidFill>
                  <a:schemeClr val="tx1">
                    <a:lumMod val="25000"/>
                    <a:lumOff val="75000"/>
                  </a:schemeClr>
                </a:solid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grpSp>
      </p:grpSp>
      <p:grpSp>
        <p:nvGrpSpPr>
          <p:cNvPr id="964" name="Dots">
            <a:extLst>
              <a:ext uri="{FF2B5EF4-FFF2-40B4-BE49-F238E27FC236}">
                <a16:creationId xmlns:a16="http://schemas.microsoft.com/office/drawing/2014/main" id="{97A908EF-FAB2-486E-99A1-9499518562B7}"/>
              </a:ext>
            </a:extLst>
          </p:cNvPr>
          <p:cNvGrpSpPr/>
          <p:nvPr/>
        </p:nvGrpSpPr>
        <p:grpSpPr>
          <a:xfrm>
            <a:off x="840224" y="347874"/>
            <a:ext cx="10752358" cy="6303401"/>
            <a:chOff x="826141" y="332996"/>
            <a:chExt cx="10535048" cy="6176008"/>
          </a:xfrm>
          <a:solidFill>
            <a:srgbClr val="0078D4"/>
          </a:solidFill>
        </p:grpSpPr>
        <p:sp>
          <p:nvSpPr>
            <p:cNvPr id="965" name="Freeform: Shape 964">
              <a:extLst>
                <a:ext uri="{FF2B5EF4-FFF2-40B4-BE49-F238E27FC236}">
                  <a16:creationId xmlns:a16="http://schemas.microsoft.com/office/drawing/2014/main" id="{0BCD449E-67FB-4604-B2A1-7A25AC8EF15D}"/>
                </a:ext>
              </a:extLst>
            </p:cNvPr>
            <p:cNvSpPr/>
            <p:nvPr/>
          </p:nvSpPr>
          <p:spPr>
            <a:xfrm>
              <a:off x="11181332" y="1308751"/>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8101"/>
                    <a:pt x="95095" y="55442"/>
                  </a:cubicBezTo>
                  <a:cubicBezTo>
                    <a:pt x="95095" y="34199"/>
                    <a:pt x="78101" y="15789"/>
                    <a:pt x="55442" y="15789"/>
                  </a:cubicBezTo>
                  <a:cubicBezTo>
                    <a:pt x="34199" y="15789"/>
                    <a:pt x="15789" y="32783"/>
                    <a:pt x="15789" y="55442"/>
                  </a:cubicBezTo>
                  <a:cubicBezTo>
                    <a:pt x="15789" y="76685"/>
                    <a:pt x="34199" y="95096"/>
                    <a:pt x="55442" y="950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66" name="Freeform: Shape 965">
              <a:extLst>
                <a:ext uri="{FF2B5EF4-FFF2-40B4-BE49-F238E27FC236}">
                  <a16:creationId xmlns:a16="http://schemas.microsoft.com/office/drawing/2014/main" id="{45DAA57E-F6A2-44D9-A10D-3F581A17AE6E}"/>
                </a:ext>
              </a:extLst>
            </p:cNvPr>
            <p:cNvSpPr/>
            <p:nvPr/>
          </p:nvSpPr>
          <p:spPr>
            <a:xfrm>
              <a:off x="9156179" y="2165547"/>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8102"/>
                    <a:pt x="95095" y="55442"/>
                  </a:cubicBezTo>
                  <a:cubicBezTo>
                    <a:pt x="95095" y="34200"/>
                    <a:pt x="78101" y="15789"/>
                    <a:pt x="55442" y="15789"/>
                  </a:cubicBezTo>
                  <a:cubicBezTo>
                    <a:pt x="32783" y="15789"/>
                    <a:pt x="15789" y="32783"/>
                    <a:pt x="15789" y="55442"/>
                  </a:cubicBezTo>
                  <a:cubicBezTo>
                    <a:pt x="15789" y="76685"/>
                    <a:pt x="34199" y="95096"/>
                    <a:pt x="55442" y="950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67" name="Freeform: Shape 966">
              <a:extLst>
                <a:ext uri="{FF2B5EF4-FFF2-40B4-BE49-F238E27FC236}">
                  <a16:creationId xmlns:a16="http://schemas.microsoft.com/office/drawing/2014/main" id="{C629BDF1-D2CA-4D4A-8F9D-4360FB10E950}"/>
                </a:ext>
              </a:extLst>
            </p:cNvPr>
            <p:cNvSpPr/>
            <p:nvPr/>
          </p:nvSpPr>
          <p:spPr>
            <a:xfrm>
              <a:off x="9304879" y="1524012"/>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8101"/>
                    <a:pt x="95095" y="55442"/>
                  </a:cubicBezTo>
                  <a:cubicBezTo>
                    <a:pt x="95095" y="34200"/>
                    <a:pt x="78101" y="15789"/>
                    <a:pt x="55442" y="15789"/>
                  </a:cubicBezTo>
                  <a:cubicBezTo>
                    <a:pt x="34199" y="15789"/>
                    <a:pt x="15789" y="32783"/>
                    <a:pt x="15789" y="55442"/>
                  </a:cubicBezTo>
                  <a:cubicBezTo>
                    <a:pt x="15789" y="78101"/>
                    <a:pt x="32783" y="95096"/>
                    <a:pt x="55442" y="950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68" name="Freeform: Shape 967">
              <a:extLst>
                <a:ext uri="{FF2B5EF4-FFF2-40B4-BE49-F238E27FC236}">
                  <a16:creationId xmlns:a16="http://schemas.microsoft.com/office/drawing/2014/main" id="{4603E273-76E5-466E-9014-58493F404BAB}"/>
                </a:ext>
              </a:extLst>
            </p:cNvPr>
            <p:cNvSpPr/>
            <p:nvPr/>
          </p:nvSpPr>
          <p:spPr>
            <a:xfrm>
              <a:off x="10181501" y="1157219"/>
              <a:ext cx="155781" cy="155781"/>
            </a:xfrm>
            <a:custGeom>
              <a:avLst/>
              <a:gdLst>
                <a:gd name="connsiteX0" fmla="*/ 80934 w 155781"/>
                <a:gd name="connsiteY0" fmla="*/ 146079 h 155780"/>
                <a:gd name="connsiteX1" fmla="*/ 146079 w 155781"/>
                <a:gd name="connsiteY1" fmla="*/ 80934 h 155780"/>
                <a:gd name="connsiteX2" fmla="*/ 80934 w 155781"/>
                <a:gd name="connsiteY2" fmla="*/ 15789 h 155780"/>
                <a:gd name="connsiteX3" fmla="*/ 15789 w 155781"/>
                <a:gd name="connsiteY3" fmla="*/ 80934 h 155780"/>
                <a:gd name="connsiteX4" fmla="*/ 80934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4" y="146079"/>
                  </a:moveTo>
                  <a:cubicBezTo>
                    <a:pt x="116339" y="146079"/>
                    <a:pt x="146079" y="116339"/>
                    <a:pt x="146079" y="80934"/>
                  </a:cubicBezTo>
                  <a:cubicBezTo>
                    <a:pt x="146079" y="45529"/>
                    <a:pt x="116339" y="15789"/>
                    <a:pt x="80934" y="15789"/>
                  </a:cubicBezTo>
                  <a:cubicBezTo>
                    <a:pt x="45530" y="15789"/>
                    <a:pt x="15789" y="45529"/>
                    <a:pt x="15789" y="80934"/>
                  </a:cubicBezTo>
                  <a:cubicBezTo>
                    <a:pt x="15789" y="116339"/>
                    <a:pt x="44113" y="146079"/>
                    <a:pt x="80934"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69" name="Freeform: Shape 968">
              <a:extLst>
                <a:ext uri="{FF2B5EF4-FFF2-40B4-BE49-F238E27FC236}">
                  <a16:creationId xmlns:a16="http://schemas.microsoft.com/office/drawing/2014/main" id="{4679D3FC-2BE4-4256-8379-B1A639FD3D1B}"/>
                </a:ext>
              </a:extLst>
            </p:cNvPr>
            <p:cNvSpPr/>
            <p:nvPr/>
          </p:nvSpPr>
          <p:spPr>
            <a:xfrm>
              <a:off x="9862858" y="2115980"/>
              <a:ext cx="141619" cy="141619"/>
            </a:xfrm>
            <a:custGeom>
              <a:avLst/>
              <a:gdLst>
                <a:gd name="connsiteX0" fmla="*/ 71021 w 141619"/>
                <a:gd name="connsiteY0" fmla="*/ 126252 h 141619"/>
                <a:gd name="connsiteX1" fmla="*/ 126253 w 141619"/>
                <a:gd name="connsiteY1" fmla="*/ 71020 h 141619"/>
                <a:gd name="connsiteX2" fmla="*/ 71021 w 141619"/>
                <a:gd name="connsiteY2" fmla="*/ 15789 h 141619"/>
                <a:gd name="connsiteX3" fmla="*/ 15789 w 141619"/>
                <a:gd name="connsiteY3" fmla="*/ 71020 h 141619"/>
                <a:gd name="connsiteX4" fmla="*/ 71021 w 141619"/>
                <a:gd name="connsiteY4" fmla="*/ 126252 h 141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9" h="141619">
                  <a:moveTo>
                    <a:pt x="71021" y="126252"/>
                  </a:moveTo>
                  <a:cubicBezTo>
                    <a:pt x="100760" y="126252"/>
                    <a:pt x="126253" y="100760"/>
                    <a:pt x="126253" y="71020"/>
                  </a:cubicBezTo>
                  <a:cubicBezTo>
                    <a:pt x="126253" y="41280"/>
                    <a:pt x="100760" y="15789"/>
                    <a:pt x="71021" y="15789"/>
                  </a:cubicBezTo>
                  <a:cubicBezTo>
                    <a:pt x="41281" y="15789"/>
                    <a:pt x="15789" y="41280"/>
                    <a:pt x="15789" y="71020"/>
                  </a:cubicBezTo>
                  <a:cubicBezTo>
                    <a:pt x="15789" y="100760"/>
                    <a:pt x="41281" y="126252"/>
                    <a:pt x="71021" y="12625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0" name="Freeform: Shape 969">
              <a:extLst>
                <a:ext uri="{FF2B5EF4-FFF2-40B4-BE49-F238E27FC236}">
                  <a16:creationId xmlns:a16="http://schemas.microsoft.com/office/drawing/2014/main" id="{D5E34C85-4DBD-45B9-AD39-132794CE6D32}"/>
                </a:ext>
              </a:extLst>
            </p:cNvPr>
            <p:cNvSpPr/>
            <p:nvPr/>
          </p:nvSpPr>
          <p:spPr>
            <a:xfrm>
              <a:off x="8710079" y="831495"/>
              <a:ext cx="155781" cy="155781"/>
            </a:xfrm>
            <a:custGeom>
              <a:avLst/>
              <a:gdLst>
                <a:gd name="connsiteX0" fmla="*/ 80933 w 155781"/>
                <a:gd name="connsiteY0" fmla="*/ 15789 h 155780"/>
                <a:gd name="connsiteX1" fmla="*/ 146079 w 155781"/>
                <a:gd name="connsiteY1" fmla="*/ 80934 h 155780"/>
                <a:gd name="connsiteX2" fmla="*/ 80933 w 155781"/>
                <a:gd name="connsiteY2" fmla="*/ 146079 h 155780"/>
                <a:gd name="connsiteX3" fmla="*/ 15789 w 155781"/>
                <a:gd name="connsiteY3" fmla="*/ 80934 h 155780"/>
                <a:gd name="connsiteX4" fmla="*/ 80933 w 155781"/>
                <a:gd name="connsiteY4" fmla="*/ 15789 h 155780"/>
                <a:gd name="connsiteX5" fmla="*/ 80933 w 155781"/>
                <a:gd name="connsiteY5" fmla="*/ 15789 h 155780"/>
                <a:gd name="connsiteX6" fmla="*/ 80933 w 155781"/>
                <a:gd name="connsiteY6" fmla="*/ 45529 h 155780"/>
                <a:gd name="connsiteX7" fmla="*/ 44113 w 155781"/>
                <a:gd name="connsiteY7" fmla="*/ 82350 h 155780"/>
                <a:gd name="connsiteX8" fmla="*/ 80933 w 155781"/>
                <a:gd name="connsiteY8" fmla="*/ 119171 h 155780"/>
                <a:gd name="connsiteX9" fmla="*/ 117755 w 155781"/>
                <a:gd name="connsiteY9" fmla="*/ 82350 h 155780"/>
                <a:gd name="connsiteX10" fmla="*/ 80933 w 155781"/>
                <a:gd name="connsiteY10" fmla="*/ 45529 h 155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781" h="155780">
                  <a:moveTo>
                    <a:pt x="80933" y="15789"/>
                  </a:moveTo>
                  <a:cubicBezTo>
                    <a:pt x="117755" y="15789"/>
                    <a:pt x="146079" y="45529"/>
                    <a:pt x="146079" y="80934"/>
                  </a:cubicBezTo>
                  <a:cubicBezTo>
                    <a:pt x="146079" y="117755"/>
                    <a:pt x="116338" y="146079"/>
                    <a:pt x="80933" y="146079"/>
                  </a:cubicBezTo>
                  <a:cubicBezTo>
                    <a:pt x="44113" y="146079"/>
                    <a:pt x="15789" y="116339"/>
                    <a:pt x="15789" y="80934"/>
                  </a:cubicBezTo>
                  <a:cubicBezTo>
                    <a:pt x="15789" y="45529"/>
                    <a:pt x="44113" y="15789"/>
                    <a:pt x="80933" y="15789"/>
                  </a:cubicBezTo>
                  <a:lnTo>
                    <a:pt x="80933" y="15789"/>
                  </a:lnTo>
                  <a:close/>
                  <a:moveTo>
                    <a:pt x="80933" y="45529"/>
                  </a:moveTo>
                  <a:cubicBezTo>
                    <a:pt x="61107" y="45529"/>
                    <a:pt x="44113" y="62523"/>
                    <a:pt x="44113" y="82350"/>
                  </a:cubicBezTo>
                  <a:cubicBezTo>
                    <a:pt x="44113" y="102177"/>
                    <a:pt x="61107" y="119171"/>
                    <a:pt x="80933" y="119171"/>
                  </a:cubicBezTo>
                  <a:cubicBezTo>
                    <a:pt x="100760" y="119171"/>
                    <a:pt x="117755" y="102177"/>
                    <a:pt x="117755" y="82350"/>
                  </a:cubicBezTo>
                  <a:cubicBezTo>
                    <a:pt x="117755" y="62523"/>
                    <a:pt x="100760" y="45529"/>
                    <a:pt x="80933" y="4552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1" name="Freeform: Shape 970">
              <a:extLst>
                <a:ext uri="{FF2B5EF4-FFF2-40B4-BE49-F238E27FC236}">
                  <a16:creationId xmlns:a16="http://schemas.microsoft.com/office/drawing/2014/main" id="{BEAAC655-062B-4D2C-8BF4-A342A572A1EB}"/>
                </a:ext>
              </a:extLst>
            </p:cNvPr>
            <p:cNvSpPr/>
            <p:nvPr/>
          </p:nvSpPr>
          <p:spPr>
            <a:xfrm>
              <a:off x="10896678" y="1550920"/>
              <a:ext cx="155781" cy="155781"/>
            </a:xfrm>
            <a:custGeom>
              <a:avLst/>
              <a:gdLst>
                <a:gd name="connsiteX0" fmla="*/ 80934 w 155781"/>
                <a:gd name="connsiteY0" fmla="*/ 15789 h 155780"/>
                <a:gd name="connsiteX1" fmla="*/ 146079 w 155781"/>
                <a:gd name="connsiteY1" fmla="*/ 80934 h 155780"/>
                <a:gd name="connsiteX2" fmla="*/ 80934 w 155781"/>
                <a:gd name="connsiteY2" fmla="*/ 146079 h 155780"/>
                <a:gd name="connsiteX3" fmla="*/ 15789 w 155781"/>
                <a:gd name="connsiteY3" fmla="*/ 80934 h 155780"/>
                <a:gd name="connsiteX4" fmla="*/ 80934 w 155781"/>
                <a:gd name="connsiteY4" fmla="*/ 15789 h 155780"/>
                <a:gd name="connsiteX5" fmla="*/ 80934 w 155781"/>
                <a:gd name="connsiteY5" fmla="*/ 15789 h 155780"/>
                <a:gd name="connsiteX6" fmla="*/ 80934 w 155781"/>
                <a:gd name="connsiteY6" fmla="*/ 44113 h 155780"/>
                <a:gd name="connsiteX7" fmla="*/ 44113 w 155781"/>
                <a:gd name="connsiteY7" fmla="*/ 80934 h 155780"/>
                <a:gd name="connsiteX8" fmla="*/ 80934 w 155781"/>
                <a:gd name="connsiteY8" fmla="*/ 117755 h 155780"/>
                <a:gd name="connsiteX9" fmla="*/ 117755 w 155781"/>
                <a:gd name="connsiteY9" fmla="*/ 80934 h 155780"/>
                <a:gd name="connsiteX10" fmla="*/ 80934 w 155781"/>
                <a:gd name="connsiteY10" fmla="*/ 44113 h 155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781" h="155780">
                  <a:moveTo>
                    <a:pt x="80934" y="15789"/>
                  </a:moveTo>
                  <a:cubicBezTo>
                    <a:pt x="117755" y="15789"/>
                    <a:pt x="146079" y="45529"/>
                    <a:pt x="146079" y="80934"/>
                  </a:cubicBezTo>
                  <a:cubicBezTo>
                    <a:pt x="146079" y="117755"/>
                    <a:pt x="116339" y="146079"/>
                    <a:pt x="80934" y="146079"/>
                  </a:cubicBezTo>
                  <a:cubicBezTo>
                    <a:pt x="45530" y="146079"/>
                    <a:pt x="15789" y="116339"/>
                    <a:pt x="15789" y="80934"/>
                  </a:cubicBezTo>
                  <a:cubicBezTo>
                    <a:pt x="15789" y="45529"/>
                    <a:pt x="45530" y="15789"/>
                    <a:pt x="80934" y="15789"/>
                  </a:cubicBezTo>
                  <a:lnTo>
                    <a:pt x="80934" y="15789"/>
                  </a:lnTo>
                  <a:close/>
                  <a:moveTo>
                    <a:pt x="80934" y="44113"/>
                  </a:moveTo>
                  <a:cubicBezTo>
                    <a:pt x="61107" y="44113"/>
                    <a:pt x="44113" y="61107"/>
                    <a:pt x="44113" y="80934"/>
                  </a:cubicBezTo>
                  <a:cubicBezTo>
                    <a:pt x="44113" y="100760"/>
                    <a:pt x="61107" y="117755"/>
                    <a:pt x="80934" y="117755"/>
                  </a:cubicBezTo>
                  <a:cubicBezTo>
                    <a:pt x="100760" y="117755"/>
                    <a:pt x="117755" y="100760"/>
                    <a:pt x="117755" y="80934"/>
                  </a:cubicBezTo>
                  <a:cubicBezTo>
                    <a:pt x="117755" y="61107"/>
                    <a:pt x="100760" y="44113"/>
                    <a:pt x="80934"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2" name="Freeform: Shape 971">
              <a:extLst>
                <a:ext uri="{FF2B5EF4-FFF2-40B4-BE49-F238E27FC236}">
                  <a16:creationId xmlns:a16="http://schemas.microsoft.com/office/drawing/2014/main" id="{40FEFD85-7313-4122-A3B6-91D265504267}"/>
                </a:ext>
              </a:extLst>
            </p:cNvPr>
            <p:cNvSpPr/>
            <p:nvPr/>
          </p:nvSpPr>
          <p:spPr>
            <a:xfrm>
              <a:off x="10265057" y="1637308"/>
              <a:ext cx="141619" cy="141619"/>
            </a:xfrm>
            <a:custGeom>
              <a:avLst/>
              <a:gdLst>
                <a:gd name="connsiteX0" fmla="*/ 71021 w 141619"/>
                <a:gd name="connsiteY0" fmla="*/ 15789 h 141619"/>
                <a:gd name="connsiteX1" fmla="*/ 126252 w 141619"/>
                <a:gd name="connsiteY1" fmla="*/ 71020 h 141619"/>
                <a:gd name="connsiteX2" fmla="*/ 71021 w 141619"/>
                <a:gd name="connsiteY2" fmla="*/ 126252 h 141619"/>
                <a:gd name="connsiteX3" fmla="*/ 15789 w 141619"/>
                <a:gd name="connsiteY3" fmla="*/ 71020 h 141619"/>
                <a:gd name="connsiteX4" fmla="*/ 71021 w 141619"/>
                <a:gd name="connsiteY4" fmla="*/ 15789 h 141619"/>
                <a:gd name="connsiteX5" fmla="*/ 71021 w 141619"/>
                <a:gd name="connsiteY5" fmla="*/ 15789 h 141619"/>
                <a:gd name="connsiteX6" fmla="*/ 71021 w 141619"/>
                <a:gd name="connsiteY6" fmla="*/ 25702 h 141619"/>
                <a:gd name="connsiteX7" fmla="*/ 25703 w 141619"/>
                <a:gd name="connsiteY7" fmla="*/ 71020 h 141619"/>
                <a:gd name="connsiteX8" fmla="*/ 71021 w 141619"/>
                <a:gd name="connsiteY8" fmla="*/ 116339 h 141619"/>
                <a:gd name="connsiteX9" fmla="*/ 116338 w 141619"/>
                <a:gd name="connsiteY9" fmla="*/ 71020 h 141619"/>
                <a:gd name="connsiteX10" fmla="*/ 71021 w 141619"/>
                <a:gd name="connsiteY10" fmla="*/ 25702 h 141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619" h="141619">
                  <a:moveTo>
                    <a:pt x="71021" y="15789"/>
                  </a:moveTo>
                  <a:cubicBezTo>
                    <a:pt x="102176" y="15789"/>
                    <a:pt x="126252" y="41280"/>
                    <a:pt x="126252" y="71020"/>
                  </a:cubicBezTo>
                  <a:cubicBezTo>
                    <a:pt x="126252" y="102177"/>
                    <a:pt x="100760" y="126252"/>
                    <a:pt x="71021" y="126252"/>
                  </a:cubicBezTo>
                  <a:cubicBezTo>
                    <a:pt x="39864" y="126252"/>
                    <a:pt x="15789" y="100760"/>
                    <a:pt x="15789" y="71020"/>
                  </a:cubicBezTo>
                  <a:cubicBezTo>
                    <a:pt x="15789" y="41280"/>
                    <a:pt x="39864" y="15789"/>
                    <a:pt x="71021" y="15789"/>
                  </a:cubicBezTo>
                  <a:lnTo>
                    <a:pt x="71021" y="15789"/>
                  </a:lnTo>
                  <a:close/>
                  <a:moveTo>
                    <a:pt x="71021" y="25702"/>
                  </a:moveTo>
                  <a:cubicBezTo>
                    <a:pt x="45529" y="25702"/>
                    <a:pt x="25703" y="45529"/>
                    <a:pt x="25703" y="71020"/>
                  </a:cubicBezTo>
                  <a:cubicBezTo>
                    <a:pt x="25703" y="96512"/>
                    <a:pt x="45529" y="116339"/>
                    <a:pt x="71021" y="116339"/>
                  </a:cubicBezTo>
                  <a:cubicBezTo>
                    <a:pt x="96512" y="116339"/>
                    <a:pt x="116338" y="96512"/>
                    <a:pt x="116338" y="71020"/>
                  </a:cubicBezTo>
                  <a:cubicBezTo>
                    <a:pt x="116338" y="46945"/>
                    <a:pt x="96512" y="25702"/>
                    <a:pt x="71021" y="2570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3" name="Freeform: Shape 972">
              <a:extLst>
                <a:ext uri="{FF2B5EF4-FFF2-40B4-BE49-F238E27FC236}">
                  <a16:creationId xmlns:a16="http://schemas.microsoft.com/office/drawing/2014/main" id="{C8F6C25D-DDE9-4216-8751-76F39B040F49}"/>
                </a:ext>
              </a:extLst>
            </p:cNvPr>
            <p:cNvSpPr/>
            <p:nvPr/>
          </p:nvSpPr>
          <p:spPr>
            <a:xfrm>
              <a:off x="11153009" y="1501353"/>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5789" y="37032"/>
                    <a:pt x="21453"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4" name="Freeform: Shape 973">
              <a:extLst>
                <a:ext uri="{FF2B5EF4-FFF2-40B4-BE49-F238E27FC236}">
                  <a16:creationId xmlns:a16="http://schemas.microsoft.com/office/drawing/2014/main" id="{1483EFED-176E-422D-8826-34CDC34D29E2}"/>
                </a:ext>
              </a:extLst>
            </p:cNvPr>
            <p:cNvSpPr/>
            <p:nvPr/>
          </p:nvSpPr>
          <p:spPr>
            <a:xfrm>
              <a:off x="10743729" y="1504186"/>
              <a:ext cx="99133" cy="99133"/>
            </a:xfrm>
            <a:custGeom>
              <a:avLst/>
              <a:gdLst>
                <a:gd name="connsiteX0" fmla="*/ 49778 w 99133"/>
                <a:gd name="connsiteY0" fmla="*/ 83766 h 99133"/>
                <a:gd name="connsiteX1" fmla="*/ 83766 w 99133"/>
                <a:gd name="connsiteY1" fmla="*/ 49778 h 99133"/>
                <a:gd name="connsiteX2" fmla="*/ 49778 w 99133"/>
                <a:gd name="connsiteY2" fmla="*/ 15789 h 99133"/>
                <a:gd name="connsiteX3" fmla="*/ 15789 w 99133"/>
                <a:gd name="connsiteY3" fmla="*/ 49778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8"/>
                  </a:cubicBezTo>
                  <a:cubicBezTo>
                    <a:pt x="83766" y="31367"/>
                    <a:pt x="68188" y="15789"/>
                    <a:pt x="49778" y="15789"/>
                  </a:cubicBezTo>
                  <a:cubicBezTo>
                    <a:pt x="31368" y="15789"/>
                    <a:pt x="15789" y="31367"/>
                    <a:pt x="15789" y="49778"/>
                  </a:cubicBezTo>
                  <a:cubicBezTo>
                    <a:pt x="15789" y="69604"/>
                    <a:pt x="31368" y="83766"/>
                    <a:pt x="49778" y="8376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5" name="Freeform: Shape 974">
              <a:extLst>
                <a:ext uri="{FF2B5EF4-FFF2-40B4-BE49-F238E27FC236}">
                  <a16:creationId xmlns:a16="http://schemas.microsoft.com/office/drawing/2014/main" id="{E230F1C3-B4A0-4557-9FBD-17CC43D67103}"/>
                </a:ext>
              </a:extLst>
            </p:cNvPr>
            <p:cNvSpPr/>
            <p:nvPr/>
          </p:nvSpPr>
          <p:spPr>
            <a:xfrm>
              <a:off x="9959160" y="1787424"/>
              <a:ext cx="84971" cy="84971"/>
            </a:xfrm>
            <a:custGeom>
              <a:avLst/>
              <a:gdLst>
                <a:gd name="connsiteX0" fmla="*/ 48361 w 84971"/>
                <a:gd name="connsiteY0" fmla="*/ 80934 h 84971"/>
                <a:gd name="connsiteX1" fmla="*/ 80933 w 84971"/>
                <a:gd name="connsiteY1" fmla="*/ 48361 h 84971"/>
                <a:gd name="connsiteX2" fmla="*/ 48361 w 84971"/>
                <a:gd name="connsiteY2" fmla="*/ 15789 h 84971"/>
                <a:gd name="connsiteX3" fmla="*/ 15789 w 84971"/>
                <a:gd name="connsiteY3" fmla="*/ 48361 h 84971"/>
                <a:gd name="connsiteX4" fmla="*/ 48361 w 84971"/>
                <a:gd name="connsiteY4" fmla="*/ 8093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8361" y="80934"/>
                  </a:moveTo>
                  <a:cubicBezTo>
                    <a:pt x="66772" y="80934"/>
                    <a:pt x="80933" y="66772"/>
                    <a:pt x="80933" y="48361"/>
                  </a:cubicBezTo>
                  <a:cubicBezTo>
                    <a:pt x="80933" y="29951"/>
                    <a:pt x="66772" y="15789"/>
                    <a:pt x="48361" y="15789"/>
                  </a:cubicBezTo>
                  <a:cubicBezTo>
                    <a:pt x="29951" y="15789"/>
                    <a:pt x="15789" y="29951"/>
                    <a:pt x="15789" y="48361"/>
                  </a:cubicBezTo>
                  <a:cubicBezTo>
                    <a:pt x="15789" y="65356"/>
                    <a:pt x="31367" y="80934"/>
                    <a:pt x="48361" y="8093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6" name="Freeform: Shape 975">
              <a:extLst>
                <a:ext uri="{FF2B5EF4-FFF2-40B4-BE49-F238E27FC236}">
                  <a16:creationId xmlns:a16="http://schemas.microsoft.com/office/drawing/2014/main" id="{95953F7F-7E63-46FD-B740-83ADF87A125E}"/>
                </a:ext>
              </a:extLst>
            </p:cNvPr>
            <p:cNvSpPr/>
            <p:nvPr/>
          </p:nvSpPr>
          <p:spPr>
            <a:xfrm>
              <a:off x="10954742" y="1211034"/>
              <a:ext cx="84971" cy="84971"/>
            </a:xfrm>
            <a:custGeom>
              <a:avLst/>
              <a:gdLst>
                <a:gd name="connsiteX0" fmla="*/ 72437 w 84971"/>
                <a:gd name="connsiteY0" fmla="*/ 44113 h 84971"/>
                <a:gd name="connsiteX1" fmla="*/ 44113 w 84971"/>
                <a:gd name="connsiteY1" fmla="*/ 72437 h 84971"/>
                <a:gd name="connsiteX2" fmla="*/ 15789 w 84971"/>
                <a:gd name="connsiteY2" fmla="*/ 44113 h 84971"/>
                <a:gd name="connsiteX3" fmla="*/ 44113 w 84971"/>
                <a:gd name="connsiteY3" fmla="*/ 15789 h 84971"/>
                <a:gd name="connsiteX4" fmla="*/ 72437 w 84971"/>
                <a:gd name="connsiteY4" fmla="*/ 44113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72437" y="44113"/>
                  </a:moveTo>
                  <a:cubicBezTo>
                    <a:pt x="72437" y="59756"/>
                    <a:pt x="59756" y="72437"/>
                    <a:pt x="44113" y="72437"/>
                  </a:cubicBezTo>
                  <a:cubicBezTo>
                    <a:pt x="28470" y="72437"/>
                    <a:pt x="15789" y="59756"/>
                    <a:pt x="15789" y="44113"/>
                  </a:cubicBezTo>
                  <a:cubicBezTo>
                    <a:pt x="15789" y="28470"/>
                    <a:pt x="28470" y="15789"/>
                    <a:pt x="44113" y="15789"/>
                  </a:cubicBezTo>
                  <a:cubicBezTo>
                    <a:pt x="59756" y="15789"/>
                    <a:pt x="72437" y="28470"/>
                    <a:pt x="72437"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7" name="Freeform: Shape 976">
              <a:extLst>
                <a:ext uri="{FF2B5EF4-FFF2-40B4-BE49-F238E27FC236}">
                  <a16:creationId xmlns:a16="http://schemas.microsoft.com/office/drawing/2014/main" id="{6D38B982-E796-4E62-BFDE-1502C53C8B7B}"/>
                </a:ext>
              </a:extLst>
            </p:cNvPr>
            <p:cNvSpPr/>
            <p:nvPr/>
          </p:nvSpPr>
          <p:spPr>
            <a:xfrm>
              <a:off x="11048210" y="1348405"/>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30" y="55442"/>
                    <a:pt x="55442" y="46945"/>
                    <a:pt x="55442" y="35616"/>
                  </a:cubicBezTo>
                  <a:cubicBezTo>
                    <a:pt x="55442" y="25702"/>
                    <a:pt x="46945" y="15789"/>
                    <a:pt x="35616" y="15789"/>
                  </a:cubicBezTo>
                  <a:cubicBezTo>
                    <a:pt x="25703" y="15789"/>
                    <a:pt x="15789" y="24286"/>
                    <a:pt x="15789" y="35616"/>
                  </a:cubicBezTo>
                  <a:cubicBezTo>
                    <a:pt x="17206" y="46945"/>
                    <a:pt x="25703"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8" name="Freeform: Shape 977">
              <a:extLst>
                <a:ext uri="{FF2B5EF4-FFF2-40B4-BE49-F238E27FC236}">
                  <a16:creationId xmlns:a16="http://schemas.microsoft.com/office/drawing/2014/main" id="{485346FA-3BDD-4023-8BF7-B551AC16F53A}"/>
                </a:ext>
              </a:extLst>
            </p:cNvPr>
            <p:cNvSpPr/>
            <p:nvPr/>
          </p:nvSpPr>
          <p:spPr>
            <a:xfrm>
              <a:off x="9886933" y="1678377"/>
              <a:ext cx="113295" cy="113295"/>
            </a:xfrm>
            <a:custGeom>
              <a:avLst/>
              <a:gdLst>
                <a:gd name="connsiteX0" fmla="*/ 61107 w 113295"/>
                <a:gd name="connsiteY0" fmla="*/ 15789 h 113295"/>
                <a:gd name="connsiteX1" fmla="*/ 106426 w 113295"/>
                <a:gd name="connsiteY1" fmla="*/ 61107 h 113295"/>
                <a:gd name="connsiteX2" fmla="*/ 61107 w 113295"/>
                <a:gd name="connsiteY2" fmla="*/ 106425 h 113295"/>
                <a:gd name="connsiteX3" fmla="*/ 15789 w 113295"/>
                <a:gd name="connsiteY3" fmla="*/ 61107 h 113295"/>
                <a:gd name="connsiteX4" fmla="*/ 61107 w 113295"/>
                <a:gd name="connsiteY4" fmla="*/ 15789 h 113295"/>
                <a:gd name="connsiteX5" fmla="*/ 61107 w 113295"/>
                <a:gd name="connsiteY5" fmla="*/ 15789 h 113295"/>
                <a:gd name="connsiteX6" fmla="*/ 61107 w 113295"/>
                <a:gd name="connsiteY6" fmla="*/ 35616 h 113295"/>
                <a:gd name="connsiteX7" fmla="*/ 35616 w 113295"/>
                <a:gd name="connsiteY7" fmla="*/ 61107 h 113295"/>
                <a:gd name="connsiteX8" fmla="*/ 61107 w 113295"/>
                <a:gd name="connsiteY8" fmla="*/ 86599 h 113295"/>
                <a:gd name="connsiteX9" fmla="*/ 86599 w 113295"/>
                <a:gd name="connsiteY9" fmla="*/ 61107 h 113295"/>
                <a:gd name="connsiteX10" fmla="*/ 61107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07" y="15789"/>
                  </a:moveTo>
                  <a:cubicBezTo>
                    <a:pt x="86599" y="15789"/>
                    <a:pt x="106426" y="35616"/>
                    <a:pt x="106426" y="61107"/>
                  </a:cubicBezTo>
                  <a:cubicBezTo>
                    <a:pt x="106426" y="86599"/>
                    <a:pt x="86599" y="106425"/>
                    <a:pt x="61107" y="106425"/>
                  </a:cubicBezTo>
                  <a:cubicBezTo>
                    <a:pt x="35616" y="106425"/>
                    <a:pt x="15789" y="86599"/>
                    <a:pt x="15789" y="61107"/>
                  </a:cubicBezTo>
                  <a:cubicBezTo>
                    <a:pt x="15789" y="35616"/>
                    <a:pt x="35616" y="15789"/>
                    <a:pt x="61107" y="15789"/>
                  </a:cubicBezTo>
                  <a:lnTo>
                    <a:pt x="61107" y="15789"/>
                  </a:lnTo>
                  <a:close/>
                  <a:moveTo>
                    <a:pt x="61107" y="35616"/>
                  </a:moveTo>
                  <a:cubicBezTo>
                    <a:pt x="46945" y="35616"/>
                    <a:pt x="35616" y="46945"/>
                    <a:pt x="35616" y="61107"/>
                  </a:cubicBezTo>
                  <a:cubicBezTo>
                    <a:pt x="35616" y="75269"/>
                    <a:pt x="46945" y="86599"/>
                    <a:pt x="61107" y="86599"/>
                  </a:cubicBezTo>
                  <a:cubicBezTo>
                    <a:pt x="75269" y="86599"/>
                    <a:pt x="86599" y="75269"/>
                    <a:pt x="86599" y="61107"/>
                  </a:cubicBezTo>
                  <a:cubicBezTo>
                    <a:pt x="86599" y="46945"/>
                    <a:pt x="75269" y="35616"/>
                    <a:pt x="61107"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79" name="Freeform: Shape 978">
              <a:extLst>
                <a:ext uri="{FF2B5EF4-FFF2-40B4-BE49-F238E27FC236}">
                  <a16:creationId xmlns:a16="http://schemas.microsoft.com/office/drawing/2014/main" id="{921DF92E-69E1-4B1A-98F4-D2DAD4D7732A}"/>
                </a:ext>
              </a:extLst>
            </p:cNvPr>
            <p:cNvSpPr/>
            <p:nvPr/>
          </p:nvSpPr>
          <p:spPr>
            <a:xfrm>
              <a:off x="10892429" y="1461700"/>
              <a:ext cx="84971" cy="84971"/>
            </a:xfrm>
            <a:custGeom>
              <a:avLst/>
              <a:gdLst>
                <a:gd name="connsiteX0" fmla="*/ 48361 w 84971"/>
                <a:gd name="connsiteY0" fmla="*/ 80934 h 84971"/>
                <a:gd name="connsiteX1" fmla="*/ 80934 w 84971"/>
                <a:gd name="connsiteY1" fmla="*/ 48361 h 84971"/>
                <a:gd name="connsiteX2" fmla="*/ 48361 w 84971"/>
                <a:gd name="connsiteY2" fmla="*/ 15789 h 84971"/>
                <a:gd name="connsiteX3" fmla="*/ 15789 w 84971"/>
                <a:gd name="connsiteY3" fmla="*/ 48361 h 84971"/>
                <a:gd name="connsiteX4" fmla="*/ 48361 w 84971"/>
                <a:gd name="connsiteY4" fmla="*/ 8093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8361" y="80934"/>
                  </a:moveTo>
                  <a:cubicBezTo>
                    <a:pt x="66772" y="80934"/>
                    <a:pt x="80934" y="66772"/>
                    <a:pt x="80934" y="48361"/>
                  </a:cubicBezTo>
                  <a:cubicBezTo>
                    <a:pt x="80934" y="29951"/>
                    <a:pt x="66772" y="15789"/>
                    <a:pt x="48361" y="15789"/>
                  </a:cubicBezTo>
                  <a:cubicBezTo>
                    <a:pt x="29951" y="15789"/>
                    <a:pt x="15789" y="29951"/>
                    <a:pt x="15789" y="48361"/>
                  </a:cubicBezTo>
                  <a:cubicBezTo>
                    <a:pt x="15789" y="66772"/>
                    <a:pt x="31368" y="80934"/>
                    <a:pt x="48361" y="8093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0" name="Freeform: Shape 979">
              <a:extLst>
                <a:ext uri="{FF2B5EF4-FFF2-40B4-BE49-F238E27FC236}">
                  <a16:creationId xmlns:a16="http://schemas.microsoft.com/office/drawing/2014/main" id="{33FA03EC-529F-4E87-9695-BFE4D6622390}"/>
                </a:ext>
              </a:extLst>
            </p:cNvPr>
            <p:cNvSpPr/>
            <p:nvPr/>
          </p:nvSpPr>
          <p:spPr>
            <a:xfrm>
              <a:off x="10685666" y="1354070"/>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5789" y="38448"/>
                    <a:pt x="21453"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1" name="Freeform: Shape 980">
              <a:extLst>
                <a:ext uri="{FF2B5EF4-FFF2-40B4-BE49-F238E27FC236}">
                  <a16:creationId xmlns:a16="http://schemas.microsoft.com/office/drawing/2014/main" id="{ADB4ED15-7A99-4B79-86BE-E3302BCAA240}"/>
                </a:ext>
              </a:extLst>
            </p:cNvPr>
            <p:cNvSpPr/>
            <p:nvPr/>
          </p:nvSpPr>
          <p:spPr>
            <a:xfrm>
              <a:off x="10542630" y="1841239"/>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9" y="15789"/>
                    <a:pt x="29951" y="15789"/>
                  </a:cubicBezTo>
                  <a:cubicBezTo>
                    <a:pt x="21454" y="15789"/>
                    <a:pt x="15789" y="21454"/>
                    <a:pt x="15789" y="29951"/>
                  </a:cubicBezTo>
                  <a:cubicBezTo>
                    <a:pt x="15789" y="37032"/>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2" name="Freeform: Shape 981">
              <a:extLst>
                <a:ext uri="{FF2B5EF4-FFF2-40B4-BE49-F238E27FC236}">
                  <a16:creationId xmlns:a16="http://schemas.microsoft.com/office/drawing/2014/main" id="{DA85733A-64DA-4CB6-94AC-988EA42EDA1E}"/>
                </a:ext>
              </a:extLst>
            </p:cNvPr>
            <p:cNvSpPr/>
            <p:nvPr/>
          </p:nvSpPr>
          <p:spPr>
            <a:xfrm>
              <a:off x="10502976" y="2117396"/>
              <a:ext cx="84971" cy="84971"/>
            </a:xfrm>
            <a:custGeom>
              <a:avLst/>
              <a:gdLst>
                <a:gd name="connsiteX0" fmla="*/ 44113 w 84971"/>
                <a:gd name="connsiteY0" fmla="*/ 71020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1020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1020"/>
                  </a:moveTo>
                  <a:cubicBezTo>
                    <a:pt x="59691" y="71020"/>
                    <a:pt x="72437" y="58275"/>
                    <a:pt x="72437" y="44113"/>
                  </a:cubicBezTo>
                  <a:cubicBezTo>
                    <a:pt x="72437" y="28535"/>
                    <a:pt x="59691" y="15789"/>
                    <a:pt x="44113" y="15789"/>
                  </a:cubicBezTo>
                  <a:cubicBezTo>
                    <a:pt x="28535" y="15789"/>
                    <a:pt x="15789" y="28535"/>
                    <a:pt x="15789" y="44113"/>
                  </a:cubicBezTo>
                  <a:cubicBezTo>
                    <a:pt x="17206" y="58275"/>
                    <a:pt x="29951" y="71020"/>
                    <a:pt x="44113" y="7102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3" name="Freeform: Shape 982">
              <a:extLst>
                <a:ext uri="{FF2B5EF4-FFF2-40B4-BE49-F238E27FC236}">
                  <a16:creationId xmlns:a16="http://schemas.microsoft.com/office/drawing/2014/main" id="{D55C5F11-3298-44FE-B766-9E0C35F88AAF}"/>
                </a:ext>
              </a:extLst>
            </p:cNvPr>
            <p:cNvSpPr/>
            <p:nvPr/>
          </p:nvSpPr>
          <p:spPr>
            <a:xfrm>
              <a:off x="10609191" y="1957367"/>
              <a:ext cx="70810" cy="70810"/>
            </a:xfrm>
            <a:custGeom>
              <a:avLst/>
              <a:gdLst>
                <a:gd name="connsiteX0" fmla="*/ 38449 w 70809"/>
                <a:gd name="connsiteY0" fmla="*/ 15789 h 70809"/>
                <a:gd name="connsiteX1" fmla="*/ 61107 w 70809"/>
                <a:gd name="connsiteY1" fmla="*/ 38448 h 70809"/>
                <a:gd name="connsiteX2" fmla="*/ 38449 w 70809"/>
                <a:gd name="connsiteY2" fmla="*/ 61107 h 70809"/>
                <a:gd name="connsiteX3" fmla="*/ 15789 w 70809"/>
                <a:gd name="connsiteY3" fmla="*/ 38448 h 70809"/>
                <a:gd name="connsiteX4" fmla="*/ 38449 w 70809"/>
                <a:gd name="connsiteY4" fmla="*/ 15789 h 70809"/>
                <a:gd name="connsiteX5" fmla="*/ 38449 w 70809"/>
                <a:gd name="connsiteY5" fmla="*/ 15789 h 70809"/>
                <a:gd name="connsiteX6" fmla="*/ 38449 w 70809"/>
                <a:gd name="connsiteY6" fmla="*/ 25702 h 70809"/>
                <a:gd name="connsiteX7" fmla="*/ 25703 w 70809"/>
                <a:gd name="connsiteY7" fmla="*/ 38448 h 70809"/>
                <a:gd name="connsiteX8" fmla="*/ 38449 w 70809"/>
                <a:gd name="connsiteY8" fmla="*/ 51194 h 70809"/>
                <a:gd name="connsiteX9" fmla="*/ 51194 w 70809"/>
                <a:gd name="connsiteY9" fmla="*/ 38448 h 70809"/>
                <a:gd name="connsiteX10" fmla="*/ 38449 w 70809"/>
                <a:gd name="connsiteY10" fmla="*/ 25702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38449" y="15789"/>
                  </a:moveTo>
                  <a:cubicBezTo>
                    <a:pt x="51194" y="15789"/>
                    <a:pt x="61107" y="25702"/>
                    <a:pt x="61107" y="38448"/>
                  </a:cubicBezTo>
                  <a:cubicBezTo>
                    <a:pt x="61107" y="51194"/>
                    <a:pt x="51194" y="61107"/>
                    <a:pt x="38449" y="61107"/>
                  </a:cubicBezTo>
                  <a:cubicBezTo>
                    <a:pt x="25703" y="61107"/>
                    <a:pt x="15789" y="51194"/>
                    <a:pt x="15789" y="38448"/>
                  </a:cubicBezTo>
                  <a:cubicBezTo>
                    <a:pt x="15789" y="25702"/>
                    <a:pt x="25703" y="15789"/>
                    <a:pt x="38449" y="15789"/>
                  </a:cubicBezTo>
                  <a:lnTo>
                    <a:pt x="38449" y="15789"/>
                  </a:lnTo>
                  <a:close/>
                  <a:moveTo>
                    <a:pt x="38449" y="25702"/>
                  </a:moveTo>
                  <a:cubicBezTo>
                    <a:pt x="31368" y="25702"/>
                    <a:pt x="25703" y="31367"/>
                    <a:pt x="25703" y="38448"/>
                  </a:cubicBezTo>
                  <a:cubicBezTo>
                    <a:pt x="25703" y="45529"/>
                    <a:pt x="31368" y="51194"/>
                    <a:pt x="38449" y="51194"/>
                  </a:cubicBezTo>
                  <a:cubicBezTo>
                    <a:pt x="45530" y="51194"/>
                    <a:pt x="51194" y="45529"/>
                    <a:pt x="51194" y="38448"/>
                  </a:cubicBezTo>
                  <a:cubicBezTo>
                    <a:pt x="51194" y="31367"/>
                    <a:pt x="45530" y="25702"/>
                    <a:pt x="38449" y="2570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4" name="Freeform: Shape 983">
              <a:extLst>
                <a:ext uri="{FF2B5EF4-FFF2-40B4-BE49-F238E27FC236}">
                  <a16:creationId xmlns:a16="http://schemas.microsoft.com/office/drawing/2014/main" id="{F4BF30CF-8F90-4BE1-89C6-992BC855BA16}"/>
                </a:ext>
              </a:extLst>
            </p:cNvPr>
            <p:cNvSpPr/>
            <p:nvPr/>
          </p:nvSpPr>
          <p:spPr>
            <a:xfrm>
              <a:off x="10651677" y="1766181"/>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9" y="15789"/>
                    <a:pt x="29951" y="15789"/>
                  </a:cubicBezTo>
                  <a:cubicBezTo>
                    <a:pt x="22870" y="15789"/>
                    <a:pt x="15789" y="21454"/>
                    <a:pt x="15789" y="29951"/>
                  </a:cubicBezTo>
                  <a:cubicBezTo>
                    <a:pt x="15789" y="38448"/>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5" name="Freeform: Shape 984">
              <a:extLst>
                <a:ext uri="{FF2B5EF4-FFF2-40B4-BE49-F238E27FC236}">
                  <a16:creationId xmlns:a16="http://schemas.microsoft.com/office/drawing/2014/main" id="{7B550305-0DDB-4813-8B89-03A8D893A31B}"/>
                </a:ext>
              </a:extLst>
            </p:cNvPr>
            <p:cNvSpPr/>
            <p:nvPr/>
          </p:nvSpPr>
          <p:spPr>
            <a:xfrm>
              <a:off x="10763556" y="1659967"/>
              <a:ext cx="84971" cy="84971"/>
            </a:xfrm>
            <a:custGeom>
              <a:avLst/>
              <a:gdLst>
                <a:gd name="connsiteX0" fmla="*/ 46945 w 84971"/>
                <a:gd name="connsiteY0" fmla="*/ 79518 h 84971"/>
                <a:gd name="connsiteX1" fmla="*/ 78101 w 84971"/>
                <a:gd name="connsiteY1" fmla="*/ 48361 h 84971"/>
                <a:gd name="connsiteX2" fmla="*/ 46945 w 84971"/>
                <a:gd name="connsiteY2" fmla="*/ 15789 h 84971"/>
                <a:gd name="connsiteX3" fmla="*/ 15789 w 84971"/>
                <a:gd name="connsiteY3" fmla="*/ 48361 h 84971"/>
                <a:gd name="connsiteX4" fmla="*/ 46945 w 84971"/>
                <a:gd name="connsiteY4" fmla="*/ 79518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6945" y="79518"/>
                  </a:moveTo>
                  <a:cubicBezTo>
                    <a:pt x="63939" y="79518"/>
                    <a:pt x="78101" y="65356"/>
                    <a:pt x="78101" y="48361"/>
                  </a:cubicBezTo>
                  <a:cubicBezTo>
                    <a:pt x="78101" y="31367"/>
                    <a:pt x="63939" y="15789"/>
                    <a:pt x="46945" y="15789"/>
                  </a:cubicBezTo>
                  <a:cubicBezTo>
                    <a:pt x="29951" y="15789"/>
                    <a:pt x="15789" y="29951"/>
                    <a:pt x="15789" y="48361"/>
                  </a:cubicBezTo>
                  <a:cubicBezTo>
                    <a:pt x="15789" y="66772"/>
                    <a:pt x="29951" y="79518"/>
                    <a:pt x="46945" y="7951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6" name="Freeform: Shape 985">
              <a:extLst>
                <a:ext uri="{FF2B5EF4-FFF2-40B4-BE49-F238E27FC236}">
                  <a16:creationId xmlns:a16="http://schemas.microsoft.com/office/drawing/2014/main" id="{4BA89490-6F50-45F8-8B95-1AC9A1F25116}"/>
                </a:ext>
              </a:extLst>
            </p:cNvPr>
            <p:cNvSpPr/>
            <p:nvPr/>
          </p:nvSpPr>
          <p:spPr>
            <a:xfrm>
              <a:off x="11304541" y="1446122"/>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1454"/>
                    <a:pt x="38448" y="15789"/>
                    <a:pt x="29951" y="15789"/>
                  </a:cubicBezTo>
                  <a:cubicBezTo>
                    <a:pt x="21453" y="15789"/>
                    <a:pt x="15789" y="21454"/>
                    <a:pt x="15789" y="29951"/>
                  </a:cubicBezTo>
                  <a:cubicBezTo>
                    <a:pt x="15789" y="38448"/>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7" name="Freeform: Shape 986">
              <a:extLst>
                <a:ext uri="{FF2B5EF4-FFF2-40B4-BE49-F238E27FC236}">
                  <a16:creationId xmlns:a16="http://schemas.microsoft.com/office/drawing/2014/main" id="{270F5C41-DA9B-4F18-B73C-921548275B01}"/>
                </a:ext>
              </a:extLst>
            </p:cNvPr>
            <p:cNvSpPr/>
            <p:nvPr/>
          </p:nvSpPr>
          <p:spPr>
            <a:xfrm>
              <a:off x="10481734" y="1499937"/>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4287"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8" name="Freeform: Shape 987">
              <a:extLst>
                <a:ext uri="{FF2B5EF4-FFF2-40B4-BE49-F238E27FC236}">
                  <a16:creationId xmlns:a16="http://schemas.microsoft.com/office/drawing/2014/main" id="{FEA3B9D9-B6BB-431A-95E9-B302D282B6A9}"/>
                </a:ext>
              </a:extLst>
            </p:cNvPr>
            <p:cNvSpPr/>
            <p:nvPr/>
          </p:nvSpPr>
          <p:spPr>
            <a:xfrm>
              <a:off x="10528468" y="1161468"/>
              <a:ext cx="127457" cy="127457"/>
            </a:xfrm>
            <a:custGeom>
              <a:avLst/>
              <a:gdLst>
                <a:gd name="connsiteX0" fmla="*/ 63940 w 127457"/>
                <a:gd name="connsiteY0" fmla="*/ 15789 h 127457"/>
                <a:gd name="connsiteX1" fmla="*/ 112091 w 127457"/>
                <a:gd name="connsiteY1" fmla="*/ 63940 h 127457"/>
                <a:gd name="connsiteX2" fmla="*/ 63940 w 127457"/>
                <a:gd name="connsiteY2" fmla="*/ 112090 h 127457"/>
                <a:gd name="connsiteX3" fmla="*/ 15789 w 127457"/>
                <a:gd name="connsiteY3" fmla="*/ 63940 h 127457"/>
                <a:gd name="connsiteX4" fmla="*/ 63940 w 127457"/>
                <a:gd name="connsiteY4" fmla="*/ 15789 h 127457"/>
                <a:gd name="connsiteX5" fmla="*/ 63940 w 127457"/>
                <a:gd name="connsiteY5" fmla="*/ 15789 h 127457"/>
                <a:gd name="connsiteX6" fmla="*/ 63940 w 127457"/>
                <a:gd name="connsiteY6" fmla="*/ 24286 h 127457"/>
                <a:gd name="connsiteX7" fmla="*/ 25703 w 127457"/>
                <a:gd name="connsiteY7" fmla="*/ 62523 h 127457"/>
                <a:gd name="connsiteX8" fmla="*/ 63940 w 127457"/>
                <a:gd name="connsiteY8" fmla="*/ 100760 h 127457"/>
                <a:gd name="connsiteX9" fmla="*/ 102177 w 127457"/>
                <a:gd name="connsiteY9" fmla="*/ 62523 h 127457"/>
                <a:gd name="connsiteX10" fmla="*/ 63940 w 127457"/>
                <a:gd name="connsiteY10" fmla="*/ 24286 h 12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457" h="127457">
                  <a:moveTo>
                    <a:pt x="63940" y="15789"/>
                  </a:moveTo>
                  <a:cubicBezTo>
                    <a:pt x="90848" y="15789"/>
                    <a:pt x="112091" y="37032"/>
                    <a:pt x="112091" y="63940"/>
                  </a:cubicBezTo>
                  <a:cubicBezTo>
                    <a:pt x="112091" y="90847"/>
                    <a:pt x="90848" y="112090"/>
                    <a:pt x="63940" y="112090"/>
                  </a:cubicBezTo>
                  <a:cubicBezTo>
                    <a:pt x="37032" y="112090"/>
                    <a:pt x="15789" y="90847"/>
                    <a:pt x="15789" y="63940"/>
                  </a:cubicBezTo>
                  <a:cubicBezTo>
                    <a:pt x="15789" y="37032"/>
                    <a:pt x="37032" y="15789"/>
                    <a:pt x="63940" y="15789"/>
                  </a:cubicBezTo>
                  <a:lnTo>
                    <a:pt x="63940" y="15789"/>
                  </a:lnTo>
                  <a:close/>
                  <a:moveTo>
                    <a:pt x="63940" y="24286"/>
                  </a:moveTo>
                  <a:cubicBezTo>
                    <a:pt x="42697" y="24286"/>
                    <a:pt x="25703" y="41280"/>
                    <a:pt x="25703" y="62523"/>
                  </a:cubicBezTo>
                  <a:cubicBezTo>
                    <a:pt x="25703" y="83766"/>
                    <a:pt x="42697" y="100760"/>
                    <a:pt x="63940" y="100760"/>
                  </a:cubicBezTo>
                  <a:cubicBezTo>
                    <a:pt x="85183" y="100760"/>
                    <a:pt x="102177" y="83766"/>
                    <a:pt x="102177" y="62523"/>
                  </a:cubicBezTo>
                  <a:cubicBezTo>
                    <a:pt x="102177" y="42697"/>
                    <a:pt x="85183" y="24286"/>
                    <a:pt x="63940"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89" name="Freeform: Shape 988">
              <a:extLst>
                <a:ext uri="{FF2B5EF4-FFF2-40B4-BE49-F238E27FC236}">
                  <a16:creationId xmlns:a16="http://schemas.microsoft.com/office/drawing/2014/main" id="{7A712B3B-FC57-4BD1-A89F-B19843F30657}"/>
                </a:ext>
              </a:extLst>
            </p:cNvPr>
            <p:cNvSpPr/>
            <p:nvPr/>
          </p:nvSpPr>
          <p:spPr>
            <a:xfrm>
              <a:off x="10265057" y="1407885"/>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8101"/>
                    <a:pt x="95095" y="55442"/>
                  </a:cubicBezTo>
                  <a:cubicBezTo>
                    <a:pt x="95095" y="34199"/>
                    <a:pt x="78102" y="15789"/>
                    <a:pt x="55442" y="15789"/>
                  </a:cubicBezTo>
                  <a:cubicBezTo>
                    <a:pt x="34199" y="15789"/>
                    <a:pt x="15789" y="32783"/>
                    <a:pt x="15789" y="55442"/>
                  </a:cubicBezTo>
                  <a:cubicBezTo>
                    <a:pt x="15789" y="78101"/>
                    <a:pt x="34199" y="95096"/>
                    <a:pt x="55442" y="950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0" name="Freeform: Shape 989">
              <a:extLst>
                <a:ext uri="{FF2B5EF4-FFF2-40B4-BE49-F238E27FC236}">
                  <a16:creationId xmlns:a16="http://schemas.microsoft.com/office/drawing/2014/main" id="{9E4F081F-D2F6-4E59-BE2C-4EFE4C57B3D1}"/>
                </a:ext>
              </a:extLst>
            </p:cNvPr>
            <p:cNvSpPr/>
            <p:nvPr/>
          </p:nvSpPr>
          <p:spPr>
            <a:xfrm>
              <a:off x="10398179" y="1317249"/>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2" y="15789"/>
                    <a:pt x="15789" y="25702"/>
                    <a:pt x="15789" y="37032"/>
                  </a:cubicBezTo>
                  <a:cubicBezTo>
                    <a:pt x="15789" y="48361"/>
                    <a:pt x="25702"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1" name="Freeform: Shape 990">
              <a:extLst>
                <a:ext uri="{FF2B5EF4-FFF2-40B4-BE49-F238E27FC236}">
                  <a16:creationId xmlns:a16="http://schemas.microsoft.com/office/drawing/2014/main" id="{FBD21DEF-52A3-4973-A99E-1D3FEED39450}"/>
                </a:ext>
              </a:extLst>
            </p:cNvPr>
            <p:cNvSpPr/>
            <p:nvPr/>
          </p:nvSpPr>
          <p:spPr>
            <a:xfrm>
              <a:off x="10834366" y="1237942"/>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1453" y="15789"/>
                    <a:pt x="15789" y="21454"/>
                    <a:pt x="15789" y="29951"/>
                  </a:cubicBezTo>
                  <a:cubicBezTo>
                    <a:pt x="15789" y="38448"/>
                    <a:pt x="21453"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2" name="Freeform: Shape 991">
              <a:extLst>
                <a:ext uri="{FF2B5EF4-FFF2-40B4-BE49-F238E27FC236}">
                  <a16:creationId xmlns:a16="http://schemas.microsoft.com/office/drawing/2014/main" id="{5F30CCC6-E17B-4618-8AFC-269A60C1882F}"/>
                </a:ext>
              </a:extLst>
            </p:cNvPr>
            <p:cNvSpPr/>
            <p:nvPr/>
          </p:nvSpPr>
          <p:spPr>
            <a:xfrm>
              <a:off x="8494817" y="1665632"/>
              <a:ext cx="155781" cy="15578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3" name="Freeform: Shape 992">
              <a:extLst>
                <a:ext uri="{FF2B5EF4-FFF2-40B4-BE49-F238E27FC236}">
                  <a16:creationId xmlns:a16="http://schemas.microsoft.com/office/drawing/2014/main" id="{D37A1194-0EC7-4DA9-866C-5DEC9C9BB808}"/>
                </a:ext>
              </a:extLst>
            </p:cNvPr>
            <p:cNvSpPr/>
            <p:nvPr/>
          </p:nvSpPr>
          <p:spPr>
            <a:xfrm>
              <a:off x="9633435" y="1313000"/>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8101"/>
                    <a:pt x="95095" y="55442"/>
                  </a:cubicBezTo>
                  <a:cubicBezTo>
                    <a:pt x="95095" y="34200"/>
                    <a:pt x="78101" y="15789"/>
                    <a:pt x="55442" y="15789"/>
                  </a:cubicBezTo>
                  <a:cubicBezTo>
                    <a:pt x="34199" y="15789"/>
                    <a:pt x="15789" y="32783"/>
                    <a:pt x="15789" y="55442"/>
                  </a:cubicBezTo>
                  <a:cubicBezTo>
                    <a:pt x="15789" y="78101"/>
                    <a:pt x="34199" y="95096"/>
                    <a:pt x="55442" y="950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4" name="Freeform: Shape 993">
              <a:extLst>
                <a:ext uri="{FF2B5EF4-FFF2-40B4-BE49-F238E27FC236}">
                  <a16:creationId xmlns:a16="http://schemas.microsoft.com/office/drawing/2014/main" id="{F931DCAE-BB7B-4EC8-8A90-DD588C9F174A}"/>
                </a:ext>
              </a:extLst>
            </p:cNvPr>
            <p:cNvSpPr/>
            <p:nvPr/>
          </p:nvSpPr>
          <p:spPr>
            <a:xfrm>
              <a:off x="9403964" y="2080575"/>
              <a:ext cx="155781" cy="155781"/>
            </a:xfrm>
            <a:custGeom>
              <a:avLst/>
              <a:gdLst>
                <a:gd name="connsiteX0" fmla="*/ 80982 w 155781"/>
                <a:gd name="connsiteY0" fmla="*/ 15789 h 155780"/>
                <a:gd name="connsiteX1" fmla="*/ 146127 w 155781"/>
                <a:gd name="connsiteY1" fmla="*/ 80934 h 155780"/>
                <a:gd name="connsiteX2" fmla="*/ 80982 w 155781"/>
                <a:gd name="connsiteY2" fmla="*/ 146079 h 155780"/>
                <a:gd name="connsiteX3" fmla="*/ 15838 w 155781"/>
                <a:gd name="connsiteY3" fmla="*/ 80934 h 155780"/>
                <a:gd name="connsiteX4" fmla="*/ 80982 w 155781"/>
                <a:gd name="connsiteY4" fmla="*/ 15789 h 155780"/>
                <a:gd name="connsiteX5" fmla="*/ 80982 w 155781"/>
                <a:gd name="connsiteY5" fmla="*/ 15789 h 155780"/>
                <a:gd name="connsiteX6" fmla="*/ 80982 w 155781"/>
                <a:gd name="connsiteY6" fmla="*/ 44113 h 155780"/>
                <a:gd name="connsiteX7" fmla="*/ 44161 w 155781"/>
                <a:gd name="connsiteY7" fmla="*/ 80934 h 155780"/>
                <a:gd name="connsiteX8" fmla="*/ 80982 w 155781"/>
                <a:gd name="connsiteY8" fmla="*/ 117755 h 155780"/>
                <a:gd name="connsiteX9" fmla="*/ 117804 w 155781"/>
                <a:gd name="connsiteY9" fmla="*/ 80934 h 155780"/>
                <a:gd name="connsiteX10" fmla="*/ 80982 w 155781"/>
                <a:gd name="connsiteY10" fmla="*/ 44113 h 155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781" h="155780">
                  <a:moveTo>
                    <a:pt x="80982" y="15789"/>
                  </a:moveTo>
                  <a:cubicBezTo>
                    <a:pt x="117804" y="15789"/>
                    <a:pt x="146127" y="45529"/>
                    <a:pt x="146127" y="80934"/>
                  </a:cubicBezTo>
                  <a:cubicBezTo>
                    <a:pt x="146127" y="117755"/>
                    <a:pt x="116387" y="146079"/>
                    <a:pt x="80982" y="146079"/>
                  </a:cubicBezTo>
                  <a:cubicBezTo>
                    <a:pt x="44161" y="146079"/>
                    <a:pt x="15838" y="116339"/>
                    <a:pt x="15838" y="80934"/>
                  </a:cubicBezTo>
                  <a:cubicBezTo>
                    <a:pt x="14421" y="45529"/>
                    <a:pt x="44161" y="15789"/>
                    <a:pt x="80982" y="15789"/>
                  </a:cubicBezTo>
                  <a:lnTo>
                    <a:pt x="80982" y="15789"/>
                  </a:lnTo>
                  <a:close/>
                  <a:moveTo>
                    <a:pt x="80982" y="44113"/>
                  </a:moveTo>
                  <a:cubicBezTo>
                    <a:pt x="61156" y="44113"/>
                    <a:pt x="44161" y="61107"/>
                    <a:pt x="44161" y="80934"/>
                  </a:cubicBezTo>
                  <a:cubicBezTo>
                    <a:pt x="44161" y="100760"/>
                    <a:pt x="61156" y="117755"/>
                    <a:pt x="80982" y="117755"/>
                  </a:cubicBezTo>
                  <a:cubicBezTo>
                    <a:pt x="100809" y="117755"/>
                    <a:pt x="117804" y="100760"/>
                    <a:pt x="117804" y="80934"/>
                  </a:cubicBezTo>
                  <a:cubicBezTo>
                    <a:pt x="117804" y="61107"/>
                    <a:pt x="100809" y="44113"/>
                    <a:pt x="80982"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5" name="Freeform: Shape 994">
              <a:extLst>
                <a:ext uri="{FF2B5EF4-FFF2-40B4-BE49-F238E27FC236}">
                  <a16:creationId xmlns:a16="http://schemas.microsoft.com/office/drawing/2014/main" id="{38B0942E-5993-4508-BF93-478C83931DFA}"/>
                </a:ext>
              </a:extLst>
            </p:cNvPr>
            <p:cNvSpPr/>
            <p:nvPr/>
          </p:nvSpPr>
          <p:spPr>
            <a:xfrm>
              <a:off x="9412509" y="1192624"/>
              <a:ext cx="113295" cy="113295"/>
            </a:xfrm>
            <a:custGeom>
              <a:avLst/>
              <a:gdLst>
                <a:gd name="connsiteX0" fmla="*/ 61107 w 113295"/>
                <a:gd name="connsiteY0" fmla="*/ 15789 h 113295"/>
                <a:gd name="connsiteX1" fmla="*/ 106426 w 113295"/>
                <a:gd name="connsiteY1" fmla="*/ 61107 h 113295"/>
                <a:gd name="connsiteX2" fmla="*/ 61107 w 113295"/>
                <a:gd name="connsiteY2" fmla="*/ 106425 h 113295"/>
                <a:gd name="connsiteX3" fmla="*/ 15789 w 113295"/>
                <a:gd name="connsiteY3" fmla="*/ 61107 h 113295"/>
                <a:gd name="connsiteX4" fmla="*/ 61107 w 113295"/>
                <a:gd name="connsiteY4" fmla="*/ 15789 h 113295"/>
                <a:gd name="connsiteX5" fmla="*/ 61107 w 113295"/>
                <a:gd name="connsiteY5" fmla="*/ 15789 h 113295"/>
                <a:gd name="connsiteX6" fmla="*/ 61107 w 113295"/>
                <a:gd name="connsiteY6" fmla="*/ 35616 h 113295"/>
                <a:gd name="connsiteX7" fmla="*/ 35616 w 113295"/>
                <a:gd name="connsiteY7" fmla="*/ 61107 h 113295"/>
                <a:gd name="connsiteX8" fmla="*/ 61107 w 113295"/>
                <a:gd name="connsiteY8" fmla="*/ 86598 h 113295"/>
                <a:gd name="connsiteX9" fmla="*/ 86599 w 113295"/>
                <a:gd name="connsiteY9" fmla="*/ 61107 h 113295"/>
                <a:gd name="connsiteX10" fmla="*/ 61107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07" y="15789"/>
                  </a:moveTo>
                  <a:cubicBezTo>
                    <a:pt x="86599" y="15789"/>
                    <a:pt x="106426" y="35616"/>
                    <a:pt x="106426" y="61107"/>
                  </a:cubicBezTo>
                  <a:cubicBezTo>
                    <a:pt x="106426" y="86598"/>
                    <a:pt x="86599" y="106425"/>
                    <a:pt x="61107" y="106425"/>
                  </a:cubicBezTo>
                  <a:cubicBezTo>
                    <a:pt x="35616" y="106425"/>
                    <a:pt x="15789" y="86598"/>
                    <a:pt x="15789" y="61107"/>
                  </a:cubicBezTo>
                  <a:cubicBezTo>
                    <a:pt x="15789" y="35616"/>
                    <a:pt x="35616" y="15789"/>
                    <a:pt x="61107" y="15789"/>
                  </a:cubicBezTo>
                  <a:lnTo>
                    <a:pt x="61107" y="15789"/>
                  </a:lnTo>
                  <a:close/>
                  <a:moveTo>
                    <a:pt x="61107" y="35616"/>
                  </a:moveTo>
                  <a:cubicBezTo>
                    <a:pt x="46945" y="35616"/>
                    <a:pt x="35616" y="46945"/>
                    <a:pt x="35616" y="61107"/>
                  </a:cubicBezTo>
                  <a:cubicBezTo>
                    <a:pt x="35616" y="75269"/>
                    <a:pt x="46945" y="86598"/>
                    <a:pt x="61107" y="86598"/>
                  </a:cubicBezTo>
                  <a:cubicBezTo>
                    <a:pt x="75269" y="86598"/>
                    <a:pt x="86599" y="75269"/>
                    <a:pt x="86599" y="61107"/>
                  </a:cubicBezTo>
                  <a:cubicBezTo>
                    <a:pt x="86599" y="46945"/>
                    <a:pt x="75269" y="35616"/>
                    <a:pt x="61107"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6" name="Freeform: Shape 995">
              <a:extLst>
                <a:ext uri="{FF2B5EF4-FFF2-40B4-BE49-F238E27FC236}">
                  <a16:creationId xmlns:a16="http://schemas.microsoft.com/office/drawing/2014/main" id="{45CE3690-84CF-444F-98CE-2566BA476F3B}"/>
                </a:ext>
              </a:extLst>
            </p:cNvPr>
            <p:cNvSpPr/>
            <p:nvPr/>
          </p:nvSpPr>
          <p:spPr>
            <a:xfrm>
              <a:off x="8807795" y="2421877"/>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1" y="49777"/>
                    <a:pt x="49778" y="42697"/>
                    <a:pt x="49778" y="32783"/>
                  </a:cubicBezTo>
                  <a:cubicBezTo>
                    <a:pt x="49778" y="22870"/>
                    <a:pt x="42697" y="15789"/>
                    <a:pt x="32783" y="15789"/>
                  </a:cubicBezTo>
                  <a:cubicBezTo>
                    <a:pt x="24287" y="15789"/>
                    <a:pt x="15789" y="22870"/>
                    <a:pt x="15789" y="32783"/>
                  </a:cubicBezTo>
                  <a:cubicBezTo>
                    <a:pt x="15789" y="42697"/>
                    <a:pt x="24287"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7" name="Freeform: Shape 996">
              <a:extLst>
                <a:ext uri="{FF2B5EF4-FFF2-40B4-BE49-F238E27FC236}">
                  <a16:creationId xmlns:a16="http://schemas.microsoft.com/office/drawing/2014/main" id="{D7144EED-7769-4082-BD53-C1D0102E726B}"/>
                </a:ext>
              </a:extLst>
            </p:cNvPr>
            <p:cNvSpPr/>
            <p:nvPr/>
          </p:nvSpPr>
          <p:spPr>
            <a:xfrm>
              <a:off x="8950831" y="1263433"/>
              <a:ext cx="56648" cy="56648"/>
            </a:xfrm>
            <a:custGeom>
              <a:avLst/>
              <a:gdLst>
                <a:gd name="connsiteX0" fmla="*/ 32783 w 56647"/>
                <a:gd name="connsiteY0" fmla="*/ 49778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7" y="42697"/>
                    <a:pt x="49777" y="32783"/>
                  </a:cubicBezTo>
                  <a:cubicBezTo>
                    <a:pt x="49777" y="22870"/>
                    <a:pt x="42696"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8" name="Freeform: Shape 997">
              <a:extLst>
                <a:ext uri="{FF2B5EF4-FFF2-40B4-BE49-F238E27FC236}">
                  <a16:creationId xmlns:a16="http://schemas.microsoft.com/office/drawing/2014/main" id="{79F5AF8F-8413-4DBB-BEE9-0B1ECEE1A11E}"/>
                </a:ext>
              </a:extLst>
            </p:cNvPr>
            <p:cNvSpPr/>
            <p:nvPr/>
          </p:nvSpPr>
          <p:spPr>
            <a:xfrm>
              <a:off x="8384355" y="1051005"/>
              <a:ext cx="84971" cy="84971"/>
            </a:xfrm>
            <a:custGeom>
              <a:avLst/>
              <a:gdLst>
                <a:gd name="connsiteX0" fmla="*/ 48361 w 84971"/>
                <a:gd name="connsiteY0" fmla="*/ 80934 h 84971"/>
                <a:gd name="connsiteX1" fmla="*/ 80933 w 84971"/>
                <a:gd name="connsiteY1" fmla="*/ 48361 h 84971"/>
                <a:gd name="connsiteX2" fmla="*/ 48361 w 84971"/>
                <a:gd name="connsiteY2" fmla="*/ 15789 h 84971"/>
                <a:gd name="connsiteX3" fmla="*/ 15789 w 84971"/>
                <a:gd name="connsiteY3" fmla="*/ 48361 h 84971"/>
                <a:gd name="connsiteX4" fmla="*/ 48361 w 84971"/>
                <a:gd name="connsiteY4" fmla="*/ 8093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8361" y="80934"/>
                  </a:moveTo>
                  <a:cubicBezTo>
                    <a:pt x="66772" y="80934"/>
                    <a:pt x="80933" y="66772"/>
                    <a:pt x="80933" y="48361"/>
                  </a:cubicBezTo>
                  <a:cubicBezTo>
                    <a:pt x="80933" y="29951"/>
                    <a:pt x="66772" y="15789"/>
                    <a:pt x="48361" y="15789"/>
                  </a:cubicBezTo>
                  <a:cubicBezTo>
                    <a:pt x="29951" y="15789"/>
                    <a:pt x="15789" y="29951"/>
                    <a:pt x="15789" y="48361"/>
                  </a:cubicBezTo>
                  <a:cubicBezTo>
                    <a:pt x="15789" y="66772"/>
                    <a:pt x="29951" y="80934"/>
                    <a:pt x="48361" y="8093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999" name="Freeform: Shape 998">
              <a:extLst>
                <a:ext uri="{FF2B5EF4-FFF2-40B4-BE49-F238E27FC236}">
                  <a16:creationId xmlns:a16="http://schemas.microsoft.com/office/drawing/2014/main" id="{76FFD69C-C028-4127-8376-A70B72FDC9D2}"/>
                </a:ext>
              </a:extLst>
            </p:cNvPr>
            <p:cNvSpPr/>
            <p:nvPr/>
          </p:nvSpPr>
          <p:spPr>
            <a:xfrm>
              <a:off x="9694332" y="2498352"/>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3"/>
                    <a:pt x="48361" y="15789"/>
                    <a:pt x="37032" y="15789"/>
                  </a:cubicBezTo>
                  <a:cubicBezTo>
                    <a:pt x="25703" y="15789"/>
                    <a:pt x="15789" y="25703"/>
                    <a:pt x="15789" y="37032"/>
                  </a:cubicBezTo>
                  <a:cubicBezTo>
                    <a:pt x="15789" y="49778"/>
                    <a:pt x="25703"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0" name="Freeform: Shape 999">
              <a:extLst>
                <a:ext uri="{FF2B5EF4-FFF2-40B4-BE49-F238E27FC236}">
                  <a16:creationId xmlns:a16="http://schemas.microsoft.com/office/drawing/2014/main" id="{2A6D3FBA-D032-4264-8E9A-5B633C4784BD}"/>
                </a:ext>
              </a:extLst>
            </p:cNvPr>
            <p:cNvSpPr/>
            <p:nvPr/>
          </p:nvSpPr>
          <p:spPr>
            <a:xfrm>
              <a:off x="9868523" y="2375143"/>
              <a:ext cx="99133" cy="99133"/>
            </a:xfrm>
            <a:custGeom>
              <a:avLst/>
              <a:gdLst>
                <a:gd name="connsiteX0" fmla="*/ 49778 w 99133"/>
                <a:gd name="connsiteY0" fmla="*/ 83766 h 99133"/>
                <a:gd name="connsiteX1" fmla="*/ 83766 w 99133"/>
                <a:gd name="connsiteY1" fmla="*/ 49778 h 99133"/>
                <a:gd name="connsiteX2" fmla="*/ 49778 w 99133"/>
                <a:gd name="connsiteY2" fmla="*/ 15789 h 99133"/>
                <a:gd name="connsiteX3" fmla="*/ 15789 w 99133"/>
                <a:gd name="connsiteY3" fmla="*/ 49778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8"/>
                  </a:cubicBezTo>
                  <a:cubicBezTo>
                    <a:pt x="83766" y="31367"/>
                    <a:pt x="68188" y="15789"/>
                    <a:pt x="49778" y="15789"/>
                  </a:cubicBezTo>
                  <a:cubicBezTo>
                    <a:pt x="31367" y="15789"/>
                    <a:pt x="15789" y="31367"/>
                    <a:pt x="15789" y="49778"/>
                  </a:cubicBezTo>
                  <a:cubicBezTo>
                    <a:pt x="15789" y="69604"/>
                    <a:pt x="31367" y="83766"/>
                    <a:pt x="49778" y="8376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1" name="Freeform: Shape 1000">
              <a:extLst>
                <a:ext uri="{FF2B5EF4-FFF2-40B4-BE49-F238E27FC236}">
                  <a16:creationId xmlns:a16="http://schemas.microsoft.com/office/drawing/2014/main" id="{EDCC4D87-45AE-482B-8872-485BA5DCF862}"/>
                </a:ext>
              </a:extLst>
            </p:cNvPr>
            <p:cNvSpPr/>
            <p:nvPr/>
          </p:nvSpPr>
          <p:spPr>
            <a:xfrm>
              <a:off x="9923755" y="2870810"/>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5789" y="37032"/>
                    <a:pt x="21453"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2" name="Freeform: Shape 1001">
              <a:extLst>
                <a:ext uri="{FF2B5EF4-FFF2-40B4-BE49-F238E27FC236}">
                  <a16:creationId xmlns:a16="http://schemas.microsoft.com/office/drawing/2014/main" id="{02FB2557-F738-46C8-AECA-485235BD8CB9}"/>
                </a:ext>
              </a:extLst>
            </p:cNvPr>
            <p:cNvSpPr/>
            <p:nvPr/>
          </p:nvSpPr>
          <p:spPr>
            <a:xfrm>
              <a:off x="9983234" y="2675376"/>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4286"/>
                    <a:pt x="46945" y="15789"/>
                    <a:pt x="35616" y="15789"/>
                  </a:cubicBezTo>
                  <a:cubicBezTo>
                    <a:pt x="24287" y="15789"/>
                    <a:pt x="15789" y="24286"/>
                    <a:pt x="15789" y="35616"/>
                  </a:cubicBezTo>
                  <a:cubicBezTo>
                    <a:pt x="15789" y="46945"/>
                    <a:pt x="24287"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3" name="Freeform: Shape 1002">
              <a:extLst>
                <a:ext uri="{FF2B5EF4-FFF2-40B4-BE49-F238E27FC236}">
                  <a16:creationId xmlns:a16="http://schemas.microsoft.com/office/drawing/2014/main" id="{FD41EE78-BF16-4266-B17C-91F5AC49001F}"/>
                </a:ext>
              </a:extLst>
            </p:cNvPr>
            <p:cNvSpPr/>
            <p:nvPr/>
          </p:nvSpPr>
          <p:spPr>
            <a:xfrm>
              <a:off x="9772222" y="2920377"/>
              <a:ext cx="70810" cy="70810"/>
            </a:xfrm>
            <a:custGeom>
              <a:avLst/>
              <a:gdLst>
                <a:gd name="connsiteX0" fmla="*/ 58275 w 70809"/>
                <a:gd name="connsiteY0" fmla="*/ 37032 h 70809"/>
                <a:gd name="connsiteX1" fmla="*/ 37032 w 70809"/>
                <a:gd name="connsiteY1" fmla="*/ 58275 h 70809"/>
                <a:gd name="connsiteX2" fmla="*/ 15789 w 70809"/>
                <a:gd name="connsiteY2" fmla="*/ 37032 h 70809"/>
                <a:gd name="connsiteX3" fmla="*/ 37032 w 70809"/>
                <a:gd name="connsiteY3" fmla="*/ 15789 h 70809"/>
                <a:gd name="connsiteX4" fmla="*/ 58275 w 70809"/>
                <a:gd name="connsiteY4" fmla="*/ 3703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58275" y="37032"/>
                  </a:moveTo>
                  <a:cubicBezTo>
                    <a:pt x="58275" y="48764"/>
                    <a:pt x="48764" y="58275"/>
                    <a:pt x="37032" y="58275"/>
                  </a:cubicBezTo>
                  <a:cubicBezTo>
                    <a:pt x="25300" y="58275"/>
                    <a:pt x="15789" y="48764"/>
                    <a:pt x="15789" y="37032"/>
                  </a:cubicBezTo>
                  <a:cubicBezTo>
                    <a:pt x="15789" y="25300"/>
                    <a:pt x="25300" y="15789"/>
                    <a:pt x="37032" y="15789"/>
                  </a:cubicBezTo>
                  <a:cubicBezTo>
                    <a:pt x="48764" y="15789"/>
                    <a:pt x="58275" y="25300"/>
                    <a:pt x="58275" y="3703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4" name="Freeform: Shape 1003">
              <a:extLst>
                <a:ext uri="{FF2B5EF4-FFF2-40B4-BE49-F238E27FC236}">
                  <a16:creationId xmlns:a16="http://schemas.microsoft.com/office/drawing/2014/main" id="{DDEEF5AB-7ABF-4B74-9A4A-18720CDEF3E3}"/>
                </a:ext>
              </a:extLst>
            </p:cNvPr>
            <p:cNvSpPr/>
            <p:nvPr/>
          </p:nvSpPr>
          <p:spPr>
            <a:xfrm>
              <a:off x="10034217" y="2485606"/>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3" y="15789"/>
                    <a:pt x="15789" y="25702"/>
                    <a:pt x="15789" y="37032"/>
                  </a:cubicBezTo>
                  <a:cubicBezTo>
                    <a:pt x="15789" y="49777"/>
                    <a:pt x="25703"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5" name="Freeform: Shape 1004">
              <a:extLst>
                <a:ext uri="{FF2B5EF4-FFF2-40B4-BE49-F238E27FC236}">
                  <a16:creationId xmlns:a16="http://schemas.microsoft.com/office/drawing/2014/main" id="{B60F93F7-25A6-4141-98A1-65ADA1ABB9D6}"/>
                </a:ext>
              </a:extLst>
            </p:cNvPr>
            <p:cNvSpPr/>
            <p:nvPr/>
          </p:nvSpPr>
          <p:spPr>
            <a:xfrm>
              <a:off x="9997396" y="2832573"/>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4286"/>
                    <a:pt x="46945" y="15789"/>
                    <a:pt x="35616" y="15789"/>
                  </a:cubicBezTo>
                  <a:cubicBezTo>
                    <a:pt x="24287" y="15789"/>
                    <a:pt x="15789" y="24286"/>
                    <a:pt x="15789" y="35616"/>
                  </a:cubicBezTo>
                  <a:cubicBezTo>
                    <a:pt x="15789" y="46945"/>
                    <a:pt x="24287"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6" name="Freeform: Shape 1005">
              <a:extLst>
                <a:ext uri="{FF2B5EF4-FFF2-40B4-BE49-F238E27FC236}">
                  <a16:creationId xmlns:a16="http://schemas.microsoft.com/office/drawing/2014/main" id="{5FFAAC47-E8BC-433E-92C1-7D64487C071D}"/>
                </a:ext>
              </a:extLst>
            </p:cNvPr>
            <p:cNvSpPr/>
            <p:nvPr/>
          </p:nvSpPr>
          <p:spPr>
            <a:xfrm>
              <a:off x="10117772" y="2512514"/>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4286"/>
                    <a:pt x="46945" y="15789"/>
                    <a:pt x="35616" y="15789"/>
                  </a:cubicBezTo>
                  <a:cubicBezTo>
                    <a:pt x="24287" y="15789"/>
                    <a:pt x="15789" y="24286"/>
                    <a:pt x="15789" y="35616"/>
                  </a:cubicBezTo>
                  <a:cubicBezTo>
                    <a:pt x="17206" y="46945"/>
                    <a:pt x="25703"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7" name="Freeform: Shape 1006">
              <a:extLst>
                <a:ext uri="{FF2B5EF4-FFF2-40B4-BE49-F238E27FC236}">
                  <a16:creationId xmlns:a16="http://schemas.microsoft.com/office/drawing/2014/main" id="{C16B8E0C-A036-4DBF-9EA4-50E4780F49F1}"/>
                </a:ext>
              </a:extLst>
            </p:cNvPr>
            <p:cNvSpPr/>
            <p:nvPr/>
          </p:nvSpPr>
          <p:spPr>
            <a:xfrm>
              <a:off x="10107860" y="2478525"/>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5789" y="38448"/>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8" name="Freeform: Shape 1007">
              <a:extLst>
                <a:ext uri="{FF2B5EF4-FFF2-40B4-BE49-F238E27FC236}">
                  <a16:creationId xmlns:a16="http://schemas.microsoft.com/office/drawing/2014/main" id="{2EE44B9D-4977-4CB2-9A99-8F07FA531845}"/>
                </a:ext>
              </a:extLst>
            </p:cNvPr>
            <p:cNvSpPr/>
            <p:nvPr/>
          </p:nvSpPr>
          <p:spPr>
            <a:xfrm>
              <a:off x="10293380" y="2420461"/>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8" y="29951"/>
                    <a:pt x="29951" y="27119"/>
                    <a:pt x="29951" y="22870"/>
                  </a:cubicBezTo>
                  <a:cubicBezTo>
                    <a:pt x="29951" y="18622"/>
                    <a:pt x="27118" y="15789"/>
                    <a:pt x="22870" y="15789"/>
                  </a:cubicBezTo>
                  <a:cubicBezTo>
                    <a:pt x="18622" y="15789"/>
                    <a:pt x="15789" y="18622"/>
                    <a:pt x="15789" y="22870"/>
                  </a:cubicBezTo>
                  <a:cubicBezTo>
                    <a:pt x="15789" y="27119"/>
                    <a:pt x="18622" y="29951"/>
                    <a:pt x="22870"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09" name="Freeform: Shape 1008">
              <a:extLst>
                <a:ext uri="{FF2B5EF4-FFF2-40B4-BE49-F238E27FC236}">
                  <a16:creationId xmlns:a16="http://schemas.microsoft.com/office/drawing/2014/main" id="{1F0A849F-0F1A-4419-9BBA-EAB8EAA6815D}"/>
                </a:ext>
              </a:extLst>
            </p:cNvPr>
            <p:cNvSpPr/>
            <p:nvPr/>
          </p:nvSpPr>
          <p:spPr>
            <a:xfrm>
              <a:off x="10351444" y="2362397"/>
              <a:ext cx="42486" cy="42486"/>
            </a:xfrm>
            <a:custGeom>
              <a:avLst/>
              <a:gdLst>
                <a:gd name="connsiteX0" fmla="*/ 29951 w 42485"/>
                <a:gd name="connsiteY0" fmla="*/ 22870 h 42485"/>
                <a:gd name="connsiteX1" fmla="*/ 22870 w 42485"/>
                <a:gd name="connsiteY1" fmla="*/ 29951 h 42485"/>
                <a:gd name="connsiteX2" fmla="*/ 15789 w 42485"/>
                <a:gd name="connsiteY2" fmla="*/ 22870 h 42485"/>
                <a:gd name="connsiteX3" fmla="*/ 22870 w 42485"/>
                <a:gd name="connsiteY3" fmla="*/ 15789 h 42485"/>
                <a:gd name="connsiteX4" fmla="*/ 29951 w 42485"/>
                <a:gd name="connsiteY4" fmla="*/ 2287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951" y="22870"/>
                  </a:moveTo>
                  <a:cubicBezTo>
                    <a:pt x="29951" y="26781"/>
                    <a:pt x="26780" y="29951"/>
                    <a:pt x="22870" y="29951"/>
                  </a:cubicBezTo>
                  <a:cubicBezTo>
                    <a:pt x="18959" y="29951"/>
                    <a:pt x="15789" y="26781"/>
                    <a:pt x="15789" y="22870"/>
                  </a:cubicBezTo>
                  <a:cubicBezTo>
                    <a:pt x="15789" y="18959"/>
                    <a:pt x="18959" y="15789"/>
                    <a:pt x="22870" y="15789"/>
                  </a:cubicBezTo>
                  <a:cubicBezTo>
                    <a:pt x="26780" y="15789"/>
                    <a:pt x="29951" y="18959"/>
                    <a:pt x="29951" y="2287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10" name="Freeform: Shape 1009">
              <a:extLst>
                <a:ext uri="{FF2B5EF4-FFF2-40B4-BE49-F238E27FC236}">
                  <a16:creationId xmlns:a16="http://schemas.microsoft.com/office/drawing/2014/main" id="{5E68FAFB-9ECB-4E47-89BF-728B3894F5DA}"/>
                </a:ext>
              </a:extLst>
            </p:cNvPr>
            <p:cNvSpPr/>
            <p:nvPr/>
          </p:nvSpPr>
          <p:spPr>
            <a:xfrm>
              <a:off x="10442080" y="2233524"/>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8" y="29951"/>
                    <a:pt x="29951" y="27119"/>
                    <a:pt x="29951" y="22870"/>
                  </a:cubicBezTo>
                  <a:cubicBezTo>
                    <a:pt x="29951" y="18621"/>
                    <a:pt x="27118" y="15789"/>
                    <a:pt x="22870" y="15789"/>
                  </a:cubicBezTo>
                  <a:cubicBezTo>
                    <a:pt x="18622" y="15789"/>
                    <a:pt x="15789" y="18621"/>
                    <a:pt x="15789" y="22870"/>
                  </a:cubicBezTo>
                  <a:cubicBezTo>
                    <a:pt x="15789" y="27119"/>
                    <a:pt x="20037" y="29951"/>
                    <a:pt x="22870"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11" name="Freeform: Shape 1010">
              <a:extLst>
                <a:ext uri="{FF2B5EF4-FFF2-40B4-BE49-F238E27FC236}">
                  <a16:creationId xmlns:a16="http://schemas.microsoft.com/office/drawing/2014/main" id="{D6B35D65-CB6B-47D5-B102-CA76BD07E6F7}"/>
                </a:ext>
              </a:extLst>
            </p:cNvPr>
            <p:cNvSpPr/>
            <p:nvPr/>
          </p:nvSpPr>
          <p:spPr>
            <a:xfrm>
              <a:off x="10082096" y="2114564"/>
              <a:ext cx="42486" cy="42486"/>
            </a:xfrm>
            <a:custGeom>
              <a:avLst/>
              <a:gdLst>
                <a:gd name="connsiteX0" fmla="*/ 25974 w 42485"/>
                <a:gd name="connsiteY0" fmla="*/ 35616 h 42485"/>
                <a:gd name="connsiteX1" fmla="*/ 35887 w 42485"/>
                <a:gd name="connsiteY1" fmla="*/ 25702 h 42485"/>
                <a:gd name="connsiteX2" fmla="*/ 25974 w 42485"/>
                <a:gd name="connsiteY2" fmla="*/ 15789 h 42485"/>
                <a:gd name="connsiteX3" fmla="*/ 16060 w 42485"/>
                <a:gd name="connsiteY3" fmla="*/ 25702 h 42485"/>
                <a:gd name="connsiteX4" fmla="*/ 25974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974" y="35616"/>
                  </a:moveTo>
                  <a:cubicBezTo>
                    <a:pt x="31639" y="35616"/>
                    <a:pt x="35887" y="31367"/>
                    <a:pt x="35887" y="25702"/>
                  </a:cubicBezTo>
                  <a:cubicBezTo>
                    <a:pt x="35887" y="20038"/>
                    <a:pt x="31639" y="15789"/>
                    <a:pt x="25974" y="15789"/>
                  </a:cubicBezTo>
                  <a:cubicBezTo>
                    <a:pt x="20310" y="15789"/>
                    <a:pt x="16060" y="20038"/>
                    <a:pt x="16060" y="25702"/>
                  </a:cubicBezTo>
                  <a:cubicBezTo>
                    <a:pt x="14644" y="29951"/>
                    <a:pt x="18893" y="35616"/>
                    <a:pt x="25974"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12" name="Freeform: Shape 1011">
              <a:extLst>
                <a:ext uri="{FF2B5EF4-FFF2-40B4-BE49-F238E27FC236}">
                  <a16:creationId xmlns:a16="http://schemas.microsoft.com/office/drawing/2014/main" id="{BED2F49C-F44F-41A3-AC1B-473311BBD8F9}"/>
                </a:ext>
              </a:extLst>
            </p:cNvPr>
            <p:cNvSpPr/>
            <p:nvPr/>
          </p:nvSpPr>
          <p:spPr>
            <a:xfrm>
              <a:off x="9852856" y="2794336"/>
              <a:ext cx="84971" cy="84971"/>
            </a:xfrm>
            <a:custGeom>
              <a:avLst/>
              <a:gdLst>
                <a:gd name="connsiteX0" fmla="*/ 48451 w 84971"/>
                <a:gd name="connsiteY0" fmla="*/ 15789 h 84971"/>
                <a:gd name="connsiteX1" fmla="*/ 81023 w 84971"/>
                <a:gd name="connsiteY1" fmla="*/ 48361 h 84971"/>
                <a:gd name="connsiteX2" fmla="*/ 48451 w 84971"/>
                <a:gd name="connsiteY2" fmla="*/ 80934 h 84971"/>
                <a:gd name="connsiteX3" fmla="*/ 15879 w 84971"/>
                <a:gd name="connsiteY3" fmla="*/ 48361 h 84971"/>
                <a:gd name="connsiteX4" fmla="*/ 48451 w 84971"/>
                <a:gd name="connsiteY4" fmla="*/ 15789 h 84971"/>
                <a:gd name="connsiteX5" fmla="*/ 48451 w 84971"/>
                <a:gd name="connsiteY5" fmla="*/ 15789 h 84971"/>
                <a:gd name="connsiteX6" fmla="*/ 48451 w 84971"/>
                <a:gd name="connsiteY6" fmla="*/ 29951 h 84971"/>
                <a:gd name="connsiteX7" fmla="*/ 30041 w 84971"/>
                <a:gd name="connsiteY7" fmla="*/ 48361 h 84971"/>
                <a:gd name="connsiteX8" fmla="*/ 48451 w 84971"/>
                <a:gd name="connsiteY8" fmla="*/ 66772 h 84971"/>
                <a:gd name="connsiteX9" fmla="*/ 66861 w 84971"/>
                <a:gd name="connsiteY9" fmla="*/ 48361 h 84971"/>
                <a:gd name="connsiteX10" fmla="*/ 48451 w 84971"/>
                <a:gd name="connsiteY10" fmla="*/ 29951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8451" y="15789"/>
                  </a:moveTo>
                  <a:cubicBezTo>
                    <a:pt x="66861" y="15789"/>
                    <a:pt x="81023" y="29951"/>
                    <a:pt x="81023" y="48361"/>
                  </a:cubicBezTo>
                  <a:cubicBezTo>
                    <a:pt x="81023" y="66772"/>
                    <a:pt x="66861" y="80934"/>
                    <a:pt x="48451" y="80934"/>
                  </a:cubicBezTo>
                  <a:cubicBezTo>
                    <a:pt x="30041" y="80934"/>
                    <a:pt x="15879" y="66772"/>
                    <a:pt x="15879" y="48361"/>
                  </a:cubicBezTo>
                  <a:cubicBezTo>
                    <a:pt x="14462" y="31367"/>
                    <a:pt x="30041" y="15789"/>
                    <a:pt x="48451" y="15789"/>
                  </a:cubicBezTo>
                  <a:lnTo>
                    <a:pt x="48451" y="15789"/>
                  </a:lnTo>
                  <a:close/>
                  <a:moveTo>
                    <a:pt x="48451" y="29951"/>
                  </a:moveTo>
                  <a:cubicBezTo>
                    <a:pt x="38537" y="29951"/>
                    <a:pt x="30041" y="38448"/>
                    <a:pt x="30041" y="48361"/>
                  </a:cubicBezTo>
                  <a:cubicBezTo>
                    <a:pt x="30041" y="58275"/>
                    <a:pt x="38537" y="66772"/>
                    <a:pt x="48451" y="66772"/>
                  </a:cubicBezTo>
                  <a:cubicBezTo>
                    <a:pt x="58364" y="66772"/>
                    <a:pt x="66861" y="58275"/>
                    <a:pt x="66861" y="48361"/>
                  </a:cubicBezTo>
                  <a:cubicBezTo>
                    <a:pt x="66861" y="38448"/>
                    <a:pt x="58364" y="29951"/>
                    <a:pt x="48451"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013" name="Freeform: Shape 1012">
              <a:extLst>
                <a:ext uri="{FF2B5EF4-FFF2-40B4-BE49-F238E27FC236}">
                  <a16:creationId xmlns:a16="http://schemas.microsoft.com/office/drawing/2014/main" id="{22439C5B-38F5-4A80-8C09-22454E34F861}"/>
                </a:ext>
              </a:extLst>
            </p:cNvPr>
            <p:cNvSpPr/>
            <p:nvPr/>
          </p:nvSpPr>
          <p:spPr>
            <a:xfrm>
              <a:off x="9681585" y="2943036"/>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9" y="15789"/>
                    <a:pt x="29951" y="15789"/>
                  </a:cubicBezTo>
                  <a:cubicBezTo>
                    <a:pt x="22870" y="15789"/>
                    <a:pt x="15789" y="21454"/>
                    <a:pt x="15789" y="29951"/>
                  </a:cubicBezTo>
                  <a:cubicBezTo>
                    <a:pt x="15789" y="38448"/>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08" name="Freeform: Shape 1907">
              <a:extLst>
                <a:ext uri="{FF2B5EF4-FFF2-40B4-BE49-F238E27FC236}">
                  <a16:creationId xmlns:a16="http://schemas.microsoft.com/office/drawing/2014/main" id="{1F11CABE-8857-4FEE-A1D8-C192CE99627B}"/>
                </a:ext>
              </a:extLst>
            </p:cNvPr>
            <p:cNvSpPr/>
            <p:nvPr/>
          </p:nvSpPr>
          <p:spPr>
            <a:xfrm>
              <a:off x="10078119" y="2229275"/>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8" y="29951"/>
                    <a:pt x="29951" y="27119"/>
                    <a:pt x="29951" y="22870"/>
                  </a:cubicBezTo>
                  <a:cubicBezTo>
                    <a:pt x="29951" y="18622"/>
                    <a:pt x="27118" y="15789"/>
                    <a:pt x="22870" y="15789"/>
                  </a:cubicBezTo>
                  <a:cubicBezTo>
                    <a:pt x="18622" y="15789"/>
                    <a:pt x="15789" y="18622"/>
                    <a:pt x="15789" y="22870"/>
                  </a:cubicBezTo>
                  <a:cubicBezTo>
                    <a:pt x="15789" y="25703"/>
                    <a:pt x="18622" y="29951"/>
                    <a:pt x="22870"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09" name="Freeform: Shape 1908">
              <a:extLst>
                <a:ext uri="{FF2B5EF4-FFF2-40B4-BE49-F238E27FC236}">
                  <a16:creationId xmlns:a16="http://schemas.microsoft.com/office/drawing/2014/main" id="{9B47B786-D90F-4152-AE82-02C3DF214991}"/>
                </a:ext>
              </a:extLst>
            </p:cNvPr>
            <p:cNvSpPr/>
            <p:nvPr/>
          </p:nvSpPr>
          <p:spPr>
            <a:xfrm>
              <a:off x="10112108" y="2353900"/>
              <a:ext cx="28324" cy="28324"/>
            </a:xfrm>
            <a:custGeom>
              <a:avLst/>
              <a:gdLst>
                <a:gd name="connsiteX0" fmla="*/ 18622 w 28323"/>
                <a:gd name="connsiteY0" fmla="*/ 21454 h 28323"/>
                <a:gd name="connsiteX1" fmla="*/ 21453 w 28323"/>
                <a:gd name="connsiteY1" fmla="*/ 18621 h 28323"/>
                <a:gd name="connsiteX2" fmla="*/ 18622 w 28323"/>
                <a:gd name="connsiteY2" fmla="*/ 15789 h 28323"/>
                <a:gd name="connsiteX3" fmla="*/ 15789 w 28323"/>
                <a:gd name="connsiteY3" fmla="*/ 18621 h 28323"/>
                <a:gd name="connsiteX4" fmla="*/ 18622 w 28323"/>
                <a:gd name="connsiteY4" fmla="*/ 21454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18622" y="21454"/>
                  </a:moveTo>
                  <a:cubicBezTo>
                    <a:pt x="20037" y="21454"/>
                    <a:pt x="21453" y="20038"/>
                    <a:pt x="21453" y="18621"/>
                  </a:cubicBezTo>
                  <a:cubicBezTo>
                    <a:pt x="21453" y="17205"/>
                    <a:pt x="20037" y="15789"/>
                    <a:pt x="18622" y="15789"/>
                  </a:cubicBezTo>
                  <a:cubicBezTo>
                    <a:pt x="17205" y="15789"/>
                    <a:pt x="15789" y="17205"/>
                    <a:pt x="15789" y="18621"/>
                  </a:cubicBezTo>
                  <a:cubicBezTo>
                    <a:pt x="15789" y="20038"/>
                    <a:pt x="17205" y="21454"/>
                    <a:pt x="18622" y="2145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0" name="Freeform: Shape 1909">
              <a:extLst>
                <a:ext uri="{FF2B5EF4-FFF2-40B4-BE49-F238E27FC236}">
                  <a16:creationId xmlns:a16="http://schemas.microsoft.com/office/drawing/2014/main" id="{9A642A8A-21E0-4507-8D1A-A39F6562710C}"/>
                </a:ext>
              </a:extLst>
            </p:cNvPr>
            <p:cNvSpPr/>
            <p:nvPr/>
          </p:nvSpPr>
          <p:spPr>
            <a:xfrm>
              <a:off x="9300631" y="2607399"/>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6685"/>
                    <a:pt x="95095" y="55442"/>
                  </a:cubicBezTo>
                  <a:cubicBezTo>
                    <a:pt x="95095" y="34199"/>
                    <a:pt x="76685" y="15789"/>
                    <a:pt x="55442" y="15789"/>
                  </a:cubicBezTo>
                  <a:cubicBezTo>
                    <a:pt x="34199" y="15789"/>
                    <a:pt x="15789" y="34199"/>
                    <a:pt x="15789" y="55442"/>
                  </a:cubicBezTo>
                  <a:cubicBezTo>
                    <a:pt x="15789" y="78101"/>
                    <a:pt x="34199" y="95096"/>
                    <a:pt x="55442" y="950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1" name="Freeform: Shape 1910">
              <a:extLst>
                <a:ext uri="{FF2B5EF4-FFF2-40B4-BE49-F238E27FC236}">
                  <a16:creationId xmlns:a16="http://schemas.microsoft.com/office/drawing/2014/main" id="{BCF2F986-1ABB-48ED-837B-FFFCA70AFE16}"/>
                </a:ext>
              </a:extLst>
            </p:cNvPr>
            <p:cNvSpPr/>
            <p:nvPr/>
          </p:nvSpPr>
          <p:spPr>
            <a:xfrm>
              <a:off x="9246766" y="2877891"/>
              <a:ext cx="155781" cy="155781"/>
            </a:xfrm>
            <a:custGeom>
              <a:avLst/>
              <a:gdLst>
                <a:gd name="connsiteX0" fmla="*/ 80983 w 155781"/>
                <a:gd name="connsiteY0" fmla="*/ 15789 h 155780"/>
                <a:gd name="connsiteX1" fmla="*/ 146127 w 155781"/>
                <a:gd name="connsiteY1" fmla="*/ 80934 h 155780"/>
                <a:gd name="connsiteX2" fmla="*/ 80983 w 155781"/>
                <a:gd name="connsiteY2" fmla="*/ 146079 h 155780"/>
                <a:gd name="connsiteX3" fmla="*/ 15838 w 155781"/>
                <a:gd name="connsiteY3" fmla="*/ 80934 h 155780"/>
                <a:gd name="connsiteX4" fmla="*/ 80983 w 155781"/>
                <a:gd name="connsiteY4" fmla="*/ 15789 h 155780"/>
                <a:gd name="connsiteX5" fmla="*/ 80983 w 155781"/>
                <a:gd name="connsiteY5" fmla="*/ 15789 h 155780"/>
                <a:gd name="connsiteX6" fmla="*/ 80983 w 155781"/>
                <a:gd name="connsiteY6" fmla="*/ 44113 h 155780"/>
                <a:gd name="connsiteX7" fmla="*/ 44161 w 155781"/>
                <a:gd name="connsiteY7" fmla="*/ 80934 h 155780"/>
                <a:gd name="connsiteX8" fmla="*/ 80983 w 155781"/>
                <a:gd name="connsiteY8" fmla="*/ 117755 h 155780"/>
                <a:gd name="connsiteX9" fmla="*/ 117804 w 155781"/>
                <a:gd name="connsiteY9" fmla="*/ 80934 h 155780"/>
                <a:gd name="connsiteX10" fmla="*/ 80983 w 155781"/>
                <a:gd name="connsiteY10" fmla="*/ 44113 h 155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781" h="155780">
                  <a:moveTo>
                    <a:pt x="80983" y="15789"/>
                  </a:moveTo>
                  <a:cubicBezTo>
                    <a:pt x="117804" y="15789"/>
                    <a:pt x="146127" y="45529"/>
                    <a:pt x="146127" y="80934"/>
                  </a:cubicBezTo>
                  <a:cubicBezTo>
                    <a:pt x="146127" y="117755"/>
                    <a:pt x="116388" y="146079"/>
                    <a:pt x="80983" y="146079"/>
                  </a:cubicBezTo>
                  <a:cubicBezTo>
                    <a:pt x="44161" y="146079"/>
                    <a:pt x="15838" y="116339"/>
                    <a:pt x="15838" y="80934"/>
                  </a:cubicBezTo>
                  <a:cubicBezTo>
                    <a:pt x="14422" y="44113"/>
                    <a:pt x="44161" y="15789"/>
                    <a:pt x="80983" y="15789"/>
                  </a:cubicBezTo>
                  <a:lnTo>
                    <a:pt x="80983" y="15789"/>
                  </a:lnTo>
                  <a:close/>
                  <a:moveTo>
                    <a:pt x="80983" y="44113"/>
                  </a:moveTo>
                  <a:cubicBezTo>
                    <a:pt x="61156" y="44113"/>
                    <a:pt x="44161" y="61107"/>
                    <a:pt x="44161" y="80934"/>
                  </a:cubicBezTo>
                  <a:cubicBezTo>
                    <a:pt x="44161" y="100760"/>
                    <a:pt x="61156" y="117755"/>
                    <a:pt x="80983" y="117755"/>
                  </a:cubicBezTo>
                  <a:cubicBezTo>
                    <a:pt x="100809" y="117755"/>
                    <a:pt x="117804" y="100760"/>
                    <a:pt x="117804" y="80934"/>
                  </a:cubicBezTo>
                  <a:cubicBezTo>
                    <a:pt x="117804" y="59691"/>
                    <a:pt x="100809" y="44113"/>
                    <a:pt x="80983"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2" name="Freeform: Shape 1911">
              <a:extLst>
                <a:ext uri="{FF2B5EF4-FFF2-40B4-BE49-F238E27FC236}">
                  <a16:creationId xmlns:a16="http://schemas.microsoft.com/office/drawing/2014/main" id="{A459F02F-2B19-4B1A-8F3F-E97E2866297D}"/>
                </a:ext>
              </a:extLst>
            </p:cNvPr>
            <p:cNvSpPr/>
            <p:nvPr/>
          </p:nvSpPr>
          <p:spPr>
            <a:xfrm>
              <a:off x="9198665" y="3295667"/>
              <a:ext cx="84971" cy="84971"/>
            </a:xfrm>
            <a:custGeom>
              <a:avLst/>
              <a:gdLst>
                <a:gd name="connsiteX0" fmla="*/ 48361 w 84971"/>
                <a:gd name="connsiteY0" fmla="*/ 15789 h 84971"/>
                <a:gd name="connsiteX1" fmla="*/ 80933 w 84971"/>
                <a:gd name="connsiteY1" fmla="*/ 48361 h 84971"/>
                <a:gd name="connsiteX2" fmla="*/ 48361 w 84971"/>
                <a:gd name="connsiteY2" fmla="*/ 80934 h 84971"/>
                <a:gd name="connsiteX3" fmla="*/ 15789 w 84971"/>
                <a:gd name="connsiteY3" fmla="*/ 48361 h 84971"/>
                <a:gd name="connsiteX4" fmla="*/ 48361 w 84971"/>
                <a:gd name="connsiteY4" fmla="*/ 15789 h 84971"/>
                <a:gd name="connsiteX5" fmla="*/ 48361 w 84971"/>
                <a:gd name="connsiteY5" fmla="*/ 15789 h 84971"/>
                <a:gd name="connsiteX6" fmla="*/ 48361 w 84971"/>
                <a:gd name="connsiteY6" fmla="*/ 21454 h 84971"/>
                <a:gd name="connsiteX7" fmla="*/ 21453 w 84971"/>
                <a:gd name="connsiteY7" fmla="*/ 48361 h 84971"/>
                <a:gd name="connsiteX8" fmla="*/ 48361 w 84971"/>
                <a:gd name="connsiteY8" fmla="*/ 75269 h 84971"/>
                <a:gd name="connsiteX9" fmla="*/ 75269 w 84971"/>
                <a:gd name="connsiteY9" fmla="*/ 48361 h 84971"/>
                <a:gd name="connsiteX10" fmla="*/ 48361 w 84971"/>
                <a:gd name="connsiteY10" fmla="*/ 21454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8361" y="15789"/>
                  </a:moveTo>
                  <a:cubicBezTo>
                    <a:pt x="66772" y="15789"/>
                    <a:pt x="80933" y="29951"/>
                    <a:pt x="80933" y="48361"/>
                  </a:cubicBezTo>
                  <a:cubicBezTo>
                    <a:pt x="80933" y="66772"/>
                    <a:pt x="66772" y="80934"/>
                    <a:pt x="48361" y="80934"/>
                  </a:cubicBezTo>
                  <a:cubicBezTo>
                    <a:pt x="29951" y="80934"/>
                    <a:pt x="15789" y="66772"/>
                    <a:pt x="15789" y="48361"/>
                  </a:cubicBezTo>
                  <a:cubicBezTo>
                    <a:pt x="15789" y="29951"/>
                    <a:pt x="29951" y="15789"/>
                    <a:pt x="48361" y="15789"/>
                  </a:cubicBezTo>
                  <a:lnTo>
                    <a:pt x="48361" y="15789"/>
                  </a:lnTo>
                  <a:close/>
                  <a:moveTo>
                    <a:pt x="48361" y="21454"/>
                  </a:moveTo>
                  <a:cubicBezTo>
                    <a:pt x="34199" y="21454"/>
                    <a:pt x="21453" y="32783"/>
                    <a:pt x="21453" y="48361"/>
                  </a:cubicBezTo>
                  <a:cubicBezTo>
                    <a:pt x="21453" y="62523"/>
                    <a:pt x="32783" y="75269"/>
                    <a:pt x="48361" y="75269"/>
                  </a:cubicBezTo>
                  <a:cubicBezTo>
                    <a:pt x="62523" y="75269"/>
                    <a:pt x="75269" y="63940"/>
                    <a:pt x="75269" y="48361"/>
                  </a:cubicBezTo>
                  <a:cubicBezTo>
                    <a:pt x="75269" y="34200"/>
                    <a:pt x="62523" y="21454"/>
                    <a:pt x="48361" y="2145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3" name="Freeform: Shape 1912">
              <a:extLst>
                <a:ext uri="{FF2B5EF4-FFF2-40B4-BE49-F238E27FC236}">
                  <a16:creationId xmlns:a16="http://schemas.microsoft.com/office/drawing/2014/main" id="{4EC26B0D-2043-4DE4-A7B2-5D772F31974E}"/>
                </a:ext>
              </a:extLst>
            </p:cNvPr>
            <p:cNvSpPr/>
            <p:nvPr/>
          </p:nvSpPr>
          <p:spPr>
            <a:xfrm>
              <a:off x="8208746" y="1478694"/>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3" y="15789"/>
                    <a:pt x="15789" y="25702"/>
                    <a:pt x="15789" y="37032"/>
                  </a:cubicBezTo>
                  <a:cubicBezTo>
                    <a:pt x="15789" y="48361"/>
                    <a:pt x="25703"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4" name="Freeform: Shape 1913">
              <a:extLst>
                <a:ext uri="{FF2B5EF4-FFF2-40B4-BE49-F238E27FC236}">
                  <a16:creationId xmlns:a16="http://schemas.microsoft.com/office/drawing/2014/main" id="{F003D497-1C09-41EB-9EFB-263406E121B4}"/>
                </a:ext>
              </a:extLst>
            </p:cNvPr>
            <p:cNvSpPr/>
            <p:nvPr/>
          </p:nvSpPr>
          <p:spPr>
            <a:xfrm>
              <a:off x="8586870" y="1063750"/>
              <a:ext cx="127457" cy="127457"/>
            </a:xfrm>
            <a:custGeom>
              <a:avLst/>
              <a:gdLst>
                <a:gd name="connsiteX0" fmla="*/ 63940 w 127457"/>
                <a:gd name="connsiteY0" fmla="*/ 112090 h 127457"/>
                <a:gd name="connsiteX1" fmla="*/ 112090 w 127457"/>
                <a:gd name="connsiteY1" fmla="*/ 63940 h 127457"/>
                <a:gd name="connsiteX2" fmla="*/ 63940 w 127457"/>
                <a:gd name="connsiteY2" fmla="*/ 15789 h 127457"/>
                <a:gd name="connsiteX3" fmla="*/ 15789 w 127457"/>
                <a:gd name="connsiteY3" fmla="*/ 63940 h 127457"/>
                <a:gd name="connsiteX4" fmla="*/ 63940 w 127457"/>
                <a:gd name="connsiteY4" fmla="*/ 112090 h 127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57" h="127457">
                  <a:moveTo>
                    <a:pt x="63940" y="112090"/>
                  </a:moveTo>
                  <a:cubicBezTo>
                    <a:pt x="90847" y="112090"/>
                    <a:pt x="112090" y="90847"/>
                    <a:pt x="112090" y="63940"/>
                  </a:cubicBezTo>
                  <a:cubicBezTo>
                    <a:pt x="112090" y="37032"/>
                    <a:pt x="90847" y="15789"/>
                    <a:pt x="63940" y="15789"/>
                  </a:cubicBezTo>
                  <a:cubicBezTo>
                    <a:pt x="38448" y="15789"/>
                    <a:pt x="15789" y="37032"/>
                    <a:pt x="15789" y="63940"/>
                  </a:cubicBezTo>
                  <a:cubicBezTo>
                    <a:pt x="17205" y="90847"/>
                    <a:pt x="38448" y="112090"/>
                    <a:pt x="63940" y="11209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5" name="Freeform: Shape 1914">
              <a:extLst>
                <a:ext uri="{FF2B5EF4-FFF2-40B4-BE49-F238E27FC236}">
                  <a16:creationId xmlns:a16="http://schemas.microsoft.com/office/drawing/2014/main" id="{16FE7A7A-691F-4034-B37C-F354AB1F451F}"/>
                </a:ext>
              </a:extLst>
            </p:cNvPr>
            <p:cNvSpPr/>
            <p:nvPr/>
          </p:nvSpPr>
          <p:spPr>
            <a:xfrm>
              <a:off x="8656263" y="1770430"/>
              <a:ext cx="56648" cy="56648"/>
            </a:xfrm>
            <a:custGeom>
              <a:avLst/>
              <a:gdLst>
                <a:gd name="connsiteX0" fmla="*/ 32783 w 56647"/>
                <a:gd name="connsiteY0" fmla="*/ 49778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7" y="42697"/>
                    <a:pt x="49777" y="32783"/>
                  </a:cubicBezTo>
                  <a:cubicBezTo>
                    <a:pt x="49777" y="22870"/>
                    <a:pt x="42696"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6" name="Freeform: Shape 1915">
              <a:extLst>
                <a:ext uri="{FF2B5EF4-FFF2-40B4-BE49-F238E27FC236}">
                  <a16:creationId xmlns:a16="http://schemas.microsoft.com/office/drawing/2014/main" id="{8374A856-9A27-4BBD-824F-5C2C93E11D02}"/>
                </a:ext>
              </a:extLst>
            </p:cNvPr>
            <p:cNvSpPr/>
            <p:nvPr/>
          </p:nvSpPr>
          <p:spPr>
            <a:xfrm>
              <a:off x="9337451" y="2021095"/>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8101"/>
                    <a:pt x="95095" y="55442"/>
                  </a:cubicBezTo>
                  <a:cubicBezTo>
                    <a:pt x="95095" y="34200"/>
                    <a:pt x="78102" y="15789"/>
                    <a:pt x="55442" y="15789"/>
                  </a:cubicBezTo>
                  <a:cubicBezTo>
                    <a:pt x="34199" y="15789"/>
                    <a:pt x="15789" y="32783"/>
                    <a:pt x="15789" y="55442"/>
                  </a:cubicBezTo>
                  <a:cubicBezTo>
                    <a:pt x="15789" y="78101"/>
                    <a:pt x="32783" y="95096"/>
                    <a:pt x="55442" y="950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7" name="Freeform: Shape 1916">
              <a:extLst>
                <a:ext uri="{FF2B5EF4-FFF2-40B4-BE49-F238E27FC236}">
                  <a16:creationId xmlns:a16="http://schemas.microsoft.com/office/drawing/2014/main" id="{01920F85-542F-480E-A281-1A731D734FA2}"/>
                </a:ext>
              </a:extLst>
            </p:cNvPr>
            <p:cNvSpPr/>
            <p:nvPr/>
          </p:nvSpPr>
          <p:spPr>
            <a:xfrm>
              <a:off x="7412780" y="2690954"/>
              <a:ext cx="113295" cy="113295"/>
            </a:xfrm>
            <a:custGeom>
              <a:avLst/>
              <a:gdLst>
                <a:gd name="connsiteX0" fmla="*/ 61174 w 113295"/>
                <a:gd name="connsiteY0" fmla="*/ 15789 h 113295"/>
                <a:gd name="connsiteX1" fmla="*/ 106492 w 113295"/>
                <a:gd name="connsiteY1" fmla="*/ 61107 h 113295"/>
                <a:gd name="connsiteX2" fmla="*/ 61174 w 113295"/>
                <a:gd name="connsiteY2" fmla="*/ 106425 h 113295"/>
                <a:gd name="connsiteX3" fmla="*/ 15856 w 113295"/>
                <a:gd name="connsiteY3" fmla="*/ 61107 h 113295"/>
                <a:gd name="connsiteX4" fmla="*/ 61174 w 113295"/>
                <a:gd name="connsiteY4" fmla="*/ 15789 h 113295"/>
                <a:gd name="connsiteX5" fmla="*/ 61174 w 113295"/>
                <a:gd name="connsiteY5" fmla="*/ 15789 h 113295"/>
                <a:gd name="connsiteX6" fmla="*/ 61174 w 113295"/>
                <a:gd name="connsiteY6" fmla="*/ 35616 h 113295"/>
                <a:gd name="connsiteX7" fmla="*/ 35683 w 113295"/>
                <a:gd name="connsiteY7" fmla="*/ 61107 h 113295"/>
                <a:gd name="connsiteX8" fmla="*/ 61174 w 113295"/>
                <a:gd name="connsiteY8" fmla="*/ 86599 h 113295"/>
                <a:gd name="connsiteX9" fmla="*/ 86666 w 113295"/>
                <a:gd name="connsiteY9" fmla="*/ 61107 h 113295"/>
                <a:gd name="connsiteX10" fmla="*/ 61174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74" y="15789"/>
                  </a:moveTo>
                  <a:cubicBezTo>
                    <a:pt x="86666" y="15789"/>
                    <a:pt x="106492" y="35616"/>
                    <a:pt x="106492" y="61107"/>
                  </a:cubicBezTo>
                  <a:cubicBezTo>
                    <a:pt x="106492" y="86599"/>
                    <a:pt x="86666" y="106425"/>
                    <a:pt x="61174" y="106425"/>
                  </a:cubicBezTo>
                  <a:cubicBezTo>
                    <a:pt x="35683" y="106425"/>
                    <a:pt x="15856" y="86599"/>
                    <a:pt x="15856" y="61107"/>
                  </a:cubicBezTo>
                  <a:cubicBezTo>
                    <a:pt x="14440" y="37032"/>
                    <a:pt x="35683" y="15789"/>
                    <a:pt x="61174" y="15789"/>
                  </a:cubicBezTo>
                  <a:lnTo>
                    <a:pt x="61174" y="15789"/>
                  </a:lnTo>
                  <a:close/>
                  <a:moveTo>
                    <a:pt x="61174" y="35616"/>
                  </a:moveTo>
                  <a:cubicBezTo>
                    <a:pt x="47012" y="35616"/>
                    <a:pt x="35683" y="46945"/>
                    <a:pt x="35683" y="61107"/>
                  </a:cubicBezTo>
                  <a:cubicBezTo>
                    <a:pt x="35683" y="75269"/>
                    <a:pt x="47012" y="86599"/>
                    <a:pt x="61174" y="86599"/>
                  </a:cubicBezTo>
                  <a:cubicBezTo>
                    <a:pt x="75336" y="86599"/>
                    <a:pt x="86666" y="75269"/>
                    <a:pt x="86666" y="61107"/>
                  </a:cubicBezTo>
                  <a:cubicBezTo>
                    <a:pt x="86666" y="48361"/>
                    <a:pt x="75336" y="35616"/>
                    <a:pt x="61174"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8" name="Freeform: Shape 1917">
              <a:extLst>
                <a:ext uri="{FF2B5EF4-FFF2-40B4-BE49-F238E27FC236}">
                  <a16:creationId xmlns:a16="http://schemas.microsoft.com/office/drawing/2014/main" id="{B1671571-55DA-4641-91CB-1B0B07979E4D}"/>
                </a:ext>
              </a:extLst>
            </p:cNvPr>
            <p:cNvSpPr/>
            <p:nvPr/>
          </p:nvSpPr>
          <p:spPr>
            <a:xfrm>
              <a:off x="8669009" y="2676792"/>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19" name="Freeform: Shape 1918">
              <a:extLst>
                <a:ext uri="{FF2B5EF4-FFF2-40B4-BE49-F238E27FC236}">
                  <a16:creationId xmlns:a16="http://schemas.microsoft.com/office/drawing/2014/main" id="{AF9527D5-0D4C-45ED-A6A3-9E12E9F42713}"/>
                </a:ext>
              </a:extLst>
            </p:cNvPr>
            <p:cNvSpPr/>
            <p:nvPr/>
          </p:nvSpPr>
          <p:spPr>
            <a:xfrm>
              <a:off x="6891688" y="2081992"/>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0" name="Freeform: Shape 1919">
              <a:extLst>
                <a:ext uri="{FF2B5EF4-FFF2-40B4-BE49-F238E27FC236}">
                  <a16:creationId xmlns:a16="http://schemas.microsoft.com/office/drawing/2014/main" id="{ED9CCB4E-5F9F-44AB-9908-71D5F12E7D5B}"/>
                </a:ext>
              </a:extLst>
            </p:cNvPr>
            <p:cNvSpPr/>
            <p:nvPr/>
          </p:nvSpPr>
          <p:spPr>
            <a:xfrm>
              <a:off x="7584206" y="1427712"/>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1" name="Freeform: Shape 1920">
              <a:extLst>
                <a:ext uri="{FF2B5EF4-FFF2-40B4-BE49-F238E27FC236}">
                  <a16:creationId xmlns:a16="http://schemas.microsoft.com/office/drawing/2014/main" id="{0BFCD75B-DEDD-4BC2-BDD6-9EF4BBEA355C}"/>
                </a:ext>
              </a:extLst>
            </p:cNvPr>
            <p:cNvSpPr/>
            <p:nvPr/>
          </p:nvSpPr>
          <p:spPr>
            <a:xfrm>
              <a:off x="6989406" y="1474446"/>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2" name="Freeform: Shape 1921">
              <a:extLst>
                <a:ext uri="{FF2B5EF4-FFF2-40B4-BE49-F238E27FC236}">
                  <a16:creationId xmlns:a16="http://schemas.microsoft.com/office/drawing/2014/main" id="{A4D7A8E8-E440-4E32-B95C-AB60CAF4BE09}"/>
                </a:ext>
              </a:extLst>
            </p:cNvPr>
            <p:cNvSpPr/>
            <p:nvPr/>
          </p:nvSpPr>
          <p:spPr>
            <a:xfrm>
              <a:off x="7823543" y="1094907"/>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2870"/>
                    <a:pt x="37032" y="15789"/>
                    <a:pt x="29951" y="15789"/>
                  </a:cubicBezTo>
                  <a:cubicBezTo>
                    <a:pt x="21454" y="15789"/>
                    <a:pt x="15789" y="22870"/>
                    <a:pt x="15789" y="29951"/>
                  </a:cubicBezTo>
                  <a:cubicBezTo>
                    <a:pt x="15789" y="37032"/>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3" name="Freeform: Shape 1922">
              <a:extLst>
                <a:ext uri="{FF2B5EF4-FFF2-40B4-BE49-F238E27FC236}">
                  <a16:creationId xmlns:a16="http://schemas.microsoft.com/office/drawing/2014/main" id="{96D71E79-5094-4BEA-A69E-216276AA781D}"/>
                </a:ext>
              </a:extLst>
            </p:cNvPr>
            <p:cNvSpPr/>
            <p:nvPr/>
          </p:nvSpPr>
          <p:spPr>
            <a:xfrm>
              <a:off x="7299552" y="1024097"/>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4" name="Freeform: Shape 1923">
              <a:extLst>
                <a:ext uri="{FF2B5EF4-FFF2-40B4-BE49-F238E27FC236}">
                  <a16:creationId xmlns:a16="http://schemas.microsoft.com/office/drawing/2014/main" id="{B3A43A87-65E7-471D-BA8A-3A60F944C5D3}"/>
                </a:ext>
              </a:extLst>
            </p:cNvPr>
            <p:cNvSpPr/>
            <p:nvPr/>
          </p:nvSpPr>
          <p:spPr>
            <a:xfrm>
              <a:off x="7206083" y="535511"/>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5" name="Freeform: Shape 1924">
              <a:extLst>
                <a:ext uri="{FF2B5EF4-FFF2-40B4-BE49-F238E27FC236}">
                  <a16:creationId xmlns:a16="http://schemas.microsoft.com/office/drawing/2014/main" id="{3E536063-DB05-41A6-8FF5-3889A76A760A}"/>
                </a:ext>
              </a:extLst>
            </p:cNvPr>
            <p:cNvSpPr/>
            <p:nvPr/>
          </p:nvSpPr>
          <p:spPr>
            <a:xfrm>
              <a:off x="8633604" y="531263"/>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6" name="Freeform: Shape 1925">
              <a:extLst>
                <a:ext uri="{FF2B5EF4-FFF2-40B4-BE49-F238E27FC236}">
                  <a16:creationId xmlns:a16="http://schemas.microsoft.com/office/drawing/2014/main" id="{59621436-C75E-411C-A81A-EC87F43FFF3C}"/>
                </a:ext>
              </a:extLst>
            </p:cNvPr>
            <p:cNvSpPr/>
            <p:nvPr/>
          </p:nvSpPr>
          <p:spPr>
            <a:xfrm>
              <a:off x="9025889" y="88106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7" name="Freeform: Shape 1926">
              <a:extLst>
                <a:ext uri="{FF2B5EF4-FFF2-40B4-BE49-F238E27FC236}">
                  <a16:creationId xmlns:a16="http://schemas.microsoft.com/office/drawing/2014/main" id="{3091E6A7-C165-4B18-ABB7-D02394513B83}"/>
                </a:ext>
              </a:extLst>
            </p:cNvPr>
            <p:cNvSpPr/>
            <p:nvPr/>
          </p:nvSpPr>
          <p:spPr>
            <a:xfrm>
              <a:off x="8728489" y="664385"/>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8" name="Freeform: Shape 1927">
              <a:extLst>
                <a:ext uri="{FF2B5EF4-FFF2-40B4-BE49-F238E27FC236}">
                  <a16:creationId xmlns:a16="http://schemas.microsoft.com/office/drawing/2014/main" id="{F0EC486B-437B-476D-A294-CF89C7B56BE9}"/>
                </a:ext>
              </a:extLst>
            </p:cNvPr>
            <p:cNvSpPr/>
            <p:nvPr/>
          </p:nvSpPr>
          <p:spPr>
            <a:xfrm>
              <a:off x="8898432" y="62189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29" name="Freeform: Shape 1928">
              <a:extLst>
                <a:ext uri="{FF2B5EF4-FFF2-40B4-BE49-F238E27FC236}">
                  <a16:creationId xmlns:a16="http://schemas.microsoft.com/office/drawing/2014/main" id="{EDF4136F-94D3-43C3-BF0A-B578573CFB89}"/>
                </a:ext>
              </a:extLst>
            </p:cNvPr>
            <p:cNvSpPr/>
            <p:nvPr/>
          </p:nvSpPr>
          <p:spPr>
            <a:xfrm>
              <a:off x="7504900" y="95753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2870"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0" name="Freeform: Shape 1929">
              <a:extLst>
                <a:ext uri="{FF2B5EF4-FFF2-40B4-BE49-F238E27FC236}">
                  <a16:creationId xmlns:a16="http://schemas.microsoft.com/office/drawing/2014/main" id="{D6A31817-D2D6-4C55-BC6D-7CE3D933AFCB}"/>
                </a:ext>
              </a:extLst>
            </p:cNvPr>
            <p:cNvSpPr/>
            <p:nvPr/>
          </p:nvSpPr>
          <p:spPr>
            <a:xfrm>
              <a:off x="7666345" y="825830"/>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1" name="Freeform: Shape 1930">
              <a:extLst>
                <a:ext uri="{FF2B5EF4-FFF2-40B4-BE49-F238E27FC236}">
                  <a16:creationId xmlns:a16="http://schemas.microsoft.com/office/drawing/2014/main" id="{DF91870C-984B-44EC-A9CC-6559B056F1D6}"/>
                </a:ext>
              </a:extLst>
            </p:cNvPr>
            <p:cNvSpPr/>
            <p:nvPr/>
          </p:nvSpPr>
          <p:spPr>
            <a:xfrm>
              <a:off x="7608281" y="528430"/>
              <a:ext cx="56648" cy="56648"/>
            </a:xfrm>
            <a:custGeom>
              <a:avLst/>
              <a:gdLst>
                <a:gd name="connsiteX0" fmla="*/ 28535 w 56647"/>
                <a:gd name="connsiteY0" fmla="*/ 41280 h 56647"/>
                <a:gd name="connsiteX1" fmla="*/ 41281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1" y="35616"/>
                    <a:pt x="41281" y="28535"/>
                  </a:cubicBezTo>
                  <a:cubicBezTo>
                    <a:pt x="41281"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2" name="Freeform: Shape 1931">
              <a:extLst>
                <a:ext uri="{FF2B5EF4-FFF2-40B4-BE49-F238E27FC236}">
                  <a16:creationId xmlns:a16="http://schemas.microsoft.com/office/drawing/2014/main" id="{BE75ADFF-24BE-4163-8FFC-11A808BF6207}"/>
                </a:ext>
              </a:extLst>
            </p:cNvPr>
            <p:cNvSpPr/>
            <p:nvPr/>
          </p:nvSpPr>
          <p:spPr>
            <a:xfrm>
              <a:off x="7500531" y="570916"/>
              <a:ext cx="70810" cy="70810"/>
            </a:xfrm>
            <a:custGeom>
              <a:avLst/>
              <a:gdLst>
                <a:gd name="connsiteX0" fmla="*/ 39984 w 70809"/>
                <a:gd name="connsiteY0" fmla="*/ 63940 h 70809"/>
                <a:gd name="connsiteX1" fmla="*/ 64060 w 70809"/>
                <a:gd name="connsiteY1" fmla="*/ 39864 h 70809"/>
                <a:gd name="connsiteX2" fmla="*/ 39984 w 70809"/>
                <a:gd name="connsiteY2" fmla="*/ 15789 h 70809"/>
                <a:gd name="connsiteX3" fmla="*/ 15909 w 70809"/>
                <a:gd name="connsiteY3" fmla="*/ 39864 h 70809"/>
                <a:gd name="connsiteX4" fmla="*/ 3998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984" y="63940"/>
                  </a:moveTo>
                  <a:cubicBezTo>
                    <a:pt x="54146" y="63940"/>
                    <a:pt x="64060" y="52610"/>
                    <a:pt x="64060" y="39864"/>
                  </a:cubicBezTo>
                  <a:cubicBezTo>
                    <a:pt x="64060" y="25702"/>
                    <a:pt x="52730" y="15789"/>
                    <a:pt x="39984" y="15789"/>
                  </a:cubicBezTo>
                  <a:cubicBezTo>
                    <a:pt x="25822" y="15789"/>
                    <a:pt x="15909" y="27119"/>
                    <a:pt x="15909" y="39864"/>
                  </a:cubicBezTo>
                  <a:cubicBezTo>
                    <a:pt x="14493" y="52610"/>
                    <a:pt x="25822" y="63940"/>
                    <a:pt x="3998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3" name="Freeform: Shape 1932">
              <a:extLst>
                <a:ext uri="{FF2B5EF4-FFF2-40B4-BE49-F238E27FC236}">
                  <a16:creationId xmlns:a16="http://schemas.microsoft.com/office/drawing/2014/main" id="{200D9292-CC7F-4534-8DB4-21F0AEDB99A0}"/>
                </a:ext>
              </a:extLst>
            </p:cNvPr>
            <p:cNvSpPr/>
            <p:nvPr/>
          </p:nvSpPr>
          <p:spPr>
            <a:xfrm>
              <a:off x="7755565" y="170103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1" y="49778"/>
                    <a:pt x="49778" y="42697"/>
                    <a:pt x="49778" y="32783"/>
                  </a:cubicBezTo>
                  <a:cubicBezTo>
                    <a:pt x="49778" y="22870"/>
                    <a:pt x="42697"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4" name="Freeform: Shape 1933">
              <a:extLst>
                <a:ext uri="{FF2B5EF4-FFF2-40B4-BE49-F238E27FC236}">
                  <a16:creationId xmlns:a16="http://schemas.microsoft.com/office/drawing/2014/main" id="{50A4F30A-50A1-43F8-A0A5-983B4954C55B}"/>
                </a:ext>
              </a:extLst>
            </p:cNvPr>
            <p:cNvSpPr/>
            <p:nvPr/>
          </p:nvSpPr>
          <p:spPr>
            <a:xfrm>
              <a:off x="8125192" y="2079159"/>
              <a:ext cx="56648" cy="56648"/>
            </a:xfrm>
            <a:custGeom>
              <a:avLst/>
              <a:gdLst>
                <a:gd name="connsiteX0" fmla="*/ 32783 w 56647"/>
                <a:gd name="connsiteY0" fmla="*/ 49777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0" y="49777"/>
                    <a:pt x="49777" y="42697"/>
                    <a:pt x="49777" y="32783"/>
                  </a:cubicBezTo>
                  <a:cubicBezTo>
                    <a:pt x="49777" y="24286"/>
                    <a:pt x="42696" y="15789"/>
                    <a:pt x="32783" y="15789"/>
                  </a:cubicBezTo>
                  <a:cubicBezTo>
                    <a:pt x="24286" y="15789"/>
                    <a:pt x="15789" y="22870"/>
                    <a:pt x="15789" y="32783"/>
                  </a:cubicBezTo>
                  <a:cubicBezTo>
                    <a:pt x="17205" y="42697"/>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5" name="Freeform: Shape 1934">
              <a:extLst>
                <a:ext uri="{FF2B5EF4-FFF2-40B4-BE49-F238E27FC236}">
                  <a16:creationId xmlns:a16="http://schemas.microsoft.com/office/drawing/2014/main" id="{548FC492-AD5D-46D2-A2D4-7BF2CE358652}"/>
                </a:ext>
              </a:extLst>
            </p:cNvPr>
            <p:cNvSpPr/>
            <p:nvPr/>
          </p:nvSpPr>
          <p:spPr>
            <a:xfrm>
              <a:off x="8516060" y="2006933"/>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6" name="Freeform: Shape 1935">
              <a:extLst>
                <a:ext uri="{FF2B5EF4-FFF2-40B4-BE49-F238E27FC236}">
                  <a16:creationId xmlns:a16="http://schemas.microsoft.com/office/drawing/2014/main" id="{38E91489-7D7B-4060-80A9-EA56A0C3EAFA}"/>
                </a:ext>
              </a:extLst>
            </p:cNvPr>
            <p:cNvSpPr/>
            <p:nvPr/>
          </p:nvSpPr>
          <p:spPr>
            <a:xfrm>
              <a:off x="8555713" y="1423463"/>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8"/>
                    <a:pt x="28535" y="15789"/>
                    <a:pt x="24287" y="15789"/>
                  </a:cubicBezTo>
                  <a:cubicBezTo>
                    <a:pt x="20037" y="15789"/>
                    <a:pt x="15789" y="20038"/>
                    <a:pt x="15789" y="24286"/>
                  </a:cubicBezTo>
                  <a:cubicBezTo>
                    <a:pt x="15789" y="28535"/>
                    <a:pt x="20037" y="32783"/>
                    <a:pt x="24287"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7" name="Freeform: Shape 1936">
              <a:extLst>
                <a:ext uri="{FF2B5EF4-FFF2-40B4-BE49-F238E27FC236}">
                  <a16:creationId xmlns:a16="http://schemas.microsoft.com/office/drawing/2014/main" id="{2411C13F-B233-4D39-9378-D8D5E94CA9D3}"/>
                </a:ext>
              </a:extLst>
            </p:cNvPr>
            <p:cNvSpPr/>
            <p:nvPr/>
          </p:nvSpPr>
          <p:spPr>
            <a:xfrm>
              <a:off x="9497481" y="1807251"/>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7" y="15789"/>
                    <a:pt x="15789" y="22870"/>
                    <a:pt x="15789" y="32783"/>
                  </a:cubicBezTo>
                  <a:cubicBezTo>
                    <a:pt x="15789" y="42697"/>
                    <a:pt x="24287"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8" name="Freeform: Shape 1937">
              <a:extLst>
                <a:ext uri="{FF2B5EF4-FFF2-40B4-BE49-F238E27FC236}">
                  <a16:creationId xmlns:a16="http://schemas.microsoft.com/office/drawing/2014/main" id="{283F8327-C4A1-42EC-BA3F-E09669A6D316}"/>
                </a:ext>
              </a:extLst>
            </p:cNvPr>
            <p:cNvSpPr/>
            <p:nvPr/>
          </p:nvSpPr>
          <p:spPr>
            <a:xfrm>
              <a:off x="9389850" y="2288756"/>
              <a:ext cx="70810" cy="70810"/>
            </a:xfrm>
            <a:custGeom>
              <a:avLst/>
              <a:gdLst>
                <a:gd name="connsiteX0" fmla="*/ 35615 w 70809"/>
                <a:gd name="connsiteY0" fmla="*/ 55442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2"/>
                  </a:moveTo>
                  <a:cubicBezTo>
                    <a:pt x="46945" y="55442"/>
                    <a:pt x="55442" y="46945"/>
                    <a:pt x="55442" y="35616"/>
                  </a:cubicBezTo>
                  <a:cubicBezTo>
                    <a:pt x="55442" y="24286"/>
                    <a:pt x="46945" y="15789"/>
                    <a:pt x="35615" y="15789"/>
                  </a:cubicBezTo>
                  <a:cubicBezTo>
                    <a:pt x="25703" y="15789"/>
                    <a:pt x="15789" y="24286"/>
                    <a:pt x="15789" y="35616"/>
                  </a:cubicBezTo>
                  <a:cubicBezTo>
                    <a:pt x="17205" y="46945"/>
                    <a:pt x="25703" y="55442"/>
                    <a:pt x="35615"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39" name="Freeform: Shape 1938">
              <a:extLst>
                <a:ext uri="{FF2B5EF4-FFF2-40B4-BE49-F238E27FC236}">
                  <a16:creationId xmlns:a16="http://schemas.microsoft.com/office/drawing/2014/main" id="{0B2B44A9-CDAA-48A1-B518-047876151808}"/>
                </a:ext>
              </a:extLst>
            </p:cNvPr>
            <p:cNvSpPr/>
            <p:nvPr/>
          </p:nvSpPr>
          <p:spPr>
            <a:xfrm>
              <a:off x="9538551" y="2598901"/>
              <a:ext cx="70810" cy="70810"/>
            </a:xfrm>
            <a:custGeom>
              <a:avLst/>
              <a:gdLst>
                <a:gd name="connsiteX0" fmla="*/ 35615 w 70809"/>
                <a:gd name="connsiteY0" fmla="*/ 55442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2"/>
                  </a:moveTo>
                  <a:cubicBezTo>
                    <a:pt x="45529" y="55442"/>
                    <a:pt x="55442" y="46945"/>
                    <a:pt x="55442" y="35616"/>
                  </a:cubicBezTo>
                  <a:cubicBezTo>
                    <a:pt x="55442" y="25702"/>
                    <a:pt x="46945" y="15789"/>
                    <a:pt x="35615" y="15789"/>
                  </a:cubicBezTo>
                  <a:cubicBezTo>
                    <a:pt x="25703" y="15789"/>
                    <a:pt x="15789" y="24286"/>
                    <a:pt x="15789" y="35616"/>
                  </a:cubicBezTo>
                  <a:cubicBezTo>
                    <a:pt x="17205" y="46945"/>
                    <a:pt x="25703" y="55442"/>
                    <a:pt x="35615"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0" name="Freeform: Shape 1939">
              <a:extLst>
                <a:ext uri="{FF2B5EF4-FFF2-40B4-BE49-F238E27FC236}">
                  <a16:creationId xmlns:a16="http://schemas.microsoft.com/office/drawing/2014/main" id="{D1E03F93-84FF-4135-BACB-8D60F3E51707}"/>
                </a:ext>
              </a:extLst>
            </p:cNvPr>
            <p:cNvSpPr/>
            <p:nvPr/>
          </p:nvSpPr>
          <p:spPr>
            <a:xfrm>
              <a:off x="8864443" y="2938787"/>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30" y="55442"/>
                    <a:pt x="55443" y="46945"/>
                    <a:pt x="55443" y="35616"/>
                  </a:cubicBezTo>
                  <a:cubicBezTo>
                    <a:pt x="55443" y="25702"/>
                    <a:pt x="46945" y="15789"/>
                    <a:pt x="35616" y="15789"/>
                  </a:cubicBezTo>
                  <a:cubicBezTo>
                    <a:pt x="24287" y="15789"/>
                    <a:pt x="15789" y="24286"/>
                    <a:pt x="15789" y="35616"/>
                  </a:cubicBezTo>
                  <a:cubicBezTo>
                    <a:pt x="15789" y="46945"/>
                    <a:pt x="24287"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1" name="Freeform: Shape 1940">
              <a:extLst>
                <a:ext uri="{FF2B5EF4-FFF2-40B4-BE49-F238E27FC236}">
                  <a16:creationId xmlns:a16="http://schemas.microsoft.com/office/drawing/2014/main" id="{246CDE0E-0D30-462E-BFDF-3569CD2C7EC3}"/>
                </a:ext>
              </a:extLst>
            </p:cNvPr>
            <p:cNvSpPr/>
            <p:nvPr/>
          </p:nvSpPr>
          <p:spPr>
            <a:xfrm>
              <a:off x="8159180" y="2887804"/>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5703" y="15789"/>
                    <a:pt x="15789" y="24286"/>
                    <a:pt x="15789" y="35616"/>
                  </a:cubicBezTo>
                  <a:cubicBezTo>
                    <a:pt x="15789" y="46945"/>
                    <a:pt x="24287"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2" name="Freeform: Shape 1941">
              <a:extLst>
                <a:ext uri="{FF2B5EF4-FFF2-40B4-BE49-F238E27FC236}">
                  <a16:creationId xmlns:a16="http://schemas.microsoft.com/office/drawing/2014/main" id="{E1D03C51-3012-4279-BBE8-430D54AEA515}"/>
                </a:ext>
              </a:extLst>
            </p:cNvPr>
            <p:cNvSpPr/>
            <p:nvPr/>
          </p:nvSpPr>
          <p:spPr>
            <a:xfrm>
              <a:off x="8443834" y="2379392"/>
              <a:ext cx="70810" cy="70810"/>
            </a:xfrm>
            <a:custGeom>
              <a:avLst/>
              <a:gdLst>
                <a:gd name="connsiteX0" fmla="*/ 55443 w 70809"/>
                <a:gd name="connsiteY0" fmla="*/ 35616 h 70809"/>
                <a:gd name="connsiteX1" fmla="*/ 35616 w 70809"/>
                <a:gd name="connsiteY1" fmla="*/ 55442 h 70809"/>
                <a:gd name="connsiteX2" fmla="*/ 15788 w 70809"/>
                <a:gd name="connsiteY2" fmla="*/ 35616 h 70809"/>
                <a:gd name="connsiteX3" fmla="*/ 35616 w 70809"/>
                <a:gd name="connsiteY3" fmla="*/ 15789 h 70809"/>
                <a:gd name="connsiteX4" fmla="*/ 55443 w 70809"/>
                <a:gd name="connsiteY4" fmla="*/ 35616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55443" y="35616"/>
                  </a:moveTo>
                  <a:cubicBezTo>
                    <a:pt x="55443" y="46565"/>
                    <a:pt x="46565" y="55442"/>
                    <a:pt x="35616" y="55442"/>
                  </a:cubicBezTo>
                  <a:cubicBezTo>
                    <a:pt x="24666" y="55442"/>
                    <a:pt x="15788" y="46565"/>
                    <a:pt x="15788" y="35616"/>
                  </a:cubicBezTo>
                  <a:cubicBezTo>
                    <a:pt x="15788" y="24666"/>
                    <a:pt x="24666" y="15789"/>
                    <a:pt x="35616" y="15789"/>
                  </a:cubicBezTo>
                  <a:cubicBezTo>
                    <a:pt x="46565" y="15789"/>
                    <a:pt x="55443" y="24666"/>
                    <a:pt x="5544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3" name="Freeform: Shape 1942">
              <a:extLst>
                <a:ext uri="{FF2B5EF4-FFF2-40B4-BE49-F238E27FC236}">
                  <a16:creationId xmlns:a16="http://schemas.microsoft.com/office/drawing/2014/main" id="{97815D7C-9492-4201-A101-A07E0DA68A45}"/>
                </a:ext>
              </a:extLst>
            </p:cNvPr>
            <p:cNvSpPr/>
            <p:nvPr/>
          </p:nvSpPr>
          <p:spPr>
            <a:xfrm>
              <a:off x="9215659" y="1770430"/>
              <a:ext cx="70810" cy="70810"/>
            </a:xfrm>
            <a:custGeom>
              <a:avLst/>
              <a:gdLst>
                <a:gd name="connsiteX0" fmla="*/ 35615 w 70809"/>
                <a:gd name="connsiteY0" fmla="*/ 55442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2"/>
                  </a:moveTo>
                  <a:cubicBezTo>
                    <a:pt x="45529" y="55442"/>
                    <a:pt x="55442" y="46945"/>
                    <a:pt x="55442" y="35616"/>
                  </a:cubicBezTo>
                  <a:cubicBezTo>
                    <a:pt x="55442" y="25702"/>
                    <a:pt x="46945" y="15789"/>
                    <a:pt x="35615" y="15789"/>
                  </a:cubicBezTo>
                  <a:cubicBezTo>
                    <a:pt x="25702" y="15789"/>
                    <a:pt x="15789" y="24286"/>
                    <a:pt x="15789" y="35616"/>
                  </a:cubicBezTo>
                  <a:cubicBezTo>
                    <a:pt x="17205" y="46945"/>
                    <a:pt x="25702" y="55442"/>
                    <a:pt x="35615"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4" name="Freeform: Shape 1943">
              <a:extLst>
                <a:ext uri="{FF2B5EF4-FFF2-40B4-BE49-F238E27FC236}">
                  <a16:creationId xmlns:a16="http://schemas.microsoft.com/office/drawing/2014/main" id="{55AAECE4-38A1-4321-98BF-95258D2F4832}"/>
                </a:ext>
              </a:extLst>
            </p:cNvPr>
            <p:cNvSpPr/>
            <p:nvPr/>
          </p:nvSpPr>
          <p:spPr>
            <a:xfrm>
              <a:off x="8609528" y="1380977"/>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5702"/>
                    <a:pt x="46945" y="15789"/>
                    <a:pt x="35616" y="15789"/>
                  </a:cubicBezTo>
                  <a:cubicBezTo>
                    <a:pt x="25703" y="15789"/>
                    <a:pt x="15789" y="24286"/>
                    <a:pt x="15789" y="35616"/>
                  </a:cubicBezTo>
                  <a:cubicBezTo>
                    <a:pt x="15789" y="45529"/>
                    <a:pt x="24287"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5" name="Freeform: Shape 1944">
              <a:extLst>
                <a:ext uri="{FF2B5EF4-FFF2-40B4-BE49-F238E27FC236}">
                  <a16:creationId xmlns:a16="http://schemas.microsoft.com/office/drawing/2014/main" id="{CE19C5D7-3F99-4B23-8524-CCC2BA7F3484}"/>
                </a:ext>
              </a:extLst>
            </p:cNvPr>
            <p:cNvSpPr/>
            <p:nvPr/>
          </p:nvSpPr>
          <p:spPr>
            <a:xfrm>
              <a:off x="6594288" y="1948870"/>
              <a:ext cx="212429" cy="212429"/>
            </a:xfrm>
            <a:custGeom>
              <a:avLst/>
              <a:gdLst>
                <a:gd name="connsiteX0" fmla="*/ 112090 w 212428"/>
                <a:gd name="connsiteY0" fmla="*/ 208391 h 212428"/>
                <a:gd name="connsiteX1" fmla="*/ 208391 w 212428"/>
                <a:gd name="connsiteY1" fmla="*/ 112090 h 212428"/>
                <a:gd name="connsiteX2" fmla="*/ 112090 w 212428"/>
                <a:gd name="connsiteY2" fmla="*/ 15789 h 212428"/>
                <a:gd name="connsiteX3" fmla="*/ 15789 w 212428"/>
                <a:gd name="connsiteY3" fmla="*/ 112090 h 212428"/>
                <a:gd name="connsiteX4" fmla="*/ 112090 w 212428"/>
                <a:gd name="connsiteY4" fmla="*/ 208391 h 212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428" h="212428">
                  <a:moveTo>
                    <a:pt x="112090" y="208391"/>
                  </a:moveTo>
                  <a:cubicBezTo>
                    <a:pt x="164489" y="208391"/>
                    <a:pt x="208391" y="164489"/>
                    <a:pt x="208391" y="112090"/>
                  </a:cubicBezTo>
                  <a:cubicBezTo>
                    <a:pt x="208391" y="58275"/>
                    <a:pt x="164489" y="15789"/>
                    <a:pt x="112090" y="15789"/>
                  </a:cubicBezTo>
                  <a:cubicBezTo>
                    <a:pt x="59691" y="15789"/>
                    <a:pt x="15789" y="59691"/>
                    <a:pt x="15789" y="112090"/>
                  </a:cubicBezTo>
                  <a:cubicBezTo>
                    <a:pt x="15789" y="164489"/>
                    <a:pt x="59691" y="208391"/>
                    <a:pt x="112090" y="20839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6" name="Freeform: Shape 1945">
              <a:extLst>
                <a:ext uri="{FF2B5EF4-FFF2-40B4-BE49-F238E27FC236}">
                  <a16:creationId xmlns:a16="http://schemas.microsoft.com/office/drawing/2014/main" id="{62A93F8D-52D7-45A7-9C22-A5BF68878019}"/>
                </a:ext>
              </a:extLst>
            </p:cNvPr>
            <p:cNvSpPr/>
            <p:nvPr/>
          </p:nvSpPr>
          <p:spPr>
            <a:xfrm>
              <a:off x="7361864" y="2161298"/>
              <a:ext cx="127457" cy="127457"/>
            </a:xfrm>
            <a:custGeom>
              <a:avLst/>
              <a:gdLst>
                <a:gd name="connsiteX0" fmla="*/ 63939 w 127457"/>
                <a:gd name="connsiteY0" fmla="*/ 112090 h 127457"/>
                <a:gd name="connsiteX1" fmla="*/ 112090 w 127457"/>
                <a:gd name="connsiteY1" fmla="*/ 63939 h 127457"/>
                <a:gd name="connsiteX2" fmla="*/ 63939 w 127457"/>
                <a:gd name="connsiteY2" fmla="*/ 15789 h 127457"/>
                <a:gd name="connsiteX3" fmla="*/ 15789 w 127457"/>
                <a:gd name="connsiteY3" fmla="*/ 63939 h 127457"/>
                <a:gd name="connsiteX4" fmla="*/ 63939 w 127457"/>
                <a:gd name="connsiteY4" fmla="*/ 112090 h 127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57" h="127457">
                  <a:moveTo>
                    <a:pt x="63939" y="112090"/>
                  </a:moveTo>
                  <a:cubicBezTo>
                    <a:pt x="90847" y="112090"/>
                    <a:pt x="112090" y="90847"/>
                    <a:pt x="112090" y="63939"/>
                  </a:cubicBezTo>
                  <a:cubicBezTo>
                    <a:pt x="112090" y="37032"/>
                    <a:pt x="90847" y="15789"/>
                    <a:pt x="63939" y="15789"/>
                  </a:cubicBezTo>
                  <a:cubicBezTo>
                    <a:pt x="37032" y="15789"/>
                    <a:pt x="15789" y="37032"/>
                    <a:pt x="15789" y="63939"/>
                  </a:cubicBezTo>
                  <a:cubicBezTo>
                    <a:pt x="15789" y="90847"/>
                    <a:pt x="38448" y="112090"/>
                    <a:pt x="63939" y="11209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7" name="Freeform: Shape 1946">
              <a:extLst>
                <a:ext uri="{FF2B5EF4-FFF2-40B4-BE49-F238E27FC236}">
                  <a16:creationId xmlns:a16="http://schemas.microsoft.com/office/drawing/2014/main" id="{2DFC79DA-270A-439F-BFCD-ADBF2F363192}"/>
                </a:ext>
              </a:extLst>
            </p:cNvPr>
            <p:cNvSpPr/>
            <p:nvPr/>
          </p:nvSpPr>
          <p:spPr>
            <a:xfrm>
              <a:off x="7231575" y="1492856"/>
              <a:ext cx="127457" cy="127457"/>
            </a:xfrm>
            <a:custGeom>
              <a:avLst/>
              <a:gdLst>
                <a:gd name="connsiteX0" fmla="*/ 112090 w 127457"/>
                <a:gd name="connsiteY0" fmla="*/ 63940 h 127457"/>
                <a:gd name="connsiteX1" fmla="*/ 63940 w 127457"/>
                <a:gd name="connsiteY1" fmla="*/ 112090 h 127457"/>
                <a:gd name="connsiteX2" fmla="*/ 15789 w 127457"/>
                <a:gd name="connsiteY2" fmla="*/ 63940 h 127457"/>
                <a:gd name="connsiteX3" fmla="*/ 63940 w 127457"/>
                <a:gd name="connsiteY3" fmla="*/ 15789 h 127457"/>
                <a:gd name="connsiteX4" fmla="*/ 112090 w 127457"/>
                <a:gd name="connsiteY4" fmla="*/ 63940 h 127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57" h="127457">
                  <a:moveTo>
                    <a:pt x="112090" y="63940"/>
                  </a:moveTo>
                  <a:cubicBezTo>
                    <a:pt x="112090" y="90532"/>
                    <a:pt x="90533" y="112090"/>
                    <a:pt x="63940" y="112090"/>
                  </a:cubicBezTo>
                  <a:cubicBezTo>
                    <a:pt x="37347" y="112090"/>
                    <a:pt x="15789" y="90532"/>
                    <a:pt x="15789" y="63940"/>
                  </a:cubicBezTo>
                  <a:cubicBezTo>
                    <a:pt x="15789" y="37347"/>
                    <a:pt x="37347" y="15789"/>
                    <a:pt x="63940" y="15789"/>
                  </a:cubicBezTo>
                  <a:cubicBezTo>
                    <a:pt x="90533" y="15789"/>
                    <a:pt x="112090" y="37347"/>
                    <a:pt x="112090"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8" name="Freeform: Shape 1947">
              <a:extLst>
                <a:ext uri="{FF2B5EF4-FFF2-40B4-BE49-F238E27FC236}">
                  <a16:creationId xmlns:a16="http://schemas.microsoft.com/office/drawing/2014/main" id="{6E6A14B9-4290-48D4-9C6E-BF275309AD22}"/>
                </a:ext>
              </a:extLst>
            </p:cNvPr>
            <p:cNvSpPr/>
            <p:nvPr/>
          </p:nvSpPr>
          <p:spPr>
            <a:xfrm>
              <a:off x="7026227" y="1991355"/>
              <a:ext cx="113295" cy="113295"/>
            </a:xfrm>
            <a:custGeom>
              <a:avLst/>
              <a:gdLst>
                <a:gd name="connsiteX0" fmla="*/ 61107 w 113295"/>
                <a:gd name="connsiteY0" fmla="*/ 15789 h 113295"/>
                <a:gd name="connsiteX1" fmla="*/ 106426 w 113295"/>
                <a:gd name="connsiteY1" fmla="*/ 61107 h 113295"/>
                <a:gd name="connsiteX2" fmla="*/ 61107 w 113295"/>
                <a:gd name="connsiteY2" fmla="*/ 106425 h 113295"/>
                <a:gd name="connsiteX3" fmla="*/ 15789 w 113295"/>
                <a:gd name="connsiteY3" fmla="*/ 61107 h 113295"/>
                <a:gd name="connsiteX4" fmla="*/ 61107 w 113295"/>
                <a:gd name="connsiteY4" fmla="*/ 15789 h 113295"/>
                <a:gd name="connsiteX5" fmla="*/ 61107 w 113295"/>
                <a:gd name="connsiteY5" fmla="*/ 15789 h 113295"/>
                <a:gd name="connsiteX6" fmla="*/ 61107 w 113295"/>
                <a:gd name="connsiteY6" fmla="*/ 37032 h 113295"/>
                <a:gd name="connsiteX7" fmla="*/ 35616 w 113295"/>
                <a:gd name="connsiteY7" fmla="*/ 62523 h 113295"/>
                <a:gd name="connsiteX8" fmla="*/ 61107 w 113295"/>
                <a:gd name="connsiteY8" fmla="*/ 88015 h 113295"/>
                <a:gd name="connsiteX9" fmla="*/ 86599 w 113295"/>
                <a:gd name="connsiteY9" fmla="*/ 62523 h 113295"/>
                <a:gd name="connsiteX10" fmla="*/ 61107 w 113295"/>
                <a:gd name="connsiteY10" fmla="*/ 37032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07" y="15789"/>
                  </a:moveTo>
                  <a:cubicBezTo>
                    <a:pt x="86599" y="15789"/>
                    <a:pt x="106426" y="35616"/>
                    <a:pt x="106426" y="61107"/>
                  </a:cubicBezTo>
                  <a:cubicBezTo>
                    <a:pt x="106426" y="86599"/>
                    <a:pt x="86599" y="106425"/>
                    <a:pt x="61107" y="106425"/>
                  </a:cubicBezTo>
                  <a:cubicBezTo>
                    <a:pt x="35616" y="106425"/>
                    <a:pt x="15789" y="86599"/>
                    <a:pt x="15789" y="61107"/>
                  </a:cubicBezTo>
                  <a:cubicBezTo>
                    <a:pt x="15789" y="37032"/>
                    <a:pt x="37032" y="15789"/>
                    <a:pt x="61107" y="15789"/>
                  </a:cubicBezTo>
                  <a:lnTo>
                    <a:pt x="61107" y="15789"/>
                  </a:lnTo>
                  <a:close/>
                  <a:moveTo>
                    <a:pt x="61107" y="37032"/>
                  </a:moveTo>
                  <a:cubicBezTo>
                    <a:pt x="46945" y="37032"/>
                    <a:pt x="35616" y="48361"/>
                    <a:pt x="35616" y="62523"/>
                  </a:cubicBezTo>
                  <a:cubicBezTo>
                    <a:pt x="35616" y="76685"/>
                    <a:pt x="46945" y="88015"/>
                    <a:pt x="61107" y="88015"/>
                  </a:cubicBezTo>
                  <a:cubicBezTo>
                    <a:pt x="75269" y="88015"/>
                    <a:pt x="86599" y="76685"/>
                    <a:pt x="86599" y="62523"/>
                  </a:cubicBezTo>
                  <a:cubicBezTo>
                    <a:pt x="88015" y="48361"/>
                    <a:pt x="75269" y="37032"/>
                    <a:pt x="61107" y="3703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49" name="Freeform: Shape 1948">
              <a:extLst>
                <a:ext uri="{FF2B5EF4-FFF2-40B4-BE49-F238E27FC236}">
                  <a16:creationId xmlns:a16="http://schemas.microsoft.com/office/drawing/2014/main" id="{42B52DDE-0CCE-4B98-9DED-CFF100F890C7}"/>
                </a:ext>
              </a:extLst>
            </p:cNvPr>
            <p:cNvSpPr/>
            <p:nvPr/>
          </p:nvSpPr>
          <p:spPr>
            <a:xfrm>
              <a:off x="7854699" y="2242021"/>
              <a:ext cx="113295" cy="113295"/>
            </a:xfrm>
            <a:custGeom>
              <a:avLst/>
              <a:gdLst>
                <a:gd name="connsiteX0" fmla="*/ 61107 w 113295"/>
                <a:gd name="connsiteY0" fmla="*/ 15789 h 113295"/>
                <a:gd name="connsiteX1" fmla="*/ 106426 w 113295"/>
                <a:gd name="connsiteY1" fmla="*/ 61107 h 113295"/>
                <a:gd name="connsiteX2" fmla="*/ 61107 w 113295"/>
                <a:gd name="connsiteY2" fmla="*/ 106425 h 113295"/>
                <a:gd name="connsiteX3" fmla="*/ 15789 w 113295"/>
                <a:gd name="connsiteY3" fmla="*/ 61107 h 113295"/>
                <a:gd name="connsiteX4" fmla="*/ 61107 w 113295"/>
                <a:gd name="connsiteY4" fmla="*/ 15789 h 113295"/>
                <a:gd name="connsiteX5" fmla="*/ 61107 w 113295"/>
                <a:gd name="connsiteY5" fmla="*/ 15789 h 113295"/>
                <a:gd name="connsiteX6" fmla="*/ 61107 w 113295"/>
                <a:gd name="connsiteY6" fmla="*/ 35616 h 113295"/>
                <a:gd name="connsiteX7" fmla="*/ 35616 w 113295"/>
                <a:gd name="connsiteY7" fmla="*/ 61107 h 113295"/>
                <a:gd name="connsiteX8" fmla="*/ 61107 w 113295"/>
                <a:gd name="connsiteY8" fmla="*/ 86599 h 113295"/>
                <a:gd name="connsiteX9" fmla="*/ 86599 w 113295"/>
                <a:gd name="connsiteY9" fmla="*/ 61107 h 113295"/>
                <a:gd name="connsiteX10" fmla="*/ 61107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07" y="15789"/>
                  </a:moveTo>
                  <a:cubicBezTo>
                    <a:pt x="86599" y="15789"/>
                    <a:pt x="106426" y="35616"/>
                    <a:pt x="106426" y="61107"/>
                  </a:cubicBezTo>
                  <a:cubicBezTo>
                    <a:pt x="106426" y="86599"/>
                    <a:pt x="86599" y="106425"/>
                    <a:pt x="61107" y="106425"/>
                  </a:cubicBezTo>
                  <a:cubicBezTo>
                    <a:pt x="35616" y="106425"/>
                    <a:pt x="15789" y="86599"/>
                    <a:pt x="15789" y="61107"/>
                  </a:cubicBezTo>
                  <a:cubicBezTo>
                    <a:pt x="15789" y="37032"/>
                    <a:pt x="35616" y="15789"/>
                    <a:pt x="61107" y="15789"/>
                  </a:cubicBezTo>
                  <a:lnTo>
                    <a:pt x="61107" y="15789"/>
                  </a:lnTo>
                  <a:close/>
                  <a:moveTo>
                    <a:pt x="61107" y="35616"/>
                  </a:moveTo>
                  <a:cubicBezTo>
                    <a:pt x="46945" y="35616"/>
                    <a:pt x="35616" y="46945"/>
                    <a:pt x="35616" y="61107"/>
                  </a:cubicBezTo>
                  <a:cubicBezTo>
                    <a:pt x="35616" y="75269"/>
                    <a:pt x="46945" y="86599"/>
                    <a:pt x="61107" y="86599"/>
                  </a:cubicBezTo>
                  <a:cubicBezTo>
                    <a:pt x="75269" y="86599"/>
                    <a:pt x="86599" y="75269"/>
                    <a:pt x="86599" y="61107"/>
                  </a:cubicBezTo>
                  <a:cubicBezTo>
                    <a:pt x="86599" y="48361"/>
                    <a:pt x="75269" y="35616"/>
                    <a:pt x="61107"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0" name="Freeform: Shape 1949">
              <a:extLst>
                <a:ext uri="{FF2B5EF4-FFF2-40B4-BE49-F238E27FC236}">
                  <a16:creationId xmlns:a16="http://schemas.microsoft.com/office/drawing/2014/main" id="{BF5F5FF2-361B-485E-AD56-264AEE3351E1}"/>
                </a:ext>
              </a:extLst>
            </p:cNvPr>
            <p:cNvSpPr/>
            <p:nvPr/>
          </p:nvSpPr>
          <p:spPr>
            <a:xfrm>
              <a:off x="9188751" y="2981273"/>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29" y="55442"/>
                    <a:pt x="55442" y="46945"/>
                    <a:pt x="55442" y="35616"/>
                  </a:cubicBezTo>
                  <a:cubicBezTo>
                    <a:pt x="55442" y="25702"/>
                    <a:pt x="46945" y="15789"/>
                    <a:pt x="35616" y="15789"/>
                  </a:cubicBezTo>
                  <a:cubicBezTo>
                    <a:pt x="24286" y="15789"/>
                    <a:pt x="15789" y="24286"/>
                    <a:pt x="15789" y="35616"/>
                  </a:cubicBezTo>
                  <a:cubicBezTo>
                    <a:pt x="15789" y="46945"/>
                    <a:pt x="25703"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1" name="Freeform: Shape 1950">
              <a:extLst>
                <a:ext uri="{FF2B5EF4-FFF2-40B4-BE49-F238E27FC236}">
                  <a16:creationId xmlns:a16="http://schemas.microsoft.com/office/drawing/2014/main" id="{78BABCEC-547B-453E-A4CD-6565AB8CFA8D}"/>
                </a:ext>
              </a:extLst>
            </p:cNvPr>
            <p:cNvSpPr/>
            <p:nvPr/>
          </p:nvSpPr>
          <p:spPr>
            <a:xfrm>
              <a:off x="9078288" y="3338153"/>
              <a:ext cx="70810" cy="70810"/>
            </a:xfrm>
            <a:custGeom>
              <a:avLst/>
              <a:gdLst>
                <a:gd name="connsiteX0" fmla="*/ 35615 w 70809"/>
                <a:gd name="connsiteY0" fmla="*/ 55442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2"/>
                  </a:moveTo>
                  <a:cubicBezTo>
                    <a:pt x="45529" y="55442"/>
                    <a:pt x="55442" y="46945"/>
                    <a:pt x="55442" y="35616"/>
                  </a:cubicBezTo>
                  <a:cubicBezTo>
                    <a:pt x="55442" y="24286"/>
                    <a:pt x="46945" y="15789"/>
                    <a:pt x="35615" y="15789"/>
                  </a:cubicBezTo>
                  <a:cubicBezTo>
                    <a:pt x="25703" y="15789"/>
                    <a:pt x="15789" y="24286"/>
                    <a:pt x="15789" y="35616"/>
                  </a:cubicBezTo>
                  <a:cubicBezTo>
                    <a:pt x="15789" y="46945"/>
                    <a:pt x="25703" y="55442"/>
                    <a:pt x="35615"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2" name="Freeform: Shape 1951">
              <a:extLst>
                <a:ext uri="{FF2B5EF4-FFF2-40B4-BE49-F238E27FC236}">
                  <a16:creationId xmlns:a16="http://schemas.microsoft.com/office/drawing/2014/main" id="{048092A4-EBA8-4CF9-861F-1B3455251FA2}"/>
                </a:ext>
              </a:extLst>
            </p:cNvPr>
            <p:cNvSpPr/>
            <p:nvPr/>
          </p:nvSpPr>
          <p:spPr>
            <a:xfrm>
              <a:off x="8647766" y="3532171"/>
              <a:ext cx="84971" cy="84971"/>
            </a:xfrm>
            <a:custGeom>
              <a:avLst/>
              <a:gdLst>
                <a:gd name="connsiteX0" fmla="*/ 48361 w 84971"/>
                <a:gd name="connsiteY0" fmla="*/ 15789 h 84971"/>
                <a:gd name="connsiteX1" fmla="*/ 80934 w 84971"/>
                <a:gd name="connsiteY1" fmla="*/ 48361 h 84971"/>
                <a:gd name="connsiteX2" fmla="*/ 48361 w 84971"/>
                <a:gd name="connsiteY2" fmla="*/ 80934 h 84971"/>
                <a:gd name="connsiteX3" fmla="*/ 15789 w 84971"/>
                <a:gd name="connsiteY3" fmla="*/ 48361 h 84971"/>
                <a:gd name="connsiteX4" fmla="*/ 48361 w 84971"/>
                <a:gd name="connsiteY4" fmla="*/ 15789 h 84971"/>
                <a:gd name="connsiteX5" fmla="*/ 48361 w 84971"/>
                <a:gd name="connsiteY5" fmla="*/ 15789 h 84971"/>
                <a:gd name="connsiteX6" fmla="*/ 48361 w 84971"/>
                <a:gd name="connsiteY6" fmla="*/ 21454 h 84971"/>
                <a:gd name="connsiteX7" fmla="*/ 21454 w 84971"/>
                <a:gd name="connsiteY7" fmla="*/ 48361 h 84971"/>
                <a:gd name="connsiteX8" fmla="*/ 48361 w 84971"/>
                <a:gd name="connsiteY8" fmla="*/ 75269 h 84971"/>
                <a:gd name="connsiteX9" fmla="*/ 75269 w 84971"/>
                <a:gd name="connsiteY9" fmla="*/ 48361 h 84971"/>
                <a:gd name="connsiteX10" fmla="*/ 48361 w 84971"/>
                <a:gd name="connsiteY10" fmla="*/ 21454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8361" y="15789"/>
                  </a:moveTo>
                  <a:cubicBezTo>
                    <a:pt x="66772" y="15789"/>
                    <a:pt x="80934" y="29951"/>
                    <a:pt x="80934" y="48361"/>
                  </a:cubicBezTo>
                  <a:cubicBezTo>
                    <a:pt x="80934" y="66772"/>
                    <a:pt x="66772" y="80934"/>
                    <a:pt x="48361" y="80934"/>
                  </a:cubicBezTo>
                  <a:cubicBezTo>
                    <a:pt x="29951" y="80934"/>
                    <a:pt x="15789" y="66772"/>
                    <a:pt x="15789" y="48361"/>
                  </a:cubicBezTo>
                  <a:cubicBezTo>
                    <a:pt x="15789" y="29951"/>
                    <a:pt x="29951" y="15789"/>
                    <a:pt x="48361" y="15789"/>
                  </a:cubicBezTo>
                  <a:lnTo>
                    <a:pt x="48361" y="15789"/>
                  </a:lnTo>
                  <a:close/>
                  <a:moveTo>
                    <a:pt x="48361" y="21454"/>
                  </a:moveTo>
                  <a:cubicBezTo>
                    <a:pt x="34199" y="21454"/>
                    <a:pt x="21454" y="32783"/>
                    <a:pt x="21454" y="48361"/>
                  </a:cubicBezTo>
                  <a:cubicBezTo>
                    <a:pt x="21454" y="62523"/>
                    <a:pt x="32783" y="75269"/>
                    <a:pt x="48361" y="75269"/>
                  </a:cubicBezTo>
                  <a:cubicBezTo>
                    <a:pt x="62523" y="75269"/>
                    <a:pt x="75269" y="63940"/>
                    <a:pt x="75269" y="48361"/>
                  </a:cubicBezTo>
                  <a:cubicBezTo>
                    <a:pt x="75269" y="34200"/>
                    <a:pt x="62523" y="21454"/>
                    <a:pt x="48361" y="2145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3" name="Freeform: Shape 1952">
              <a:extLst>
                <a:ext uri="{FF2B5EF4-FFF2-40B4-BE49-F238E27FC236}">
                  <a16:creationId xmlns:a16="http://schemas.microsoft.com/office/drawing/2014/main" id="{E601188C-55B3-407C-A71A-64D426E9D043}"/>
                </a:ext>
              </a:extLst>
            </p:cNvPr>
            <p:cNvSpPr/>
            <p:nvPr/>
          </p:nvSpPr>
          <p:spPr>
            <a:xfrm>
              <a:off x="7621027" y="1218115"/>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2" y="58275"/>
                    <a:pt x="58275" y="48361"/>
                    <a:pt x="58275" y="37032"/>
                  </a:cubicBezTo>
                  <a:cubicBezTo>
                    <a:pt x="58275" y="25702"/>
                    <a:pt x="48362" y="15789"/>
                    <a:pt x="37032" y="15789"/>
                  </a:cubicBezTo>
                  <a:cubicBezTo>
                    <a:pt x="25703" y="15789"/>
                    <a:pt x="15789" y="25702"/>
                    <a:pt x="15789" y="37032"/>
                  </a:cubicBezTo>
                  <a:cubicBezTo>
                    <a:pt x="15789" y="48361"/>
                    <a:pt x="25703"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4" name="Freeform: Shape 1953">
              <a:extLst>
                <a:ext uri="{FF2B5EF4-FFF2-40B4-BE49-F238E27FC236}">
                  <a16:creationId xmlns:a16="http://schemas.microsoft.com/office/drawing/2014/main" id="{AF44242B-CBE0-4454-B8E5-FE438CF62D21}"/>
                </a:ext>
              </a:extLst>
            </p:cNvPr>
            <p:cNvSpPr/>
            <p:nvPr/>
          </p:nvSpPr>
          <p:spPr>
            <a:xfrm>
              <a:off x="9391266" y="107791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7"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5" name="Freeform: Shape 1954">
              <a:extLst>
                <a:ext uri="{FF2B5EF4-FFF2-40B4-BE49-F238E27FC236}">
                  <a16:creationId xmlns:a16="http://schemas.microsoft.com/office/drawing/2014/main" id="{823B3223-BCE7-4A79-B7B0-E7BA9ACAE7E2}"/>
                </a:ext>
              </a:extLst>
            </p:cNvPr>
            <p:cNvSpPr/>
            <p:nvPr/>
          </p:nvSpPr>
          <p:spPr>
            <a:xfrm>
              <a:off x="9892598" y="1144473"/>
              <a:ext cx="56648" cy="56648"/>
            </a:xfrm>
            <a:custGeom>
              <a:avLst/>
              <a:gdLst>
                <a:gd name="connsiteX0" fmla="*/ 32783 w 56647"/>
                <a:gd name="connsiteY0" fmla="*/ 49778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7" y="42697"/>
                    <a:pt x="49777" y="32783"/>
                  </a:cubicBezTo>
                  <a:cubicBezTo>
                    <a:pt x="49777" y="22870"/>
                    <a:pt x="42696"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6" name="Freeform: Shape 1955">
              <a:extLst>
                <a:ext uri="{FF2B5EF4-FFF2-40B4-BE49-F238E27FC236}">
                  <a16:creationId xmlns:a16="http://schemas.microsoft.com/office/drawing/2014/main" id="{865246DA-B3F2-45E0-817A-1817161BAE2B}"/>
                </a:ext>
              </a:extLst>
            </p:cNvPr>
            <p:cNvSpPr/>
            <p:nvPr/>
          </p:nvSpPr>
          <p:spPr>
            <a:xfrm>
              <a:off x="9801962" y="2002685"/>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7" y="15789"/>
                    <a:pt x="15789" y="24286"/>
                    <a:pt x="15789" y="35616"/>
                  </a:cubicBezTo>
                  <a:cubicBezTo>
                    <a:pt x="15789" y="46945"/>
                    <a:pt x="24287"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7" name="Freeform: Shape 1956">
              <a:extLst>
                <a:ext uri="{FF2B5EF4-FFF2-40B4-BE49-F238E27FC236}">
                  <a16:creationId xmlns:a16="http://schemas.microsoft.com/office/drawing/2014/main" id="{7352BC74-E5EE-4DF2-84F5-B655C43DBB6B}"/>
                </a:ext>
              </a:extLst>
            </p:cNvPr>
            <p:cNvSpPr/>
            <p:nvPr/>
          </p:nvSpPr>
          <p:spPr>
            <a:xfrm>
              <a:off x="9069791" y="1431960"/>
              <a:ext cx="113295" cy="113295"/>
            </a:xfrm>
            <a:custGeom>
              <a:avLst/>
              <a:gdLst>
                <a:gd name="connsiteX0" fmla="*/ 56859 w 113295"/>
                <a:gd name="connsiteY0" fmla="*/ 97928 h 113295"/>
                <a:gd name="connsiteX1" fmla="*/ 97929 w 113295"/>
                <a:gd name="connsiteY1" fmla="*/ 56859 h 113295"/>
                <a:gd name="connsiteX2" fmla="*/ 56859 w 113295"/>
                <a:gd name="connsiteY2" fmla="*/ 15789 h 113295"/>
                <a:gd name="connsiteX3" fmla="*/ 15789 w 113295"/>
                <a:gd name="connsiteY3" fmla="*/ 56859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9" y="79518"/>
                    <a:pt x="97929" y="56859"/>
                  </a:cubicBezTo>
                  <a:cubicBezTo>
                    <a:pt x="97929" y="34200"/>
                    <a:pt x="79518" y="15789"/>
                    <a:pt x="56859" y="15789"/>
                  </a:cubicBezTo>
                  <a:cubicBezTo>
                    <a:pt x="34200" y="15789"/>
                    <a:pt x="15789" y="34200"/>
                    <a:pt x="15789" y="56859"/>
                  </a:cubicBezTo>
                  <a:cubicBezTo>
                    <a:pt x="15789" y="79518"/>
                    <a:pt x="34200" y="97928"/>
                    <a:pt x="56859"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8" name="Freeform: Shape 1957">
              <a:extLst>
                <a:ext uri="{FF2B5EF4-FFF2-40B4-BE49-F238E27FC236}">
                  <a16:creationId xmlns:a16="http://schemas.microsoft.com/office/drawing/2014/main" id="{5E785427-A569-4069-975C-70FD8B1B8A86}"/>
                </a:ext>
              </a:extLst>
            </p:cNvPr>
            <p:cNvSpPr/>
            <p:nvPr/>
          </p:nvSpPr>
          <p:spPr>
            <a:xfrm>
              <a:off x="9023056" y="2617312"/>
              <a:ext cx="113295" cy="113295"/>
            </a:xfrm>
            <a:custGeom>
              <a:avLst/>
              <a:gdLst>
                <a:gd name="connsiteX0" fmla="*/ 56859 w 113295"/>
                <a:gd name="connsiteY0" fmla="*/ 97928 h 113295"/>
                <a:gd name="connsiteX1" fmla="*/ 97928 w 113295"/>
                <a:gd name="connsiteY1" fmla="*/ 56858 h 113295"/>
                <a:gd name="connsiteX2" fmla="*/ 56859 w 113295"/>
                <a:gd name="connsiteY2" fmla="*/ 15789 h 113295"/>
                <a:gd name="connsiteX3" fmla="*/ 15789 w 113295"/>
                <a:gd name="connsiteY3" fmla="*/ 56858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8" y="79518"/>
                    <a:pt x="97928" y="56858"/>
                  </a:cubicBezTo>
                  <a:cubicBezTo>
                    <a:pt x="97928" y="34200"/>
                    <a:pt x="79518" y="15789"/>
                    <a:pt x="56859" y="15789"/>
                  </a:cubicBezTo>
                  <a:cubicBezTo>
                    <a:pt x="34199" y="15789"/>
                    <a:pt x="15789" y="34200"/>
                    <a:pt x="15789" y="56858"/>
                  </a:cubicBezTo>
                  <a:cubicBezTo>
                    <a:pt x="15789" y="79518"/>
                    <a:pt x="34199" y="97928"/>
                    <a:pt x="56859"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59" name="Freeform: Shape 1958">
              <a:extLst>
                <a:ext uri="{FF2B5EF4-FFF2-40B4-BE49-F238E27FC236}">
                  <a16:creationId xmlns:a16="http://schemas.microsoft.com/office/drawing/2014/main" id="{93311C0D-9C84-4B88-866E-01C3FEB4AE7C}"/>
                </a:ext>
              </a:extLst>
            </p:cNvPr>
            <p:cNvSpPr/>
            <p:nvPr/>
          </p:nvSpPr>
          <p:spPr>
            <a:xfrm>
              <a:off x="8317793" y="3384887"/>
              <a:ext cx="113295" cy="113295"/>
            </a:xfrm>
            <a:custGeom>
              <a:avLst/>
              <a:gdLst>
                <a:gd name="connsiteX0" fmla="*/ 56859 w 113295"/>
                <a:gd name="connsiteY0" fmla="*/ 97928 h 113295"/>
                <a:gd name="connsiteX1" fmla="*/ 97928 w 113295"/>
                <a:gd name="connsiteY1" fmla="*/ 56858 h 113295"/>
                <a:gd name="connsiteX2" fmla="*/ 56859 w 113295"/>
                <a:gd name="connsiteY2" fmla="*/ 15789 h 113295"/>
                <a:gd name="connsiteX3" fmla="*/ 15789 w 113295"/>
                <a:gd name="connsiteY3" fmla="*/ 56858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8" y="79518"/>
                    <a:pt x="97928" y="56858"/>
                  </a:cubicBezTo>
                  <a:cubicBezTo>
                    <a:pt x="97928" y="34200"/>
                    <a:pt x="79518" y="15789"/>
                    <a:pt x="56859" y="15789"/>
                  </a:cubicBezTo>
                  <a:cubicBezTo>
                    <a:pt x="34199" y="15789"/>
                    <a:pt x="15789" y="34200"/>
                    <a:pt x="15789" y="56858"/>
                  </a:cubicBezTo>
                  <a:cubicBezTo>
                    <a:pt x="15789" y="79518"/>
                    <a:pt x="34199" y="97928"/>
                    <a:pt x="56859"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0" name="Freeform: Shape 1959">
              <a:extLst>
                <a:ext uri="{FF2B5EF4-FFF2-40B4-BE49-F238E27FC236}">
                  <a16:creationId xmlns:a16="http://schemas.microsoft.com/office/drawing/2014/main" id="{B93185F4-6A22-470A-BCC3-E7A70F249AEE}"/>
                </a:ext>
              </a:extLst>
            </p:cNvPr>
            <p:cNvSpPr/>
            <p:nvPr/>
          </p:nvSpPr>
          <p:spPr>
            <a:xfrm>
              <a:off x="7485073" y="3176707"/>
              <a:ext cx="113295" cy="113295"/>
            </a:xfrm>
            <a:custGeom>
              <a:avLst/>
              <a:gdLst>
                <a:gd name="connsiteX0" fmla="*/ 56858 w 113295"/>
                <a:gd name="connsiteY0" fmla="*/ 97928 h 113295"/>
                <a:gd name="connsiteX1" fmla="*/ 97928 w 113295"/>
                <a:gd name="connsiteY1" fmla="*/ 56858 h 113295"/>
                <a:gd name="connsiteX2" fmla="*/ 56858 w 113295"/>
                <a:gd name="connsiteY2" fmla="*/ 15789 h 113295"/>
                <a:gd name="connsiteX3" fmla="*/ 15789 w 113295"/>
                <a:gd name="connsiteY3" fmla="*/ 56858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8"/>
                  </a:cubicBezTo>
                  <a:cubicBezTo>
                    <a:pt x="97928" y="34200"/>
                    <a:pt x="79518" y="15789"/>
                    <a:pt x="56858" y="15789"/>
                  </a:cubicBezTo>
                  <a:cubicBezTo>
                    <a:pt x="34199" y="15789"/>
                    <a:pt x="15789" y="34200"/>
                    <a:pt x="15789" y="56858"/>
                  </a:cubicBezTo>
                  <a:cubicBezTo>
                    <a:pt x="17205" y="79518"/>
                    <a:pt x="34199" y="97928"/>
                    <a:pt x="56858"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1" name="Freeform: Shape 1960">
              <a:extLst>
                <a:ext uri="{FF2B5EF4-FFF2-40B4-BE49-F238E27FC236}">
                  <a16:creationId xmlns:a16="http://schemas.microsoft.com/office/drawing/2014/main" id="{D9DA2CF9-B43C-45E6-8B3D-E6403F8CEEB7}"/>
                </a:ext>
              </a:extLst>
            </p:cNvPr>
            <p:cNvSpPr/>
            <p:nvPr/>
          </p:nvSpPr>
          <p:spPr>
            <a:xfrm>
              <a:off x="6966747" y="2621560"/>
              <a:ext cx="113295" cy="113295"/>
            </a:xfrm>
            <a:custGeom>
              <a:avLst/>
              <a:gdLst>
                <a:gd name="connsiteX0" fmla="*/ 56858 w 113295"/>
                <a:gd name="connsiteY0" fmla="*/ 97928 h 113295"/>
                <a:gd name="connsiteX1" fmla="*/ 97928 w 113295"/>
                <a:gd name="connsiteY1" fmla="*/ 56858 h 113295"/>
                <a:gd name="connsiteX2" fmla="*/ 56858 w 113295"/>
                <a:gd name="connsiteY2" fmla="*/ 15789 h 113295"/>
                <a:gd name="connsiteX3" fmla="*/ 15789 w 113295"/>
                <a:gd name="connsiteY3" fmla="*/ 56858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8"/>
                  </a:cubicBezTo>
                  <a:cubicBezTo>
                    <a:pt x="97928" y="34199"/>
                    <a:pt x="79518" y="15789"/>
                    <a:pt x="56858" y="15789"/>
                  </a:cubicBezTo>
                  <a:cubicBezTo>
                    <a:pt x="34199" y="15789"/>
                    <a:pt x="15789" y="34199"/>
                    <a:pt x="15789" y="56858"/>
                  </a:cubicBezTo>
                  <a:cubicBezTo>
                    <a:pt x="17205" y="79518"/>
                    <a:pt x="35616" y="97928"/>
                    <a:pt x="56858"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2" name="Freeform: Shape 1961">
              <a:extLst>
                <a:ext uri="{FF2B5EF4-FFF2-40B4-BE49-F238E27FC236}">
                  <a16:creationId xmlns:a16="http://schemas.microsoft.com/office/drawing/2014/main" id="{3745D7DA-09C4-4025-8370-46FB0C3BDA30}"/>
                </a:ext>
              </a:extLst>
            </p:cNvPr>
            <p:cNvSpPr/>
            <p:nvPr/>
          </p:nvSpPr>
          <p:spPr>
            <a:xfrm>
              <a:off x="6067465" y="2362397"/>
              <a:ext cx="113295" cy="113295"/>
            </a:xfrm>
            <a:custGeom>
              <a:avLst/>
              <a:gdLst>
                <a:gd name="connsiteX0" fmla="*/ 56858 w 113295"/>
                <a:gd name="connsiteY0" fmla="*/ 97928 h 113295"/>
                <a:gd name="connsiteX1" fmla="*/ 97928 w 113295"/>
                <a:gd name="connsiteY1" fmla="*/ 56858 h 113295"/>
                <a:gd name="connsiteX2" fmla="*/ 56858 w 113295"/>
                <a:gd name="connsiteY2" fmla="*/ 15789 h 113295"/>
                <a:gd name="connsiteX3" fmla="*/ 15789 w 113295"/>
                <a:gd name="connsiteY3" fmla="*/ 56858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8"/>
                  </a:cubicBezTo>
                  <a:cubicBezTo>
                    <a:pt x="97928" y="34200"/>
                    <a:pt x="79518" y="15789"/>
                    <a:pt x="56858" y="15789"/>
                  </a:cubicBezTo>
                  <a:cubicBezTo>
                    <a:pt x="34199" y="15789"/>
                    <a:pt x="15789" y="34200"/>
                    <a:pt x="15789" y="56858"/>
                  </a:cubicBezTo>
                  <a:cubicBezTo>
                    <a:pt x="15789" y="79518"/>
                    <a:pt x="34199" y="97928"/>
                    <a:pt x="56858"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3" name="Freeform: Shape 1962">
              <a:extLst>
                <a:ext uri="{FF2B5EF4-FFF2-40B4-BE49-F238E27FC236}">
                  <a16:creationId xmlns:a16="http://schemas.microsoft.com/office/drawing/2014/main" id="{8F809599-8D37-4CBA-AE90-3FD2D94F5800}"/>
                </a:ext>
              </a:extLst>
            </p:cNvPr>
            <p:cNvSpPr/>
            <p:nvPr/>
          </p:nvSpPr>
          <p:spPr>
            <a:xfrm>
              <a:off x="5706337" y="2239189"/>
              <a:ext cx="113295" cy="113295"/>
            </a:xfrm>
            <a:custGeom>
              <a:avLst/>
              <a:gdLst>
                <a:gd name="connsiteX0" fmla="*/ 56858 w 113295"/>
                <a:gd name="connsiteY0" fmla="*/ 97928 h 113295"/>
                <a:gd name="connsiteX1" fmla="*/ 97928 w 113295"/>
                <a:gd name="connsiteY1" fmla="*/ 56858 h 113295"/>
                <a:gd name="connsiteX2" fmla="*/ 56858 w 113295"/>
                <a:gd name="connsiteY2" fmla="*/ 15789 h 113295"/>
                <a:gd name="connsiteX3" fmla="*/ 15789 w 113295"/>
                <a:gd name="connsiteY3" fmla="*/ 56858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8"/>
                  </a:cubicBezTo>
                  <a:cubicBezTo>
                    <a:pt x="97928" y="34199"/>
                    <a:pt x="79518" y="15789"/>
                    <a:pt x="56858" y="15789"/>
                  </a:cubicBezTo>
                  <a:cubicBezTo>
                    <a:pt x="34199" y="15789"/>
                    <a:pt x="15789" y="34199"/>
                    <a:pt x="15789" y="56858"/>
                  </a:cubicBezTo>
                  <a:cubicBezTo>
                    <a:pt x="15789" y="79518"/>
                    <a:pt x="34199" y="97928"/>
                    <a:pt x="56858"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4" name="Freeform: Shape 1963">
              <a:extLst>
                <a:ext uri="{FF2B5EF4-FFF2-40B4-BE49-F238E27FC236}">
                  <a16:creationId xmlns:a16="http://schemas.microsoft.com/office/drawing/2014/main" id="{17D7EA81-1C14-49C2-BCCC-491BEAFEE95A}"/>
                </a:ext>
              </a:extLst>
            </p:cNvPr>
            <p:cNvSpPr/>
            <p:nvPr/>
          </p:nvSpPr>
          <p:spPr>
            <a:xfrm>
              <a:off x="5965499" y="1648637"/>
              <a:ext cx="113295" cy="113295"/>
            </a:xfrm>
            <a:custGeom>
              <a:avLst/>
              <a:gdLst>
                <a:gd name="connsiteX0" fmla="*/ 56858 w 113295"/>
                <a:gd name="connsiteY0" fmla="*/ 97928 h 113295"/>
                <a:gd name="connsiteX1" fmla="*/ 97928 w 113295"/>
                <a:gd name="connsiteY1" fmla="*/ 56859 h 113295"/>
                <a:gd name="connsiteX2" fmla="*/ 56858 w 113295"/>
                <a:gd name="connsiteY2" fmla="*/ 15789 h 113295"/>
                <a:gd name="connsiteX3" fmla="*/ 15789 w 113295"/>
                <a:gd name="connsiteY3" fmla="*/ 56859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9"/>
                  </a:cubicBezTo>
                  <a:cubicBezTo>
                    <a:pt x="97928" y="34199"/>
                    <a:pt x="79518" y="15789"/>
                    <a:pt x="56858" y="15789"/>
                  </a:cubicBezTo>
                  <a:cubicBezTo>
                    <a:pt x="34200" y="15789"/>
                    <a:pt x="15789" y="34199"/>
                    <a:pt x="15789" y="56859"/>
                  </a:cubicBezTo>
                  <a:cubicBezTo>
                    <a:pt x="15789" y="79518"/>
                    <a:pt x="34200" y="97928"/>
                    <a:pt x="56858"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5" name="Freeform: Shape 1964">
              <a:extLst>
                <a:ext uri="{FF2B5EF4-FFF2-40B4-BE49-F238E27FC236}">
                  <a16:creationId xmlns:a16="http://schemas.microsoft.com/office/drawing/2014/main" id="{1A8B797F-C0D0-47EB-AF60-BC5814EB0D2D}"/>
                </a:ext>
              </a:extLst>
            </p:cNvPr>
            <p:cNvSpPr/>
            <p:nvPr/>
          </p:nvSpPr>
          <p:spPr>
            <a:xfrm>
              <a:off x="6422929" y="1184127"/>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7205" y="71020"/>
                    <a:pt x="32783"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6" name="Freeform: Shape 1965">
              <a:extLst>
                <a:ext uri="{FF2B5EF4-FFF2-40B4-BE49-F238E27FC236}">
                  <a16:creationId xmlns:a16="http://schemas.microsoft.com/office/drawing/2014/main" id="{40D6C29D-1090-4923-B5B8-91755B1D0228}"/>
                </a:ext>
              </a:extLst>
            </p:cNvPr>
            <p:cNvSpPr/>
            <p:nvPr/>
          </p:nvSpPr>
          <p:spPr>
            <a:xfrm>
              <a:off x="6755734" y="1550920"/>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7205" y="71020"/>
                    <a:pt x="32783"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7" name="Freeform: Shape 1966">
              <a:extLst>
                <a:ext uri="{FF2B5EF4-FFF2-40B4-BE49-F238E27FC236}">
                  <a16:creationId xmlns:a16="http://schemas.microsoft.com/office/drawing/2014/main" id="{CA2EA39A-AB1A-4E86-985E-3EFEDAA2F5AD}"/>
                </a:ext>
              </a:extLst>
            </p:cNvPr>
            <p:cNvSpPr/>
            <p:nvPr/>
          </p:nvSpPr>
          <p:spPr>
            <a:xfrm>
              <a:off x="6251570" y="719616"/>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5789" y="71020"/>
                    <a:pt x="31367"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8" name="Freeform: Shape 1967">
              <a:extLst>
                <a:ext uri="{FF2B5EF4-FFF2-40B4-BE49-F238E27FC236}">
                  <a16:creationId xmlns:a16="http://schemas.microsoft.com/office/drawing/2014/main" id="{181B421B-C106-448D-AD1F-0187A5EBFE20}"/>
                </a:ext>
              </a:extLst>
            </p:cNvPr>
            <p:cNvSpPr/>
            <p:nvPr/>
          </p:nvSpPr>
          <p:spPr>
            <a:xfrm>
              <a:off x="5087461" y="838576"/>
              <a:ext cx="84971" cy="84971"/>
            </a:xfrm>
            <a:custGeom>
              <a:avLst/>
              <a:gdLst>
                <a:gd name="connsiteX0" fmla="*/ 42697 w 84971"/>
                <a:gd name="connsiteY0" fmla="*/ 69604 h 84971"/>
                <a:gd name="connsiteX1" fmla="*/ 69605 w 84971"/>
                <a:gd name="connsiteY1" fmla="*/ 42697 h 84971"/>
                <a:gd name="connsiteX2" fmla="*/ 42697 w 84971"/>
                <a:gd name="connsiteY2" fmla="*/ 15789 h 84971"/>
                <a:gd name="connsiteX3" fmla="*/ 15789 w 84971"/>
                <a:gd name="connsiteY3" fmla="*/ 42697 h 84971"/>
                <a:gd name="connsiteX4" fmla="*/ 42697 w 84971"/>
                <a:gd name="connsiteY4" fmla="*/ 6960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7" y="69604"/>
                  </a:moveTo>
                  <a:cubicBezTo>
                    <a:pt x="58275" y="69604"/>
                    <a:pt x="69605" y="56859"/>
                    <a:pt x="69605" y="42697"/>
                  </a:cubicBezTo>
                  <a:cubicBezTo>
                    <a:pt x="69605" y="27119"/>
                    <a:pt x="56858" y="15789"/>
                    <a:pt x="42697" y="15789"/>
                  </a:cubicBezTo>
                  <a:cubicBezTo>
                    <a:pt x="27119" y="15789"/>
                    <a:pt x="15789" y="28535"/>
                    <a:pt x="15789" y="42697"/>
                  </a:cubicBezTo>
                  <a:cubicBezTo>
                    <a:pt x="15789" y="56859"/>
                    <a:pt x="28535" y="69604"/>
                    <a:pt x="42697" y="6960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69" name="Freeform: Shape 1968">
              <a:extLst>
                <a:ext uri="{FF2B5EF4-FFF2-40B4-BE49-F238E27FC236}">
                  <a16:creationId xmlns:a16="http://schemas.microsoft.com/office/drawing/2014/main" id="{6213C77E-00C6-42CE-AFE1-1B3836533DD6}"/>
                </a:ext>
              </a:extLst>
            </p:cNvPr>
            <p:cNvSpPr/>
            <p:nvPr/>
          </p:nvSpPr>
          <p:spPr>
            <a:xfrm>
              <a:off x="4845292" y="498690"/>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1" y="86599"/>
                    <a:pt x="86599" y="71020"/>
                    <a:pt x="86599" y="51194"/>
                  </a:cubicBezTo>
                  <a:cubicBezTo>
                    <a:pt x="86599" y="31367"/>
                    <a:pt x="71021" y="15789"/>
                    <a:pt x="51194" y="15789"/>
                  </a:cubicBezTo>
                  <a:cubicBezTo>
                    <a:pt x="31367" y="15789"/>
                    <a:pt x="15789" y="31367"/>
                    <a:pt x="15789" y="51194"/>
                  </a:cubicBezTo>
                  <a:cubicBezTo>
                    <a:pt x="15789" y="71020"/>
                    <a:pt x="31367"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0" name="Freeform: Shape 1969">
              <a:extLst>
                <a:ext uri="{FF2B5EF4-FFF2-40B4-BE49-F238E27FC236}">
                  <a16:creationId xmlns:a16="http://schemas.microsoft.com/office/drawing/2014/main" id="{AE7D733A-9C2D-4D9D-B7BF-D9029C3AC27F}"/>
                </a:ext>
              </a:extLst>
            </p:cNvPr>
            <p:cNvSpPr/>
            <p:nvPr/>
          </p:nvSpPr>
          <p:spPr>
            <a:xfrm>
              <a:off x="5768649" y="2351068"/>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0" y="49777"/>
                    <a:pt x="49778" y="42697"/>
                    <a:pt x="49778" y="32783"/>
                  </a:cubicBezTo>
                  <a:cubicBezTo>
                    <a:pt x="49778" y="24286"/>
                    <a:pt x="42697" y="15789"/>
                    <a:pt x="32783" y="15789"/>
                  </a:cubicBezTo>
                  <a:cubicBezTo>
                    <a:pt x="22870" y="15789"/>
                    <a:pt x="15789" y="22870"/>
                    <a:pt x="15789" y="32783"/>
                  </a:cubicBezTo>
                  <a:cubicBezTo>
                    <a:pt x="17205" y="42697"/>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1" name="Freeform: Shape 1970">
              <a:extLst>
                <a:ext uri="{FF2B5EF4-FFF2-40B4-BE49-F238E27FC236}">
                  <a16:creationId xmlns:a16="http://schemas.microsoft.com/office/drawing/2014/main" id="{FF18EAF1-C6ED-485E-96A8-17B241C2C81D}"/>
                </a:ext>
              </a:extLst>
            </p:cNvPr>
            <p:cNvSpPr/>
            <p:nvPr/>
          </p:nvSpPr>
          <p:spPr>
            <a:xfrm>
              <a:off x="5955586" y="2155634"/>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2" name="Freeform: Shape 1971">
              <a:extLst>
                <a:ext uri="{FF2B5EF4-FFF2-40B4-BE49-F238E27FC236}">
                  <a16:creationId xmlns:a16="http://schemas.microsoft.com/office/drawing/2014/main" id="{7AAF0D0F-61AF-49EA-895E-D2A4AD978CD0}"/>
                </a:ext>
              </a:extLst>
            </p:cNvPr>
            <p:cNvSpPr/>
            <p:nvPr/>
          </p:nvSpPr>
          <p:spPr>
            <a:xfrm>
              <a:off x="5619949" y="2091905"/>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3" name="Freeform: Shape 1972">
              <a:extLst>
                <a:ext uri="{FF2B5EF4-FFF2-40B4-BE49-F238E27FC236}">
                  <a16:creationId xmlns:a16="http://schemas.microsoft.com/office/drawing/2014/main" id="{F23DDC88-E050-4FCB-8653-CEFBB1D3511A}"/>
                </a:ext>
              </a:extLst>
            </p:cNvPr>
            <p:cNvSpPr/>
            <p:nvPr/>
          </p:nvSpPr>
          <p:spPr>
            <a:xfrm>
              <a:off x="5619949" y="179025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4" name="Freeform: Shape 1973">
              <a:extLst>
                <a:ext uri="{FF2B5EF4-FFF2-40B4-BE49-F238E27FC236}">
                  <a16:creationId xmlns:a16="http://schemas.microsoft.com/office/drawing/2014/main" id="{7C68E89C-397C-463E-AB26-5FBC51E97958}"/>
                </a:ext>
              </a:extLst>
            </p:cNvPr>
            <p:cNvSpPr/>
            <p:nvPr/>
          </p:nvSpPr>
          <p:spPr>
            <a:xfrm>
              <a:off x="6354952" y="2631474"/>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1" y="49777"/>
                    <a:pt x="49778" y="42697"/>
                    <a:pt x="49778" y="32783"/>
                  </a:cubicBezTo>
                  <a:cubicBezTo>
                    <a:pt x="49778" y="22870"/>
                    <a:pt x="42697" y="15789"/>
                    <a:pt x="32783" y="15789"/>
                  </a:cubicBezTo>
                  <a:cubicBezTo>
                    <a:pt x="24286" y="15789"/>
                    <a:pt x="15789" y="22870"/>
                    <a:pt x="15789" y="32783"/>
                  </a:cubicBezTo>
                  <a:cubicBezTo>
                    <a:pt x="15789" y="42697"/>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5" name="Freeform: Shape 1974">
              <a:extLst>
                <a:ext uri="{FF2B5EF4-FFF2-40B4-BE49-F238E27FC236}">
                  <a16:creationId xmlns:a16="http://schemas.microsoft.com/office/drawing/2014/main" id="{C2EDABE3-BD69-4600-92D3-B0A86FE36002}"/>
                </a:ext>
              </a:extLst>
            </p:cNvPr>
            <p:cNvSpPr/>
            <p:nvPr/>
          </p:nvSpPr>
          <p:spPr>
            <a:xfrm>
              <a:off x="6179344" y="236806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6" name="Freeform: Shape 1975">
              <a:extLst>
                <a:ext uri="{FF2B5EF4-FFF2-40B4-BE49-F238E27FC236}">
                  <a16:creationId xmlns:a16="http://schemas.microsoft.com/office/drawing/2014/main" id="{B3EAC84F-23E3-4164-9B50-23602397A42E}"/>
                </a:ext>
              </a:extLst>
            </p:cNvPr>
            <p:cNvSpPr/>
            <p:nvPr/>
          </p:nvSpPr>
          <p:spPr>
            <a:xfrm>
              <a:off x="6401687" y="2023928"/>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7" name="Freeform: Shape 1976">
              <a:extLst>
                <a:ext uri="{FF2B5EF4-FFF2-40B4-BE49-F238E27FC236}">
                  <a16:creationId xmlns:a16="http://schemas.microsoft.com/office/drawing/2014/main" id="{581F56E9-AA68-415C-8A03-0D89905950E2}"/>
                </a:ext>
              </a:extLst>
            </p:cNvPr>
            <p:cNvSpPr/>
            <p:nvPr/>
          </p:nvSpPr>
          <p:spPr>
            <a:xfrm>
              <a:off x="7377442" y="1863898"/>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8" name="Freeform: Shape 1977">
              <a:extLst>
                <a:ext uri="{FF2B5EF4-FFF2-40B4-BE49-F238E27FC236}">
                  <a16:creationId xmlns:a16="http://schemas.microsoft.com/office/drawing/2014/main" id="{87282424-7F1C-416E-A53D-C21434FFEA3A}"/>
                </a:ext>
              </a:extLst>
            </p:cNvPr>
            <p:cNvSpPr/>
            <p:nvPr/>
          </p:nvSpPr>
          <p:spPr>
            <a:xfrm>
              <a:off x="6609800" y="1303087"/>
              <a:ext cx="113295" cy="113295"/>
            </a:xfrm>
            <a:custGeom>
              <a:avLst/>
              <a:gdLst>
                <a:gd name="connsiteX0" fmla="*/ 61174 w 113295"/>
                <a:gd name="connsiteY0" fmla="*/ 15789 h 113295"/>
                <a:gd name="connsiteX1" fmla="*/ 106492 w 113295"/>
                <a:gd name="connsiteY1" fmla="*/ 61107 h 113295"/>
                <a:gd name="connsiteX2" fmla="*/ 61174 w 113295"/>
                <a:gd name="connsiteY2" fmla="*/ 106425 h 113295"/>
                <a:gd name="connsiteX3" fmla="*/ 15856 w 113295"/>
                <a:gd name="connsiteY3" fmla="*/ 61107 h 113295"/>
                <a:gd name="connsiteX4" fmla="*/ 61174 w 113295"/>
                <a:gd name="connsiteY4" fmla="*/ 15789 h 113295"/>
                <a:gd name="connsiteX5" fmla="*/ 61174 w 113295"/>
                <a:gd name="connsiteY5" fmla="*/ 15789 h 113295"/>
                <a:gd name="connsiteX6" fmla="*/ 61174 w 113295"/>
                <a:gd name="connsiteY6" fmla="*/ 35616 h 113295"/>
                <a:gd name="connsiteX7" fmla="*/ 35683 w 113295"/>
                <a:gd name="connsiteY7" fmla="*/ 61107 h 113295"/>
                <a:gd name="connsiteX8" fmla="*/ 61174 w 113295"/>
                <a:gd name="connsiteY8" fmla="*/ 86599 h 113295"/>
                <a:gd name="connsiteX9" fmla="*/ 86666 w 113295"/>
                <a:gd name="connsiteY9" fmla="*/ 61107 h 113295"/>
                <a:gd name="connsiteX10" fmla="*/ 61174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74" y="15789"/>
                  </a:moveTo>
                  <a:cubicBezTo>
                    <a:pt x="86666" y="15789"/>
                    <a:pt x="106492" y="35616"/>
                    <a:pt x="106492" y="61107"/>
                  </a:cubicBezTo>
                  <a:cubicBezTo>
                    <a:pt x="106492" y="86599"/>
                    <a:pt x="86666" y="106425"/>
                    <a:pt x="61174" y="106425"/>
                  </a:cubicBezTo>
                  <a:cubicBezTo>
                    <a:pt x="35683" y="106425"/>
                    <a:pt x="15856" y="86599"/>
                    <a:pt x="15856" y="61107"/>
                  </a:cubicBezTo>
                  <a:cubicBezTo>
                    <a:pt x="14440" y="35616"/>
                    <a:pt x="35683" y="15789"/>
                    <a:pt x="61174" y="15789"/>
                  </a:cubicBezTo>
                  <a:lnTo>
                    <a:pt x="61174" y="15789"/>
                  </a:lnTo>
                  <a:close/>
                  <a:moveTo>
                    <a:pt x="61174" y="35616"/>
                  </a:moveTo>
                  <a:cubicBezTo>
                    <a:pt x="47012" y="35616"/>
                    <a:pt x="35683" y="46945"/>
                    <a:pt x="35683" y="61107"/>
                  </a:cubicBezTo>
                  <a:cubicBezTo>
                    <a:pt x="35683" y="75269"/>
                    <a:pt x="47012" y="86599"/>
                    <a:pt x="61174" y="86599"/>
                  </a:cubicBezTo>
                  <a:cubicBezTo>
                    <a:pt x="75336" y="86599"/>
                    <a:pt x="86666" y="75269"/>
                    <a:pt x="86666" y="61107"/>
                  </a:cubicBezTo>
                  <a:cubicBezTo>
                    <a:pt x="86666" y="46945"/>
                    <a:pt x="75336" y="35616"/>
                    <a:pt x="61174"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79" name="Freeform: Shape 1978">
              <a:extLst>
                <a:ext uri="{FF2B5EF4-FFF2-40B4-BE49-F238E27FC236}">
                  <a16:creationId xmlns:a16="http://schemas.microsoft.com/office/drawing/2014/main" id="{C98A654D-03EE-4196-95B7-795800B561B1}"/>
                </a:ext>
              </a:extLst>
            </p:cNvPr>
            <p:cNvSpPr/>
            <p:nvPr/>
          </p:nvSpPr>
          <p:spPr>
            <a:xfrm>
              <a:off x="7475093" y="997190"/>
              <a:ext cx="113295" cy="113295"/>
            </a:xfrm>
            <a:custGeom>
              <a:avLst/>
              <a:gdLst>
                <a:gd name="connsiteX0" fmla="*/ 61174 w 113295"/>
                <a:gd name="connsiteY0" fmla="*/ 15789 h 113295"/>
                <a:gd name="connsiteX1" fmla="*/ 106492 w 113295"/>
                <a:gd name="connsiteY1" fmla="*/ 61107 h 113295"/>
                <a:gd name="connsiteX2" fmla="*/ 61174 w 113295"/>
                <a:gd name="connsiteY2" fmla="*/ 106425 h 113295"/>
                <a:gd name="connsiteX3" fmla="*/ 15856 w 113295"/>
                <a:gd name="connsiteY3" fmla="*/ 61107 h 113295"/>
                <a:gd name="connsiteX4" fmla="*/ 61174 w 113295"/>
                <a:gd name="connsiteY4" fmla="*/ 15789 h 113295"/>
                <a:gd name="connsiteX5" fmla="*/ 61174 w 113295"/>
                <a:gd name="connsiteY5" fmla="*/ 15789 h 113295"/>
                <a:gd name="connsiteX6" fmla="*/ 61174 w 113295"/>
                <a:gd name="connsiteY6" fmla="*/ 35616 h 113295"/>
                <a:gd name="connsiteX7" fmla="*/ 35683 w 113295"/>
                <a:gd name="connsiteY7" fmla="*/ 61107 h 113295"/>
                <a:gd name="connsiteX8" fmla="*/ 61174 w 113295"/>
                <a:gd name="connsiteY8" fmla="*/ 86599 h 113295"/>
                <a:gd name="connsiteX9" fmla="*/ 86666 w 113295"/>
                <a:gd name="connsiteY9" fmla="*/ 61107 h 113295"/>
                <a:gd name="connsiteX10" fmla="*/ 61174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74" y="15789"/>
                  </a:moveTo>
                  <a:cubicBezTo>
                    <a:pt x="86666" y="15789"/>
                    <a:pt x="106492" y="35616"/>
                    <a:pt x="106492" y="61107"/>
                  </a:cubicBezTo>
                  <a:cubicBezTo>
                    <a:pt x="106492" y="86599"/>
                    <a:pt x="86666" y="106425"/>
                    <a:pt x="61174" y="106425"/>
                  </a:cubicBezTo>
                  <a:cubicBezTo>
                    <a:pt x="35683" y="106425"/>
                    <a:pt x="15856" y="86599"/>
                    <a:pt x="15856" y="61107"/>
                  </a:cubicBezTo>
                  <a:cubicBezTo>
                    <a:pt x="14440" y="35616"/>
                    <a:pt x="35683" y="15789"/>
                    <a:pt x="61174" y="15789"/>
                  </a:cubicBezTo>
                  <a:lnTo>
                    <a:pt x="61174" y="15789"/>
                  </a:lnTo>
                  <a:close/>
                  <a:moveTo>
                    <a:pt x="61174" y="35616"/>
                  </a:moveTo>
                  <a:cubicBezTo>
                    <a:pt x="47012" y="35616"/>
                    <a:pt x="35683" y="46945"/>
                    <a:pt x="35683" y="61107"/>
                  </a:cubicBezTo>
                  <a:cubicBezTo>
                    <a:pt x="35683" y="75269"/>
                    <a:pt x="47012" y="86599"/>
                    <a:pt x="61174" y="86599"/>
                  </a:cubicBezTo>
                  <a:cubicBezTo>
                    <a:pt x="75336" y="86599"/>
                    <a:pt x="86666" y="75269"/>
                    <a:pt x="86666" y="61107"/>
                  </a:cubicBezTo>
                  <a:cubicBezTo>
                    <a:pt x="86666" y="46945"/>
                    <a:pt x="75336" y="35616"/>
                    <a:pt x="61174"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0" name="Freeform: Shape 1979">
              <a:extLst>
                <a:ext uri="{FF2B5EF4-FFF2-40B4-BE49-F238E27FC236}">
                  <a16:creationId xmlns:a16="http://schemas.microsoft.com/office/drawing/2014/main" id="{BA1C5F16-339A-4507-BC37-ED203FD3C71C}"/>
                </a:ext>
              </a:extLst>
            </p:cNvPr>
            <p:cNvSpPr/>
            <p:nvPr/>
          </p:nvSpPr>
          <p:spPr>
            <a:xfrm>
              <a:off x="7915595" y="1933292"/>
              <a:ext cx="113295" cy="113295"/>
            </a:xfrm>
            <a:custGeom>
              <a:avLst/>
              <a:gdLst>
                <a:gd name="connsiteX0" fmla="*/ 61107 w 113295"/>
                <a:gd name="connsiteY0" fmla="*/ 15789 h 113295"/>
                <a:gd name="connsiteX1" fmla="*/ 106425 w 113295"/>
                <a:gd name="connsiteY1" fmla="*/ 61107 h 113295"/>
                <a:gd name="connsiteX2" fmla="*/ 61107 w 113295"/>
                <a:gd name="connsiteY2" fmla="*/ 106425 h 113295"/>
                <a:gd name="connsiteX3" fmla="*/ 15789 w 113295"/>
                <a:gd name="connsiteY3" fmla="*/ 61107 h 113295"/>
                <a:gd name="connsiteX4" fmla="*/ 61107 w 113295"/>
                <a:gd name="connsiteY4" fmla="*/ 15789 h 113295"/>
                <a:gd name="connsiteX5" fmla="*/ 61107 w 113295"/>
                <a:gd name="connsiteY5" fmla="*/ 15789 h 113295"/>
                <a:gd name="connsiteX6" fmla="*/ 61107 w 113295"/>
                <a:gd name="connsiteY6" fmla="*/ 35616 h 113295"/>
                <a:gd name="connsiteX7" fmla="*/ 35616 w 113295"/>
                <a:gd name="connsiteY7" fmla="*/ 61107 h 113295"/>
                <a:gd name="connsiteX8" fmla="*/ 61107 w 113295"/>
                <a:gd name="connsiteY8" fmla="*/ 86599 h 113295"/>
                <a:gd name="connsiteX9" fmla="*/ 86599 w 113295"/>
                <a:gd name="connsiteY9" fmla="*/ 61107 h 113295"/>
                <a:gd name="connsiteX10" fmla="*/ 61107 w 113295"/>
                <a:gd name="connsiteY10" fmla="*/ 35616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61107" y="15789"/>
                  </a:moveTo>
                  <a:cubicBezTo>
                    <a:pt x="86599" y="15789"/>
                    <a:pt x="106425" y="35616"/>
                    <a:pt x="106425" y="61107"/>
                  </a:cubicBezTo>
                  <a:cubicBezTo>
                    <a:pt x="106425" y="86599"/>
                    <a:pt x="86599" y="106425"/>
                    <a:pt x="61107" y="106425"/>
                  </a:cubicBezTo>
                  <a:cubicBezTo>
                    <a:pt x="35616" y="106425"/>
                    <a:pt x="15789" y="86599"/>
                    <a:pt x="15789" y="61107"/>
                  </a:cubicBezTo>
                  <a:cubicBezTo>
                    <a:pt x="15789" y="35616"/>
                    <a:pt x="35616" y="15789"/>
                    <a:pt x="61107" y="15789"/>
                  </a:cubicBezTo>
                  <a:lnTo>
                    <a:pt x="61107" y="15789"/>
                  </a:lnTo>
                  <a:close/>
                  <a:moveTo>
                    <a:pt x="61107" y="35616"/>
                  </a:moveTo>
                  <a:cubicBezTo>
                    <a:pt x="46945" y="35616"/>
                    <a:pt x="35616" y="46945"/>
                    <a:pt x="35616" y="61107"/>
                  </a:cubicBezTo>
                  <a:cubicBezTo>
                    <a:pt x="35616" y="75269"/>
                    <a:pt x="46945" y="86599"/>
                    <a:pt x="61107" y="86599"/>
                  </a:cubicBezTo>
                  <a:cubicBezTo>
                    <a:pt x="75269" y="86599"/>
                    <a:pt x="86599" y="75269"/>
                    <a:pt x="86599" y="61107"/>
                  </a:cubicBezTo>
                  <a:cubicBezTo>
                    <a:pt x="86599" y="46945"/>
                    <a:pt x="75269" y="35616"/>
                    <a:pt x="61107"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1" name="Freeform: Shape 1980">
              <a:extLst>
                <a:ext uri="{FF2B5EF4-FFF2-40B4-BE49-F238E27FC236}">
                  <a16:creationId xmlns:a16="http://schemas.microsoft.com/office/drawing/2014/main" id="{7C7BDEE4-FCB1-4B94-8579-19A2D70EC645}"/>
                </a:ext>
              </a:extLst>
            </p:cNvPr>
            <p:cNvSpPr/>
            <p:nvPr/>
          </p:nvSpPr>
          <p:spPr>
            <a:xfrm>
              <a:off x="8072792" y="3200782"/>
              <a:ext cx="70810" cy="70810"/>
            </a:xfrm>
            <a:custGeom>
              <a:avLst/>
              <a:gdLst>
                <a:gd name="connsiteX0" fmla="*/ 35615 w 70809"/>
                <a:gd name="connsiteY0" fmla="*/ 55442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2"/>
                  </a:moveTo>
                  <a:cubicBezTo>
                    <a:pt x="46945" y="55442"/>
                    <a:pt x="55442" y="46945"/>
                    <a:pt x="55442" y="35616"/>
                  </a:cubicBezTo>
                  <a:cubicBezTo>
                    <a:pt x="55442" y="24286"/>
                    <a:pt x="46945" y="15789"/>
                    <a:pt x="35615" y="15789"/>
                  </a:cubicBezTo>
                  <a:cubicBezTo>
                    <a:pt x="24286" y="15789"/>
                    <a:pt x="15789" y="24286"/>
                    <a:pt x="15789" y="35616"/>
                  </a:cubicBezTo>
                  <a:cubicBezTo>
                    <a:pt x="15789" y="46945"/>
                    <a:pt x="24286" y="55442"/>
                    <a:pt x="35615"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2" name="Freeform: Shape 1981">
              <a:extLst>
                <a:ext uri="{FF2B5EF4-FFF2-40B4-BE49-F238E27FC236}">
                  <a16:creationId xmlns:a16="http://schemas.microsoft.com/office/drawing/2014/main" id="{39867B81-2C4B-424C-BAEA-4E5181A30A30}"/>
                </a:ext>
              </a:extLst>
            </p:cNvPr>
            <p:cNvSpPr/>
            <p:nvPr/>
          </p:nvSpPr>
          <p:spPr>
            <a:xfrm>
              <a:off x="8030307" y="3788502"/>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7205" y="46945"/>
                    <a:pt x="25702"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3" name="Freeform: Shape 1982">
              <a:extLst>
                <a:ext uri="{FF2B5EF4-FFF2-40B4-BE49-F238E27FC236}">
                  <a16:creationId xmlns:a16="http://schemas.microsoft.com/office/drawing/2014/main" id="{AE9BDA83-8E89-47B3-8059-0D9F2D340A15}"/>
                </a:ext>
              </a:extLst>
            </p:cNvPr>
            <p:cNvSpPr/>
            <p:nvPr/>
          </p:nvSpPr>
          <p:spPr>
            <a:xfrm>
              <a:off x="7679091" y="2964279"/>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4286"/>
                    <a:pt x="46945" y="15789"/>
                    <a:pt x="35616" y="15789"/>
                  </a:cubicBezTo>
                  <a:cubicBezTo>
                    <a:pt x="24286" y="15789"/>
                    <a:pt x="15789" y="24286"/>
                    <a:pt x="15789" y="35616"/>
                  </a:cubicBezTo>
                  <a:cubicBezTo>
                    <a:pt x="15789" y="46945"/>
                    <a:pt x="24286"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4" name="Freeform: Shape 1983">
              <a:extLst>
                <a:ext uri="{FF2B5EF4-FFF2-40B4-BE49-F238E27FC236}">
                  <a16:creationId xmlns:a16="http://schemas.microsoft.com/office/drawing/2014/main" id="{DDFBC9BE-9B74-4E75-92D8-F62D2D504C94}"/>
                </a:ext>
              </a:extLst>
            </p:cNvPr>
            <p:cNvSpPr/>
            <p:nvPr/>
          </p:nvSpPr>
          <p:spPr>
            <a:xfrm>
              <a:off x="8183255" y="3580322"/>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7205" y="46945"/>
                    <a:pt x="25703"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5" name="Freeform: Shape 1984">
              <a:extLst>
                <a:ext uri="{FF2B5EF4-FFF2-40B4-BE49-F238E27FC236}">
                  <a16:creationId xmlns:a16="http://schemas.microsoft.com/office/drawing/2014/main" id="{57DDF0E9-D862-4316-84A3-E266AC704987}"/>
                </a:ext>
              </a:extLst>
            </p:cNvPr>
            <p:cNvSpPr/>
            <p:nvPr/>
          </p:nvSpPr>
          <p:spPr>
            <a:xfrm>
              <a:off x="8797883" y="3401881"/>
              <a:ext cx="70810" cy="70810"/>
            </a:xfrm>
            <a:custGeom>
              <a:avLst/>
              <a:gdLst>
                <a:gd name="connsiteX0" fmla="*/ 35615 w 70809"/>
                <a:gd name="connsiteY0" fmla="*/ 55442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2"/>
                  </a:moveTo>
                  <a:cubicBezTo>
                    <a:pt x="46945" y="55442"/>
                    <a:pt x="55442" y="46945"/>
                    <a:pt x="55442" y="35616"/>
                  </a:cubicBezTo>
                  <a:cubicBezTo>
                    <a:pt x="55442" y="24286"/>
                    <a:pt x="46945" y="15789"/>
                    <a:pt x="35615" y="15789"/>
                  </a:cubicBezTo>
                  <a:cubicBezTo>
                    <a:pt x="24286" y="15789"/>
                    <a:pt x="15789" y="24286"/>
                    <a:pt x="15789" y="35616"/>
                  </a:cubicBezTo>
                  <a:cubicBezTo>
                    <a:pt x="15789" y="46945"/>
                    <a:pt x="25702" y="55442"/>
                    <a:pt x="35615"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6" name="Freeform: Shape 1985">
              <a:extLst>
                <a:ext uri="{FF2B5EF4-FFF2-40B4-BE49-F238E27FC236}">
                  <a16:creationId xmlns:a16="http://schemas.microsoft.com/office/drawing/2014/main" id="{F6C859A5-EE11-419B-95B4-810D9C8CD75F}"/>
                </a:ext>
              </a:extLst>
            </p:cNvPr>
            <p:cNvSpPr/>
            <p:nvPr/>
          </p:nvSpPr>
          <p:spPr>
            <a:xfrm>
              <a:off x="8817709" y="3343818"/>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2"/>
                  </a:cubicBezTo>
                  <a:cubicBezTo>
                    <a:pt x="35616" y="20037"/>
                    <a:pt x="31368" y="15789"/>
                    <a:pt x="25703" y="15789"/>
                  </a:cubicBezTo>
                  <a:cubicBezTo>
                    <a:pt x="20037" y="15789"/>
                    <a:pt x="15789" y="20037"/>
                    <a:pt x="15789" y="25702"/>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7" name="Freeform: Shape 1986">
              <a:extLst>
                <a:ext uri="{FF2B5EF4-FFF2-40B4-BE49-F238E27FC236}">
                  <a16:creationId xmlns:a16="http://schemas.microsoft.com/office/drawing/2014/main" id="{08310EFE-EFC4-4AC7-9BB7-667DCEE5008E}"/>
                </a:ext>
              </a:extLst>
            </p:cNvPr>
            <p:cNvSpPr/>
            <p:nvPr/>
          </p:nvSpPr>
          <p:spPr>
            <a:xfrm>
              <a:off x="9072623" y="3231939"/>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2"/>
                  </a:cubicBezTo>
                  <a:cubicBezTo>
                    <a:pt x="35616" y="20038"/>
                    <a:pt x="31368" y="15789"/>
                    <a:pt x="25703" y="15789"/>
                  </a:cubicBezTo>
                  <a:cubicBezTo>
                    <a:pt x="20037" y="15789"/>
                    <a:pt x="15789" y="20038"/>
                    <a:pt x="15789" y="25702"/>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8" name="Freeform: Shape 1987">
              <a:extLst>
                <a:ext uri="{FF2B5EF4-FFF2-40B4-BE49-F238E27FC236}">
                  <a16:creationId xmlns:a16="http://schemas.microsoft.com/office/drawing/2014/main" id="{A9ED2816-76B4-46E0-B206-66674E2BB384}"/>
                </a:ext>
              </a:extLst>
            </p:cNvPr>
            <p:cNvSpPr/>
            <p:nvPr/>
          </p:nvSpPr>
          <p:spPr>
            <a:xfrm>
              <a:off x="8357447" y="2764596"/>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2"/>
                  </a:cubicBezTo>
                  <a:cubicBezTo>
                    <a:pt x="35616" y="20038"/>
                    <a:pt x="31368" y="15789"/>
                    <a:pt x="25703" y="15789"/>
                  </a:cubicBezTo>
                  <a:cubicBezTo>
                    <a:pt x="20037" y="15789"/>
                    <a:pt x="15789" y="20038"/>
                    <a:pt x="15789" y="25702"/>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89" name="Freeform: Shape 1988">
              <a:extLst>
                <a:ext uri="{FF2B5EF4-FFF2-40B4-BE49-F238E27FC236}">
                  <a16:creationId xmlns:a16="http://schemas.microsoft.com/office/drawing/2014/main" id="{A0E6EB35-9EDC-4045-A7D3-E1F44AA41286}"/>
                </a:ext>
              </a:extLst>
            </p:cNvPr>
            <p:cNvSpPr/>
            <p:nvPr/>
          </p:nvSpPr>
          <p:spPr>
            <a:xfrm>
              <a:off x="8938085" y="3847982"/>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2"/>
                  </a:cubicBezTo>
                  <a:cubicBezTo>
                    <a:pt x="35616" y="20038"/>
                    <a:pt x="31368" y="15789"/>
                    <a:pt x="25703" y="15789"/>
                  </a:cubicBezTo>
                  <a:cubicBezTo>
                    <a:pt x="20037" y="15789"/>
                    <a:pt x="15789" y="20038"/>
                    <a:pt x="15789" y="25702"/>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0" name="Freeform: Shape 1989">
              <a:extLst>
                <a:ext uri="{FF2B5EF4-FFF2-40B4-BE49-F238E27FC236}">
                  <a16:creationId xmlns:a16="http://schemas.microsoft.com/office/drawing/2014/main" id="{5D81754D-2693-4A8C-A1AB-729AC639BACB}"/>
                </a:ext>
              </a:extLst>
            </p:cNvPr>
            <p:cNvSpPr/>
            <p:nvPr/>
          </p:nvSpPr>
          <p:spPr>
            <a:xfrm>
              <a:off x="8160596" y="3717692"/>
              <a:ext cx="42486" cy="42486"/>
            </a:xfrm>
            <a:custGeom>
              <a:avLst/>
              <a:gdLst>
                <a:gd name="connsiteX0" fmla="*/ 25702 w 42485"/>
                <a:gd name="connsiteY0" fmla="*/ 35616 h 42485"/>
                <a:gd name="connsiteX1" fmla="*/ 35615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5" y="31367"/>
                    <a:pt x="35615" y="25702"/>
                  </a:cubicBezTo>
                  <a:cubicBezTo>
                    <a:pt x="35615"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1" name="Freeform: Shape 1990">
              <a:extLst>
                <a:ext uri="{FF2B5EF4-FFF2-40B4-BE49-F238E27FC236}">
                  <a16:creationId xmlns:a16="http://schemas.microsoft.com/office/drawing/2014/main" id="{5B360E99-628C-4BC9-BA48-387CE7AE3D45}"/>
                </a:ext>
              </a:extLst>
            </p:cNvPr>
            <p:cNvSpPr/>
            <p:nvPr/>
          </p:nvSpPr>
          <p:spPr>
            <a:xfrm>
              <a:off x="7850450" y="3342401"/>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7" y="15789"/>
                    <a:pt x="15789" y="20038"/>
                    <a:pt x="15789" y="25702"/>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2" name="Freeform: Shape 1991">
              <a:extLst>
                <a:ext uri="{FF2B5EF4-FFF2-40B4-BE49-F238E27FC236}">
                  <a16:creationId xmlns:a16="http://schemas.microsoft.com/office/drawing/2014/main" id="{8D892C8E-054D-4089-92E3-8C97E7B6EDAF}"/>
                </a:ext>
              </a:extLst>
            </p:cNvPr>
            <p:cNvSpPr/>
            <p:nvPr/>
          </p:nvSpPr>
          <p:spPr>
            <a:xfrm>
              <a:off x="7391604" y="3568992"/>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3" name="Freeform: Shape 1992">
              <a:extLst>
                <a:ext uri="{FF2B5EF4-FFF2-40B4-BE49-F238E27FC236}">
                  <a16:creationId xmlns:a16="http://schemas.microsoft.com/office/drawing/2014/main" id="{61D51096-A13E-4BAE-BEF7-ABB540128489}"/>
                </a:ext>
              </a:extLst>
            </p:cNvPr>
            <p:cNvSpPr/>
            <p:nvPr/>
          </p:nvSpPr>
          <p:spPr>
            <a:xfrm>
              <a:off x="7026227" y="3546333"/>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8" y="15789"/>
                    <a:pt x="15789" y="20038"/>
                    <a:pt x="15789" y="25703"/>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4" name="Freeform: Shape 1993">
              <a:extLst>
                <a:ext uri="{FF2B5EF4-FFF2-40B4-BE49-F238E27FC236}">
                  <a16:creationId xmlns:a16="http://schemas.microsoft.com/office/drawing/2014/main" id="{11E17E6C-AF64-4353-A8EE-4AE2312F1544}"/>
                </a:ext>
              </a:extLst>
            </p:cNvPr>
            <p:cNvSpPr/>
            <p:nvPr/>
          </p:nvSpPr>
          <p:spPr>
            <a:xfrm>
              <a:off x="7199002" y="3026591"/>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9"/>
                    <a:pt x="55442" y="15789"/>
                    <a:pt x="41280" y="15789"/>
                  </a:cubicBezTo>
                  <a:cubicBezTo>
                    <a:pt x="27118" y="15789"/>
                    <a:pt x="15789" y="27119"/>
                    <a:pt x="15789" y="41280"/>
                  </a:cubicBezTo>
                  <a:cubicBezTo>
                    <a:pt x="15789" y="54026"/>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5" name="Freeform: Shape 1994">
              <a:extLst>
                <a:ext uri="{FF2B5EF4-FFF2-40B4-BE49-F238E27FC236}">
                  <a16:creationId xmlns:a16="http://schemas.microsoft.com/office/drawing/2014/main" id="{6167CA0D-401B-4987-B078-50CD35586A6A}"/>
                </a:ext>
              </a:extLst>
            </p:cNvPr>
            <p:cNvSpPr/>
            <p:nvPr/>
          </p:nvSpPr>
          <p:spPr>
            <a:xfrm>
              <a:off x="8889815" y="3767259"/>
              <a:ext cx="70810" cy="70810"/>
            </a:xfrm>
            <a:custGeom>
              <a:avLst/>
              <a:gdLst>
                <a:gd name="connsiteX0" fmla="*/ 41400 w 70809"/>
                <a:gd name="connsiteY0" fmla="*/ 66772 h 70809"/>
                <a:gd name="connsiteX1" fmla="*/ 66891 w 70809"/>
                <a:gd name="connsiteY1" fmla="*/ 41280 h 70809"/>
                <a:gd name="connsiteX2" fmla="*/ 41400 w 70809"/>
                <a:gd name="connsiteY2" fmla="*/ 15789 h 70809"/>
                <a:gd name="connsiteX3" fmla="*/ 15909 w 70809"/>
                <a:gd name="connsiteY3" fmla="*/ 41280 h 70809"/>
                <a:gd name="connsiteX4" fmla="*/ 4140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400" y="66772"/>
                  </a:moveTo>
                  <a:cubicBezTo>
                    <a:pt x="55562" y="66772"/>
                    <a:pt x="66891" y="55442"/>
                    <a:pt x="66891" y="41280"/>
                  </a:cubicBezTo>
                  <a:cubicBezTo>
                    <a:pt x="66891" y="27119"/>
                    <a:pt x="55562" y="15789"/>
                    <a:pt x="41400" y="15789"/>
                  </a:cubicBezTo>
                  <a:cubicBezTo>
                    <a:pt x="27238" y="15789"/>
                    <a:pt x="15909" y="27119"/>
                    <a:pt x="15909" y="41280"/>
                  </a:cubicBezTo>
                  <a:cubicBezTo>
                    <a:pt x="14492" y="55442"/>
                    <a:pt x="25821" y="66772"/>
                    <a:pt x="4140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6" name="Freeform: Shape 1995">
              <a:extLst>
                <a:ext uri="{FF2B5EF4-FFF2-40B4-BE49-F238E27FC236}">
                  <a16:creationId xmlns:a16="http://schemas.microsoft.com/office/drawing/2014/main" id="{DA98F61C-CF47-47A3-808F-E84B698E0EBC}"/>
                </a:ext>
              </a:extLst>
            </p:cNvPr>
            <p:cNvSpPr/>
            <p:nvPr/>
          </p:nvSpPr>
          <p:spPr>
            <a:xfrm>
              <a:off x="8955079" y="3543501"/>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7" y="15789"/>
                    <a:pt x="15789" y="20038"/>
                    <a:pt x="15789" y="25702"/>
                  </a:cubicBezTo>
                  <a:cubicBezTo>
                    <a:pt x="17205" y="31367"/>
                    <a:pt x="21454"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7" name="Freeform: Shape 1996">
              <a:extLst>
                <a:ext uri="{FF2B5EF4-FFF2-40B4-BE49-F238E27FC236}">
                  <a16:creationId xmlns:a16="http://schemas.microsoft.com/office/drawing/2014/main" id="{20CB1610-86F1-42A0-8FFE-BF796CD3D667}"/>
                </a:ext>
              </a:extLst>
            </p:cNvPr>
            <p:cNvSpPr/>
            <p:nvPr/>
          </p:nvSpPr>
          <p:spPr>
            <a:xfrm>
              <a:off x="9079704" y="3549165"/>
              <a:ext cx="28324" cy="28324"/>
            </a:xfrm>
            <a:custGeom>
              <a:avLst/>
              <a:gdLst>
                <a:gd name="connsiteX0" fmla="*/ 20037 w 28323"/>
                <a:gd name="connsiteY0" fmla="*/ 24286 h 28323"/>
                <a:gd name="connsiteX1" fmla="*/ 24287 w 28323"/>
                <a:gd name="connsiteY1" fmla="*/ 20037 h 28323"/>
                <a:gd name="connsiteX2" fmla="*/ 20037 w 28323"/>
                <a:gd name="connsiteY2" fmla="*/ 15789 h 28323"/>
                <a:gd name="connsiteX3" fmla="*/ 15789 w 28323"/>
                <a:gd name="connsiteY3" fmla="*/ 20037 h 28323"/>
                <a:gd name="connsiteX4" fmla="*/ 20037 w 28323"/>
                <a:gd name="connsiteY4" fmla="*/ 24286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0037" y="24286"/>
                  </a:moveTo>
                  <a:cubicBezTo>
                    <a:pt x="22870" y="24286"/>
                    <a:pt x="24287" y="21454"/>
                    <a:pt x="24287" y="20037"/>
                  </a:cubicBezTo>
                  <a:cubicBezTo>
                    <a:pt x="24287" y="17205"/>
                    <a:pt x="21454" y="15789"/>
                    <a:pt x="20037" y="15789"/>
                  </a:cubicBezTo>
                  <a:cubicBezTo>
                    <a:pt x="17206" y="15789"/>
                    <a:pt x="15789" y="18621"/>
                    <a:pt x="15789" y="20037"/>
                  </a:cubicBezTo>
                  <a:cubicBezTo>
                    <a:pt x="15789" y="21454"/>
                    <a:pt x="17206" y="24286"/>
                    <a:pt x="20037"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8" name="Freeform: Shape 1997">
              <a:extLst>
                <a:ext uri="{FF2B5EF4-FFF2-40B4-BE49-F238E27FC236}">
                  <a16:creationId xmlns:a16="http://schemas.microsoft.com/office/drawing/2014/main" id="{F5D410DA-48F8-417C-9C65-A2649F2BBC6A}"/>
                </a:ext>
              </a:extLst>
            </p:cNvPr>
            <p:cNvSpPr/>
            <p:nvPr/>
          </p:nvSpPr>
          <p:spPr>
            <a:xfrm>
              <a:off x="9062710" y="3747432"/>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2"/>
                  </a:cubicBezTo>
                  <a:cubicBezTo>
                    <a:pt x="35616" y="20037"/>
                    <a:pt x="31368" y="15789"/>
                    <a:pt x="25703" y="15789"/>
                  </a:cubicBezTo>
                  <a:cubicBezTo>
                    <a:pt x="20038" y="15789"/>
                    <a:pt x="15789" y="20037"/>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1999" name="Freeform: Shape 1998">
              <a:extLst>
                <a:ext uri="{FF2B5EF4-FFF2-40B4-BE49-F238E27FC236}">
                  <a16:creationId xmlns:a16="http://schemas.microsoft.com/office/drawing/2014/main" id="{BDA3D9D7-49BE-416D-8233-3F369AD8B8C1}"/>
                </a:ext>
              </a:extLst>
            </p:cNvPr>
            <p:cNvSpPr/>
            <p:nvPr/>
          </p:nvSpPr>
          <p:spPr>
            <a:xfrm>
              <a:off x="8753980" y="3662461"/>
              <a:ext cx="99133" cy="99133"/>
            </a:xfrm>
            <a:custGeom>
              <a:avLst/>
              <a:gdLst>
                <a:gd name="connsiteX0" fmla="*/ 49778 w 99133"/>
                <a:gd name="connsiteY0" fmla="*/ 83766 h 99133"/>
                <a:gd name="connsiteX1" fmla="*/ 83766 w 99133"/>
                <a:gd name="connsiteY1" fmla="*/ 49777 h 99133"/>
                <a:gd name="connsiteX2" fmla="*/ 49778 w 99133"/>
                <a:gd name="connsiteY2" fmla="*/ 15789 h 99133"/>
                <a:gd name="connsiteX3" fmla="*/ 15789 w 99133"/>
                <a:gd name="connsiteY3" fmla="*/ 49777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7"/>
                  </a:cubicBezTo>
                  <a:cubicBezTo>
                    <a:pt x="83766" y="31367"/>
                    <a:pt x="68188" y="15789"/>
                    <a:pt x="49778" y="15789"/>
                  </a:cubicBezTo>
                  <a:cubicBezTo>
                    <a:pt x="31368" y="15789"/>
                    <a:pt x="15789" y="31367"/>
                    <a:pt x="15789" y="49777"/>
                  </a:cubicBezTo>
                  <a:cubicBezTo>
                    <a:pt x="15789" y="68188"/>
                    <a:pt x="31368" y="83766"/>
                    <a:pt x="49778" y="8376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0" name="Freeform: Shape 1999">
              <a:extLst>
                <a:ext uri="{FF2B5EF4-FFF2-40B4-BE49-F238E27FC236}">
                  <a16:creationId xmlns:a16="http://schemas.microsoft.com/office/drawing/2014/main" id="{5B1A75A0-AC2C-4A8A-BBF2-B2B78EA60C55}"/>
                </a:ext>
              </a:extLst>
            </p:cNvPr>
            <p:cNvSpPr/>
            <p:nvPr/>
          </p:nvSpPr>
          <p:spPr>
            <a:xfrm>
              <a:off x="9004646" y="3661044"/>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9"/>
                    <a:pt x="55442" y="15789"/>
                    <a:pt x="41280" y="15789"/>
                  </a:cubicBezTo>
                  <a:cubicBezTo>
                    <a:pt x="27118" y="15789"/>
                    <a:pt x="15789" y="27119"/>
                    <a:pt x="15789" y="41280"/>
                  </a:cubicBezTo>
                  <a:cubicBezTo>
                    <a:pt x="15789" y="55442"/>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1" name="Freeform: Shape 2000">
              <a:extLst>
                <a:ext uri="{FF2B5EF4-FFF2-40B4-BE49-F238E27FC236}">
                  <a16:creationId xmlns:a16="http://schemas.microsoft.com/office/drawing/2014/main" id="{03AC5577-0AAC-491C-BEE7-FF3F72A4E732}"/>
                </a:ext>
              </a:extLst>
            </p:cNvPr>
            <p:cNvSpPr/>
            <p:nvPr/>
          </p:nvSpPr>
          <p:spPr>
            <a:xfrm>
              <a:off x="9149098" y="4153879"/>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4200"/>
                    <a:pt x="21453" y="41281"/>
                    <a:pt x="28534"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2" name="Freeform: Shape 2001">
              <a:extLst>
                <a:ext uri="{FF2B5EF4-FFF2-40B4-BE49-F238E27FC236}">
                  <a16:creationId xmlns:a16="http://schemas.microsoft.com/office/drawing/2014/main" id="{2B8C2C2A-6A17-4707-9BD8-D70E5DE184E0}"/>
                </a:ext>
              </a:extLst>
            </p:cNvPr>
            <p:cNvSpPr/>
            <p:nvPr/>
          </p:nvSpPr>
          <p:spPr>
            <a:xfrm>
              <a:off x="9285052" y="3983936"/>
              <a:ext cx="56648" cy="56648"/>
            </a:xfrm>
            <a:custGeom>
              <a:avLst/>
              <a:gdLst>
                <a:gd name="connsiteX0" fmla="*/ 28535 w 56647"/>
                <a:gd name="connsiteY0" fmla="*/ 41281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1"/>
                  </a:moveTo>
                  <a:cubicBezTo>
                    <a:pt x="35616" y="41281"/>
                    <a:pt x="41280" y="35616"/>
                    <a:pt x="41280" y="28535"/>
                  </a:cubicBezTo>
                  <a:cubicBezTo>
                    <a:pt x="41280" y="21454"/>
                    <a:pt x="35616" y="15789"/>
                    <a:pt x="28535" y="15789"/>
                  </a:cubicBezTo>
                  <a:cubicBezTo>
                    <a:pt x="21454" y="15789"/>
                    <a:pt x="15789" y="21454"/>
                    <a:pt x="15789" y="28535"/>
                  </a:cubicBezTo>
                  <a:cubicBezTo>
                    <a:pt x="15789" y="34200"/>
                    <a:pt x="21454" y="41281"/>
                    <a:pt x="28535"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3" name="Freeform: Shape 2002">
              <a:extLst>
                <a:ext uri="{FF2B5EF4-FFF2-40B4-BE49-F238E27FC236}">
                  <a16:creationId xmlns:a16="http://schemas.microsoft.com/office/drawing/2014/main" id="{2079D33F-9043-40B9-9C92-DD0BE3259421}"/>
                </a:ext>
              </a:extLst>
            </p:cNvPr>
            <p:cNvSpPr/>
            <p:nvPr/>
          </p:nvSpPr>
          <p:spPr>
            <a:xfrm>
              <a:off x="9235485" y="4330902"/>
              <a:ext cx="70810" cy="70810"/>
            </a:xfrm>
            <a:custGeom>
              <a:avLst/>
              <a:gdLst>
                <a:gd name="connsiteX0" fmla="*/ 35616 w 70809"/>
                <a:gd name="connsiteY0" fmla="*/ 55443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3"/>
                  </a:moveTo>
                  <a:cubicBezTo>
                    <a:pt x="46945" y="55443"/>
                    <a:pt x="55442" y="46945"/>
                    <a:pt x="55442" y="35616"/>
                  </a:cubicBezTo>
                  <a:cubicBezTo>
                    <a:pt x="55442" y="24286"/>
                    <a:pt x="46945" y="15789"/>
                    <a:pt x="35616" y="15789"/>
                  </a:cubicBezTo>
                  <a:cubicBezTo>
                    <a:pt x="24287" y="15789"/>
                    <a:pt x="15789" y="24286"/>
                    <a:pt x="15789" y="35616"/>
                  </a:cubicBezTo>
                  <a:cubicBezTo>
                    <a:pt x="15789" y="45529"/>
                    <a:pt x="24287" y="55443"/>
                    <a:pt x="35616" y="554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4" name="Freeform: Shape 2003">
              <a:extLst>
                <a:ext uri="{FF2B5EF4-FFF2-40B4-BE49-F238E27FC236}">
                  <a16:creationId xmlns:a16="http://schemas.microsoft.com/office/drawing/2014/main" id="{522897D6-A4A8-4587-A103-DC5126780F98}"/>
                </a:ext>
              </a:extLst>
            </p:cNvPr>
            <p:cNvSpPr/>
            <p:nvPr/>
          </p:nvSpPr>
          <p:spPr>
            <a:xfrm>
              <a:off x="9102364" y="4264342"/>
              <a:ext cx="113295" cy="113295"/>
            </a:xfrm>
            <a:custGeom>
              <a:avLst/>
              <a:gdLst>
                <a:gd name="connsiteX0" fmla="*/ 56858 w 113295"/>
                <a:gd name="connsiteY0" fmla="*/ 15789 h 113295"/>
                <a:gd name="connsiteX1" fmla="*/ 97928 w 113295"/>
                <a:gd name="connsiteY1" fmla="*/ 56858 h 113295"/>
                <a:gd name="connsiteX2" fmla="*/ 56858 w 113295"/>
                <a:gd name="connsiteY2" fmla="*/ 97928 h 113295"/>
                <a:gd name="connsiteX3" fmla="*/ 15789 w 113295"/>
                <a:gd name="connsiteY3" fmla="*/ 56858 h 113295"/>
                <a:gd name="connsiteX4" fmla="*/ 56858 w 113295"/>
                <a:gd name="connsiteY4" fmla="*/ 15789 h 113295"/>
                <a:gd name="connsiteX5" fmla="*/ 56858 w 113295"/>
                <a:gd name="connsiteY5" fmla="*/ 15789 h 113295"/>
                <a:gd name="connsiteX6" fmla="*/ 56858 w 113295"/>
                <a:gd name="connsiteY6" fmla="*/ 34199 h 113295"/>
                <a:gd name="connsiteX7" fmla="*/ 34199 w 113295"/>
                <a:gd name="connsiteY7" fmla="*/ 56858 h 113295"/>
                <a:gd name="connsiteX8" fmla="*/ 56858 w 113295"/>
                <a:gd name="connsiteY8" fmla="*/ 79518 h 113295"/>
                <a:gd name="connsiteX9" fmla="*/ 79518 w 113295"/>
                <a:gd name="connsiteY9" fmla="*/ 56858 h 113295"/>
                <a:gd name="connsiteX10" fmla="*/ 56858 w 113295"/>
                <a:gd name="connsiteY10" fmla="*/ 34199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56858" y="15789"/>
                  </a:moveTo>
                  <a:cubicBezTo>
                    <a:pt x="79518" y="15789"/>
                    <a:pt x="97928" y="34199"/>
                    <a:pt x="97928" y="56858"/>
                  </a:cubicBezTo>
                  <a:cubicBezTo>
                    <a:pt x="97928" y="79518"/>
                    <a:pt x="79518" y="97928"/>
                    <a:pt x="56858" y="97928"/>
                  </a:cubicBezTo>
                  <a:cubicBezTo>
                    <a:pt x="34199" y="97928"/>
                    <a:pt x="15789" y="79518"/>
                    <a:pt x="15789" y="56858"/>
                  </a:cubicBezTo>
                  <a:cubicBezTo>
                    <a:pt x="15789" y="35616"/>
                    <a:pt x="34199" y="15789"/>
                    <a:pt x="56858" y="15789"/>
                  </a:cubicBezTo>
                  <a:lnTo>
                    <a:pt x="56858" y="15789"/>
                  </a:lnTo>
                  <a:close/>
                  <a:moveTo>
                    <a:pt x="56858" y="34199"/>
                  </a:moveTo>
                  <a:cubicBezTo>
                    <a:pt x="44113" y="34199"/>
                    <a:pt x="34199" y="44113"/>
                    <a:pt x="34199" y="56858"/>
                  </a:cubicBezTo>
                  <a:cubicBezTo>
                    <a:pt x="34199" y="69604"/>
                    <a:pt x="44113" y="79518"/>
                    <a:pt x="56858" y="79518"/>
                  </a:cubicBezTo>
                  <a:cubicBezTo>
                    <a:pt x="69604" y="79518"/>
                    <a:pt x="79518" y="69604"/>
                    <a:pt x="79518" y="56858"/>
                  </a:cubicBezTo>
                  <a:cubicBezTo>
                    <a:pt x="80933" y="45529"/>
                    <a:pt x="69604" y="34199"/>
                    <a:pt x="56858" y="341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5" name="Freeform: Shape 2004">
              <a:extLst>
                <a:ext uri="{FF2B5EF4-FFF2-40B4-BE49-F238E27FC236}">
                  <a16:creationId xmlns:a16="http://schemas.microsoft.com/office/drawing/2014/main" id="{10B682AD-FF02-4E52-8B6A-A4C1D1B4BA6C}"/>
                </a:ext>
              </a:extLst>
            </p:cNvPr>
            <p:cNvSpPr/>
            <p:nvPr/>
          </p:nvSpPr>
          <p:spPr>
            <a:xfrm>
              <a:off x="9263809" y="4211943"/>
              <a:ext cx="70810" cy="70810"/>
            </a:xfrm>
            <a:custGeom>
              <a:avLst/>
              <a:gdLst>
                <a:gd name="connsiteX0" fmla="*/ 38449 w 70809"/>
                <a:gd name="connsiteY0" fmla="*/ 61107 h 70809"/>
                <a:gd name="connsiteX1" fmla="*/ 61107 w 70809"/>
                <a:gd name="connsiteY1" fmla="*/ 38448 h 70809"/>
                <a:gd name="connsiteX2" fmla="*/ 38449 w 70809"/>
                <a:gd name="connsiteY2" fmla="*/ 15789 h 70809"/>
                <a:gd name="connsiteX3" fmla="*/ 15789 w 70809"/>
                <a:gd name="connsiteY3" fmla="*/ 38448 h 70809"/>
                <a:gd name="connsiteX4" fmla="*/ 38449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9" y="61107"/>
                  </a:moveTo>
                  <a:cubicBezTo>
                    <a:pt x="51194" y="61107"/>
                    <a:pt x="61107" y="51194"/>
                    <a:pt x="61107" y="38448"/>
                  </a:cubicBezTo>
                  <a:cubicBezTo>
                    <a:pt x="61107" y="25703"/>
                    <a:pt x="51194" y="15789"/>
                    <a:pt x="38449" y="15789"/>
                  </a:cubicBezTo>
                  <a:cubicBezTo>
                    <a:pt x="25703" y="15789"/>
                    <a:pt x="15789" y="25703"/>
                    <a:pt x="15789" y="38448"/>
                  </a:cubicBezTo>
                  <a:cubicBezTo>
                    <a:pt x="15789" y="51194"/>
                    <a:pt x="25703" y="61107"/>
                    <a:pt x="38449"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6" name="Freeform: Shape 2005">
              <a:extLst>
                <a:ext uri="{FF2B5EF4-FFF2-40B4-BE49-F238E27FC236}">
                  <a16:creationId xmlns:a16="http://schemas.microsoft.com/office/drawing/2014/main" id="{8F0C11E2-8438-4AC8-A0F9-7DA379A8A040}"/>
                </a:ext>
              </a:extLst>
            </p:cNvPr>
            <p:cNvSpPr/>
            <p:nvPr/>
          </p:nvSpPr>
          <p:spPr>
            <a:xfrm>
              <a:off x="8846033" y="4107144"/>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30" y="55442"/>
                    <a:pt x="55442" y="46945"/>
                    <a:pt x="55442" y="35616"/>
                  </a:cubicBezTo>
                  <a:cubicBezTo>
                    <a:pt x="55442" y="25703"/>
                    <a:pt x="46945" y="15789"/>
                    <a:pt x="35616" y="15789"/>
                  </a:cubicBezTo>
                  <a:cubicBezTo>
                    <a:pt x="25703" y="15789"/>
                    <a:pt x="15789" y="24286"/>
                    <a:pt x="15789" y="35616"/>
                  </a:cubicBezTo>
                  <a:cubicBezTo>
                    <a:pt x="17206" y="46945"/>
                    <a:pt x="25703"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7" name="Freeform: Shape 2006">
              <a:extLst>
                <a:ext uri="{FF2B5EF4-FFF2-40B4-BE49-F238E27FC236}">
                  <a16:creationId xmlns:a16="http://schemas.microsoft.com/office/drawing/2014/main" id="{2AE41BB5-9815-4AE2-9ED5-F605158FAF5D}"/>
                </a:ext>
              </a:extLst>
            </p:cNvPr>
            <p:cNvSpPr/>
            <p:nvPr/>
          </p:nvSpPr>
          <p:spPr>
            <a:xfrm>
              <a:off x="8755397" y="3904629"/>
              <a:ext cx="42486" cy="42486"/>
            </a:xfrm>
            <a:custGeom>
              <a:avLst/>
              <a:gdLst>
                <a:gd name="connsiteX0" fmla="*/ 25702 w 42485"/>
                <a:gd name="connsiteY0" fmla="*/ 35616 h 42485"/>
                <a:gd name="connsiteX1" fmla="*/ 35615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5" y="31367"/>
                    <a:pt x="35615" y="25702"/>
                  </a:cubicBezTo>
                  <a:cubicBezTo>
                    <a:pt x="35615" y="20038"/>
                    <a:pt x="31367" y="15789"/>
                    <a:pt x="25702" y="15789"/>
                  </a:cubicBezTo>
                  <a:cubicBezTo>
                    <a:pt x="20037" y="15789"/>
                    <a:pt x="15789" y="20038"/>
                    <a:pt x="15789" y="25702"/>
                  </a:cubicBezTo>
                  <a:cubicBezTo>
                    <a:pt x="17205" y="31367"/>
                    <a:pt x="21453"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8" name="Freeform: Shape 2007">
              <a:extLst>
                <a:ext uri="{FF2B5EF4-FFF2-40B4-BE49-F238E27FC236}">
                  <a16:creationId xmlns:a16="http://schemas.microsoft.com/office/drawing/2014/main" id="{F25B6528-C328-4C6B-B911-F8BF29A1B435}"/>
                </a:ext>
              </a:extLst>
            </p:cNvPr>
            <p:cNvSpPr/>
            <p:nvPr/>
          </p:nvSpPr>
          <p:spPr>
            <a:xfrm>
              <a:off x="8885309" y="4025006"/>
              <a:ext cx="28324" cy="28324"/>
            </a:xfrm>
            <a:custGeom>
              <a:avLst/>
              <a:gdLst>
                <a:gd name="connsiteX0" fmla="*/ 20415 w 28323"/>
                <a:gd name="connsiteY0" fmla="*/ 24286 h 28323"/>
                <a:gd name="connsiteX1" fmla="*/ 24663 w 28323"/>
                <a:gd name="connsiteY1" fmla="*/ 20037 h 28323"/>
                <a:gd name="connsiteX2" fmla="*/ 20415 w 28323"/>
                <a:gd name="connsiteY2" fmla="*/ 15789 h 28323"/>
                <a:gd name="connsiteX3" fmla="*/ 16166 w 28323"/>
                <a:gd name="connsiteY3" fmla="*/ 20037 h 28323"/>
                <a:gd name="connsiteX4" fmla="*/ 20415 w 28323"/>
                <a:gd name="connsiteY4" fmla="*/ 24286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0415" y="24286"/>
                  </a:moveTo>
                  <a:cubicBezTo>
                    <a:pt x="23246" y="24286"/>
                    <a:pt x="24663" y="21454"/>
                    <a:pt x="24663" y="20037"/>
                  </a:cubicBezTo>
                  <a:cubicBezTo>
                    <a:pt x="24663" y="17205"/>
                    <a:pt x="21831" y="15789"/>
                    <a:pt x="20415" y="15789"/>
                  </a:cubicBezTo>
                  <a:cubicBezTo>
                    <a:pt x="17582" y="15789"/>
                    <a:pt x="16166" y="18621"/>
                    <a:pt x="16166" y="20037"/>
                  </a:cubicBezTo>
                  <a:cubicBezTo>
                    <a:pt x="14750" y="22870"/>
                    <a:pt x="17582" y="24286"/>
                    <a:pt x="20415"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09" name="Freeform: Shape 2008">
              <a:extLst>
                <a:ext uri="{FF2B5EF4-FFF2-40B4-BE49-F238E27FC236}">
                  <a16:creationId xmlns:a16="http://schemas.microsoft.com/office/drawing/2014/main" id="{3EB8EF82-C99F-430D-B636-75B823C08BA1}"/>
                </a:ext>
              </a:extLst>
            </p:cNvPr>
            <p:cNvSpPr/>
            <p:nvPr/>
          </p:nvSpPr>
          <p:spPr>
            <a:xfrm>
              <a:off x="8806379" y="4017925"/>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0" name="Freeform: Shape 2009">
              <a:extLst>
                <a:ext uri="{FF2B5EF4-FFF2-40B4-BE49-F238E27FC236}">
                  <a16:creationId xmlns:a16="http://schemas.microsoft.com/office/drawing/2014/main" id="{53C7E426-3CFB-4A2E-AD67-91A4B37208BF}"/>
                </a:ext>
              </a:extLst>
            </p:cNvPr>
            <p:cNvSpPr/>
            <p:nvPr/>
          </p:nvSpPr>
          <p:spPr>
            <a:xfrm>
              <a:off x="8785137" y="3772923"/>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1" name="Freeform: Shape 2010">
              <a:extLst>
                <a:ext uri="{FF2B5EF4-FFF2-40B4-BE49-F238E27FC236}">
                  <a16:creationId xmlns:a16="http://schemas.microsoft.com/office/drawing/2014/main" id="{3A4B1AB5-9CD5-44AE-8139-2D50B18D16D6}"/>
                </a:ext>
              </a:extLst>
            </p:cNvPr>
            <p:cNvSpPr/>
            <p:nvPr/>
          </p:nvSpPr>
          <p:spPr>
            <a:xfrm>
              <a:off x="8864443" y="4051913"/>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2"/>
                  </a:cubicBezTo>
                  <a:cubicBezTo>
                    <a:pt x="35616" y="20037"/>
                    <a:pt x="31368" y="15789"/>
                    <a:pt x="25703" y="15789"/>
                  </a:cubicBezTo>
                  <a:cubicBezTo>
                    <a:pt x="20038" y="15789"/>
                    <a:pt x="15789" y="20037"/>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2" name="Freeform: Shape 2011">
              <a:extLst>
                <a:ext uri="{FF2B5EF4-FFF2-40B4-BE49-F238E27FC236}">
                  <a16:creationId xmlns:a16="http://schemas.microsoft.com/office/drawing/2014/main" id="{8518BDAF-AE90-4682-8EB8-057E5ACEAF6B}"/>
                </a:ext>
              </a:extLst>
            </p:cNvPr>
            <p:cNvSpPr/>
            <p:nvPr/>
          </p:nvSpPr>
          <p:spPr>
            <a:xfrm>
              <a:off x="9415342" y="3578905"/>
              <a:ext cx="42486" cy="42486"/>
            </a:xfrm>
            <a:custGeom>
              <a:avLst/>
              <a:gdLst>
                <a:gd name="connsiteX0" fmla="*/ 27118 w 42485"/>
                <a:gd name="connsiteY0" fmla="*/ 38448 h 42485"/>
                <a:gd name="connsiteX1" fmla="*/ 38448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8" y="32783"/>
                    <a:pt x="38448" y="27119"/>
                  </a:cubicBezTo>
                  <a:cubicBezTo>
                    <a:pt x="38448" y="21454"/>
                    <a:pt x="32783" y="15789"/>
                    <a:pt x="27118" y="15789"/>
                  </a:cubicBezTo>
                  <a:cubicBezTo>
                    <a:pt x="21454" y="15789"/>
                    <a:pt x="15789" y="21454"/>
                    <a:pt x="15789" y="27119"/>
                  </a:cubicBezTo>
                  <a:cubicBezTo>
                    <a:pt x="15789" y="32783"/>
                    <a:pt x="21454"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3" name="Freeform: Shape 2012">
              <a:extLst>
                <a:ext uri="{FF2B5EF4-FFF2-40B4-BE49-F238E27FC236}">
                  <a16:creationId xmlns:a16="http://schemas.microsoft.com/office/drawing/2014/main" id="{68E61B96-107E-46A3-B77B-77302EE142A4}"/>
                </a:ext>
              </a:extLst>
            </p:cNvPr>
            <p:cNvSpPr/>
            <p:nvPr/>
          </p:nvSpPr>
          <p:spPr>
            <a:xfrm>
              <a:off x="9487567" y="3842317"/>
              <a:ext cx="42486" cy="42486"/>
            </a:xfrm>
            <a:custGeom>
              <a:avLst/>
              <a:gdLst>
                <a:gd name="connsiteX0" fmla="*/ 27119 w 42485"/>
                <a:gd name="connsiteY0" fmla="*/ 38448 h 42485"/>
                <a:gd name="connsiteX1" fmla="*/ 38449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9" y="32783"/>
                    <a:pt x="38449" y="27119"/>
                  </a:cubicBezTo>
                  <a:cubicBezTo>
                    <a:pt x="38449" y="21454"/>
                    <a:pt x="32783" y="15789"/>
                    <a:pt x="27119" y="15789"/>
                  </a:cubicBezTo>
                  <a:cubicBezTo>
                    <a:pt x="21454" y="15789"/>
                    <a:pt x="15789" y="21454"/>
                    <a:pt x="15789" y="27119"/>
                  </a:cubicBezTo>
                  <a:cubicBezTo>
                    <a:pt x="15789" y="32783"/>
                    <a:pt x="21454"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4" name="Freeform: Shape 2013">
              <a:extLst>
                <a:ext uri="{FF2B5EF4-FFF2-40B4-BE49-F238E27FC236}">
                  <a16:creationId xmlns:a16="http://schemas.microsoft.com/office/drawing/2014/main" id="{E89E54F1-CE59-443D-AD4C-05A0A6D815C8}"/>
                </a:ext>
              </a:extLst>
            </p:cNvPr>
            <p:cNvSpPr/>
            <p:nvPr/>
          </p:nvSpPr>
          <p:spPr>
            <a:xfrm>
              <a:off x="9395515" y="3689368"/>
              <a:ext cx="42486" cy="42486"/>
            </a:xfrm>
            <a:custGeom>
              <a:avLst/>
              <a:gdLst>
                <a:gd name="connsiteX0" fmla="*/ 27119 w 42485"/>
                <a:gd name="connsiteY0" fmla="*/ 38448 h 42485"/>
                <a:gd name="connsiteX1" fmla="*/ 38449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9" y="32783"/>
                    <a:pt x="38449" y="27119"/>
                  </a:cubicBezTo>
                  <a:cubicBezTo>
                    <a:pt x="38449" y="21454"/>
                    <a:pt x="32783" y="15789"/>
                    <a:pt x="27119" y="15789"/>
                  </a:cubicBezTo>
                  <a:cubicBezTo>
                    <a:pt x="21454" y="15789"/>
                    <a:pt x="15789" y="21454"/>
                    <a:pt x="15789" y="27119"/>
                  </a:cubicBezTo>
                  <a:cubicBezTo>
                    <a:pt x="15789" y="34200"/>
                    <a:pt x="20038"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5" name="Freeform: Shape 2014">
              <a:extLst>
                <a:ext uri="{FF2B5EF4-FFF2-40B4-BE49-F238E27FC236}">
                  <a16:creationId xmlns:a16="http://schemas.microsoft.com/office/drawing/2014/main" id="{574F5857-4F35-445E-8734-37B4C5A253D5}"/>
                </a:ext>
              </a:extLst>
            </p:cNvPr>
            <p:cNvSpPr/>
            <p:nvPr/>
          </p:nvSpPr>
          <p:spPr>
            <a:xfrm>
              <a:off x="9514475" y="3767259"/>
              <a:ext cx="42486" cy="42486"/>
            </a:xfrm>
            <a:custGeom>
              <a:avLst/>
              <a:gdLst>
                <a:gd name="connsiteX0" fmla="*/ 27118 w 42485"/>
                <a:gd name="connsiteY0" fmla="*/ 38448 h 42485"/>
                <a:gd name="connsiteX1" fmla="*/ 38448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8" y="32783"/>
                    <a:pt x="38448" y="27119"/>
                  </a:cubicBezTo>
                  <a:cubicBezTo>
                    <a:pt x="38448" y="21454"/>
                    <a:pt x="32783" y="15789"/>
                    <a:pt x="27118" y="15789"/>
                  </a:cubicBezTo>
                  <a:cubicBezTo>
                    <a:pt x="21454" y="15789"/>
                    <a:pt x="15789" y="21454"/>
                    <a:pt x="15789" y="27119"/>
                  </a:cubicBezTo>
                  <a:cubicBezTo>
                    <a:pt x="15789" y="34200"/>
                    <a:pt x="21454"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6" name="Freeform: Shape 2015">
              <a:extLst>
                <a:ext uri="{FF2B5EF4-FFF2-40B4-BE49-F238E27FC236}">
                  <a16:creationId xmlns:a16="http://schemas.microsoft.com/office/drawing/2014/main" id="{B5CD1800-DF2E-4B45-8ACA-3BED360FE9B1}"/>
                </a:ext>
              </a:extLst>
            </p:cNvPr>
            <p:cNvSpPr/>
            <p:nvPr/>
          </p:nvSpPr>
          <p:spPr>
            <a:xfrm>
              <a:off x="9511643" y="3924456"/>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8"/>
                    <a:pt x="55442" y="15789"/>
                    <a:pt x="41280" y="15789"/>
                  </a:cubicBezTo>
                  <a:cubicBezTo>
                    <a:pt x="27118" y="15789"/>
                    <a:pt x="15789" y="27118"/>
                    <a:pt x="15789" y="41280"/>
                  </a:cubicBezTo>
                  <a:cubicBezTo>
                    <a:pt x="15789" y="55442"/>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7" name="Freeform: Shape 2016">
              <a:extLst>
                <a:ext uri="{FF2B5EF4-FFF2-40B4-BE49-F238E27FC236}">
                  <a16:creationId xmlns:a16="http://schemas.microsoft.com/office/drawing/2014/main" id="{BB91F687-D8B2-4255-9330-7DAECDEE7712}"/>
                </a:ext>
              </a:extLst>
            </p:cNvPr>
            <p:cNvSpPr/>
            <p:nvPr/>
          </p:nvSpPr>
          <p:spPr>
            <a:xfrm>
              <a:off x="9338867" y="3787085"/>
              <a:ext cx="70810" cy="70810"/>
            </a:xfrm>
            <a:custGeom>
              <a:avLst/>
              <a:gdLst>
                <a:gd name="connsiteX0" fmla="*/ 66772 w 70809"/>
                <a:gd name="connsiteY0" fmla="*/ 41280 h 70809"/>
                <a:gd name="connsiteX1" fmla="*/ 41281 w 70809"/>
                <a:gd name="connsiteY1" fmla="*/ 66772 h 70809"/>
                <a:gd name="connsiteX2" fmla="*/ 15790 w 70809"/>
                <a:gd name="connsiteY2" fmla="*/ 41280 h 70809"/>
                <a:gd name="connsiteX3" fmla="*/ 41281 w 70809"/>
                <a:gd name="connsiteY3" fmla="*/ 15789 h 70809"/>
                <a:gd name="connsiteX4" fmla="*/ 66772 w 70809"/>
                <a:gd name="connsiteY4" fmla="*/ 4128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6772" y="41280"/>
                  </a:moveTo>
                  <a:cubicBezTo>
                    <a:pt x="66772" y="55359"/>
                    <a:pt x="55359" y="66772"/>
                    <a:pt x="41281" y="66772"/>
                  </a:cubicBezTo>
                  <a:cubicBezTo>
                    <a:pt x="27202" y="66772"/>
                    <a:pt x="15790" y="55359"/>
                    <a:pt x="15790" y="41280"/>
                  </a:cubicBezTo>
                  <a:cubicBezTo>
                    <a:pt x="15790" y="27202"/>
                    <a:pt x="27203" y="15789"/>
                    <a:pt x="41281" y="15789"/>
                  </a:cubicBezTo>
                  <a:cubicBezTo>
                    <a:pt x="55360" y="15789"/>
                    <a:pt x="66772" y="27202"/>
                    <a:pt x="66772"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8" name="Freeform: Shape 2017">
              <a:extLst>
                <a:ext uri="{FF2B5EF4-FFF2-40B4-BE49-F238E27FC236}">
                  <a16:creationId xmlns:a16="http://schemas.microsoft.com/office/drawing/2014/main" id="{0149A485-6B1B-4DD4-97B9-353375CEA134}"/>
                </a:ext>
              </a:extLst>
            </p:cNvPr>
            <p:cNvSpPr/>
            <p:nvPr/>
          </p:nvSpPr>
          <p:spPr>
            <a:xfrm>
              <a:off x="9980402" y="4373388"/>
              <a:ext cx="70810" cy="70810"/>
            </a:xfrm>
            <a:custGeom>
              <a:avLst/>
              <a:gdLst>
                <a:gd name="connsiteX0" fmla="*/ 41280 w 70809"/>
                <a:gd name="connsiteY0" fmla="*/ 66772 h 70809"/>
                <a:gd name="connsiteX1" fmla="*/ 66772 w 70809"/>
                <a:gd name="connsiteY1" fmla="*/ 41281 h 70809"/>
                <a:gd name="connsiteX2" fmla="*/ 41280 w 70809"/>
                <a:gd name="connsiteY2" fmla="*/ 15789 h 70809"/>
                <a:gd name="connsiteX3" fmla="*/ 15789 w 70809"/>
                <a:gd name="connsiteY3" fmla="*/ 41281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3"/>
                    <a:pt x="66772" y="41281"/>
                  </a:cubicBezTo>
                  <a:cubicBezTo>
                    <a:pt x="66772" y="27119"/>
                    <a:pt x="55442" y="15789"/>
                    <a:pt x="41280" y="15789"/>
                  </a:cubicBezTo>
                  <a:cubicBezTo>
                    <a:pt x="27118" y="15789"/>
                    <a:pt x="15789" y="27119"/>
                    <a:pt x="15789" y="41281"/>
                  </a:cubicBezTo>
                  <a:cubicBezTo>
                    <a:pt x="15789" y="54026"/>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19" name="Freeform: Shape 2018">
              <a:extLst>
                <a:ext uri="{FF2B5EF4-FFF2-40B4-BE49-F238E27FC236}">
                  <a16:creationId xmlns:a16="http://schemas.microsoft.com/office/drawing/2014/main" id="{8741D850-B0CC-4AAA-8960-BA26FE8504CF}"/>
                </a:ext>
              </a:extLst>
            </p:cNvPr>
            <p:cNvSpPr/>
            <p:nvPr/>
          </p:nvSpPr>
          <p:spPr>
            <a:xfrm>
              <a:off x="10028552" y="4516424"/>
              <a:ext cx="113295" cy="113295"/>
            </a:xfrm>
            <a:custGeom>
              <a:avLst/>
              <a:gdLst>
                <a:gd name="connsiteX0" fmla="*/ 56859 w 113295"/>
                <a:gd name="connsiteY0" fmla="*/ 15789 h 113295"/>
                <a:gd name="connsiteX1" fmla="*/ 97928 w 113295"/>
                <a:gd name="connsiteY1" fmla="*/ 56858 h 113295"/>
                <a:gd name="connsiteX2" fmla="*/ 56859 w 113295"/>
                <a:gd name="connsiteY2" fmla="*/ 97928 h 113295"/>
                <a:gd name="connsiteX3" fmla="*/ 15789 w 113295"/>
                <a:gd name="connsiteY3" fmla="*/ 56858 h 113295"/>
                <a:gd name="connsiteX4" fmla="*/ 56859 w 113295"/>
                <a:gd name="connsiteY4" fmla="*/ 15789 h 113295"/>
                <a:gd name="connsiteX5" fmla="*/ 56859 w 113295"/>
                <a:gd name="connsiteY5" fmla="*/ 15789 h 113295"/>
                <a:gd name="connsiteX6" fmla="*/ 56859 w 113295"/>
                <a:gd name="connsiteY6" fmla="*/ 34200 h 113295"/>
                <a:gd name="connsiteX7" fmla="*/ 34199 w 113295"/>
                <a:gd name="connsiteY7" fmla="*/ 56858 h 113295"/>
                <a:gd name="connsiteX8" fmla="*/ 56859 w 113295"/>
                <a:gd name="connsiteY8" fmla="*/ 79518 h 113295"/>
                <a:gd name="connsiteX9" fmla="*/ 79518 w 113295"/>
                <a:gd name="connsiteY9" fmla="*/ 56858 h 113295"/>
                <a:gd name="connsiteX10" fmla="*/ 56859 w 113295"/>
                <a:gd name="connsiteY10" fmla="*/ 34200 h 1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295" h="113295">
                  <a:moveTo>
                    <a:pt x="56859" y="15789"/>
                  </a:moveTo>
                  <a:cubicBezTo>
                    <a:pt x="79518" y="15789"/>
                    <a:pt x="97928" y="34200"/>
                    <a:pt x="97928" y="56858"/>
                  </a:cubicBezTo>
                  <a:cubicBezTo>
                    <a:pt x="97928" y="79518"/>
                    <a:pt x="79518" y="97928"/>
                    <a:pt x="56859" y="97928"/>
                  </a:cubicBezTo>
                  <a:cubicBezTo>
                    <a:pt x="34199" y="97928"/>
                    <a:pt x="15789" y="79518"/>
                    <a:pt x="15789" y="56858"/>
                  </a:cubicBezTo>
                  <a:cubicBezTo>
                    <a:pt x="15789" y="35616"/>
                    <a:pt x="34199" y="15789"/>
                    <a:pt x="56859" y="15789"/>
                  </a:cubicBezTo>
                  <a:lnTo>
                    <a:pt x="56859" y="15789"/>
                  </a:lnTo>
                  <a:close/>
                  <a:moveTo>
                    <a:pt x="56859" y="34200"/>
                  </a:moveTo>
                  <a:cubicBezTo>
                    <a:pt x="44113" y="34200"/>
                    <a:pt x="34199" y="44113"/>
                    <a:pt x="34199" y="56858"/>
                  </a:cubicBezTo>
                  <a:cubicBezTo>
                    <a:pt x="34199" y="69605"/>
                    <a:pt x="44113" y="79518"/>
                    <a:pt x="56859" y="79518"/>
                  </a:cubicBezTo>
                  <a:cubicBezTo>
                    <a:pt x="69604" y="79518"/>
                    <a:pt x="79518" y="69605"/>
                    <a:pt x="79518" y="56858"/>
                  </a:cubicBezTo>
                  <a:cubicBezTo>
                    <a:pt x="79518" y="45529"/>
                    <a:pt x="69604" y="34200"/>
                    <a:pt x="56859" y="3420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0" name="Freeform: Shape 2019">
              <a:extLst>
                <a:ext uri="{FF2B5EF4-FFF2-40B4-BE49-F238E27FC236}">
                  <a16:creationId xmlns:a16="http://schemas.microsoft.com/office/drawing/2014/main" id="{F61CFB32-2185-40B0-B2A3-24BA4EBD415D}"/>
                </a:ext>
              </a:extLst>
            </p:cNvPr>
            <p:cNvSpPr/>
            <p:nvPr/>
          </p:nvSpPr>
          <p:spPr>
            <a:xfrm>
              <a:off x="9823097" y="4345064"/>
              <a:ext cx="84971" cy="84971"/>
            </a:xfrm>
            <a:custGeom>
              <a:avLst/>
              <a:gdLst>
                <a:gd name="connsiteX0" fmla="*/ 44220 w 84971"/>
                <a:gd name="connsiteY0" fmla="*/ 15789 h 84971"/>
                <a:gd name="connsiteX1" fmla="*/ 72544 w 84971"/>
                <a:gd name="connsiteY1" fmla="*/ 44113 h 84971"/>
                <a:gd name="connsiteX2" fmla="*/ 44220 w 84971"/>
                <a:gd name="connsiteY2" fmla="*/ 72437 h 84971"/>
                <a:gd name="connsiteX3" fmla="*/ 15896 w 84971"/>
                <a:gd name="connsiteY3" fmla="*/ 44113 h 84971"/>
                <a:gd name="connsiteX4" fmla="*/ 44220 w 84971"/>
                <a:gd name="connsiteY4" fmla="*/ 15789 h 84971"/>
                <a:gd name="connsiteX5" fmla="*/ 44220 w 84971"/>
                <a:gd name="connsiteY5" fmla="*/ 15789 h 84971"/>
                <a:gd name="connsiteX6" fmla="*/ 44220 w 84971"/>
                <a:gd name="connsiteY6" fmla="*/ 28535 h 84971"/>
                <a:gd name="connsiteX7" fmla="*/ 28643 w 84971"/>
                <a:gd name="connsiteY7" fmla="*/ 44113 h 84971"/>
                <a:gd name="connsiteX8" fmla="*/ 44220 w 84971"/>
                <a:gd name="connsiteY8" fmla="*/ 59691 h 84971"/>
                <a:gd name="connsiteX9" fmla="*/ 61215 w 84971"/>
                <a:gd name="connsiteY9" fmla="*/ 44113 h 84971"/>
                <a:gd name="connsiteX10" fmla="*/ 44220 w 84971"/>
                <a:gd name="connsiteY10" fmla="*/ 28535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4220" y="15789"/>
                  </a:moveTo>
                  <a:cubicBezTo>
                    <a:pt x="59799" y="15789"/>
                    <a:pt x="72544" y="28535"/>
                    <a:pt x="72544" y="44113"/>
                  </a:cubicBezTo>
                  <a:cubicBezTo>
                    <a:pt x="72544" y="59691"/>
                    <a:pt x="59799" y="72437"/>
                    <a:pt x="44220" y="72437"/>
                  </a:cubicBezTo>
                  <a:cubicBezTo>
                    <a:pt x="28643" y="72437"/>
                    <a:pt x="15896" y="59691"/>
                    <a:pt x="15896" y="44113"/>
                  </a:cubicBezTo>
                  <a:cubicBezTo>
                    <a:pt x="14481" y="28535"/>
                    <a:pt x="27226" y="15789"/>
                    <a:pt x="44220" y="15789"/>
                  </a:cubicBezTo>
                  <a:lnTo>
                    <a:pt x="44220" y="15789"/>
                  </a:lnTo>
                  <a:close/>
                  <a:moveTo>
                    <a:pt x="44220" y="28535"/>
                  </a:moveTo>
                  <a:cubicBezTo>
                    <a:pt x="35723" y="28535"/>
                    <a:pt x="28643" y="35616"/>
                    <a:pt x="28643" y="44113"/>
                  </a:cubicBezTo>
                  <a:cubicBezTo>
                    <a:pt x="28643" y="52610"/>
                    <a:pt x="35723" y="59691"/>
                    <a:pt x="44220" y="59691"/>
                  </a:cubicBezTo>
                  <a:cubicBezTo>
                    <a:pt x="52718" y="59691"/>
                    <a:pt x="61215" y="52610"/>
                    <a:pt x="61215" y="44113"/>
                  </a:cubicBezTo>
                  <a:cubicBezTo>
                    <a:pt x="61215" y="35616"/>
                    <a:pt x="52718" y="28535"/>
                    <a:pt x="44220" y="2853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1" name="Freeform: Shape 2020">
              <a:extLst>
                <a:ext uri="{FF2B5EF4-FFF2-40B4-BE49-F238E27FC236}">
                  <a16:creationId xmlns:a16="http://schemas.microsoft.com/office/drawing/2014/main" id="{BAB5CE37-180E-4E25-9453-53658D754C7E}"/>
                </a:ext>
              </a:extLst>
            </p:cNvPr>
            <p:cNvSpPr/>
            <p:nvPr/>
          </p:nvSpPr>
          <p:spPr>
            <a:xfrm>
              <a:off x="10198495" y="4499430"/>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7" y="15789"/>
                    <a:pt x="15789" y="24286"/>
                    <a:pt x="15789" y="35616"/>
                  </a:cubicBezTo>
                  <a:cubicBezTo>
                    <a:pt x="15789" y="45529"/>
                    <a:pt x="24287"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2" name="Freeform: Shape 2021">
              <a:extLst>
                <a:ext uri="{FF2B5EF4-FFF2-40B4-BE49-F238E27FC236}">
                  <a16:creationId xmlns:a16="http://schemas.microsoft.com/office/drawing/2014/main" id="{4BB4143B-8EE6-492A-9795-F61C1126D292}"/>
                </a:ext>
              </a:extLst>
            </p:cNvPr>
            <p:cNvSpPr/>
            <p:nvPr/>
          </p:nvSpPr>
          <p:spPr>
            <a:xfrm>
              <a:off x="9750979" y="4285585"/>
              <a:ext cx="42486" cy="42486"/>
            </a:xfrm>
            <a:custGeom>
              <a:avLst/>
              <a:gdLst>
                <a:gd name="connsiteX0" fmla="*/ 25703 w 42485"/>
                <a:gd name="connsiteY0" fmla="*/ 35616 h 42485"/>
                <a:gd name="connsiteX1" fmla="*/ 35615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5" y="31367"/>
                    <a:pt x="35615" y="25702"/>
                  </a:cubicBezTo>
                  <a:cubicBezTo>
                    <a:pt x="35615" y="20037"/>
                    <a:pt x="31367" y="15789"/>
                    <a:pt x="25703" y="15789"/>
                  </a:cubicBezTo>
                  <a:cubicBezTo>
                    <a:pt x="20037" y="15789"/>
                    <a:pt x="15789" y="20037"/>
                    <a:pt x="15789" y="25702"/>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3" name="Freeform: Shape 2022">
              <a:extLst>
                <a:ext uri="{FF2B5EF4-FFF2-40B4-BE49-F238E27FC236}">
                  <a16:creationId xmlns:a16="http://schemas.microsoft.com/office/drawing/2014/main" id="{DE700B32-B34A-4CB8-B2B7-90CB46D32791}"/>
                </a:ext>
              </a:extLst>
            </p:cNvPr>
            <p:cNvSpPr/>
            <p:nvPr/>
          </p:nvSpPr>
          <p:spPr>
            <a:xfrm>
              <a:off x="9925171" y="4325238"/>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4" name="Freeform: Shape 2023">
              <a:extLst>
                <a:ext uri="{FF2B5EF4-FFF2-40B4-BE49-F238E27FC236}">
                  <a16:creationId xmlns:a16="http://schemas.microsoft.com/office/drawing/2014/main" id="{BCD9C44F-F237-4326-A890-8EF5ED3BE56B}"/>
                </a:ext>
              </a:extLst>
            </p:cNvPr>
            <p:cNvSpPr/>
            <p:nvPr/>
          </p:nvSpPr>
          <p:spPr>
            <a:xfrm>
              <a:off x="9944998" y="4503678"/>
              <a:ext cx="42486" cy="42486"/>
            </a:xfrm>
            <a:custGeom>
              <a:avLst/>
              <a:gdLst>
                <a:gd name="connsiteX0" fmla="*/ 25702 w 42485"/>
                <a:gd name="connsiteY0" fmla="*/ 35616 h 42485"/>
                <a:gd name="connsiteX1" fmla="*/ 35615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5" y="31367"/>
                    <a:pt x="35615" y="25703"/>
                  </a:cubicBezTo>
                  <a:cubicBezTo>
                    <a:pt x="35615" y="20037"/>
                    <a:pt x="31367" y="15789"/>
                    <a:pt x="25702" y="15789"/>
                  </a:cubicBezTo>
                  <a:cubicBezTo>
                    <a:pt x="20037" y="15789"/>
                    <a:pt x="15789" y="20037"/>
                    <a:pt x="15789" y="25703"/>
                  </a:cubicBezTo>
                  <a:cubicBezTo>
                    <a:pt x="17205" y="31367"/>
                    <a:pt x="21453"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5" name="Freeform: Shape 2024">
              <a:extLst>
                <a:ext uri="{FF2B5EF4-FFF2-40B4-BE49-F238E27FC236}">
                  <a16:creationId xmlns:a16="http://schemas.microsoft.com/office/drawing/2014/main" id="{E722D84C-0927-4DC6-8D05-ADC67ABA37F0}"/>
                </a:ext>
              </a:extLst>
            </p:cNvPr>
            <p:cNvSpPr/>
            <p:nvPr/>
          </p:nvSpPr>
          <p:spPr>
            <a:xfrm>
              <a:off x="10265057" y="4605644"/>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7" y="15789"/>
                    <a:pt x="15789" y="20037"/>
                    <a:pt x="15789" y="25702"/>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6" name="Freeform: Shape 2025">
              <a:extLst>
                <a:ext uri="{FF2B5EF4-FFF2-40B4-BE49-F238E27FC236}">
                  <a16:creationId xmlns:a16="http://schemas.microsoft.com/office/drawing/2014/main" id="{52E3C525-3D03-481F-8131-89B78B849B56}"/>
                </a:ext>
              </a:extLst>
            </p:cNvPr>
            <p:cNvSpPr/>
            <p:nvPr/>
          </p:nvSpPr>
          <p:spPr>
            <a:xfrm>
              <a:off x="10034217" y="4455528"/>
              <a:ext cx="56648" cy="56648"/>
            </a:xfrm>
            <a:custGeom>
              <a:avLst/>
              <a:gdLst>
                <a:gd name="connsiteX0" fmla="*/ 32783 w 56647"/>
                <a:gd name="connsiteY0" fmla="*/ 49777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6" y="49777"/>
                    <a:pt x="49777" y="42697"/>
                    <a:pt x="49777" y="32783"/>
                  </a:cubicBezTo>
                  <a:cubicBezTo>
                    <a:pt x="49777" y="22870"/>
                    <a:pt x="42696" y="15789"/>
                    <a:pt x="32783" y="15789"/>
                  </a:cubicBezTo>
                  <a:cubicBezTo>
                    <a:pt x="22870" y="15789"/>
                    <a:pt x="15789" y="22870"/>
                    <a:pt x="15789" y="32783"/>
                  </a:cubicBezTo>
                  <a:cubicBezTo>
                    <a:pt x="15789" y="42697"/>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7" name="Freeform: Shape 2026">
              <a:extLst>
                <a:ext uri="{FF2B5EF4-FFF2-40B4-BE49-F238E27FC236}">
                  <a16:creationId xmlns:a16="http://schemas.microsoft.com/office/drawing/2014/main" id="{3C5601A6-AC77-44DF-B7CF-C4EBF0AB9F40}"/>
                </a:ext>
              </a:extLst>
            </p:cNvPr>
            <p:cNvSpPr/>
            <p:nvPr/>
          </p:nvSpPr>
          <p:spPr>
            <a:xfrm>
              <a:off x="8880022" y="4391799"/>
              <a:ext cx="84971" cy="84971"/>
            </a:xfrm>
            <a:custGeom>
              <a:avLst/>
              <a:gdLst>
                <a:gd name="connsiteX0" fmla="*/ 45529 w 84971"/>
                <a:gd name="connsiteY0" fmla="*/ 75269 h 84971"/>
                <a:gd name="connsiteX1" fmla="*/ 75269 w 84971"/>
                <a:gd name="connsiteY1" fmla="*/ 45529 h 84971"/>
                <a:gd name="connsiteX2" fmla="*/ 45529 w 84971"/>
                <a:gd name="connsiteY2" fmla="*/ 15789 h 84971"/>
                <a:gd name="connsiteX3" fmla="*/ 15789 w 84971"/>
                <a:gd name="connsiteY3" fmla="*/ 45529 h 84971"/>
                <a:gd name="connsiteX4" fmla="*/ 45529 w 84971"/>
                <a:gd name="connsiteY4" fmla="*/ 7526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529" y="75269"/>
                  </a:moveTo>
                  <a:cubicBezTo>
                    <a:pt x="62523" y="75269"/>
                    <a:pt x="75269" y="62523"/>
                    <a:pt x="75269" y="45529"/>
                  </a:cubicBezTo>
                  <a:cubicBezTo>
                    <a:pt x="75269" y="28535"/>
                    <a:pt x="62523" y="15789"/>
                    <a:pt x="45529" y="15789"/>
                  </a:cubicBezTo>
                  <a:cubicBezTo>
                    <a:pt x="28534" y="15789"/>
                    <a:pt x="15789" y="28535"/>
                    <a:pt x="15789" y="45529"/>
                  </a:cubicBezTo>
                  <a:cubicBezTo>
                    <a:pt x="15789" y="62523"/>
                    <a:pt x="28534" y="75269"/>
                    <a:pt x="45529" y="752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8" name="Freeform: Shape 2027">
              <a:extLst>
                <a:ext uri="{FF2B5EF4-FFF2-40B4-BE49-F238E27FC236}">
                  <a16:creationId xmlns:a16="http://schemas.microsoft.com/office/drawing/2014/main" id="{47F57C07-8084-4EB1-ACDF-98A385B589C3}"/>
                </a:ext>
              </a:extLst>
            </p:cNvPr>
            <p:cNvSpPr/>
            <p:nvPr/>
          </p:nvSpPr>
          <p:spPr>
            <a:xfrm>
              <a:off x="8656263" y="3998098"/>
              <a:ext cx="70810" cy="70810"/>
            </a:xfrm>
            <a:custGeom>
              <a:avLst/>
              <a:gdLst>
                <a:gd name="connsiteX0" fmla="*/ 35615 w 70809"/>
                <a:gd name="connsiteY0" fmla="*/ 55443 h 70809"/>
                <a:gd name="connsiteX1" fmla="*/ 55442 w 70809"/>
                <a:gd name="connsiteY1" fmla="*/ 35616 h 70809"/>
                <a:gd name="connsiteX2" fmla="*/ 35615 w 70809"/>
                <a:gd name="connsiteY2" fmla="*/ 15789 h 70809"/>
                <a:gd name="connsiteX3" fmla="*/ 15789 w 70809"/>
                <a:gd name="connsiteY3" fmla="*/ 35616 h 70809"/>
                <a:gd name="connsiteX4" fmla="*/ 35615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5" y="55443"/>
                  </a:moveTo>
                  <a:cubicBezTo>
                    <a:pt x="46945" y="55443"/>
                    <a:pt x="55442" y="46945"/>
                    <a:pt x="55442" y="35616"/>
                  </a:cubicBezTo>
                  <a:cubicBezTo>
                    <a:pt x="55442" y="24286"/>
                    <a:pt x="46945" y="15789"/>
                    <a:pt x="35615" y="15789"/>
                  </a:cubicBezTo>
                  <a:cubicBezTo>
                    <a:pt x="24286" y="15789"/>
                    <a:pt x="15789" y="24286"/>
                    <a:pt x="15789" y="35616"/>
                  </a:cubicBezTo>
                  <a:cubicBezTo>
                    <a:pt x="15789" y="46945"/>
                    <a:pt x="24286" y="55443"/>
                    <a:pt x="35615" y="554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29" name="Freeform: Shape 2028">
              <a:extLst>
                <a:ext uri="{FF2B5EF4-FFF2-40B4-BE49-F238E27FC236}">
                  <a16:creationId xmlns:a16="http://schemas.microsoft.com/office/drawing/2014/main" id="{2CD725B3-D0B1-4EF5-9B8C-33F8630CF60D}"/>
                </a:ext>
              </a:extLst>
            </p:cNvPr>
            <p:cNvSpPr/>
            <p:nvPr/>
          </p:nvSpPr>
          <p:spPr>
            <a:xfrm>
              <a:off x="8735570" y="4080237"/>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7" y="15789"/>
                    <a:pt x="15789" y="20037"/>
                    <a:pt x="15789" y="25702"/>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0" name="Freeform: Shape 2029">
              <a:extLst>
                <a:ext uri="{FF2B5EF4-FFF2-40B4-BE49-F238E27FC236}">
                  <a16:creationId xmlns:a16="http://schemas.microsoft.com/office/drawing/2014/main" id="{095C087E-0CAB-4DCE-B4EC-D13C89882FD8}"/>
                </a:ext>
              </a:extLst>
            </p:cNvPr>
            <p:cNvSpPr/>
            <p:nvPr/>
          </p:nvSpPr>
          <p:spPr>
            <a:xfrm>
              <a:off x="8806379" y="4303995"/>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7" y="15789"/>
                    <a:pt x="15789" y="20038"/>
                    <a:pt x="15789" y="25703"/>
                  </a:cubicBezTo>
                  <a:cubicBezTo>
                    <a:pt x="15789" y="31367"/>
                    <a:pt x="21454"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1" name="Freeform: Shape 2030">
              <a:extLst>
                <a:ext uri="{FF2B5EF4-FFF2-40B4-BE49-F238E27FC236}">
                  <a16:creationId xmlns:a16="http://schemas.microsoft.com/office/drawing/2014/main" id="{C802D3C1-5F1E-49F9-87C4-EC39E560C06B}"/>
                </a:ext>
              </a:extLst>
            </p:cNvPr>
            <p:cNvSpPr/>
            <p:nvPr/>
          </p:nvSpPr>
          <p:spPr>
            <a:xfrm>
              <a:off x="8935252" y="4295498"/>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3"/>
                  </a:cubicBezTo>
                  <a:cubicBezTo>
                    <a:pt x="35616" y="20038"/>
                    <a:pt x="31368" y="15789"/>
                    <a:pt x="25703" y="15789"/>
                  </a:cubicBezTo>
                  <a:cubicBezTo>
                    <a:pt x="20038" y="15789"/>
                    <a:pt x="15789" y="20038"/>
                    <a:pt x="15789" y="25703"/>
                  </a:cubicBezTo>
                  <a:cubicBezTo>
                    <a:pt x="15789" y="29951"/>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2" name="Freeform: Shape 2031">
              <a:extLst>
                <a:ext uri="{FF2B5EF4-FFF2-40B4-BE49-F238E27FC236}">
                  <a16:creationId xmlns:a16="http://schemas.microsoft.com/office/drawing/2014/main" id="{C5C8D2FF-1574-4687-A08B-86CBDB5F2F7B}"/>
                </a:ext>
              </a:extLst>
            </p:cNvPr>
            <p:cNvSpPr/>
            <p:nvPr/>
          </p:nvSpPr>
          <p:spPr>
            <a:xfrm>
              <a:off x="9061294" y="4500845"/>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3" name="Freeform: Shape 2032">
              <a:extLst>
                <a:ext uri="{FF2B5EF4-FFF2-40B4-BE49-F238E27FC236}">
                  <a16:creationId xmlns:a16="http://schemas.microsoft.com/office/drawing/2014/main" id="{F9C5B063-EAD5-4EAA-AB51-AD1CA93E7384}"/>
                </a:ext>
              </a:extLst>
            </p:cNvPr>
            <p:cNvSpPr/>
            <p:nvPr/>
          </p:nvSpPr>
          <p:spPr>
            <a:xfrm>
              <a:off x="8850281" y="4243099"/>
              <a:ext cx="70810" cy="70810"/>
            </a:xfrm>
            <a:custGeom>
              <a:avLst/>
              <a:gdLst>
                <a:gd name="connsiteX0" fmla="*/ 38449 w 70809"/>
                <a:gd name="connsiteY0" fmla="*/ 61107 h 70809"/>
                <a:gd name="connsiteX1" fmla="*/ 61107 w 70809"/>
                <a:gd name="connsiteY1" fmla="*/ 38448 h 70809"/>
                <a:gd name="connsiteX2" fmla="*/ 38449 w 70809"/>
                <a:gd name="connsiteY2" fmla="*/ 15789 h 70809"/>
                <a:gd name="connsiteX3" fmla="*/ 15789 w 70809"/>
                <a:gd name="connsiteY3" fmla="*/ 38448 h 70809"/>
                <a:gd name="connsiteX4" fmla="*/ 38449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9" y="61107"/>
                  </a:moveTo>
                  <a:cubicBezTo>
                    <a:pt x="51194" y="61107"/>
                    <a:pt x="61107" y="51194"/>
                    <a:pt x="61107" y="38448"/>
                  </a:cubicBezTo>
                  <a:cubicBezTo>
                    <a:pt x="61107" y="25702"/>
                    <a:pt x="51194" y="15789"/>
                    <a:pt x="38449" y="15789"/>
                  </a:cubicBezTo>
                  <a:cubicBezTo>
                    <a:pt x="25703" y="15789"/>
                    <a:pt x="15789" y="25702"/>
                    <a:pt x="15789" y="38448"/>
                  </a:cubicBezTo>
                  <a:cubicBezTo>
                    <a:pt x="17206" y="51194"/>
                    <a:pt x="27119" y="61107"/>
                    <a:pt x="38449"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4" name="Freeform: Shape 2033">
              <a:extLst>
                <a:ext uri="{FF2B5EF4-FFF2-40B4-BE49-F238E27FC236}">
                  <a16:creationId xmlns:a16="http://schemas.microsoft.com/office/drawing/2014/main" id="{18FEBF08-E908-4438-A26A-F8FC4BBABAE5}"/>
                </a:ext>
              </a:extLst>
            </p:cNvPr>
            <p:cNvSpPr/>
            <p:nvPr/>
          </p:nvSpPr>
          <p:spPr>
            <a:xfrm>
              <a:off x="9130688" y="4462608"/>
              <a:ext cx="70810" cy="70810"/>
            </a:xfrm>
            <a:custGeom>
              <a:avLst/>
              <a:gdLst>
                <a:gd name="connsiteX0" fmla="*/ 38448 w 70809"/>
                <a:gd name="connsiteY0" fmla="*/ 61107 h 70809"/>
                <a:gd name="connsiteX1" fmla="*/ 61106 w 70809"/>
                <a:gd name="connsiteY1" fmla="*/ 38448 h 70809"/>
                <a:gd name="connsiteX2" fmla="*/ 38448 w 70809"/>
                <a:gd name="connsiteY2" fmla="*/ 15789 h 70809"/>
                <a:gd name="connsiteX3" fmla="*/ 15789 w 70809"/>
                <a:gd name="connsiteY3" fmla="*/ 38448 h 70809"/>
                <a:gd name="connsiteX4" fmla="*/ 3844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8" y="61107"/>
                  </a:moveTo>
                  <a:cubicBezTo>
                    <a:pt x="51194" y="61107"/>
                    <a:pt x="61106" y="51194"/>
                    <a:pt x="61106" y="38448"/>
                  </a:cubicBezTo>
                  <a:cubicBezTo>
                    <a:pt x="61106" y="25702"/>
                    <a:pt x="51194" y="15789"/>
                    <a:pt x="38448" y="15789"/>
                  </a:cubicBezTo>
                  <a:cubicBezTo>
                    <a:pt x="25702" y="15789"/>
                    <a:pt x="15789" y="25702"/>
                    <a:pt x="15789" y="38448"/>
                  </a:cubicBezTo>
                  <a:cubicBezTo>
                    <a:pt x="15789" y="51194"/>
                    <a:pt x="25702" y="61107"/>
                    <a:pt x="38448"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5" name="Freeform: Shape 2034">
              <a:extLst>
                <a:ext uri="{FF2B5EF4-FFF2-40B4-BE49-F238E27FC236}">
                  <a16:creationId xmlns:a16="http://schemas.microsoft.com/office/drawing/2014/main" id="{E08EF28F-F7AC-4FA8-A63A-2AF688B20114}"/>
                </a:ext>
              </a:extLst>
            </p:cNvPr>
            <p:cNvSpPr/>
            <p:nvPr/>
          </p:nvSpPr>
          <p:spPr>
            <a:xfrm>
              <a:off x="8772390" y="4202029"/>
              <a:ext cx="42486" cy="42486"/>
            </a:xfrm>
            <a:custGeom>
              <a:avLst/>
              <a:gdLst>
                <a:gd name="connsiteX0" fmla="*/ 27119 w 42485"/>
                <a:gd name="connsiteY0" fmla="*/ 38448 h 42485"/>
                <a:gd name="connsiteX1" fmla="*/ 38449 w 42485"/>
                <a:gd name="connsiteY1" fmla="*/ 27118 h 42485"/>
                <a:gd name="connsiteX2" fmla="*/ 27119 w 42485"/>
                <a:gd name="connsiteY2" fmla="*/ 15789 h 42485"/>
                <a:gd name="connsiteX3" fmla="*/ 15789 w 42485"/>
                <a:gd name="connsiteY3" fmla="*/ 27118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9" y="32783"/>
                    <a:pt x="38449" y="27118"/>
                  </a:cubicBezTo>
                  <a:cubicBezTo>
                    <a:pt x="38449" y="21454"/>
                    <a:pt x="32783" y="15789"/>
                    <a:pt x="27119" y="15789"/>
                  </a:cubicBezTo>
                  <a:cubicBezTo>
                    <a:pt x="21454" y="15789"/>
                    <a:pt x="15789" y="21454"/>
                    <a:pt x="15789" y="27118"/>
                  </a:cubicBezTo>
                  <a:cubicBezTo>
                    <a:pt x="15789" y="34199"/>
                    <a:pt x="21454"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6" name="Freeform: Shape 2035">
              <a:extLst>
                <a:ext uri="{FF2B5EF4-FFF2-40B4-BE49-F238E27FC236}">
                  <a16:creationId xmlns:a16="http://schemas.microsoft.com/office/drawing/2014/main" id="{E708E1A7-D24A-437D-83EA-D5E87EB45333}"/>
                </a:ext>
              </a:extLst>
            </p:cNvPr>
            <p:cNvSpPr/>
            <p:nvPr/>
          </p:nvSpPr>
          <p:spPr>
            <a:xfrm>
              <a:off x="9520140" y="4588649"/>
              <a:ext cx="42486" cy="42486"/>
            </a:xfrm>
            <a:custGeom>
              <a:avLst/>
              <a:gdLst>
                <a:gd name="connsiteX0" fmla="*/ 25702 w 42485"/>
                <a:gd name="connsiteY0" fmla="*/ 35616 h 42485"/>
                <a:gd name="connsiteX1" fmla="*/ 35615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5" y="31367"/>
                    <a:pt x="35615" y="25703"/>
                  </a:cubicBezTo>
                  <a:cubicBezTo>
                    <a:pt x="35615" y="20037"/>
                    <a:pt x="31367" y="15789"/>
                    <a:pt x="25702" y="15789"/>
                  </a:cubicBezTo>
                  <a:cubicBezTo>
                    <a:pt x="20037" y="15789"/>
                    <a:pt x="15789" y="20037"/>
                    <a:pt x="15789" y="25703"/>
                  </a:cubicBezTo>
                  <a:cubicBezTo>
                    <a:pt x="17205" y="31367"/>
                    <a:pt x="21453"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7" name="Freeform: Shape 2036">
              <a:extLst>
                <a:ext uri="{FF2B5EF4-FFF2-40B4-BE49-F238E27FC236}">
                  <a16:creationId xmlns:a16="http://schemas.microsoft.com/office/drawing/2014/main" id="{C08A04E3-F6EA-481A-9CC3-5A2422125F29}"/>
                </a:ext>
              </a:extLst>
            </p:cNvPr>
            <p:cNvSpPr/>
            <p:nvPr/>
          </p:nvSpPr>
          <p:spPr>
            <a:xfrm>
              <a:off x="9432336" y="4373388"/>
              <a:ext cx="42486" cy="42486"/>
            </a:xfrm>
            <a:custGeom>
              <a:avLst/>
              <a:gdLst>
                <a:gd name="connsiteX0" fmla="*/ 25703 w 42485"/>
                <a:gd name="connsiteY0" fmla="*/ 35616 h 42485"/>
                <a:gd name="connsiteX1" fmla="*/ 35615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5" y="31367"/>
                    <a:pt x="35615" y="25703"/>
                  </a:cubicBezTo>
                  <a:cubicBezTo>
                    <a:pt x="35615" y="20038"/>
                    <a:pt x="31367" y="15789"/>
                    <a:pt x="25703" y="15789"/>
                  </a:cubicBezTo>
                  <a:cubicBezTo>
                    <a:pt x="20037" y="15789"/>
                    <a:pt x="15789" y="20038"/>
                    <a:pt x="15789" y="25703"/>
                  </a:cubicBezTo>
                  <a:cubicBezTo>
                    <a:pt x="17205" y="31367"/>
                    <a:pt x="21453"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8" name="Freeform: Shape 2037">
              <a:extLst>
                <a:ext uri="{FF2B5EF4-FFF2-40B4-BE49-F238E27FC236}">
                  <a16:creationId xmlns:a16="http://schemas.microsoft.com/office/drawing/2014/main" id="{2DA148B4-AF60-47F4-B481-8A0F3B2D6E38}"/>
                </a:ext>
              </a:extLst>
            </p:cNvPr>
            <p:cNvSpPr/>
            <p:nvPr/>
          </p:nvSpPr>
          <p:spPr>
            <a:xfrm>
              <a:off x="9387018" y="4295498"/>
              <a:ext cx="70810" cy="70810"/>
            </a:xfrm>
            <a:custGeom>
              <a:avLst/>
              <a:gdLst>
                <a:gd name="connsiteX0" fmla="*/ 41280 w 70809"/>
                <a:gd name="connsiteY0" fmla="*/ 66772 h 70809"/>
                <a:gd name="connsiteX1" fmla="*/ 66772 w 70809"/>
                <a:gd name="connsiteY1" fmla="*/ 41281 h 70809"/>
                <a:gd name="connsiteX2" fmla="*/ 41280 w 70809"/>
                <a:gd name="connsiteY2" fmla="*/ 15789 h 70809"/>
                <a:gd name="connsiteX3" fmla="*/ 15789 w 70809"/>
                <a:gd name="connsiteY3" fmla="*/ 41281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3"/>
                    <a:pt x="66772" y="41281"/>
                  </a:cubicBezTo>
                  <a:cubicBezTo>
                    <a:pt x="66772" y="27119"/>
                    <a:pt x="55442" y="15789"/>
                    <a:pt x="41280" y="15789"/>
                  </a:cubicBezTo>
                  <a:cubicBezTo>
                    <a:pt x="27118" y="15789"/>
                    <a:pt x="15789" y="27119"/>
                    <a:pt x="15789" y="41281"/>
                  </a:cubicBezTo>
                  <a:cubicBezTo>
                    <a:pt x="15789" y="55443"/>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39" name="Freeform: Shape 2038">
              <a:extLst>
                <a:ext uri="{FF2B5EF4-FFF2-40B4-BE49-F238E27FC236}">
                  <a16:creationId xmlns:a16="http://schemas.microsoft.com/office/drawing/2014/main" id="{98C1A1B9-26C1-47D6-8CB2-50FCB194619C}"/>
                </a:ext>
              </a:extLst>
            </p:cNvPr>
            <p:cNvSpPr/>
            <p:nvPr/>
          </p:nvSpPr>
          <p:spPr>
            <a:xfrm>
              <a:off x="10580867" y="4558909"/>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0" y="49777"/>
                    <a:pt x="49778" y="42697"/>
                    <a:pt x="49778" y="32783"/>
                  </a:cubicBezTo>
                  <a:cubicBezTo>
                    <a:pt x="49778" y="22870"/>
                    <a:pt x="42697" y="15789"/>
                    <a:pt x="32783" y="15789"/>
                  </a:cubicBezTo>
                  <a:cubicBezTo>
                    <a:pt x="24287" y="15789"/>
                    <a:pt x="15789" y="22870"/>
                    <a:pt x="15789" y="32783"/>
                  </a:cubicBezTo>
                  <a:cubicBezTo>
                    <a:pt x="15789" y="42697"/>
                    <a:pt x="24287"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0" name="Freeform: Shape 2039">
              <a:extLst>
                <a:ext uri="{FF2B5EF4-FFF2-40B4-BE49-F238E27FC236}">
                  <a16:creationId xmlns:a16="http://schemas.microsoft.com/office/drawing/2014/main" id="{B211B219-8A15-43F9-A8D9-F4A37A9374B6}"/>
                </a:ext>
              </a:extLst>
            </p:cNvPr>
            <p:cNvSpPr/>
            <p:nvPr/>
          </p:nvSpPr>
          <p:spPr>
            <a:xfrm>
              <a:off x="10335866" y="4391799"/>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0" y="49777"/>
                    <a:pt x="49778" y="42697"/>
                    <a:pt x="49778" y="32783"/>
                  </a:cubicBezTo>
                  <a:cubicBezTo>
                    <a:pt x="49778" y="22870"/>
                    <a:pt x="42697" y="15789"/>
                    <a:pt x="32783" y="15789"/>
                  </a:cubicBezTo>
                  <a:cubicBezTo>
                    <a:pt x="24286" y="15789"/>
                    <a:pt x="15789" y="22870"/>
                    <a:pt x="15789" y="32783"/>
                  </a:cubicBezTo>
                  <a:cubicBezTo>
                    <a:pt x="15789" y="42697"/>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1" name="Freeform: Shape 2040">
              <a:extLst>
                <a:ext uri="{FF2B5EF4-FFF2-40B4-BE49-F238E27FC236}">
                  <a16:creationId xmlns:a16="http://schemas.microsoft.com/office/drawing/2014/main" id="{67214132-AD2E-479B-88A7-8B00CF039C76}"/>
                </a:ext>
              </a:extLst>
            </p:cNvPr>
            <p:cNvSpPr/>
            <p:nvPr/>
          </p:nvSpPr>
          <p:spPr>
            <a:xfrm>
              <a:off x="10488815" y="4500845"/>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3"/>
                  </a:cubicBezTo>
                  <a:cubicBezTo>
                    <a:pt x="35616" y="20038"/>
                    <a:pt x="31368"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2" name="Freeform: Shape 2041">
              <a:extLst>
                <a:ext uri="{FF2B5EF4-FFF2-40B4-BE49-F238E27FC236}">
                  <a16:creationId xmlns:a16="http://schemas.microsoft.com/office/drawing/2014/main" id="{ED53423E-C449-4A5D-A061-EE1D9B0D9264}"/>
                </a:ext>
              </a:extLst>
            </p:cNvPr>
            <p:cNvSpPr/>
            <p:nvPr/>
          </p:nvSpPr>
          <p:spPr>
            <a:xfrm>
              <a:off x="10818787" y="6081314"/>
              <a:ext cx="84971" cy="84971"/>
            </a:xfrm>
            <a:custGeom>
              <a:avLst/>
              <a:gdLst>
                <a:gd name="connsiteX0" fmla="*/ 42697 w 84971"/>
                <a:gd name="connsiteY0" fmla="*/ 69605 h 84971"/>
                <a:gd name="connsiteX1" fmla="*/ 69605 w 84971"/>
                <a:gd name="connsiteY1" fmla="*/ 42697 h 84971"/>
                <a:gd name="connsiteX2" fmla="*/ 42697 w 84971"/>
                <a:gd name="connsiteY2" fmla="*/ 15789 h 84971"/>
                <a:gd name="connsiteX3" fmla="*/ 15789 w 84971"/>
                <a:gd name="connsiteY3" fmla="*/ 42697 h 84971"/>
                <a:gd name="connsiteX4" fmla="*/ 42697 w 84971"/>
                <a:gd name="connsiteY4" fmla="*/ 69605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7" y="69605"/>
                  </a:moveTo>
                  <a:cubicBezTo>
                    <a:pt x="56859" y="69605"/>
                    <a:pt x="69605" y="58275"/>
                    <a:pt x="69605" y="42697"/>
                  </a:cubicBezTo>
                  <a:cubicBezTo>
                    <a:pt x="69605" y="28535"/>
                    <a:pt x="58275" y="15789"/>
                    <a:pt x="42697" y="15789"/>
                  </a:cubicBezTo>
                  <a:cubicBezTo>
                    <a:pt x="28535" y="15789"/>
                    <a:pt x="15789" y="27119"/>
                    <a:pt x="15789" y="42697"/>
                  </a:cubicBezTo>
                  <a:cubicBezTo>
                    <a:pt x="15789" y="56858"/>
                    <a:pt x="28535" y="69605"/>
                    <a:pt x="42697" y="6960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3" name="Freeform: Shape 2042">
              <a:extLst>
                <a:ext uri="{FF2B5EF4-FFF2-40B4-BE49-F238E27FC236}">
                  <a16:creationId xmlns:a16="http://schemas.microsoft.com/office/drawing/2014/main" id="{79D39AFE-F518-4DCE-9B9F-4D209A446264}"/>
                </a:ext>
              </a:extLst>
            </p:cNvPr>
            <p:cNvSpPr/>
            <p:nvPr/>
          </p:nvSpPr>
          <p:spPr>
            <a:xfrm>
              <a:off x="10876851" y="5986430"/>
              <a:ext cx="56648" cy="56648"/>
            </a:xfrm>
            <a:custGeom>
              <a:avLst/>
              <a:gdLst>
                <a:gd name="connsiteX0" fmla="*/ 32783 w 56647"/>
                <a:gd name="connsiteY0" fmla="*/ 49777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6" y="49777"/>
                    <a:pt x="49777" y="42697"/>
                    <a:pt x="49777" y="32783"/>
                  </a:cubicBezTo>
                  <a:cubicBezTo>
                    <a:pt x="49777" y="22870"/>
                    <a:pt x="42696" y="15789"/>
                    <a:pt x="32783" y="15789"/>
                  </a:cubicBezTo>
                  <a:cubicBezTo>
                    <a:pt x="22870" y="15789"/>
                    <a:pt x="15789" y="22870"/>
                    <a:pt x="15789" y="32783"/>
                  </a:cubicBezTo>
                  <a:cubicBezTo>
                    <a:pt x="15789" y="42697"/>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4" name="Freeform: Shape 2043">
              <a:extLst>
                <a:ext uri="{FF2B5EF4-FFF2-40B4-BE49-F238E27FC236}">
                  <a16:creationId xmlns:a16="http://schemas.microsoft.com/office/drawing/2014/main" id="{ED296FBC-BB1C-4BAA-AFB8-435D5A66E5D8}"/>
                </a:ext>
              </a:extLst>
            </p:cNvPr>
            <p:cNvSpPr/>
            <p:nvPr/>
          </p:nvSpPr>
          <p:spPr>
            <a:xfrm>
              <a:off x="11077951" y="5827816"/>
              <a:ext cx="56648" cy="56648"/>
            </a:xfrm>
            <a:custGeom>
              <a:avLst/>
              <a:gdLst>
                <a:gd name="connsiteX0" fmla="*/ 32783 w 56647"/>
                <a:gd name="connsiteY0" fmla="*/ 49777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6" y="49777"/>
                    <a:pt x="49777" y="42697"/>
                    <a:pt x="49777" y="32783"/>
                  </a:cubicBezTo>
                  <a:cubicBezTo>
                    <a:pt x="49777" y="22870"/>
                    <a:pt x="42696" y="15789"/>
                    <a:pt x="32783" y="15789"/>
                  </a:cubicBezTo>
                  <a:cubicBezTo>
                    <a:pt x="22870" y="15789"/>
                    <a:pt x="15789" y="22870"/>
                    <a:pt x="15789" y="32783"/>
                  </a:cubicBezTo>
                  <a:cubicBezTo>
                    <a:pt x="15789" y="42697"/>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5" name="Freeform: Shape 2044">
              <a:extLst>
                <a:ext uri="{FF2B5EF4-FFF2-40B4-BE49-F238E27FC236}">
                  <a16:creationId xmlns:a16="http://schemas.microsoft.com/office/drawing/2014/main" id="{A698FFFC-B93A-4B54-B5BC-5CCE755843C7}"/>
                </a:ext>
              </a:extLst>
            </p:cNvPr>
            <p:cNvSpPr/>
            <p:nvPr/>
          </p:nvSpPr>
          <p:spPr>
            <a:xfrm>
              <a:off x="11005724" y="5604058"/>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6" name="Freeform: Shape 2045">
              <a:extLst>
                <a:ext uri="{FF2B5EF4-FFF2-40B4-BE49-F238E27FC236}">
                  <a16:creationId xmlns:a16="http://schemas.microsoft.com/office/drawing/2014/main" id="{FCB8561C-C93A-4413-8CD5-40F1A2F8334A}"/>
                </a:ext>
              </a:extLst>
            </p:cNvPr>
            <p:cNvSpPr/>
            <p:nvPr/>
          </p:nvSpPr>
          <p:spPr>
            <a:xfrm>
              <a:off x="11138664" y="5749926"/>
              <a:ext cx="56648" cy="56648"/>
            </a:xfrm>
            <a:custGeom>
              <a:avLst/>
              <a:gdLst>
                <a:gd name="connsiteX0" fmla="*/ 28717 w 56647"/>
                <a:gd name="connsiteY0" fmla="*/ 41280 h 56647"/>
                <a:gd name="connsiteX1" fmla="*/ 41463 w 56647"/>
                <a:gd name="connsiteY1" fmla="*/ 28535 h 56647"/>
                <a:gd name="connsiteX2" fmla="*/ 28717 w 56647"/>
                <a:gd name="connsiteY2" fmla="*/ 15789 h 56647"/>
                <a:gd name="connsiteX3" fmla="*/ 15971 w 56647"/>
                <a:gd name="connsiteY3" fmla="*/ 28535 h 56647"/>
                <a:gd name="connsiteX4" fmla="*/ 28717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717" y="41280"/>
                  </a:moveTo>
                  <a:cubicBezTo>
                    <a:pt x="35798" y="41280"/>
                    <a:pt x="41463" y="35616"/>
                    <a:pt x="41463" y="28535"/>
                  </a:cubicBezTo>
                  <a:cubicBezTo>
                    <a:pt x="41463" y="21454"/>
                    <a:pt x="35798" y="15789"/>
                    <a:pt x="28717" y="15789"/>
                  </a:cubicBezTo>
                  <a:cubicBezTo>
                    <a:pt x="21636" y="15789"/>
                    <a:pt x="15971" y="21454"/>
                    <a:pt x="15971" y="28535"/>
                  </a:cubicBezTo>
                  <a:cubicBezTo>
                    <a:pt x="14555" y="35616"/>
                    <a:pt x="21636" y="41280"/>
                    <a:pt x="28717"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7" name="Freeform: Shape 2046">
              <a:extLst>
                <a:ext uri="{FF2B5EF4-FFF2-40B4-BE49-F238E27FC236}">
                  <a16:creationId xmlns:a16="http://schemas.microsoft.com/office/drawing/2014/main" id="{66D1DD1A-F372-4D52-8896-0AA33081FC94}"/>
                </a:ext>
              </a:extLst>
            </p:cNvPr>
            <p:cNvSpPr/>
            <p:nvPr/>
          </p:nvSpPr>
          <p:spPr>
            <a:xfrm>
              <a:off x="10983066" y="5939695"/>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8" name="Freeform: Shape 2047">
              <a:extLst>
                <a:ext uri="{FF2B5EF4-FFF2-40B4-BE49-F238E27FC236}">
                  <a16:creationId xmlns:a16="http://schemas.microsoft.com/office/drawing/2014/main" id="{40CF596A-0F82-4593-BA81-410F4802831B}"/>
                </a:ext>
              </a:extLst>
            </p:cNvPr>
            <p:cNvSpPr/>
            <p:nvPr/>
          </p:nvSpPr>
          <p:spPr>
            <a:xfrm>
              <a:off x="10968904" y="5843395"/>
              <a:ext cx="56648" cy="56648"/>
            </a:xfrm>
            <a:custGeom>
              <a:avLst/>
              <a:gdLst>
                <a:gd name="connsiteX0" fmla="*/ 28534 w 56647"/>
                <a:gd name="connsiteY0" fmla="*/ 41280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0"/>
                  </a:moveTo>
                  <a:cubicBezTo>
                    <a:pt x="35615" y="41280"/>
                    <a:pt x="41280" y="35616"/>
                    <a:pt x="41280" y="28535"/>
                  </a:cubicBezTo>
                  <a:cubicBezTo>
                    <a:pt x="41280" y="21454"/>
                    <a:pt x="35615" y="15789"/>
                    <a:pt x="28534" y="15789"/>
                  </a:cubicBezTo>
                  <a:cubicBezTo>
                    <a:pt x="21453" y="15789"/>
                    <a:pt x="15789" y="21454"/>
                    <a:pt x="15789" y="28535"/>
                  </a:cubicBezTo>
                  <a:cubicBezTo>
                    <a:pt x="15789" y="35616"/>
                    <a:pt x="21453" y="41280"/>
                    <a:pt x="28534"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49" name="Freeform: Shape 2048">
              <a:extLst>
                <a:ext uri="{FF2B5EF4-FFF2-40B4-BE49-F238E27FC236}">
                  <a16:creationId xmlns:a16="http://schemas.microsoft.com/office/drawing/2014/main" id="{8E2ED8BF-BF1E-4F26-B392-4E3F07541252}"/>
                </a:ext>
              </a:extLst>
            </p:cNvPr>
            <p:cNvSpPr/>
            <p:nvPr/>
          </p:nvSpPr>
          <p:spPr>
            <a:xfrm>
              <a:off x="11015638" y="5774001"/>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2697"/>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0" name="Freeform: Shape 2049">
              <a:extLst>
                <a:ext uri="{FF2B5EF4-FFF2-40B4-BE49-F238E27FC236}">
                  <a16:creationId xmlns:a16="http://schemas.microsoft.com/office/drawing/2014/main" id="{D665B9F5-2E9E-4024-92BB-EEC4E30FA8B7}"/>
                </a:ext>
              </a:extLst>
            </p:cNvPr>
            <p:cNvSpPr/>
            <p:nvPr/>
          </p:nvSpPr>
          <p:spPr>
            <a:xfrm>
              <a:off x="8705830" y="2393554"/>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9"/>
                    <a:pt x="55442" y="15789"/>
                    <a:pt x="41280" y="15789"/>
                  </a:cubicBezTo>
                  <a:cubicBezTo>
                    <a:pt x="27118" y="15789"/>
                    <a:pt x="15789" y="27119"/>
                    <a:pt x="15789" y="41280"/>
                  </a:cubicBezTo>
                  <a:cubicBezTo>
                    <a:pt x="15789" y="55442"/>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1" name="Freeform: Shape 2050">
              <a:extLst>
                <a:ext uri="{FF2B5EF4-FFF2-40B4-BE49-F238E27FC236}">
                  <a16:creationId xmlns:a16="http://schemas.microsoft.com/office/drawing/2014/main" id="{2E13290E-C0B5-490B-94D9-4078DE0BD40D}"/>
                </a:ext>
              </a:extLst>
            </p:cNvPr>
            <p:cNvSpPr/>
            <p:nvPr/>
          </p:nvSpPr>
          <p:spPr>
            <a:xfrm>
              <a:off x="7718745" y="1750603"/>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9"/>
                    <a:pt x="55442" y="15789"/>
                    <a:pt x="41280" y="15789"/>
                  </a:cubicBezTo>
                  <a:cubicBezTo>
                    <a:pt x="27118" y="15789"/>
                    <a:pt x="15789" y="27119"/>
                    <a:pt x="15789" y="41280"/>
                  </a:cubicBezTo>
                  <a:cubicBezTo>
                    <a:pt x="17205" y="55442"/>
                    <a:pt x="28535"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2" name="Freeform: Shape 2051">
              <a:extLst>
                <a:ext uri="{FF2B5EF4-FFF2-40B4-BE49-F238E27FC236}">
                  <a16:creationId xmlns:a16="http://schemas.microsoft.com/office/drawing/2014/main" id="{DF16DD08-A801-4A0F-AFA6-A1A2195FC30F}"/>
                </a:ext>
              </a:extLst>
            </p:cNvPr>
            <p:cNvSpPr/>
            <p:nvPr/>
          </p:nvSpPr>
          <p:spPr>
            <a:xfrm>
              <a:off x="8010480" y="1362567"/>
              <a:ext cx="70810" cy="70810"/>
            </a:xfrm>
            <a:custGeom>
              <a:avLst/>
              <a:gdLst>
                <a:gd name="connsiteX0" fmla="*/ 41281 w 70809"/>
                <a:gd name="connsiteY0" fmla="*/ 66772 h 70809"/>
                <a:gd name="connsiteX1" fmla="*/ 66772 w 70809"/>
                <a:gd name="connsiteY1" fmla="*/ 41280 h 70809"/>
                <a:gd name="connsiteX2" fmla="*/ 41281 w 70809"/>
                <a:gd name="connsiteY2" fmla="*/ 15789 h 70809"/>
                <a:gd name="connsiteX3" fmla="*/ 15789 w 70809"/>
                <a:gd name="connsiteY3" fmla="*/ 41280 h 70809"/>
                <a:gd name="connsiteX4" fmla="*/ 41281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1" y="66772"/>
                  </a:moveTo>
                  <a:cubicBezTo>
                    <a:pt x="55443" y="66772"/>
                    <a:pt x="66772" y="55442"/>
                    <a:pt x="66772" y="41280"/>
                  </a:cubicBezTo>
                  <a:cubicBezTo>
                    <a:pt x="66772" y="27119"/>
                    <a:pt x="55443" y="15789"/>
                    <a:pt x="41281" y="15789"/>
                  </a:cubicBezTo>
                  <a:cubicBezTo>
                    <a:pt x="27119" y="15789"/>
                    <a:pt x="15789" y="27119"/>
                    <a:pt x="15789" y="41280"/>
                  </a:cubicBezTo>
                  <a:cubicBezTo>
                    <a:pt x="17205" y="55442"/>
                    <a:pt x="28535" y="66772"/>
                    <a:pt x="41281"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3" name="Freeform: Shape 2052">
              <a:extLst>
                <a:ext uri="{FF2B5EF4-FFF2-40B4-BE49-F238E27FC236}">
                  <a16:creationId xmlns:a16="http://schemas.microsoft.com/office/drawing/2014/main" id="{1CB5CD26-2D77-43A7-A7D0-5C67259EC063}"/>
                </a:ext>
              </a:extLst>
            </p:cNvPr>
            <p:cNvSpPr/>
            <p:nvPr/>
          </p:nvSpPr>
          <p:spPr>
            <a:xfrm>
              <a:off x="7156516" y="2103235"/>
              <a:ext cx="70810" cy="70810"/>
            </a:xfrm>
            <a:custGeom>
              <a:avLst/>
              <a:gdLst>
                <a:gd name="connsiteX0" fmla="*/ 39864 w 70809"/>
                <a:gd name="connsiteY0" fmla="*/ 63939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39" y="52610"/>
                    <a:pt x="63939" y="39864"/>
                  </a:cubicBezTo>
                  <a:cubicBezTo>
                    <a:pt x="63939" y="27119"/>
                    <a:pt x="52610" y="15789"/>
                    <a:pt x="39864" y="15789"/>
                  </a:cubicBezTo>
                  <a:cubicBezTo>
                    <a:pt x="27118" y="15789"/>
                    <a:pt x="15789" y="27119"/>
                    <a:pt x="15789" y="39864"/>
                  </a:cubicBezTo>
                  <a:cubicBezTo>
                    <a:pt x="15789" y="52610"/>
                    <a:pt x="27118" y="63939"/>
                    <a:pt x="3986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4" name="Freeform: Shape 2053">
              <a:extLst>
                <a:ext uri="{FF2B5EF4-FFF2-40B4-BE49-F238E27FC236}">
                  <a16:creationId xmlns:a16="http://schemas.microsoft.com/office/drawing/2014/main" id="{156EDEE3-92F0-456A-951B-72EBFAC338FA}"/>
                </a:ext>
              </a:extLst>
            </p:cNvPr>
            <p:cNvSpPr/>
            <p:nvPr/>
          </p:nvSpPr>
          <p:spPr>
            <a:xfrm>
              <a:off x="7412847" y="1320081"/>
              <a:ext cx="70810" cy="70810"/>
            </a:xfrm>
            <a:custGeom>
              <a:avLst/>
              <a:gdLst>
                <a:gd name="connsiteX0" fmla="*/ 39864 w 70809"/>
                <a:gd name="connsiteY0" fmla="*/ 63940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2610" y="63940"/>
                    <a:pt x="63939" y="52610"/>
                    <a:pt x="63939" y="39864"/>
                  </a:cubicBezTo>
                  <a:cubicBezTo>
                    <a:pt x="63939" y="27119"/>
                    <a:pt x="52610" y="15789"/>
                    <a:pt x="39864" y="15789"/>
                  </a:cubicBezTo>
                  <a:cubicBezTo>
                    <a:pt x="27118" y="15789"/>
                    <a:pt x="15789" y="27119"/>
                    <a:pt x="15789" y="39864"/>
                  </a:cubicBezTo>
                  <a:cubicBezTo>
                    <a:pt x="15789" y="52610"/>
                    <a:pt x="27118"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5" name="Freeform: Shape 2054">
              <a:extLst>
                <a:ext uri="{FF2B5EF4-FFF2-40B4-BE49-F238E27FC236}">
                  <a16:creationId xmlns:a16="http://schemas.microsoft.com/office/drawing/2014/main" id="{C8452949-B6A3-4AC2-8FAE-1FDC9467C562}"/>
                </a:ext>
              </a:extLst>
            </p:cNvPr>
            <p:cNvSpPr/>
            <p:nvPr/>
          </p:nvSpPr>
          <p:spPr>
            <a:xfrm>
              <a:off x="6245905" y="606321"/>
              <a:ext cx="70810" cy="70810"/>
            </a:xfrm>
            <a:custGeom>
              <a:avLst/>
              <a:gdLst>
                <a:gd name="connsiteX0" fmla="*/ 63940 w 70809"/>
                <a:gd name="connsiteY0" fmla="*/ 39864 h 70809"/>
                <a:gd name="connsiteX1" fmla="*/ 39864 w 70809"/>
                <a:gd name="connsiteY1" fmla="*/ 63940 h 70809"/>
                <a:gd name="connsiteX2" fmla="*/ 15789 w 70809"/>
                <a:gd name="connsiteY2" fmla="*/ 39864 h 70809"/>
                <a:gd name="connsiteX3" fmla="*/ 39864 w 70809"/>
                <a:gd name="connsiteY3" fmla="*/ 15789 h 70809"/>
                <a:gd name="connsiteX4" fmla="*/ 63940 w 70809"/>
                <a:gd name="connsiteY4" fmla="*/ 3986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3940" y="39864"/>
                  </a:moveTo>
                  <a:cubicBezTo>
                    <a:pt x="63940" y="53161"/>
                    <a:pt x="53161" y="63940"/>
                    <a:pt x="39864" y="63940"/>
                  </a:cubicBezTo>
                  <a:cubicBezTo>
                    <a:pt x="26568" y="63940"/>
                    <a:pt x="15789" y="53161"/>
                    <a:pt x="15789" y="39864"/>
                  </a:cubicBezTo>
                  <a:cubicBezTo>
                    <a:pt x="15789" y="26568"/>
                    <a:pt x="26568" y="15789"/>
                    <a:pt x="39864" y="15789"/>
                  </a:cubicBezTo>
                  <a:cubicBezTo>
                    <a:pt x="53160" y="15789"/>
                    <a:pt x="63940" y="26568"/>
                    <a:pt x="63940"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6" name="Freeform: Shape 2055">
              <a:extLst>
                <a:ext uri="{FF2B5EF4-FFF2-40B4-BE49-F238E27FC236}">
                  <a16:creationId xmlns:a16="http://schemas.microsoft.com/office/drawing/2014/main" id="{994BB9F9-7DAC-4674-9B1B-0B8AA760ABF0}"/>
                </a:ext>
              </a:extLst>
            </p:cNvPr>
            <p:cNvSpPr/>
            <p:nvPr/>
          </p:nvSpPr>
          <p:spPr>
            <a:xfrm>
              <a:off x="6179344" y="1835574"/>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7" name="Freeform: Shape 2056">
              <a:extLst>
                <a:ext uri="{FF2B5EF4-FFF2-40B4-BE49-F238E27FC236}">
                  <a16:creationId xmlns:a16="http://schemas.microsoft.com/office/drawing/2014/main" id="{AF7674B0-1835-4CBA-8778-FEB21A730453}"/>
                </a:ext>
              </a:extLst>
            </p:cNvPr>
            <p:cNvSpPr/>
            <p:nvPr/>
          </p:nvSpPr>
          <p:spPr>
            <a:xfrm>
              <a:off x="6565964" y="607737"/>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9951"/>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8" name="Freeform: Shape 2057">
              <a:extLst>
                <a:ext uri="{FF2B5EF4-FFF2-40B4-BE49-F238E27FC236}">
                  <a16:creationId xmlns:a16="http://schemas.microsoft.com/office/drawing/2014/main" id="{6354405C-55AF-4D2A-9877-98EB39B0E078}"/>
                </a:ext>
              </a:extLst>
            </p:cNvPr>
            <p:cNvSpPr/>
            <p:nvPr/>
          </p:nvSpPr>
          <p:spPr>
            <a:xfrm>
              <a:off x="6448421" y="648807"/>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2870"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59" name="Freeform: Shape 2058">
              <a:extLst>
                <a:ext uri="{FF2B5EF4-FFF2-40B4-BE49-F238E27FC236}">
                  <a16:creationId xmlns:a16="http://schemas.microsoft.com/office/drawing/2014/main" id="{B6C91825-0EE6-49D7-9D43-641DED589E7B}"/>
                </a:ext>
              </a:extLst>
            </p:cNvPr>
            <p:cNvSpPr/>
            <p:nvPr/>
          </p:nvSpPr>
          <p:spPr>
            <a:xfrm>
              <a:off x="6595705" y="1141641"/>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2" y="58275"/>
                    <a:pt x="58275" y="48361"/>
                    <a:pt x="58275" y="37032"/>
                  </a:cubicBezTo>
                  <a:cubicBezTo>
                    <a:pt x="58275" y="25702"/>
                    <a:pt x="48362" y="15789"/>
                    <a:pt x="37032" y="15789"/>
                  </a:cubicBezTo>
                  <a:cubicBezTo>
                    <a:pt x="25703" y="15789"/>
                    <a:pt x="15789" y="25702"/>
                    <a:pt x="15789" y="37032"/>
                  </a:cubicBezTo>
                  <a:cubicBezTo>
                    <a:pt x="15789" y="48361"/>
                    <a:pt x="25703"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0" name="Freeform: Shape 2059">
              <a:extLst>
                <a:ext uri="{FF2B5EF4-FFF2-40B4-BE49-F238E27FC236}">
                  <a16:creationId xmlns:a16="http://schemas.microsoft.com/office/drawing/2014/main" id="{1FDA4903-8EFD-4250-8F51-B3FE49C674BD}"/>
                </a:ext>
              </a:extLst>
            </p:cNvPr>
            <p:cNvSpPr/>
            <p:nvPr/>
          </p:nvSpPr>
          <p:spPr>
            <a:xfrm>
              <a:off x="6254402" y="1620313"/>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2" y="58275"/>
                    <a:pt x="58275" y="48361"/>
                    <a:pt x="58275" y="37032"/>
                  </a:cubicBezTo>
                  <a:cubicBezTo>
                    <a:pt x="58275" y="25702"/>
                    <a:pt x="48362" y="15789"/>
                    <a:pt x="37032" y="15789"/>
                  </a:cubicBezTo>
                  <a:cubicBezTo>
                    <a:pt x="25703" y="15789"/>
                    <a:pt x="15789" y="25702"/>
                    <a:pt x="15789" y="37032"/>
                  </a:cubicBezTo>
                  <a:cubicBezTo>
                    <a:pt x="15789" y="48361"/>
                    <a:pt x="25703"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1" name="Freeform: Shape 2060">
              <a:extLst>
                <a:ext uri="{FF2B5EF4-FFF2-40B4-BE49-F238E27FC236}">
                  <a16:creationId xmlns:a16="http://schemas.microsoft.com/office/drawing/2014/main" id="{70A3D449-61E6-4251-9EAF-A1B379551809}"/>
                </a:ext>
              </a:extLst>
            </p:cNvPr>
            <p:cNvSpPr/>
            <p:nvPr/>
          </p:nvSpPr>
          <p:spPr>
            <a:xfrm>
              <a:off x="6037725" y="1766181"/>
              <a:ext cx="70810" cy="70810"/>
            </a:xfrm>
            <a:custGeom>
              <a:avLst/>
              <a:gdLst>
                <a:gd name="connsiteX0" fmla="*/ 38448 w 70809"/>
                <a:gd name="connsiteY0" fmla="*/ 15789 h 70809"/>
                <a:gd name="connsiteX1" fmla="*/ 61107 w 70809"/>
                <a:gd name="connsiteY1" fmla="*/ 38448 h 70809"/>
                <a:gd name="connsiteX2" fmla="*/ 38448 w 70809"/>
                <a:gd name="connsiteY2" fmla="*/ 61107 h 70809"/>
                <a:gd name="connsiteX3" fmla="*/ 15789 w 70809"/>
                <a:gd name="connsiteY3" fmla="*/ 38448 h 70809"/>
                <a:gd name="connsiteX4" fmla="*/ 38448 w 70809"/>
                <a:gd name="connsiteY4" fmla="*/ 15789 h 70809"/>
                <a:gd name="connsiteX5" fmla="*/ 38448 w 70809"/>
                <a:gd name="connsiteY5" fmla="*/ 15789 h 70809"/>
                <a:gd name="connsiteX6" fmla="*/ 38448 w 70809"/>
                <a:gd name="connsiteY6" fmla="*/ 25702 h 70809"/>
                <a:gd name="connsiteX7" fmla="*/ 25703 w 70809"/>
                <a:gd name="connsiteY7" fmla="*/ 38448 h 70809"/>
                <a:gd name="connsiteX8" fmla="*/ 38448 w 70809"/>
                <a:gd name="connsiteY8" fmla="*/ 51194 h 70809"/>
                <a:gd name="connsiteX9" fmla="*/ 51194 w 70809"/>
                <a:gd name="connsiteY9" fmla="*/ 38448 h 70809"/>
                <a:gd name="connsiteX10" fmla="*/ 38448 w 70809"/>
                <a:gd name="connsiteY10" fmla="*/ 25702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38448" y="15789"/>
                  </a:moveTo>
                  <a:cubicBezTo>
                    <a:pt x="51194" y="15789"/>
                    <a:pt x="61107" y="25702"/>
                    <a:pt x="61107" y="38448"/>
                  </a:cubicBezTo>
                  <a:cubicBezTo>
                    <a:pt x="61107" y="51194"/>
                    <a:pt x="51194" y="61107"/>
                    <a:pt x="38448" y="61107"/>
                  </a:cubicBezTo>
                  <a:cubicBezTo>
                    <a:pt x="25703" y="61107"/>
                    <a:pt x="15789" y="51194"/>
                    <a:pt x="15789" y="38448"/>
                  </a:cubicBezTo>
                  <a:cubicBezTo>
                    <a:pt x="15789" y="25702"/>
                    <a:pt x="25703" y="15789"/>
                    <a:pt x="38448" y="15789"/>
                  </a:cubicBezTo>
                  <a:lnTo>
                    <a:pt x="38448" y="15789"/>
                  </a:lnTo>
                  <a:close/>
                  <a:moveTo>
                    <a:pt x="38448" y="25702"/>
                  </a:moveTo>
                  <a:cubicBezTo>
                    <a:pt x="31367" y="25702"/>
                    <a:pt x="25703" y="31367"/>
                    <a:pt x="25703" y="38448"/>
                  </a:cubicBezTo>
                  <a:cubicBezTo>
                    <a:pt x="25703" y="45529"/>
                    <a:pt x="31367" y="51194"/>
                    <a:pt x="38448" y="51194"/>
                  </a:cubicBezTo>
                  <a:cubicBezTo>
                    <a:pt x="45529" y="51194"/>
                    <a:pt x="51194" y="45529"/>
                    <a:pt x="51194" y="38448"/>
                  </a:cubicBezTo>
                  <a:cubicBezTo>
                    <a:pt x="51194" y="31367"/>
                    <a:pt x="45529" y="25702"/>
                    <a:pt x="38448" y="2570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2" name="Freeform: Shape 2061">
              <a:extLst>
                <a:ext uri="{FF2B5EF4-FFF2-40B4-BE49-F238E27FC236}">
                  <a16:creationId xmlns:a16="http://schemas.microsoft.com/office/drawing/2014/main" id="{7B86F11F-1FB9-450C-AA5A-E95A4AADAD7D}"/>
                </a:ext>
              </a:extLst>
            </p:cNvPr>
            <p:cNvSpPr/>
            <p:nvPr/>
          </p:nvSpPr>
          <p:spPr>
            <a:xfrm>
              <a:off x="6924261" y="137389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3" name="Freeform: Shape 2062">
              <a:extLst>
                <a:ext uri="{FF2B5EF4-FFF2-40B4-BE49-F238E27FC236}">
                  <a16:creationId xmlns:a16="http://schemas.microsoft.com/office/drawing/2014/main" id="{CADA10B9-D05C-4E71-BF25-9F5D451A8596}"/>
                </a:ext>
              </a:extLst>
            </p:cNvPr>
            <p:cNvSpPr/>
            <p:nvPr/>
          </p:nvSpPr>
          <p:spPr>
            <a:xfrm>
              <a:off x="6430010" y="1591990"/>
              <a:ext cx="70810" cy="70810"/>
            </a:xfrm>
            <a:custGeom>
              <a:avLst/>
              <a:gdLst>
                <a:gd name="connsiteX0" fmla="*/ 63940 w 70809"/>
                <a:gd name="connsiteY0" fmla="*/ 39864 h 70809"/>
                <a:gd name="connsiteX1" fmla="*/ 39864 w 70809"/>
                <a:gd name="connsiteY1" fmla="*/ 63939 h 70809"/>
                <a:gd name="connsiteX2" fmla="*/ 15789 w 70809"/>
                <a:gd name="connsiteY2" fmla="*/ 39864 h 70809"/>
                <a:gd name="connsiteX3" fmla="*/ 39864 w 70809"/>
                <a:gd name="connsiteY3" fmla="*/ 15789 h 70809"/>
                <a:gd name="connsiteX4" fmla="*/ 63940 w 70809"/>
                <a:gd name="connsiteY4" fmla="*/ 3986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3940" y="39864"/>
                  </a:moveTo>
                  <a:cubicBezTo>
                    <a:pt x="63940" y="53161"/>
                    <a:pt x="53161" y="63939"/>
                    <a:pt x="39864" y="63939"/>
                  </a:cubicBezTo>
                  <a:cubicBezTo>
                    <a:pt x="26568" y="63939"/>
                    <a:pt x="15789" y="53161"/>
                    <a:pt x="15789" y="39864"/>
                  </a:cubicBezTo>
                  <a:cubicBezTo>
                    <a:pt x="15789" y="26568"/>
                    <a:pt x="26568" y="15789"/>
                    <a:pt x="39864" y="15789"/>
                  </a:cubicBezTo>
                  <a:cubicBezTo>
                    <a:pt x="53160" y="15789"/>
                    <a:pt x="63940" y="26568"/>
                    <a:pt x="63940"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4" name="Freeform: Shape 2063">
              <a:extLst>
                <a:ext uri="{FF2B5EF4-FFF2-40B4-BE49-F238E27FC236}">
                  <a16:creationId xmlns:a16="http://schemas.microsoft.com/office/drawing/2014/main" id="{B4FDD45A-84AC-4A5B-A320-622EF4ED7F78}"/>
                </a:ext>
              </a:extLst>
            </p:cNvPr>
            <p:cNvSpPr/>
            <p:nvPr/>
          </p:nvSpPr>
          <p:spPr>
            <a:xfrm>
              <a:off x="6156685" y="1675545"/>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5" name="Freeform: Shape 2064">
              <a:extLst>
                <a:ext uri="{FF2B5EF4-FFF2-40B4-BE49-F238E27FC236}">
                  <a16:creationId xmlns:a16="http://schemas.microsoft.com/office/drawing/2014/main" id="{71B27F73-398A-456A-BB3F-8A821006644B}"/>
                </a:ext>
              </a:extLst>
            </p:cNvPr>
            <p:cNvSpPr/>
            <p:nvPr/>
          </p:nvSpPr>
          <p:spPr>
            <a:xfrm>
              <a:off x="6237408" y="1388058"/>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2" y="15789"/>
                    <a:pt x="15789" y="25702"/>
                    <a:pt x="15789" y="37032"/>
                  </a:cubicBezTo>
                  <a:cubicBezTo>
                    <a:pt x="15789" y="48361"/>
                    <a:pt x="25702"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6" name="Freeform: Shape 2065">
              <a:extLst>
                <a:ext uri="{FF2B5EF4-FFF2-40B4-BE49-F238E27FC236}">
                  <a16:creationId xmlns:a16="http://schemas.microsoft.com/office/drawing/2014/main" id="{7937D830-BE61-42EA-BF40-8816E88506FE}"/>
                </a:ext>
              </a:extLst>
            </p:cNvPr>
            <p:cNvSpPr/>
            <p:nvPr/>
          </p:nvSpPr>
          <p:spPr>
            <a:xfrm>
              <a:off x="6142523" y="1468781"/>
              <a:ext cx="99133" cy="99133"/>
            </a:xfrm>
            <a:custGeom>
              <a:avLst/>
              <a:gdLst>
                <a:gd name="connsiteX0" fmla="*/ 55443 w 99133"/>
                <a:gd name="connsiteY0" fmla="*/ 15789 h 99133"/>
                <a:gd name="connsiteX1" fmla="*/ 95096 w 99133"/>
                <a:gd name="connsiteY1" fmla="*/ 55442 h 99133"/>
                <a:gd name="connsiteX2" fmla="*/ 55443 w 99133"/>
                <a:gd name="connsiteY2" fmla="*/ 95096 h 99133"/>
                <a:gd name="connsiteX3" fmla="*/ 15789 w 99133"/>
                <a:gd name="connsiteY3" fmla="*/ 55442 h 99133"/>
                <a:gd name="connsiteX4" fmla="*/ 55443 w 99133"/>
                <a:gd name="connsiteY4" fmla="*/ 15789 h 99133"/>
                <a:gd name="connsiteX5" fmla="*/ 55443 w 99133"/>
                <a:gd name="connsiteY5" fmla="*/ 15789 h 99133"/>
                <a:gd name="connsiteX6" fmla="*/ 55443 w 99133"/>
                <a:gd name="connsiteY6" fmla="*/ 34200 h 99133"/>
                <a:gd name="connsiteX7" fmla="*/ 34200 w 99133"/>
                <a:gd name="connsiteY7" fmla="*/ 55442 h 99133"/>
                <a:gd name="connsiteX8" fmla="*/ 55443 w 99133"/>
                <a:gd name="connsiteY8" fmla="*/ 76685 h 99133"/>
                <a:gd name="connsiteX9" fmla="*/ 76686 w 99133"/>
                <a:gd name="connsiteY9" fmla="*/ 55442 h 99133"/>
                <a:gd name="connsiteX10" fmla="*/ 55443 w 99133"/>
                <a:gd name="connsiteY10" fmla="*/ 34200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55443" y="15789"/>
                  </a:moveTo>
                  <a:cubicBezTo>
                    <a:pt x="76686" y="15789"/>
                    <a:pt x="95096" y="32783"/>
                    <a:pt x="95096" y="55442"/>
                  </a:cubicBezTo>
                  <a:cubicBezTo>
                    <a:pt x="95096" y="76685"/>
                    <a:pt x="78101" y="95096"/>
                    <a:pt x="55443" y="95096"/>
                  </a:cubicBezTo>
                  <a:cubicBezTo>
                    <a:pt x="34200" y="95096"/>
                    <a:pt x="15789" y="78101"/>
                    <a:pt x="15789" y="55442"/>
                  </a:cubicBezTo>
                  <a:cubicBezTo>
                    <a:pt x="17205" y="34200"/>
                    <a:pt x="34200" y="15789"/>
                    <a:pt x="55443" y="15789"/>
                  </a:cubicBezTo>
                  <a:lnTo>
                    <a:pt x="55443" y="15789"/>
                  </a:lnTo>
                  <a:close/>
                  <a:moveTo>
                    <a:pt x="55443" y="34200"/>
                  </a:moveTo>
                  <a:cubicBezTo>
                    <a:pt x="42697" y="34200"/>
                    <a:pt x="34200" y="44113"/>
                    <a:pt x="34200" y="55442"/>
                  </a:cubicBezTo>
                  <a:cubicBezTo>
                    <a:pt x="34200" y="68188"/>
                    <a:pt x="44113" y="76685"/>
                    <a:pt x="55443" y="76685"/>
                  </a:cubicBezTo>
                  <a:cubicBezTo>
                    <a:pt x="68188" y="76685"/>
                    <a:pt x="76686" y="66772"/>
                    <a:pt x="76686" y="55442"/>
                  </a:cubicBezTo>
                  <a:cubicBezTo>
                    <a:pt x="78101" y="42697"/>
                    <a:pt x="68188" y="34200"/>
                    <a:pt x="55443" y="3420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7" name="Freeform: Shape 2066">
              <a:extLst>
                <a:ext uri="{FF2B5EF4-FFF2-40B4-BE49-F238E27FC236}">
                  <a16:creationId xmlns:a16="http://schemas.microsoft.com/office/drawing/2014/main" id="{ACFDF506-A07F-43C8-AC29-BF2576DC0B3D}"/>
                </a:ext>
              </a:extLst>
            </p:cNvPr>
            <p:cNvSpPr/>
            <p:nvPr/>
          </p:nvSpPr>
          <p:spPr>
            <a:xfrm>
              <a:off x="6369114" y="1497105"/>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1" y="49778"/>
                    <a:pt x="49778" y="42697"/>
                    <a:pt x="49778" y="32783"/>
                  </a:cubicBezTo>
                  <a:cubicBezTo>
                    <a:pt x="49778" y="22870"/>
                    <a:pt x="42697" y="15789"/>
                    <a:pt x="32783" y="15789"/>
                  </a:cubicBezTo>
                  <a:cubicBezTo>
                    <a:pt x="24286" y="15789"/>
                    <a:pt x="15789" y="22870"/>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8" name="Freeform: Shape 2067">
              <a:extLst>
                <a:ext uri="{FF2B5EF4-FFF2-40B4-BE49-F238E27FC236}">
                  <a16:creationId xmlns:a16="http://schemas.microsoft.com/office/drawing/2014/main" id="{EB0A6407-21A3-4A00-9549-23D8E18E3AE4}"/>
                </a:ext>
              </a:extLst>
            </p:cNvPr>
            <p:cNvSpPr/>
            <p:nvPr/>
          </p:nvSpPr>
          <p:spPr>
            <a:xfrm>
              <a:off x="6258651" y="1516931"/>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2870" y="15789"/>
                    <a:pt x="15789" y="22870"/>
                    <a:pt x="15789" y="32783"/>
                  </a:cubicBezTo>
                  <a:cubicBezTo>
                    <a:pt x="15789" y="41280"/>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69" name="Freeform: Shape 2068">
              <a:extLst>
                <a:ext uri="{FF2B5EF4-FFF2-40B4-BE49-F238E27FC236}">
                  <a16:creationId xmlns:a16="http://schemas.microsoft.com/office/drawing/2014/main" id="{369E04DF-86F9-4477-84ED-643A7365F3BB}"/>
                </a:ext>
              </a:extLst>
            </p:cNvPr>
            <p:cNvSpPr/>
            <p:nvPr/>
          </p:nvSpPr>
          <p:spPr>
            <a:xfrm>
              <a:off x="6118448" y="1621730"/>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0" name="Freeform: Shape 2069">
              <a:extLst>
                <a:ext uri="{FF2B5EF4-FFF2-40B4-BE49-F238E27FC236}">
                  <a16:creationId xmlns:a16="http://schemas.microsoft.com/office/drawing/2014/main" id="{8D5602EF-2E56-491F-AA55-85B1BD39AFF2}"/>
                </a:ext>
              </a:extLst>
            </p:cNvPr>
            <p:cNvSpPr/>
            <p:nvPr/>
          </p:nvSpPr>
          <p:spPr>
            <a:xfrm>
              <a:off x="6326628" y="1237942"/>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1" name="Freeform: Shape 2070">
              <a:extLst>
                <a:ext uri="{FF2B5EF4-FFF2-40B4-BE49-F238E27FC236}">
                  <a16:creationId xmlns:a16="http://schemas.microsoft.com/office/drawing/2014/main" id="{4E303446-BD5A-4319-B025-0F28D1B5AD84}"/>
                </a:ext>
              </a:extLst>
            </p:cNvPr>
            <p:cNvSpPr/>
            <p:nvPr/>
          </p:nvSpPr>
          <p:spPr>
            <a:xfrm>
              <a:off x="6473912" y="1345572"/>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2" name="Freeform: Shape 2071">
              <a:extLst>
                <a:ext uri="{FF2B5EF4-FFF2-40B4-BE49-F238E27FC236}">
                  <a16:creationId xmlns:a16="http://schemas.microsoft.com/office/drawing/2014/main" id="{12E332CB-6953-4AB1-BD87-1C3B3A3A6BD0}"/>
                </a:ext>
              </a:extLst>
            </p:cNvPr>
            <p:cNvSpPr/>
            <p:nvPr/>
          </p:nvSpPr>
          <p:spPr>
            <a:xfrm>
              <a:off x="6575878" y="1286092"/>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7" y="15789"/>
                    <a:pt x="15789" y="20038"/>
                    <a:pt x="15789" y="25702"/>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3" name="Freeform: Shape 2072">
              <a:extLst>
                <a:ext uri="{FF2B5EF4-FFF2-40B4-BE49-F238E27FC236}">
                  <a16:creationId xmlns:a16="http://schemas.microsoft.com/office/drawing/2014/main" id="{E9C0E403-B9D2-4600-AD87-24C8D3DC0439}"/>
                </a:ext>
              </a:extLst>
            </p:cNvPr>
            <p:cNvSpPr/>
            <p:nvPr/>
          </p:nvSpPr>
          <p:spPr>
            <a:xfrm>
              <a:off x="6850619" y="1257769"/>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4" name="Freeform: Shape 2073">
              <a:extLst>
                <a:ext uri="{FF2B5EF4-FFF2-40B4-BE49-F238E27FC236}">
                  <a16:creationId xmlns:a16="http://schemas.microsoft.com/office/drawing/2014/main" id="{A7443AE5-DFB3-4E39-9159-424AF3F8A60C}"/>
                </a:ext>
              </a:extLst>
            </p:cNvPr>
            <p:cNvSpPr/>
            <p:nvPr/>
          </p:nvSpPr>
          <p:spPr>
            <a:xfrm>
              <a:off x="5948505" y="1814332"/>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5" name="Freeform: Shape 2074">
              <a:extLst>
                <a:ext uri="{FF2B5EF4-FFF2-40B4-BE49-F238E27FC236}">
                  <a16:creationId xmlns:a16="http://schemas.microsoft.com/office/drawing/2014/main" id="{5238BEDE-E9CD-4726-92BC-DBE5C9EFD35F}"/>
                </a:ext>
              </a:extLst>
            </p:cNvPr>
            <p:cNvSpPr/>
            <p:nvPr/>
          </p:nvSpPr>
          <p:spPr>
            <a:xfrm>
              <a:off x="5937176" y="1644389"/>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6" name="Freeform: Shape 2075">
              <a:extLst>
                <a:ext uri="{FF2B5EF4-FFF2-40B4-BE49-F238E27FC236}">
                  <a16:creationId xmlns:a16="http://schemas.microsoft.com/office/drawing/2014/main" id="{0344C629-7BC0-44F7-A554-B824CD764C42}"/>
                </a:ext>
              </a:extLst>
            </p:cNvPr>
            <p:cNvSpPr/>
            <p:nvPr/>
          </p:nvSpPr>
          <p:spPr>
            <a:xfrm>
              <a:off x="6631109" y="1689707"/>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7" name="Freeform: Shape 2076">
              <a:extLst>
                <a:ext uri="{FF2B5EF4-FFF2-40B4-BE49-F238E27FC236}">
                  <a16:creationId xmlns:a16="http://schemas.microsoft.com/office/drawing/2014/main" id="{0F60237F-109A-49DC-AE8F-9CAE9579BE79}"/>
                </a:ext>
              </a:extLst>
            </p:cNvPr>
            <p:cNvSpPr/>
            <p:nvPr/>
          </p:nvSpPr>
          <p:spPr>
            <a:xfrm>
              <a:off x="6539057" y="167412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1"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8" name="Freeform: Shape 2077">
              <a:extLst>
                <a:ext uri="{FF2B5EF4-FFF2-40B4-BE49-F238E27FC236}">
                  <a16:creationId xmlns:a16="http://schemas.microsoft.com/office/drawing/2014/main" id="{E378AA62-1FF5-45E9-AA4B-C57BB8C33136}"/>
                </a:ext>
              </a:extLst>
            </p:cNvPr>
            <p:cNvSpPr/>
            <p:nvPr/>
          </p:nvSpPr>
          <p:spPr>
            <a:xfrm>
              <a:off x="6516398" y="1431960"/>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1"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79" name="Freeform: Shape 2078">
              <a:extLst>
                <a:ext uri="{FF2B5EF4-FFF2-40B4-BE49-F238E27FC236}">
                  <a16:creationId xmlns:a16="http://schemas.microsoft.com/office/drawing/2014/main" id="{D197F6E2-D484-49DB-9FE0-84BEA3B6B79B}"/>
                </a:ext>
              </a:extLst>
            </p:cNvPr>
            <p:cNvSpPr/>
            <p:nvPr/>
          </p:nvSpPr>
          <p:spPr>
            <a:xfrm>
              <a:off x="6631109" y="1543839"/>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0" name="Freeform: Shape 2079">
              <a:extLst>
                <a:ext uri="{FF2B5EF4-FFF2-40B4-BE49-F238E27FC236}">
                  <a16:creationId xmlns:a16="http://schemas.microsoft.com/office/drawing/2014/main" id="{9BB8E758-D1D2-4C25-8BF3-88FBC0D9C09B}"/>
                </a:ext>
              </a:extLst>
            </p:cNvPr>
            <p:cNvSpPr/>
            <p:nvPr/>
          </p:nvSpPr>
          <p:spPr>
            <a:xfrm>
              <a:off x="6111367" y="2276010"/>
              <a:ext cx="84971" cy="84971"/>
            </a:xfrm>
            <a:custGeom>
              <a:avLst/>
              <a:gdLst>
                <a:gd name="connsiteX0" fmla="*/ 42697 w 84971"/>
                <a:gd name="connsiteY0" fmla="*/ 69604 h 84971"/>
                <a:gd name="connsiteX1" fmla="*/ 69604 w 84971"/>
                <a:gd name="connsiteY1" fmla="*/ 42697 h 84971"/>
                <a:gd name="connsiteX2" fmla="*/ 42697 w 84971"/>
                <a:gd name="connsiteY2" fmla="*/ 15789 h 84971"/>
                <a:gd name="connsiteX3" fmla="*/ 15789 w 84971"/>
                <a:gd name="connsiteY3" fmla="*/ 42697 h 84971"/>
                <a:gd name="connsiteX4" fmla="*/ 42697 w 84971"/>
                <a:gd name="connsiteY4" fmla="*/ 6960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7" y="69604"/>
                  </a:moveTo>
                  <a:cubicBezTo>
                    <a:pt x="56858" y="69604"/>
                    <a:pt x="69604" y="56859"/>
                    <a:pt x="69604" y="42697"/>
                  </a:cubicBezTo>
                  <a:cubicBezTo>
                    <a:pt x="69604" y="28535"/>
                    <a:pt x="56858" y="15789"/>
                    <a:pt x="42697" y="15789"/>
                  </a:cubicBezTo>
                  <a:cubicBezTo>
                    <a:pt x="28535" y="15789"/>
                    <a:pt x="15789" y="28535"/>
                    <a:pt x="15789" y="42697"/>
                  </a:cubicBezTo>
                  <a:cubicBezTo>
                    <a:pt x="15789" y="56859"/>
                    <a:pt x="28535" y="69604"/>
                    <a:pt x="42697" y="6960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1" name="Freeform: Shape 2080">
              <a:extLst>
                <a:ext uri="{FF2B5EF4-FFF2-40B4-BE49-F238E27FC236}">
                  <a16:creationId xmlns:a16="http://schemas.microsoft.com/office/drawing/2014/main" id="{1B38E630-920F-4A6C-B66B-0D2593193424}"/>
                </a:ext>
              </a:extLst>
            </p:cNvPr>
            <p:cNvSpPr/>
            <p:nvPr/>
          </p:nvSpPr>
          <p:spPr>
            <a:xfrm>
              <a:off x="6122697" y="2525259"/>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1280"/>
                    <a:pt x="49778" y="32783"/>
                  </a:cubicBezTo>
                  <a:cubicBezTo>
                    <a:pt x="49778" y="22870"/>
                    <a:pt x="41280" y="15789"/>
                    <a:pt x="32783" y="15789"/>
                  </a:cubicBezTo>
                  <a:cubicBezTo>
                    <a:pt x="22870" y="15789"/>
                    <a:pt x="15789" y="24286"/>
                    <a:pt x="15789" y="32783"/>
                  </a:cubicBezTo>
                  <a:cubicBezTo>
                    <a:pt x="15789" y="41280"/>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2" name="Freeform: Shape 2081">
              <a:extLst>
                <a:ext uri="{FF2B5EF4-FFF2-40B4-BE49-F238E27FC236}">
                  <a16:creationId xmlns:a16="http://schemas.microsoft.com/office/drawing/2014/main" id="{EF1435DF-B05F-4EDC-9E1D-280C60CFFED5}"/>
                </a:ext>
              </a:extLst>
            </p:cNvPr>
            <p:cNvSpPr/>
            <p:nvPr/>
          </p:nvSpPr>
          <p:spPr>
            <a:xfrm>
              <a:off x="5990991" y="2317079"/>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7"/>
                    <a:pt x="31367" y="15789"/>
                    <a:pt x="25702" y="15789"/>
                  </a:cubicBezTo>
                  <a:cubicBezTo>
                    <a:pt x="20037" y="15789"/>
                    <a:pt x="15789" y="20037"/>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3" name="Freeform: Shape 2082">
              <a:extLst>
                <a:ext uri="{FF2B5EF4-FFF2-40B4-BE49-F238E27FC236}">
                  <a16:creationId xmlns:a16="http://schemas.microsoft.com/office/drawing/2014/main" id="{DC4D02B7-9791-4513-A018-623858860D56}"/>
                </a:ext>
              </a:extLst>
            </p:cNvPr>
            <p:cNvSpPr/>
            <p:nvPr/>
          </p:nvSpPr>
          <p:spPr>
            <a:xfrm>
              <a:off x="6152437" y="2056500"/>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4" name="Freeform: Shape 2083">
              <a:extLst>
                <a:ext uri="{FF2B5EF4-FFF2-40B4-BE49-F238E27FC236}">
                  <a16:creationId xmlns:a16="http://schemas.microsoft.com/office/drawing/2014/main" id="{7B17E80F-D753-4014-BB03-DD49106B030D}"/>
                </a:ext>
              </a:extLst>
            </p:cNvPr>
            <p:cNvSpPr/>
            <p:nvPr/>
          </p:nvSpPr>
          <p:spPr>
            <a:xfrm>
              <a:off x="6376195" y="2345403"/>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8" y="15789"/>
                    <a:pt x="15789" y="20037"/>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5" name="Freeform: Shape 2084">
              <a:extLst>
                <a:ext uri="{FF2B5EF4-FFF2-40B4-BE49-F238E27FC236}">
                  <a16:creationId xmlns:a16="http://schemas.microsoft.com/office/drawing/2014/main" id="{AB11A4A4-9B2B-482C-9519-FEC06DB6B719}"/>
                </a:ext>
              </a:extLst>
            </p:cNvPr>
            <p:cNvSpPr/>
            <p:nvPr/>
          </p:nvSpPr>
          <p:spPr>
            <a:xfrm>
              <a:off x="6475328" y="2600318"/>
              <a:ext cx="84971" cy="84971"/>
            </a:xfrm>
            <a:custGeom>
              <a:avLst/>
              <a:gdLst>
                <a:gd name="connsiteX0" fmla="*/ 42697 w 84971"/>
                <a:gd name="connsiteY0" fmla="*/ 69604 h 84971"/>
                <a:gd name="connsiteX1" fmla="*/ 69605 w 84971"/>
                <a:gd name="connsiteY1" fmla="*/ 42697 h 84971"/>
                <a:gd name="connsiteX2" fmla="*/ 42697 w 84971"/>
                <a:gd name="connsiteY2" fmla="*/ 15789 h 84971"/>
                <a:gd name="connsiteX3" fmla="*/ 15789 w 84971"/>
                <a:gd name="connsiteY3" fmla="*/ 42697 h 84971"/>
                <a:gd name="connsiteX4" fmla="*/ 42697 w 84971"/>
                <a:gd name="connsiteY4" fmla="*/ 6960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7" y="69604"/>
                  </a:moveTo>
                  <a:cubicBezTo>
                    <a:pt x="56858" y="69604"/>
                    <a:pt x="69605" y="56858"/>
                    <a:pt x="69605" y="42697"/>
                  </a:cubicBezTo>
                  <a:cubicBezTo>
                    <a:pt x="69605" y="28535"/>
                    <a:pt x="56858" y="15789"/>
                    <a:pt x="42697" y="15789"/>
                  </a:cubicBezTo>
                  <a:cubicBezTo>
                    <a:pt x="28535" y="15789"/>
                    <a:pt x="15789" y="28535"/>
                    <a:pt x="15789" y="42697"/>
                  </a:cubicBezTo>
                  <a:cubicBezTo>
                    <a:pt x="15789" y="56858"/>
                    <a:pt x="28535" y="69604"/>
                    <a:pt x="42697" y="6960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6" name="Freeform: Shape 2085">
              <a:extLst>
                <a:ext uri="{FF2B5EF4-FFF2-40B4-BE49-F238E27FC236}">
                  <a16:creationId xmlns:a16="http://schemas.microsoft.com/office/drawing/2014/main" id="{A5AC9884-141C-4C7D-946A-2954FAAC72DA}"/>
                </a:ext>
              </a:extLst>
            </p:cNvPr>
            <p:cNvSpPr/>
            <p:nvPr/>
          </p:nvSpPr>
          <p:spPr>
            <a:xfrm>
              <a:off x="6560300" y="2169795"/>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7" name="Freeform: Shape 2086">
              <a:extLst>
                <a:ext uri="{FF2B5EF4-FFF2-40B4-BE49-F238E27FC236}">
                  <a16:creationId xmlns:a16="http://schemas.microsoft.com/office/drawing/2014/main" id="{0E544DFC-0772-4243-95E1-2CF739AA0608}"/>
                </a:ext>
              </a:extLst>
            </p:cNvPr>
            <p:cNvSpPr/>
            <p:nvPr/>
          </p:nvSpPr>
          <p:spPr>
            <a:xfrm>
              <a:off x="5978245" y="2499768"/>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8" name="Freeform: Shape 2087">
              <a:extLst>
                <a:ext uri="{FF2B5EF4-FFF2-40B4-BE49-F238E27FC236}">
                  <a16:creationId xmlns:a16="http://schemas.microsoft.com/office/drawing/2014/main" id="{2CD52EA9-09D8-48B8-BBAD-9468EA7EFF14}"/>
                </a:ext>
              </a:extLst>
            </p:cNvPr>
            <p:cNvSpPr/>
            <p:nvPr/>
          </p:nvSpPr>
          <p:spPr>
            <a:xfrm>
              <a:off x="5755903" y="2084824"/>
              <a:ext cx="70810" cy="70810"/>
            </a:xfrm>
            <a:custGeom>
              <a:avLst/>
              <a:gdLst>
                <a:gd name="connsiteX0" fmla="*/ 39864 w 70809"/>
                <a:gd name="connsiteY0" fmla="*/ 63940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2610" y="63940"/>
                    <a:pt x="63939" y="52610"/>
                    <a:pt x="63939" y="39864"/>
                  </a:cubicBezTo>
                  <a:cubicBezTo>
                    <a:pt x="63939" y="27119"/>
                    <a:pt x="52610" y="15789"/>
                    <a:pt x="39864" y="15789"/>
                  </a:cubicBezTo>
                  <a:cubicBezTo>
                    <a:pt x="27118" y="15789"/>
                    <a:pt x="15789" y="27119"/>
                    <a:pt x="15789" y="39864"/>
                  </a:cubicBezTo>
                  <a:cubicBezTo>
                    <a:pt x="15789" y="52610"/>
                    <a:pt x="27118"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89" name="Freeform: Shape 2088">
              <a:extLst>
                <a:ext uri="{FF2B5EF4-FFF2-40B4-BE49-F238E27FC236}">
                  <a16:creationId xmlns:a16="http://schemas.microsoft.com/office/drawing/2014/main" id="{B1D1BE12-77E9-4CA1-AEDC-4D563A9A4A99}"/>
                </a:ext>
              </a:extLst>
            </p:cNvPr>
            <p:cNvSpPr/>
            <p:nvPr/>
          </p:nvSpPr>
          <p:spPr>
            <a:xfrm>
              <a:off x="6578710" y="2502600"/>
              <a:ext cx="56648" cy="56648"/>
            </a:xfrm>
            <a:custGeom>
              <a:avLst/>
              <a:gdLst>
                <a:gd name="connsiteX0" fmla="*/ 49778 w 56647"/>
                <a:gd name="connsiteY0" fmla="*/ 32783 h 56647"/>
                <a:gd name="connsiteX1" fmla="*/ 32783 w 56647"/>
                <a:gd name="connsiteY1" fmla="*/ 49777 h 56647"/>
                <a:gd name="connsiteX2" fmla="*/ 15789 w 56647"/>
                <a:gd name="connsiteY2" fmla="*/ 32783 h 56647"/>
                <a:gd name="connsiteX3" fmla="*/ 32783 w 56647"/>
                <a:gd name="connsiteY3" fmla="*/ 15789 h 56647"/>
                <a:gd name="connsiteX4" fmla="*/ 49778 w 56647"/>
                <a:gd name="connsiteY4" fmla="*/ 3278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49778" y="32783"/>
                  </a:moveTo>
                  <a:cubicBezTo>
                    <a:pt x="49778" y="42169"/>
                    <a:pt x="42169" y="49777"/>
                    <a:pt x="32783" y="49777"/>
                  </a:cubicBezTo>
                  <a:cubicBezTo>
                    <a:pt x="23397" y="49777"/>
                    <a:pt x="15789" y="42169"/>
                    <a:pt x="15789" y="32783"/>
                  </a:cubicBezTo>
                  <a:cubicBezTo>
                    <a:pt x="15789" y="23398"/>
                    <a:pt x="23397" y="15789"/>
                    <a:pt x="32783" y="15789"/>
                  </a:cubicBezTo>
                  <a:cubicBezTo>
                    <a:pt x="42169" y="15789"/>
                    <a:pt x="49778" y="23398"/>
                    <a:pt x="49778"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0" name="Freeform: Shape 2089">
              <a:extLst>
                <a:ext uri="{FF2B5EF4-FFF2-40B4-BE49-F238E27FC236}">
                  <a16:creationId xmlns:a16="http://schemas.microsoft.com/office/drawing/2014/main" id="{10D1B822-8327-4B11-B1E7-B1F6A15A7223}"/>
                </a:ext>
              </a:extLst>
            </p:cNvPr>
            <p:cNvSpPr/>
            <p:nvPr/>
          </p:nvSpPr>
          <p:spPr>
            <a:xfrm>
              <a:off x="6371947" y="2083408"/>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1" name="Freeform: Shape 2090">
              <a:extLst>
                <a:ext uri="{FF2B5EF4-FFF2-40B4-BE49-F238E27FC236}">
                  <a16:creationId xmlns:a16="http://schemas.microsoft.com/office/drawing/2014/main" id="{6B63649C-DF63-4F70-AB36-5325475B1E4C}"/>
                </a:ext>
              </a:extLst>
            </p:cNvPr>
            <p:cNvSpPr/>
            <p:nvPr/>
          </p:nvSpPr>
          <p:spPr>
            <a:xfrm>
              <a:off x="6029228" y="1892222"/>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2" name="Freeform: Shape 2091">
              <a:extLst>
                <a:ext uri="{FF2B5EF4-FFF2-40B4-BE49-F238E27FC236}">
                  <a16:creationId xmlns:a16="http://schemas.microsoft.com/office/drawing/2014/main" id="{FB9F33C7-E6CF-4BF3-BC60-A5C4699063E8}"/>
                </a:ext>
              </a:extLst>
            </p:cNvPr>
            <p:cNvSpPr/>
            <p:nvPr/>
          </p:nvSpPr>
          <p:spPr>
            <a:xfrm>
              <a:off x="5957002" y="2079159"/>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3" name="Freeform: Shape 2092">
              <a:extLst>
                <a:ext uri="{FF2B5EF4-FFF2-40B4-BE49-F238E27FC236}">
                  <a16:creationId xmlns:a16="http://schemas.microsoft.com/office/drawing/2014/main" id="{350A3443-9F33-49FA-A32B-DC9498855C8C}"/>
                </a:ext>
              </a:extLst>
            </p:cNvPr>
            <p:cNvSpPr/>
            <p:nvPr/>
          </p:nvSpPr>
          <p:spPr>
            <a:xfrm>
              <a:off x="6050471" y="2025344"/>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4" name="Freeform: Shape 2093">
              <a:extLst>
                <a:ext uri="{FF2B5EF4-FFF2-40B4-BE49-F238E27FC236}">
                  <a16:creationId xmlns:a16="http://schemas.microsoft.com/office/drawing/2014/main" id="{3C2E43CA-1590-4279-BE0B-26F9D4CCB247}"/>
                </a:ext>
              </a:extLst>
            </p:cNvPr>
            <p:cNvSpPr/>
            <p:nvPr/>
          </p:nvSpPr>
          <p:spPr>
            <a:xfrm>
              <a:off x="6700503" y="2338322"/>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1" y="49777"/>
                    <a:pt x="49778" y="42697"/>
                    <a:pt x="49778" y="32783"/>
                  </a:cubicBezTo>
                  <a:cubicBezTo>
                    <a:pt x="49778" y="24286"/>
                    <a:pt x="42697" y="15789"/>
                    <a:pt x="32783" y="15789"/>
                  </a:cubicBezTo>
                  <a:cubicBezTo>
                    <a:pt x="24286" y="15789"/>
                    <a:pt x="15789" y="22870"/>
                    <a:pt x="15789" y="32783"/>
                  </a:cubicBezTo>
                  <a:cubicBezTo>
                    <a:pt x="15789" y="41280"/>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5" name="Freeform: Shape 2094">
              <a:extLst>
                <a:ext uri="{FF2B5EF4-FFF2-40B4-BE49-F238E27FC236}">
                  <a16:creationId xmlns:a16="http://schemas.microsoft.com/office/drawing/2014/main" id="{17859574-37F0-4DCC-B20F-4BA5271F6944}"/>
                </a:ext>
              </a:extLst>
            </p:cNvPr>
            <p:cNvSpPr/>
            <p:nvPr/>
          </p:nvSpPr>
          <p:spPr>
            <a:xfrm>
              <a:off x="5886193" y="2382224"/>
              <a:ext cx="84971" cy="84971"/>
            </a:xfrm>
            <a:custGeom>
              <a:avLst/>
              <a:gdLst>
                <a:gd name="connsiteX0" fmla="*/ 45529 w 84971"/>
                <a:gd name="connsiteY0" fmla="*/ 15789 h 84971"/>
                <a:gd name="connsiteX1" fmla="*/ 75269 w 84971"/>
                <a:gd name="connsiteY1" fmla="*/ 45529 h 84971"/>
                <a:gd name="connsiteX2" fmla="*/ 45529 w 84971"/>
                <a:gd name="connsiteY2" fmla="*/ 75269 h 84971"/>
                <a:gd name="connsiteX3" fmla="*/ 15789 w 84971"/>
                <a:gd name="connsiteY3" fmla="*/ 45529 h 84971"/>
                <a:gd name="connsiteX4" fmla="*/ 45529 w 84971"/>
                <a:gd name="connsiteY4" fmla="*/ 15789 h 84971"/>
                <a:gd name="connsiteX5" fmla="*/ 45529 w 84971"/>
                <a:gd name="connsiteY5" fmla="*/ 15789 h 84971"/>
                <a:gd name="connsiteX6" fmla="*/ 45529 w 84971"/>
                <a:gd name="connsiteY6" fmla="*/ 28535 h 84971"/>
                <a:gd name="connsiteX7" fmla="*/ 28535 w 84971"/>
                <a:gd name="connsiteY7" fmla="*/ 45529 h 84971"/>
                <a:gd name="connsiteX8" fmla="*/ 45529 w 84971"/>
                <a:gd name="connsiteY8" fmla="*/ 62523 h 84971"/>
                <a:gd name="connsiteX9" fmla="*/ 62524 w 84971"/>
                <a:gd name="connsiteY9" fmla="*/ 45529 h 84971"/>
                <a:gd name="connsiteX10" fmla="*/ 45529 w 84971"/>
                <a:gd name="connsiteY10" fmla="*/ 28535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5529" y="15789"/>
                  </a:moveTo>
                  <a:cubicBezTo>
                    <a:pt x="62524" y="15789"/>
                    <a:pt x="75269" y="28535"/>
                    <a:pt x="75269" y="45529"/>
                  </a:cubicBezTo>
                  <a:cubicBezTo>
                    <a:pt x="75269" y="62523"/>
                    <a:pt x="62524" y="75269"/>
                    <a:pt x="45529" y="75269"/>
                  </a:cubicBezTo>
                  <a:cubicBezTo>
                    <a:pt x="28535" y="75269"/>
                    <a:pt x="15789" y="62523"/>
                    <a:pt x="15789" y="45529"/>
                  </a:cubicBezTo>
                  <a:cubicBezTo>
                    <a:pt x="15789" y="28535"/>
                    <a:pt x="28535" y="15789"/>
                    <a:pt x="45529" y="15789"/>
                  </a:cubicBezTo>
                  <a:lnTo>
                    <a:pt x="45529" y="15789"/>
                  </a:lnTo>
                  <a:close/>
                  <a:moveTo>
                    <a:pt x="45529" y="28535"/>
                  </a:moveTo>
                  <a:cubicBezTo>
                    <a:pt x="35616" y="28535"/>
                    <a:pt x="28535" y="35616"/>
                    <a:pt x="28535" y="45529"/>
                  </a:cubicBezTo>
                  <a:cubicBezTo>
                    <a:pt x="28535" y="55442"/>
                    <a:pt x="35616" y="62523"/>
                    <a:pt x="45529" y="62523"/>
                  </a:cubicBezTo>
                  <a:cubicBezTo>
                    <a:pt x="55443" y="62523"/>
                    <a:pt x="62524" y="55442"/>
                    <a:pt x="62524" y="45529"/>
                  </a:cubicBezTo>
                  <a:cubicBezTo>
                    <a:pt x="62524" y="35616"/>
                    <a:pt x="55443" y="28535"/>
                    <a:pt x="45529" y="2853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6" name="Freeform: Shape 2095">
              <a:extLst>
                <a:ext uri="{FF2B5EF4-FFF2-40B4-BE49-F238E27FC236}">
                  <a16:creationId xmlns:a16="http://schemas.microsoft.com/office/drawing/2014/main" id="{C12E7102-6D5C-40DD-B4B9-4BD1CF2D99C7}"/>
                </a:ext>
              </a:extLst>
            </p:cNvPr>
            <p:cNvSpPr/>
            <p:nvPr/>
          </p:nvSpPr>
          <p:spPr>
            <a:xfrm>
              <a:off x="7104117" y="2467195"/>
              <a:ext cx="84971" cy="84971"/>
            </a:xfrm>
            <a:custGeom>
              <a:avLst/>
              <a:gdLst>
                <a:gd name="connsiteX0" fmla="*/ 45529 w 84971"/>
                <a:gd name="connsiteY0" fmla="*/ 15789 h 84971"/>
                <a:gd name="connsiteX1" fmla="*/ 75269 w 84971"/>
                <a:gd name="connsiteY1" fmla="*/ 45529 h 84971"/>
                <a:gd name="connsiteX2" fmla="*/ 45529 w 84971"/>
                <a:gd name="connsiteY2" fmla="*/ 75269 h 84971"/>
                <a:gd name="connsiteX3" fmla="*/ 15789 w 84971"/>
                <a:gd name="connsiteY3" fmla="*/ 45529 h 84971"/>
                <a:gd name="connsiteX4" fmla="*/ 45529 w 84971"/>
                <a:gd name="connsiteY4" fmla="*/ 15789 h 84971"/>
                <a:gd name="connsiteX5" fmla="*/ 45529 w 84971"/>
                <a:gd name="connsiteY5" fmla="*/ 15789 h 84971"/>
                <a:gd name="connsiteX6" fmla="*/ 45529 w 84971"/>
                <a:gd name="connsiteY6" fmla="*/ 28535 h 84971"/>
                <a:gd name="connsiteX7" fmla="*/ 28535 w 84971"/>
                <a:gd name="connsiteY7" fmla="*/ 45529 h 84971"/>
                <a:gd name="connsiteX8" fmla="*/ 45529 w 84971"/>
                <a:gd name="connsiteY8" fmla="*/ 62523 h 84971"/>
                <a:gd name="connsiteX9" fmla="*/ 62524 w 84971"/>
                <a:gd name="connsiteY9" fmla="*/ 45529 h 84971"/>
                <a:gd name="connsiteX10" fmla="*/ 45529 w 84971"/>
                <a:gd name="connsiteY10" fmla="*/ 28535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5529" y="15789"/>
                  </a:moveTo>
                  <a:cubicBezTo>
                    <a:pt x="62524" y="15789"/>
                    <a:pt x="75269" y="28535"/>
                    <a:pt x="75269" y="45529"/>
                  </a:cubicBezTo>
                  <a:cubicBezTo>
                    <a:pt x="75269" y="62523"/>
                    <a:pt x="62524" y="75269"/>
                    <a:pt x="45529" y="75269"/>
                  </a:cubicBezTo>
                  <a:cubicBezTo>
                    <a:pt x="28535" y="75269"/>
                    <a:pt x="15789" y="62523"/>
                    <a:pt x="15789" y="45529"/>
                  </a:cubicBezTo>
                  <a:cubicBezTo>
                    <a:pt x="15789" y="28535"/>
                    <a:pt x="28535" y="15789"/>
                    <a:pt x="45529" y="15789"/>
                  </a:cubicBezTo>
                  <a:lnTo>
                    <a:pt x="45529" y="15789"/>
                  </a:lnTo>
                  <a:close/>
                  <a:moveTo>
                    <a:pt x="45529" y="28535"/>
                  </a:moveTo>
                  <a:cubicBezTo>
                    <a:pt x="35616" y="28535"/>
                    <a:pt x="28535" y="35616"/>
                    <a:pt x="28535" y="45529"/>
                  </a:cubicBezTo>
                  <a:cubicBezTo>
                    <a:pt x="28535" y="55442"/>
                    <a:pt x="35616" y="62523"/>
                    <a:pt x="45529" y="62523"/>
                  </a:cubicBezTo>
                  <a:cubicBezTo>
                    <a:pt x="55443" y="62523"/>
                    <a:pt x="62524" y="55442"/>
                    <a:pt x="62524" y="45529"/>
                  </a:cubicBezTo>
                  <a:cubicBezTo>
                    <a:pt x="62524" y="35616"/>
                    <a:pt x="55443" y="28535"/>
                    <a:pt x="45529" y="2853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7" name="Freeform: Shape 2096">
              <a:extLst>
                <a:ext uri="{FF2B5EF4-FFF2-40B4-BE49-F238E27FC236}">
                  <a16:creationId xmlns:a16="http://schemas.microsoft.com/office/drawing/2014/main" id="{9B8484F0-ECCE-4007-B86F-E0CF0FC15026}"/>
                </a:ext>
              </a:extLst>
            </p:cNvPr>
            <p:cNvSpPr/>
            <p:nvPr/>
          </p:nvSpPr>
          <p:spPr>
            <a:xfrm>
              <a:off x="6186425" y="2076327"/>
              <a:ext cx="70810" cy="70810"/>
            </a:xfrm>
            <a:custGeom>
              <a:avLst/>
              <a:gdLst>
                <a:gd name="connsiteX0" fmla="*/ 63939 w 70809"/>
                <a:gd name="connsiteY0" fmla="*/ 39864 h 70809"/>
                <a:gd name="connsiteX1" fmla="*/ 39864 w 70809"/>
                <a:gd name="connsiteY1" fmla="*/ 63939 h 70809"/>
                <a:gd name="connsiteX2" fmla="*/ 15789 w 70809"/>
                <a:gd name="connsiteY2" fmla="*/ 39864 h 70809"/>
                <a:gd name="connsiteX3" fmla="*/ 39864 w 70809"/>
                <a:gd name="connsiteY3" fmla="*/ 15789 h 70809"/>
                <a:gd name="connsiteX4" fmla="*/ 63939 w 70809"/>
                <a:gd name="connsiteY4" fmla="*/ 3986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3939" y="39864"/>
                  </a:moveTo>
                  <a:cubicBezTo>
                    <a:pt x="63939" y="53161"/>
                    <a:pt x="53161" y="63939"/>
                    <a:pt x="39864" y="63939"/>
                  </a:cubicBezTo>
                  <a:cubicBezTo>
                    <a:pt x="26568" y="63939"/>
                    <a:pt x="15789" y="53161"/>
                    <a:pt x="15789" y="39864"/>
                  </a:cubicBezTo>
                  <a:cubicBezTo>
                    <a:pt x="15789" y="26568"/>
                    <a:pt x="26567" y="15789"/>
                    <a:pt x="39864" y="15789"/>
                  </a:cubicBezTo>
                  <a:cubicBezTo>
                    <a:pt x="53160" y="15789"/>
                    <a:pt x="63939" y="26568"/>
                    <a:pt x="63939"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8" name="Freeform: Shape 2097">
              <a:extLst>
                <a:ext uri="{FF2B5EF4-FFF2-40B4-BE49-F238E27FC236}">
                  <a16:creationId xmlns:a16="http://schemas.microsoft.com/office/drawing/2014/main" id="{958A1158-4EAA-4EBB-8787-BE8B8792BD21}"/>
                </a:ext>
              </a:extLst>
            </p:cNvPr>
            <p:cNvSpPr/>
            <p:nvPr/>
          </p:nvSpPr>
          <p:spPr>
            <a:xfrm>
              <a:off x="6480993" y="2489855"/>
              <a:ext cx="70810" cy="70810"/>
            </a:xfrm>
            <a:custGeom>
              <a:avLst/>
              <a:gdLst>
                <a:gd name="connsiteX0" fmla="*/ 39864 w 70809"/>
                <a:gd name="connsiteY0" fmla="*/ 63939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40" y="52610"/>
                    <a:pt x="63940" y="39864"/>
                  </a:cubicBezTo>
                  <a:cubicBezTo>
                    <a:pt x="63940" y="27119"/>
                    <a:pt x="52610" y="15789"/>
                    <a:pt x="39864" y="15789"/>
                  </a:cubicBezTo>
                  <a:cubicBezTo>
                    <a:pt x="27119" y="15789"/>
                    <a:pt x="15789" y="27119"/>
                    <a:pt x="15789" y="39864"/>
                  </a:cubicBezTo>
                  <a:cubicBezTo>
                    <a:pt x="15789" y="52610"/>
                    <a:pt x="27119" y="63939"/>
                    <a:pt x="3986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099" name="Freeform: Shape 2098">
              <a:extLst>
                <a:ext uri="{FF2B5EF4-FFF2-40B4-BE49-F238E27FC236}">
                  <a16:creationId xmlns:a16="http://schemas.microsoft.com/office/drawing/2014/main" id="{664D6854-3E2B-4886-BD5D-D56E2F4205CE}"/>
                </a:ext>
              </a:extLst>
            </p:cNvPr>
            <p:cNvSpPr/>
            <p:nvPr/>
          </p:nvSpPr>
          <p:spPr>
            <a:xfrm>
              <a:off x="7249985" y="1329994"/>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0" name="Freeform: Shape 2099">
              <a:extLst>
                <a:ext uri="{FF2B5EF4-FFF2-40B4-BE49-F238E27FC236}">
                  <a16:creationId xmlns:a16="http://schemas.microsoft.com/office/drawing/2014/main" id="{E591CC15-89B1-4866-B9D5-6CEC7E1FA095}"/>
                </a:ext>
              </a:extLst>
            </p:cNvPr>
            <p:cNvSpPr/>
            <p:nvPr/>
          </p:nvSpPr>
          <p:spPr>
            <a:xfrm>
              <a:off x="7119695" y="1313000"/>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1" y="49778"/>
                    <a:pt x="49778" y="42697"/>
                    <a:pt x="49778" y="32783"/>
                  </a:cubicBezTo>
                  <a:cubicBezTo>
                    <a:pt x="49778" y="22870"/>
                    <a:pt x="42697" y="15789"/>
                    <a:pt x="32783" y="15789"/>
                  </a:cubicBezTo>
                  <a:cubicBezTo>
                    <a:pt x="24286"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1" name="Freeform: Shape 2100">
              <a:extLst>
                <a:ext uri="{FF2B5EF4-FFF2-40B4-BE49-F238E27FC236}">
                  <a16:creationId xmlns:a16="http://schemas.microsoft.com/office/drawing/2014/main" id="{F84FE36E-8B73-4B8C-863F-4DE3605EF620}"/>
                </a:ext>
              </a:extLst>
            </p:cNvPr>
            <p:cNvSpPr/>
            <p:nvPr/>
          </p:nvSpPr>
          <p:spPr>
            <a:xfrm>
              <a:off x="7058799" y="1744938"/>
              <a:ext cx="56648" cy="56648"/>
            </a:xfrm>
            <a:custGeom>
              <a:avLst/>
              <a:gdLst>
                <a:gd name="connsiteX0" fmla="*/ 52610 w 56647"/>
                <a:gd name="connsiteY0" fmla="*/ 34199 h 56647"/>
                <a:gd name="connsiteX1" fmla="*/ 34200 w 56647"/>
                <a:gd name="connsiteY1" fmla="*/ 52610 h 56647"/>
                <a:gd name="connsiteX2" fmla="*/ 15790 w 56647"/>
                <a:gd name="connsiteY2" fmla="*/ 34199 h 56647"/>
                <a:gd name="connsiteX3" fmla="*/ 34200 w 56647"/>
                <a:gd name="connsiteY3" fmla="*/ 15789 h 56647"/>
                <a:gd name="connsiteX4" fmla="*/ 52610 w 56647"/>
                <a:gd name="connsiteY4" fmla="*/ 3419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52610" y="34199"/>
                  </a:moveTo>
                  <a:cubicBezTo>
                    <a:pt x="52610" y="44367"/>
                    <a:pt x="44367" y="52610"/>
                    <a:pt x="34200" y="52610"/>
                  </a:cubicBezTo>
                  <a:cubicBezTo>
                    <a:pt x="24032" y="52610"/>
                    <a:pt x="15790" y="44367"/>
                    <a:pt x="15790" y="34199"/>
                  </a:cubicBezTo>
                  <a:cubicBezTo>
                    <a:pt x="15790" y="24032"/>
                    <a:pt x="24032" y="15789"/>
                    <a:pt x="34200" y="15789"/>
                  </a:cubicBezTo>
                  <a:cubicBezTo>
                    <a:pt x="44367" y="15789"/>
                    <a:pt x="52610" y="24032"/>
                    <a:pt x="52610" y="341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2" name="Freeform: Shape 2101">
              <a:extLst>
                <a:ext uri="{FF2B5EF4-FFF2-40B4-BE49-F238E27FC236}">
                  <a16:creationId xmlns:a16="http://schemas.microsoft.com/office/drawing/2014/main" id="{37E1CC68-7E8C-4104-A7DC-6DD694EF6D83}"/>
                </a:ext>
              </a:extLst>
            </p:cNvPr>
            <p:cNvSpPr/>
            <p:nvPr/>
          </p:nvSpPr>
          <p:spPr>
            <a:xfrm>
              <a:off x="6949752" y="1740690"/>
              <a:ext cx="84971" cy="84971"/>
            </a:xfrm>
            <a:custGeom>
              <a:avLst/>
              <a:gdLst>
                <a:gd name="connsiteX0" fmla="*/ 78101 w 84971"/>
                <a:gd name="connsiteY0" fmla="*/ 46945 h 84971"/>
                <a:gd name="connsiteX1" fmla="*/ 46945 w 84971"/>
                <a:gd name="connsiteY1" fmla="*/ 78101 h 84971"/>
                <a:gd name="connsiteX2" fmla="*/ 15788 w 84971"/>
                <a:gd name="connsiteY2" fmla="*/ 46945 h 84971"/>
                <a:gd name="connsiteX3" fmla="*/ 46945 w 84971"/>
                <a:gd name="connsiteY3" fmla="*/ 15789 h 84971"/>
                <a:gd name="connsiteX4" fmla="*/ 78101 w 84971"/>
                <a:gd name="connsiteY4" fmla="*/ 46945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78101" y="46945"/>
                  </a:moveTo>
                  <a:cubicBezTo>
                    <a:pt x="78101" y="64152"/>
                    <a:pt x="64152" y="78101"/>
                    <a:pt x="46945" y="78101"/>
                  </a:cubicBezTo>
                  <a:cubicBezTo>
                    <a:pt x="29738" y="78101"/>
                    <a:pt x="15788" y="64152"/>
                    <a:pt x="15788" y="46945"/>
                  </a:cubicBezTo>
                  <a:cubicBezTo>
                    <a:pt x="15788" y="29738"/>
                    <a:pt x="29738" y="15789"/>
                    <a:pt x="46945" y="15789"/>
                  </a:cubicBezTo>
                  <a:cubicBezTo>
                    <a:pt x="64152" y="15789"/>
                    <a:pt x="78101" y="29738"/>
                    <a:pt x="78101"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3" name="Freeform: Shape 2102">
              <a:extLst>
                <a:ext uri="{FF2B5EF4-FFF2-40B4-BE49-F238E27FC236}">
                  <a16:creationId xmlns:a16="http://schemas.microsoft.com/office/drawing/2014/main" id="{542F2F39-E97E-4334-9844-C7DD3CB545BF}"/>
                </a:ext>
              </a:extLst>
            </p:cNvPr>
            <p:cNvSpPr/>
            <p:nvPr/>
          </p:nvSpPr>
          <p:spPr>
            <a:xfrm>
              <a:off x="8633604" y="1630227"/>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7" y="15789"/>
                    <a:pt x="15789" y="22870"/>
                    <a:pt x="15789" y="32783"/>
                  </a:cubicBezTo>
                  <a:cubicBezTo>
                    <a:pt x="17206" y="42697"/>
                    <a:pt x="24287"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4" name="Freeform: Shape 2103">
              <a:extLst>
                <a:ext uri="{FF2B5EF4-FFF2-40B4-BE49-F238E27FC236}">
                  <a16:creationId xmlns:a16="http://schemas.microsoft.com/office/drawing/2014/main" id="{98325D6E-2748-4ECF-8B83-F689E2D7C0C9}"/>
                </a:ext>
              </a:extLst>
            </p:cNvPr>
            <p:cNvSpPr/>
            <p:nvPr/>
          </p:nvSpPr>
          <p:spPr>
            <a:xfrm>
              <a:off x="7953832" y="1039675"/>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4200" y="38448"/>
                    <a:pt x="38448" y="32783"/>
                    <a:pt x="38448" y="27119"/>
                  </a:cubicBezTo>
                  <a:cubicBezTo>
                    <a:pt x="38448" y="20038"/>
                    <a:pt x="32783" y="15789"/>
                    <a:pt x="27119" y="15789"/>
                  </a:cubicBezTo>
                  <a:cubicBezTo>
                    <a:pt x="20038" y="15789"/>
                    <a:pt x="15789" y="21454"/>
                    <a:pt x="15789" y="27119"/>
                  </a:cubicBezTo>
                  <a:cubicBezTo>
                    <a:pt x="15789" y="34199"/>
                    <a:pt x="21454"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5" name="Freeform: Shape 2104">
              <a:extLst>
                <a:ext uri="{FF2B5EF4-FFF2-40B4-BE49-F238E27FC236}">
                  <a16:creationId xmlns:a16="http://schemas.microsoft.com/office/drawing/2014/main" id="{038EFB0A-CC0D-4557-A71B-4D85E2F597DF}"/>
                </a:ext>
              </a:extLst>
            </p:cNvPr>
            <p:cNvSpPr/>
            <p:nvPr/>
          </p:nvSpPr>
          <p:spPr>
            <a:xfrm>
              <a:off x="8470742" y="87964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7" y="15789"/>
                    <a:pt x="15789" y="22870"/>
                    <a:pt x="15789" y="32783"/>
                  </a:cubicBezTo>
                  <a:cubicBezTo>
                    <a:pt x="17206" y="42697"/>
                    <a:pt x="24287"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6" name="Freeform: Shape 2105">
              <a:extLst>
                <a:ext uri="{FF2B5EF4-FFF2-40B4-BE49-F238E27FC236}">
                  <a16:creationId xmlns:a16="http://schemas.microsoft.com/office/drawing/2014/main" id="{E6AD080D-1141-4B17-878F-18DD16BE373C}"/>
                </a:ext>
              </a:extLst>
            </p:cNvPr>
            <p:cNvSpPr/>
            <p:nvPr/>
          </p:nvSpPr>
          <p:spPr>
            <a:xfrm>
              <a:off x="8299383" y="1157219"/>
              <a:ext cx="56648" cy="56648"/>
            </a:xfrm>
            <a:custGeom>
              <a:avLst/>
              <a:gdLst>
                <a:gd name="connsiteX0" fmla="*/ 32783 w 56647"/>
                <a:gd name="connsiteY0" fmla="*/ 49778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7" y="42697"/>
                    <a:pt x="49777" y="32783"/>
                  </a:cubicBezTo>
                  <a:cubicBezTo>
                    <a:pt x="49777" y="24286"/>
                    <a:pt x="42696" y="15789"/>
                    <a:pt x="32783" y="15789"/>
                  </a:cubicBezTo>
                  <a:cubicBezTo>
                    <a:pt x="24286"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7" name="Freeform: Shape 2106">
              <a:extLst>
                <a:ext uri="{FF2B5EF4-FFF2-40B4-BE49-F238E27FC236}">
                  <a16:creationId xmlns:a16="http://schemas.microsoft.com/office/drawing/2014/main" id="{EA6DA9C4-0147-4D8D-9DE2-009CF05F2C93}"/>
                </a:ext>
              </a:extLst>
            </p:cNvPr>
            <p:cNvSpPr/>
            <p:nvPr/>
          </p:nvSpPr>
          <p:spPr>
            <a:xfrm>
              <a:off x="7527559" y="1696788"/>
              <a:ext cx="42486" cy="42486"/>
            </a:xfrm>
            <a:custGeom>
              <a:avLst/>
              <a:gdLst>
                <a:gd name="connsiteX0" fmla="*/ 32783 w 42485"/>
                <a:gd name="connsiteY0" fmla="*/ 24286 h 42485"/>
                <a:gd name="connsiteX1" fmla="*/ 24286 w 42485"/>
                <a:gd name="connsiteY1" fmla="*/ 32783 h 42485"/>
                <a:gd name="connsiteX2" fmla="*/ 15789 w 42485"/>
                <a:gd name="connsiteY2" fmla="*/ 24286 h 42485"/>
                <a:gd name="connsiteX3" fmla="*/ 24286 w 42485"/>
                <a:gd name="connsiteY3" fmla="*/ 15789 h 42485"/>
                <a:gd name="connsiteX4" fmla="*/ 32783 w 42485"/>
                <a:gd name="connsiteY4" fmla="*/ 2428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3" y="24286"/>
                  </a:moveTo>
                  <a:cubicBezTo>
                    <a:pt x="32783" y="28979"/>
                    <a:pt x="28979" y="32783"/>
                    <a:pt x="24286" y="32783"/>
                  </a:cubicBezTo>
                  <a:cubicBezTo>
                    <a:pt x="19593" y="32783"/>
                    <a:pt x="15789" y="28979"/>
                    <a:pt x="15789" y="24286"/>
                  </a:cubicBezTo>
                  <a:cubicBezTo>
                    <a:pt x="15789" y="19593"/>
                    <a:pt x="19593" y="15789"/>
                    <a:pt x="24286" y="15789"/>
                  </a:cubicBezTo>
                  <a:cubicBezTo>
                    <a:pt x="28979" y="15789"/>
                    <a:pt x="32783" y="19593"/>
                    <a:pt x="32783"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8" name="Freeform: Shape 2107">
              <a:extLst>
                <a:ext uri="{FF2B5EF4-FFF2-40B4-BE49-F238E27FC236}">
                  <a16:creationId xmlns:a16="http://schemas.microsoft.com/office/drawing/2014/main" id="{3398BD9A-E113-49C9-BD4C-FEFDEE2A5DEF}"/>
                </a:ext>
              </a:extLst>
            </p:cNvPr>
            <p:cNvSpPr/>
            <p:nvPr/>
          </p:nvSpPr>
          <p:spPr>
            <a:xfrm>
              <a:off x="9847280" y="5526168"/>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1280"/>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09" name="Freeform: Shape 2108">
              <a:extLst>
                <a:ext uri="{FF2B5EF4-FFF2-40B4-BE49-F238E27FC236}">
                  <a16:creationId xmlns:a16="http://schemas.microsoft.com/office/drawing/2014/main" id="{B3D43372-CBFA-46CE-851D-A2B6489C3B91}"/>
                </a:ext>
              </a:extLst>
            </p:cNvPr>
            <p:cNvSpPr/>
            <p:nvPr/>
          </p:nvSpPr>
          <p:spPr>
            <a:xfrm>
              <a:off x="9226988" y="5316571"/>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8"/>
                    <a:pt x="28534" y="15789"/>
                    <a:pt x="24286" y="15789"/>
                  </a:cubicBezTo>
                  <a:cubicBezTo>
                    <a:pt x="20037" y="15789"/>
                    <a:pt x="15789" y="20038"/>
                    <a:pt x="15789" y="24286"/>
                  </a:cubicBezTo>
                  <a:cubicBezTo>
                    <a:pt x="15789" y="28535"/>
                    <a:pt x="18622"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0" name="Freeform: Shape 2109">
              <a:extLst>
                <a:ext uri="{FF2B5EF4-FFF2-40B4-BE49-F238E27FC236}">
                  <a16:creationId xmlns:a16="http://schemas.microsoft.com/office/drawing/2014/main" id="{177C6424-117D-4A9D-9D21-2C5A9F2D6D2D}"/>
                </a:ext>
              </a:extLst>
            </p:cNvPr>
            <p:cNvSpPr/>
            <p:nvPr/>
          </p:nvSpPr>
          <p:spPr>
            <a:xfrm>
              <a:off x="9192999" y="5157958"/>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7"/>
                    <a:pt x="28535" y="15789"/>
                    <a:pt x="24287" y="15789"/>
                  </a:cubicBezTo>
                  <a:cubicBezTo>
                    <a:pt x="20037" y="15789"/>
                    <a:pt x="15789" y="20037"/>
                    <a:pt x="15789" y="24286"/>
                  </a:cubicBezTo>
                  <a:cubicBezTo>
                    <a:pt x="15789" y="29951"/>
                    <a:pt x="18622" y="32783"/>
                    <a:pt x="24287"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1" name="Freeform: Shape 2110">
              <a:extLst>
                <a:ext uri="{FF2B5EF4-FFF2-40B4-BE49-F238E27FC236}">
                  <a16:creationId xmlns:a16="http://schemas.microsoft.com/office/drawing/2014/main" id="{EBBBF903-49C6-41AF-BF81-190647C3965E}"/>
                </a:ext>
              </a:extLst>
            </p:cNvPr>
            <p:cNvSpPr/>
            <p:nvPr/>
          </p:nvSpPr>
          <p:spPr>
            <a:xfrm>
              <a:off x="9647597" y="5459607"/>
              <a:ext cx="42486" cy="42486"/>
            </a:xfrm>
            <a:custGeom>
              <a:avLst/>
              <a:gdLst>
                <a:gd name="connsiteX0" fmla="*/ 32783 w 42485"/>
                <a:gd name="connsiteY0" fmla="*/ 24286 h 42485"/>
                <a:gd name="connsiteX1" fmla="*/ 24286 w 42485"/>
                <a:gd name="connsiteY1" fmla="*/ 32783 h 42485"/>
                <a:gd name="connsiteX2" fmla="*/ 15789 w 42485"/>
                <a:gd name="connsiteY2" fmla="*/ 24286 h 42485"/>
                <a:gd name="connsiteX3" fmla="*/ 24286 w 42485"/>
                <a:gd name="connsiteY3" fmla="*/ 15789 h 42485"/>
                <a:gd name="connsiteX4" fmla="*/ 32783 w 42485"/>
                <a:gd name="connsiteY4" fmla="*/ 2428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3" y="24286"/>
                  </a:moveTo>
                  <a:cubicBezTo>
                    <a:pt x="32783" y="28979"/>
                    <a:pt x="28979" y="32783"/>
                    <a:pt x="24286" y="32783"/>
                  </a:cubicBezTo>
                  <a:cubicBezTo>
                    <a:pt x="19593" y="32783"/>
                    <a:pt x="15789" y="28979"/>
                    <a:pt x="15789" y="24286"/>
                  </a:cubicBezTo>
                  <a:cubicBezTo>
                    <a:pt x="15789" y="19594"/>
                    <a:pt x="19593" y="15789"/>
                    <a:pt x="24286" y="15789"/>
                  </a:cubicBezTo>
                  <a:cubicBezTo>
                    <a:pt x="28979" y="15789"/>
                    <a:pt x="32783" y="19593"/>
                    <a:pt x="32783"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2" name="Freeform: Shape 2111">
              <a:extLst>
                <a:ext uri="{FF2B5EF4-FFF2-40B4-BE49-F238E27FC236}">
                  <a16:creationId xmlns:a16="http://schemas.microsoft.com/office/drawing/2014/main" id="{71210B01-C49C-4C06-8821-B7D55CBC1BD7}"/>
                </a:ext>
              </a:extLst>
            </p:cNvPr>
            <p:cNvSpPr/>
            <p:nvPr/>
          </p:nvSpPr>
          <p:spPr>
            <a:xfrm>
              <a:off x="10299045" y="512821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7"/>
                    <a:pt x="28534" y="15789"/>
                    <a:pt x="24286" y="15789"/>
                  </a:cubicBezTo>
                  <a:cubicBezTo>
                    <a:pt x="20037" y="15789"/>
                    <a:pt x="15789" y="20037"/>
                    <a:pt x="15789" y="24286"/>
                  </a:cubicBezTo>
                  <a:cubicBezTo>
                    <a:pt x="15789" y="28535"/>
                    <a:pt x="18621"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3" name="Freeform: Shape 2112">
              <a:extLst>
                <a:ext uri="{FF2B5EF4-FFF2-40B4-BE49-F238E27FC236}">
                  <a16:creationId xmlns:a16="http://schemas.microsoft.com/office/drawing/2014/main" id="{0082226F-15D4-4845-B03E-DFA0B309B5FF}"/>
                </a:ext>
              </a:extLst>
            </p:cNvPr>
            <p:cNvSpPr/>
            <p:nvPr/>
          </p:nvSpPr>
          <p:spPr>
            <a:xfrm>
              <a:off x="10001645" y="5718769"/>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8"/>
                    <a:pt x="28534" y="15789"/>
                    <a:pt x="24286" y="15789"/>
                  </a:cubicBezTo>
                  <a:cubicBezTo>
                    <a:pt x="20037" y="15789"/>
                    <a:pt x="15789" y="20038"/>
                    <a:pt x="15789" y="24286"/>
                  </a:cubicBezTo>
                  <a:cubicBezTo>
                    <a:pt x="15789" y="29951"/>
                    <a:pt x="18621"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4" name="Freeform: Shape 2113">
              <a:extLst>
                <a:ext uri="{FF2B5EF4-FFF2-40B4-BE49-F238E27FC236}">
                  <a16:creationId xmlns:a16="http://schemas.microsoft.com/office/drawing/2014/main" id="{2C1F8F18-A536-4E31-A686-F82B2B0ABC22}"/>
                </a:ext>
              </a:extLst>
            </p:cNvPr>
            <p:cNvSpPr/>
            <p:nvPr/>
          </p:nvSpPr>
          <p:spPr>
            <a:xfrm>
              <a:off x="10253727" y="5543162"/>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8"/>
                    <a:pt x="28534" y="15789"/>
                    <a:pt x="24286" y="15789"/>
                  </a:cubicBezTo>
                  <a:cubicBezTo>
                    <a:pt x="20037" y="15789"/>
                    <a:pt x="15789" y="20038"/>
                    <a:pt x="15789" y="24286"/>
                  </a:cubicBezTo>
                  <a:cubicBezTo>
                    <a:pt x="17205"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5" name="Freeform: Shape 2114">
              <a:extLst>
                <a:ext uri="{FF2B5EF4-FFF2-40B4-BE49-F238E27FC236}">
                  <a16:creationId xmlns:a16="http://schemas.microsoft.com/office/drawing/2014/main" id="{729D7D69-0C5B-4521-B0D7-4761246D5B4F}"/>
                </a:ext>
              </a:extLst>
            </p:cNvPr>
            <p:cNvSpPr/>
            <p:nvPr/>
          </p:nvSpPr>
          <p:spPr>
            <a:xfrm>
              <a:off x="10001645" y="5275502"/>
              <a:ext cx="56648" cy="56648"/>
            </a:xfrm>
            <a:custGeom>
              <a:avLst/>
              <a:gdLst>
                <a:gd name="connsiteX0" fmla="*/ 28534 w 56647"/>
                <a:gd name="connsiteY0" fmla="*/ 41280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0"/>
                  </a:moveTo>
                  <a:cubicBezTo>
                    <a:pt x="35615" y="41280"/>
                    <a:pt x="41280" y="35616"/>
                    <a:pt x="41280" y="28535"/>
                  </a:cubicBezTo>
                  <a:cubicBezTo>
                    <a:pt x="41280" y="21454"/>
                    <a:pt x="35615" y="15789"/>
                    <a:pt x="28534" y="15789"/>
                  </a:cubicBezTo>
                  <a:cubicBezTo>
                    <a:pt x="21453" y="15789"/>
                    <a:pt x="15789" y="21454"/>
                    <a:pt x="15789" y="28535"/>
                  </a:cubicBezTo>
                  <a:cubicBezTo>
                    <a:pt x="15789" y="35616"/>
                    <a:pt x="21453" y="41280"/>
                    <a:pt x="28534"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6" name="Freeform: Shape 2115">
              <a:extLst>
                <a:ext uri="{FF2B5EF4-FFF2-40B4-BE49-F238E27FC236}">
                  <a16:creationId xmlns:a16="http://schemas.microsoft.com/office/drawing/2014/main" id="{FC4A94BE-BFE7-4E35-A170-18C1DF4175D9}"/>
                </a:ext>
              </a:extLst>
            </p:cNvPr>
            <p:cNvSpPr/>
            <p:nvPr/>
          </p:nvSpPr>
          <p:spPr>
            <a:xfrm>
              <a:off x="9328954" y="5081484"/>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7" name="Freeform: Shape 2116">
              <a:extLst>
                <a:ext uri="{FF2B5EF4-FFF2-40B4-BE49-F238E27FC236}">
                  <a16:creationId xmlns:a16="http://schemas.microsoft.com/office/drawing/2014/main" id="{D74B442C-93F4-4784-9635-BFD0E6BC924E}"/>
                </a:ext>
              </a:extLst>
            </p:cNvPr>
            <p:cNvSpPr/>
            <p:nvPr/>
          </p:nvSpPr>
          <p:spPr>
            <a:xfrm>
              <a:off x="9496065" y="4904460"/>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8" name="Freeform: Shape 2117">
              <a:extLst>
                <a:ext uri="{FF2B5EF4-FFF2-40B4-BE49-F238E27FC236}">
                  <a16:creationId xmlns:a16="http://schemas.microsoft.com/office/drawing/2014/main" id="{799C1A40-42C9-4BFB-BD73-23346C8D46BE}"/>
                </a:ext>
              </a:extLst>
            </p:cNvPr>
            <p:cNvSpPr/>
            <p:nvPr/>
          </p:nvSpPr>
          <p:spPr>
            <a:xfrm>
              <a:off x="9474822" y="5527584"/>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19" name="Freeform: Shape 2118">
              <a:extLst>
                <a:ext uri="{FF2B5EF4-FFF2-40B4-BE49-F238E27FC236}">
                  <a16:creationId xmlns:a16="http://schemas.microsoft.com/office/drawing/2014/main" id="{68F7B0E3-A79B-4BB2-A545-07317B7BA427}"/>
                </a:ext>
              </a:extLst>
            </p:cNvPr>
            <p:cNvSpPr/>
            <p:nvPr/>
          </p:nvSpPr>
          <p:spPr>
            <a:xfrm>
              <a:off x="9504562" y="5329317"/>
              <a:ext cx="42486" cy="42486"/>
            </a:xfrm>
            <a:custGeom>
              <a:avLst/>
              <a:gdLst>
                <a:gd name="connsiteX0" fmla="*/ 21454 w 42485"/>
                <a:gd name="connsiteY0" fmla="*/ 27119 h 42485"/>
                <a:gd name="connsiteX1" fmla="*/ 27118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7" y="27119"/>
                    <a:pt x="27118" y="24286"/>
                    <a:pt x="27118" y="21454"/>
                  </a:cubicBezTo>
                  <a:cubicBezTo>
                    <a:pt x="27118" y="18622"/>
                    <a:pt x="24287" y="15789"/>
                    <a:pt x="21454" y="15789"/>
                  </a:cubicBezTo>
                  <a:cubicBezTo>
                    <a:pt x="18622" y="15789"/>
                    <a:pt x="15789" y="18622"/>
                    <a:pt x="15789" y="21454"/>
                  </a:cubicBezTo>
                  <a:cubicBezTo>
                    <a:pt x="15789" y="24286"/>
                    <a:pt x="18622"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0" name="Freeform: Shape 2119">
              <a:extLst>
                <a:ext uri="{FF2B5EF4-FFF2-40B4-BE49-F238E27FC236}">
                  <a16:creationId xmlns:a16="http://schemas.microsoft.com/office/drawing/2014/main" id="{0A898074-DF54-4D49-BD02-046915E747F1}"/>
                </a:ext>
              </a:extLst>
            </p:cNvPr>
            <p:cNvSpPr/>
            <p:nvPr/>
          </p:nvSpPr>
          <p:spPr>
            <a:xfrm>
              <a:off x="9263809" y="5503509"/>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1" name="Freeform: Shape 2120">
              <a:extLst>
                <a:ext uri="{FF2B5EF4-FFF2-40B4-BE49-F238E27FC236}">
                  <a16:creationId xmlns:a16="http://schemas.microsoft.com/office/drawing/2014/main" id="{F7CCDE29-C528-40FE-BFEF-79980B5C5FFF}"/>
                </a:ext>
              </a:extLst>
            </p:cNvPr>
            <p:cNvSpPr/>
            <p:nvPr/>
          </p:nvSpPr>
          <p:spPr>
            <a:xfrm>
              <a:off x="9661759" y="5054576"/>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2" name="Freeform: Shape 2121">
              <a:extLst>
                <a:ext uri="{FF2B5EF4-FFF2-40B4-BE49-F238E27FC236}">
                  <a16:creationId xmlns:a16="http://schemas.microsoft.com/office/drawing/2014/main" id="{51864622-5DE7-4ABB-9E99-F5CF1EEB105B}"/>
                </a:ext>
              </a:extLst>
            </p:cNvPr>
            <p:cNvSpPr/>
            <p:nvPr/>
          </p:nvSpPr>
          <p:spPr>
            <a:xfrm>
              <a:off x="9874188" y="5186282"/>
              <a:ext cx="56648" cy="56648"/>
            </a:xfrm>
            <a:custGeom>
              <a:avLst/>
              <a:gdLst>
                <a:gd name="connsiteX0" fmla="*/ 28534 w 56647"/>
                <a:gd name="connsiteY0" fmla="*/ 41280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0"/>
                  </a:moveTo>
                  <a:cubicBezTo>
                    <a:pt x="35615" y="41280"/>
                    <a:pt x="41280" y="35616"/>
                    <a:pt x="41280" y="28535"/>
                  </a:cubicBezTo>
                  <a:cubicBezTo>
                    <a:pt x="41280" y="21454"/>
                    <a:pt x="35615" y="15789"/>
                    <a:pt x="28534" y="15789"/>
                  </a:cubicBezTo>
                  <a:cubicBezTo>
                    <a:pt x="21453" y="15789"/>
                    <a:pt x="15789" y="21454"/>
                    <a:pt x="15789" y="28535"/>
                  </a:cubicBezTo>
                  <a:cubicBezTo>
                    <a:pt x="15789" y="35616"/>
                    <a:pt x="21453" y="41280"/>
                    <a:pt x="28534"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3" name="Freeform: Shape 2122">
              <a:extLst>
                <a:ext uri="{FF2B5EF4-FFF2-40B4-BE49-F238E27FC236}">
                  <a16:creationId xmlns:a16="http://schemas.microsoft.com/office/drawing/2014/main" id="{6460A1DE-9FA5-4A64-8673-FF2DF88CA6EA}"/>
                </a:ext>
              </a:extLst>
            </p:cNvPr>
            <p:cNvSpPr/>
            <p:nvPr/>
          </p:nvSpPr>
          <p:spPr>
            <a:xfrm>
              <a:off x="9457827" y="4648130"/>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7" y="15789"/>
                    <a:pt x="15789" y="20037"/>
                    <a:pt x="15789" y="25702"/>
                  </a:cubicBezTo>
                  <a:cubicBezTo>
                    <a:pt x="17205" y="31367"/>
                    <a:pt x="21454"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4" name="Freeform: Shape 2123">
              <a:extLst>
                <a:ext uri="{FF2B5EF4-FFF2-40B4-BE49-F238E27FC236}">
                  <a16:creationId xmlns:a16="http://schemas.microsoft.com/office/drawing/2014/main" id="{DBCA5916-86D2-4A7B-A626-CBA404BC6CA4}"/>
                </a:ext>
              </a:extLst>
            </p:cNvPr>
            <p:cNvSpPr/>
            <p:nvPr/>
          </p:nvSpPr>
          <p:spPr>
            <a:xfrm>
              <a:off x="9285052" y="5533249"/>
              <a:ext cx="70810" cy="70810"/>
            </a:xfrm>
            <a:custGeom>
              <a:avLst/>
              <a:gdLst>
                <a:gd name="connsiteX0" fmla="*/ 38449 w 70809"/>
                <a:gd name="connsiteY0" fmla="*/ 61107 h 70809"/>
                <a:gd name="connsiteX1" fmla="*/ 61107 w 70809"/>
                <a:gd name="connsiteY1" fmla="*/ 38448 h 70809"/>
                <a:gd name="connsiteX2" fmla="*/ 38449 w 70809"/>
                <a:gd name="connsiteY2" fmla="*/ 15789 h 70809"/>
                <a:gd name="connsiteX3" fmla="*/ 15789 w 70809"/>
                <a:gd name="connsiteY3" fmla="*/ 38448 h 70809"/>
                <a:gd name="connsiteX4" fmla="*/ 38449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9" y="61107"/>
                  </a:moveTo>
                  <a:cubicBezTo>
                    <a:pt x="51194" y="61107"/>
                    <a:pt x="61107" y="51194"/>
                    <a:pt x="61107" y="38448"/>
                  </a:cubicBezTo>
                  <a:cubicBezTo>
                    <a:pt x="61107" y="25702"/>
                    <a:pt x="51194" y="15789"/>
                    <a:pt x="38449" y="15789"/>
                  </a:cubicBezTo>
                  <a:cubicBezTo>
                    <a:pt x="25703" y="15789"/>
                    <a:pt x="15789" y="25702"/>
                    <a:pt x="15789" y="38448"/>
                  </a:cubicBezTo>
                  <a:cubicBezTo>
                    <a:pt x="15789" y="51194"/>
                    <a:pt x="25703" y="61107"/>
                    <a:pt x="38449"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5" name="Freeform: Shape 2124">
              <a:extLst>
                <a:ext uri="{FF2B5EF4-FFF2-40B4-BE49-F238E27FC236}">
                  <a16:creationId xmlns:a16="http://schemas.microsoft.com/office/drawing/2014/main" id="{4DCC1D02-EA75-4CC1-9FE7-4938E71F411A}"/>
                </a:ext>
              </a:extLst>
            </p:cNvPr>
            <p:cNvSpPr/>
            <p:nvPr/>
          </p:nvSpPr>
          <p:spPr>
            <a:xfrm>
              <a:off x="9959160" y="5536081"/>
              <a:ext cx="127457" cy="127457"/>
            </a:xfrm>
            <a:custGeom>
              <a:avLst/>
              <a:gdLst>
                <a:gd name="connsiteX0" fmla="*/ 65356 w 127457"/>
                <a:gd name="connsiteY0" fmla="*/ 114922 h 127457"/>
                <a:gd name="connsiteX1" fmla="*/ 114922 w 127457"/>
                <a:gd name="connsiteY1" fmla="*/ 65356 h 127457"/>
                <a:gd name="connsiteX2" fmla="*/ 65356 w 127457"/>
                <a:gd name="connsiteY2" fmla="*/ 15789 h 127457"/>
                <a:gd name="connsiteX3" fmla="*/ 15789 w 127457"/>
                <a:gd name="connsiteY3" fmla="*/ 65356 h 127457"/>
                <a:gd name="connsiteX4" fmla="*/ 65356 w 127457"/>
                <a:gd name="connsiteY4" fmla="*/ 114922 h 127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57" h="127457">
                  <a:moveTo>
                    <a:pt x="65356" y="114922"/>
                  </a:moveTo>
                  <a:cubicBezTo>
                    <a:pt x="92263" y="114922"/>
                    <a:pt x="114922" y="92263"/>
                    <a:pt x="114922" y="65356"/>
                  </a:cubicBezTo>
                  <a:cubicBezTo>
                    <a:pt x="114922" y="38448"/>
                    <a:pt x="92263" y="15789"/>
                    <a:pt x="65356" y="15789"/>
                  </a:cubicBezTo>
                  <a:cubicBezTo>
                    <a:pt x="38448" y="15789"/>
                    <a:pt x="15789" y="38448"/>
                    <a:pt x="15789" y="65356"/>
                  </a:cubicBezTo>
                  <a:cubicBezTo>
                    <a:pt x="15789" y="92263"/>
                    <a:pt x="38448" y="114922"/>
                    <a:pt x="65356" y="11492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6" name="Freeform: Shape 2125">
              <a:extLst>
                <a:ext uri="{FF2B5EF4-FFF2-40B4-BE49-F238E27FC236}">
                  <a16:creationId xmlns:a16="http://schemas.microsoft.com/office/drawing/2014/main" id="{967D1EDB-F238-43F9-9E9C-D6D0A5F120C9}"/>
                </a:ext>
              </a:extLst>
            </p:cNvPr>
            <p:cNvSpPr/>
            <p:nvPr/>
          </p:nvSpPr>
          <p:spPr>
            <a:xfrm>
              <a:off x="9772222" y="4714690"/>
              <a:ext cx="70810" cy="70810"/>
            </a:xfrm>
            <a:custGeom>
              <a:avLst/>
              <a:gdLst>
                <a:gd name="connsiteX0" fmla="*/ 38448 w 70809"/>
                <a:gd name="connsiteY0" fmla="*/ 61107 h 70809"/>
                <a:gd name="connsiteX1" fmla="*/ 61107 w 70809"/>
                <a:gd name="connsiteY1" fmla="*/ 38448 h 70809"/>
                <a:gd name="connsiteX2" fmla="*/ 38448 w 70809"/>
                <a:gd name="connsiteY2" fmla="*/ 15789 h 70809"/>
                <a:gd name="connsiteX3" fmla="*/ 15789 w 70809"/>
                <a:gd name="connsiteY3" fmla="*/ 38448 h 70809"/>
                <a:gd name="connsiteX4" fmla="*/ 3844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8" y="61107"/>
                  </a:moveTo>
                  <a:cubicBezTo>
                    <a:pt x="51194" y="61107"/>
                    <a:pt x="61107" y="51194"/>
                    <a:pt x="61107" y="38448"/>
                  </a:cubicBezTo>
                  <a:cubicBezTo>
                    <a:pt x="61107" y="25703"/>
                    <a:pt x="51194" y="15789"/>
                    <a:pt x="38448" y="15789"/>
                  </a:cubicBezTo>
                  <a:cubicBezTo>
                    <a:pt x="25703" y="15789"/>
                    <a:pt x="15789" y="25703"/>
                    <a:pt x="15789" y="38448"/>
                  </a:cubicBezTo>
                  <a:cubicBezTo>
                    <a:pt x="15789" y="51194"/>
                    <a:pt x="25703" y="61107"/>
                    <a:pt x="38448"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7" name="Freeform: Shape 2126">
              <a:extLst>
                <a:ext uri="{FF2B5EF4-FFF2-40B4-BE49-F238E27FC236}">
                  <a16:creationId xmlns:a16="http://schemas.microsoft.com/office/drawing/2014/main" id="{D33D521C-1E85-4637-952C-F3E270187373}"/>
                </a:ext>
              </a:extLst>
            </p:cNvPr>
            <p:cNvSpPr/>
            <p:nvPr/>
          </p:nvSpPr>
          <p:spPr>
            <a:xfrm>
              <a:off x="10123437" y="504607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2697"/>
                    <a:pt x="49778" y="32783"/>
                  </a:cubicBezTo>
                  <a:cubicBezTo>
                    <a:pt x="49778" y="22870"/>
                    <a:pt x="42697" y="15789"/>
                    <a:pt x="32783" y="15789"/>
                  </a:cubicBezTo>
                  <a:cubicBezTo>
                    <a:pt x="22870"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8" name="Freeform: Shape 2127">
              <a:extLst>
                <a:ext uri="{FF2B5EF4-FFF2-40B4-BE49-F238E27FC236}">
                  <a16:creationId xmlns:a16="http://schemas.microsoft.com/office/drawing/2014/main" id="{9CD12075-3BCA-43DE-8ABE-4CBE15F48103}"/>
                </a:ext>
              </a:extLst>
            </p:cNvPr>
            <p:cNvSpPr/>
            <p:nvPr/>
          </p:nvSpPr>
          <p:spPr>
            <a:xfrm>
              <a:off x="9426671" y="5473769"/>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2697"/>
                    <a:pt x="24287"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29" name="Freeform: Shape 2128">
              <a:extLst>
                <a:ext uri="{FF2B5EF4-FFF2-40B4-BE49-F238E27FC236}">
                  <a16:creationId xmlns:a16="http://schemas.microsoft.com/office/drawing/2014/main" id="{A0B23FF9-C6DE-4B1B-8B6B-A0755A4B617D}"/>
                </a:ext>
              </a:extLst>
            </p:cNvPr>
            <p:cNvSpPr/>
            <p:nvPr/>
          </p:nvSpPr>
          <p:spPr>
            <a:xfrm>
              <a:off x="9401180" y="5165039"/>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2697"/>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0" name="Freeform: Shape 2129">
              <a:extLst>
                <a:ext uri="{FF2B5EF4-FFF2-40B4-BE49-F238E27FC236}">
                  <a16:creationId xmlns:a16="http://schemas.microsoft.com/office/drawing/2014/main" id="{250144BD-9399-4773-8BD5-742E6E41D1FA}"/>
                </a:ext>
              </a:extLst>
            </p:cNvPr>
            <p:cNvSpPr/>
            <p:nvPr/>
          </p:nvSpPr>
          <p:spPr>
            <a:xfrm>
              <a:off x="9214242" y="521602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2697"/>
                    <a:pt x="49778" y="32783"/>
                  </a:cubicBezTo>
                  <a:cubicBezTo>
                    <a:pt x="49778" y="22870"/>
                    <a:pt x="42697" y="15789"/>
                    <a:pt x="32783" y="15789"/>
                  </a:cubicBezTo>
                  <a:cubicBezTo>
                    <a:pt x="22870" y="15789"/>
                    <a:pt x="15789" y="22870"/>
                    <a:pt x="15789" y="32783"/>
                  </a:cubicBezTo>
                  <a:cubicBezTo>
                    <a:pt x="15789" y="42697"/>
                    <a:pt x="24287"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1" name="Freeform: Shape 2130">
              <a:extLst>
                <a:ext uri="{FF2B5EF4-FFF2-40B4-BE49-F238E27FC236}">
                  <a16:creationId xmlns:a16="http://schemas.microsoft.com/office/drawing/2014/main" id="{3A63E1BC-10D4-4EEB-BAD7-2F9F225E6DED}"/>
                </a:ext>
              </a:extLst>
            </p:cNvPr>
            <p:cNvSpPr/>
            <p:nvPr/>
          </p:nvSpPr>
          <p:spPr>
            <a:xfrm>
              <a:off x="10250895" y="5623885"/>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2697"/>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2" name="Freeform: Shape 2131">
              <a:extLst>
                <a:ext uri="{FF2B5EF4-FFF2-40B4-BE49-F238E27FC236}">
                  <a16:creationId xmlns:a16="http://schemas.microsoft.com/office/drawing/2014/main" id="{A115A667-E7A9-46BA-88B9-D2D8CF2D3EFF}"/>
                </a:ext>
              </a:extLst>
            </p:cNvPr>
            <p:cNvSpPr/>
            <p:nvPr/>
          </p:nvSpPr>
          <p:spPr>
            <a:xfrm>
              <a:off x="10216906" y="5201860"/>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2697"/>
                    <a:pt x="49778" y="32783"/>
                  </a:cubicBezTo>
                  <a:cubicBezTo>
                    <a:pt x="49778" y="22870"/>
                    <a:pt x="42697" y="15789"/>
                    <a:pt x="32783" y="15789"/>
                  </a:cubicBezTo>
                  <a:cubicBezTo>
                    <a:pt x="22870"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3" name="Freeform: Shape 2132">
              <a:extLst>
                <a:ext uri="{FF2B5EF4-FFF2-40B4-BE49-F238E27FC236}">
                  <a16:creationId xmlns:a16="http://schemas.microsoft.com/office/drawing/2014/main" id="{0CA18155-8734-429B-956A-D326BD0354A6}"/>
                </a:ext>
              </a:extLst>
            </p:cNvPr>
            <p:cNvSpPr/>
            <p:nvPr/>
          </p:nvSpPr>
          <p:spPr>
            <a:xfrm>
              <a:off x="10296213" y="5363306"/>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7"/>
                    <a:pt x="28534" y="15789"/>
                    <a:pt x="24286" y="15789"/>
                  </a:cubicBezTo>
                  <a:cubicBezTo>
                    <a:pt x="20037" y="15789"/>
                    <a:pt x="15789" y="20037"/>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4" name="Freeform: Shape 2133">
              <a:extLst>
                <a:ext uri="{FF2B5EF4-FFF2-40B4-BE49-F238E27FC236}">
                  <a16:creationId xmlns:a16="http://schemas.microsoft.com/office/drawing/2014/main" id="{5E87FCF0-C93E-4872-8CEA-8649E30AD611}"/>
                </a:ext>
              </a:extLst>
            </p:cNvPr>
            <p:cNvSpPr/>
            <p:nvPr/>
          </p:nvSpPr>
          <p:spPr>
            <a:xfrm>
              <a:off x="10072455" y="5742845"/>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7"/>
                    <a:pt x="28534" y="15789"/>
                    <a:pt x="24286" y="15789"/>
                  </a:cubicBezTo>
                  <a:cubicBezTo>
                    <a:pt x="20037" y="15789"/>
                    <a:pt x="15789" y="20037"/>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5" name="Freeform: Shape 2134">
              <a:extLst>
                <a:ext uri="{FF2B5EF4-FFF2-40B4-BE49-F238E27FC236}">
                  <a16:creationId xmlns:a16="http://schemas.microsoft.com/office/drawing/2014/main" id="{71060AA4-800F-4AD2-88FC-82323EADC19A}"/>
                </a:ext>
              </a:extLst>
            </p:cNvPr>
            <p:cNvSpPr/>
            <p:nvPr/>
          </p:nvSpPr>
          <p:spPr>
            <a:xfrm>
              <a:off x="10123437" y="5567237"/>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7"/>
                    <a:pt x="28535" y="15789"/>
                    <a:pt x="24286" y="15789"/>
                  </a:cubicBezTo>
                  <a:cubicBezTo>
                    <a:pt x="20037" y="15789"/>
                    <a:pt x="15789" y="20037"/>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6" name="Freeform: Shape 2135">
              <a:extLst>
                <a:ext uri="{FF2B5EF4-FFF2-40B4-BE49-F238E27FC236}">
                  <a16:creationId xmlns:a16="http://schemas.microsoft.com/office/drawing/2014/main" id="{D6738847-A9FE-4F7E-8695-7B0E9356989A}"/>
                </a:ext>
              </a:extLst>
            </p:cNvPr>
            <p:cNvSpPr/>
            <p:nvPr/>
          </p:nvSpPr>
          <p:spPr>
            <a:xfrm>
              <a:off x="10063957" y="4700528"/>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8"/>
                    <a:pt x="28535" y="15789"/>
                    <a:pt x="24287" y="15789"/>
                  </a:cubicBezTo>
                  <a:cubicBezTo>
                    <a:pt x="20037" y="15789"/>
                    <a:pt x="15789" y="20038"/>
                    <a:pt x="15789" y="24286"/>
                  </a:cubicBezTo>
                  <a:cubicBezTo>
                    <a:pt x="15789" y="29951"/>
                    <a:pt x="20037" y="32783"/>
                    <a:pt x="24287"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7" name="Freeform: Shape 2136">
              <a:extLst>
                <a:ext uri="{FF2B5EF4-FFF2-40B4-BE49-F238E27FC236}">
                  <a16:creationId xmlns:a16="http://schemas.microsoft.com/office/drawing/2014/main" id="{26BA2F92-DE3F-429E-924B-6A4E7ACB9A05}"/>
                </a:ext>
              </a:extLst>
            </p:cNvPr>
            <p:cNvSpPr/>
            <p:nvPr/>
          </p:nvSpPr>
          <p:spPr>
            <a:xfrm>
              <a:off x="10253727" y="5040414"/>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8"/>
                    <a:pt x="28534" y="15789"/>
                    <a:pt x="24286" y="15789"/>
                  </a:cubicBezTo>
                  <a:cubicBezTo>
                    <a:pt x="20037" y="15789"/>
                    <a:pt x="15789" y="20038"/>
                    <a:pt x="15789" y="24286"/>
                  </a:cubicBezTo>
                  <a:cubicBezTo>
                    <a:pt x="15789" y="29951"/>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8" name="Freeform: Shape 2137">
              <a:extLst>
                <a:ext uri="{FF2B5EF4-FFF2-40B4-BE49-F238E27FC236}">
                  <a16:creationId xmlns:a16="http://schemas.microsoft.com/office/drawing/2014/main" id="{A51E2E6F-B004-43D5-9741-527393266929}"/>
                </a:ext>
              </a:extLst>
            </p:cNvPr>
            <p:cNvSpPr/>
            <p:nvPr/>
          </p:nvSpPr>
          <p:spPr>
            <a:xfrm>
              <a:off x="10367022" y="5238681"/>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8"/>
                    <a:pt x="28534"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39" name="Freeform: Shape 2138">
              <a:extLst>
                <a:ext uri="{FF2B5EF4-FFF2-40B4-BE49-F238E27FC236}">
                  <a16:creationId xmlns:a16="http://schemas.microsoft.com/office/drawing/2014/main" id="{687F1A6D-2C4E-46CB-B49C-35073E0D2ED4}"/>
                </a:ext>
              </a:extLst>
            </p:cNvPr>
            <p:cNvSpPr/>
            <p:nvPr/>
          </p:nvSpPr>
          <p:spPr>
            <a:xfrm>
              <a:off x="10364190" y="5434115"/>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7"/>
                    <a:pt x="28535" y="15789"/>
                    <a:pt x="24286" y="15789"/>
                  </a:cubicBezTo>
                  <a:cubicBezTo>
                    <a:pt x="20037" y="15789"/>
                    <a:pt x="15789" y="20037"/>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0" name="Freeform: Shape 2139">
              <a:extLst>
                <a:ext uri="{FF2B5EF4-FFF2-40B4-BE49-F238E27FC236}">
                  <a16:creationId xmlns:a16="http://schemas.microsoft.com/office/drawing/2014/main" id="{8FDB6C4F-BA41-4201-8887-EB14EEEFAADC}"/>
                </a:ext>
              </a:extLst>
            </p:cNvPr>
            <p:cNvSpPr/>
            <p:nvPr/>
          </p:nvSpPr>
          <p:spPr>
            <a:xfrm>
              <a:off x="9268057" y="5057409"/>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7"/>
                    <a:pt x="28535" y="15789"/>
                    <a:pt x="24287" y="15789"/>
                  </a:cubicBezTo>
                  <a:cubicBezTo>
                    <a:pt x="20038" y="15789"/>
                    <a:pt x="15789" y="20037"/>
                    <a:pt x="15789" y="24286"/>
                  </a:cubicBezTo>
                  <a:cubicBezTo>
                    <a:pt x="15789" y="28535"/>
                    <a:pt x="20038" y="32783"/>
                    <a:pt x="24287"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1" name="Freeform: Shape 2140">
              <a:extLst>
                <a:ext uri="{FF2B5EF4-FFF2-40B4-BE49-F238E27FC236}">
                  <a16:creationId xmlns:a16="http://schemas.microsoft.com/office/drawing/2014/main" id="{D5563AA8-ECBB-4195-8906-ABC6746C1F9D}"/>
                </a:ext>
              </a:extLst>
            </p:cNvPr>
            <p:cNvSpPr/>
            <p:nvPr/>
          </p:nvSpPr>
          <p:spPr>
            <a:xfrm>
              <a:off x="9463493" y="4887466"/>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4" y="32783"/>
                    <a:pt x="32783" y="28535"/>
                    <a:pt x="32783" y="24286"/>
                  </a:cubicBezTo>
                  <a:cubicBezTo>
                    <a:pt x="32783" y="20037"/>
                    <a:pt x="28534" y="15789"/>
                    <a:pt x="24286" y="15789"/>
                  </a:cubicBezTo>
                  <a:cubicBezTo>
                    <a:pt x="20037" y="15789"/>
                    <a:pt x="15789" y="20037"/>
                    <a:pt x="15789" y="24286"/>
                  </a:cubicBezTo>
                  <a:cubicBezTo>
                    <a:pt x="15789" y="29951"/>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2" name="Freeform: Shape 2141">
              <a:extLst>
                <a:ext uri="{FF2B5EF4-FFF2-40B4-BE49-F238E27FC236}">
                  <a16:creationId xmlns:a16="http://schemas.microsoft.com/office/drawing/2014/main" id="{D4117BD1-FDCF-403D-A378-2967DCC17D63}"/>
                </a:ext>
              </a:extLst>
            </p:cNvPr>
            <p:cNvSpPr/>
            <p:nvPr/>
          </p:nvSpPr>
          <p:spPr>
            <a:xfrm>
              <a:off x="9579620" y="4808159"/>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7"/>
                    <a:pt x="28535" y="15789"/>
                    <a:pt x="24287" y="15789"/>
                  </a:cubicBezTo>
                  <a:cubicBezTo>
                    <a:pt x="20038" y="15789"/>
                    <a:pt x="15789" y="20037"/>
                    <a:pt x="15789" y="24286"/>
                  </a:cubicBezTo>
                  <a:cubicBezTo>
                    <a:pt x="15789" y="29951"/>
                    <a:pt x="20038" y="32783"/>
                    <a:pt x="24287"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3" name="Freeform: Shape 2142">
              <a:extLst>
                <a:ext uri="{FF2B5EF4-FFF2-40B4-BE49-F238E27FC236}">
                  <a16:creationId xmlns:a16="http://schemas.microsoft.com/office/drawing/2014/main" id="{B95A17B8-2C6B-4410-8969-B8B6C7A4514F}"/>
                </a:ext>
              </a:extLst>
            </p:cNvPr>
            <p:cNvSpPr/>
            <p:nvPr/>
          </p:nvSpPr>
          <p:spPr>
            <a:xfrm>
              <a:off x="9607943" y="5315155"/>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8"/>
                    <a:pt x="28535" y="15789"/>
                    <a:pt x="24287" y="15789"/>
                  </a:cubicBezTo>
                  <a:cubicBezTo>
                    <a:pt x="20038" y="15789"/>
                    <a:pt x="15789" y="20038"/>
                    <a:pt x="15789" y="24286"/>
                  </a:cubicBezTo>
                  <a:cubicBezTo>
                    <a:pt x="15789" y="28535"/>
                    <a:pt x="20038" y="32783"/>
                    <a:pt x="24287"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4" name="Freeform: Shape 2143">
              <a:extLst>
                <a:ext uri="{FF2B5EF4-FFF2-40B4-BE49-F238E27FC236}">
                  <a16:creationId xmlns:a16="http://schemas.microsoft.com/office/drawing/2014/main" id="{0143D6C8-0DB0-43E4-869E-35B15607D2E6}"/>
                </a:ext>
              </a:extLst>
            </p:cNvPr>
            <p:cNvSpPr/>
            <p:nvPr/>
          </p:nvSpPr>
          <p:spPr>
            <a:xfrm>
              <a:off x="9758060" y="5046079"/>
              <a:ext cx="42486" cy="42486"/>
            </a:xfrm>
            <a:custGeom>
              <a:avLst/>
              <a:gdLst>
                <a:gd name="connsiteX0" fmla="*/ 32784 w 42485"/>
                <a:gd name="connsiteY0" fmla="*/ 24286 h 42485"/>
                <a:gd name="connsiteX1" fmla="*/ 24287 w 42485"/>
                <a:gd name="connsiteY1" fmla="*/ 32783 h 42485"/>
                <a:gd name="connsiteX2" fmla="*/ 15790 w 42485"/>
                <a:gd name="connsiteY2" fmla="*/ 24286 h 42485"/>
                <a:gd name="connsiteX3" fmla="*/ 24287 w 42485"/>
                <a:gd name="connsiteY3" fmla="*/ 15789 h 42485"/>
                <a:gd name="connsiteX4" fmla="*/ 32784 w 42485"/>
                <a:gd name="connsiteY4" fmla="*/ 2428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4" y="24286"/>
                  </a:moveTo>
                  <a:cubicBezTo>
                    <a:pt x="32784" y="28979"/>
                    <a:pt x="28980" y="32783"/>
                    <a:pt x="24287" y="32783"/>
                  </a:cubicBezTo>
                  <a:cubicBezTo>
                    <a:pt x="19594" y="32783"/>
                    <a:pt x="15790" y="28979"/>
                    <a:pt x="15790" y="24286"/>
                  </a:cubicBezTo>
                  <a:cubicBezTo>
                    <a:pt x="15790" y="19593"/>
                    <a:pt x="19594" y="15789"/>
                    <a:pt x="24287" y="15789"/>
                  </a:cubicBezTo>
                  <a:cubicBezTo>
                    <a:pt x="28980" y="15789"/>
                    <a:pt x="32784" y="19593"/>
                    <a:pt x="32784"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5" name="Freeform: Shape 2144">
              <a:extLst>
                <a:ext uri="{FF2B5EF4-FFF2-40B4-BE49-F238E27FC236}">
                  <a16:creationId xmlns:a16="http://schemas.microsoft.com/office/drawing/2014/main" id="{417A4FF7-697A-4A2B-8FD6-AE8E9E29D6F1}"/>
                </a:ext>
              </a:extLst>
            </p:cNvPr>
            <p:cNvSpPr/>
            <p:nvPr/>
          </p:nvSpPr>
          <p:spPr>
            <a:xfrm>
              <a:off x="9412509" y="5309490"/>
              <a:ext cx="42486" cy="42486"/>
            </a:xfrm>
            <a:custGeom>
              <a:avLst/>
              <a:gdLst>
                <a:gd name="connsiteX0" fmla="*/ 32783 w 42485"/>
                <a:gd name="connsiteY0" fmla="*/ 24286 h 42485"/>
                <a:gd name="connsiteX1" fmla="*/ 24287 w 42485"/>
                <a:gd name="connsiteY1" fmla="*/ 32783 h 42485"/>
                <a:gd name="connsiteX2" fmla="*/ 15790 w 42485"/>
                <a:gd name="connsiteY2" fmla="*/ 24286 h 42485"/>
                <a:gd name="connsiteX3" fmla="*/ 24287 w 42485"/>
                <a:gd name="connsiteY3" fmla="*/ 15789 h 42485"/>
                <a:gd name="connsiteX4" fmla="*/ 32783 w 42485"/>
                <a:gd name="connsiteY4" fmla="*/ 2428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3" y="24286"/>
                  </a:moveTo>
                  <a:cubicBezTo>
                    <a:pt x="32783" y="28979"/>
                    <a:pt x="28979" y="32783"/>
                    <a:pt x="24287" y="32783"/>
                  </a:cubicBezTo>
                  <a:cubicBezTo>
                    <a:pt x="19594" y="32783"/>
                    <a:pt x="15790" y="28979"/>
                    <a:pt x="15790" y="24286"/>
                  </a:cubicBezTo>
                  <a:cubicBezTo>
                    <a:pt x="15790" y="19593"/>
                    <a:pt x="19594" y="15789"/>
                    <a:pt x="24287" y="15789"/>
                  </a:cubicBezTo>
                  <a:cubicBezTo>
                    <a:pt x="28979" y="15789"/>
                    <a:pt x="32783" y="19593"/>
                    <a:pt x="32783"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6" name="Freeform: Shape 2145">
              <a:extLst>
                <a:ext uri="{FF2B5EF4-FFF2-40B4-BE49-F238E27FC236}">
                  <a16:creationId xmlns:a16="http://schemas.microsoft.com/office/drawing/2014/main" id="{3A8013AA-B403-4222-A918-62B35192FECD}"/>
                </a:ext>
              </a:extLst>
            </p:cNvPr>
            <p:cNvSpPr/>
            <p:nvPr/>
          </p:nvSpPr>
          <p:spPr>
            <a:xfrm>
              <a:off x="9340284" y="5407207"/>
              <a:ext cx="70810" cy="70810"/>
            </a:xfrm>
            <a:custGeom>
              <a:avLst/>
              <a:gdLst>
                <a:gd name="connsiteX0" fmla="*/ 39864 w 70809"/>
                <a:gd name="connsiteY0" fmla="*/ 63940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2610" y="63940"/>
                    <a:pt x="63939" y="52610"/>
                    <a:pt x="63939" y="39864"/>
                  </a:cubicBezTo>
                  <a:cubicBezTo>
                    <a:pt x="63939" y="27119"/>
                    <a:pt x="52610" y="15789"/>
                    <a:pt x="39864" y="15789"/>
                  </a:cubicBezTo>
                  <a:cubicBezTo>
                    <a:pt x="27118" y="15789"/>
                    <a:pt x="15789" y="27119"/>
                    <a:pt x="15789" y="39864"/>
                  </a:cubicBezTo>
                  <a:cubicBezTo>
                    <a:pt x="15789" y="54026"/>
                    <a:pt x="27118"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7" name="Freeform: Shape 2146">
              <a:extLst>
                <a:ext uri="{FF2B5EF4-FFF2-40B4-BE49-F238E27FC236}">
                  <a16:creationId xmlns:a16="http://schemas.microsoft.com/office/drawing/2014/main" id="{479CE92D-38EF-40FF-BEAB-E991B9D1274E}"/>
                </a:ext>
              </a:extLst>
            </p:cNvPr>
            <p:cNvSpPr/>
            <p:nvPr/>
          </p:nvSpPr>
          <p:spPr>
            <a:xfrm>
              <a:off x="9660343" y="5271254"/>
              <a:ext cx="70810" cy="70810"/>
            </a:xfrm>
            <a:custGeom>
              <a:avLst/>
              <a:gdLst>
                <a:gd name="connsiteX0" fmla="*/ 39864 w 70809"/>
                <a:gd name="connsiteY0" fmla="*/ 63939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1" y="63939"/>
                    <a:pt x="63940" y="52610"/>
                    <a:pt x="63940" y="39864"/>
                  </a:cubicBezTo>
                  <a:cubicBezTo>
                    <a:pt x="63940" y="27118"/>
                    <a:pt x="52611" y="15789"/>
                    <a:pt x="39864" y="15789"/>
                  </a:cubicBezTo>
                  <a:cubicBezTo>
                    <a:pt x="27118" y="15789"/>
                    <a:pt x="15789" y="27118"/>
                    <a:pt x="15789" y="39864"/>
                  </a:cubicBezTo>
                  <a:cubicBezTo>
                    <a:pt x="15789" y="54026"/>
                    <a:pt x="27118" y="63939"/>
                    <a:pt x="3986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8" name="Freeform: Shape 2147">
              <a:extLst>
                <a:ext uri="{FF2B5EF4-FFF2-40B4-BE49-F238E27FC236}">
                  <a16:creationId xmlns:a16="http://schemas.microsoft.com/office/drawing/2014/main" id="{0E0DCF98-6305-4878-8D9E-18A9713636A3}"/>
                </a:ext>
              </a:extLst>
            </p:cNvPr>
            <p:cNvSpPr/>
            <p:nvPr/>
          </p:nvSpPr>
          <p:spPr>
            <a:xfrm>
              <a:off x="9613519" y="4863390"/>
              <a:ext cx="99133" cy="99133"/>
            </a:xfrm>
            <a:custGeom>
              <a:avLst/>
              <a:gdLst>
                <a:gd name="connsiteX0" fmla="*/ 49867 w 99133"/>
                <a:gd name="connsiteY0" fmla="*/ 83766 h 99133"/>
                <a:gd name="connsiteX1" fmla="*/ 83855 w 99133"/>
                <a:gd name="connsiteY1" fmla="*/ 49777 h 99133"/>
                <a:gd name="connsiteX2" fmla="*/ 49867 w 99133"/>
                <a:gd name="connsiteY2" fmla="*/ 15789 h 99133"/>
                <a:gd name="connsiteX3" fmla="*/ 15878 w 99133"/>
                <a:gd name="connsiteY3" fmla="*/ 49777 h 99133"/>
                <a:gd name="connsiteX4" fmla="*/ 49867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867" y="83766"/>
                  </a:moveTo>
                  <a:cubicBezTo>
                    <a:pt x="68278" y="83766"/>
                    <a:pt x="83855" y="68188"/>
                    <a:pt x="83855" y="49777"/>
                  </a:cubicBezTo>
                  <a:cubicBezTo>
                    <a:pt x="83855" y="31367"/>
                    <a:pt x="68278" y="15789"/>
                    <a:pt x="49867" y="15789"/>
                  </a:cubicBezTo>
                  <a:cubicBezTo>
                    <a:pt x="31456" y="15789"/>
                    <a:pt x="15878" y="31367"/>
                    <a:pt x="15878" y="49777"/>
                  </a:cubicBezTo>
                  <a:cubicBezTo>
                    <a:pt x="14463" y="68188"/>
                    <a:pt x="30040" y="83766"/>
                    <a:pt x="49867" y="8376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49" name="Freeform: Shape 2148">
              <a:extLst>
                <a:ext uri="{FF2B5EF4-FFF2-40B4-BE49-F238E27FC236}">
                  <a16:creationId xmlns:a16="http://schemas.microsoft.com/office/drawing/2014/main" id="{EBC42FC4-50DA-4368-9035-25A62C226164}"/>
                </a:ext>
              </a:extLst>
            </p:cNvPr>
            <p:cNvSpPr/>
            <p:nvPr/>
          </p:nvSpPr>
          <p:spPr>
            <a:xfrm>
              <a:off x="10119189" y="4877552"/>
              <a:ext cx="84971" cy="84971"/>
            </a:xfrm>
            <a:custGeom>
              <a:avLst/>
              <a:gdLst>
                <a:gd name="connsiteX0" fmla="*/ 42696 w 84971"/>
                <a:gd name="connsiteY0" fmla="*/ 69605 h 84971"/>
                <a:gd name="connsiteX1" fmla="*/ 69604 w 84971"/>
                <a:gd name="connsiteY1" fmla="*/ 42697 h 84971"/>
                <a:gd name="connsiteX2" fmla="*/ 42696 w 84971"/>
                <a:gd name="connsiteY2" fmla="*/ 15789 h 84971"/>
                <a:gd name="connsiteX3" fmla="*/ 15789 w 84971"/>
                <a:gd name="connsiteY3" fmla="*/ 42697 h 84971"/>
                <a:gd name="connsiteX4" fmla="*/ 42696 w 84971"/>
                <a:gd name="connsiteY4" fmla="*/ 69605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6" y="69605"/>
                  </a:moveTo>
                  <a:cubicBezTo>
                    <a:pt x="56858" y="69605"/>
                    <a:pt x="69604" y="58275"/>
                    <a:pt x="69604" y="42697"/>
                  </a:cubicBezTo>
                  <a:cubicBezTo>
                    <a:pt x="69604" y="28535"/>
                    <a:pt x="58275" y="15789"/>
                    <a:pt x="42696" y="15789"/>
                  </a:cubicBezTo>
                  <a:cubicBezTo>
                    <a:pt x="28534" y="15789"/>
                    <a:pt x="15789" y="27119"/>
                    <a:pt x="15789" y="42697"/>
                  </a:cubicBezTo>
                  <a:cubicBezTo>
                    <a:pt x="15789" y="58275"/>
                    <a:pt x="28534" y="69605"/>
                    <a:pt x="42696" y="6960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0" name="Freeform: Shape 2149">
              <a:extLst>
                <a:ext uri="{FF2B5EF4-FFF2-40B4-BE49-F238E27FC236}">
                  <a16:creationId xmlns:a16="http://schemas.microsoft.com/office/drawing/2014/main" id="{DEF7B703-9A9F-4F41-928F-3714905303C1}"/>
                </a:ext>
              </a:extLst>
            </p:cNvPr>
            <p:cNvSpPr/>
            <p:nvPr/>
          </p:nvSpPr>
          <p:spPr>
            <a:xfrm>
              <a:off x="10122022" y="5302409"/>
              <a:ext cx="84971" cy="84971"/>
            </a:xfrm>
            <a:custGeom>
              <a:avLst/>
              <a:gdLst>
                <a:gd name="connsiteX0" fmla="*/ 42696 w 84971"/>
                <a:gd name="connsiteY0" fmla="*/ 69605 h 84971"/>
                <a:gd name="connsiteX1" fmla="*/ 69604 w 84971"/>
                <a:gd name="connsiteY1" fmla="*/ 42697 h 84971"/>
                <a:gd name="connsiteX2" fmla="*/ 42696 w 84971"/>
                <a:gd name="connsiteY2" fmla="*/ 15789 h 84971"/>
                <a:gd name="connsiteX3" fmla="*/ 15789 w 84971"/>
                <a:gd name="connsiteY3" fmla="*/ 42697 h 84971"/>
                <a:gd name="connsiteX4" fmla="*/ 42696 w 84971"/>
                <a:gd name="connsiteY4" fmla="*/ 69605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6" y="69605"/>
                  </a:moveTo>
                  <a:cubicBezTo>
                    <a:pt x="56858" y="69605"/>
                    <a:pt x="69604" y="58275"/>
                    <a:pt x="69604" y="42697"/>
                  </a:cubicBezTo>
                  <a:cubicBezTo>
                    <a:pt x="69604" y="28535"/>
                    <a:pt x="58275" y="15789"/>
                    <a:pt x="42696" y="15789"/>
                  </a:cubicBezTo>
                  <a:cubicBezTo>
                    <a:pt x="28534" y="15789"/>
                    <a:pt x="15789" y="27119"/>
                    <a:pt x="15789" y="42697"/>
                  </a:cubicBezTo>
                  <a:cubicBezTo>
                    <a:pt x="15789" y="58275"/>
                    <a:pt x="28534" y="69605"/>
                    <a:pt x="42696" y="6960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1" name="Freeform: Shape 2150">
              <a:extLst>
                <a:ext uri="{FF2B5EF4-FFF2-40B4-BE49-F238E27FC236}">
                  <a16:creationId xmlns:a16="http://schemas.microsoft.com/office/drawing/2014/main" id="{F407F144-DF61-4C6B-A682-16950611D53B}"/>
                </a:ext>
              </a:extLst>
            </p:cNvPr>
            <p:cNvSpPr/>
            <p:nvPr/>
          </p:nvSpPr>
          <p:spPr>
            <a:xfrm>
              <a:off x="10188365" y="5489347"/>
              <a:ext cx="56648" cy="56648"/>
            </a:xfrm>
            <a:custGeom>
              <a:avLst/>
              <a:gdLst>
                <a:gd name="connsiteX0" fmla="*/ 28752 w 56647"/>
                <a:gd name="connsiteY0" fmla="*/ 41280 h 56647"/>
                <a:gd name="connsiteX1" fmla="*/ 41498 w 56647"/>
                <a:gd name="connsiteY1" fmla="*/ 28535 h 56647"/>
                <a:gd name="connsiteX2" fmla="*/ 28752 w 56647"/>
                <a:gd name="connsiteY2" fmla="*/ 15789 h 56647"/>
                <a:gd name="connsiteX3" fmla="*/ 16006 w 56647"/>
                <a:gd name="connsiteY3" fmla="*/ 28535 h 56647"/>
                <a:gd name="connsiteX4" fmla="*/ 28752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752" y="41280"/>
                  </a:moveTo>
                  <a:cubicBezTo>
                    <a:pt x="35833" y="41280"/>
                    <a:pt x="41498" y="35616"/>
                    <a:pt x="41498" y="28535"/>
                  </a:cubicBezTo>
                  <a:cubicBezTo>
                    <a:pt x="41498" y="21454"/>
                    <a:pt x="35833" y="15789"/>
                    <a:pt x="28752" y="15789"/>
                  </a:cubicBezTo>
                  <a:cubicBezTo>
                    <a:pt x="21671" y="15789"/>
                    <a:pt x="16006" y="21454"/>
                    <a:pt x="16006" y="28535"/>
                  </a:cubicBezTo>
                  <a:cubicBezTo>
                    <a:pt x="14590" y="35616"/>
                    <a:pt x="20255" y="41280"/>
                    <a:pt x="28752"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2" name="Freeform: Shape 2151">
              <a:extLst>
                <a:ext uri="{FF2B5EF4-FFF2-40B4-BE49-F238E27FC236}">
                  <a16:creationId xmlns:a16="http://schemas.microsoft.com/office/drawing/2014/main" id="{484F2820-414B-4F45-97F9-608A7F9C1550}"/>
                </a:ext>
              </a:extLst>
            </p:cNvPr>
            <p:cNvSpPr/>
            <p:nvPr/>
          </p:nvSpPr>
          <p:spPr>
            <a:xfrm>
              <a:off x="10320288" y="5238681"/>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3" name="Freeform: Shape 2152">
              <a:extLst>
                <a:ext uri="{FF2B5EF4-FFF2-40B4-BE49-F238E27FC236}">
                  <a16:creationId xmlns:a16="http://schemas.microsoft.com/office/drawing/2014/main" id="{610FBE2D-117D-4A9F-9A12-296007AD8D09}"/>
                </a:ext>
              </a:extLst>
            </p:cNvPr>
            <p:cNvSpPr/>
            <p:nvPr/>
          </p:nvSpPr>
          <p:spPr>
            <a:xfrm>
              <a:off x="9408261" y="4978102"/>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4" name="Freeform: Shape 2153">
              <a:extLst>
                <a:ext uri="{FF2B5EF4-FFF2-40B4-BE49-F238E27FC236}">
                  <a16:creationId xmlns:a16="http://schemas.microsoft.com/office/drawing/2014/main" id="{4E9A0FBC-D9B6-45FA-A5E1-0460ACAEA583}"/>
                </a:ext>
              </a:extLst>
            </p:cNvPr>
            <p:cNvSpPr/>
            <p:nvPr/>
          </p:nvSpPr>
          <p:spPr>
            <a:xfrm>
              <a:off x="9246815" y="5380300"/>
              <a:ext cx="56648" cy="56648"/>
            </a:xfrm>
            <a:custGeom>
              <a:avLst/>
              <a:gdLst>
                <a:gd name="connsiteX0" fmla="*/ 28535 w 56647"/>
                <a:gd name="connsiteY0" fmla="*/ 41281 h 56647"/>
                <a:gd name="connsiteX1" fmla="*/ 41281 w 56647"/>
                <a:gd name="connsiteY1" fmla="*/ 28535 h 56647"/>
                <a:gd name="connsiteX2" fmla="*/ 28535 w 56647"/>
                <a:gd name="connsiteY2" fmla="*/ 15789 h 56647"/>
                <a:gd name="connsiteX3" fmla="*/ 15789 w 56647"/>
                <a:gd name="connsiteY3" fmla="*/ 28535 h 56647"/>
                <a:gd name="connsiteX4" fmla="*/ 28535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1"/>
                  </a:moveTo>
                  <a:cubicBezTo>
                    <a:pt x="35616" y="41281"/>
                    <a:pt x="41281" y="35616"/>
                    <a:pt x="41281" y="28535"/>
                  </a:cubicBezTo>
                  <a:cubicBezTo>
                    <a:pt x="41281" y="21454"/>
                    <a:pt x="35616" y="15789"/>
                    <a:pt x="28535" y="15789"/>
                  </a:cubicBezTo>
                  <a:cubicBezTo>
                    <a:pt x="21454" y="15789"/>
                    <a:pt x="15789" y="21454"/>
                    <a:pt x="15789" y="28535"/>
                  </a:cubicBezTo>
                  <a:cubicBezTo>
                    <a:pt x="15789" y="35616"/>
                    <a:pt x="21454" y="41281"/>
                    <a:pt x="28535"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5" name="Freeform: Shape 2154">
              <a:extLst>
                <a:ext uri="{FF2B5EF4-FFF2-40B4-BE49-F238E27FC236}">
                  <a16:creationId xmlns:a16="http://schemas.microsoft.com/office/drawing/2014/main" id="{D6E67EF0-69A2-4CBE-BD91-5F28D3F73E19}"/>
                </a:ext>
              </a:extLst>
            </p:cNvPr>
            <p:cNvSpPr/>
            <p:nvPr/>
          </p:nvSpPr>
          <p:spPr>
            <a:xfrm>
              <a:off x="9504562" y="5091397"/>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4199"/>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6" name="Freeform: Shape 2155">
              <a:extLst>
                <a:ext uri="{FF2B5EF4-FFF2-40B4-BE49-F238E27FC236}">
                  <a16:creationId xmlns:a16="http://schemas.microsoft.com/office/drawing/2014/main" id="{5AF14E20-8673-48DD-BC12-8D0A8E5C25B6}"/>
                </a:ext>
              </a:extLst>
            </p:cNvPr>
            <p:cNvSpPr/>
            <p:nvPr/>
          </p:nvSpPr>
          <p:spPr>
            <a:xfrm>
              <a:off x="9943581" y="5077235"/>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7" name="Freeform: Shape 2156">
              <a:extLst>
                <a:ext uri="{FF2B5EF4-FFF2-40B4-BE49-F238E27FC236}">
                  <a16:creationId xmlns:a16="http://schemas.microsoft.com/office/drawing/2014/main" id="{93494EB1-A5FF-4F96-A350-3237D7FDDEDD}"/>
                </a:ext>
              </a:extLst>
            </p:cNvPr>
            <p:cNvSpPr/>
            <p:nvPr/>
          </p:nvSpPr>
          <p:spPr>
            <a:xfrm>
              <a:off x="9828870" y="4915790"/>
              <a:ext cx="70810" cy="70810"/>
            </a:xfrm>
            <a:custGeom>
              <a:avLst/>
              <a:gdLst>
                <a:gd name="connsiteX0" fmla="*/ 38448 w 70809"/>
                <a:gd name="connsiteY0" fmla="*/ 61107 h 70809"/>
                <a:gd name="connsiteX1" fmla="*/ 61107 w 70809"/>
                <a:gd name="connsiteY1" fmla="*/ 38448 h 70809"/>
                <a:gd name="connsiteX2" fmla="*/ 38448 w 70809"/>
                <a:gd name="connsiteY2" fmla="*/ 15789 h 70809"/>
                <a:gd name="connsiteX3" fmla="*/ 15789 w 70809"/>
                <a:gd name="connsiteY3" fmla="*/ 38448 h 70809"/>
                <a:gd name="connsiteX4" fmla="*/ 3844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8" y="61107"/>
                  </a:moveTo>
                  <a:cubicBezTo>
                    <a:pt x="51194" y="61107"/>
                    <a:pt x="61107" y="51194"/>
                    <a:pt x="61107" y="38448"/>
                  </a:cubicBezTo>
                  <a:cubicBezTo>
                    <a:pt x="61107" y="25702"/>
                    <a:pt x="51194" y="15789"/>
                    <a:pt x="38448" y="15789"/>
                  </a:cubicBezTo>
                  <a:cubicBezTo>
                    <a:pt x="25703" y="15789"/>
                    <a:pt x="15789" y="25702"/>
                    <a:pt x="15789" y="38448"/>
                  </a:cubicBezTo>
                  <a:cubicBezTo>
                    <a:pt x="15789" y="51194"/>
                    <a:pt x="25703" y="61107"/>
                    <a:pt x="38448"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8" name="Freeform: Shape 2157">
              <a:extLst>
                <a:ext uri="{FF2B5EF4-FFF2-40B4-BE49-F238E27FC236}">
                  <a16:creationId xmlns:a16="http://schemas.microsoft.com/office/drawing/2014/main" id="{F4AAB9E0-2AC7-4358-ABBE-83DFCB4B3655}"/>
                </a:ext>
              </a:extLst>
            </p:cNvPr>
            <p:cNvSpPr/>
            <p:nvPr/>
          </p:nvSpPr>
          <p:spPr>
            <a:xfrm>
              <a:off x="9721239" y="5394462"/>
              <a:ext cx="70810" cy="70810"/>
            </a:xfrm>
            <a:custGeom>
              <a:avLst/>
              <a:gdLst>
                <a:gd name="connsiteX0" fmla="*/ 61107 w 70809"/>
                <a:gd name="connsiteY0" fmla="*/ 38448 h 70809"/>
                <a:gd name="connsiteX1" fmla="*/ 38448 w 70809"/>
                <a:gd name="connsiteY1" fmla="*/ 61107 h 70809"/>
                <a:gd name="connsiteX2" fmla="*/ 15790 w 70809"/>
                <a:gd name="connsiteY2" fmla="*/ 38448 h 70809"/>
                <a:gd name="connsiteX3" fmla="*/ 38448 w 70809"/>
                <a:gd name="connsiteY3" fmla="*/ 15789 h 70809"/>
                <a:gd name="connsiteX4" fmla="*/ 61107 w 70809"/>
                <a:gd name="connsiteY4" fmla="*/ 38448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1107" y="38448"/>
                  </a:moveTo>
                  <a:cubicBezTo>
                    <a:pt x="61107" y="50962"/>
                    <a:pt x="50962" y="61107"/>
                    <a:pt x="38448" y="61107"/>
                  </a:cubicBezTo>
                  <a:cubicBezTo>
                    <a:pt x="25934" y="61107"/>
                    <a:pt x="15790" y="50962"/>
                    <a:pt x="15790" y="38448"/>
                  </a:cubicBezTo>
                  <a:cubicBezTo>
                    <a:pt x="15790" y="25934"/>
                    <a:pt x="25935" y="15789"/>
                    <a:pt x="38448" y="15789"/>
                  </a:cubicBezTo>
                  <a:cubicBezTo>
                    <a:pt x="50963" y="15789"/>
                    <a:pt x="61107" y="25934"/>
                    <a:pt x="61107"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59" name="Freeform: Shape 2158">
              <a:extLst>
                <a:ext uri="{FF2B5EF4-FFF2-40B4-BE49-F238E27FC236}">
                  <a16:creationId xmlns:a16="http://schemas.microsoft.com/office/drawing/2014/main" id="{3471E877-7021-4250-8D0B-8C7A9E1759DA}"/>
                </a:ext>
              </a:extLst>
            </p:cNvPr>
            <p:cNvSpPr/>
            <p:nvPr/>
          </p:nvSpPr>
          <p:spPr>
            <a:xfrm>
              <a:off x="10078119" y="5442612"/>
              <a:ext cx="42486" cy="42486"/>
            </a:xfrm>
            <a:custGeom>
              <a:avLst/>
              <a:gdLst>
                <a:gd name="connsiteX0" fmla="*/ 27118 w 42485"/>
                <a:gd name="connsiteY0" fmla="*/ 38448 h 42485"/>
                <a:gd name="connsiteX1" fmla="*/ 38449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9" y="32783"/>
                    <a:pt x="38449" y="27119"/>
                  </a:cubicBezTo>
                  <a:cubicBezTo>
                    <a:pt x="38449" y="21454"/>
                    <a:pt x="32783" y="15789"/>
                    <a:pt x="27118" y="15789"/>
                  </a:cubicBezTo>
                  <a:cubicBezTo>
                    <a:pt x="21454" y="15789"/>
                    <a:pt x="15789" y="21454"/>
                    <a:pt x="15789" y="27119"/>
                  </a:cubicBezTo>
                  <a:cubicBezTo>
                    <a:pt x="15789" y="34200"/>
                    <a:pt x="21454"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0" name="Freeform: Shape 2159">
              <a:extLst>
                <a:ext uri="{FF2B5EF4-FFF2-40B4-BE49-F238E27FC236}">
                  <a16:creationId xmlns:a16="http://schemas.microsoft.com/office/drawing/2014/main" id="{6182676D-FB35-43C7-99DA-00D18E17E8F5}"/>
                </a:ext>
              </a:extLst>
            </p:cNvPr>
            <p:cNvSpPr/>
            <p:nvPr/>
          </p:nvSpPr>
          <p:spPr>
            <a:xfrm>
              <a:off x="10177252" y="5938279"/>
              <a:ext cx="42486" cy="42486"/>
            </a:xfrm>
            <a:custGeom>
              <a:avLst/>
              <a:gdLst>
                <a:gd name="connsiteX0" fmla="*/ 27118 w 42485"/>
                <a:gd name="connsiteY0" fmla="*/ 38448 h 42485"/>
                <a:gd name="connsiteX1" fmla="*/ 38449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9" y="32783"/>
                    <a:pt x="38449" y="27119"/>
                  </a:cubicBezTo>
                  <a:cubicBezTo>
                    <a:pt x="38449" y="21454"/>
                    <a:pt x="32783" y="15789"/>
                    <a:pt x="27118" y="15789"/>
                  </a:cubicBezTo>
                  <a:cubicBezTo>
                    <a:pt x="21454" y="15789"/>
                    <a:pt x="15789" y="21454"/>
                    <a:pt x="15789" y="27119"/>
                  </a:cubicBezTo>
                  <a:cubicBezTo>
                    <a:pt x="15789" y="32783"/>
                    <a:pt x="21454"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1" name="Freeform: Shape 2160">
              <a:extLst>
                <a:ext uri="{FF2B5EF4-FFF2-40B4-BE49-F238E27FC236}">
                  <a16:creationId xmlns:a16="http://schemas.microsoft.com/office/drawing/2014/main" id="{60F069D2-03CB-4D56-AB76-6819D85A7BD7}"/>
                </a:ext>
              </a:extLst>
            </p:cNvPr>
            <p:cNvSpPr/>
            <p:nvPr/>
          </p:nvSpPr>
          <p:spPr>
            <a:xfrm>
              <a:off x="10222571" y="5856140"/>
              <a:ext cx="42486" cy="42486"/>
            </a:xfrm>
            <a:custGeom>
              <a:avLst/>
              <a:gdLst>
                <a:gd name="connsiteX0" fmla="*/ 27118 w 42485"/>
                <a:gd name="connsiteY0" fmla="*/ 38448 h 42485"/>
                <a:gd name="connsiteX1" fmla="*/ 38448 w 42485"/>
                <a:gd name="connsiteY1" fmla="*/ 27118 h 42485"/>
                <a:gd name="connsiteX2" fmla="*/ 27118 w 42485"/>
                <a:gd name="connsiteY2" fmla="*/ 15789 h 42485"/>
                <a:gd name="connsiteX3" fmla="*/ 15789 w 42485"/>
                <a:gd name="connsiteY3" fmla="*/ 27118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8" y="32783"/>
                    <a:pt x="38448" y="27118"/>
                  </a:cubicBezTo>
                  <a:cubicBezTo>
                    <a:pt x="38448" y="21454"/>
                    <a:pt x="32783" y="15789"/>
                    <a:pt x="27118" y="15789"/>
                  </a:cubicBezTo>
                  <a:cubicBezTo>
                    <a:pt x="21454" y="15789"/>
                    <a:pt x="15789" y="21454"/>
                    <a:pt x="15789" y="27118"/>
                  </a:cubicBezTo>
                  <a:cubicBezTo>
                    <a:pt x="15789" y="32783"/>
                    <a:pt x="21454"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2" name="Freeform: Shape 2161">
              <a:extLst>
                <a:ext uri="{FF2B5EF4-FFF2-40B4-BE49-F238E27FC236}">
                  <a16:creationId xmlns:a16="http://schemas.microsoft.com/office/drawing/2014/main" id="{399D6E3B-9871-4A63-90F5-4FBF9E9B549D}"/>
                </a:ext>
              </a:extLst>
            </p:cNvPr>
            <p:cNvSpPr/>
            <p:nvPr/>
          </p:nvSpPr>
          <p:spPr>
            <a:xfrm>
              <a:off x="10029969" y="4952611"/>
              <a:ext cx="42486" cy="42486"/>
            </a:xfrm>
            <a:custGeom>
              <a:avLst/>
              <a:gdLst>
                <a:gd name="connsiteX0" fmla="*/ 27118 w 42485"/>
                <a:gd name="connsiteY0" fmla="*/ 38448 h 42485"/>
                <a:gd name="connsiteX1" fmla="*/ 38448 w 42485"/>
                <a:gd name="connsiteY1" fmla="*/ 27118 h 42485"/>
                <a:gd name="connsiteX2" fmla="*/ 27118 w 42485"/>
                <a:gd name="connsiteY2" fmla="*/ 15789 h 42485"/>
                <a:gd name="connsiteX3" fmla="*/ 15789 w 42485"/>
                <a:gd name="connsiteY3" fmla="*/ 27118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8" y="32783"/>
                    <a:pt x="38448" y="27118"/>
                  </a:cubicBezTo>
                  <a:cubicBezTo>
                    <a:pt x="38448" y="21454"/>
                    <a:pt x="32783" y="15789"/>
                    <a:pt x="27118" y="15789"/>
                  </a:cubicBezTo>
                  <a:cubicBezTo>
                    <a:pt x="21453" y="15789"/>
                    <a:pt x="15789" y="21454"/>
                    <a:pt x="15789" y="27118"/>
                  </a:cubicBezTo>
                  <a:cubicBezTo>
                    <a:pt x="15789" y="34199"/>
                    <a:pt x="21453"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3" name="Freeform: Shape 2162">
              <a:extLst>
                <a:ext uri="{FF2B5EF4-FFF2-40B4-BE49-F238E27FC236}">
                  <a16:creationId xmlns:a16="http://schemas.microsoft.com/office/drawing/2014/main" id="{90507003-1EAB-4627-A68A-4337183C4594}"/>
                </a:ext>
              </a:extLst>
            </p:cNvPr>
            <p:cNvSpPr/>
            <p:nvPr/>
          </p:nvSpPr>
          <p:spPr>
            <a:xfrm>
              <a:off x="9894014" y="4842147"/>
              <a:ext cx="42486" cy="42486"/>
            </a:xfrm>
            <a:custGeom>
              <a:avLst/>
              <a:gdLst>
                <a:gd name="connsiteX0" fmla="*/ 27118 w 42485"/>
                <a:gd name="connsiteY0" fmla="*/ 38448 h 42485"/>
                <a:gd name="connsiteX1" fmla="*/ 38449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9" y="32783"/>
                    <a:pt x="38449" y="27119"/>
                  </a:cubicBezTo>
                  <a:cubicBezTo>
                    <a:pt x="38449" y="21454"/>
                    <a:pt x="32783" y="15789"/>
                    <a:pt x="27118" y="15789"/>
                  </a:cubicBezTo>
                  <a:cubicBezTo>
                    <a:pt x="21454" y="15789"/>
                    <a:pt x="15789" y="21454"/>
                    <a:pt x="15789" y="27119"/>
                  </a:cubicBezTo>
                  <a:cubicBezTo>
                    <a:pt x="15789" y="34200"/>
                    <a:pt x="21454"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4" name="Freeform: Shape 2163">
              <a:extLst>
                <a:ext uri="{FF2B5EF4-FFF2-40B4-BE49-F238E27FC236}">
                  <a16:creationId xmlns:a16="http://schemas.microsoft.com/office/drawing/2014/main" id="{5B100960-ACC1-409A-AAB4-02209B21232D}"/>
                </a:ext>
              </a:extLst>
            </p:cNvPr>
            <p:cNvSpPr/>
            <p:nvPr/>
          </p:nvSpPr>
          <p:spPr>
            <a:xfrm>
              <a:off x="10318872" y="5524752"/>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7"/>
                    <a:pt x="28535" y="15789"/>
                    <a:pt x="24287" y="15789"/>
                  </a:cubicBezTo>
                  <a:cubicBezTo>
                    <a:pt x="20037" y="15789"/>
                    <a:pt x="15789" y="20037"/>
                    <a:pt x="15789" y="24286"/>
                  </a:cubicBezTo>
                  <a:cubicBezTo>
                    <a:pt x="15789" y="28535"/>
                    <a:pt x="20037" y="32783"/>
                    <a:pt x="24287"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5" name="Freeform: Shape 2164">
              <a:extLst>
                <a:ext uri="{FF2B5EF4-FFF2-40B4-BE49-F238E27FC236}">
                  <a16:creationId xmlns:a16="http://schemas.microsoft.com/office/drawing/2014/main" id="{86CBB2CA-7869-4179-B169-50DCF452CA85}"/>
                </a:ext>
              </a:extLst>
            </p:cNvPr>
            <p:cNvSpPr/>
            <p:nvPr/>
          </p:nvSpPr>
          <p:spPr>
            <a:xfrm>
              <a:off x="9735401" y="5354809"/>
              <a:ext cx="42486" cy="42486"/>
            </a:xfrm>
            <a:custGeom>
              <a:avLst/>
              <a:gdLst>
                <a:gd name="connsiteX0" fmla="*/ 24287 w 42485"/>
                <a:gd name="connsiteY0" fmla="*/ 32783 h 42485"/>
                <a:gd name="connsiteX1" fmla="*/ 32783 w 42485"/>
                <a:gd name="connsiteY1" fmla="*/ 24286 h 42485"/>
                <a:gd name="connsiteX2" fmla="*/ 24287 w 42485"/>
                <a:gd name="connsiteY2" fmla="*/ 15789 h 42485"/>
                <a:gd name="connsiteX3" fmla="*/ 15789 w 42485"/>
                <a:gd name="connsiteY3" fmla="*/ 24286 h 42485"/>
                <a:gd name="connsiteX4" fmla="*/ 24287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7" y="32783"/>
                  </a:moveTo>
                  <a:cubicBezTo>
                    <a:pt x="28535" y="32783"/>
                    <a:pt x="32783" y="28535"/>
                    <a:pt x="32783" y="24286"/>
                  </a:cubicBezTo>
                  <a:cubicBezTo>
                    <a:pt x="32783" y="20037"/>
                    <a:pt x="28535" y="15789"/>
                    <a:pt x="24287" y="15789"/>
                  </a:cubicBezTo>
                  <a:cubicBezTo>
                    <a:pt x="20038" y="15789"/>
                    <a:pt x="15789" y="20037"/>
                    <a:pt x="15789" y="24286"/>
                  </a:cubicBezTo>
                  <a:cubicBezTo>
                    <a:pt x="15789" y="28535"/>
                    <a:pt x="20038" y="32783"/>
                    <a:pt x="24287"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6" name="Freeform: Shape 2165">
              <a:extLst>
                <a:ext uri="{FF2B5EF4-FFF2-40B4-BE49-F238E27FC236}">
                  <a16:creationId xmlns:a16="http://schemas.microsoft.com/office/drawing/2014/main" id="{0B112D52-3712-4A64-8315-0A4DA43855B9}"/>
                </a:ext>
              </a:extLst>
            </p:cNvPr>
            <p:cNvSpPr/>
            <p:nvPr/>
          </p:nvSpPr>
          <p:spPr>
            <a:xfrm>
              <a:off x="9571123" y="5431283"/>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2697"/>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7" name="Freeform: Shape 2166">
              <a:extLst>
                <a:ext uri="{FF2B5EF4-FFF2-40B4-BE49-F238E27FC236}">
                  <a16:creationId xmlns:a16="http://schemas.microsoft.com/office/drawing/2014/main" id="{594A4E5B-191C-4E84-AEF6-217E645463EA}"/>
                </a:ext>
              </a:extLst>
            </p:cNvPr>
            <p:cNvSpPr/>
            <p:nvPr/>
          </p:nvSpPr>
          <p:spPr>
            <a:xfrm>
              <a:off x="9998813" y="5336398"/>
              <a:ext cx="56648" cy="56648"/>
            </a:xfrm>
            <a:custGeom>
              <a:avLst/>
              <a:gdLst>
                <a:gd name="connsiteX0" fmla="*/ 34199 w 56647"/>
                <a:gd name="connsiteY0" fmla="*/ 52610 h 56647"/>
                <a:gd name="connsiteX1" fmla="*/ 52610 w 56647"/>
                <a:gd name="connsiteY1" fmla="*/ 34200 h 56647"/>
                <a:gd name="connsiteX2" fmla="*/ 34199 w 56647"/>
                <a:gd name="connsiteY2" fmla="*/ 15789 h 56647"/>
                <a:gd name="connsiteX3" fmla="*/ 15789 w 56647"/>
                <a:gd name="connsiteY3" fmla="*/ 34200 h 56647"/>
                <a:gd name="connsiteX4" fmla="*/ 34199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199" y="52610"/>
                  </a:moveTo>
                  <a:cubicBezTo>
                    <a:pt x="44113" y="52610"/>
                    <a:pt x="52610" y="44113"/>
                    <a:pt x="52610" y="34200"/>
                  </a:cubicBezTo>
                  <a:cubicBezTo>
                    <a:pt x="52610" y="24286"/>
                    <a:pt x="44113" y="15789"/>
                    <a:pt x="34199" y="15789"/>
                  </a:cubicBezTo>
                  <a:cubicBezTo>
                    <a:pt x="24286" y="15789"/>
                    <a:pt x="15789" y="24286"/>
                    <a:pt x="15789" y="34200"/>
                  </a:cubicBezTo>
                  <a:cubicBezTo>
                    <a:pt x="15789" y="44113"/>
                    <a:pt x="22870" y="52610"/>
                    <a:pt x="34199"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8" name="Freeform: Shape 2167">
              <a:extLst>
                <a:ext uri="{FF2B5EF4-FFF2-40B4-BE49-F238E27FC236}">
                  <a16:creationId xmlns:a16="http://schemas.microsoft.com/office/drawing/2014/main" id="{20D43F79-ECCE-48B0-8ECD-F9291BBF5A96}"/>
                </a:ext>
              </a:extLst>
            </p:cNvPr>
            <p:cNvSpPr/>
            <p:nvPr/>
          </p:nvSpPr>
          <p:spPr>
            <a:xfrm>
              <a:off x="9481903" y="5020588"/>
              <a:ext cx="56648" cy="56648"/>
            </a:xfrm>
            <a:custGeom>
              <a:avLst/>
              <a:gdLst>
                <a:gd name="connsiteX0" fmla="*/ 34199 w 56647"/>
                <a:gd name="connsiteY0" fmla="*/ 52610 h 56647"/>
                <a:gd name="connsiteX1" fmla="*/ 52610 w 56647"/>
                <a:gd name="connsiteY1" fmla="*/ 34199 h 56647"/>
                <a:gd name="connsiteX2" fmla="*/ 34199 w 56647"/>
                <a:gd name="connsiteY2" fmla="*/ 15789 h 56647"/>
                <a:gd name="connsiteX3" fmla="*/ 15789 w 56647"/>
                <a:gd name="connsiteY3" fmla="*/ 34199 h 56647"/>
                <a:gd name="connsiteX4" fmla="*/ 34199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199" y="52610"/>
                  </a:moveTo>
                  <a:cubicBezTo>
                    <a:pt x="44113" y="52610"/>
                    <a:pt x="52610" y="44113"/>
                    <a:pt x="52610" y="34199"/>
                  </a:cubicBezTo>
                  <a:cubicBezTo>
                    <a:pt x="52610" y="24286"/>
                    <a:pt x="44113" y="15789"/>
                    <a:pt x="34199" y="15789"/>
                  </a:cubicBezTo>
                  <a:cubicBezTo>
                    <a:pt x="24286" y="15789"/>
                    <a:pt x="15789" y="24286"/>
                    <a:pt x="15789" y="34199"/>
                  </a:cubicBezTo>
                  <a:cubicBezTo>
                    <a:pt x="15789" y="44113"/>
                    <a:pt x="24286" y="52610"/>
                    <a:pt x="34199"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69" name="Freeform: Shape 2168">
              <a:extLst>
                <a:ext uri="{FF2B5EF4-FFF2-40B4-BE49-F238E27FC236}">
                  <a16:creationId xmlns:a16="http://schemas.microsoft.com/office/drawing/2014/main" id="{087ED037-6704-40F8-8604-C6EBA6F87E68}"/>
                </a:ext>
              </a:extLst>
            </p:cNvPr>
            <p:cNvSpPr/>
            <p:nvPr/>
          </p:nvSpPr>
          <p:spPr>
            <a:xfrm>
              <a:off x="10160258" y="5237265"/>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8" y="35616"/>
                    <a:pt x="35616" y="31367"/>
                    <a:pt x="35616" y="25703"/>
                  </a:cubicBezTo>
                  <a:cubicBezTo>
                    <a:pt x="35616" y="20038"/>
                    <a:pt x="31368" y="15789"/>
                    <a:pt x="25703" y="15789"/>
                  </a:cubicBezTo>
                  <a:cubicBezTo>
                    <a:pt x="20038" y="15789"/>
                    <a:pt x="15789" y="20038"/>
                    <a:pt x="15789" y="25703"/>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0" name="Freeform: Shape 2169">
              <a:extLst>
                <a:ext uri="{FF2B5EF4-FFF2-40B4-BE49-F238E27FC236}">
                  <a16:creationId xmlns:a16="http://schemas.microsoft.com/office/drawing/2014/main" id="{35872D23-DD55-481B-B78B-AE218C331BEE}"/>
                </a:ext>
              </a:extLst>
            </p:cNvPr>
            <p:cNvSpPr/>
            <p:nvPr/>
          </p:nvSpPr>
          <p:spPr>
            <a:xfrm>
              <a:off x="9701413" y="4854893"/>
              <a:ext cx="42486" cy="42486"/>
            </a:xfrm>
            <a:custGeom>
              <a:avLst/>
              <a:gdLst>
                <a:gd name="connsiteX0" fmla="*/ 25703 w 42485"/>
                <a:gd name="connsiteY0" fmla="*/ 35616 h 42485"/>
                <a:gd name="connsiteX1" fmla="*/ 35615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5" y="31367"/>
                    <a:pt x="35615" y="25703"/>
                  </a:cubicBezTo>
                  <a:cubicBezTo>
                    <a:pt x="35615" y="20038"/>
                    <a:pt x="31367"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1" name="Freeform: Shape 2170">
              <a:extLst>
                <a:ext uri="{FF2B5EF4-FFF2-40B4-BE49-F238E27FC236}">
                  <a16:creationId xmlns:a16="http://schemas.microsoft.com/office/drawing/2014/main" id="{F16751C0-9BAF-4F01-8711-96D7188A0344}"/>
                </a:ext>
              </a:extLst>
            </p:cNvPr>
            <p:cNvSpPr/>
            <p:nvPr/>
          </p:nvSpPr>
          <p:spPr>
            <a:xfrm>
              <a:off x="9251064" y="5126802"/>
              <a:ext cx="42486" cy="42486"/>
            </a:xfrm>
            <a:custGeom>
              <a:avLst/>
              <a:gdLst>
                <a:gd name="connsiteX0" fmla="*/ 25702 w 42485"/>
                <a:gd name="connsiteY0" fmla="*/ 35616 h 42485"/>
                <a:gd name="connsiteX1" fmla="*/ 35615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5" y="31367"/>
                    <a:pt x="35615" y="25703"/>
                  </a:cubicBezTo>
                  <a:cubicBezTo>
                    <a:pt x="35615" y="20037"/>
                    <a:pt x="31367" y="15789"/>
                    <a:pt x="25702" y="15789"/>
                  </a:cubicBezTo>
                  <a:cubicBezTo>
                    <a:pt x="20037" y="15789"/>
                    <a:pt x="15789" y="20037"/>
                    <a:pt x="15789" y="25703"/>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2" name="Freeform: Shape 2171">
              <a:extLst>
                <a:ext uri="{FF2B5EF4-FFF2-40B4-BE49-F238E27FC236}">
                  <a16:creationId xmlns:a16="http://schemas.microsoft.com/office/drawing/2014/main" id="{85E03FD6-02FA-47BD-91E5-A1C3DE7F082C}"/>
                </a:ext>
              </a:extLst>
            </p:cNvPr>
            <p:cNvSpPr/>
            <p:nvPr/>
          </p:nvSpPr>
          <p:spPr>
            <a:xfrm>
              <a:off x="9991732" y="5109807"/>
              <a:ext cx="56648" cy="56648"/>
            </a:xfrm>
            <a:custGeom>
              <a:avLst/>
              <a:gdLst>
                <a:gd name="connsiteX0" fmla="*/ 28534 w 56647"/>
                <a:gd name="connsiteY0" fmla="*/ 41281 h 56647"/>
                <a:gd name="connsiteX1" fmla="*/ 41280 w 56647"/>
                <a:gd name="connsiteY1" fmla="*/ 28535 h 56647"/>
                <a:gd name="connsiteX2" fmla="*/ 28534 w 56647"/>
                <a:gd name="connsiteY2" fmla="*/ 15789 h 56647"/>
                <a:gd name="connsiteX3" fmla="*/ 15789 w 56647"/>
                <a:gd name="connsiteY3" fmla="*/ 28535 h 56647"/>
                <a:gd name="connsiteX4" fmla="*/ 28534 w 56647"/>
                <a:gd name="connsiteY4" fmla="*/ 4128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4" y="41281"/>
                  </a:moveTo>
                  <a:cubicBezTo>
                    <a:pt x="35615" y="41281"/>
                    <a:pt x="41280" y="35616"/>
                    <a:pt x="41280" y="28535"/>
                  </a:cubicBezTo>
                  <a:cubicBezTo>
                    <a:pt x="41280" y="21454"/>
                    <a:pt x="35615" y="15789"/>
                    <a:pt x="28534" y="15789"/>
                  </a:cubicBezTo>
                  <a:cubicBezTo>
                    <a:pt x="21453" y="15789"/>
                    <a:pt x="15789" y="21454"/>
                    <a:pt x="15789" y="28535"/>
                  </a:cubicBezTo>
                  <a:cubicBezTo>
                    <a:pt x="15789" y="35616"/>
                    <a:pt x="21453" y="41281"/>
                    <a:pt x="28534"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3" name="Freeform: Shape 2172">
              <a:extLst>
                <a:ext uri="{FF2B5EF4-FFF2-40B4-BE49-F238E27FC236}">
                  <a16:creationId xmlns:a16="http://schemas.microsoft.com/office/drawing/2014/main" id="{34BE479C-401E-4EB4-88C6-D64CD5656C7B}"/>
                </a:ext>
              </a:extLst>
            </p:cNvPr>
            <p:cNvSpPr/>
            <p:nvPr/>
          </p:nvSpPr>
          <p:spPr>
            <a:xfrm>
              <a:off x="9664591" y="5179201"/>
              <a:ext cx="70810" cy="70810"/>
            </a:xfrm>
            <a:custGeom>
              <a:avLst/>
              <a:gdLst>
                <a:gd name="connsiteX0" fmla="*/ 66772 w 70809"/>
                <a:gd name="connsiteY0" fmla="*/ 41280 h 70809"/>
                <a:gd name="connsiteX1" fmla="*/ 41281 w 70809"/>
                <a:gd name="connsiteY1" fmla="*/ 66772 h 70809"/>
                <a:gd name="connsiteX2" fmla="*/ 15790 w 70809"/>
                <a:gd name="connsiteY2" fmla="*/ 41280 h 70809"/>
                <a:gd name="connsiteX3" fmla="*/ 41281 w 70809"/>
                <a:gd name="connsiteY3" fmla="*/ 15789 h 70809"/>
                <a:gd name="connsiteX4" fmla="*/ 66772 w 70809"/>
                <a:gd name="connsiteY4" fmla="*/ 4128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6772" y="41280"/>
                  </a:moveTo>
                  <a:cubicBezTo>
                    <a:pt x="66772" y="55359"/>
                    <a:pt x="55359" y="66772"/>
                    <a:pt x="41281" y="66772"/>
                  </a:cubicBezTo>
                  <a:cubicBezTo>
                    <a:pt x="27202" y="66772"/>
                    <a:pt x="15790" y="55359"/>
                    <a:pt x="15790" y="41280"/>
                  </a:cubicBezTo>
                  <a:cubicBezTo>
                    <a:pt x="15790" y="27202"/>
                    <a:pt x="27203" y="15789"/>
                    <a:pt x="41281" y="15789"/>
                  </a:cubicBezTo>
                  <a:cubicBezTo>
                    <a:pt x="55360" y="15789"/>
                    <a:pt x="66772" y="27202"/>
                    <a:pt x="66772"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4" name="Freeform: Shape 2173">
              <a:extLst>
                <a:ext uri="{FF2B5EF4-FFF2-40B4-BE49-F238E27FC236}">
                  <a16:creationId xmlns:a16="http://schemas.microsoft.com/office/drawing/2014/main" id="{F9F5C886-7B1A-4BDD-B512-15B7BEBF8546}"/>
                </a:ext>
              </a:extLst>
            </p:cNvPr>
            <p:cNvSpPr/>
            <p:nvPr/>
          </p:nvSpPr>
          <p:spPr>
            <a:xfrm>
              <a:off x="10058293" y="4854893"/>
              <a:ext cx="42486" cy="42486"/>
            </a:xfrm>
            <a:custGeom>
              <a:avLst/>
              <a:gdLst>
                <a:gd name="connsiteX0" fmla="*/ 25702 w 42485"/>
                <a:gd name="connsiteY0" fmla="*/ 35616 h 42485"/>
                <a:gd name="connsiteX1" fmla="*/ 35615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5" y="31367"/>
                    <a:pt x="35615" y="25703"/>
                  </a:cubicBezTo>
                  <a:cubicBezTo>
                    <a:pt x="35615" y="20038"/>
                    <a:pt x="31367" y="15789"/>
                    <a:pt x="25702" y="15789"/>
                  </a:cubicBezTo>
                  <a:cubicBezTo>
                    <a:pt x="20037" y="15789"/>
                    <a:pt x="15789" y="20038"/>
                    <a:pt x="15789" y="25703"/>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5" name="Freeform: Shape 2174">
              <a:extLst>
                <a:ext uri="{FF2B5EF4-FFF2-40B4-BE49-F238E27FC236}">
                  <a16:creationId xmlns:a16="http://schemas.microsoft.com/office/drawing/2014/main" id="{99B1307A-BC3C-4194-AC52-4F9FEFBA72AD}"/>
                </a:ext>
              </a:extLst>
            </p:cNvPr>
            <p:cNvSpPr/>
            <p:nvPr/>
          </p:nvSpPr>
          <p:spPr>
            <a:xfrm>
              <a:off x="9531470" y="5472352"/>
              <a:ext cx="42486" cy="42486"/>
            </a:xfrm>
            <a:custGeom>
              <a:avLst/>
              <a:gdLst>
                <a:gd name="connsiteX0" fmla="*/ 25703 w 42485"/>
                <a:gd name="connsiteY0" fmla="*/ 35616 h 42485"/>
                <a:gd name="connsiteX1" fmla="*/ 35615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5" y="31367"/>
                    <a:pt x="35615" y="25703"/>
                  </a:cubicBezTo>
                  <a:cubicBezTo>
                    <a:pt x="35615" y="20038"/>
                    <a:pt x="31367"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6" name="Freeform: Shape 2175">
              <a:extLst>
                <a:ext uri="{FF2B5EF4-FFF2-40B4-BE49-F238E27FC236}">
                  <a16:creationId xmlns:a16="http://schemas.microsoft.com/office/drawing/2014/main" id="{B73248D2-62F7-4C05-8F22-0C7F45EB037C}"/>
                </a:ext>
              </a:extLst>
            </p:cNvPr>
            <p:cNvSpPr/>
            <p:nvPr/>
          </p:nvSpPr>
          <p:spPr>
            <a:xfrm>
              <a:off x="9208578" y="5071571"/>
              <a:ext cx="56648" cy="56648"/>
            </a:xfrm>
            <a:custGeom>
              <a:avLst/>
              <a:gdLst>
                <a:gd name="connsiteX0" fmla="*/ 32783 w 56647"/>
                <a:gd name="connsiteY0" fmla="*/ 49777 h 56647"/>
                <a:gd name="connsiteX1" fmla="*/ 49777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6" y="49777"/>
                    <a:pt x="49777" y="42697"/>
                    <a:pt x="49777" y="32783"/>
                  </a:cubicBezTo>
                  <a:cubicBezTo>
                    <a:pt x="49777" y="22870"/>
                    <a:pt x="42696" y="15789"/>
                    <a:pt x="32783" y="15789"/>
                  </a:cubicBezTo>
                  <a:cubicBezTo>
                    <a:pt x="22870" y="15789"/>
                    <a:pt x="15789" y="22870"/>
                    <a:pt x="15789" y="32783"/>
                  </a:cubicBezTo>
                  <a:cubicBezTo>
                    <a:pt x="15789" y="42697"/>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7" name="Freeform: Shape 2176">
              <a:extLst>
                <a:ext uri="{FF2B5EF4-FFF2-40B4-BE49-F238E27FC236}">
                  <a16:creationId xmlns:a16="http://schemas.microsoft.com/office/drawing/2014/main" id="{B3AA2725-0F7B-4C77-BBD9-398FE0489A41}"/>
                </a:ext>
              </a:extLst>
            </p:cNvPr>
            <p:cNvSpPr/>
            <p:nvPr/>
          </p:nvSpPr>
          <p:spPr>
            <a:xfrm>
              <a:off x="10165923" y="5731516"/>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2697"/>
                    <a:pt x="49778" y="32783"/>
                  </a:cubicBezTo>
                  <a:cubicBezTo>
                    <a:pt x="49778" y="22870"/>
                    <a:pt x="42697" y="15789"/>
                    <a:pt x="32783" y="15789"/>
                  </a:cubicBezTo>
                  <a:cubicBezTo>
                    <a:pt x="22870" y="15789"/>
                    <a:pt x="15789" y="22870"/>
                    <a:pt x="15789" y="32783"/>
                  </a:cubicBezTo>
                  <a:cubicBezTo>
                    <a:pt x="15789" y="42697"/>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8" name="Freeform: Shape 2177">
              <a:extLst>
                <a:ext uri="{FF2B5EF4-FFF2-40B4-BE49-F238E27FC236}">
                  <a16:creationId xmlns:a16="http://schemas.microsoft.com/office/drawing/2014/main" id="{DE64BB4A-5743-4B9F-BE6D-9305A06BC696}"/>
                </a:ext>
              </a:extLst>
            </p:cNvPr>
            <p:cNvSpPr/>
            <p:nvPr/>
          </p:nvSpPr>
          <p:spPr>
            <a:xfrm>
              <a:off x="6227495" y="2749018"/>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8" y="15789"/>
                    <a:pt x="15789" y="20037"/>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79" name="Freeform: Shape 2178">
              <a:extLst>
                <a:ext uri="{FF2B5EF4-FFF2-40B4-BE49-F238E27FC236}">
                  <a16:creationId xmlns:a16="http://schemas.microsoft.com/office/drawing/2014/main" id="{B318971A-791C-43FC-9613-E0E3C9F09EBE}"/>
                </a:ext>
              </a:extLst>
            </p:cNvPr>
            <p:cNvSpPr/>
            <p:nvPr/>
          </p:nvSpPr>
          <p:spPr>
            <a:xfrm>
              <a:off x="6257235" y="2668295"/>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7" y="15789"/>
                    <a:pt x="15789" y="20038"/>
                    <a:pt x="15789" y="25703"/>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0" name="Freeform: Shape 2179">
              <a:extLst>
                <a:ext uri="{FF2B5EF4-FFF2-40B4-BE49-F238E27FC236}">
                  <a16:creationId xmlns:a16="http://schemas.microsoft.com/office/drawing/2014/main" id="{AFAFAA29-E0BC-4A13-9A30-029DC08CC766}"/>
                </a:ext>
              </a:extLst>
            </p:cNvPr>
            <p:cNvSpPr/>
            <p:nvPr/>
          </p:nvSpPr>
          <p:spPr>
            <a:xfrm>
              <a:off x="6192090" y="2628641"/>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8" y="15789"/>
                    <a:pt x="15789" y="20037"/>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1" name="Freeform: Shape 2180">
              <a:extLst>
                <a:ext uri="{FF2B5EF4-FFF2-40B4-BE49-F238E27FC236}">
                  <a16:creationId xmlns:a16="http://schemas.microsoft.com/office/drawing/2014/main" id="{38132EF0-0484-4437-BFF2-37D32C01F518}"/>
                </a:ext>
              </a:extLst>
            </p:cNvPr>
            <p:cNvSpPr/>
            <p:nvPr/>
          </p:nvSpPr>
          <p:spPr>
            <a:xfrm>
              <a:off x="6244489" y="2608815"/>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2" name="Freeform: Shape 2181">
              <a:extLst>
                <a:ext uri="{FF2B5EF4-FFF2-40B4-BE49-F238E27FC236}">
                  <a16:creationId xmlns:a16="http://schemas.microsoft.com/office/drawing/2014/main" id="{6BBA1AC2-C49F-4CCB-8F39-A8D29A234E84}"/>
                </a:ext>
              </a:extLst>
            </p:cNvPr>
            <p:cNvSpPr/>
            <p:nvPr/>
          </p:nvSpPr>
          <p:spPr>
            <a:xfrm>
              <a:off x="6621196" y="276459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3" name="Freeform: Shape 2182">
              <a:extLst>
                <a:ext uri="{FF2B5EF4-FFF2-40B4-BE49-F238E27FC236}">
                  <a16:creationId xmlns:a16="http://schemas.microsoft.com/office/drawing/2014/main" id="{E45FBC53-7E8C-4589-9D5C-0571FA4B1220}"/>
                </a:ext>
              </a:extLst>
            </p:cNvPr>
            <p:cNvSpPr/>
            <p:nvPr/>
          </p:nvSpPr>
          <p:spPr>
            <a:xfrm>
              <a:off x="6829376" y="258757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2697"/>
                    <a:pt x="49778" y="32783"/>
                  </a:cubicBezTo>
                  <a:cubicBezTo>
                    <a:pt x="49778" y="22870"/>
                    <a:pt x="42697" y="15789"/>
                    <a:pt x="32783" y="15789"/>
                  </a:cubicBezTo>
                  <a:cubicBezTo>
                    <a:pt x="22870" y="15789"/>
                    <a:pt x="15789" y="22870"/>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4" name="Freeform: Shape 2183">
              <a:extLst>
                <a:ext uri="{FF2B5EF4-FFF2-40B4-BE49-F238E27FC236}">
                  <a16:creationId xmlns:a16="http://schemas.microsoft.com/office/drawing/2014/main" id="{BB5F3223-842C-4AB2-8182-B3349A8117A4}"/>
                </a:ext>
              </a:extLst>
            </p:cNvPr>
            <p:cNvSpPr/>
            <p:nvPr/>
          </p:nvSpPr>
          <p:spPr>
            <a:xfrm>
              <a:off x="6915764" y="2434623"/>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1454"/>
                    <a:pt x="38448" y="15789"/>
                    <a:pt x="29951" y="15789"/>
                  </a:cubicBezTo>
                  <a:cubicBezTo>
                    <a:pt x="22870" y="15789"/>
                    <a:pt x="15789" y="21454"/>
                    <a:pt x="15789" y="29951"/>
                  </a:cubicBezTo>
                  <a:cubicBezTo>
                    <a:pt x="15789" y="38448"/>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5" name="Freeform: Shape 2184">
              <a:extLst>
                <a:ext uri="{FF2B5EF4-FFF2-40B4-BE49-F238E27FC236}">
                  <a16:creationId xmlns:a16="http://schemas.microsoft.com/office/drawing/2014/main" id="{B9E7C65D-11B2-44E5-A2F5-CB6870CE9D7B}"/>
                </a:ext>
              </a:extLst>
            </p:cNvPr>
            <p:cNvSpPr/>
            <p:nvPr/>
          </p:nvSpPr>
          <p:spPr>
            <a:xfrm>
              <a:off x="6379027" y="2400635"/>
              <a:ext cx="70810" cy="70810"/>
            </a:xfrm>
            <a:custGeom>
              <a:avLst/>
              <a:gdLst>
                <a:gd name="connsiteX0" fmla="*/ 37032 w 70809"/>
                <a:gd name="connsiteY0" fmla="*/ 15789 h 70809"/>
                <a:gd name="connsiteX1" fmla="*/ 58275 w 70809"/>
                <a:gd name="connsiteY1" fmla="*/ 37032 h 70809"/>
                <a:gd name="connsiteX2" fmla="*/ 37032 w 70809"/>
                <a:gd name="connsiteY2" fmla="*/ 58275 h 70809"/>
                <a:gd name="connsiteX3" fmla="*/ 15789 w 70809"/>
                <a:gd name="connsiteY3" fmla="*/ 37032 h 70809"/>
                <a:gd name="connsiteX4" fmla="*/ 37032 w 70809"/>
                <a:gd name="connsiteY4" fmla="*/ 15789 h 70809"/>
                <a:gd name="connsiteX5" fmla="*/ 37032 w 70809"/>
                <a:gd name="connsiteY5" fmla="*/ 15789 h 70809"/>
                <a:gd name="connsiteX6" fmla="*/ 37032 w 70809"/>
                <a:gd name="connsiteY6" fmla="*/ 24286 h 70809"/>
                <a:gd name="connsiteX7" fmla="*/ 25702 w 70809"/>
                <a:gd name="connsiteY7" fmla="*/ 35616 h 70809"/>
                <a:gd name="connsiteX8" fmla="*/ 37032 w 70809"/>
                <a:gd name="connsiteY8" fmla="*/ 46945 h 70809"/>
                <a:gd name="connsiteX9" fmla="*/ 48361 w 70809"/>
                <a:gd name="connsiteY9" fmla="*/ 35616 h 70809"/>
                <a:gd name="connsiteX10" fmla="*/ 37032 w 70809"/>
                <a:gd name="connsiteY10" fmla="*/ 24286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37032" y="15789"/>
                  </a:moveTo>
                  <a:cubicBezTo>
                    <a:pt x="48361" y="15789"/>
                    <a:pt x="58275" y="25702"/>
                    <a:pt x="58275" y="37032"/>
                  </a:cubicBezTo>
                  <a:cubicBezTo>
                    <a:pt x="58275" y="48361"/>
                    <a:pt x="48361" y="58275"/>
                    <a:pt x="37032" y="58275"/>
                  </a:cubicBezTo>
                  <a:cubicBezTo>
                    <a:pt x="25702" y="58275"/>
                    <a:pt x="15789" y="48361"/>
                    <a:pt x="15789" y="37032"/>
                  </a:cubicBezTo>
                  <a:cubicBezTo>
                    <a:pt x="15789" y="24286"/>
                    <a:pt x="25702" y="15789"/>
                    <a:pt x="37032" y="15789"/>
                  </a:cubicBezTo>
                  <a:lnTo>
                    <a:pt x="37032" y="15789"/>
                  </a:lnTo>
                  <a:close/>
                  <a:moveTo>
                    <a:pt x="37032" y="24286"/>
                  </a:moveTo>
                  <a:cubicBezTo>
                    <a:pt x="29951" y="24286"/>
                    <a:pt x="25702" y="29951"/>
                    <a:pt x="25702" y="35616"/>
                  </a:cubicBezTo>
                  <a:cubicBezTo>
                    <a:pt x="25702" y="42697"/>
                    <a:pt x="31367" y="46945"/>
                    <a:pt x="37032" y="46945"/>
                  </a:cubicBezTo>
                  <a:cubicBezTo>
                    <a:pt x="44113" y="46945"/>
                    <a:pt x="48361" y="41280"/>
                    <a:pt x="48361" y="35616"/>
                  </a:cubicBezTo>
                  <a:cubicBezTo>
                    <a:pt x="49778" y="29951"/>
                    <a:pt x="44113" y="24286"/>
                    <a:pt x="37032"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6" name="Freeform: Shape 2185">
              <a:extLst>
                <a:ext uri="{FF2B5EF4-FFF2-40B4-BE49-F238E27FC236}">
                  <a16:creationId xmlns:a16="http://schemas.microsoft.com/office/drawing/2014/main" id="{10DBEBB6-D668-477E-BBB2-48C5DA2CAEAB}"/>
                </a:ext>
              </a:extLst>
            </p:cNvPr>
            <p:cNvSpPr/>
            <p:nvPr/>
          </p:nvSpPr>
          <p:spPr>
            <a:xfrm>
              <a:off x="6870446" y="2812746"/>
              <a:ext cx="70810" cy="70810"/>
            </a:xfrm>
            <a:custGeom>
              <a:avLst/>
              <a:gdLst>
                <a:gd name="connsiteX0" fmla="*/ 37032 w 70809"/>
                <a:gd name="connsiteY0" fmla="*/ 15789 h 70809"/>
                <a:gd name="connsiteX1" fmla="*/ 58275 w 70809"/>
                <a:gd name="connsiteY1" fmla="*/ 37032 h 70809"/>
                <a:gd name="connsiteX2" fmla="*/ 37032 w 70809"/>
                <a:gd name="connsiteY2" fmla="*/ 58275 h 70809"/>
                <a:gd name="connsiteX3" fmla="*/ 15789 w 70809"/>
                <a:gd name="connsiteY3" fmla="*/ 37032 h 70809"/>
                <a:gd name="connsiteX4" fmla="*/ 37032 w 70809"/>
                <a:gd name="connsiteY4" fmla="*/ 15789 h 70809"/>
                <a:gd name="connsiteX5" fmla="*/ 37032 w 70809"/>
                <a:gd name="connsiteY5" fmla="*/ 15789 h 70809"/>
                <a:gd name="connsiteX6" fmla="*/ 37032 w 70809"/>
                <a:gd name="connsiteY6" fmla="*/ 24286 h 70809"/>
                <a:gd name="connsiteX7" fmla="*/ 25703 w 70809"/>
                <a:gd name="connsiteY7" fmla="*/ 35616 h 70809"/>
                <a:gd name="connsiteX8" fmla="*/ 37032 w 70809"/>
                <a:gd name="connsiteY8" fmla="*/ 46945 h 70809"/>
                <a:gd name="connsiteX9" fmla="*/ 48362 w 70809"/>
                <a:gd name="connsiteY9" fmla="*/ 35616 h 70809"/>
                <a:gd name="connsiteX10" fmla="*/ 37032 w 70809"/>
                <a:gd name="connsiteY10" fmla="*/ 24286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37032" y="15789"/>
                  </a:moveTo>
                  <a:cubicBezTo>
                    <a:pt x="48362" y="15789"/>
                    <a:pt x="58275" y="25702"/>
                    <a:pt x="58275" y="37032"/>
                  </a:cubicBezTo>
                  <a:cubicBezTo>
                    <a:pt x="58275" y="48361"/>
                    <a:pt x="48362" y="58275"/>
                    <a:pt x="37032" y="58275"/>
                  </a:cubicBezTo>
                  <a:cubicBezTo>
                    <a:pt x="25703" y="58275"/>
                    <a:pt x="15789" y="48361"/>
                    <a:pt x="15789" y="37032"/>
                  </a:cubicBezTo>
                  <a:cubicBezTo>
                    <a:pt x="15789" y="24286"/>
                    <a:pt x="25703" y="15789"/>
                    <a:pt x="37032" y="15789"/>
                  </a:cubicBezTo>
                  <a:lnTo>
                    <a:pt x="37032" y="15789"/>
                  </a:lnTo>
                  <a:close/>
                  <a:moveTo>
                    <a:pt x="37032" y="24286"/>
                  </a:moveTo>
                  <a:cubicBezTo>
                    <a:pt x="29951" y="24286"/>
                    <a:pt x="25703" y="29951"/>
                    <a:pt x="25703" y="35616"/>
                  </a:cubicBezTo>
                  <a:cubicBezTo>
                    <a:pt x="25703" y="42697"/>
                    <a:pt x="31367" y="46945"/>
                    <a:pt x="37032" y="46945"/>
                  </a:cubicBezTo>
                  <a:cubicBezTo>
                    <a:pt x="44113" y="46945"/>
                    <a:pt x="48362" y="41280"/>
                    <a:pt x="48362" y="35616"/>
                  </a:cubicBezTo>
                  <a:cubicBezTo>
                    <a:pt x="48362" y="29951"/>
                    <a:pt x="44113" y="24286"/>
                    <a:pt x="37032"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7" name="Freeform: Shape 2186">
              <a:extLst>
                <a:ext uri="{FF2B5EF4-FFF2-40B4-BE49-F238E27FC236}">
                  <a16:creationId xmlns:a16="http://schemas.microsoft.com/office/drawing/2014/main" id="{1056AF17-9701-42A1-9BD4-9B96FF4A0916}"/>
                </a:ext>
              </a:extLst>
            </p:cNvPr>
            <p:cNvSpPr/>
            <p:nvPr/>
          </p:nvSpPr>
          <p:spPr>
            <a:xfrm>
              <a:off x="7687453" y="3223442"/>
              <a:ext cx="70810" cy="70810"/>
            </a:xfrm>
            <a:custGeom>
              <a:avLst/>
              <a:gdLst>
                <a:gd name="connsiteX0" fmla="*/ 35751 w 70809"/>
                <a:gd name="connsiteY0" fmla="*/ 55442 h 70809"/>
                <a:gd name="connsiteX1" fmla="*/ 55578 w 70809"/>
                <a:gd name="connsiteY1" fmla="*/ 35616 h 70809"/>
                <a:gd name="connsiteX2" fmla="*/ 35751 w 70809"/>
                <a:gd name="connsiteY2" fmla="*/ 15789 h 70809"/>
                <a:gd name="connsiteX3" fmla="*/ 15924 w 70809"/>
                <a:gd name="connsiteY3" fmla="*/ 35616 h 70809"/>
                <a:gd name="connsiteX4" fmla="*/ 35751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751" y="55442"/>
                  </a:moveTo>
                  <a:cubicBezTo>
                    <a:pt x="47081" y="55442"/>
                    <a:pt x="55578" y="46945"/>
                    <a:pt x="55578" y="35616"/>
                  </a:cubicBezTo>
                  <a:cubicBezTo>
                    <a:pt x="55578" y="24286"/>
                    <a:pt x="47081" y="15789"/>
                    <a:pt x="35751" y="15789"/>
                  </a:cubicBezTo>
                  <a:cubicBezTo>
                    <a:pt x="24422" y="15789"/>
                    <a:pt x="15924" y="24286"/>
                    <a:pt x="15924" y="35616"/>
                  </a:cubicBezTo>
                  <a:cubicBezTo>
                    <a:pt x="14508" y="46945"/>
                    <a:pt x="24422" y="55442"/>
                    <a:pt x="35751"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8" name="Freeform: Shape 2187">
              <a:extLst>
                <a:ext uri="{FF2B5EF4-FFF2-40B4-BE49-F238E27FC236}">
                  <a16:creationId xmlns:a16="http://schemas.microsoft.com/office/drawing/2014/main" id="{1AE1A6FE-4B16-4646-AB95-B406658D05AE}"/>
                </a:ext>
              </a:extLst>
            </p:cNvPr>
            <p:cNvSpPr/>
            <p:nvPr/>
          </p:nvSpPr>
          <p:spPr>
            <a:xfrm>
              <a:off x="7996318" y="3590235"/>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4286"/>
                    <a:pt x="46945" y="15789"/>
                    <a:pt x="35616" y="15789"/>
                  </a:cubicBezTo>
                  <a:cubicBezTo>
                    <a:pt x="24286" y="15789"/>
                    <a:pt x="15789" y="24286"/>
                    <a:pt x="15789" y="35616"/>
                  </a:cubicBezTo>
                  <a:cubicBezTo>
                    <a:pt x="15789" y="46945"/>
                    <a:pt x="24286"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89" name="Freeform: Shape 2188">
              <a:extLst>
                <a:ext uri="{FF2B5EF4-FFF2-40B4-BE49-F238E27FC236}">
                  <a16:creationId xmlns:a16="http://schemas.microsoft.com/office/drawing/2014/main" id="{6DDDE704-3093-48B4-9150-84656D817B35}"/>
                </a:ext>
              </a:extLst>
            </p:cNvPr>
            <p:cNvSpPr/>
            <p:nvPr/>
          </p:nvSpPr>
          <p:spPr>
            <a:xfrm>
              <a:off x="7649351" y="2414796"/>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29" y="55442"/>
                    <a:pt x="55443" y="46945"/>
                    <a:pt x="55443" y="35616"/>
                  </a:cubicBezTo>
                  <a:cubicBezTo>
                    <a:pt x="55443" y="25702"/>
                    <a:pt x="46945" y="15789"/>
                    <a:pt x="35616" y="15789"/>
                  </a:cubicBezTo>
                  <a:cubicBezTo>
                    <a:pt x="25703" y="15789"/>
                    <a:pt x="15789" y="24286"/>
                    <a:pt x="15789" y="35616"/>
                  </a:cubicBezTo>
                  <a:cubicBezTo>
                    <a:pt x="17205" y="46945"/>
                    <a:pt x="25703"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0" name="Freeform: Shape 2189">
              <a:extLst>
                <a:ext uri="{FF2B5EF4-FFF2-40B4-BE49-F238E27FC236}">
                  <a16:creationId xmlns:a16="http://schemas.microsoft.com/office/drawing/2014/main" id="{854AB506-6072-409E-8B9C-BEF3C559CB7C}"/>
                </a:ext>
              </a:extLst>
            </p:cNvPr>
            <p:cNvSpPr/>
            <p:nvPr/>
          </p:nvSpPr>
          <p:spPr>
            <a:xfrm>
              <a:off x="8479240" y="3047834"/>
              <a:ext cx="141619" cy="141619"/>
            </a:xfrm>
            <a:custGeom>
              <a:avLst/>
              <a:gdLst>
                <a:gd name="connsiteX0" fmla="*/ 73853 w 141619"/>
                <a:gd name="connsiteY0" fmla="*/ 131917 h 141619"/>
                <a:gd name="connsiteX1" fmla="*/ 131916 w 141619"/>
                <a:gd name="connsiteY1" fmla="*/ 73853 h 141619"/>
                <a:gd name="connsiteX2" fmla="*/ 73853 w 141619"/>
                <a:gd name="connsiteY2" fmla="*/ 15789 h 141619"/>
                <a:gd name="connsiteX3" fmla="*/ 15789 w 141619"/>
                <a:gd name="connsiteY3" fmla="*/ 73853 h 141619"/>
                <a:gd name="connsiteX4" fmla="*/ 73853 w 141619"/>
                <a:gd name="connsiteY4" fmla="*/ 131917 h 141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9" h="141619">
                  <a:moveTo>
                    <a:pt x="73853" y="131917"/>
                  </a:moveTo>
                  <a:cubicBezTo>
                    <a:pt x="106425" y="131917"/>
                    <a:pt x="131916" y="105009"/>
                    <a:pt x="131916" y="73853"/>
                  </a:cubicBezTo>
                  <a:cubicBezTo>
                    <a:pt x="131916" y="41280"/>
                    <a:pt x="105009" y="15789"/>
                    <a:pt x="73853" y="15789"/>
                  </a:cubicBezTo>
                  <a:cubicBezTo>
                    <a:pt x="41280" y="15789"/>
                    <a:pt x="15789" y="42697"/>
                    <a:pt x="15789" y="73853"/>
                  </a:cubicBezTo>
                  <a:cubicBezTo>
                    <a:pt x="15789" y="106425"/>
                    <a:pt x="41280" y="131917"/>
                    <a:pt x="73853" y="13191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1" name="Freeform: Shape 2190">
              <a:extLst>
                <a:ext uri="{FF2B5EF4-FFF2-40B4-BE49-F238E27FC236}">
                  <a16:creationId xmlns:a16="http://schemas.microsoft.com/office/drawing/2014/main" id="{32823861-C85E-4BD0-ACAB-46AD2D9DD429}"/>
                </a:ext>
              </a:extLst>
            </p:cNvPr>
            <p:cNvSpPr/>
            <p:nvPr/>
          </p:nvSpPr>
          <p:spPr>
            <a:xfrm>
              <a:off x="7272644" y="3029423"/>
              <a:ext cx="84971" cy="84971"/>
            </a:xfrm>
            <a:custGeom>
              <a:avLst/>
              <a:gdLst>
                <a:gd name="connsiteX0" fmla="*/ 45529 w 84971"/>
                <a:gd name="connsiteY0" fmla="*/ 75269 h 84971"/>
                <a:gd name="connsiteX1" fmla="*/ 75269 w 84971"/>
                <a:gd name="connsiteY1" fmla="*/ 45529 h 84971"/>
                <a:gd name="connsiteX2" fmla="*/ 45529 w 84971"/>
                <a:gd name="connsiteY2" fmla="*/ 15789 h 84971"/>
                <a:gd name="connsiteX3" fmla="*/ 15789 w 84971"/>
                <a:gd name="connsiteY3" fmla="*/ 45529 h 84971"/>
                <a:gd name="connsiteX4" fmla="*/ 45529 w 84971"/>
                <a:gd name="connsiteY4" fmla="*/ 7526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529" y="75269"/>
                  </a:moveTo>
                  <a:cubicBezTo>
                    <a:pt x="61107" y="75269"/>
                    <a:pt x="75269" y="62523"/>
                    <a:pt x="75269" y="45529"/>
                  </a:cubicBezTo>
                  <a:cubicBezTo>
                    <a:pt x="75269" y="29951"/>
                    <a:pt x="62523" y="15789"/>
                    <a:pt x="45529" y="15789"/>
                  </a:cubicBezTo>
                  <a:cubicBezTo>
                    <a:pt x="28535" y="15789"/>
                    <a:pt x="15789" y="28535"/>
                    <a:pt x="15789" y="45529"/>
                  </a:cubicBezTo>
                  <a:cubicBezTo>
                    <a:pt x="15789" y="62523"/>
                    <a:pt x="29951" y="75269"/>
                    <a:pt x="45529" y="752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2" name="Freeform: Shape 2191">
              <a:extLst>
                <a:ext uri="{FF2B5EF4-FFF2-40B4-BE49-F238E27FC236}">
                  <a16:creationId xmlns:a16="http://schemas.microsoft.com/office/drawing/2014/main" id="{7A66B906-EC43-452F-9987-21E1344756CD}"/>
                </a:ext>
              </a:extLst>
            </p:cNvPr>
            <p:cNvSpPr/>
            <p:nvPr/>
          </p:nvSpPr>
          <p:spPr>
            <a:xfrm>
              <a:off x="7421344" y="3387720"/>
              <a:ext cx="84971" cy="84971"/>
            </a:xfrm>
            <a:custGeom>
              <a:avLst/>
              <a:gdLst>
                <a:gd name="connsiteX0" fmla="*/ 45529 w 84971"/>
                <a:gd name="connsiteY0" fmla="*/ 75269 h 84971"/>
                <a:gd name="connsiteX1" fmla="*/ 75269 w 84971"/>
                <a:gd name="connsiteY1" fmla="*/ 45529 h 84971"/>
                <a:gd name="connsiteX2" fmla="*/ 45529 w 84971"/>
                <a:gd name="connsiteY2" fmla="*/ 15789 h 84971"/>
                <a:gd name="connsiteX3" fmla="*/ 15789 w 84971"/>
                <a:gd name="connsiteY3" fmla="*/ 45529 h 84971"/>
                <a:gd name="connsiteX4" fmla="*/ 45529 w 84971"/>
                <a:gd name="connsiteY4" fmla="*/ 7526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529" y="75269"/>
                  </a:moveTo>
                  <a:cubicBezTo>
                    <a:pt x="61107" y="75269"/>
                    <a:pt x="75269" y="62523"/>
                    <a:pt x="75269" y="45529"/>
                  </a:cubicBezTo>
                  <a:cubicBezTo>
                    <a:pt x="75269" y="29951"/>
                    <a:pt x="62523" y="15789"/>
                    <a:pt x="45529" y="15789"/>
                  </a:cubicBezTo>
                  <a:cubicBezTo>
                    <a:pt x="29951" y="15789"/>
                    <a:pt x="15789" y="28535"/>
                    <a:pt x="15789" y="45529"/>
                  </a:cubicBezTo>
                  <a:cubicBezTo>
                    <a:pt x="15789" y="62523"/>
                    <a:pt x="28535" y="75269"/>
                    <a:pt x="45529" y="752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3" name="Freeform: Shape 2192">
              <a:extLst>
                <a:ext uri="{FF2B5EF4-FFF2-40B4-BE49-F238E27FC236}">
                  <a16:creationId xmlns:a16="http://schemas.microsoft.com/office/drawing/2014/main" id="{12C71B02-3517-41AE-81F1-C1914A9E6341}"/>
                </a:ext>
              </a:extLst>
            </p:cNvPr>
            <p:cNvSpPr/>
            <p:nvPr/>
          </p:nvSpPr>
          <p:spPr>
            <a:xfrm>
              <a:off x="6683509" y="2666878"/>
              <a:ext cx="84971" cy="84971"/>
            </a:xfrm>
            <a:custGeom>
              <a:avLst/>
              <a:gdLst>
                <a:gd name="connsiteX0" fmla="*/ 45529 w 84971"/>
                <a:gd name="connsiteY0" fmla="*/ 75269 h 84971"/>
                <a:gd name="connsiteX1" fmla="*/ 75269 w 84971"/>
                <a:gd name="connsiteY1" fmla="*/ 45529 h 84971"/>
                <a:gd name="connsiteX2" fmla="*/ 45529 w 84971"/>
                <a:gd name="connsiteY2" fmla="*/ 15789 h 84971"/>
                <a:gd name="connsiteX3" fmla="*/ 15789 w 84971"/>
                <a:gd name="connsiteY3" fmla="*/ 45529 h 84971"/>
                <a:gd name="connsiteX4" fmla="*/ 45529 w 84971"/>
                <a:gd name="connsiteY4" fmla="*/ 7526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529" y="75269"/>
                  </a:moveTo>
                  <a:cubicBezTo>
                    <a:pt x="61107" y="75269"/>
                    <a:pt x="75269" y="62523"/>
                    <a:pt x="75269" y="45529"/>
                  </a:cubicBezTo>
                  <a:cubicBezTo>
                    <a:pt x="75269" y="29951"/>
                    <a:pt x="62523" y="15789"/>
                    <a:pt x="45529" y="15789"/>
                  </a:cubicBezTo>
                  <a:cubicBezTo>
                    <a:pt x="29951" y="15789"/>
                    <a:pt x="15789" y="28535"/>
                    <a:pt x="15789" y="45529"/>
                  </a:cubicBezTo>
                  <a:cubicBezTo>
                    <a:pt x="15789" y="62523"/>
                    <a:pt x="29951" y="75269"/>
                    <a:pt x="45529" y="752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4" name="Freeform: Shape 2193">
              <a:extLst>
                <a:ext uri="{FF2B5EF4-FFF2-40B4-BE49-F238E27FC236}">
                  <a16:creationId xmlns:a16="http://schemas.microsoft.com/office/drawing/2014/main" id="{1030326F-D364-4C41-B37B-49E540F7C829}"/>
                </a:ext>
              </a:extLst>
            </p:cNvPr>
            <p:cNvSpPr/>
            <p:nvPr/>
          </p:nvSpPr>
          <p:spPr>
            <a:xfrm>
              <a:off x="7145032" y="3411795"/>
              <a:ext cx="56648" cy="56648"/>
            </a:xfrm>
            <a:custGeom>
              <a:avLst/>
              <a:gdLst>
                <a:gd name="connsiteX0" fmla="*/ 32938 w 56647"/>
                <a:gd name="connsiteY0" fmla="*/ 49778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8"/>
                  </a:moveTo>
                  <a:cubicBezTo>
                    <a:pt x="42852" y="49778"/>
                    <a:pt x="49933" y="41280"/>
                    <a:pt x="49933" y="32783"/>
                  </a:cubicBezTo>
                  <a:cubicBezTo>
                    <a:pt x="49933" y="22870"/>
                    <a:pt x="41435" y="15789"/>
                    <a:pt x="32938" y="15789"/>
                  </a:cubicBezTo>
                  <a:cubicBezTo>
                    <a:pt x="23025" y="15789"/>
                    <a:pt x="15944" y="24286"/>
                    <a:pt x="15944" y="32783"/>
                  </a:cubicBezTo>
                  <a:cubicBezTo>
                    <a:pt x="14528" y="41280"/>
                    <a:pt x="23025" y="49778"/>
                    <a:pt x="32938"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5" name="Freeform: Shape 2194">
              <a:extLst>
                <a:ext uri="{FF2B5EF4-FFF2-40B4-BE49-F238E27FC236}">
                  <a16:creationId xmlns:a16="http://schemas.microsoft.com/office/drawing/2014/main" id="{4E67C854-6ADC-4201-B080-47E573AD47BB}"/>
                </a:ext>
              </a:extLst>
            </p:cNvPr>
            <p:cNvSpPr/>
            <p:nvPr/>
          </p:nvSpPr>
          <p:spPr>
            <a:xfrm>
              <a:off x="7089955" y="3098817"/>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1280"/>
                    <a:pt x="49778" y="32783"/>
                  </a:cubicBezTo>
                  <a:cubicBezTo>
                    <a:pt x="49778" y="22870"/>
                    <a:pt x="41281" y="15789"/>
                    <a:pt x="32783" y="15789"/>
                  </a:cubicBezTo>
                  <a:cubicBezTo>
                    <a:pt x="22870" y="15789"/>
                    <a:pt x="15789" y="24286"/>
                    <a:pt x="15789" y="32783"/>
                  </a:cubicBezTo>
                  <a:cubicBezTo>
                    <a:pt x="15789" y="41280"/>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6" name="Freeform: Shape 2195">
              <a:extLst>
                <a:ext uri="{FF2B5EF4-FFF2-40B4-BE49-F238E27FC236}">
                  <a16:creationId xmlns:a16="http://schemas.microsoft.com/office/drawing/2014/main" id="{BF684EB3-6C5A-4A76-8242-1A03577CA85E}"/>
                </a:ext>
              </a:extLst>
            </p:cNvPr>
            <p:cNvSpPr/>
            <p:nvPr/>
          </p:nvSpPr>
          <p:spPr>
            <a:xfrm>
              <a:off x="7501912" y="3486853"/>
              <a:ext cx="56648" cy="56648"/>
            </a:xfrm>
            <a:custGeom>
              <a:avLst/>
              <a:gdLst>
                <a:gd name="connsiteX0" fmla="*/ 32938 w 56647"/>
                <a:gd name="connsiteY0" fmla="*/ 49778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8"/>
                  </a:moveTo>
                  <a:cubicBezTo>
                    <a:pt x="42852" y="49778"/>
                    <a:pt x="49933" y="41280"/>
                    <a:pt x="49933" y="32783"/>
                  </a:cubicBezTo>
                  <a:cubicBezTo>
                    <a:pt x="49933" y="22870"/>
                    <a:pt x="41436" y="15789"/>
                    <a:pt x="32938" y="15789"/>
                  </a:cubicBezTo>
                  <a:cubicBezTo>
                    <a:pt x="23025" y="15789"/>
                    <a:pt x="15944" y="24286"/>
                    <a:pt x="15944" y="32783"/>
                  </a:cubicBezTo>
                  <a:cubicBezTo>
                    <a:pt x="14528" y="41280"/>
                    <a:pt x="23025" y="49778"/>
                    <a:pt x="32938"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7" name="Freeform: Shape 2196">
              <a:extLst>
                <a:ext uri="{FF2B5EF4-FFF2-40B4-BE49-F238E27FC236}">
                  <a16:creationId xmlns:a16="http://schemas.microsoft.com/office/drawing/2014/main" id="{1D0E2EF8-8899-4A68-9D5C-C2F511473225}"/>
                </a:ext>
              </a:extLst>
            </p:cNvPr>
            <p:cNvSpPr/>
            <p:nvPr/>
          </p:nvSpPr>
          <p:spPr>
            <a:xfrm>
              <a:off x="6829221" y="2945868"/>
              <a:ext cx="56648" cy="56648"/>
            </a:xfrm>
            <a:custGeom>
              <a:avLst/>
              <a:gdLst>
                <a:gd name="connsiteX0" fmla="*/ 32938 w 56647"/>
                <a:gd name="connsiteY0" fmla="*/ 49777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7"/>
                  </a:moveTo>
                  <a:cubicBezTo>
                    <a:pt x="42852" y="49777"/>
                    <a:pt x="49933" y="41280"/>
                    <a:pt x="49933" y="32783"/>
                  </a:cubicBezTo>
                  <a:cubicBezTo>
                    <a:pt x="49933" y="22870"/>
                    <a:pt x="41436" y="15789"/>
                    <a:pt x="32938" y="15789"/>
                  </a:cubicBezTo>
                  <a:cubicBezTo>
                    <a:pt x="23025" y="15789"/>
                    <a:pt x="15944" y="24286"/>
                    <a:pt x="15944" y="32783"/>
                  </a:cubicBezTo>
                  <a:cubicBezTo>
                    <a:pt x="14528" y="42697"/>
                    <a:pt x="23025" y="49777"/>
                    <a:pt x="32938"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8" name="Freeform: Shape 2197">
              <a:extLst>
                <a:ext uri="{FF2B5EF4-FFF2-40B4-BE49-F238E27FC236}">
                  <a16:creationId xmlns:a16="http://schemas.microsoft.com/office/drawing/2014/main" id="{EB122A67-EBA5-4754-9761-03137CA26353}"/>
                </a:ext>
              </a:extLst>
            </p:cNvPr>
            <p:cNvSpPr/>
            <p:nvPr/>
          </p:nvSpPr>
          <p:spPr>
            <a:xfrm>
              <a:off x="7227326" y="3205031"/>
              <a:ext cx="84971" cy="84971"/>
            </a:xfrm>
            <a:custGeom>
              <a:avLst/>
              <a:gdLst>
                <a:gd name="connsiteX0" fmla="*/ 45529 w 84971"/>
                <a:gd name="connsiteY0" fmla="*/ 15789 h 84971"/>
                <a:gd name="connsiteX1" fmla="*/ 75269 w 84971"/>
                <a:gd name="connsiteY1" fmla="*/ 45529 h 84971"/>
                <a:gd name="connsiteX2" fmla="*/ 45529 w 84971"/>
                <a:gd name="connsiteY2" fmla="*/ 75269 h 84971"/>
                <a:gd name="connsiteX3" fmla="*/ 15789 w 84971"/>
                <a:gd name="connsiteY3" fmla="*/ 45529 h 84971"/>
                <a:gd name="connsiteX4" fmla="*/ 45529 w 84971"/>
                <a:gd name="connsiteY4" fmla="*/ 15789 h 84971"/>
                <a:gd name="connsiteX5" fmla="*/ 45529 w 84971"/>
                <a:gd name="connsiteY5" fmla="*/ 15789 h 84971"/>
                <a:gd name="connsiteX6" fmla="*/ 45529 w 84971"/>
                <a:gd name="connsiteY6" fmla="*/ 28535 h 84971"/>
                <a:gd name="connsiteX7" fmla="*/ 28535 w 84971"/>
                <a:gd name="connsiteY7" fmla="*/ 45529 h 84971"/>
                <a:gd name="connsiteX8" fmla="*/ 45529 w 84971"/>
                <a:gd name="connsiteY8" fmla="*/ 62523 h 84971"/>
                <a:gd name="connsiteX9" fmla="*/ 62523 w 84971"/>
                <a:gd name="connsiteY9" fmla="*/ 45529 h 84971"/>
                <a:gd name="connsiteX10" fmla="*/ 45529 w 84971"/>
                <a:gd name="connsiteY10" fmla="*/ 28535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5529" y="15789"/>
                  </a:moveTo>
                  <a:cubicBezTo>
                    <a:pt x="62523" y="15789"/>
                    <a:pt x="75269" y="28535"/>
                    <a:pt x="75269" y="45529"/>
                  </a:cubicBezTo>
                  <a:cubicBezTo>
                    <a:pt x="75269" y="62523"/>
                    <a:pt x="62523" y="75269"/>
                    <a:pt x="45529" y="75269"/>
                  </a:cubicBezTo>
                  <a:cubicBezTo>
                    <a:pt x="28535" y="75269"/>
                    <a:pt x="15789" y="62523"/>
                    <a:pt x="15789" y="45529"/>
                  </a:cubicBezTo>
                  <a:cubicBezTo>
                    <a:pt x="15789" y="28535"/>
                    <a:pt x="28535" y="15789"/>
                    <a:pt x="45529" y="15789"/>
                  </a:cubicBezTo>
                  <a:lnTo>
                    <a:pt x="45529" y="15789"/>
                  </a:lnTo>
                  <a:close/>
                  <a:moveTo>
                    <a:pt x="45529" y="28535"/>
                  </a:moveTo>
                  <a:cubicBezTo>
                    <a:pt x="35616" y="28535"/>
                    <a:pt x="28535" y="35616"/>
                    <a:pt x="28535" y="45529"/>
                  </a:cubicBezTo>
                  <a:cubicBezTo>
                    <a:pt x="28535" y="55442"/>
                    <a:pt x="35616" y="62523"/>
                    <a:pt x="45529" y="62523"/>
                  </a:cubicBezTo>
                  <a:cubicBezTo>
                    <a:pt x="55442" y="62523"/>
                    <a:pt x="62523" y="55442"/>
                    <a:pt x="62523" y="45529"/>
                  </a:cubicBezTo>
                  <a:cubicBezTo>
                    <a:pt x="62523" y="35616"/>
                    <a:pt x="54026" y="28535"/>
                    <a:pt x="45529" y="2853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199" name="Freeform: Shape 2198">
              <a:extLst>
                <a:ext uri="{FF2B5EF4-FFF2-40B4-BE49-F238E27FC236}">
                  <a16:creationId xmlns:a16="http://schemas.microsoft.com/office/drawing/2014/main" id="{37A8B6EF-4B18-4A92-AAA9-F5F9520A4E08}"/>
                </a:ext>
              </a:extLst>
            </p:cNvPr>
            <p:cNvSpPr/>
            <p:nvPr/>
          </p:nvSpPr>
          <p:spPr>
            <a:xfrm>
              <a:off x="7451084" y="3258846"/>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8" y="15789"/>
                    <a:pt x="15789" y="20037"/>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0" name="Freeform: Shape 2199">
              <a:extLst>
                <a:ext uri="{FF2B5EF4-FFF2-40B4-BE49-F238E27FC236}">
                  <a16:creationId xmlns:a16="http://schemas.microsoft.com/office/drawing/2014/main" id="{634F350C-37BE-4151-841D-277FEABF3B79}"/>
                </a:ext>
              </a:extLst>
            </p:cNvPr>
            <p:cNvSpPr/>
            <p:nvPr/>
          </p:nvSpPr>
          <p:spPr>
            <a:xfrm>
              <a:off x="7561547" y="3372142"/>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7"/>
                    <a:pt x="31367" y="15789"/>
                    <a:pt x="25702" y="15789"/>
                  </a:cubicBezTo>
                  <a:cubicBezTo>
                    <a:pt x="20037" y="15789"/>
                    <a:pt x="15789" y="20037"/>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1" name="Freeform: Shape 2200">
              <a:extLst>
                <a:ext uri="{FF2B5EF4-FFF2-40B4-BE49-F238E27FC236}">
                  <a16:creationId xmlns:a16="http://schemas.microsoft.com/office/drawing/2014/main" id="{91C488C1-9BDB-4093-927B-F2E7B25DB8FC}"/>
                </a:ext>
              </a:extLst>
            </p:cNvPr>
            <p:cNvSpPr/>
            <p:nvPr/>
          </p:nvSpPr>
          <p:spPr>
            <a:xfrm>
              <a:off x="8150548" y="3935785"/>
              <a:ext cx="70810" cy="70810"/>
            </a:xfrm>
            <a:custGeom>
              <a:avLst/>
              <a:gdLst>
                <a:gd name="connsiteX0" fmla="*/ 38582 w 70809"/>
                <a:gd name="connsiteY0" fmla="*/ 61107 h 70809"/>
                <a:gd name="connsiteX1" fmla="*/ 61242 w 70809"/>
                <a:gd name="connsiteY1" fmla="*/ 38448 h 70809"/>
                <a:gd name="connsiteX2" fmla="*/ 38582 w 70809"/>
                <a:gd name="connsiteY2" fmla="*/ 15789 h 70809"/>
                <a:gd name="connsiteX3" fmla="*/ 15924 w 70809"/>
                <a:gd name="connsiteY3" fmla="*/ 38448 h 70809"/>
                <a:gd name="connsiteX4" fmla="*/ 38582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582" y="61107"/>
                  </a:moveTo>
                  <a:cubicBezTo>
                    <a:pt x="51328" y="61107"/>
                    <a:pt x="61242" y="51194"/>
                    <a:pt x="61242" y="38448"/>
                  </a:cubicBezTo>
                  <a:cubicBezTo>
                    <a:pt x="61242" y="25703"/>
                    <a:pt x="51328" y="15789"/>
                    <a:pt x="38582" y="15789"/>
                  </a:cubicBezTo>
                  <a:cubicBezTo>
                    <a:pt x="25837" y="15789"/>
                    <a:pt x="15924" y="25703"/>
                    <a:pt x="15924" y="38448"/>
                  </a:cubicBezTo>
                  <a:cubicBezTo>
                    <a:pt x="14507" y="49777"/>
                    <a:pt x="24420" y="61107"/>
                    <a:pt x="38582"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2" name="Freeform: Shape 2201">
              <a:extLst>
                <a:ext uri="{FF2B5EF4-FFF2-40B4-BE49-F238E27FC236}">
                  <a16:creationId xmlns:a16="http://schemas.microsoft.com/office/drawing/2014/main" id="{003F4D01-BEC9-40B3-82C9-252D65CC8A44}"/>
                </a:ext>
              </a:extLst>
            </p:cNvPr>
            <p:cNvSpPr/>
            <p:nvPr/>
          </p:nvSpPr>
          <p:spPr>
            <a:xfrm>
              <a:off x="5467000" y="2127310"/>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18621"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3" name="Freeform: Shape 2202">
              <a:extLst>
                <a:ext uri="{FF2B5EF4-FFF2-40B4-BE49-F238E27FC236}">
                  <a16:creationId xmlns:a16="http://schemas.microsoft.com/office/drawing/2014/main" id="{23609BCB-37D1-4C46-892C-563B770AF2C7}"/>
                </a:ext>
              </a:extLst>
            </p:cNvPr>
            <p:cNvSpPr/>
            <p:nvPr/>
          </p:nvSpPr>
          <p:spPr>
            <a:xfrm>
              <a:off x="5549139" y="1984274"/>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4" name="Freeform: Shape 2203">
              <a:extLst>
                <a:ext uri="{FF2B5EF4-FFF2-40B4-BE49-F238E27FC236}">
                  <a16:creationId xmlns:a16="http://schemas.microsoft.com/office/drawing/2014/main" id="{14054D10-40C9-433C-B32E-0A0D37F0A7BE}"/>
                </a:ext>
              </a:extLst>
            </p:cNvPr>
            <p:cNvSpPr/>
            <p:nvPr/>
          </p:nvSpPr>
          <p:spPr>
            <a:xfrm>
              <a:off x="5454254" y="203100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1" y="49778"/>
                    <a:pt x="49778" y="42697"/>
                    <a:pt x="49778" y="32783"/>
                  </a:cubicBezTo>
                  <a:cubicBezTo>
                    <a:pt x="49778" y="24286"/>
                    <a:pt x="42697" y="15789"/>
                    <a:pt x="32783" y="15789"/>
                  </a:cubicBezTo>
                  <a:cubicBezTo>
                    <a:pt x="22870"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5" name="Freeform: Shape 2204">
              <a:extLst>
                <a:ext uri="{FF2B5EF4-FFF2-40B4-BE49-F238E27FC236}">
                  <a16:creationId xmlns:a16="http://schemas.microsoft.com/office/drawing/2014/main" id="{918CFABB-C236-440A-B05E-B441842D2A1A}"/>
                </a:ext>
              </a:extLst>
            </p:cNvPr>
            <p:cNvSpPr/>
            <p:nvPr/>
          </p:nvSpPr>
          <p:spPr>
            <a:xfrm>
              <a:off x="5522232" y="2130142"/>
              <a:ext cx="28324" cy="28324"/>
            </a:xfrm>
            <a:custGeom>
              <a:avLst/>
              <a:gdLst>
                <a:gd name="connsiteX0" fmla="*/ 20037 w 28323"/>
                <a:gd name="connsiteY0" fmla="*/ 24286 h 28323"/>
                <a:gd name="connsiteX1" fmla="*/ 24286 w 28323"/>
                <a:gd name="connsiteY1" fmla="*/ 20038 h 28323"/>
                <a:gd name="connsiteX2" fmla="*/ 20037 w 28323"/>
                <a:gd name="connsiteY2" fmla="*/ 15789 h 28323"/>
                <a:gd name="connsiteX3" fmla="*/ 15789 w 28323"/>
                <a:gd name="connsiteY3" fmla="*/ 20038 h 28323"/>
                <a:gd name="connsiteX4" fmla="*/ 20037 w 28323"/>
                <a:gd name="connsiteY4" fmla="*/ 24286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0037" y="24286"/>
                  </a:moveTo>
                  <a:cubicBezTo>
                    <a:pt x="22870" y="24286"/>
                    <a:pt x="24286" y="22870"/>
                    <a:pt x="24286" y="20038"/>
                  </a:cubicBezTo>
                  <a:cubicBezTo>
                    <a:pt x="24286" y="17205"/>
                    <a:pt x="22870" y="15789"/>
                    <a:pt x="20037" y="15789"/>
                  </a:cubicBezTo>
                  <a:cubicBezTo>
                    <a:pt x="17205" y="15789"/>
                    <a:pt x="15789" y="17205"/>
                    <a:pt x="15789" y="20038"/>
                  </a:cubicBezTo>
                  <a:cubicBezTo>
                    <a:pt x="15789" y="22870"/>
                    <a:pt x="18621" y="24286"/>
                    <a:pt x="20037"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6" name="Freeform: Shape 2205">
              <a:extLst>
                <a:ext uri="{FF2B5EF4-FFF2-40B4-BE49-F238E27FC236}">
                  <a16:creationId xmlns:a16="http://schemas.microsoft.com/office/drawing/2014/main" id="{B8D8A153-A55F-43B8-AC3D-2CAD1FBD177A}"/>
                </a:ext>
              </a:extLst>
            </p:cNvPr>
            <p:cNvSpPr/>
            <p:nvPr/>
          </p:nvSpPr>
          <p:spPr>
            <a:xfrm>
              <a:off x="5539226" y="2070662"/>
              <a:ext cx="28324" cy="28324"/>
            </a:xfrm>
            <a:custGeom>
              <a:avLst/>
              <a:gdLst>
                <a:gd name="connsiteX0" fmla="*/ 20038 w 28323"/>
                <a:gd name="connsiteY0" fmla="*/ 24286 h 28323"/>
                <a:gd name="connsiteX1" fmla="*/ 24286 w 28323"/>
                <a:gd name="connsiteY1" fmla="*/ 20038 h 28323"/>
                <a:gd name="connsiteX2" fmla="*/ 20038 w 28323"/>
                <a:gd name="connsiteY2" fmla="*/ 15789 h 28323"/>
                <a:gd name="connsiteX3" fmla="*/ 15789 w 28323"/>
                <a:gd name="connsiteY3" fmla="*/ 20038 h 28323"/>
                <a:gd name="connsiteX4" fmla="*/ 20038 w 28323"/>
                <a:gd name="connsiteY4" fmla="*/ 24286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0038" y="24286"/>
                  </a:moveTo>
                  <a:cubicBezTo>
                    <a:pt x="22870" y="24286"/>
                    <a:pt x="24286" y="22870"/>
                    <a:pt x="24286" y="20038"/>
                  </a:cubicBezTo>
                  <a:cubicBezTo>
                    <a:pt x="24286" y="17205"/>
                    <a:pt x="22870" y="15789"/>
                    <a:pt x="20038" y="15789"/>
                  </a:cubicBezTo>
                  <a:cubicBezTo>
                    <a:pt x="17205" y="15789"/>
                    <a:pt x="15789" y="17205"/>
                    <a:pt x="15789" y="20038"/>
                  </a:cubicBezTo>
                  <a:cubicBezTo>
                    <a:pt x="15789" y="22870"/>
                    <a:pt x="17205" y="24286"/>
                    <a:pt x="20038"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7" name="Freeform: Shape 2206">
              <a:extLst>
                <a:ext uri="{FF2B5EF4-FFF2-40B4-BE49-F238E27FC236}">
                  <a16:creationId xmlns:a16="http://schemas.microsoft.com/office/drawing/2014/main" id="{75CCD3C0-5EBC-40A5-92F1-A07C160FD550}"/>
                </a:ext>
              </a:extLst>
            </p:cNvPr>
            <p:cNvSpPr/>
            <p:nvPr/>
          </p:nvSpPr>
          <p:spPr>
            <a:xfrm>
              <a:off x="7040389" y="2883556"/>
              <a:ext cx="70810" cy="70810"/>
            </a:xfrm>
            <a:custGeom>
              <a:avLst/>
              <a:gdLst>
                <a:gd name="connsiteX0" fmla="*/ 35616 w 70809"/>
                <a:gd name="connsiteY0" fmla="*/ 55442 h 70809"/>
                <a:gd name="connsiteX1" fmla="*/ 55443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3" y="46945"/>
                    <a:pt x="55443" y="35616"/>
                  </a:cubicBezTo>
                  <a:cubicBezTo>
                    <a:pt x="55443" y="24286"/>
                    <a:pt x="46945" y="15789"/>
                    <a:pt x="35616" y="15789"/>
                  </a:cubicBezTo>
                  <a:cubicBezTo>
                    <a:pt x="24286" y="15789"/>
                    <a:pt x="15789" y="24286"/>
                    <a:pt x="15789" y="35616"/>
                  </a:cubicBezTo>
                  <a:cubicBezTo>
                    <a:pt x="15789" y="46945"/>
                    <a:pt x="24286"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8" name="Freeform: Shape 2207">
              <a:extLst>
                <a:ext uri="{FF2B5EF4-FFF2-40B4-BE49-F238E27FC236}">
                  <a16:creationId xmlns:a16="http://schemas.microsoft.com/office/drawing/2014/main" id="{128B7168-869D-4AD0-AAAB-22E95BB39DED}"/>
                </a:ext>
              </a:extLst>
            </p:cNvPr>
            <p:cNvSpPr/>
            <p:nvPr/>
          </p:nvSpPr>
          <p:spPr>
            <a:xfrm>
              <a:off x="7778224" y="2978440"/>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1" y="49777"/>
                    <a:pt x="49778" y="42697"/>
                    <a:pt x="49778" y="32783"/>
                  </a:cubicBezTo>
                  <a:cubicBezTo>
                    <a:pt x="49778" y="22870"/>
                    <a:pt x="42697" y="15789"/>
                    <a:pt x="32783" y="15789"/>
                  </a:cubicBezTo>
                  <a:cubicBezTo>
                    <a:pt x="24286" y="15789"/>
                    <a:pt x="15789" y="22870"/>
                    <a:pt x="15789" y="32783"/>
                  </a:cubicBezTo>
                  <a:cubicBezTo>
                    <a:pt x="15789" y="42697"/>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09" name="Freeform: Shape 2208">
              <a:extLst>
                <a:ext uri="{FF2B5EF4-FFF2-40B4-BE49-F238E27FC236}">
                  <a16:creationId xmlns:a16="http://schemas.microsoft.com/office/drawing/2014/main" id="{1E268E69-162B-4C5A-8451-56E34CB12920}"/>
                </a:ext>
              </a:extLst>
            </p:cNvPr>
            <p:cNvSpPr/>
            <p:nvPr/>
          </p:nvSpPr>
          <p:spPr>
            <a:xfrm>
              <a:off x="7731490" y="2804249"/>
              <a:ext cx="113295" cy="113295"/>
            </a:xfrm>
            <a:custGeom>
              <a:avLst/>
              <a:gdLst>
                <a:gd name="connsiteX0" fmla="*/ 56858 w 113295"/>
                <a:gd name="connsiteY0" fmla="*/ 97928 h 113295"/>
                <a:gd name="connsiteX1" fmla="*/ 97928 w 113295"/>
                <a:gd name="connsiteY1" fmla="*/ 56858 h 113295"/>
                <a:gd name="connsiteX2" fmla="*/ 56858 w 113295"/>
                <a:gd name="connsiteY2" fmla="*/ 15789 h 113295"/>
                <a:gd name="connsiteX3" fmla="*/ 15789 w 113295"/>
                <a:gd name="connsiteY3" fmla="*/ 56858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8"/>
                  </a:cubicBezTo>
                  <a:cubicBezTo>
                    <a:pt x="97928" y="34200"/>
                    <a:pt x="79518" y="15789"/>
                    <a:pt x="56858" y="15789"/>
                  </a:cubicBezTo>
                  <a:cubicBezTo>
                    <a:pt x="34199" y="15789"/>
                    <a:pt x="15789" y="34200"/>
                    <a:pt x="15789" y="56858"/>
                  </a:cubicBezTo>
                  <a:cubicBezTo>
                    <a:pt x="17205" y="79518"/>
                    <a:pt x="35616" y="97928"/>
                    <a:pt x="56858"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0" name="Freeform: Shape 2209">
              <a:extLst>
                <a:ext uri="{FF2B5EF4-FFF2-40B4-BE49-F238E27FC236}">
                  <a16:creationId xmlns:a16="http://schemas.microsoft.com/office/drawing/2014/main" id="{C54CC030-F645-43AF-8512-72F4956DE576}"/>
                </a:ext>
              </a:extLst>
            </p:cNvPr>
            <p:cNvSpPr/>
            <p:nvPr/>
          </p:nvSpPr>
          <p:spPr>
            <a:xfrm>
              <a:off x="9766557" y="1137392"/>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30" y="55442"/>
                    <a:pt x="55442" y="46945"/>
                    <a:pt x="55442" y="35616"/>
                  </a:cubicBezTo>
                  <a:cubicBezTo>
                    <a:pt x="55442" y="25702"/>
                    <a:pt x="46945" y="15789"/>
                    <a:pt x="35616" y="15789"/>
                  </a:cubicBezTo>
                  <a:cubicBezTo>
                    <a:pt x="24287" y="15789"/>
                    <a:pt x="15789" y="24286"/>
                    <a:pt x="15789" y="35616"/>
                  </a:cubicBezTo>
                  <a:cubicBezTo>
                    <a:pt x="17206" y="46945"/>
                    <a:pt x="25703"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1" name="Freeform: Shape 2210">
              <a:extLst>
                <a:ext uri="{FF2B5EF4-FFF2-40B4-BE49-F238E27FC236}">
                  <a16:creationId xmlns:a16="http://schemas.microsoft.com/office/drawing/2014/main" id="{FB83DBEF-9D3A-4639-9278-C12BFC00D457}"/>
                </a:ext>
              </a:extLst>
            </p:cNvPr>
            <p:cNvSpPr/>
            <p:nvPr/>
          </p:nvSpPr>
          <p:spPr>
            <a:xfrm>
              <a:off x="8154931" y="3325407"/>
              <a:ext cx="99133" cy="99133"/>
            </a:xfrm>
            <a:custGeom>
              <a:avLst/>
              <a:gdLst>
                <a:gd name="connsiteX0" fmla="*/ 49778 w 99133"/>
                <a:gd name="connsiteY0" fmla="*/ 83766 h 99133"/>
                <a:gd name="connsiteX1" fmla="*/ 83766 w 99133"/>
                <a:gd name="connsiteY1" fmla="*/ 49777 h 99133"/>
                <a:gd name="connsiteX2" fmla="*/ 49778 w 99133"/>
                <a:gd name="connsiteY2" fmla="*/ 15789 h 99133"/>
                <a:gd name="connsiteX3" fmla="*/ 15789 w 99133"/>
                <a:gd name="connsiteY3" fmla="*/ 49777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7"/>
                  </a:cubicBezTo>
                  <a:cubicBezTo>
                    <a:pt x="83766" y="31367"/>
                    <a:pt x="68188" y="15789"/>
                    <a:pt x="49778" y="15789"/>
                  </a:cubicBezTo>
                  <a:cubicBezTo>
                    <a:pt x="31367" y="15789"/>
                    <a:pt x="15789" y="31367"/>
                    <a:pt x="15789" y="49777"/>
                  </a:cubicBezTo>
                  <a:cubicBezTo>
                    <a:pt x="17205" y="68188"/>
                    <a:pt x="31367" y="83766"/>
                    <a:pt x="49778" y="8376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2" name="Freeform: Shape 2211">
              <a:extLst>
                <a:ext uri="{FF2B5EF4-FFF2-40B4-BE49-F238E27FC236}">
                  <a16:creationId xmlns:a16="http://schemas.microsoft.com/office/drawing/2014/main" id="{520C8AEF-89FB-4901-BC66-759287727951}"/>
                </a:ext>
              </a:extLst>
            </p:cNvPr>
            <p:cNvSpPr/>
            <p:nvPr/>
          </p:nvSpPr>
          <p:spPr>
            <a:xfrm>
              <a:off x="5695007" y="1965864"/>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3" name="Freeform: Shape 2212">
              <a:extLst>
                <a:ext uri="{FF2B5EF4-FFF2-40B4-BE49-F238E27FC236}">
                  <a16:creationId xmlns:a16="http://schemas.microsoft.com/office/drawing/2014/main" id="{B6472949-241A-4D2A-BC6B-859ADF9F8781}"/>
                </a:ext>
              </a:extLst>
            </p:cNvPr>
            <p:cNvSpPr/>
            <p:nvPr/>
          </p:nvSpPr>
          <p:spPr>
            <a:xfrm>
              <a:off x="5594458" y="1883725"/>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4" name="Freeform: Shape 2213">
              <a:extLst>
                <a:ext uri="{FF2B5EF4-FFF2-40B4-BE49-F238E27FC236}">
                  <a16:creationId xmlns:a16="http://schemas.microsoft.com/office/drawing/2014/main" id="{0FC24908-8412-49B1-944F-0F1CBE561CAF}"/>
                </a:ext>
              </a:extLst>
            </p:cNvPr>
            <p:cNvSpPr/>
            <p:nvPr/>
          </p:nvSpPr>
          <p:spPr>
            <a:xfrm>
              <a:off x="5693591" y="2174044"/>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5" name="Freeform: Shape 2214">
              <a:extLst>
                <a:ext uri="{FF2B5EF4-FFF2-40B4-BE49-F238E27FC236}">
                  <a16:creationId xmlns:a16="http://schemas.microsoft.com/office/drawing/2014/main" id="{E344E9FA-8CC0-43DB-ABD9-996711DE8C9F}"/>
                </a:ext>
              </a:extLst>
            </p:cNvPr>
            <p:cNvSpPr/>
            <p:nvPr/>
          </p:nvSpPr>
          <p:spPr>
            <a:xfrm>
              <a:off x="5632694" y="2321328"/>
              <a:ext cx="56648" cy="56648"/>
            </a:xfrm>
            <a:custGeom>
              <a:avLst/>
              <a:gdLst>
                <a:gd name="connsiteX0" fmla="*/ 28535 w 56647"/>
                <a:gd name="connsiteY0" fmla="*/ 41280 h 56647"/>
                <a:gd name="connsiteX1" fmla="*/ 41281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1" y="35616"/>
                    <a:pt x="41281" y="28535"/>
                  </a:cubicBezTo>
                  <a:cubicBezTo>
                    <a:pt x="41281"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6" name="Freeform: Shape 2215">
              <a:extLst>
                <a:ext uri="{FF2B5EF4-FFF2-40B4-BE49-F238E27FC236}">
                  <a16:creationId xmlns:a16="http://schemas.microsoft.com/office/drawing/2014/main" id="{534244C7-6E23-4216-97B2-D061D0173626}"/>
                </a:ext>
              </a:extLst>
            </p:cNvPr>
            <p:cNvSpPr/>
            <p:nvPr/>
          </p:nvSpPr>
          <p:spPr>
            <a:xfrm>
              <a:off x="6458334" y="1882309"/>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7" name="Freeform: Shape 2216">
              <a:extLst>
                <a:ext uri="{FF2B5EF4-FFF2-40B4-BE49-F238E27FC236}">
                  <a16:creationId xmlns:a16="http://schemas.microsoft.com/office/drawing/2014/main" id="{2473085B-BC27-431B-8DA3-DD159CA28EBC}"/>
                </a:ext>
              </a:extLst>
            </p:cNvPr>
            <p:cNvSpPr/>
            <p:nvPr/>
          </p:nvSpPr>
          <p:spPr>
            <a:xfrm>
              <a:off x="7486489" y="460453"/>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1" y="49778"/>
                    <a:pt x="49778" y="42697"/>
                    <a:pt x="49778" y="32783"/>
                  </a:cubicBezTo>
                  <a:cubicBezTo>
                    <a:pt x="49778" y="24286"/>
                    <a:pt x="42697" y="15789"/>
                    <a:pt x="32783" y="15789"/>
                  </a:cubicBezTo>
                  <a:cubicBezTo>
                    <a:pt x="24286"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8" name="Freeform: Shape 2217">
              <a:extLst>
                <a:ext uri="{FF2B5EF4-FFF2-40B4-BE49-F238E27FC236}">
                  <a16:creationId xmlns:a16="http://schemas.microsoft.com/office/drawing/2014/main" id="{6645EF85-1098-49A6-B0F7-7CFFC8DF55C2}"/>
                </a:ext>
              </a:extLst>
            </p:cNvPr>
            <p:cNvSpPr/>
            <p:nvPr/>
          </p:nvSpPr>
          <p:spPr>
            <a:xfrm>
              <a:off x="6131194" y="674298"/>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19" name="Freeform: Shape 2218">
              <a:extLst>
                <a:ext uri="{FF2B5EF4-FFF2-40B4-BE49-F238E27FC236}">
                  <a16:creationId xmlns:a16="http://schemas.microsoft.com/office/drawing/2014/main" id="{0502719A-6100-4C32-91FA-B2E7F1F5DFBF}"/>
                </a:ext>
              </a:extLst>
            </p:cNvPr>
            <p:cNvSpPr/>
            <p:nvPr/>
          </p:nvSpPr>
          <p:spPr>
            <a:xfrm>
              <a:off x="4188179" y="1171381"/>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0" name="Freeform: Shape 2219">
              <a:extLst>
                <a:ext uri="{FF2B5EF4-FFF2-40B4-BE49-F238E27FC236}">
                  <a16:creationId xmlns:a16="http://schemas.microsoft.com/office/drawing/2014/main" id="{78E594F5-6361-40AB-AA10-FBA084E0216F}"/>
                </a:ext>
              </a:extLst>
            </p:cNvPr>
            <p:cNvSpPr/>
            <p:nvPr/>
          </p:nvSpPr>
          <p:spPr>
            <a:xfrm>
              <a:off x="4447342" y="43212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1" name="Freeform: Shape 2220">
              <a:extLst>
                <a:ext uri="{FF2B5EF4-FFF2-40B4-BE49-F238E27FC236}">
                  <a16:creationId xmlns:a16="http://schemas.microsoft.com/office/drawing/2014/main" id="{47402273-9D32-4AFB-99AB-129F078B6EDE}"/>
                </a:ext>
              </a:extLst>
            </p:cNvPr>
            <p:cNvSpPr/>
            <p:nvPr/>
          </p:nvSpPr>
          <p:spPr>
            <a:xfrm>
              <a:off x="3994161" y="654471"/>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2" name="Freeform: Shape 2221">
              <a:extLst>
                <a:ext uri="{FF2B5EF4-FFF2-40B4-BE49-F238E27FC236}">
                  <a16:creationId xmlns:a16="http://schemas.microsoft.com/office/drawing/2014/main" id="{DC4DA0BE-BC6C-4A2F-A97F-9834C443F214}"/>
                </a:ext>
              </a:extLst>
            </p:cNvPr>
            <p:cNvSpPr/>
            <p:nvPr/>
          </p:nvSpPr>
          <p:spPr>
            <a:xfrm>
              <a:off x="3916271" y="487361"/>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3" name="Freeform: Shape 2222">
              <a:extLst>
                <a:ext uri="{FF2B5EF4-FFF2-40B4-BE49-F238E27FC236}">
                  <a16:creationId xmlns:a16="http://schemas.microsoft.com/office/drawing/2014/main" id="{A344B2A9-D3C6-4590-9821-A67A41C412CB}"/>
                </a:ext>
              </a:extLst>
            </p:cNvPr>
            <p:cNvSpPr/>
            <p:nvPr/>
          </p:nvSpPr>
          <p:spPr>
            <a:xfrm>
              <a:off x="4731997" y="855570"/>
              <a:ext cx="113295" cy="113295"/>
            </a:xfrm>
            <a:custGeom>
              <a:avLst/>
              <a:gdLst>
                <a:gd name="connsiteX0" fmla="*/ 56859 w 113295"/>
                <a:gd name="connsiteY0" fmla="*/ 97928 h 113295"/>
                <a:gd name="connsiteX1" fmla="*/ 97928 w 113295"/>
                <a:gd name="connsiteY1" fmla="*/ 56859 h 113295"/>
                <a:gd name="connsiteX2" fmla="*/ 56859 w 113295"/>
                <a:gd name="connsiteY2" fmla="*/ 15789 h 113295"/>
                <a:gd name="connsiteX3" fmla="*/ 15789 w 113295"/>
                <a:gd name="connsiteY3" fmla="*/ 56859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8" y="79518"/>
                    <a:pt x="97928" y="56859"/>
                  </a:cubicBezTo>
                  <a:cubicBezTo>
                    <a:pt x="97928" y="34199"/>
                    <a:pt x="79518" y="15789"/>
                    <a:pt x="56859" y="15789"/>
                  </a:cubicBezTo>
                  <a:cubicBezTo>
                    <a:pt x="34200" y="15789"/>
                    <a:pt x="15789" y="34199"/>
                    <a:pt x="15789" y="56859"/>
                  </a:cubicBezTo>
                  <a:cubicBezTo>
                    <a:pt x="15789" y="79518"/>
                    <a:pt x="34200" y="97928"/>
                    <a:pt x="56859"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4" name="Freeform: Shape 2223">
              <a:extLst>
                <a:ext uri="{FF2B5EF4-FFF2-40B4-BE49-F238E27FC236}">
                  <a16:creationId xmlns:a16="http://schemas.microsoft.com/office/drawing/2014/main" id="{312C56EE-F105-4DB8-9BC9-B0D9C8D93AD1}"/>
                </a:ext>
              </a:extLst>
            </p:cNvPr>
            <p:cNvSpPr/>
            <p:nvPr/>
          </p:nvSpPr>
          <p:spPr>
            <a:xfrm>
              <a:off x="4382198" y="1169965"/>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5" name="Freeform: Shape 2224">
              <a:extLst>
                <a:ext uri="{FF2B5EF4-FFF2-40B4-BE49-F238E27FC236}">
                  <a16:creationId xmlns:a16="http://schemas.microsoft.com/office/drawing/2014/main" id="{B595382A-AD8C-4A31-93A1-B9D1D4AA756B}"/>
                </a:ext>
              </a:extLst>
            </p:cNvPr>
            <p:cNvSpPr/>
            <p:nvPr/>
          </p:nvSpPr>
          <p:spPr>
            <a:xfrm>
              <a:off x="4814136" y="1155803"/>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6" name="Freeform: Shape 2225">
              <a:extLst>
                <a:ext uri="{FF2B5EF4-FFF2-40B4-BE49-F238E27FC236}">
                  <a16:creationId xmlns:a16="http://schemas.microsoft.com/office/drawing/2014/main" id="{E1CEF3D8-141C-47B9-B4E2-016D5C165E70}"/>
                </a:ext>
              </a:extLst>
            </p:cNvPr>
            <p:cNvSpPr/>
            <p:nvPr/>
          </p:nvSpPr>
          <p:spPr>
            <a:xfrm>
              <a:off x="4175279" y="889559"/>
              <a:ext cx="56648" cy="56648"/>
            </a:xfrm>
            <a:custGeom>
              <a:avLst/>
              <a:gdLst>
                <a:gd name="connsiteX0" fmla="*/ 32938 w 56647"/>
                <a:gd name="connsiteY0" fmla="*/ 49778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8"/>
                  </a:moveTo>
                  <a:cubicBezTo>
                    <a:pt x="42852" y="49778"/>
                    <a:pt x="49933" y="41280"/>
                    <a:pt x="49933" y="32783"/>
                  </a:cubicBezTo>
                  <a:cubicBezTo>
                    <a:pt x="49933" y="22870"/>
                    <a:pt x="41435" y="15789"/>
                    <a:pt x="32938" y="15789"/>
                  </a:cubicBezTo>
                  <a:cubicBezTo>
                    <a:pt x="23025" y="15789"/>
                    <a:pt x="15944" y="24286"/>
                    <a:pt x="15944" y="32783"/>
                  </a:cubicBezTo>
                  <a:cubicBezTo>
                    <a:pt x="14528" y="42697"/>
                    <a:pt x="23025" y="49778"/>
                    <a:pt x="32938"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7" name="Freeform: Shape 2226">
              <a:extLst>
                <a:ext uri="{FF2B5EF4-FFF2-40B4-BE49-F238E27FC236}">
                  <a16:creationId xmlns:a16="http://schemas.microsoft.com/office/drawing/2014/main" id="{2A5EF5C9-C812-41ED-9173-C81F7F5E32FB}"/>
                </a:ext>
              </a:extLst>
            </p:cNvPr>
            <p:cNvSpPr/>
            <p:nvPr/>
          </p:nvSpPr>
          <p:spPr>
            <a:xfrm>
              <a:off x="4249076" y="534095"/>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0" y="15789"/>
                    <a:pt x="32783" y="15789"/>
                  </a:cubicBezTo>
                  <a:cubicBezTo>
                    <a:pt x="22870" y="15789"/>
                    <a:pt x="15789" y="24286"/>
                    <a:pt x="15789" y="32783"/>
                  </a:cubicBezTo>
                  <a:cubicBezTo>
                    <a:pt x="15789" y="41280"/>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8" name="Freeform: Shape 2227">
              <a:extLst>
                <a:ext uri="{FF2B5EF4-FFF2-40B4-BE49-F238E27FC236}">
                  <a16:creationId xmlns:a16="http://schemas.microsoft.com/office/drawing/2014/main" id="{96860F0B-20D1-410E-974D-02CF2F57F270}"/>
                </a:ext>
              </a:extLst>
            </p:cNvPr>
            <p:cNvSpPr/>
            <p:nvPr/>
          </p:nvSpPr>
          <p:spPr>
            <a:xfrm>
              <a:off x="3628784" y="705454"/>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29" name="Freeform: Shape 2228">
              <a:extLst>
                <a:ext uri="{FF2B5EF4-FFF2-40B4-BE49-F238E27FC236}">
                  <a16:creationId xmlns:a16="http://schemas.microsoft.com/office/drawing/2014/main" id="{7715ECF0-B893-466F-8A4B-617D7D003DC1}"/>
                </a:ext>
              </a:extLst>
            </p:cNvPr>
            <p:cNvSpPr/>
            <p:nvPr/>
          </p:nvSpPr>
          <p:spPr>
            <a:xfrm>
              <a:off x="3742079" y="800339"/>
              <a:ext cx="42486" cy="42486"/>
            </a:xfrm>
            <a:custGeom>
              <a:avLst/>
              <a:gdLst>
                <a:gd name="connsiteX0" fmla="*/ 32783 w 42485"/>
                <a:gd name="connsiteY0" fmla="*/ 24286 h 42485"/>
                <a:gd name="connsiteX1" fmla="*/ 24286 w 42485"/>
                <a:gd name="connsiteY1" fmla="*/ 32783 h 42485"/>
                <a:gd name="connsiteX2" fmla="*/ 15789 w 42485"/>
                <a:gd name="connsiteY2" fmla="*/ 24286 h 42485"/>
                <a:gd name="connsiteX3" fmla="*/ 24286 w 42485"/>
                <a:gd name="connsiteY3" fmla="*/ 15789 h 42485"/>
                <a:gd name="connsiteX4" fmla="*/ 32783 w 42485"/>
                <a:gd name="connsiteY4" fmla="*/ 2428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3" y="24286"/>
                  </a:moveTo>
                  <a:cubicBezTo>
                    <a:pt x="32783" y="28979"/>
                    <a:pt x="28979" y="32783"/>
                    <a:pt x="24286" y="32783"/>
                  </a:cubicBezTo>
                  <a:cubicBezTo>
                    <a:pt x="19593" y="32783"/>
                    <a:pt x="15789" y="28979"/>
                    <a:pt x="15789" y="24286"/>
                  </a:cubicBezTo>
                  <a:cubicBezTo>
                    <a:pt x="15789" y="19593"/>
                    <a:pt x="19593" y="15789"/>
                    <a:pt x="24286" y="15789"/>
                  </a:cubicBezTo>
                  <a:cubicBezTo>
                    <a:pt x="28979" y="15789"/>
                    <a:pt x="32783" y="19593"/>
                    <a:pt x="32783"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0" name="Freeform: Shape 2229">
              <a:extLst>
                <a:ext uri="{FF2B5EF4-FFF2-40B4-BE49-F238E27FC236}">
                  <a16:creationId xmlns:a16="http://schemas.microsoft.com/office/drawing/2014/main" id="{754A1117-0ADC-42A8-814F-AAE4D712DD2C}"/>
                </a:ext>
              </a:extLst>
            </p:cNvPr>
            <p:cNvSpPr/>
            <p:nvPr/>
          </p:nvSpPr>
          <p:spPr>
            <a:xfrm>
              <a:off x="4047976" y="457621"/>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18621"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1" name="Freeform: Shape 2230">
              <a:extLst>
                <a:ext uri="{FF2B5EF4-FFF2-40B4-BE49-F238E27FC236}">
                  <a16:creationId xmlns:a16="http://schemas.microsoft.com/office/drawing/2014/main" id="{6E9B8223-A49C-4A63-9B1F-67C38E2980D8}"/>
                </a:ext>
              </a:extLst>
            </p:cNvPr>
            <p:cNvSpPr/>
            <p:nvPr/>
          </p:nvSpPr>
          <p:spPr>
            <a:xfrm>
              <a:off x="4219336" y="906553"/>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2" name="Freeform: Shape 2231">
              <a:extLst>
                <a:ext uri="{FF2B5EF4-FFF2-40B4-BE49-F238E27FC236}">
                  <a16:creationId xmlns:a16="http://schemas.microsoft.com/office/drawing/2014/main" id="{A916D99D-2C2E-4A40-BF6D-5466C770B85D}"/>
                </a:ext>
              </a:extLst>
            </p:cNvPr>
            <p:cNvSpPr/>
            <p:nvPr/>
          </p:nvSpPr>
          <p:spPr>
            <a:xfrm>
              <a:off x="4760320" y="358487"/>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1"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3" name="Freeform: Shape 2232">
              <a:extLst>
                <a:ext uri="{FF2B5EF4-FFF2-40B4-BE49-F238E27FC236}">
                  <a16:creationId xmlns:a16="http://schemas.microsoft.com/office/drawing/2014/main" id="{FEFA8139-E0E4-4A59-939A-2FE5E604A00E}"/>
                </a:ext>
              </a:extLst>
            </p:cNvPr>
            <p:cNvSpPr/>
            <p:nvPr/>
          </p:nvSpPr>
          <p:spPr>
            <a:xfrm>
              <a:off x="3929016" y="705454"/>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7205" y="71020"/>
                    <a:pt x="32783"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4" name="Freeform: Shape 2233">
              <a:extLst>
                <a:ext uri="{FF2B5EF4-FFF2-40B4-BE49-F238E27FC236}">
                  <a16:creationId xmlns:a16="http://schemas.microsoft.com/office/drawing/2014/main" id="{A8363CCC-DE63-47F4-87E0-99616DE4CD15}"/>
                </a:ext>
              </a:extLst>
            </p:cNvPr>
            <p:cNvSpPr/>
            <p:nvPr/>
          </p:nvSpPr>
          <p:spPr>
            <a:xfrm>
              <a:off x="4457256" y="1516931"/>
              <a:ext cx="84971" cy="84971"/>
            </a:xfrm>
            <a:custGeom>
              <a:avLst/>
              <a:gdLst>
                <a:gd name="connsiteX0" fmla="*/ 42697 w 84971"/>
                <a:gd name="connsiteY0" fmla="*/ 69604 h 84971"/>
                <a:gd name="connsiteX1" fmla="*/ 69605 w 84971"/>
                <a:gd name="connsiteY1" fmla="*/ 42697 h 84971"/>
                <a:gd name="connsiteX2" fmla="*/ 42697 w 84971"/>
                <a:gd name="connsiteY2" fmla="*/ 15789 h 84971"/>
                <a:gd name="connsiteX3" fmla="*/ 15789 w 84971"/>
                <a:gd name="connsiteY3" fmla="*/ 42697 h 84971"/>
                <a:gd name="connsiteX4" fmla="*/ 42697 w 84971"/>
                <a:gd name="connsiteY4" fmla="*/ 6960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7" y="69604"/>
                  </a:moveTo>
                  <a:cubicBezTo>
                    <a:pt x="58275" y="69604"/>
                    <a:pt x="69605" y="56859"/>
                    <a:pt x="69605" y="42697"/>
                  </a:cubicBezTo>
                  <a:cubicBezTo>
                    <a:pt x="69605" y="27119"/>
                    <a:pt x="56858" y="15789"/>
                    <a:pt x="42697" y="15789"/>
                  </a:cubicBezTo>
                  <a:cubicBezTo>
                    <a:pt x="27119" y="15789"/>
                    <a:pt x="15789" y="28535"/>
                    <a:pt x="15789" y="42697"/>
                  </a:cubicBezTo>
                  <a:cubicBezTo>
                    <a:pt x="15789" y="56859"/>
                    <a:pt x="27119" y="69604"/>
                    <a:pt x="42697" y="6960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5" name="Freeform: Shape 2234">
              <a:extLst>
                <a:ext uri="{FF2B5EF4-FFF2-40B4-BE49-F238E27FC236}">
                  <a16:creationId xmlns:a16="http://schemas.microsoft.com/office/drawing/2014/main" id="{1BEB5DC6-CD7E-4A23-8334-7AC47DB2B9E9}"/>
                </a:ext>
              </a:extLst>
            </p:cNvPr>
            <p:cNvSpPr/>
            <p:nvPr/>
          </p:nvSpPr>
          <p:spPr>
            <a:xfrm>
              <a:off x="5211811" y="514268"/>
              <a:ext cx="42486" cy="42486"/>
            </a:xfrm>
            <a:custGeom>
              <a:avLst/>
              <a:gdLst>
                <a:gd name="connsiteX0" fmla="*/ 24560 w 42485"/>
                <a:gd name="connsiteY0" fmla="*/ 32783 h 42485"/>
                <a:gd name="connsiteX1" fmla="*/ 33058 w 42485"/>
                <a:gd name="connsiteY1" fmla="*/ 24286 h 42485"/>
                <a:gd name="connsiteX2" fmla="*/ 24560 w 42485"/>
                <a:gd name="connsiteY2" fmla="*/ 15789 h 42485"/>
                <a:gd name="connsiteX3" fmla="*/ 16064 w 42485"/>
                <a:gd name="connsiteY3" fmla="*/ 24286 h 42485"/>
                <a:gd name="connsiteX4" fmla="*/ 24560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0" y="32783"/>
                  </a:moveTo>
                  <a:cubicBezTo>
                    <a:pt x="28809" y="32783"/>
                    <a:pt x="33058" y="28535"/>
                    <a:pt x="33058" y="24286"/>
                  </a:cubicBezTo>
                  <a:cubicBezTo>
                    <a:pt x="33058" y="20038"/>
                    <a:pt x="28809" y="15789"/>
                    <a:pt x="24560" y="15789"/>
                  </a:cubicBezTo>
                  <a:cubicBezTo>
                    <a:pt x="20312" y="15789"/>
                    <a:pt x="16064" y="20038"/>
                    <a:pt x="16064" y="24286"/>
                  </a:cubicBezTo>
                  <a:cubicBezTo>
                    <a:pt x="14647" y="28535"/>
                    <a:pt x="18896" y="32783"/>
                    <a:pt x="24560"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6" name="Freeform: Shape 2235">
              <a:extLst>
                <a:ext uri="{FF2B5EF4-FFF2-40B4-BE49-F238E27FC236}">
                  <a16:creationId xmlns:a16="http://schemas.microsoft.com/office/drawing/2014/main" id="{CA555158-9363-4C9F-80AE-F72438166BB9}"/>
                </a:ext>
              </a:extLst>
            </p:cNvPr>
            <p:cNvSpPr/>
            <p:nvPr/>
          </p:nvSpPr>
          <p:spPr>
            <a:xfrm>
              <a:off x="4679598" y="138805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9951"/>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7" name="Freeform: Shape 2236">
              <a:extLst>
                <a:ext uri="{FF2B5EF4-FFF2-40B4-BE49-F238E27FC236}">
                  <a16:creationId xmlns:a16="http://schemas.microsoft.com/office/drawing/2014/main" id="{8330AAB8-3BA8-4063-919E-B02AE504E046}"/>
                </a:ext>
              </a:extLst>
            </p:cNvPr>
            <p:cNvSpPr/>
            <p:nvPr/>
          </p:nvSpPr>
          <p:spPr>
            <a:xfrm>
              <a:off x="4525233" y="858403"/>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8" name="Freeform: Shape 2237">
              <a:extLst>
                <a:ext uri="{FF2B5EF4-FFF2-40B4-BE49-F238E27FC236}">
                  <a16:creationId xmlns:a16="http://schemas.microsoft.com/office/drawing/2014/main" id="{261B7F1B-0981-425E-8D53-5979FFE646FE}"/>
                </a:ext>
              </a:extLst>
            </p:cNvPr>
            <p:cNvSpPr/>
            <p:nvPr/>
          </p:nvSpPr>
          <p:spPr>
            <a:xfrm>
              <a:off x="4804222" y="515685"/>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9"/>
                  </a:cubicBezTo>
                  <a:cubicBezTo>
                    <a:pt x="38448" y="21454"/>
                    <a:pt x="32783" y="15789"/>
                    <a:pt x="27119" y="15789"/>
                  </a:cubicBezTo>
                  <a:cubicBezTo>
                    <a:pt x="21454" y="15789"/>
                    <a:pt x="15789" y="21454"/>
                    <a:pt x="15789" y="27119"/>
                  </a:cubicBezTo>
                  <a:cubicBezTo>
                    <a:pt x="15789" y="32783"/>
                    <a:pt x="21454"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39" name="Freeform: Shape 2238">
              <a:extLst>
                <a:ext uri="{FF2B5EF4-FFF2-40B4-BE49-F238E27FC236}">
                  <a16:creationId xmlns:a16="http://schemas.microsoft.com/office/drawing/2014/main" id="{BE7F3404-FB8C-40C5-9082-506B3B040FFA}"/>
                </a:ext>
              </a:extLst>
            </p:cNvPr>
            <p:cNvSpPr/>
            <p:nvPr/>
          </p:nvSpPr>
          <p:spPr>
            <a:xfrm>
              <a:off x="5056305" y="885310"/>
              <a:ext cx="42486" cy="42486"/>
            </a:xfrm>
            <a:custGeom>
              <a:avLst/>
              <a:gdLst>
                <a:gd name="connsiteX0" fmla="*/ 27118 w 42485"/>
                <a:gd name="connsiteY0" fmla="*/ 38448 h 42485"/>
                <a:gd name="connsiteX1" fmla="*/ 38448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2783" y="38448"/>
                    <a:pt x="38448" y="32783"/>
                    <a:pt x="38448" y="27119"/>
                  </a:cubicBezTo>
                  <a:cubicBezTo>
                    <a:pt x="38448" y="21454"/>
                    <a:pt x="34199" y="15789"/>
                    <a:pt x="27118" y="15789"/>
                  </a:cubicBezTo>
                  <a:cubicBezTo>
                    <a:pt x="21454" y="15789"/>
                    <a:pt x="15789" y="21454"/>
                    <a:pt x="15789" y="27119"/>
                  </a:cubicBezTo>
                  <a:cubicBezTo>
                    <a:pt x="15789" y="34199"/>
                    <a:pt x="20037"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0" name="Freeform: Shape 2239">
              <a:extLst>
                <a:ext uri="{FF2B5EF4-FFF2-40B4-BE49-F238E27FC236}">
                  <a16:creationId xmlns:a16="http://schemas.microsoft.com/office/drawing/2014/main" id="{627FC585-AC4A-4942-BCC7-40F4BF58406D}"/>
                </a:ext>
              </a:extLst>
            </p:cNvPr>
            <p:cNvSpPr/>
            <p:nvPr/>
          </p:nvSpPr>
          <p:spPr>
            <a:xfrm>
              <a:off x="4644085" y="606321"/>
              <a:ext cx="84971" cy="84971"/>
            </a:xfrm>
            <a:custGeom>
              <a:avLst/>
              <a:gdLst>
                <a:gd name="connsiteX0" fmla="*/ 42804 w 84971"/>
                <a:gd name="connsiteY0" fmla="*/ 69604 h 84971"/>
                <a:gd name="connsiteX1" fmla="*/ 69712 w 84971"/>
                <a:gd name="connsiteY1" fmla="*/ 42697 h 84971"/>
                <a:gd name="connsiteX2" fmla="*/ 42804 w 84971"/>
                <a:gd name="connsiteY2" fmla="*/ 15789 h 84971"/>
                <a:gd name="connsiteX3" fmla="*/ 15897 w 84971"/>
                <a:gd name="connsiteY3" fmla="*/ 42697 h 84971"/>
                <a:gd name="connsiteX4" fmla="*/ 42804 w 84971"/>
                <a:gd name="connsiteY4" fmla="*/ 6960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804" y="69604"/>
                  </a:moveTo>
                  <a:cubicBezTo>
                    <a:pt x="58382" y="69604"/>
                    <a:pt x="69712" y="56859"/>
                    <a:pt x="69712" y="42697"/>
                  </a:cubicBezTo>
                  <a:cubicBezTo>
                    <a:pt x="69712" y="27119"/>
                    <a:pt x="56966" y="15789"/>
                    <a:pt x="42804" y="15789"/>
                  </a:cubicBezTo>
                  <a:cubicBezTo>
                    <a:pt x="28642" y="15789"/>
                    <a:pt x="15897" y="28535"/>
                    <a:pt x="15897" y="42697"/>
                  </a:cubicBezTo>
                  <a:cubicBezTo>
                    <a:pt x="14480" y="56859"/>
                    <a:pt x="27226" y="69604"/>
                    <a:pt x="42804" y="6960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1" name="Freeform: Shape 2240">
              <a:extLst>
                <a:ext uri="{FF2B5EF4-FFF2-40B4-BE49-F238E27FC236}">
                  <a16:creationId xmlns:a16="http://schemas.microsoft.com/office/drawing/2014/main" id="{EC3FC1FA-76D0-4839-84D1-BFD7C73111BF}"/>
                </a:ext>
              </a:extLst>
            </p:cNvPr>
            <p:cNvSpPr/>
            <p:nvPr/>
          </p:nvSpPr>
          <p:spPr>
            <a:xfrm>
              <a:off x="4298642" y="1613233"/>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0" y="15789"/>
                    <a:pt x="32783" y="15789"/>
                  </a:cubicBezTo>
                  <a:cubicBezTo>
                    <a:pt x="22870" y="15789"/>
                    <a:pt x="15789" y="24286"/>
                    <a:pt x="15789" y="32783"/>
                  </a:cubicBezTo>
                  <a:cubicBezTo>
                    <a:pt x="15789" y="41280"/>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2" name="Freeform: Shape 2241">
              <a:extLst>
                <a:ext uri="{FF2B5EF4-FFF2-40B4-BE49-F238E27FC236}">
                  <a16:creationId xmlns:a16="http://schemas.microsoft.com/office/drawing/2014/main" id="{8E38CCEC-7F1B-4EFC-929F-735283219048}"/>
                </a:ext>
              </a:extLst>
            </p:cNvPr>
            <p:cNvSpPr/>
            <p:nvPr/>
          </p:nvSpPr>
          <p:spPr>
            <a:xfrm>
              <a:off x="4186763" y="1471613"/>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3" name="Freeform: Shape 2242">
              <a:extLst>
                <a:ext uri="{FF2B5EF4-FFF2-40B4-BE49-F238E27FC236}">
                  <a16:creationId xmlns:a16="http://schemas.microsoft.com/office/drawing/2014/main" id="{F1FC7894-1627-4056-8F9D-EBAEBF3A8153}"/>
                </a:ext>
              </a:extLst>
            </p:cNvPr>
            <p:cNvSpPr/>
            <p:nvPr/>
          </p:nvSpPr>
          <p:spPr>
            <a:xfrm>
              <a:off x="4297226" y="1587741"/>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9951"/>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4" name="Freeform: Shape 2243">
              <a:extLst>
                <a:ext uri="{FF2B5EF4-FFF2-40B4-BE49-F238E27FC236}">
                  <a16:creationId xmlns:a16="http://schemas.microsoft.com/office/drawing/2014/main" id="{84F932E6-62F0-4CD6-ABDF-EF8F33806A51}"/>
                </a:ext>
              </a:extLst>
            </p:cNvPr>
            <p:cNvSpPr/>
            <p:nvPr/>
          </p:nvSpPr>
          <p:spPr>
            <a:xfrm>
              <a:off x="4451591" y="1679793"/>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5" name="Freeform: Shape 2244">
              <a:extLst>
                <a:ext uri="{FF2B5EF4-FFF2-40B4-BE49-F238E27FC236}">
                  <a16:creationId xmlns:a16="http://schemas.microsoft.com/office/drawing/2014/main" id="{AD35139B-664B-4CB0-A5BE-70F7D1F80CCB}"/>
                </a:ext>
              </a:extLst>
            </p:cNvPr>
            <p:cNvSpPr/>
            <p:nvPr/>
          </p:nvSpPr>
          <p:spPr>
            <a:xfrm>
              <a:off x="4918934" y="1264850"/>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9951"/>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6" name="Freeform: Shape 2245">
              <a:extLst>
                <a:ext uri="{FF2B5EF4-FFF2-40B4-BE49-F238E27FC236}">
                  <a16:creationId xmlns:a16="http://schemas.microsoft.com/office/drawing/2014/main" id="{632B3E84-7586-4568-A32F-7689F589EBC7}"/>
                </a:ext>
              </a:extLst>
            </p:cNvPr>
            <p:cNvSpPr/>
            <p:nvPr/>
          </p:nvSpPr>
          <p:spPr>
            <a:xfrm>
              <a:off x="4911853" y="122661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7" name="Freeform: Shape 2246">
              <a:extLst>
                <a:ext uri="{FF2B5EF4-FFF2-40B4-BE49-F238E27FC236}">
                  <a16:creationId xmlns:a16="http://schemas.microsoft.com/office/drawing/2014/main" id="{45F7610C-E27F-4128-BA94-C2A7791C6624}"/>
                </a:ext>
              </a:extLst>
            </p:cNvPr>
            <p:cNvSpPr/>
            <p:nvPr/>
          </p:nvSpPr>
          <p:spPr>
            <a:xfrm>
              <a:off x="4069219" y="103825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8" name="Freeform: Shape 2247">
              <a:extLst>
                <a:ext uri="{FF2B5EF4-FFF2-40B4-BE49-F238E27FC236}">
                  <a16:creationId xmlns:a16="http://schemas.microsoft.com/office/drawing/2014/main" id="{1AE55718-142B-4C48-BEE5-5D77D8550DAC}"/>
                </a:ext>
              </a:extLst>
            </p:cNvPr>
            <p:cNvSpPr/>
            <p:nvPr/>
          </p:nvSpPr>
          <p:spPr>
            <a:xfrm>
              <a:off x="3741924" y="668633"/>
              <a:ext cx="56648" cy="56648"/>
            </a:xfrm>
            <a:custGeom>
              <a:avLst/>
              <a:gdLst>
                <a:gd name="connsiteX0" fmla="*/ 32938 w 56647"/>
                <a:gd name="connsiteY0" fmla="*/ 49778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8"/>
                  </a:moveTo>
                  <a:cubicBezTo>
                    <a:pt x="42852" y="49778"/>
                    <a:pt x="49933" y="41280"/>
                    <a:pt x="49933" y="32783"/>
                  </a:cubicBezTo>
                  <a:cubicBezTo>
                    <a:pt x="49933" y="22870"/>
                    <a:pt x="41435" y="15789"/>
                    <a:pt x="32938" y="15789"/>
                  </a:cubicBezTo>
                  <a:cubicBezTo>
                    <a:pt x="23025" y="15789"/>
                    <a:pt x="15944" y="24286"/>
                    <a:pt x="15944" y="32783"/>
                  </a:cubicBezTo>
                  <a:cubicBezTo>
                    <a:pt x="14528" y="42697"/>
                    <a:pt x="23025" y="49778"/>
                    <a:pt x="32938"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49" name="Freeform: Shape 2248">
              <a:extLst>
                <a:ext uri="{FF2B5EF4-FFF2-40B4-BE49-F238E27FC236}">
                  <a16:creationId xmlns:a16="http://schemas.microsoft.com/office/drawing/2014/main" id="{A097CCE8-5B02-4460-8A42-0E1E75B89FF0}"/>
                </a:ext>
              </a:extLst>
            </p:cNvPr>
            <p:cNvSpPr/>
            <p:nvPr/>
          </p:nvSpPr>
          <p:spPr>
            <a:xfrm>
              <a:off x="3887672" y="515685"/>
              <a:ext cx="42486" cy="42486"/>
            </a:xfrm>
            <a:custGeom>
              <a:avLst/>
              <a:gdLst>
                <a:gd name="connsiteX0" fmla="*/ 24561 w 42485"/>
                <a:gd name="connsiteY0" fmla="*/ 32783 h 42485"/>
                <a:gd name="connsiteX1" fmla="*/ 33058 w 42485"/>
                <a:gd name="connsiteY1" fmla="*/ 24286 h 42485"/>
                <a:gd name="connsiteX2" fmla="*/ 24561 w 42485"/>
                <a:gd name="connsiteY2" fmla="*/ 15789 h 42485"/>
                <a:gd name="connsiteX3" fmla="*/ 16063 w 42485"/>
                <a:gd name="connsiteY3" fmla="*/ 24286 h 42485"/>
                <a:gd name="connsiteX4" fmla="*/ 24561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1" y="32783"/>
                  </a:moveTo>
                  <a:cubicBezTo>
                    <a:pt x="28809" y="32783"/>
                    <a:pt x="33058" y="28535"/>
                    <a:pt x="33058" y="24286"/>
                  </a:cubicBezTo>
                  <a:cubicBezTo>
                    <a:pt x="33058" y="20038"/>
                    <a:pt x="28809" y="15789"/>
                    <a:pt x="24561" y="15789"/>
                  </a:cubicBezTo>
                  <a:cubicBezTo>
                    <a:pt x="20312" y="15789"/>
                    <a:pt x="16063" y="20038"/>
                    <a:pt x="16063" y="24286"/>
                  </a:cubicBezTo>
                  <a:cubicBezTo>
                    <a:pt x="14647" y="29951"/>
                    <a:pt x="18896" y="32783"/>
                    <a:pt x="24561"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0" name="Freeform: Shape 2249">
              <a:extLst>
                <a:ext uri="{FF2B5EF4-FFF2-40B4-BE49-F238E27FC236}">
                  <a16:creationId xmlns:a16="http://schemas.microsoft.com/office/drawing/2014/main" id="{B5E73FD1-2BDE-4CD3-85A9-98A8C7CAB25E}"/>
                </a:ext>
              </a:extLst>
            </p:cNvPr>
            <p:cNvSpPr/>
            <p:nvPr/>
          </p:nvSpPr>
          <p:spPr>
            <a:xfrm>
              <a:off x="4621534" y="332996"/>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9951" y="15789"/>
                    <a:pt x="24286" y="15789"/>
                  </a:cubicBezTo>
                  <a:cubicBezTo>
                    <a:pt x="18622" y="15789"/>
                    <a:pt x="15789" y="20038"/>
                    <a:pt x="15789" y="24286"/>
                  </a:cubicBezTo>
                  <a:cubicBezTo>
                    <a:pt x="15789" y="28535"/>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1" name="Freeform: Shape 2250">
              <a:extLst>
                <a:ext uri="{FF2B5EF4-FFF2-40B4-BE49-F238E27FC236}">
                  <a16:creationId xmlns:a16="http://schemas.microsoft.com/office/drawing/2014/main" id="{4EC8CCFC-9A22-4C82-93E2-83A3BF8EACC9}"/>
                </a:ext>
              </a:extLst>
            </p:cNvPr>
            <p:cNvSpPr/>
            <p:nvPr/>
          </p:nvSpPr>
          <p:spPr>
            <a:xfrm>
              <a:off x="5035062" y="385395"/>
              <a:ext cx="42486" cy="42486"/>
            </a:xfrm>
            <a:custGeom>
              <a:avLst/>
              <a:gdLst>
                <a:gd name="connsiteX0" fmla="*/ 21454 w 42485"/>
                <a:gd name="connsiteY0" fmla="*/ 27119 h 42485"/>
                <a:gd name="connsiteX1" fmla="*/ 27118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8" y="24286"/>
                    <a:pt x="27118" y="21454"/>
                  </a:cubicBezTo>
                  <a:cubicBezTo>
                    <a:pt x="27118" y="18621"/>
                    <a:pt x="24286" y="15789"/>
                    <a:pt x="21454" y="15789"/>
                  </a:cubicBezTo>
                  <a:cubicBezTo>
                    <a:pt x="18621" y="15789"/>
                    <a:pt x="15789" y="18621"/>
                    <a:pt x="15789" y="21454"/>
                  </a:cubicBezTo>
                  <a:cubicBezTo>
                    <a:pt x="15789" y="24286"/>
                    <a:pt x="18621"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2" name="Freeform: Shape 2251">
              <a:extLst>
                <a:ext uri="{FF2B5EF4-FFF2-40B4-BE49-F238E27FC236}">
                  <a16:creationId xmlns:a16="http://schemas.microsoft.com/office/drawing/2014/main" id="{7A17DEF3-7142-429D-A7D6-085523E9429A}"/>
                </a:ext>
              </a:extLst>
            </p:cNvPr>
            <p:cNvSpPr/>
            <p:nvPr/>
          </p:nvSpPr>
          <p:spPr>
            <a:xfrm>
              <a:off x="4804222" y="342909"/>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2" y="15789"/>
                    <a:pt x="15789" y="18621"/>
                    <a:pt x="15789" y="21454"/>
                  </a:cubicBezTo>
                  <a:cubicBezTo>
                    <a:pt x="15789" y="25702"/>
                    <a:pt x="18622"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3" name="Freeform: Shape 2252">
              <a:extLst>
                <a:ext uri="{FF2B5EF4-FFF2-40B4-BE49-F238E27FC236}">
                  <a16:creationId xmlns:a16="http://schemas.microsoft.com/office/drawing/2014/main" id="{4CC13D56-F2FA-42BF-997E-EAB8D8010B6F}"/>
                </a:ext>
              </a:extLst>
            </p:cNvPr>
            <p:cNvSpPr/>
            <p:nvPr/>
          </p:nvSpPr>
          <p:spPr>
            <a:xfrm>
              <a:off x="4427464" y="597766"/>
              <a:ext cx="70810" cy="70810"/>
            </a:xfrm>
            <a:custGeom>
              <a:avLst/>
              <a:gdLst>
                <a:gd name="connsiteX0" fmla="*/ 63997 w 70809"/>
                <a:gd name="connsiteY0" fmla="*/ 39887 h 70809"/>
                <a:gd name="connsiteX1" fmla="*/ 39955 w 70809"/>
                <a:gd name="connsiteY1" fmla="*/ 63996 h 70809"/>
                <a:gd name="connsiteX2" fmla="*/ 15846 w 70809"/>
                <a:gd name="connsiteY2" fmla="*/ 39955 h 70809"/>
                <a:gd name="connsiteX3" fmla="*/ 39887 w 70809"/>
                <a:gd name="connsiteY3" fmla="*/ 15846 h 70809"/>
                <a:gd name="connsiteX4" fmla="*/ 63997 w 70809"/>
                <a:gd name="connsiteY4" fmla="*/ 3988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3997" y="39887"/>
                  </a:moveTo>
                  <a:cubicBezTo>
                    <a:pt x="64015" y="53183"/>
                    <a:pt x="53252" y="63977"/>
                    <a:pt x="39955" y="63996"/>
                  </a:cubicBezTo>
                  <a:cubicBezTo>
                    <a:pt x="26659" y="64015"/>
                    <a:pt x="15865" y="53252"/>
                    <a:pt x="15846" y="39955"/>
                  </a:cubicBezTo>
                  <a:cubicBezTo>
                    <a:pt x="15827" y="26659"/>
                    <a:pt x="26590" y="15865"/>
                    <a:pt x="39887" y="15846"/>
                  </a:cubicBezTo>
                  <a:cubicBezTo>
                    <a:pt x="53183" y="15827"/>
                    <a:pt x="63978" y="26590"/>
                    <a:pt x="63997" y="3988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4" name="Freeform: Shape 2253">
              <a:extLst>
                <a:ext uri="{FF2B5EF4-FFF2-40B4-BE49-F238E27FC236}">
                  <a16:creationId xmlns:a16="http://schemas.microsoft.com/office/drawing/2014/main" id="{41E8F364-1A9A-4883-8A9C-19F5678BC7D7}"/>
                </a:ext>
              </a:extLst>
            </p:cNvPr>
            <p:cNvSpPr/>
            <p:nvPr/>
          </p:nvSpPr>
          <p:spPr>
            <a:xfrm>
              <a:off x="4491244" y="553922"/>
              <a:ext cx="70810" cy="70810"/>
            </a:xfrm>
            <a:custGeom>
              <a:avLst/>
              <a:gdLst>
                <a:gd name="connsiteX0" fmla="*/ 39864 w 70809"/>
                <a:gd name="connsiteY0" fmla="*/ 63939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40" y="52610"/>
                    <a:pt x="63940" y="39864"/>
                  </a:cubicBezTo>
                  <a:cubicBezTo>
                    <a:pt x="63940" y="27119"/>
                    <a:pt x="52610" y="15789"/>
                    <a:pt x="39864" y="15789"/>
                  </a:cubicBezTo>
                  <a:cubicBezTo>
                    <a:pt x="27119" y="15789"/>
                    <a:pt x="15789" y="27119"/>
                    <a:pt x="15789" y="39864"/>
                  </a:cubicBezTo>
                  <a:cubicBezTo>
                    <a:pt x="17205" y="54026"/>
                    <a:pt x="27119" y="63939"/>
                    <a:pt x="3986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5" name="Freeform: Shape 2254">
              <a:extLst>
                <a:ext uri="{FF2B5EF4-FFF2-40B4-BE49-F238E27FC236}">
                  <a16:creationId xmlns:a16="http://schemas.microsoft.com/office/drawing/2014/main" id="{81CDEE26-3E3E-432A-9C89-ADEF16C92060}"/>
                </a:ext>
              </a:extLst>
            </p:cNvPr>
            <p:cNvSpPr/>
            <p:nvPr/>
          </p:nvSpPr>
          <p:spPr>
            <a:xfrm>
              <a:off x="4686460" y="1137392"/>
              <a:ext cx="42486" cy="42486"/>
            </a:xfrm>
            <a:custGeom>
              <a:avLst/>
              <a:gdLst>
                <a:gd name="connsiteX0" fmla="*/ 27337 w 42485"/>
                <a:gd name="connsiteY0" fmla="*/ 38448 h 42485"/>
                <a:gd name="connsiteX1" fmla="*/ 38667 w 42485"/>
                <a:gd name="connsiteY1" fmla="*/ 27119 h 42485"/>
                <a:gd name="connsiteX2" fmla="*/ 27337 w 42485"/>
                <a:gd name="connsiteY2" fmla="*/ 15789 h 42485"/>
                <a:gd name="connsiteX3" fmla="*/ 16007 w 42485"/>
                <a:gd name="connsiteY3" fmla="*/ 27119 h 42485"/>
                <a:gd name="connsiteX4" fmla="*/ 27337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8448"/>
                  </a:moveTo>
                  <a:cubicBezTo>
                    <a:pt x="34418" y="38448"/>
                    <a:pt x="38667" y="32783"/>
                    <a:pt x="38667" y="27119"/>
                  </a:cubicBezTo>
                  <a:cubicBezTo>
                    <a:pt x="38667" y="20038"/>
                    <a:pt x="33002" y="15789"/>
                    <a:pt x="27337" y="15789"/>
                  </a:cubicBezTo>
                  <a:cubicBezTo>
                    <a:pt x="20256" y="15789"/>
                    <a:pt x="16007" y="21454"/>
                    <a:pt x="16007" y="27119"/>
                  </a:cubicBezTo>
                  <a:cubicBezTo>
                    <a:pt x="14591" y="32783"/>
                    <a:pt x="20256" y="38448"/>
                    <a:pt x="27337"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6" name="Freeform: Shape 2255">
              <a:extLst>
                <a:ext uri="{FF2B5EF4-FFF2-40B4-BE49-F238E27FC236}">
                  <a16:creationId xmlns:a16="http://schemas.microsoft.com/office/drawing/2014/main" id="{08CDBB62-FC4A-4946-89CB-AEA3F43892CF}"/>
                </a:ext>
              </a:extLst>
            </p:cNvPr>
            <p:cNvSpPr/>
            <p:nvPr/>
          </p:nvSpPr>
          <p:spPr>
            <a:xfrm>
              <a:off x="5372115" y="490193"/>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5789" y="38448"/>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7" name="Freeform: Shape 2256">
              <a:extLst>
                <a:ext uri="{FF2B5EF4-FFF2-40B4-BE49-F238E27FC236}">
                  <a16:creationId xmlns:a16="http://schemas.microsoft.com/office/drawing/2014/main" id="{BD5DB8FD-9192-4DEA-93CD-15D7C7E38D43}"/>
                </a:ext>
              </a:extLst>
            </p:cNvPr>
            <p:cNvSpPr/>
            <p:nvPr/>
          </p:nvSpPr>
          <p:spPr>
            <a:xfrm>
              <a:off x="5101623" y="1507018"/>
              <a:ext cx="42486" cy="42486"/>
            </a:xfrm>
            <a:custGeom>
              <a:avLst/>
              <a:gdLst>
                <a:gd name="connsiteX0" fmla="*/ 32783 w 42485"/>
                <a:gd name="connsiteY0" fmla="*/ 24286 h 42485"/>
                <a:gd name="connsiteX1" fmla="*/ 24286 w 42485"/>
                <a:gd name="connsiteY1" fmla="*/ 32783 h 42485"/>
                <a:gd name="connsiteX2" fmla="*/ 15789 w 42485"/>
                <a:gd name="connsiteY2" fmla="*/ 24286 h 42485"/>
                <a:gd name="connsiteX3" fmla="*/ 24286 w 42485"/>
                <a:gd name="connsiteY3" fmla="*/ 15789 h 42485"/>
                <a:gd name="connsiteX4" fmla="*/ 32783 w 42485"/>
                <a:gd name="connsiteY4" fmla="*/ 2428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3" y="24286"/>
                  </a:moveTo>
                  <a:cubicBezTo>
                    <a:pt x="32783" y="28979"/>
                    <a:pt x="28979" y="32783"/>
                    <a:pt x="24286" y="32783"/>
                  </a:cubicBezTo>
                  <a:cubicBezTo>
                    <a:pt x="19593" y="32783"/>
                    <a:pt x="15789" y="28979"/>
                    <a:pt x="15789" y="24286"/>
                  </a:cubicBezTo>
                  <a:cubicBezTo>
                    <a:pt x="15789" y="19593"/>
                    <a:pt x="19593" y="15789"/>
                    <a:pt x="24286" y="15789"/>
                  </a:cubicBezTo>
                  <a:cubicBezTo>
                    <a:pt x="28979" y="15789"/>
                    <a:pt x="32783" y="19593"/>
                    <a:pt x="32783"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8" name="Freeform: Shape 2257">
              <a:extLst>
                <a:ext uri="{FF2B5EF4-FFF2-40B4-BE49-F238E27FC236}">
                  <a16:creationId xmlns:a16="http://schemas.microsoft.com/office/drawing/2014/main" id="{14115E49-D346-47AF-ACCC-43A956D45406}"/>
                </a:ext>
              </a:extLst>
            </p:cNvPr>
            <p:cNvSpPr/>
            <p:nvPr/>
          </p:nvSpPr>
          <p:spPr>
            <a:xfrm>
              <a:off x="5321132" y="1419214"/>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4200" y="38448"/>
                    <a:pt x="38448" y="32783"/>
                    <a:pt x="38448" y="27119"/>
                  </a:cubicBezTo>
                  <a:cubicBezTo>
                    <a:pt x="38448" y="20038"/>
                    <a:pt x="32783" y="15789"/>
                    <a:pt x="27119" y="15789"/>
                  </a:cubicBezTo>
                  <a:cubicBezTo>
                    <a:pt x="21454" y="15789"/>
                    <a:pt x="15789" y="21454"/>
                    <a:pt x="15789" y="27119"/>
                  </a:cubicBezTo>
                  <a:cubicBezTo>
                    <a:pt x="15789" y="32783"/>
                    <a:pt x="21454"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59" name="Freeform: Shape 2258">
              <a:extLst>
                <a:ext uri="{FF2B5EF4-FFF2-40B4-BE49-F238E27FC236}">
                  <a16:creationId xmlns:a16="http://schemas.microsoft.com/office/drawing/2014/main" id="{C33A55FB-0311-493F-9748-403ADECCCE99}"/>
                </a:ext>
              </a:extLst>
            </p:cNvPr>
            <p:cNvSpPr/>
            <p:nvPr/>
          </p:nvSpPr>
          <p:spPr>
            <a:xfrm>
              <a:off x="5277230" y="1498521"/>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1280"/>
                    <a:pt x="49778" y="32783"/>
                  </a:cubicBezTo>
                  <a:cubicBezTo>
                    <a:pt x="49778" y="22870"/>
                    <a:pt x="41281" y="15789"/>
                    <a:pt x="32783" y="15789"/>
                  </a:cubicBezTo>
                  <a:cubicBezTo>
                    <a:pt x="22870" y="15789"/>
                    <a:pt x="15789" y="24286"/>
                    <a:pt x="15789" y="32783"/>
                  </a:cubicBezTo>
                  <a:cubicBezTo>
                    <a:pt x="15789" y="41280"/>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0" name="Freeform: Shape 2259">
              <a:extLst>
                <a:ext uri="{FF2B5EF4-FFF2-40B4-BE49-F238E27FC236}">
                  <a16:creationId xmlns:a16="http://schemas.microsoft.com/office/drawing/2014/main" id="{7514106A-6BF8-4797-98E6-356750753F76}"/>
                </a:ext>
              </a:extLst>
            </p:cNvPr>
            <p:cNvSpPr/>
            <p:nvPr/>
          </p:nvSpPr>
          <p:spPr>
            <a:xfrm>
              <a:off x="5131088" y="1433376"/>
              <a:ext cx="42486" cy="42486"/>
            </a:xfrm>
            <a:custGeom>
              <a:avLst/>
              <a:gdLst>
                <a:gd name="connsiteX0" fmla="*/ 24561 w 42485"/>
                <a:gd name="connsiteY0" fmla="*/ 32783 h 42485"/>
                <a:gd name="connsiteX1" fmla="*/ 33058 w 42485"/>
                <a:gd name="connsiteY1" fmla="*/ 24286 h 42485"/>
                <a:gd name="connsiteX2" fmla="*/ 24561 w 42485"/>
                <a:gd name="connsiteY2" fmla="*/ 15789 h 42485"/>
                <a:gd name="connsiteX3" fmla="*/ 16064 w 42485"/>
                <a:gd name="connsiteY3" fmla="*/ 24286 h 42485"/>
                <a:gd name="connsiteX4" fmla="*/ 24561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1" y="32783"/>
                  </a:moveTo>
                  <a:cubicBezTo>
                    <a:pt x="28809" y="32783"/>
                    <a:pt x="33058" y="28535"/>
                    <a:pt x="33058" y="24286"/>
                  </a:cubicBezTo>
                  <a:cubicBezTo>
                    <a:pt x="33058" y="20038"/>
                    <a:pt x="28809" y="15789"/>
                    <a:pt x="24561" y="15789"/>
                  </a:cubicBezTo>
                  <a:cubicBezTo>
                    <a:pt x="20312" y="15789"/>
                    <a:pt x="16064" y="20038"/>
                    <a:pt x="16064" y="24286"/>
                  </a:cubicBezTo>
                  <a:cubicBezTo>
                    <a:pt x="14647" y="28535"/>
                    <a:pt x="18896" y="32783"/>
                    <a:pt x="24561"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1" name="Freeform: Shape 2260">
              <a:extLst>
                <a:ext uri="{FF2B5EF4-FFF2-40B4-BE49-F238E27FC236}">
                  <a16:creationId xmlns:a16="http://schemas.microsoft.com/office/drawing/2014/main" id="{492484D3-5A6F-4552-9088-C3AA791E072C}"/>
                </a:ext>
              </a:extLst>
            </p:cNvPr>
            <p:cNvSpPr/>
            <p:nvPr/>
          </p:nvSpPr>
          <p:spPr>
            <a:xfrm>
              <a:off x="5162519" y="1545255"/>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9951"/>
                    <a:pt x="20037"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2" name="Freeform: Shape 2261">
              <a:extLst>
                <a:ext uri="{FF2B5EF4-FFF2-40B4-BE49-F238E27FC236}">
                  <a16:creationId xmlns:a16="http://schemas.microsoft.com/office/drawing/2014/main" id="{DAE8D086-D268-4F01-8EBE-FE47B11B6E5C}"/>
                </a:ext>
              </a:extLst>
            </p:cNvPr>
            <p:cNvSpPr/>
            <p:nvPr/>
          </p:nvSpPr>
          <p:spPr>
            <a:xfrm>
              <a:off x="3380950" y="681379"/>
              <a:ext cx="70810" cy="70810"/>
            </a:xfrm>
            <a:custGeom>
              <a:avLst/>
              <a:gdLst>
                <a:gd name="connsiteX0" fmla="*/ 39864 w 70809"/>
                <a:gd name="connsiteY0" fmla="*/ 63939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40" y="52610"/>
                    <a:pt x="63940" y="39864"/>
                  </a:cubicBezTo>
                  <a:cubicBezTo>
                    <a:pt x="63940" y="27119"/>
                    <a:pt x="52610" y="15789"/>
                    <a:pt x="39864" y="15789"/>
                  </a:cubicBezTo>
                  <a:cubicBezTo>
                    <a:pt x="27119" y="15789"/>
                    <a:pt x="15789" y="27119"/>
                    <a:pt x="15789" y="39864"/>
                  </a:cubicBezTo>
                  <a:cubicBezTo>
                    <a:pt x="15789" y="54026"/>
                    <a:pt x="27119" y="63939"/>
                    <a:pt x="3986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3" name="Freeform: Shape 2262">
              <a:extLst>
                <a:ext uri="{FF2B5EF4-FFF2-40B4-BE49-F238E27FC236}">
                  <a16:creationId xmlns:a16="http://schemas.microsoft.com/office/drawing/2014/main" id="{1A78866F-1374-44B9-8921-257E19D2B14B}"/>
                </a:ext>
              </a:extLst>
            </p:cNvPr>
            <p:cNvSpPr/>
            <p:nvPr/>
          </p:nvSpPr>
          <p:spPr>
            <a:xfrm>
              <a:off x="3301644" y="457621"/>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5789" y="46945"/>
                    <a:pt x="24286"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4" name="Freeform: Shape 2263">
              <a:extLst>
                <a:ext uri="{FF2B5EF4-FFF2-40B4-BE49-F238E27FC236}">
                  <a16:creationId xmlns:a16="http://schemas.microsoft.com/office/drawing/2014/main" id="{A2C2E2B2-BF57-4C29-A48B-CCB08236E1AD}"/>
                </a:ext>
              </a:extLst>
            </p:cNvPr>
            <p:cNvSpPr/>
            <p:nvPr/>
          </p:nvSpPr>
          <p:spPr>
            <a:xfrm>
              <a:off x="3698177" y="39247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4286"/>
                    <a:pt x="41280" y="15789"/>
                    <a:pt x="32783" y="15789"/>
                  </a:cubicBezTo>
                  <a:cubicBezTo>
                    <a:pt x="22870" y="15789"/>
                    <a:pt x="15789" y="24286"/>
                    <a:pt x="15789" y="32783"/>
                  </a:cubicBezTo>
                  <a:cubicBezTo>
                    <a:pt x="15789" y="41280"/>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5" name="Freeform: Shape 2264">
              <a:extLst>
                <a:ext uri="{FF2B5EF4-FFF2-40B4-BE49-F238E27FC236}">
                  <a16:creationId xmlns:a16="http://schemas.microsoft.com/office/drawing/2014/main" id="{75F2984B-33A3-41C8-AF07-185348485B70}"/>
                </a:ext>
              </a:extLst>
            </p:cNvPr>
            <p:cNvSpPr/>
            <p:nvPr/>
          </p:nvSpPr>
          <p:spPr>
            <a:xfrm>
              <a:off x="3216672" y="70403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9951"/>
                    <a:pt x="18621"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6" name="Freeform: Shape 2265">
              <a:extLst>
                <a:ext uri="{FF2B5EF4-FFF2-40B4-BE49-F238E27FC236}">
                  <a16:creationId xmlns:a16="http://schemas.microsoft.com/office/drawing/2014/main" id="{0C0B7BF9-03C1-4A6F-9879-8F9156A6D141}"/>
                </a:ext>
              </a:extLst>
            </p:cNvPr>
            <p:cNvSpPr/>
            <p:nvPr/>
          </p:nvSpPr>
          <p:spPr>
            <a:xfrm>
              <a:off x="2949012" y="647390"/>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7" name="Freeform: Shape 2266">
              <a:extLst>
                <a:ext uri="{FF2B5EF4-FFF2-40B4-BE49-F238E27FC236}">
                  <a16:creationId xmlns:a16="http://schemas.microsoft.com/office/drawing/2014/main" id="{B467E1CC-9847-4C32-8AEF-83CB45F13F8A}"/>
                </a:ext>
              </a:extLst>
            </p:cNvPr>
            <p:cNvSpPr/>
            <p:nvPr/>
          </p:nvSpPr>
          <p:spPr>
            <a:xfrm>
              <a:off x="3329967" y="682795"/>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8" name="Freeform: Shape 2267">
              <a:extLst>
                <a:ext uri="{FF2B5EF4-FFF2-40B4-BE49-F238E27FC236}">
                  <a16:creationId xmlns:a16="http://schemas.microsoft.com/office/drawing/2014/main" id="{A598BBDE-84D9-4F03-8877-C92D2F81B786}"/>
                </a:ext>
              </a:extLst>
            </p:cNvPr>
            <p:cNvSpPr/>
            <p:nvPr/>
          </p:nvSpPr>
          <p:spPr>
            <a:xfrm>
              <a:off x="3366788" y="46611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9951"/>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69" name="Freeform: Shape 2268">
              <a:extLst>
                <a:ext uri="{FF2B5EF4-FFF2-40B4-BE49-F238E27FC236}">
                  <a16:creationId xmlns:a16="http://schemas.microsoft.com/office/drawing/2014/main" id="{50A48A6A-CA42-491E-8124-8A66233E54E4}"/>
                </a:ext>
              </a:extLst>
            </p:cNvPr>
            <p:cNvSpPr/>
            <p:nvPr/>
          </p:nvSpPr>
          <p:spPr>
            <a:xfrm>
              <a:off x="3009908" y="518517"/>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5789" y="45529"/>
                    <a:pt x="24286"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0" name="Freeform: Shape 2269">
              <a:extLst>
                <a:ext uri="{FF2B5EF4-FFF2-40B4-BE49-F238E27FC236}">
                  <a16:creationId xmlns:a16="http://schemas.microsoft.com/office/drawing/2014/main" id="{49D6749D-79ED-48EF-BEC1-0256D723F59E}"/>
                </a:ext>
              </a:extLst>
            </p:cNvPr>
            <p:cNvSpPr/>
            <p:nvPr/>
          </p:nvSpPr>
          <p:spPr>
            <a:xfrm>
              <a:off x="3574969" y="570916"/>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1" name="Freeform: Shape 2270">
              <a:extLst>
                <a:ext uri="{FF2B5EF4-FFF2-40B4-BE49-F238E27FC236}">
                  <a16:creationId xmlns:a16="http://schemas.microsoft.com/office/drawing/2014/main" id="{F2325EE2-2461-41C3-876D-B519413FEDAC}"/>
                </a:ext>
              </a:extLst>
            </p:cNvPr>
            <p:cNvSpPr/>
            <p:nvPr/>
          </p:nvSpPr>
          <p:spPr>
            <a:xfrm>
              <a:off x="3691096" y="477447"/>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7205" y="41280"/>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2" name="Freeform: Shape 2271">
              <a:extLst>
                <a:ext uri="{FF2B5EF4-FFF2-40B4-BE49-F238E27FC236}">
                  <a16:creationId xmlns:a16="http://schemas.microsoft.com/office/drawing/2014/main" id="{2FA99211-C8D0-49E7-A1E9-AF9A59A482D7}"/>
                </a:ext>
              </a:extLst>
            </p:cNvPr>
            <p:cNvSpPr/>
            <p:nvPr/>
          </p:nvSpPr>
          <p:spPr>
            <a:xfrm>
              <a:off x="3148695" y="596407"/>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3" name="Freeform: Shape 2272">
              <a:extLst>
                <a:ext uri="{FF2B5EF4-FFF2-40B4-BE49-F238E27FC236}">
                  <a16:creationId xmlns:a16="http://schemas.microsoft.com/office/drawing/2014/main" id="{AD098A3C-F0C8-4C31-B699-457DEFE2DEE5}"/>
                </a:ext>
              </a:extLst>
            </p:cNvPr>
            <p:cNvSpPr/>
            <p:nvPr/>
          </p:nvSpPr>
          <p:spPr>
            <a:xfrm>
              <a:off x="3373869" y="568084"/>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4" name="Freeform: Shape 2273">
              <a:extLst>
                <a:ext uri="{FF2B5EF4-FFF2-40B4-BE49-F238E27FC236}">
                  <a16:creationId xmlns:a16="http://schemas.microsoft.com/office/drawing/2014/main" id="{598E9B0B-73F5-42E9-95A1-A39C59C48A1D}"/>
                </a:ext>
              </a:extLst>
            </p:cNvPr>
            <p:cNvSpPr/>
            <p:nvPr/>
          </p:nvSpPr>
          <p:spPr>
            <a:xfrm>
              <a:off x="3267655" y="80883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5" name="Freeform: Shape 2274">
              <a:extLst>
                <a:ext uri="{FF2B5EF4-FFF2-40B4-BE49-F238E27FC236}">
                  <a16:creationId xmlns:a16="http://schemas.microsoft.com/office/drawing/2014/main" id="{F19E1027-11BC-4330-BE0A-CE74E823CDE1}"/>
                </a:ext>
              </a:extLst>
            </p:cNvPr>
            <p:cNvSpPr/>
            <p:nvPr/>
          </p:nvSpPr>
          <p:spPr>
            <a:xfrm>
              <a:off x="2798741" y="796090"/>
              <a:ext cx="56648" cy="56648"/>
            </a:xfrm>
            <a:custGeom>
              <a:avLst/>
              <a:gdLst>
                <a:gd name="connsiteX0" fmla="*/ 32938 w 56647"/>
                <a:gd name="connsiteY0" fmla="*/ 49778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8"/>
                  </a:moveTo>
                  <a:cubicBezTo>
                    <a:pt x="42852" y="49778"/>
                    <a:pt x="49933" y="41280"/>
                    <a:pt x="49933" y="32783"/>
                  </a:cubicBezTo>
                  <a:cubicBezTo>
                    <a:pt x="49933" y="22870"/>
                    <a:pt x="41435" y="15789"/>
                    <a:pt x="32938" y="15789"/>
                  </a:cubicBezTo>
                  <a:cubicBezTo>
                    <a:pt x="23025" y="15789"/>
                    <a:pt x="15944" y="24286"/>
                    <a:pt x="15944" y="32783"/>
                  </a:cubicBezTo>
                  <a:cubicBezTo>
                    <a:pt x="14528" y="42697"/>
                    <a:pt x="23025" y="49778"/>
                    <a:pt x="32938"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6" name="Freeform: Shape 2275">
              <a:extLst>
                <a:ext uri="{FF2B5EF4-FFF2-40B4-BE49-F238E27FC236}">
                  <a16:creationId xmlns:a16="http://schemas.microsoft.com/office/drawing/2014/main" id="{31005D99-5D33-48EF-A605-E35C214BF704}"/>
                </a:ext>
              </a:extLst>
            </p:cNvPr>
            <p:cNvSpPr/>
            <p:nvPr/>
          </p:nvSpPr>
          <p:spPr>
            <a:xfrm>
              <a:off x="3165689" y="1117566"/>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18621"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7" name="Freeform: Shape 2276">
              <a:extLst>
                <a:ext uri="{FF2B5EF4-FFF2-40B4-BE49-F238E27FC236}">
                  <a16:creationId xmlns:a16="http://schemas.microsoft.com/office/drawing/2014/main" id="{9A80E055-6CDB-4F9F-9250-E2B28FA6F83E}"/>
                </a:ext>
              </a:extLst>
            </p:cNvPr>
            <p:cNvSpPr/>
            <p:nvPr/>
          </p:nvSpPr>
          <p:spPr>
            <a:xfrm>
              <a:off x="2790124" y="1358318"/>
              <a:ext cx="42486" cy="42486"/>
            </a:xfrm>
            <a:custGeom>
              <a:avLst/>
              <a:gdLst>
                <a:gd name="connsiteX0" fmla="*/ 24561 w 42485"/>
                <a:gd name="connsiteY0" fmla="*/ 32783 h 42485"/>
                <a:gd name="connsiteX1" fmla="*/ 33058 w 42485"/>
                <a:gd name="connsiteY1" fmla="*/ 24286 h 42485"/>
                <a:gd name="connsiteX2" fmla="*/ 24561 w 42485"/>
                <a:gd name="connsiteY2" fmla="*/ 15789 h 42485"/>
                <a:gd name="connsiteX3" fmla="*/ 16063 w 42485"/>
                <a:gd name="connsiteY3" fmla="*/ 24286 h 42485"/>
                <a:gd name="connsiteX4" fmla="*/ 24561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1" y="32783"/>
                  </a:moveTo>
                  <a:cubicBezTo>
                    <a:pt x="28809" y="32783"/>
                    <a:pt x="33058" y="28535"/>
                    <a:pt x="33058" y="24286"/>
                  </a:cubicBezTo>
                  <a:cubicBezTo>
                    <a:pt x="33058" y="20038"/>
                    <a:pt x="28809" y="15789"/>
                    <a:pt x="24561" y="15789"/>
                  </a:cubicBezTo>
                  <a:cubicBezTo>
                    <a:pt x="20312" y="15789"/>
                    <a:pt x="16063" y="20038"/>
                    <a:pt x="16063" y="24286"/>
                  </a:cubicBezTo>
                  <a:cubicBezTo>
                    <a:pt x="14647" y="29951"/>
                    <a:pt x="18896" y="32783"/>
                    <a:pt x="24561"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8" name="Freeform: Shape 2277">
              <a:extLst>
                <a:ext uri="{FF2B5EF4-FFF2-40B4-BE49-F238E27FC236}">
                  <a16:creationId xmlns:a16="http://schemas.microsoft.com/office/drawing/2014/main" id="{5FD4482F-FC8C-4D40-8F0F-05D9F9F61B07}"/>
                </a:ext>
              </a:extLst>
            </p:cNvPr>
            <p:cNvSpPr/>
            <p:nvPr/>
          </p:nvSpPr>
          <p:spPr>
            <a:xfrm>
              <a:off x="3498494" y="1077912"/>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79" name="Freeform: Shape 2278">
              <a:extLst>
                <a:ext uri="{FF2B5EF4-FFF2-40B4-BE49-F238E27FC236}">
                  <a16:creationId xmlns:a16="http://schemas.microsoft.com/office/drawing/2014/main" id="{47E7A09C-9177-4142-9BDF-0195D55D9756}"/>
                </a:ext>
              </a:extLst>
            </p:cNvPr>
            <p:cNvSpPr/>
            <p:nvPr/>
          </p:nvSpPr>
          <p:spPr>
            <a:xfrm>
              <a:off x="3363956" y="1158635"/>
              <a:ext cx="70810" cy="70810"/>
            </a:xfrm>
            <a:custGeom>
              <a:avLst/>
              <a:gdLst>
                <a:gd name="connsiteX0" fmla="*/ 39864 w 70809"/>
                <a:gd name="connsiteY0" fmla="*/ 63940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2610" y="63940"/>
                    <a:pt x="63940" y="52610"/>
                    <a:pt x="63940" y="39864"/>
                  </a:cubicBezTo>
                  <a:cubicBezTo>
                    <a:pt x="63940" y="27119"/>
                    <a:pt x="52610" y="15789"/>
                    <a:pt x="39864" y="15789"/>
                  </a:cubicBezTo>
                  <a:cubicBezTo>
                    <a:pt x="27119" y="15789"/>
                    <a:pt x="15789" y="27119"/>
                    <a:pt x="15789" y="39864"/>
                  </a:cubicBezTo>
                  <a:cubicBezTo>
                    <a:pt x="15789" y="54026"/>
                    <a:pt x="27119"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0" name="Freeform: Shape 2279">
              <a:extLst>
                <a:ext uri="{FF2B5EF4-FFF2-40B4-BE49-F238E27FC236}">
                  <a16:creationId xmlns:a16="http://schemas.microsoft.com/office/drawing/2014/main" id="{2C47291D-FFEF-46F5-B841-E59C49BCB813}"/>
                </a:ext>
              </a:extLst>
            </p:cNvPr>
            <p:cNvSpPr/>
            <p:nvPr/>
          </p:nvSpPr>
          <p:spPr>
            <a:xfrm>
              <a:off x="3240473" y="1243607"/>
              <a:ext cx="42486" cy="42486"/>
            </a:xfrm>
            <a:custGeom>
              <a:avLst/>
              <a:gdLst>
                <a:gd name="connsiteX0" fmla="*/ 24561 w 42485"/>
                <a:gd name="connsiteY0" fmla="*/ 32783 h 42485"/>
                <a:gd name="connsiteX1" fmla="*/ 33058 w 42485"/>
                <a:gd name="connsiteY1" fmla="*/ 24286 h 42485"/>
                <a:gd name="connsiteX2" fmla="*/ 24561 w 42485"/>
                <a:gd name="connsiteY2" fmla="*/ 15789 h 42485"/>
                <a:gd name="connsiteX3" fmla="*/ 16064 w 42485"/>
                <a:gd name="connsiteY3" fmla="*/ 24286 h 42485"/>
                <a:gd name="connsiteX4" fmla="*/ 24561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1" y="32783"/>
                  </a:moveTo>
                  <a:cubicBezTo>
                    <a:pt x="28809" y="32783"/>
                    <a:pt x="33058" y="28535"/>
                    <a:pt x="33058" y="24286"/>
                  </a:cubicBezTo>
                  <a:cubicBezTo>
                    <a:pt x="33058" y="20038"/>
                    <a:pt x="28809" y="15789"/>
                    <a:pt x="24561" y="15789"/>
                  </a:cubicBezTo>
                  <a:cubicBezTo>
                    <a:pt x="20312" y="15789"/>
                    <a:pt x="16064" y="20038"/>
                    <a:pt x="16064" y="24286"/>
                  </a:cubicBezTo>
                  <a:cubicBezTo>
                    <a:pt x="14647" y="28535"/>
                    <a:pt x="18896" y="32783"/>
                    <a:pt x="24561"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1" name="Freeform: Shape 2280">
              <a:extLst>
                <a:ext uri="{FF2B5EF4-FFF2-40B4-BE49-F238E27FC236}">
                  <a16:creationId xmlns:a16="http://schemas.microsoft.com/office/drawing/2014/main" id="{33BF751C-302A-4028-9401-E83D45C866EA}"/>
                </a:ext>
              </a:extLst>
            </p:cNvPr>
            <p:cNvSpPr/>
            <p:nvPr/>
          </p:nvSpPr>
          <p:spPr>
            <a:xfrm>
              <a:off x="2913607" y="119120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2" name="Freeform: Shape 2281">
              <a:extLst>
                <a:ext uri="{FF2B5EF4-FFF2-40B4-BE49-F238E27FC236}">
                  <a16:creationId xmlns:a16="http://schemas.microsoft.com/office/drawing/2014/main" id="{D88B09AE-B995-4CF3-8FF0-432D818FA3EA}"/>
                </a:ext>
              </a:extLst>
            </p:cNvPr>
            <p:cNvSpPr/>
            <p:nvPr/>
          </p:nvSpPr>
          <p:spPr>
            <a:xfrm>
              <a:off x="2291899" y="84140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3" name="Freeform: Shape 2282">
              <a:extLst>
                <a:ext uri="{FF2B5EF4-FFF2-40B4-BE49-F238E27FC236}">
                  <a16:creationId xmlns:a16="http://schemas.microsoft.com/office/drawing/2014/main" id="{5087A60D-A58A-4FA0-88E4-724FD19A9DC8}"/>
                </a:ext>
              </a:extLst>
            </p:cNvPr>
            <p:cNvSpPr/>
            <p:nvPr/>
          </p:nvSpPr>
          <p:spPr>
            <a:xfrm>
              <a:off x="2423605" y="66296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4" name="Freeform: Shape 2283">
              <a:extLst>
                <a:ext uri="{FF2B5EF4-FFF2-40B4-BE49-F238E27FC236}">
                  <a16:creationId xmlns:a16="http://schemas.microsoft.com/office/drawing/2014/main" id="{B01EA1B7-32F5-4660-BB21-5F19C046BE10}"/>
                </a:ext>
              </a:extLst>
            </p:cNvPr>
            <p:cNvSpPr/>
            <p:nvPr/>
          </p:nvSpPr>
          <p:spPr>
            <a:xfrm>
              <a:off x="3540980" y="1422047"/>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41280"/>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5" name="Freeform: Shape 2284">
              <a:extLst>
                <a:ext uri="{FF2B5EF4-FFF2-40B4-BE49-F238E27FC236}">
                  <a16:creationId xmlns:a16="http://schemas.microsoft.com/office/drawing/2014/main" id="{3B5F0473-B70B-4EC6-B354-480C1C1894D6}"/>
                </a:ext>
              </a:extLst>
            </p:cNvPr>
            <p:cNvSpPr/>
            <p:nvPr/>
          </p:nvSpPr>
          <p:spPr>
            <a:xfrm>
              <a:off x="3768712" y="1329994"/>
              <a:ext cx="42486" cy="42486"/>
            </a:xfrm>
            <a:custGeom>
              <a:avLst/>
              <a:gdLst>
                <a:gd name="connsiteX0" fmla="*/ 24561 w 42485"/>
                <a:gd name="connsiteY0" fmla="*/ 32783 h 42485"/>
                <a:gd name="connsiteX1" fmla="*/ 33058 w 42485"/>
                <a:gd name="connsiteY1" fmla="*/ 24286 h 42485"/>
                <a:gd name="connsiteX2" fmla="*/ 24561 w 42485"/>
                <a:gd name="connsiteY2" fmla="*/ 15789 h 42485"/>
                <a:gd name="connsiteX3" fmla="*/ 16064 w 42485"/>
                <a:gd name="connsiteY3" fmla="*/ 24286 h 42485"/>
                <a:gd name="connsiteX4" fmla="*/ 24561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1" y="32783"/>
                  </a:moveTo>
                  <a:cubicBezTo>
                    <a:pt x="28809" y="32783"/>
                    <a:pt x="33058" y="28535"/>
                    <a:pt x="33058" y="24286"/>
                  </a:cubicBezTo>
                  <a:cubicBezTo>
                    <a:pt x="33058" y="20038"/>
                    <a:pt x="28809" y="15789"/>
                    <a:pt x="24561" y="15789"/>
                  </a:cubicBezTo>
                  <a:cubicBezTo>
                    <a:pt x="20312" y="15789"/>
                    <a:pt x="16064" y="20038"/>
                    <a:pt x="16064" y="24286"/>
                  </a:cubicBezTo>
                  <a:cubicBezTo>
                    <a:pt x="14647" y="28535"/>
                    <a:pt x="18896" y="32783"/>
                    <a:pt x="24561"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6" name="Freeform: Shape 2285">
              <a:extLst>
                <a:ext uri="{FF2B5EF4-FFF2-40B4-BE49-F238E27FC236}">
                  <a16:creationId xmlns:a16="http://schemas.microsoft.com/office/drawing/2014/main" id="{9C9DB2EA-8211-42F6-B1B9-C63F7F6217CB}"/>
                </a:ext>
              </a:extLst>
            </p:cNvPr>
            <p:cNvSpPr/>
            <p:nvPr/>
          </p:nvSpPr>
          <p:spPr>
            <a:xfrm>
              <a:off x="3685431" y="1508434"/>
              <a:ext cx="70810" cy="70810"/>
            </a:xfrm>
            <a:custGeom>
              <a:avLst/>
              <a:gdLst>
                <a:gd name="connsiteX0" fmla="*/ 38448 w 70809"/>
                <a:gd name="connsiteY0" fmla="*/ 61107 h 70809"/>
                <a:gd name="connsiteX1" fmla="*/ 61107 w 70809"/>
                <a:gd name="connsiteY1" fmla="*/ 38448 h 70809"/>
                <a:gd name="connsiteX2" fmla="*/ 38448 w 70809"/>
                <a:gd name="connsiteY2" fmla="*/ 15789 h 70809"/>
                <a:gd name="connsiteX3" fmla="*/ 15789 w 70809"/>
                <a:gd name="connsiteY3" fmla="*/ 38448 h 70809"/>
                <a:gd name="connsiteX4" fmla="*/ 3844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8" y="61107"/>
                  </a:moveTo>
                  <a:cubicBezTo>
                    <a:pt x="51194" y="61107"/>
                    <a:pt x="61107" y="51194"/>
                    <a:pt x="61107" y="38448"/>
                  </a:cubicBezTo>
                  <a:cubicBezTo>
                    <a:pt x="61107" y="25702"/>
                    <a:pt x="51194" y="15789"/>
                    <a:pt x="38448" y="15789"/>
                  </a:cubicBezTo>
                  <a:cubicBezTo>
                    <a:pt x="25703" y="15789"/>
                    <a:pt x="15789" y="25702"/>
                    <a:pt x="15789" y="38448"/>
                  </a:cubicBezTo>
                  <a:cubicBezTo>
                    <a:pt x="15789" y="51194"/>
                    <a:pt x="25703" y="61107"/>
                    <a:pt x="38448"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7" name="Freeform: Shape 2286">
              <a:extLst>
                <a:ext uri="{FF2B5EF4-FFF2-40B4-BE49-F238E27FC236}">
                  <a16:creationId xmlns:a16="http://schemas.microsoft.com/office/drawing/2014/main" id="{02346402-3553-417E-9F91-0EC2E933A930}"/>
                </a:ext>
              </a:extLst>
            </p:cNvPr>
            <p:cNvSpPr/>
            <p:nvPr/>
          </p:nvSpPr>
          <p:spPr>
            <a:xfrm>
              <a:off x="3652859" y="1178462"/>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8" name="Freeform: Shape 2287">
              <a:extLst>
                <a:ext uri="{FF2B5EF4-FFF2-40B4-BE49-F238E27FC236}">
                  <a16:creationId xmlns:a16="http://schemas.microsoft.com/office/drawing/2014/main" id="{F16008FB-5BA2-4D02-B1BD-7F799B12D0FD}"/>
                </a:ext>
              </a:extLst>
            </p:cNvPr>
            <p:cNvSpPr/>
            <p:nvPr/>
          </p:nvSpPr>
          <p:spPr>
            <a:xfrm>
              <a:off x="3604708" y="1574995"/>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89" name="Freeform: Shape 2288">
              <a:extLst>
                <a:ext uri="{FF2B5EF4-FFF2-40B4-BE49-F238E27FC236}">
                  <a16:creationId xmlns:a16="http://schemas.microsoft.com/office/drawing/2014/main" id="{D00488DF-44DD-4DC0-A6D8-68990B4A6C14}"/>
                </a:ext>
              </a:extLst>
            </p:cNvPr>
            <p:cNvSpPr/>
            <p:nvPr/>
          </p:nvSpPr>
          <p:spPr>
            <a:xfrm>
              <a:off x="3538147" y="1134560"/>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0" name="Freeform: Shape 2289">
              <a:extLst>
                <a:ext uri="{FF2B5EF4-FFF2-40B4-BE49-F238E27FC236}">
                  <a16:creationId xmlns:a16="http://schemas.microsoft.com/office/drawing/2014/main" id="{6490BE14-FA3B-43F1-9CAC-E44DBD096B79}"/>
                </a:ext>
              </a:extLst>
            </p:cNvPr>
            <p:cNvSpPr/>
            <p:nvPr/>
          </p:nvSpPr>
          <p:spPr>
            <a:xfrm>
              <a:off x="3805808" y="1440457"/>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1" name="Freeform: Shape 2290">
              <a:extLst>
                <a:ext uri="{FF2B5EF4-FFF2-40B4-BE49-F238E27FC236}">
                  <a16:creationId xmlns:a16="http://schemas.microsoft.com/office/drawing/2014/main" id="{A9B2C11A-D6D0-4865-93B9-9EF4E9EB98C4}"/>
                </a:ext>
              </a:extLst>
            </p:cNvPr>
            <p:cNvSpPr/>
            <p:nvPr/>
          </p:nvSpPr>
          <p:spPr>
            <a:xfrm>
              <a:off x="3242164" y="1059502"/>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7" y="15789"/>
                    <a:pt x="15789" y="20038"/>
                    <a:pt x="15789" y="24286"/>
                  </a:cubicBezTo>
                  <a:cubicBezTo>
                    <a:pt x="15789" y="28535"/>
                    <a:pt x="18621"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2" name="Freeform: Shape 2291">
              <a:extLst>
                <a:ext uri="{FF2B5EF4-FFF2-40B4-BE49-F238E27FC236}">
                  <a16:creationId xmlns:a16="http://schemas.microsoft.com/office/drawing/2014/main" id="{9ED4407E-C7BB-4F87-A338-5099303521EB}"/>
                </a:ext>
              </a:extLst>
            </p:cNvPr>
            <p:cNvSpPr/>
            <p:nvPr/>
          </p:nvSpPr>
          <p:spPr>
            <a:xfrm>
              <a:off x="3175602" y="973114"/>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3" name="Freeform: Shape 2292">
              <a:extLst>
                <a:ext uri="{FF2B5EF4-FFF2-40B4-BE49-F238E27FC236}">
                  <a16:creationId xmlns:a16="http://schemas.microsoft.com/office/drawing/2014/main" id="{FFD3FAA0-8AD0-46AE-9483-8A15C89ABD3E}"/>
                </a:ext>
              </a:extLst>
            </p:cNvPr>
            <p:cNvSpPr/>
            <p:nvPr/>
          </p:nvSpPr>
          <p:spPr>
            <a:xfrm>
              <a:off x="3205343" y="987276"/>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4" name="Freeform: Shape 2293">
              <a:extLst>
                <a:ext uri="{FF2B5EF4-FFF2-40B4-BE49-F238E27FC236}">
                  <a16:creationId xmlns:a16="http://schemas.microsoft.com/office/drawing/2014/main" id="{0A8FC651-3F37-478C-9A7D-BA3B06D27501}"/>
                </a:ext>
              </a:extLst>
            </p:cNvPr>
            <p:cNvSpPr/>
            <p:nvPr/>
          </p:nvSpPr>
          <p:spPr>
            <a:xfrm>
              <a:off x="3041064" y="1075080"/>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5" name="Freeform: Shape 2294">
              <a:extLst>
                <a:ext uri="{FF2B5EF4-FFF2-40B4-BE49-F238E27FC236}">
                  <a16:creationId xmlns:a16="http://schemas.microsoft.com/office/drawing/2014/main" id="{4E0DE109-B03F-4CC8-9051-49375196770E}"/>
                </a:ext>
              </a:extLst>
            </p:cNvPr>
            <p:cNvSpPr/>
            <p:nvPr/>
          </p:nvSpPr>
          <p:spPr>
            <a:xfrm>
              <a:off x="3184100" y="1240774"/>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6" name="Freeform: Shape 2295">
              <a:extLst>
                <a:ext uri="{FF2B5EF4-FFF2-40B4-BE49-F238E27FC236}">
                  <a16:creationId xmlns:a16="http://schemas.microsoft.com/office/drawing/2014/main" id="{AE947BAF-9407-4660-84E3-3A4A8BFDE320}"/>
                </a:ext>
              </a:extLst>
            </p:cNvPr>
            <p:cNvSpPr/>
            <p:nvPr/>
          </p:nvSpPr>
          <p:spPr>
            <a:xfrm>
              <a:off x="3427685" y="1168549"/>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18621"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7" name="Freeform: Shape 2296">
              <a:extLst>
                <a:ext uri="{FF2B5EF4-FFF2-40B4-BE49-F238E27FC236}">
                  <a16:creationId xmlns:a16="http://schemas.microsoft.com/office/drawing/2014/main" id="{B8609D5E-3678-4405-B4ED-5F6025E22EB3}"/>
                </a:ext>
              </a:extLst>
            </p:cNvPr>
            <p:cNvSpPr/>
            <p:nvPr/>
          </p:nvSpPr>
          <p:spPr>
            <a:xfrm>
              <a:off x="3577801" y="1235110"/>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8" name="Freeform: Shape 2297">
              <a:extLst>
                <a:ext uri="{FF2B5EF4-FFF2-40B4-BE49-F238E27FC236}">
                  <a16:creationId xmlns:a16="http://schemas.microsoft.com/office/drawing/2014/main" id="{0A57531B-BD41-49A2-9D5B-068D4FC1CF69}"/>
                </a:ext>
              </a:extLst>
            </p:cNvPr>
            <p:cNvSpPr/>
            <p:nvPr/>
          </p:nvSpPr>
          <p:spPr>
            <a:xfrm>
              <a:off x="3250661" y="1378145"/>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299" name="Freeform: Shape 2298">
              <a:extLst>
                <a:ext uri="{FF2B5EF4-FFF2-40B4-BE49-F238E27FC236}">
                  <a16:creationId xmlns:a16="http://schemas.microsoft.com/office/drawing/2014/main" id="{F7E8CC10-BB92-4308-898E-ED851D45B7C2}"/>
                </a:ext>
              </a:extLst>
            </p:cNvPr>
            <p:cNvSpPr/>
            <p:nvPr/>
          </p:nvSpPr>
          <p:spPr>
            <a:xfrm>
              <a:off x="3162857" y="1407885"/>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0" name="Freeform: Shape 2299">
              <a:extLst>
                <a:ext uri="{FF2B5EF4-FFF2-40B4-BE49-F238E27FC236}">
                  <a16:creationId xmlns:a16="http://schemas.microsoft.com/office/drawing/2014/main" id="{AA61306D-BC20-40FB-95EF-1971EB50E300}"/>
                </a:ext>
              </a:extLst>
            </p:cNvPr>
            <p:cNvSpPr/>
            <p:nvPr/>
          </p:nvSpPr>
          <p:spPr>
            <a:xfrm>
              <a:off x="2443431" y="1574995"/>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1" name="Freeform: Shape 2300">
              <a:extLst>
                <a:ext uri="{FF2B5EF4-FFF2-40B4-BE49-F238E27FC236}">
                  <a16:creationId xmlns:a16="http://schemas.microsoft.com/office/drawing/2014/main" id="{A6517242-4FF3-412B-BCC4-0F8D9F67749F}"/>
                </a:ext>
              </a:extLst>
            </p:cNvPr>
            <p:cNvSpPr/>
            <p:nvPr/>
          </p:nvSpPr>
          <p:spPr>
            <a:xfrm>
              <a:off x="2543116" y="2540623"/>
              <a:ext cx="84971" cy="84971"/>
            </a:xfrm>
            <a:custGeom>
              <a:avLst/>
              <a:gdLst>
                <a:gd name="connsiteX0" fmla="*/ 44220 w 84971"/>
                <a:gd name="connsiteY0" fmla="*/ 72437 h 84971"/>
                <a:gd name="connsiteX1" fmla="*/ 72544 w 84971"/>
                <a:gd name="connsiteY1" fmla="*/ 44113 h 84971"/>
                <a:gd name="connsiteX2" fmla="*/ 44220 w 84971"/>
                <a:gd name="connsiteY2" fmla="*/ 15789 h 84971"/>
                <a:gd name="connsiteX3" fmla="*/ 15896 w 84971"/>
                <a:gd name="connsiteY3" fmla="*/ 44113 h 84971"/>
                <a:gd name="connsiteX4" fmla="*/ 44220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220" y="72437"/>
                  </a:moveTo>
                  <a:cubicBezTo>
                    <a:pt x="59798" y="72437"/>
                    <a:pt x="72544" y="59691"/>
                    <a:pt x="72544" y="44113"/>
                  </a:cubicBezTo>
                  <a:cubicBezTo>
                    <a:pt x="72544" y="28535"/>
                    <a:pt x="59798" y="15789"/>
                    <a:pt x="44220" y="15789"/>
                  </a:cubicBezTo>
                  <a:cubicBezTo>
                    <a:pt x="28642" y="15789"/>
                    <a:pt x="15896" y="28535"/>
                    <a:pt x="15896" y="44113"/>
                  </a:cubicBezTo>
                  <a:cubicBezTo>
                    <a:pt x="14480" y="59691"/>
                    <a:pt x="27226" y="72437"/>
                    <a:pt x="44220"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2" name="Freeform: Shape 2301">
              <a:extLst>
                <a:ext uri="{FF2B5EF4-FFF2-40B4-BE49-F238E27FC236}">
                  <a16:creationId xmlns:a16="http://schemas.microsoft.com/office/drawing/2014/main" id="{C7573C15-FB95-4BF9-84BE-1DE4BC6F08BC}"/>
                </a:ext>
              </a:extLst>
            </p:cNvPr>
            <p:cNvSpPr/>
            <p:nvPr/>
          </p:nvSpPr>
          <p:spPr>
            <a:xfrm>
              <a:off x="2657656" y="2057587"/>
              <a:ext cx="84971" cy="84971"/>
            </a:xfrm>
            <a:custGeom>
              <a:avLst/>
              <a:gdLst>
                <a:gd name="connsiteX0" fmla="*/ 44220 w 84971"/>
                <a:gd name="connsiteY0" fmla="*/ 72437 h 84971"/>
                <a:gd name="connsiteX1" fmla="*/ 72544 w 84971"/>
                <a:gd name="connsiteY1" fmla="*/ 44113 h 84971"/>
                <a:gd name="connsiteX2" fmla="*/ 44220 w 84971"/>
                <a:gd name="connsiteY2" fmla="*/ 15789 h 84971"/>
                <a:gd name="connsiteX3" fmla="*/ 15897 w 84971"/>
                <a:gd name="connsiteY3" fmla="*/ 44113 h 84971"/>
                <a:gd name="connsiteX4" fmla="*/ 44220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220" y="72437"/>
                  </a:moveTo>
                  <a:cubicBezTo>
                    <a:pt x="59798" y="72437"/>
                    <a:pt x="72544" y="59691"/>
                    <a:pt x="72544" y="44113"/>
                  </a:cubicBezTo>
                  <a:cubicBezTo>
                    <a:pt x="72544" y="28535"/>
                    <a:pt x="59798" y="15789"/>
                    <a:pt x="44220" y="15789"/>
                  </a:cubicBezTo>
                  <a:cubicBezTo>
                    <a:pt x="28642" y="15789"/>
                    <a:pt x="15897" y="28535"/>
                    <a:pt x="15897" y="44113"/>
                  </a:cubicBezTo>
                  <a:cubicBezTo>
                    <a:pt x="14480" y="59691"/>
                    <a:pt x="27226" y="72437"/>
                    <a:pt x="44220"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3" name="Freeform: Shape 2302">
              <a:extLst>
                <a:ext uri="{FF2B5EF4-FFF2-40B4-BE49-F238E27FC236}">
                  <a16:creationId xmlns:a16="http://schemas.microsoft.com/office/drawing/2014/main" id="{D28F61CB-593F-4FEF-AF2B-7AC282EB848B}"/>
                </a:ext>
              </a:extLst>
            </p:cNvPr>
            <p:cNvSpPr/>
            <p:nvPr/>
          </p:nvSpPr>
          <p:spPr>
            <a:xfrm>
              <a:off x="3052394" y="2495519"/>
              <a:ext cx="113295" cy="113295"/>
            </a:xfrm>
            <a:custGeom>
              <a:avLst/>
              <a:gdLst>
                <a:gd name="connsiteX0" fmla="*/ 56859 w 113295"/>
                <a:gd name="connsiteY0" fmla="*/ 97928 h 113295"/>
                <a:gd name="connsiteX1" fmla="*/ 97928 w 113295"/>
                <a:gd name="connsiteY1" fmla="*/ 56859 h 113295"/>
                <a:gd name="connsiteX2" fmla="*/ 56859 w 113295"/>
                <a:gd name="connsiteY2" fmla="*/ 15789 h 113295"/>
                <a:gd name="connsiteX3" fmla="*/ 15789 w 113295"/>
                <a:gd name="connsiteY3" fmla="*/ 56859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8" y="79518"/>
                    <a:pt x="97928" y="56859"/>
                  </a:cubicBezTo>
                  <a:cubicBezTo>
                    <a:pt x="97928" y="34200"/>
                    <a:pt x="79518" y="15789"/>
                    <a:pt x="56859" y="15789"/>
                  </a:cubicBezTo>
                  <a:cubicBezTo>
                    <a:pt x="34200" y="15789"/>
                    <a:pt x="15789" y="34200"/>
                    <a:pt x="15789" y="56859"/>
                  </a:cubicBezTo>
                  <a:cubicBezTo>
                    <a:pt x="15789" y="79518"/>
                    <a:pt x="34200" y="97928"/>
                    <a:pt x="56859"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4" name="Freeform: Shape 2303">
              <a:extLst>
                <a:ext uri="{FF2B5EF4-FFF2-40B4-BE49-F238E27FC236}">
                  <a16:creationId xmlns:a16="http://schemas.microsoft.com/office/drawing/2014/main" id="{8070735D-AD39-4A77-901E-E79BEC4688D9}"/>
                </a:ext>
              </a:extLst>
            </p:cNvPr>
            <p:cNvSpPr/>
            <p:nvPr/>
          </p:nvSpPr>
          <p:spPr>
            <a:xfrm>
              <a:off x="2204095" y="1550920"/>
              <a:ext cx="127457" cy="127457"/>
            </a:xfrm>
            <a:custGeom>
              <a:avLst/>
              <a:gdLst>
                <a:gd name="connsiteX0" fmla="*/ 63939 w 127457"/>
                <a:gd name="connsiteY0" fmla="*/ 15789 h 127457"/>
                <a:gd name="connsiteX1" fmla="*/ 112090 w 127457"/>
                <a:gd name="connsiteY1" fmla="*/ 63940 h 127457"/>
                <a:gd name="connsiteX2" fmla="*/ 63939 w 127457"/>
                <a:gd name="connsiteY2" fmla="*/ 112090 h 127457"/>
                <a:gd name="connsiteX3" fmla="*/ 15789 w 127457"/>
                <a:gd name="connsiteY3" fmla="*/ 63940 h 127457"/>
                <a:gd name="connsiteX4" fmla="*/ 63939 w 127457"/>
                <a:gd name="connsiteY4" fmla="*/ 15789 h 127457"/>
                <a:gd name="connsiteX5" fmla="*/ 63939 w 127457"/>
                <a:gd name="connsiteY5" fmla="*/ 15789 h 127457"/>
                <a:gd name="connsiteX6" fmla="*/ 63939 w 127457"/>
                <a:gd name="connsiteY6" fmla="*/ 37032 h 127457"/>
                <a:gd name="connsiteX7" fmla="*/ 37032 w 127457"/>
                <a:gd name="connsiteY7" fmla="*/ 63940 h 127457"/>
                <a:gd name="connsiteX8" fmla="*/ 63939 w 127457"/>
                <a:gd name="connsiteY8" fmla="*/ 90847 h 127457"/>
                <a:gd name="connsiteX9" fmla="*/ 90847 w 127457"/>
                <a:gd name="connsiteY9" fmla="*/ 63940 h 127457"/>
                <a:gd name="connsiteX10" fmla="*/ 63939 w 127457"/>
                <a:gd name="connsiteY10" fmla="*/ 37032 h 12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457" h="127457">
                  <a:moveTo>
                    <a:pt x="63939" y="15789"/>
                  </a:moveTo>
                  <a:cubicBezTo>
                    <a:pt x="90847" y="15789"/>
                    <a:pt x="112090" y="37032"/>
                    <a:pt x="112090" y="63940"/>
                  </a:cubicBezTo>
                  <a:cubicBezTo>
                    <a:pt x="112090" y="90847"/>
                    <a:pt x="90847" y="112090"/>
                    <a:pt x="63939" y="112090"/>
                  </a:cubicBezTo>
                  <a:cubicBezTo>
                    <a:pt x="37032" y="112090"/>
                    <a:pt x="15789" y="90847"/>
                    <a:pt x="15789" y="63940"/>
                  </a:cubicBezTo>
                  <a:cubicBezTo>
                    <a:pt x="15789" y="37032"/>
                    <a:pt x="37032" y="15789"/>
                    <a:pt x="63939" y="15789"/>
                  </a:cubicBezTo>
                  <a:lnTo>
                    <a:pt x="63939" y="15789"/>
                  </a:lnTo>
                  <a:close/>
                  <a:moveTo>
                    <a:pt x="63939" y="37032"/>
                  </a:moveTo>
                  <a:cubicBezTo>
                    <a:pt x="48361" y="37032"/>
                    <a:pt x="37032" y="49778"/>
                    <a:pt x="37032" y="63940"/>
                  </a:cubicBezTo>
                  <a:cubicBezTo>
                    <a:pt x="37032" y="79518"/>
                    <a:pt x="49778" y="90847"/>
                    <a:pt x="63939" y="90847"/>
                  </a:cubicBezTo>
                  <a:cubicBezTo>
                    <a:pt x="79518" y="90847"/>
                    <a:pt x="90847" y="78101"/>
                    <a:pt x="90847" y="63940"/>
                  </a:cubicBezTo>
                  <a:cubicBezTo>
                    <a:pt x="90847" y="49778"/>
                    <a:pt x="78101" y="37032"/>
                    <a:pt x="63939" y="3703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5" name="Freeform: Shape 2304">
              <a:extLst>
                <a:ext uri="{FF2B5EF4-FFF2-40B4-BE49-F238E27FC236}">
                  <a16:creationId xmlns:a16="http://schemas.microsoft.com/office/drawing/2014/main" id="{B93CA15C-8586-483A-914A-504949F930D2}"/>
                </a:ext>
              </a:extLst>
            </p:cNvPr>
            <p:cNvSpPr/>
            <p:nvPr/>
          </p:nvSpPr>
          <p:spPr>
            <a:xfrm>
              <a:off x="2225636" y="2936101"/>
              <a:ext cx="70810" cy="70810"/>
            </a:xfrm>
            <a:custGeom>
              <a:avLst/>
              <a:gdLst>
                <a:gd name="connsiteX0" fmla="*/ 39864 w 70809"/>
                <a:gd name="connsiteY0" fmla="*/ 63939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40" y="52610"/>
                    <a:pt x="63940" y="39864"/>
                  </a:cubicBezTo>
                  <a:cubicBezTo>
                    <a:pt x="63940" y="27118"/>
                    <a:pt x="52610" y="15789"/>
                    <a:pt x="39864" y="15789"/>
                  </a:cubicBezTo>
                  <a:cubicBezTo>
                    <a:pt x="27118" y="15789"/>
                    <a:pt x="15789" y="27118"/>
                    <a:pt x="15789" y="39864"/>
                  </a:cubicBezTo>
                  <a:cubicBezTo>
                    <a:pt x="15789" y="52610"/>
                    <a:pt x="27118" y="63939"/>
                    <a:pt x="3986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6" name="Freeform: Shape 2305">
              <a:extLst>
                <a:ext uri="{FF2B5EF4-FFF2-40B4-BE49-F238E27FC236}">
                  <a16:creationId xmlns:a16="http://schemas.microsoft.com/office/drawing/2014/main" id="{5C4A38AB-5A00-4F53-939C-09FD62BCFBBA}"/>
                </a:ext>
              </a:extLst>
            </p:cNvPr>
            <p:cNvSpPr/>
            <p:nvPr/>
          </p:nvSpPr>
          <p:spPr>
            <a:xfrm>
              <a:off x="2143199" y="2593237"/>
              <a:ext cx="84971" cy="99133"/>
            </a:xfrm>
            <a:custGeom>
              <a:avLst/>
              <a:gdLst>
                <a:gd name="connsiteX0" fmla="*/ 48361 w 84971"/>
                <a:gd name="connsiteY0" fmla="*/ 15789 h 99133"/>
                <a:gd name="connsiteX1" fmla="*/ 82350 w 84971"/>
                <a:gd name="connsiteY1" fmla="*/ 49777 h 99133"/>
                <a:gd name="connsiteX2" fmla="*/ 48361 w 84971"/>
                <a:gd name="connsiteY2" fmla="*/ 83766 h 99133"/>
                <a:gd name="connsiteX3" fmla="*/ 15789 w 84971"/>
                <a:gd name="connsiteY3" fmla="*/ 49777 h 99133"/>
                <a:gd name="connsiteX4" fmla="*/ 48361 w 84971"/>
                <a:gd name="connsiteY4" fmla="*/ 15789 h 99133"/>
                <a:gd name="connsiteX5" fmla="*/ 48361 w 84971"/>
                <a:gd name="connsiteY5" fmla="*/ 15789 h 99133"/>
                <a:gd name="connsiteX6" fmla="*/ 48361 w 84971"/>
                <a:gd name="connsiteY6" fmla="*/ 29951 h 99133"/>
                <a:gd name="connsiteX7" fmla="*/ 29951 w 84971"/>
                <a:gd name="connsiteY7" fmla="*/ 48361 h 99133"/>
                <a:gd name="connsiteX8" fmla="*/ 48361 w 84971"/>
                <a:gd name="connsiteY8" fmla="*/ 66772 h 99133"/>
                <a:gd name="connsiteX9" fmla="*/ 66772 w 84971"/>
                <a:gd name="connsiteY9" fmla="*/ 48361 h 99133"/>
                <a:gd name="connsiteX10" fmla="*/ 48361 w 84971"/>
                <a:gd name="connsiteY10" fmla="*/ 29951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99133">
                  <a:moveTo>
                    <a:pt x="48361" y="15789"/>
                  </a:moveTo>
                  <a:cubicBezTo>
                    <a:pt x="66772" y="15789"/>
                    <a:pt x="82350" y="31367"/>
                    <a:pt x="82350" y="49777"/>
                  </a:cubicBezTo>
                  <a:cubicBezTo>
                    <a:pt x="82350" y="68188"/>
                    <a:pt x="66772" y="83766"/>
                    <a:pt x="48361" y="83766"/>
                  </a:cubicBezTo>
                  <a:cubicBezTo>
                    <a:pt x="29951" y="83766"/>
                    <a:pt x="15789" y="68188"/>
                    <a:pt x="15789" y="49777"/>
                  </a:cubicBezTo>
                  <a:cubicBezTo>
                    <a:pt x="15789" y="31367"/>
                    <a:pt x="29951" y="15789"/>
                    <a:pt x="48361" y="15789"/>
                  </a:cubicBezTo>
                  <a:lnTo>
                    <a:pt x="48361" y="15789"/>
                  </a:lnTo>
                  <a:close/>
                  <a:moveTo>
                    <a:pt x="48361" y="29951"/>
                  </a:moveTo>
                  <a:cubicBezTo>
                    <a:pt x="38448" y="29951"/>
                    <a:pt x="29951" y="38448"/>
                    <a:pt x="29951" y="48361"/>
                  </a:cubicBezTo>
                  <a:cubicBezTo>
                    <a:pt x="29951" y="58275"/>
                    <a:pt x="38448" y="66772"/>
                    <a:pt x="48361" y="66772"/>
                  </a:cubicBezTo>
                  <a:cubicBezTo>
                    <a:pt x="58275" y="66772"/>
                    <a:pt x="66772" y="58275"/>
                    <a:pt x="66772" y="48361"/>
                  </a:cubicBezTo>
                  <a:cubicBezTo>
                    <a:pt x="68188" y="38448"/>
                    <a:pt x="59691" y="29951"/>
                    <a:pt x="48361"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7" name="Freeform: Shape 2306">
              <a:extLst>
                <a:ext uri="{FF2B5EF4-FFF2-40B4-BE49-F238E27FC236}">
                  <a16:creationId xmlns:a16="http://schemas.microsoft.com/office/drawing/2014/main" id="{A20A2F13-B8FF-4BF3-A1FA-75F213B500E7}"/>
                </a:ext>
              </a:extLst>
            </p:cNvPr>
            <p:cNvSpPr/>
            <p:nvPr/>
          </p:nvSpPr>
          <p:spPr>
            <a:xfrm>
              <a:off x="2075137" y="2193786"/>
              <a:ext cx="68147" cy="68147"/>
            </a:xfrm>
            <a:custGeom>
              <a:avLst/>
              <a:gdLst>
                <a:gd name="connsiteX0" fmla="*/ 63940 w 127457"/>
                <a:gd name="connsiteY0" fmla="*/ 112090 h 127457"/>
                <a:gd name="connsiteX1" fmla="*/ 112090 w 127457"/>
                <a:gd name="connsiteY1" fmla="*/ 63939 h 127457"/>
                <a:gd name="connsiteX2" fmla="*/ 63940 w 127457"/>
                <a:gd name="connsiteY2" fmla="*/ 15789 h 127457"/>
                <a:gd name="connsiteX3" fmla="*/ 15789 w 127457"/>
                <a:gd name="connsiteY3" fmla="*/ 63939 h 127457"/>
                <a:gd name="connsiteX4" fmla="*/ 63940 w 127457"/>
                <a:gd name="connsiteY4" fmla="*/ 112090 h 127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57" h="127457">
                  <a:moveTo>
                    <a:pt x="63940" y="112090"/>
                  </a:moveTo>
                  <a:cubicBezTo>
                    <a:pt x="90847" y="112090"/>
                    <a:pt x="112090" y="90847"/>
                    <a:pt x="112090" y="63939"/>
                  </a:cubicBezTo>
                  <a:cubicBezTo>
                    <a:pt x="112090" y="37032"/>
                    <a:pt x="90847" y="15789"/>
                    <a:pt x="63940" y="15789"/>
                  </a:cubicBezTo>
                  <a:cubicBezTo>
                    <a:pt x="37032" y="15789"/>
                    <a:pt x="15789" y="37032"/>
                    <a:pt x="15789" y="63939"/>
                  </a:cubicBezTo>
                  <a:cubicBezTo>
                    <a:pt x="15789" y="90847"/>
                    <a:pt x="38448" y="112090"/>
                    <a:pt x="63940" y="11209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8" name="Freeform: Shape 2307">
              <a:extLst>
                <a:ext uri="{FF2B5EF4-FFF2-40B4-BE49-F238E27FC236}">
                  <a16:creationId xmlns:a16="http://schemas.microsoft.com/office/drawing/2014/main" id="{E345322C-0DAE-4E09-85DD-38D188C9D5DC}"/>
                </a:ext>
              </a:extLst>
            </p:cNvPr>
            <p:cNvSpPr/>
            <p:nvPr/>
          </p:nvSpPr>
          <p:spPr>
            <a:xfrm>
              <a:off x="2883867" y="1906384"/>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09" name="Freeform: Shape 2308">
              <a:extLst>
                <a:ext uri="{FF2B5EF4-FFF2-40B4-BE49-F238E27FC236}">
                  <a16:creationId xmlns:a16="http://schemas.microsoft.com/office/drawing/2014/main" id="{19300047-CCFD-4BDC-A92A-4260D8CB6373}"/>
                </a:ext>
              </a:extLst>
            </p:cNvPr>
            <p:cNvSpPr/>
            <p:nvPr/>
          </p:nvSpPr>
          <p:spPr>
            <a:xfrm>
              <a:off x="2751462" y="2493833"/>
              <a:ext cx="127457" cy="127457"/>
            </a:xfrm>
            <a:custGeom>
              <a:avLst/>
              <a:gdLst>
                <a:gd name="connsiteX0" fmla="*/ 63939 w 127457"/>
                <a:gd name="connsiteY0" fmla="*/ 15789 h 127457"/>
                <a:gd name="connsiteX1" fmla="*/ 112090 w 127457"/>
                <a:gd name="connsiteY1" fmla="*/ 63940 h 127457"/>
                <a:gd name="connsiteX2" fmla="*/ 63939 w 127457"/>
                <a:gd name="connsiteY2" fmla="*/ 112090 h 127457"/>
                <a:gd name="connsiteX3" fmla="*/ 15789 w 127457"/>
                <a:gd name="connsiteY3" fmla="*/ 63940 h 127457"/>
                <a:gd name="connsiteX4" fmla="*/ 63939 w 127457"/>
                <a:gd name="connsiteY4" fmla="*/ 15789 h 127457"/>
                <a:gd name="connsiteX5" fmla="*/ 63939 w 127457"/>
                <a:gd name="connsiteY5" fmla="*/ 15789 h 127457"/>
                <a:gd name="connsiteX6" fmla="*/ 63939 w 127457"/>
                <a:gd name="connsiteY6" fmla="*/ 37032 h 127457"/>
                <a:gd name="connsiteX7" fmla="*/ 37032 w 127457"/>
                <a:gd name="connsiteY7" fmla="*/ 63940 h 127457"/>
                <a:gd name="connsiteX8" fmla="*/ 63939 w 127457"/>
                <a:gd name="connsiteY8" fmla="*/ 90847 h 127457"/>
                <a:gd name="connsiteX9" fmla="*/ 90847 w 127457"/>
                <a:gd name="connsiteY9" fmla="*/ 63940 h 127457"/>
                <a:gd name="connsiteX10" fmla="*/ 63939 w 127457"/>
                <a:gd name="connsiteY10" fmla="*/ 37032 h 12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457" h="127457">
                  <a:moveTo>
                    <a:pt x="63939" y="15789"/>
                  </a:moveTo>
                  <a:cubicBezTo>
                    <a:pt x="90847" y="15789"/>
                    <a:pt x="112090" y="37032"/>
                    <a:pt x="112090" y="63940"/>
                  </a:cubicBezTo>
                  <a:cubicBezTo>
                    <a:pt x="112090" y="90847"/>
                    <a:pt x="90847" y="112090"/>
                    <a:pt x="63939" y="112090"/>
                  </a:cubicBezTo>
                  <a:cubicBezTo>
                    <a:pt x="37032" y="112090"/>
                    <a:pt x="15789" y="90847"/>
                    <a:pt x="15789" y="63940"/>
                  </a:cubicBezTo>
                  <a:cubicBezTo>
                    <a:pt x="15789" y="37032"/>
                    <a:pt x="37032" y="15789"/>
                    <a:pt x="63939" y="15789"/>
                  </a:cubicBezTo>
                  <a:lnTo>
                    <a:pt x="63939" y="15789"/>
                  </a:lnTo>
                  <a:close/>
                  <a:moveTo>
                    <a:pt x="63939" y="37032"/>
                  </a:moveTo>
                  <a:cubicBezTo>
                    <a:pt x="48361" y="37032"/>
                    <a:pt x="37032" y="49778"/>
                    <a:pt x="37032" y="63940"/>
                  </a:cubicBezTo>
                  <a:cubicBezTo>
                    <a:pt x="37032" y="79518"/>
                    <a:pt x="49778" y="90847"/>
                    <a:pt x="63939" y="90847"/>
                  </a:cubicBezTo>
                  <a:cubicBezTo>
                    <a:pt x="79518" y="90847"/>
                    <a:pt x="90847" y="78102"/>
                    <a:pt x="90847" y="63940"/>
                  </a:cubicBezTo>
                  <a:cubicBezTo>
                    <a:pt x="90847" y="48361"/>
                    <a:pt x="79518" y="37032"/>
                    <a:pt x="63939" y="3703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0" name="Freeform: Shape 2309">
              <a:extLst>
                <a:ext uri="{FF2B5EF4-FFF2-40B4-BE49-F238E27FC236}">
                  <a16:creationId xmlns:a16="http://schemas.microsoft.com/office/drawing/2014/main" id="{54330D58-76BE-454F-B63E-540AEBFE6F27}"/>
                </a:ext>
              </a:extLst>
            </p:cNvPr>
            <p:cNvSpPr/>
            <p:nvPr/>
          </p:nvSpPr>
          <p:spPr>
            <a:xfrm>
              <a:off x="1049899" y="1509851"/>
              <a:ext cx="99133" cy="99133"/>
            </a:xfrm>
            <a:custGeom>
              <a:avLst/>
              <a:gdLst>
                <a:gd name="connsiteX0" fmla="*/ 49778 w 99133"/>
                <a:gd name="connsiteY0" fmla="*/ 15789 h 99133"/>
                <a:gd name="connsiteX1" fmla="*/ 83766 w 99133"/>
                <a:gd name="connsiteY1" fmla="*/ 49778 h 99133"/>
                <a:gd name="connsiteX2" fmla="*/ 49778 w 99133"/>
                <a:gd name="connsiteY2" fmla="*/ 83766 h 99133"/>
                <a:gd name="connsiteX3" fmla="*/ 15789 w 99133"/>
                <a:gd name="connsiteY3" fmla="*/ 49778 h 99133"/>
                <a:gd name="connsiteX4" fmla="*/ 49778 w 99133"/>
                <a:gd name="connsiteY4" fmla="*/ 15789 h 99133"/>
                <a:gd name="connsiteX5" fmla="*/ 49778 w 99133"/>
                <a:gd name="connsiteY5" fmla="*/ 15789 h 99133"/>
                <a:gd name="connsiteX6" fmla="*/ 49778 w 99133"/>
                <a:gd name="connsiteY6" fmla="*/ 29951 h 99133"/>
                <a:gd name="connsiteX7" fmla="*/ 31367 w 99133"/>
                <a:gd name="connsiteY7" fmla="*/ 48361 h 99133"/>
                <a:gd name="connsiteX8" fmla="*/ 49778 w 99133"/>
                <a:gd name="connsiteY8" fmla="*/ 66772 h 99133"/>
                <a:gd name="connsiteX9" fmla="*/ 68188 w 99133"/>
                <a:gd name="connsiteY9" fmla="*/ 48361 h 99133"/>
                <a:gd name="connsiteX10" fmla="*/ 49778 w 99133"/>
                <a:gd name="connsiteY10" fmla="*/ 29951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49778" y="15789"/>
                  </a:moveTo>
                  <a:cubicBezTo>
                    <a:pt x="68188" y="15789"/>
                    <a:pt x="83766" y="31367"/>
                    <a:pt x="83766" y="49778"/>
                  </a:cubicBezTo>
                  <a:cubicBezTo>
                    <a:pt x="83766" y="68188"/>
                    <a:pt x="68188" y="83766"/>
                    <a:pt x="49778" y="83766"/>
                  </a:cubicBezTo>
                  <a:cubicBezTo>
                    <a:pt x="31367" y="83766"/>
                    <a:pt x="15789" y="68188"/>
                    <a:pt x="15789" y="49778"/>
                  </a:cubicBezTo>
                  <a:cubicBezTo>
                    <a:pt x="15789" y="29951"/>
                    <a:pt x="31367" y="15789"/>
                    <a:pt x="49778" y="15789"/>
                  </a:cubicBezTo>
                  <a:lnTo>
                    <a:pt x="49778" y="15789"/>
                  </a:lnTo>
                  <a:close/>
                  <a:moveTo>
                    <a:pt x="49778" y="29951"/>
                  </a:moveTo>
                  <a:cubicBezTo>
                    <a:pt x="39864" y="29951"/>
                    <a:pt x="31367" y="38448"/>
                    <a:pt x="31367" y="48361"/>
                  </a:cubicBezTo>
                  <a:cubicBezTo>
                    <a:pt x="31367" y="58275"/>
                    <a:pt x="39864" y="66772"/>
                    <a:pt x="49778" y="66772"/>
                  </a:cubicBezTo>
                  <a:cubicBezTo>
                    <a:pt x="59691" y="66772"/>
                    <a:pt x="68188" y="58275"/>
                    <a:pt x="68188" y="48361"/>
                  </a:cubicBezTo>
                  <a:cubicBezTo>
                    <a:pt x="68188" y="38448"/>
                    <a:pt x="59691" y="29951"/>
                    <a:pt x="49778"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1" name="Freeform: Shape 2310">
              <a:extLst>
                <a:ext uri="{FF2B5EF4-FFF2-40B4-BE49-F238E27FC236}">
                  <a16:creationId xmlns:a16="http://schemas.microsoft.com/office/drawing/2014/main" id="{1F41DCE3-0BAB-4380-B75A-ED943475DE3D}"/>
                </a:ext>
              </a:extLst>
            </p:cNvPr>
            <p:cNvSpPr/>
            <p:nvPr/>
          </p:nvSpPr>
          <p:spPr>
            <a:xfrm>
              <a:off x="2287808" y="2727603"/>
              <a:ext cx="42486" cy="42486"/>
            </a:xfrm>
            <a:custGeom>
              <a:avLst/>
              <a:gdLst>
                <a:gd name="connsiteX0" fmla="*/ 27119 w 42485"/>
                <a:gd name="connsiteY0" fmla="*/ 39864 h 42485"/>
                <a:gd name="connsiteX1" fmla="*/ 38448 w 42485"/>
                <a:gd name="connsiteY1" fmla="*/ 28535 h 42485"/>
                <a:gd name="connsiteX2" fmla="*/ 27119 w 42485"/>
                <a:gd name="connsiteY2" fmla="*/ 15789 h 42485"/>
                <a:gd name="connsiteX3" fmla="*/ 15789 w 42485"/>
                <a:gd name="connsiteY3" fmla="*/ 28535 h 42485"/>
                <a:gd name="connsiteX4" fmla="*/ 27119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9864"/>
                  </a:moveTo>
                  <a:cubicBezTo>
                    <a:pt x="34200" y="39864"/>
                    <a:pt x="38448" y="34200"/>
                    <a:pt x="38448" y="28535"/>
                  </a:cubicBezTo>
                  <a:cubicBezTo>
                    <a:pt x="38448" y="21454"/>
                    <a:pt x="32783" y="15789"/>
                    <a:pt x="27119" y="15789"/>
                  </a:cubicBezTo>
                  <a:cubicBezTo>
                    <a:pt x="21454" y="15789"/>
                    <a:pt x="15789" y="21454"/>
                    <a:pt x="15789" y="28535"/>
                  </a:cubicBezTo>
                  <a:cubicBezTo>
                    <a:pt x="15789" y="34200"/>
                    <a:pt x="20038" y="39864"/>
                    <a:pt x="27119"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2" name="Freeform: Shape 2311">
              <a:extLst>
                <a:ext uri="{FF2B5EF4-FFF2-40B4-BE49-F238E27FC236}">
                  <a16:creationId xmlns:a16="http://schemas.microsoft.com/office/drawing/2014/main" id="{DB16B250-5ADE-4718-9F20-352038E6CBB4}"/>
                </a:ext>
              </a:extLst>
            </p:cNvPr>
            <p:cNvSpPr/>
            <p:nvPr/>
          </p:nvSpPr>
          <p:spPr>
            <a:xfrm>
              <a:off x="2399015" y="1866816"/>
              <a:ext cx="42486" cy="42486"/>
            </a:xfrm>
            <a:custGeom>
              <a:avLst/>
              <a:gdLst>
                <a:gd name="connsiteX0" fmla="*/ 27118 w 42485"/>
                <a:gd name="connsiteY0" fmla="*/ 39864 h 42485"/>
                <a:gd name="connsiteX1" fmla="*/ 38448 w 42485"/>
                <a:gd name="connsiteY1" fmla="*/ 27119 h 42485"/>
                <a:gd name="connsiteX2" fmla="*/ 27118 w 42485"/>
                <a:gd name="connsiteY2" fmla="*/ 15789 h 42485"/>
                <a:gd name="connsiteX3" fmla="*/ 15789 w 42485"/>
                <a:gd name="connsiteY3" fmla="*/ 27119 h 42485"/>
                <a:gd name="connsiteX4" fmla="*/ 27118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9864"/>
                  </a:moveTo>
                  <a:cubicBezTo>
                    <a:pt x="34199" y="39864"/>
                    <a:pt x="38448" y="34200"/>
                    <a:pt x="38448" y="27119"/>
                  </a:cubicBezTo>
                  <a:cubicBezTo>
                    <a:pt x="38448" y="20038"/>
                    <a:pt x="32783" y="15789"/>
                    <a:pt x="27118" y="15789"/>
                  </a:cubicBezTo>
                  <a:cubicBezTo>
                    <a:pt x="21454" y="15789"/>
                    <a:pt x="15789" y="21454"/>
                    <a:pt x="15789" y="27119"/>
                  </a:cubicBezTo>
                  <a:cubicBezTo>
                    <a:pt x="15789" y="34200"/>
                    <a:pt x="20038" y="39864"/>
                    <a:pt x="27118"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3" name="Freeform: Shape 2312">
              <a:extLst>
                <a:ext uri="{FF2B5EF4-FFF2-40B4-BE49-F238E27FC236}">
                  <a16:creationId xmlns:a16="http://schemas.microsoft.com/office/drawing/2014/main" id="{8C209649-DF95-4E98-8371-DCF3647714EC}"/>
                </a:ext>
              </a:extLst>
            </p:cNvPr>
            <p:cNvSpPr/>
            <p:nvPr/>
          </p:nvSpPr>
          <p:spPr>
            <a:xfrm>
              <a:off x="3057939" y="2688121"/>
              <a:ext cx="70810" cy="70810"/>
            </a:xfrm>
            <a:custGeom>
              <a:avLst/>
              <a:gdLst>
                <a:gd name="connsiteX0" fmla="*/ 39984 w 70809"/>
                <a:gd name="connsiteY0" fmla="*/ 63939 h 70809"/>
                <a:gd name="connsiteX1" fmla="*/ 64059 w 70809"/>
                <a:gd name="connsiteY1" fmla="*/ 39864 h 70809"/>
                <a:gd name="connsiteX2" fmla="*/ 39984 w 70809"/>
                <a:gd name="connsiteY2" fmla="*/ 15789 h 70809"/>
                <a:gd name="connsiteX3" fmla="*/ 15909 w 70809"/>
                <a:gd name="connsiteY3" fmla="*/ 39864 h 70809"/>
                <a:gd name="connsiteX4" fmla="*/ 3998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984" y="63939"/>
                  </a:moveTo>
                  <a:cubicBezTo>
                    <a:pt x="54146" y="63939"/>
                    <a:pt x="64059" y="52610"/>
                    <a:pt x="64059" y="39864"/>
                  </a:cubicBezTo>
                  <a:cubicBezTo>
                    <a:pt x="64059" y="25702"/>
                    <a:pt x="52730" y="15789"/>
                    <a:pt x="39984" y="15789"/>
                  </a:cubicBezTo>
                  <a:cubicBezTo>
                    <a:pt x="25822" y="15789"/>
                    <a:pt x="15909" y="27119"/>
                    <a:pt x="15909" y="39864"/>
                  </a:cubicBezTo>
                  <a:cubicBezTo>
                    <a:pt x="14493" y="54026"/>
                    <a:pt x="25822" y="63939"/>
                    <a:pt x="3998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4" name="Freeform: Shape 2313">
              <a:extLst>
                <a:ext uri="{FF2B5EF4-FFF2-40B4-BE49-F238E27FC236}">
                  <a16:creationId xmlns:a16="http://schemas.microsoft.com/office/drawing/2014/main" id="{D8CA5805-7332-4E21-A541-BE9B521B1FEB}"/>
                </a:ext>
              </a:extLst>
            </p:cNvPr>
            <p:cNvSpPr/>
            <p:nvPr/>
          </p:nvSpPr>
          <p:spPr>
            <a:xfrm>
              <a:off x="3381939" y="2723856"/>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1" y="15789"/>
                    <a:pt x="15789" y="18621"/>
                    <a:pt x="15789" y="21454"/>
                  </a:cubicBezTo>
                  <a:cubicBezTo>
                    <a:pt x="17205" y="24286"/>
                    <a:pt x="18621"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5" name="Freeform: Shape 2314">
              <a:extLst>
                <a:ext uri="{FF2B5EF4-FFF2-40B4-BE49-F238E27FC236}">
                  <a16:creationId xmlns:a16="http://schemas.microsoft.com/office/drawing/2014/main" id="{3FCAEBD2-2768-420A-A86B-3AB6BB5B811D}"/>
                </a:ext>
              </a:extLst>
            </p:cNvPr>
            <p:cNvSpPr/>
            <p:nvPr/>
          </p:nvSpPr>
          <p:spPr>
            <a:xfrm>
              <a:off x="3222996" y="2494103"/>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8" y="29951"/>
                    <a:pt x="29951" y="27118"/>
                    <a:pt x="29951" y="22870"/>
                  </a:cubicBezTo>
                  <a:cubicBezTo>
                    <a:pt x="29951" y="18621"/>
                    <a:pt x="27118" y="15789"/>
                    <a:pt x="22870" y="15789"/>
                  </a:cubicBezTo>
                  <a:cubicBezTo>
                    <a:pt x="18621" y="15789"/>
                    <a:pt x="15789" y="18621"/>
                    <a:pt x="15789" y="22870"/>
                  </a:cubicBezTo>
                  <a:cubicBezTo>
                    <a:pt x="15789" y="27118"/>
                    <a:pt x="18621" y="29951"/>
                    <a:pt x="22870"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6" name="Freeform: Shape 2315">
              <a:extLst>
                <a:ext uri="{FF2B5EF4-FFF2-40B4-BE49-F238E27FC236}">
                  <a16:creationId xmlns:a16="http://schemas.microsoft.com/office/drawing/2014/main" id="{25EAD455-65D3-4A4E-988A-BCF9C1138FD5}"/>
                </a:ext>
              </a:extLst>
            </p:cNvPr>
            <p:cNvSpPr/>
            <p:nvPr/>
          </p:nvSpPr>
          <p:spPr>
            <a:xfrm>
              <a:off x="3226071" y="2579489"/>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1" y="15789"/>
                    <a:pt x="15789" y="18621"/>
                    <a:pt x="15789" y="21454"/>
                  </a:cubicBezTo>
                  <a:cubicBezTo>
                    <a:pt x="17205" y="25702"/>
                    <a:pt x="18621"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7" name="Freeform: Shape 2316">
              <a:extLst>
                <a:ext uri="{FF2B5EF4-FFF2-40B4-BE49-F238E27FC236}">
                  <a16:creationId xmlns:a16="http://schemas.microsoft.com/office/drawing/2014/main" id="{C2570AA6-94A1-41CF-8771-729F913F7FC3}"/>
                </a:ext>
              </a:extLst>
            </p:cNvPr>
            <p:cNvSpPr/>
            <p:nvPr/>
          </p:nvSpPr>
          <p:spPr>
            <a:xfrm>
              <a:off x="3237415" y="2674117"/>
              <a:ext cx="42486" cy="42486"/>
            </a:xfrm>
            <a:custGeom>
              <a:avLst/>
              <a:gdLst>
                <a:gd name="connsiteX0" fmla="*/ 21454 w 42485"/>
                <a:gd name="connsiteY0" fmla="*/ 27118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8"/>
                  </a:moveTo>
                  <a:cubicBezTo>
                    <a:pt x="24286" y="27118"/>
                    <a:pt x="27119" y="24286"/>
                    <a:pt x="27119" y="21454"/>
                  </a:cubicBezTo>
                  <a:cubicBezTo>
                    <a:pt x="27119" y="18621"/>
                    <a:pt x="24286" y="15789"/>
                    <a:pt x="21454" y="15789"/>
                  </a:cubicBezTo>
                  <a:cubicBezTo>
                    <a:pt x="18621" y="15789"/>
                    <a:pt x="15789" y="18621"/>
                    <a:pt x="15789" y="21454"/>
                  </a:cubicBezTo>
                  <a:cubicBezTo>
                    <a:pt x="15789" y="24286"/>
                    <a:pt x="17205" y="27118"/>
                    <a:pt x="21454" y="2711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8" name="Freeform: Shape 2317">
              <a:extLst>
                <a:ext uri="{FF2B5EF4-FFF2-40B4-BE49-F238E27FC236}">
                  <a16:creationId xmlns:a16="http://schemas.microsoft.com/office/drawing/2014/main" id="{32A6B034-1B56-445E-9566-88D1151A05A7}"/>
                </a:ext>
              </a:extLst>
            </p:cNvPr>
            <p:cNvSpPr/>
            <p:nvPr/>
          </p:nvSpPr>
          <p:spPr>
            <a:xfrm>
              <a:off x="2113459" y="1722279"/>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7205" y="71020"/>
                    <a:pt x="32783"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19" name="Freeform: Shape 2318">
              <a:extLst>
                <a:ext uri="{FF2B5EF4-FFF2-40B4-BE49-F238E27FC236}">
                  <a16:creationId xmlns:a16="http://schemas.microsoft.com/office/drawing/2014/main" id="{7F608411-232A-4938-A824-13E1702E0FA5}"/>
                </a:ext>
              </a:extLst>
            </p:cNvPr>
            <p:cNvSpPr/>
            <p:nvPr/>
          </p:nvSpPr>
          <p:spPr>
            <a:xfrm>
              <a:off x="2178676" y="2243852"/>
              <a:ext cx="42486" cy="42486"/>
            </a:xfrm>
            <a:custGeom>
              <a:avLst/>
              <a:gdLst>
                <a:gd name="connsiteX0" fmla="*/ 27119 w 42485"/>
                <a:gd name="connsiteY0" fmla="*/ 39864 h 42485"/>
                <a:gd name="connsiteX1" fmla="*/ 38448 w 42485"/>
                <a:gd name="connsiteY1" fmla="*/ 28535 h 42485"/>
                <a:gd name="connsiteX2" fmla="*/ 27119 w 42485"/>
                <a:gd name="connsiteY2" fmla="*/ 15789 h 42485"/>
                <a:gd name="connsiteX3" fmla="*/ 15789 w 42485"/>
                <a:gd name="connsiteY3" fmla="*/ 28535 h 42485"/>
                <a:gd name="connsiteX4" fmla="*/ 27119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9864"/>
                  </a:moveTo>
                  <a:cubicBezTo>
                    <a:pt x="34200" y="39864"/>
                    <a:pt x="38448" y="34200"/>
                    <a:pt x="38448" y="28535"/>
                  </a:cubicBezTo>
                  <a:cubicBezTo>
                    <a:pt x="38448" y="21454"/>
                    <a:pt x="32783" y="15789"/>
                    <a:pt x="27119" y="15789"/>
                  </a:cubicBezTo>
                  <a:cubicBezTo>
                    <a:pt x="21454" y="15789"/>
                    <a:pt x="15789" y="21454"/>
                    <a:pt x="15789" y="28535"/>
                  </a:cubicBezTo>
                  <a:cubicBezTo>
                    <a:pt x="15789" y="34200"/>
                    <a:pt x="20038" y="39864"/>
                    <a:pt x="27119"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0" name="Freeform: Shape 2319">
              <a:extLst>
                <a:ext uri="{FF2B5EF4-FFF2-40B4-BE49-F238E27FC236}">
                  <a16:creationId xmlns:a16="http://schemas.microsoft.com/office/drawing/2014/main" id="{AB8F03EC-1016-4D06-9ED6-730DD04252FF}"/>
                </a:ext>
              </a:extLst>
            </p:cNvPr>
            <p:cNvSpPr/>
            <p:nvPr/>
          </p:nvSpPr>
          <p:spPr>
            <a:xfrm>
              <a:off x="2677677" y="2429373"/>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1" name="Freeform: Shape 2320">
              <a:extLst>
                <a:ext uri="{FF2B5EF4-FFF2-40B4-BE49-F238E27FC236}">
                  <a16:creationId xmlns:a16="http://schemas.microsoft.com/office/drawing/2014/main" id="{21CA89C4-6D7F-4B69-9899-B872228CD93B}"/>
                </a:ext>
              </a:extLst>
            </p:cNvPr>
            <p:cNvSpPr/>
            <p:nvPr/>
          </p:nvSpPr>
          <p:spPr>
            <a:xfrm>
              <a:off x="2147448" y="1328578"/>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2" y="15789"/>
                    <a:pt x="15789" y="25702"/>
                    <a:pt x="15789" y="37032"/>
                  </a:cubicBezTo>
                  <a:cubicBezTo>
                    <a:pt x="15789" y="49777"/>
                    <a:pt x="25702"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2" name="Freeform: Shape 2321">
              <a:extLst>
                <a:ext uri="{FF2B5EF4-FFF2-40B4-BE49-F238E27FC236}">
                  <a16:creationId xmlns:a16="http://schemas.microsoft.com/office/drawing/2014/main" id="{334FA409-609B-41E8-96C8-4977A67CA29A}"/>
                </a:ext>
              </a:extLst>
            </p:cNvPr>
            <p:cNvSpPr/>
            <p:nvPr/>
          </p:nvSpPr>
          <p:spPr>
            <a:xfrm>
              <a:off x="2475884" y="1654302"/>
              <a:ext cx="70810" cy="70810"/>
            </a:xfrm>
            <a:custGeom>
              <a:avLst/>
              <a:gdLst>
                <a:gd name="connsiteX0" fmla="*/ 38568 w 70809"/>
                <a:gd name="connsiteY0" fmla="*/ 61107 h 70809"/>
                <a:gd name="connsiteX1" fmla="*/ 61227 w 70809"/>
                <a:gd name="connsiteY1" fmla="*/ 38448 h 70809"/>
                <a:gd name="connsiteX2" fmla="*/ 38568 w 70809"/>
                <a:gd name="connsiteY2" fmla="*/ 15789 h 70809"/>
                <a:gd name="connsiteX3" fmla="*/ 15909 w 70809"/>
                <a:gd name="connsiteY3" fmla="*/ 38448 h 70809"/>
                <a:gd name="connsiteX4" fmla="*/ 3856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568" y="61107"/>
                  </a:moveTo>
                  <a:cubicBezTo>
                    <a:pt x="51314" y="61107"/>
                    <a:pt x="61227" y="51194"/>
                    <a:pt x="61227" y="38448"/>
                  </a:cubicBezTo>
                  <a:cubicBezTo>
                    <a:pt x="61227" y="25702"/>
                    <a:pt x="51314" y="15789"/>
                    <a:pt x="38568" y="15789"/>
                  </a:cubicBezTo>
                  <a:cubicBezTo>
                    <a:pt x="25822" y="15789"/>
                    <a:pt x="15909" y="25702"/>
                    <a:pt x="15909" y="38448"/>
                  </a:cubicBezTo>
                  <a:cubicBezTo>
                    <a:pt x="14493" y="51194"/>
                    <a:pt x="25822" y="61107"/>
                    <a:pt x="38568"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3" name="Freeform: Shape 2322">
              <a:extLst>
                <a:ext uri="{FF2B5EF4-FFF2-40B4-BE49-F238E27FC236}">
                  <a16:creationId xmlns:a16="http://schemas.microsoft.com/office/drawing/2014/main" id="{4949C652-FCCB-486E-B858-AE2AC43AC7A3}"/>
                </a:ext>
              </a:extLst>
            </p:cNvPr>
            <p:cNvSpPr/>
            <p:nvPr/>
          </p:nvSpPr>
          <p:spPr>
            <a:xfrm>
              <a:off x="2219455" y="1430544"/>
              <a:ext cx="42486" cy="42486"/>
            </a:xfrm>
            <a:custGeom>
              <a:avLst/>
              <a:gdLst>
                <a:gd name="connsiteX0" fmla="*/ 27337 w 42485"/>
                <a:gd name="connsiteY0" fmla="*/ 38448 h 42485"/>
                <a:gd name="connsiteX1" fmla="*/ 38667 w 42485"/>
                <a:gd name="connsiteY1" fmla="*/ 27119 h 42485"/>
                <a:gd name="connsiteX2" fmla="*/ 27337 w 42485"/>
                <a:gd name="connsiteY2" fmla="*/ 15789 h 42485"/>
                <a:gd name="connsiteX3" fmla="*/ 16007 w 42485"/>
                <a:gd name="connsiteY3" fmla="*/ 27119 h 42485"/>
                <a:gd name="connsiteX4" fmla="*/ 27337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8448"/>
                  </a:moveTo>
                  <a:cubicBezTo>
                    <a:pt x="34418" y="38448"/>
                    <a:pt x="38667" y="32783"/>
                    <a:pt x="38667" y="27119"/>
                  </a:cubicBezTo>
                  <a:cubicBezTo>
                    <a:pt x="38667" y="20038"/>
                    <a:pt x="33002" y="15789"/>
                    <a:pt x="27337" y="15789"/>
                  </a:cubicBezTo>
                  <a:cubicBezTo>
                    <a:pt x="21672" y="15789"/>
                    <a:pt x="16007" y="21454"/>
                    <a:pt x="16007" y="27119"/>
                  </a:cubicBezTo>
                  <a:cubicBezTo>
                    <a:pt x="14591" y="32783"/>
                    <a:pt x="20256" y="38448"/>
                    <a:pt x="27337"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4" name="Freeform: Shape 2323">
              <a:extLst>
                <a:ext uri="{FF2B5EF4-FFF2-40B4-BE49-F238E27FC236}">
                  <a16:creationId xmlns:a16="http://schemas.microsoft.com/office/drawing/2014/main" id="{1DF19273-EC95-4822-B9AC-93DF196F5F29}"/>
                </a:ext>
              </a:extLst>
            </p:cNvPr>
            <p:cNvSpPr/>
            <p:nvPr/>
          </p:nvSpPr>
          <p:spPr>
            <a:xfrm>
              <a:off x="2344080" y="1397971"/>
              <a:ext cx="42486" cy="42486"/>
            </a:xfrm>
            <a:custGeom>
              <a:avLst/>
              <a:gdLst>
                <a:gd name="connsiteX0" fmla="*/ 27337 w 42485"/>
                <a:gd name="connsiteY0" fmla="*/ 39864 h 42485"/>
                <a:gd name="connsiteX1" fmla="*/ 38667 w 42485"/>
                <a:gd name="connsiteY1" fmla="*/ 27119 h 42485"/>
                <a:gd name="connsiteX2" fmla="*/ 27337 w 42485"/>
                <a:gd name="connsiteY2" fmla="*/ 15789 h 42485"/>
                <a:gd name="connsiteX3" fmla="*/ 16007 w 42485"/>
                <a:gd name="connsiteY3" fmla="*/ 27119 h 42485"/>
                <a:gd name="connsiteX4" fmla="*/ 27337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9864"/>
                  </a:moveTo>
                  <a:cubicBezTo>
                    <a:pt x="34418" y="39864"/>
                    <a:pt x="38667" y="34200"/>
                    <a:pt x="38667" y="27119"/>
                  </a:cubicBezTo>
                  <a:cubicBezTo>
                    <a:pt x="38667" y="20038"/>
                    <a:pt x="33002" y="15789"/>
                    <a:pt x="27337" y="15789"/>
                  </a:cubicBezTo>
                  <a:cubicBezTo>
                    <a:pt x="20256" y="15789"/>
                    <a:pt x="16007" y="21454"/>
                    <a:pt x="16007" y="27119"/>
                  </a:cubicBezTo>
                  <a:cubicBezTo>
                    <a:pt x="14591" y="34200"/>
                    <a:pt x="20256" y="39864"/>
                    <a:pt x="27337"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5" name="Freeform: Shape 2324">
              <a:extLst>
                <a:ext uri="{FF2B5EF4-FFF2-40B4-BE49-F238E27FC236}">
                  <a16:creationId xmlns:a16="http://schemas.microsoft.com/office/drawing/2014/main" id="{2B7FAC2A-9C6F-4711-93C4-2CCF2EE0F50A}"/>
                </a:ext>
              </a:extLst>
            </p:cNvPr>
            <p:cNvSpPr/>
            <p:nvPr/>
          </p:nvSpPr>
          <p:spPr>
            <a:xfrm>
              <a:off x="2070716" y="2424867"/>
              <a:ext cx="42486" cy="56648"/>
            </a:xfrm>
            <a:custGeom>
              <a:avLst/>
              <a:gdLst>
                <a:gd name="connsiteX0" fmla="*/ 27118 w 42485"/>
                <a:gd name="connsiteY0" fmla="*/ 41280 h 56647"/>
                <a:gd name="connsiteX1" fmla="*/ 38448 w 42485"/>
                <a:gd name="connsiteY1" fmla="*/ 28535 h 56647"/>
                <a:gd name="connsiteX2" fmla="*/ 27118 w 42485"/>
                <a:gd name="connsiteY2" fmla="*/ 15789 h 56647"/>
                <a:gd name="connsiteX3" fmla="*/ 15789 w 42485"/>
                <a:gd name="connsiteY3" fmla="*/ 28535 h 56647"/>
                <a:gd name="connsiteX4" fmla="*/ 27118 w 42485"/>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56647">
                  <a:moveTo>
                    <a:pt x="27118" y="41280"/>
                  </a:moveTo>
                  <a:cubicBezTo>
                    <a:pt x="34199" y="41280"/>
                    <a:pt x="38448" y="35616"/>
                    <a:pt x="38448" y="28535"/>
                  </a:cubicBezTo>
                  <a:cubicBezTo>
                    <a:pt x="38448" y="21454"/>
                    <a:pt x="32783" y="15789"/>
                    <a:pt x="27118" y="15789"/>
                  </a:cubicBezTo>
                  <a:cubicBezTo>
                    <a:pt x="20038" y="15789"/>
                    <a:pt x="15789" y="21454"/>
                    <a:pt x="15789" y="28535"/>
                  </a:cubicBezTo>
                  <a:cubicBezTo>
                    <a:pt x="15789" y="35616"/>
                    <a:pt x="21454" y="41280"/>
                    <a:pt x="27118"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6" name="Freeform: Shape 2325">
              <a:extLst>
                <a:ext uri="{FF2B5EF4-FFF2-40B4-BE49-F238E27FC236}">
                  <a16:creationId xmlns:a16="http://schemas.microsoft.com/office/drawing/2014/main" id="{667528EF-C009-4FCA-BF0A-0788CDD65664}"/>
                </a:ext>
              </a:extLst>
            </p:cNvPr>
            <p:cNvSpPr/>
            <p:nvPr/>
          </p:nvSpPr>
          <p:spPr>
            <a:xfrm>
              <a:off x="2110943" y="1985276"/>
              <a:ext cx="42486" cy="42486"/>
            </a:xfrm>
            <a:custGeom>
              <a:avLst/>
              <a:gdLst>
                <a:gd name="connsiteX0" fmla="*/ 21454 w 42485"/>
                <a:gd name="connsiteY0" fmla="*/ 27118 h 42485"/>
                <a:gd name="connsiteX1" fmla="*/ 27118 w 42485"/>
                <a:gd name="connsiteY1" fmla="*/ 21454 h 42485"/>
                <a:gd name="connsiteX2" fmla="*/ 21454 w 42485"/>
                <a:gd name="connsiteY2" fmla="*/ 15789 h 42485"/>
                <a:gd name="connsiteX3" fmla="*/ 15789 w 42485"/>
                <a:gd name="connsiteY3" fmla="*/ 21454 h 42485"/>
                <a:gd name="connsiteX4" fmla="*/ 21454 w 42485"/>
                <a:gd name="connsiteY4" fmla="*/ 2711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8"/>
                  </a:moveTo>
                  <a:cubicBezTo>
                    <a:pt x="24286" y="27118"/>
                    <a:pt x="27118" y="24286"/>
                    <a:pt x="27118" y="21454"/>
                  </a:cubicBezTo>
                  <a:cubicBezTo>
                    <a:pt x="27118" y="18621"/>
                    <a:pt x="24286" y="15789"/>
                    <a:pt x="21454" y="15789"/>
                  </a:cubicBezTo>
                  <a:cubicBezTo>
                    <a:pt x="18621" y="15789"/>
                    <a:pt x="15789" y="18621"/>
                    <a:pt x="15789" y="21454"/>
                  </a:cubicBezTo>
                  <a:cubicBezTo>
                    <a:pt x="15789" y="24286"/>
                    <a:pt x="18621" y="27118"/>
                    <a:pt x="21454" y="2711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7" name="Freeform: Shape 2326">
              <a:extLst>
                <a:ext uri="{FF2B5EF4-FFF2-40B4-BE49-F238E27FC236}">
                  <a16:creationId xmlns:a16="http://schemas.microsoft.com/office/drawing/2014/main" id="{A0AAFB42-AF19-49AB-8A7E-4A9F11395801}"/>
                </a:ext>
              </a:extLst>
            </p:cNvPr>
            <p:cNvSpPr/>
            <p:nvPr/>
          </p:nvSpPr>
          <p:spPr>
            <a:xfrm>
              <a:off x="2795721" y="2280416"/>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1" y="15789"/>
                    <a:pt x="15789" y="18621"/>
                    <a:pt x="15789" y="21454"/>
                  </a:cubicBezTo>
                  <a:cubicBezTo>
                    <a:pt x="15789" y="24286"/>
                    <a:pt x="17205"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8" name="Freeform: Shape 2327">
              <a:extLst>
                <a:ext uri="{FF2B5EF4-FFF2-40B4-BE49-F238E27FC236}">
                  <a16:creationId xmlns:a16="http://schemas.microsoft.com/office/drawing/2014/main" id="{C75AA0EA-93DE-455C-A51A-6B76E58F6F38}"/>
                </a:ext>
              </a:extLst>
            </p:cNvPr>
            <p:cNvSpPr/>
            <p:nvPr/>
          </p:nvSpPr>
          <p:spPr>
            <a:xfrm>
              <a:off x="2709547" y="2642247"/>
              <a:ext cx="56648" cy="56648"/>
            </a:xfrm>
            <a:custGeom>
              <a:avLst/>
              <a:gdLst>
                <a:gd name="connsiteX0" fmla="*/ 44113 w 56647"/>
                <a:gd name="connsiteY0" fmla="*/ 29951 h 56647"/>
                <a:gd name="connsiteX1" fmla="*/ 29951 w 56647"/>
                <a:gd name="connsiteY1" fmla="*/ 44113 h 56647"/>
                <a:gd name="connsiteX2" fmla="*/ 15789 w 56647"/>
                <a:gd name="connsiteY2" fmla="*/ 29951 h 56647"/>
                <a:gd name="connsiteX3" fmla="*/ 29951 w 56647"/>
                <a:gd name="connsiteY3" fmla="*/ 15789 h 56647"/>
                <a:gd name="connsiteX4" fmla="*/ 44113 w 56647"/>
                <a:gd name="connsiteY4" fmla="*/ 2995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44113" y="29951"/>
                  </a:moveTo>
                  <a:cubicBezTo>
                    <a:pt x="44113" y="37772"/>
                    <a:pt x="37772" y="44113"/>
                    <a:pt x="29951" y="44113"/>
                  </a:cubicBezTo>
                  <a:cubicBezTo>
                    <a:pt x="22129" y="44113"/>
                    <a:pt x="15789" y="37772"/>
                    <a:pt x="15789" y="29951"/>
                  </a:cubicBezTo>
                  <a:cubicBezTo>
                    <a:pt x="15789" y="22129"/>
                    <a:pt x="22129" y="15789"/>
                    <a:pt x="29951" y="15789"/>
                  </a:cubicBezTo>
                  <a:cubicBezTo>
                    <a:pt x="37772" y="15789"/>
                    <a:pt x="44113" y="22129"/>
                    <a:pt x="44113"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29" name="Freeform: Shape 2328">
              <a:extLst>
                <a:ext uri="{FF2B5EF4-FFF2-40B4-BE49-F238E27FC236}">
                  <a16:creationId xmlns:a16="http://schemas.microsoft.com/office/drawing/2014/main" id="{D9DDD13F-1DB0-4D5F-8213-87D817D840DC}"/>
                </a:ext>
              </a:extLst>
            </p:cNvPr>
            <p:cNvSpPr/>
            <p:nvPr/>
          </p:nvSpPr>
          <p:spPr>
            <a:xfrm>
              <a:off x="2261275" y="2520755"/>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1454"/>
                    <a:pt x="38448" y="15789"/>
                    <a:pt x="29951" y="15789"/>
                  </a:cubicBezTo>
                  <a:cubicBezTo>
                    <a:pt x="21454" y="15789"/>
                    <a:pt x="15789" y="21454"/>
                    <a:pt x="15789" y="29951"/>
                  </a:cubicBezTo>
                  <a:cubicBezTo>
                    <a:pt x="15789" y="38448"/>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0" name="Freeform: Shape 2329">
              <a:extLst>
                <a:ext uri="{FF2B5EF4-FFF2-40B4-BE49-F238E27FC236}">
                  <a16:creationId xmlns:a16="http://schemas.microsoft.com/office/drawing/2014/main" id="{1CE93304-3A82-4F1F-84C1-661A209276B7}"/>
                </a:ext>
              </a:extLst>
            </p:cNvPr>
            <p:cNvSpPr/>
            <p:nvPr/>
          </p:nvSpPr>
          <p:spPr>
            <a:xfrm>
              <a:off x="2585710" y="2246184"/>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1454"/>
                    <a:pt x="38448" y="15789"/>
                    <a:pt x="29951" y="15789"/>
                  </a:cubicBezTo>
                  <a:cubicBezTo>
                    <a:pt x="21454" y="15789"/>
                    <a:pt x="15789" y="21454"/>
                    <a:pt x="15789" y="29951"/>
                  </a:cubicBezTo>
                  <a:cubicBezTo>
                    <a:pt x="15789" y="37032"/>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1" name="Freeform: Shape 2330">
              <a:extLst>
                <a:ext uri="{FF2B5EF4-FFF2-40B4-BE49-F238E27FC236}">
                  <a16:creationId xmlns:a16="http://schemas.microsoft.com/office/drawing/2014/main" id="{F4E2ED8D-DFCD-4875-9AE1-AE3131247D9C}"/>
                </a:ext>
              </a:extLst>
            </p:cNvPr>
            <p:cNvSpPr/>
            <p:nvPr/>
          </p:nvSpPr>
          <p:spPr>
            <a:xfrm>
              <a:off x="2142355" y="1958698"/>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8448"/>
                    <a:pt x="44113" y="29951"/>
                  </a:cubicBezTo>
                  <a:cubicBezTo>
                    <a:pt x="44113" y="21454"/>
                    <a:pt x="38448" y="15789"/>
                    <a:pt x="29951" y="15789"/>
                  </a:cubicBezTo>
                  <a:cubicBezTo>
                    <a:pt x="21454" y="15789"/>
                    <a:pt x="15789" y="21454"/>
                    <a:pt x="15789" y="29951"/>
                  </a:cubicBezTo>
                  <a:cubicBezTo>
                    <a:pt x="15789" y="37032"/>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2" name="Freeform: Shape 2331">
              <a:extLst>
                <a:ext uri="{FF2B5EF4-FFF2-40B4-BE49-F238E27FC236}">
                  <a16:creationId xmlns:a16="http://schemas.microsoft.com/office/drawing/2014/main" id="{CCE6EA17-49B5-4A9F-9504-444A6C678C6E}"/>
                </a:ext>
              </a:extLst>
            </p:cNvPr>
            <p:cNvSpPr/>
            <p:nvPr/>
          </p:nvSpPr>
          <p:spPr>
            <a:xfrm>
              <a:off x="2706625" y="1732193"/>
              <a:ext cx="42486" cy="42486"/>
            </a:xfrm>
            <a:custGeom>
              <a:avLst/>
              <a:gdLst>
                <a:gd name="connsiteX0" fmla="*/ 27337 w 42485"/>
                <a:gd name="connsiteY0" fmla="*/ 39864 h 42485"/>
                <a:gd name="connsiteX1" fmla="*/ 38666 w 42485"/>
                <a:gd name="connsiteY1" fmla="*/ 28535 h 42485"/>
                <a:gd name="connsiteX2" fmla="*/ 27337 w 42485"/>
                <a:gd name="connsiteY2" fmla="*/ 15789 h 42485"/>
                <a:gd name="connsiteX3" fmla="*/ 16007 w 42485"/>
                <a:gd name="connsiteY3" fmla="*/ 28535 h 42485"/>
                <a:gd name="connsiteX4" fmla="*/ 27337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9864"/>
                  </a:moveTo>
                  <a:cubicBezTo>
                    <a:pt x="34418" y="39864"/>
                    <a:pt x="38666" y="34199"/>
                    <a:pt x="38666" y="28535"/>
                  </a:cubicBezTo>
                  <a:cubicBezTo>
                    <a:pt x="38666" y="21454"/>
                    <a:pt x="33002" y="15789"/>
                    <a:pt x="27337" y="15789"/>
                  </a:cubicBezTo>
                  <a:cubicBezTo>
                    <a:pt x="20256" y="15789"/>
                    <a:pt x="16007" y="21454"/>
                    <a:pt x="16007" y="28535"/>
                  </a:cubicBezTo>
                  <a:cubicBezTo>
                    <a:pt x="14591" y="34199"/>
                    <a:pt x="20256" y="39864"/>
                    <a:pt x="27337"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3" name="Freeform: Shape 2332">
              <a:extLst>
                <a:ext uri="{FF2B5EF4-FFF2-40B4-BE49-F238E27FC236}">
                  <a16:creationId xmlns:a16="http://schemas.microsoft.com/office/drawing/2014/main" id="{F67F7F38-E8C0-4D38-9133-1BB977B38BBF}"/>
                </a:ext>
              </a:extLst>
            </p:cNvPr>
            <p:cNvSpPr/>
            <p:nvPr/>
          </p:nvSpPr>
          <p:spPr>
            <a:xfrm>
              <a:off x="3075053" y="1781759"/>
              <a:ext cx="42486" cy="42486"/>
            </a:xfrm>
            <a:custGeom>
              <a:avLst/>
              <a:gdLst>
                <a:gd name="connsiteX0" fmla="*/ 27119 w 42485"/>
                <a:gd name="connsiteY0" fmla="*/ 39864 h 42485"/>
                <a:gd name="connsiteX1" fmla="*/ 38448 w 42485"/>
                <a:gd name="connsiteY1" fmla="*/ 28535 h 42485"/>
                <a:gd name="connsiteX2" fmla="*/ 27119 w 42485"/>
                <a:gd name="connsiteY2" fmla="*/ 15789 h 42485"/>
                <a:gd name="connsiteX3" fmla="*/ 15789 w 42485"/>
                <a:gd name="connsiteY3" fmla="*/ 28535 h 42485"/>
                <a:gd name="connsiteX4" fmla="*/ 27119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9864"/>
                  </a:moveTo>
                  <a:cubicBezTo>
                    <a:pt x="34200" y="39864"/>
                    <a:pt x="38448" y="34199"/>
                    <a:pt x="38448" y="28535"/>
                  </a:cubicBezTo>
                  <a:cubicBezTo>
                    <a:pt x="38448" y="22870"/>
                    <a:pt x="32783" y="15789"/>
                    <a:pt x="27119" y="15789"/>
                  </a:cubicBezTo>
                  <a:cubicBezTo>
                    <a:pt x="20038" y="15789"/>
                    <a:pt x="15789" y="21454"/>
                    <a:pt x="15789" y="28535"/>
                  </a:cubicBezTo>
                  <a:cubicBezTo>
                    <a:pt x="15789" y="35616"/>
                    <a:pt x="21454" y="39864"/>
                    <a:pt x="27119"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4" name="Freeform: Shape 2333">
              <a:extLst>
                <a:ext uri="{FF2B5EF4-FFF2-40B4-BE49-F238E27FC236}">
                  <a16:creationId xmlns:a16="http://schemas.microsoft.com/office/drawing/2014/main" id="{B46FE1F4-B4FC-414D-A1B1-19DD1562FC0B}"/>
                </a:ext>
              </a:extLst>
            </p:cNvPr>
            <p:cNvSpPr/>
            <p:nvPr/>
          </p:nvSpPr>
          <p:spPr>
            <a:xfrm>
              <a:off x="3025888" y="2418873"/>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1454"/>
                    <a:pt x="37032" y="15789"/>
                    <a:pt x="29951" y="15789"/>
                  </a:cubicBezTo>
                  <a:cubicBezTo>
                    <a:pt x="21454" y="15789"/>
                    <a:pt x="15789" y="22870"/>
                    <a:pt x="15789" y="29951"/>
                  </a:cubicBezTo>
                  <a:cubicBezTo>
                    <a:pt x="15789" y="38448"/>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5" name="Freeform: Shape 2334">
              <a:extLst>
                <a:ext uri="{FF2B5EF4-FFF2-40B4-BE49-F238E27FC236}">
                  <a16:creationId xmlns:a16="http://schemas.microsoft.com/office/drawing/2014/main" id="{3B4EB689-CB8A-4705-BFD1-FD817786AB56}"/>
                </a:ext>
              </a:extLst>
            </p:cNvPr>
            <p:cNvSpPr/>
            <p:nvPr/>
          </p:nvSpPr>
          <p:spPr>
            <a:xfrm>
              <a:off x="2483572" y="1997350"/>
              <a:ext cx="84971" cy="84971"/>
            </a:xfrm>
            <a:custGeom>
              <a:avLst/>
              <a:gdLst>
                <a:gd name="connsiteX0" fmla="*/ 45529 w 84971"/>
                <a:gd name="connsiteY0" fmla="*/ 75269 h 84971"/>
                <a:gd name="connsiteX1" fmla="*/ 75269 w 84971"/>
                <a:gd name="connsiteY1" fmla="*/ 45529 h 84971"/>
                <a:gd name="connsiteX2" fmla="*/ 45529 w 84971"/>
                <a:gd name="connsiteY2" fmla="*/ 15789 h 84971"/>
                <a:gd name="connsiteX3" fmla="*/ 15789 w 84971"/>
                <a:gd name="connsiteY3" fmla="*/ 45529 h 84971"/>
                <a:gd name="connsiteX4" fmla="*/ 45529 w 84971"/>
                <a:gd name="connsiteY4" fmla="*/ 7526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529" y="75269"/>
                  </a:moveTo>
                  <a:cubicBezTo>
                    <a:pt x="62523" y="75269"/>
                    <a:pt x="75269" y="61107"/>
                    <a:pt x="75269" y="45529"/>
                  </a:cubicBezTo>
                  <a:cubicBezTo>
                    <a:pt x="75269" y="28535"/>
                    <a:pt x="61107" y="15789"/>
                    <a:pt x="45529" y="15789"/>
                  </a:cubicBezTo>
                  <a:cubicBezTo>
                    <a:pt x="28535" y="15789"/>
                    <a:pt x="15789" y="29951"/>
                    <a:pt x="15789" y="45529"/>
                  </a:cubicBezTo>
                  <a:cubicBezTo>
                    <a:pt x="15789" y="62523"/>
                    <a:pt x="29951" y="75269"/>
                    <a:pt x="45529" y="752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6" name="Freeform: Shape 2335">
              <a:extLst>
                <a:ext uri="{FF2B5EF4-FFF2-40B4-BE49-F238E27FC236}">
                  <a16:creationId xmlns:a16="http://schemas.microsoft.com/office/drawing/2014/main" id="{6FAD8298-3346-497A-85AF-CD8378E9790E}"/>
                </a:ext>
              </a:extLst>
            </p:cNvPr>
            <p:cNvSpPr/>
            <p:nvPr/>
          </p:nvSpPr>
          <p:spPr>
            <a:xfrm>
              <a:off x="2207672" y="2695373"/>
              <a:ext cx="56648" cy="56648"/>
            </a:xfrm>
            <a:custGeom>
              <a:avLst/>
              <a:gdLst>
                <a:gd name="connsiteX0" fmla="*/ 34200 w 56647"/>
                <a:gd name="connsiteY0" fmla="*/ 52610 h 56647"/>
                <a:gd name="connsiteX1" fmla="*/ 52610 w 56647"/>
                <a:gd name="connsiteY1" fmla="*/ 34200 h 56647"/>
                <a:gd name="connsiteX2" fmla="*/ 34200 w 56647"/>
                <a:gd name="connsiteY2" fmla="*/ 15789 h 56647"/>
                <a:gd name="connsiteX3" fmla="*/ 15789 w 56647"/>
                <a:gd name="connsiteY3" fmla="*/ 34200 h 56647"/>
                <a:gd name="connsiteX4" fmla="*/ 34200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200" y="52610"/>
                  </a:moveTo>
                  <a:cubicBezTo>
                    <a:pt x="44113" y="52610"/>
                    <a:pt x="52610" y="44113"/>
                    <a:pt x="52610" y="34200"/>
                  </a:cubicBezTo>
                  <a:cubicBezTo>
                    <a:pt x="52610" y="24286"/>
                    <a:pt x="44113" y="15789"/>
                    <a:pt x="34200" y="15789"/>
                  </a:cubicBezTo>
                  <a:cubicBezTo>
                    <a:pt x="24286" y="15789"/>
                    <a:pt x="15789" y="24286"/>
                    <a:pt x="15789" y="34200"/>
                  </a:cubicBezTo>
                  <a:cubicBezTo>
                    <a:pt x="15789" y="44113"/>
                    <a:pt x="24286" y="52610"/>
                    <a:pt x="34200"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7" name="Freeform: Shape 2336">
              <a:extLst>
                <a:ext uri="{FF2B5EF4-FFF2-40B4-BE49-F238E27FC236}">
                  <a16:creationId xmlns:a16="http://schemas.microsoft.com/office/drawing/2014/main" id="{9EA8F082-BF73-4B8F-8275-C56645635A90}"/>
                </a:ext>
              </a:extLst>
            </p:cNvPr>
            <p:cNvSpPr/>
            <p:nvPr/>
          </p:nvSpPr>
          <p:spPr>
            <a:xfrm>
              <a:off x="2148864" y="2141472"/>
              <a:ext cx="42486" cy="42486"/>
            </a:xfrm>
            <a:custGeom>
              <a:avLst/>
              <a:gdLst>
                <a:gd name="connsiteX0" fmla="*/ 27118 w 42485"/>
                <a:gd name="connsiteY0" fmla="*/ 38448 h 42485"/>
                <a:gd name="connsiteX1" fmla="*/ 38448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4199" y="38448"/>
                    <a:pt x="38448" y="32783"/>
                    <a:pt x="38448" y="27119"/>
                  </a:cubicBezTo>
                  <a:cubicBezTo>
                    <a:pt x="38448" y="20038"/>
                    <a:pt x="32783" y="15789"/>
                    <a:pt x="27118" y="15789"/>
                  </a:cubicBezTo>
                  <a:cubicBezTo>
                    <a:pt x="21454" y="15789"/>
                    <a:pt x="15789" y="21454"/>
                    <a:pt x="15789" y="27119"/>
                  </a:cubicBezTo>
                  <a:cubicBezTo>
                    <a:pt x="15789" y="32783"/>
                    <a:pt x="21454"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8" name="Freeform: Shape 2337">
              <a:extLst>
                <a:ext uri="{FF2B5EF4-FFF2-40B4-BE49-F238E27FC236}">
                  <a16:creationId xmlns:a16="http://schemas.microsoft.com/office/drawing/2014/main" id="{167CB62A-577D-46F1-8BF1-2F60DAFF4199}"/>
                </a:ext>
              </a:extLst>
            </p:cNvPr>
            <p:cNvSpPr/>
            <p:nvPr/>
          </p:nvSpPr>
          <p:spPr>
            <a:xfrm>
              <a:off x="2028487" y="1587741"/>
              <a:ext cx="42486" cy="42486"/>
            </a:xfrm>
            <a:custGeom>
              <a:avLst/>
              <a:gdLst>
                <a:gd name="connsiteX0" fmla="*/ 28535 w 42485"/>
                <a:gd name="connsiteY0" fmla="*/ 39864 h 42485"/>
                <a:gd name="connsiteX1" fmla="*/ 39864 w 42485"/>
                <a:gd name="connsiteY1" fmla="*/ 28535 h 42485"/>
                <a:gd name="connsiteX2" fmla="*/ 28535 w 42485"/>
                <a:gd name="connsiteY2" fmla="*/ 15789 h 42485"/>
                <a:gd name="connsiteX3" fmla="*/ 15789 w 42485"/>
                <a:gd name="connsiteY3" fmla="*/ 28535 h 42485"/>
                <a:gd name="connsiteX4" fmla="*/ 28535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8535" y="39864"/>
                  </a:moveTo>
                  <a:cubicBezTo>
                    <a:pt x="35616" y="39864"/>
                    <a:pt x="39864" y="34200"/>
                    <a:pt x="39864" y="28535"/>
                  </a:cubicBezTo>
                  <a:cubicBezTo>
                    <a:pt x="39864" y="21454"/>
                    <a:pt x="34199" y="15789"/>
                    <a:pt x="28535" y="15789"/>
                  </a:cubicBezTo>
                  <a:cubicBezTo>
                    <a:pt x="21454" y="15789"/>
                    <a:pt x="15789" y="21454"/>
                    <a:pt x="15789" y="28535"/>
                  </a:cubicBezTo>
                  <a:cubicBezTo>
                    <a:pt x="15789" y="34200"/>
                    <a:pt x="21454" y="39864"/>
                    <a:pt x="28535"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39" name="Freeform: Shape 2338">
              <a:extLst>
                <a:ext uri="{FF2B5EF4-FFF2-40B4-BE49-F238E27FC236}">
                  <a16:creationId xmlns:a16="http://schemas.microsoft.com/office/drawing/2014/main" id="{F2BA6703-E438-4007-A8FC-C457A5CB1CF7}"/>
                </a:ext>
              </a:extLst>
            </p:cNvPr>
            <p:cNvSpPr/>
            <p:nvPr/>
          </p:nvSpPr>
          <p:spPr>
            <a:xfrm>
              <a:off x="2983000" y="1777511"/>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8448"/>
                    <a:pt x="44113" y="29951"/>
                  </a:cubicBezTo>
                  <a:cubicBezTo>
                    <a:pt x="44113" y="21454"/>
                    <a:pt x="38448" y="15789"/>
                    <a:pt x="29951" y="15789"/>
                  </a:cubicBezTo>
                  <a:cubicBezTo>
                    <a:pt x="21454" y="15789"/>
                    <a:pt x="15789" y="21454"/>
                    <a:pt x="15789" y="29951"/>
                  </a:cubicBezTo>
                  <a:cubicBezTo>
                    <a:pt x="15789" y="37032"/>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0" name="Freeform: Shape 2339">
              <a:extLst>
                <a:ext uri="{FF2B5EF4-FFF2-40B4-BE49-F238E27FC236}">
                  <a16:creationId xmlns:a16="http://schemas.microsoft.com/office/drawing/2014/main" id="{075706F5-C0D5-498E-80B0-3760B5E61051}"/>
                </a:ext>
              </a:extLst>
            </p:cNvPr>
            <p:cNvSpPr/>
            <p:nvPr/>
          </p:nvSpPr>
          <p:spPr>
            <a:xfrm>
              <a:off x="1709844" y="1872395"/>
              <a:ext cx="70810" cy="70810"/>
            </a:xfrm>
            <a:custGeom>
              <a:avLst/>
              <a:gdLst>
                <a:gd name="connsiteX0" fmla="*/ 39864 w 70809"/>
                <a:gd name="connsiteY0" fmla="*/ 63940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2610" y="63940"/>
                    <a:pt x="63940" y="52610"/>
                    <a:pt x="63940" y="39864"/>
                  </a:cubicBezTo>
                  <a:cubicBezTo>
                    <a:pt x="63940" y="27119"/>
                    <a:pt x="52610" y="15789"/>
                    <a:pt x="39864" y="15789"/>
                  </a:cubicBezTo>
                  <a:cubicBezTo>
                    <a:pt x="27119" y="15789"/>
                    <a:pt x="15789" y="27119"/>
                    <a:pt x="15789" y="39864"/>
                  </a:cubicBezTo>
                  <a:cubicBezTo>
                    <a:pt x="15789" y="52610"/>
                    <a:pt x="27119"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1" name="Freeform: Shape 2340">
              <a:extLst>
                <a:ext uri="{FF2B5EF4-FFF2-40B4-BE49-F238E27FC236}">
                  <a16:creationId xmlns:a16="http://schemas.microsoft.com/office/drawing/2014/main" id="{03FDBBAE-0FC8-4A7F-A155-E96858C9BE3B}"/>
                </a:ext>
              </a:extLst>
            </p:cNvPr>
            <p:cNvSpPr/>
            <p:nvPr/>
          </p:nvSpPr>
          <p:spPr>
            <a:xfrm>
              <a:off x="1358629" y="1623146"/>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5789" y="71020"/>
                    <a:pt x="31367"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2" name="Freeform: Shape 2341">
              <a:extLst>
                <a:ext uri="{FF2B5EF4-FFF2-40B4-BE49-F238E27FC236}">
                  <a16:creationId xmlns:a16="http://schemas.microsoft.com/office/drawing/2014/main" id="{E0A02818-7B39-4CF2-BD68-A5BA49DA5AC2}"/>
                </a:ext>
              </a:extLst>
            </p:cNvPr>
            <p:cNvSpPr/>
            <p:nvPr/>
          </p:nvSpPr>
          <p:spPr>
            <a:xfrm>
              <a:off x="2141034" y="2883480"/>
              <a:ext cx="56648" cy="56648"/>
            </a:xfrm>
            <a:custGeom>
              <a:avLst/>
              <a:gdLst>
                <a:gd name="connsiteX0" fmla="*/ 34199 w 56647"/>
                <a:gd name="connsiteY0" fmla="*/ 52610 h 56647"/>
                <a:gd name="connsiteX1" fmla="*/ 52610 w 56647"/>
                <a:gd name="connsiteY1" fmla="*/ 34200 h 56647"/>
                <a:gd name="connsiteX2" fmla="*/ 34199 w 56647"/>
                <a:gd name="connsiteY2" fmla="*/ 15789 h 56647"/>
                <a:gd name="connsiteX3" fmla="*/ 15789 w 56647"/>
                <a:gd name="connsiteY3" fmla="*/ 34200 h 56647"/>
                <a:gd name="connsiteX4" fmla="*/ 34199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199" y="52610"/>
                  </a:moveTo>
                  <a:cubicBezTo>
                    <a:pt x="44113" y="52610"/>
                    <a:pt x="52610" y="44113"/>
                    <a:pt x="52610" y="34200"/>
                  </a:cubicBezTo>
                  <a:cubicBezTo>
                    <a:pt x="52610" y="24286"/>
                    <a:pt x="44113" y="15789"/>
                    <a:pt x="34199" y="15789"/>
                  </a:cubicBezTo>
                  <a:cubicBezTo>
                    <a:pt x="24286" y="15789"/>
                    <a:pt x="15789" y="24286"/>
                    <a:pt x="15789" y="34200"/>
                  </a:cubicBezTo>
                  <a:cubicBezTo>
                    <a:pt x="15789" y="44113"/>
                    <a:pt x="22870" y="52610"/>
                    <a:pt x="34199"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3" name="Freeform: Shape 2342">
              <a:extLst>
                <a:ext uri="{FF2B5EF4-FFF2-40B4-BE49-F238E27FC236}">
                  <a16:creationId xmlns:a16="http://schemas.microsoft.com/office/drawing/2014/main" id="{E5E60501-BD61-40C8-B93C-1080059C110E}"/>
                </a:ext>
              </a:extLst>
            </p:cNvPr>
            <p:cNvSpPr/>
            <p:nvPr/>
          </p:nvSpPr>
          <p:spPr>
            <a:xfrm>
              <a:off x="972009" y="1117566"/>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4" name="Freeform: Shape 2343">
              <a:extLst>
                <a:ext uri="{FF2B5EF4-FFF2-40B4-BE49-F238E27FC236}">
                  <a16:creationId xmlns:a16="http://schemas.microsoft.com/office/drawing/2014/main" id="{4009260A-85ED-4F80-9028-3B6FDBAC8355}"/>
                </a:ext>
              </a:extLst>
            </p:cNvPr>
            <p:cNvSpPr/>
            <p:nvPr/>
          </p:nvSpPr>
          <p:spPr>
            <a:xfrm>
              <a:off x="1384120" y="1198289"/>
              <a:ext cx="70810" cy="70810"/>
            </a:xfrm>
            <a:custGeom>
              <a:avLst/>
              <a:gdLst>
                <a:gd name="connsiteX0" fmla="*/ 58275 w 70809"/>
                <a:gd name="connsiteY0" fmla="*/ 37032 h 70809"/>
                <a:gd name="connsiteX1" fmla="*/ 37032 w 70809"/>
                <a:gd name="connsiteY1" fmla="*/ 58275 h 70809"/>
                <a:gd name="connsiteX2" fmla="*/ 15789 w 70809"/>
                <a:gd name="connsiteY2" fmla="*/ 37032 h 70809"/>
                <a:gd name="connsiteX3" fmla="*/ 37032 w 70809"/>
                <a:gd name="connsiteY3" fmla="*/ 15789 h 70809"/>
                <a:gd name="connsiteX4" fmla="*/ 58275 w 70809"/>
                <a:gd name="connsiteY4" fmla="*/ 3703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58275" y="37032"/>
                  </a:moveTo>
                  <a:cubicBezTo>
                    <a:pt x="58275" y="48764"/>
                    <a:pt x="48764" y="58275"/>
                    <a:pt x="37032" y="58275"/>
                  </a:cubicBezTo>
                  <a:cubicBezTo>
                    <a:pt x="25300" y="58275"/>
                    <a:pt x="15789" y="48764"/>
                    <a:pt x="15789" y="37032"/>
                  </a:cubicBezTo>
                  <a:cubicBezTo>
                    <a:pt x="15789" y="25300"/>
                    <a:pt x="25300" y="15789"/>
                    <a:pt x="37032" y="15789"/>
                  </a:cubicBezTo>
                  <a:cubicBezTo>
                    <a:pt x="48764" y="15789"/>
                    <a:pt x="58275" y="25300"/>
                    <a:pt x="58275" y="3703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5" name="Freeform: Shape 2344">
              <a:extLst>
                <a:ext uri="{FF2B5EF4-FFF2-40B4-BE49-F238E27FC236}">
                  <a16:creationId xmlns:a16="http://schemas.microsoft.com/office/drawing/2014/main" id="{64581AF6-A7FF-4B74-9D50-6E3DEE592364}"/>
                </a:ext>
              </a:extLst>
            </p:cNvPr>
            <p:cNvSpPr/>
            <p:nvPr/>
          </p:nvSpPr>
          <p:spPr>
            <a:xfrm>
              <a:off x="1013078" y="1761933"/>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2" y="15789"/>
                    <a:pt x="15789" y="25702"/>
                    <a:pt x="15789" y="37032"/>
                  </a:cubicBezTo>
                  <a:cubicBezTo>
                    <a:pt x="15789" y="49778"/>
                    <a:pt x="25702"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6" name="Freeform: Shape 2345">
              <a:extLst>
                <a:ext uri="{FF2B5EF4-FFF2-40B4-BE49-F238E27FC236}">
                  <a16:creationId xmlns:a16="http://schemas.microsoft.com/office/drawing/2014/main" id="{4CF8EE7F-E80E-4AE8-A9B0-4013C7139566}"/>
                </a:ext>
              </a:extLst>
            </p:cNvPr>
            <p:cNvSpPr/>
            <p:nvPr/>
          </p:nvSpPr>
          <p:spPr>
            <a:xfrm>
              <a:off x="900981" y="1574995"/>
              <a:ext cx="42486" cy="42486"/>
            </a:xfrm>
            <a:custGeom>
              <a:avLst/>
              <a:gdLst>
                <a:gd name="connsiteX0" fmla="*/ 27337 w 42485"/>
                <a:gd name="connsiteY0" fmla="*/ 39864 h 42485"/>
                <a:gd name="connsiteX1" fmla="*/ 38667 w 42485"/>
                <a:gd name="connsiteY1" fmla="*/ 28535 h 42485"/>
                <a:gd name="connsiteX2" fmla="*/ 27337 w 42485"/>
                <a:gd name="connsiteY2" fmla="*/ 15789 h 42485"/>
                <a:gd name="connsiteX3" fmla="*/ 16007 w 42485"/>
                <a:gd name="connsiteY3" fmla="*/ 28535 h 42485"/>
                <a:gd name="connsiteX4" fmla="*/ 27337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9864"/>
                  </a:moveTo>
                  <a:cubicBezTo>
                    <a:pt x="34418" y="39864"/>
                    <a:pt x="38667" y="34200"/>
                    <a:pt x="38667" y="28535"/>
                  </a:cubicBezTo>
                  <a:cubicBezTo>
                    <a:pt x="38667" y="21454"/>
                    <a:pt x="33002" y="15789"/>
                    <a:pt x="27337" y="15789"/>
                  </a:cubicBezTo>
                  <a:cubicBezTo>
                    <a:pt x="20256" y="15789"/>
                    <a:pt x="16007" y="21454"/>
                    <a:pt x="16007" y="28535"/>
                  </a:cubicBezTo>
                  <a:cubicBezTo>
                    <a:pt x="14591" y="34200"/>
                    <a:pt x="20256" y="39864"/>
                    <a:pt x="27337"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7" name="Freeform: Shape 2346">
              <a:extLst>
                <a:ext uri="{FF2B5EF4-FFF2-40B4-BE49-F238E27FC236}">
                  <a16:creationId xmlns:a16="http://schemas.microsoft.com/office/drawing/2014/main" id="{C2ED6952-7767-4D69-B65A-D5ADD39F6F42}"/>
                </a:ext>
              </a:extLst>
            </p:cNvPr>
            <p:cNvSpPr/>
            <p:nvPr/>
          </p:nvSpPr>
          <p:spPr>
            <a:xfrm>
              <a:off x="1140535" y="1233693"/>
              <a:ext cx="42486" cy="42486"/>
            </a:xfrm>
            <a:custGeom>
              <a:avLst/>
              <a:gdLst>
                <a:gd name="connsiteX0" fmla="*/ 28535 w 42485"/>
                <a:gd name="connsiteY0" fmla="*/ 39864 h 42485"/>
                <a:gd name="connsiteX1" fmla="*/ 39864 w 42485"/>
                <a:gd name="connsiteY1" fmla="*/ 28535 h 42485"/>
                <a:gd name="connsiteX2" fmla="*/ 28535 w 42485"/>
                <a:gd name="connsiteY2" fmla="*/ 15789 h 42485"/>
                <a:gd name="connsiteX3" fmla="*/ 15789 w 42485"/>
                <a:gd name="connsiteY3" fmla="*/ 28535 h 42485"/>
                <a:gd name="connsiteX4" fmla="*/ 28535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8535" y="39864"/>
                  </a:moveTo>
                  <a:cubicBezTo>
                    <a:pt x="35616" y="39864"/>
                    <a:pt x="39864" y="34200"/>
                    <a:pt x="39864" y="28535"/>
                  </a:cubicBezTo>
                  <a:cubicBezTo>
                    <a:pt x="39864" y="22870"/>
                    <a:pt x="34199" y="15789"/>
                    <a:pt x="28535" y="15789"/>
                  </a:cubicBezTo>
                  <a:cubicBezTo>
                    <a:pt x="21454" y="15789"/>
                    <a:pt x="15789" y="21454"/>
                    <a:pt x="15789" y="28535"/>
                  </a:cubicBezTo>
                  <a:cubicBezTo>
                    <a:pt x="15789" y="35616"/>
                    <a:pt x="21454" y="39864"/>
                    <a:pt x="28535"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8" name="Freeform: Shape 2347">
              <a:extLst>
                <a:ext uri="{FF2B5EF4-FFF2-40B4-BE49-F238E27FC236}">
                  <a16:creationId xmlns:a16="http://schemas.microsoft.com/office/drawing/2014/main" id="{F79D7FDD-981C-40E4-BF2C-DEA14B239C59}"/>
                </a:ext>
              </a:extLst>
            </p:cNvPr>
            <p:cNvSpPr/>
            <p:nvPr/>
          </p:nvSpPr>
          <p:spPr>
            <a:xfrm>
              <a:off x="874292" y="1293173"/>
              <a:ext cx="113295" cy="113295"/>
            </a:xfrm>
            <a:custGeom>
              <a:avLst/>
              <a:gdLst>
                <a:gd name="connsiteX0" fmla="*/ 58275 w 113295"/>
                <a:gd name="connsiteY0" fmla="*/ 100760 h 113295"/>
                <a:gd name="connsiteX1" fmla="*/ 100760 w 113295"/>
                <a:gd name="connsiteY1" fmla="*/ 58275 h 113295"/>
                <a:gd name="connsiteX2" fmla="*/ 58275 w 113295"/>
                <a:gd name="connsiteY2" fmla="*/ 15789 h 113295"/>
                <a:gd name="connsiteX3" fmla="*/ 15789 w 113295"/>
                <a:gd name="connsiteY3" fmla="*/ 58275 h 113295"/>
                <a:gd name="connsiteX4" fmla="*/ 58275 w 113295"/>
                <a:gd name="connsiteY4" fmla="*/ 100760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8275" y="100760"/>
                  </a:moveTo>
                  <a:cubicBezTo>
                    <a:pt x="82350" y="100760"/>
                    <a:pt x="100760" y="80934"/>
                    <a:pt x="100760" y="58275"/>
                  </a:cubicBezTo>
                  <a:cubicBezTo>
                    <a:pt x="100760" y="35616"/>
                    <a:pt x="80934" y="15789"/>
                    <a:pt x="58275" y="15789"/>
                  </a:cubicBezTo>
                  <a:cubicBezTo>
                    <a:pt x="34199" y="15789"/>
                    <a:pt x="15789" y="35616"/>
                    <a:pt x="15789" y="58275"/>
                  </a:cubicBezTo>
                  <a:cubicBezTo>
                    <a:pt x="15789" y="80934"/>
                    <a:pt x="34199" y="100760"/>
                    <a:pt x="58275" y="1007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49" name="Freeform: Shape 2348">
              <a:extLst>
                <a:ext uri="{FF2B5EF4-FFF2-40B4-BE49-F238E27FC236}">
                  <a16:creationId xmlns:a16="http://schemas.microsoft.com/office/drawing/2014/main" id="{4A486E2B-8F8A-41F8-94F9-792D03EED646}"/>
                </a:ext>
              </a:extLst>
            </p:cNvPr>
            <p:cNvSpPr/>
            <p:nvPr/>
          </p:nvSpPr>
          <p:spPr>
            <a:xfrm>
              <a:off x="2141783" y="1015600"/>
              <a:ext cx="113295" cy="113295"/>
            </a:xfrm>
            <a:custGeom>
              <a:avLst/>
              <a:gdLst>
                <a:gd name="connsiteX0" fmla="*/ 58275 w 113295"/>
                <a:gd name="connsiteY0" fmla="*/ 100760 h 113295"/>
                <a:gd name="connsiteX1" fmla="*/ 100760 w 113295"/>
                <a:gd name="connsiteY1" fmla="*/ 58275 h 113295"/>
                <a:gd name="connsiteX2" fmla="*/ 58275 w 113295"/>
                <a:gd name="connsiteY2" fmla="*/ 15789 h 113295"/>
                <a:gd name="connsiteX3" fmla="*/ 15789 w 113295"/>
                <a:gd name="connsiteY3" fmla="*/ 58275 h 113295"/>
                <a:gd name="connsiteX4" fmla="*/ 58275 w 113295"/>
                <a:gd name="connsiteY4" fmla="*/ 100760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8275" y="100760"/>
                  </a:moveTo>
                  <a:cubicBezTo>
                    <a:pt x="82350" y="100760"/>
                    <a:pt x="100760" y="80934"/>
                    <a:pt x="100760" y="58275"/>
                  </a:cubicBezTo>
                  <a:cubicBezTo>
                    <a:pt x="100760" y="35616"/>
                    <a:pt x="80934" y="15789"/>
                    <a:pt x="58275" y="15789"/>
                  </a:cubicBezTo>
                  <a:cubicBezTo>
                    <a:pt x="34199" y="15789"/>
                    <a:pt x="15789" y="35616"/>
                    <a:pt x="15789" y="58275"/>
                  </a:cubicBezTo>
                  <a:cubicBezTo>
                    <a:pt x="15789" y="80934"/>
                    <a:pt x="34199" y="100760"/>
                    <a:pt x="58275" y="1007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0" name="Freeform: Shape 2349">
              <a:extLst>
                <a:ext uri="{FF2B5EF4-FFF2-40B4-BE49-F238E27FC236}">
                  <a16:creationId xmlns:a16="http://schemas.microsoft.com/office/drawing/2014/main" id="{225DF158-EB5D-49A9-AC01-A2919C40B862}"/>
                </a:ext>
              </a:extLst>
            </p:cNvPr>
            <p:cNvSpPr/>
            <p:nvPr/>
          </p:nvSpPr>
          <p:spPr>
            <a:xfrm>
              <a:off x="2725254" y="1526845"/>
              <a:ext cx="84971" cy="84971"/>
            </a:xfrm>
            <a:custGeom>
              <a:avLst/>
              <a:gdLst>
                <a:gd name="connsiteX0" fmla="*/ 46945 w 84971"/>
                <a:gd name="connsiteY0" fmla="*/ 78101 h 84971"/>
                <a:gd name="connsiteX1" fmla="*/ 78101 w 84971"/>
                <a:gd name="connsiteY1" fmla="*/ 46945 h 84971"/>
                <a:gd name="connsiteX2" fmla="*/ 46945 w 84971"/>
                <a:gd name="connsiteY2" fmla="*/ 15789 h 84971"/>
                <a:gd name="connsiteX3" fmla="*/ 15789 w 84971"/>
                <a:gd name="connsiteY3" fmla="*/ 46945 h 84971"/>
                <a:gd name="connsiteX4" fmla="*/ 46945 w 84971"/>
                <a:gd name="connsiteY4" fmla="*/ 78101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6945" y="78101"/>
                  </a:moveTo>
                  <a:cubicBezTo>
                    <a:pt x="63939" y="78101"/>
                    <a:pt x="78101" y="63939"/>
                    <a:pt x="78101" y="46945"/>
                  </a:cubicBezTo>
                  <a:cubicBezTo>
                    <a:pt x="78101" y="29951"/>
                    <a:pt x="63939" y="15789"/>
                    <a:pt x="46945" y="15789"/>
                  </a:cubicBezTo>
                  <a:cubicBezTo>
                    <a:pt x="29951" y="15789"/>
                    <a:pt x="15789" y="29951"/>
                    <a:pt x="15789" y="46945"/>
                  </a:cubicBezTo>
                  <a:cubicBezTo>
                    <a:pt x="15789" y="65356"/>
                    <a:pt x="29951" y="78101"/>
                    <a:pt x="46945" y="7810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1" name="Freeform: Shape 2350">
              <a:extLst>
                <a:ext uri="{FF2B5EF4-FFF2-40B4-BE49-F238E27FC236}">
                  <a16:creationId xmlns:a16="http://schemas.microsoft.com/office/drawing/2014/main" id="{CCBE19E2-C64A-4370-9F23-D1263C9B2EA4}"/>
                </a:ext>
              </a:extLst>
            </p:cNvPr>
            <p:cNvSpPr/>
            <p:nvPr/>
          </p:nvSpPr>
          <p:spPr>
            <a:xfrm>
              <a:off x="1597965" y="1280428"/>
              <a:ext cx="42486" cy="42486"/>
            </a:xfrm>
            <a:custGeom>
              <a:avLst/>
              <a:gdLst>
                <a:gd name="connsiteX0" fmla="*/ 27119 w 42485"/>
                <a:gd name="connsiteY0" fmla="*/ 38448 h 42485"/>
                <a:gd name="connsiteX1" fmla="*/ 38448 w 42485"/>
                <a:gd name="connsiteY1" fmla="*/ 27118 h 42485"/>
                <a:gd name="connsiteX2" fmla="*/ 27119 w 42485"/>
                <a:gd name="connsiteY2" fmla="*/ 15789 h 42485"/>
                <a:gd name="connsiteX3" fmla="*/ 15789 w 42485"/>
                <a:gd name="connsiteY3" fmla="*/ 27118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8"/>
                  </a:cubicBezTo>
                  <a:cubicBezTo>
                    <a:pt x="38448" y="21454"/>
                    <a:pt x="32783" y="15789"/>
                    <a:pt x="27119" y="15789"/>
                  </a:cubicBezTo>
                  <a:cubicBezTo>
                    <a:pt x="21454" y="15789"/>
                    <a:pt x="15789" y="21454"/>
                    <a:pt x="15789" y="27118"/>
                  </a:cubicBezTo>
                  <a:cubicBezTo>
                    <a:pt x="15789" y="32783"/>
                    <a:pt x="21454"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2" name="Freeform: Shape 2351">
              <a:extLst>
                <a:ext uri="{FF2B5EF4-FFF2-40B4-BE49-F238E27FC236}">
                  <a16:creationId xmlns:a16="http://schemas.microsoft.com/office/drawing/2014/main" id="{E45C4FAF-FEB7-4E2F-95CC-50419CEDCE03}"/>
                </a:ext>
              </a:extLst>
            </p:cNvPr>
            <p:cNvSpPr/>
            <p:nvPr/>
          </p:nvSpPr>
          <p:spPr>
            <a:xfrm>
              <a:off x="1838718" y="1215283"/>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5789" y="42697"/>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3" name="Freeform: Shape 2352">
              <a:extLst>
                <a:ext uri="{FF2B5EF4-FFF2-40B4-BE49-F238E27FC236}">
                  <a16:creationId xmlns:a16="http://schemas.microsoft.com/office/drawing/2014/main" id="{CE21C2A3-1196-4CE4-A0CB-6FCC6393E858}"/>
                </a:ext>
              </a:extLst>
            </p:cNvPr>
            <p:cNvSpPr/>
            <p:nvPr/>
          </p:nvSpPr>
          <p:spPr>
            <a:xfrm>
              <a:off x="2134483" y="1242190"/>
              <a:ext cx="42486" cy="42486"/>
            </a:xfrm>
            <a:custGeom>
              <a:avLst/>
              <a:gdLst>
                <a:gd name="connsiteX0" fmla="*/ 27337 w 42485"/>
                <a:gd name="connsiteY0" fmla="*/ 39864 h 42485"/>
                <a:gd name="connsiteX1" fmla="*/ 38667 w 42485"/>
                <a:gd name="connsiteY1" fmla="*/ 27119 h 42485"/>
                <a:gd name="connsiteX2" fmla="*/ 27337 w 42485"/>
                <a:gd name="connsiteY2" fmla="*/ 15789 h 42485"/>
                <a:gd name="connsiteX3" fmla="*/ 16007 w 42485"/>
                <a:gd name="connsiteY3" fmla="*/ 27119 h 42485"/>
                <a:gd name="connsiteX4" fmla="*/ 27337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9864"/>
                  </a:moveTo>
                  <a:cubicBezTo>
                    <a:pt x="34418" y="39864"/>
                    <a:pt x="38667" y="34200"/>
                    <a:pt x="38667" y="27119"/>
                  </a:cubicBezTo>
                  <a:cubicBezTo>
                    <a:pt x="38667" y="20038"/>
                    <a:pt x="33002" y="15789"/>
                    <a:pt x="27337" y="15789"/>
                  </a:cubicBezTo>
                  <a:cubicBezTo>
                    <a:pt x="21672" y="15789"/>
                    <a:pt x="16007" y="21454"/>
                    <a:pt x="16007" y="27119"/>
                  </a:cubicBezTo>
                  <a:cubicBezTo>
                    <a:pt x="14591" y="34200"/>
                    <a:pt x="20256" y="39864"/>
                    <a:pt x="27337"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4" name="Freeform: Shape 2353">
              <a:extLst>
                <a:ext uri="{FF2B5EF4-FFF2-40B4-BE49-F238E27FC236}">
                  <a16:creationId xmlns:a16="http://schemas.microsoft.com/office/drawing/2014/main" id="{76206B44-E3C5-4E7E-908D-A6B73DC08A4F}"/>
                </a:ext>
              </a:extLst>
            </p:cNvPr>
            <p:cNvSpPr/>
            <p:nvPr/>
          </p:nvSpPr>
          <p:spPr>
            <a:xfrm>
              <a:off x="2631785" y="1185543"/>
              <a:ext cx="42486" cy="42486"/>
            </a:xfrm>
            <a:custGeom>
              <a:avLst/>
              <a:gdLst>
                <a:gd name="connsiteX0" fmla="*/ 27119 w 42485"/>
                <a:gd name="connsiteY0" fmla="*/ 39864 h 42485"/>
                <a:gd name="connsiteX1" fmla="*/ 38448 w 42485"/>
                <a:gd name="connsiteY1" fmla="*/ 28535 h 42485"/>
                <a:gd name="connsiteX2" fmla="*/ 27119 w 42485"/>
                <a:gd name="connsiteY2" fmla="*/ 15789 h 42485"/>
                <a:gd name="connsiteX3" fmla="*/ 15789 w 42485"/>
                <a:gd name="connsiteY3" fmla="*/ 28535 h 42485"/>
                <a:gd name="connsiteX4" fmla="*/ 27119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9864"/>
                  </a:moveTo>
                  <a:cubicBezTo>
                    <a:pt x="34200" y="39864"/>
                    <a:pt x="38448" y="34199"/>
                    <a:pt x="38448" y="28535"/>
                  </a:cubicBezTo>
                  <a:cubicBezTo>
                    <a:pt x="38448" y="22870"/>
                    <a:pt x="32783" y="15789"/>
                    <a:pt x="27119" y="15789"/>
                  </a:cubicBezTo>
                  <a:cubicBezTo>
                    <a:pt x="20038" y="15789"/>
                    <a:pt x="15789" y="21454"/>
                    <a:pt x="15789" y="28535"/>
                  </a:cubicBezTo>
                  <a:cubicBezTo>
                    <a:pt x="15789" y="35616"/>
                    <a:pt x="20038" y="39864"/>
                    <a:pt x="27119"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5" name="Freeform: Shape 2354">
              <a:extLst>
                <a:ext uri="{FF2B5EF4-FFF2-40B4-BE49-F238E27FC236}">
                  <a16:creationId xmlns:a16="http://schemas.microsoft.com/office/drawing/2014/main" id="{A177C2EF-3EA8-4E11-9128-C19841787A1A}"/>
                </a:ext>
              </a:extLst>
            </p:cNvPr>
            <p:cNvSpPr/>
            <p:nvPr/>
          </p:nvSpPr>
          <p:spPr>
            <a:xfrm>
              <a:off x="2631785" y="651639"/>
              <a:ext cx="42486" cy="42486"/>
            </a:xfrm>
            <a:custGeom>
              <a:avLst/>
              <a:gdLst>
                <a:gd name="connsiteX0" fmla="*/ 28535 w 42485"/>
                <a:gd name="connsiteY0" fmla="*/ 38448 h 42485"/>
                <a:gd name="connsiteX1" fmla="*/ 39864 w 42485"/>
                <a:gd name="connsiteY1" fmla="*/ 27119 h 42485"/>
                <a:gd name="connsiteX2" fmla="*/ 28535 w 42485"/>
                <a:gd name="connsiteY2" fmla="*/ 15789 h 42485"/>
                <a:gd name="connsiteX3" fmla="*/ 15789 w 42485"/>
                <a:gd name="connsiteY3" fmla="*/ 27119 h 42485"/>
                <a:gd name="connsiteX4" fmla="*/ 28535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8535" y="38448"/>
                  </a:moveTo>
                  <a:cubicBezTo>
                    <a:pt x="35616" y="38448"/>
                    <a:pt x="39864" y="32783"/>
                    <a:pt x="39864" y="27119"/>
                  </a:cubicBezTo>
                  <a:cubicBezTo>
                    <a:pt x="39864" y="20038"/>
                    <a:pt x="34200" y="15789"/>
                    <a:pt x="28535" y="15789"/>
                  </a:cubicBezTo>
                  <a:cubicBezTo>
                    <a:pt x="21454" y="15789"/>
                    <a:pt x="15789" y="21454"/>
                    <a:pt x="15789" y="27119"/>
                  </a:cubicBezTo>
                  <a:cubicBezTo>
                    <a:pt x="17205" y="34199"/>
                    <a:pt x="22870" y="38448"/>
                    <a:pt x="28535"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6" name="Freeform: Shape 2355">
              <a:extLst>
                <a:ext uri="{FF2B5EF4-FFF2-40B4-BE49-F238E27FC236}">
                  <a16:creationId xmlns:a16="http://schemas.microsoft.com/office/drawing/2014/main" id="{7D536004-FF5A-4FF4-BF98-61DCD1619864}"/>
                </a:ext>
              </a:extLst>
            </p:cNvPr>
            <p:cNvSpPr/>
            <p:nvPr/>
          </p:nvSpPr>
          <p:spPr>
            <a:xfrm>
              <a:off x="2082028" y="779096"/>
              <a:ext cx="42486" cy="42486"/>
            </a:xfrm>
            <a:custGeom>
              <a:avLst/>
              <a:gdLst>
                <a:gd name="connsiteX0" fmla="*/ 24561 w 42485"/>
                <a:gd name="connsiteY0" fmla="*/ 32783 h 42485"/>
                <a:gd name="connsiteX1" fmla="*/ 33058 w 42485"/>
                <a:gd name="connsiteY1" fmla="*/ 24286 h 42485"/>
                <a:gd name="connsiteX2" fmla="*/ 24561 w 42485"/>
                <a:gd name="connsiteY2" fmla="*/ 15789 h 42485"/>
                <a:gd name="connsiteX3" fmla="*/ 16063 w 42485"/>
                <a:gd name="connsiteY3" fmla="*/ 24286 h 42485"/>
                <a:gd name="connsiteX4" fmla="*/ 24561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561" y="32783"/>
                  </a:moveTo>
                  <a:cubicBezTo>
                    <a:pt x="28809" y="32783"/>
                    <a:pt x="33058" y="28535"/>
                    <a:pt x="33058" y="24286"/>
                  </a:cubicBezTo>
                  <a:cubicBezTo>
                    <a:pt x="33058" y="20038"/>
                    <a:pt x="28809" y="15789"/>
                    <a:pt x="24561" y="15789"/>
                  </a:cubicBezTo>
                  <a:cubicBezTo>
                    <a:pt x="20312" y="15789"/>
                    <a:pt x="16063" y="20038"/>
                    <a:pt x="16063" y="24286"/>
                  </a:cubicBezTo>
                  <a:cubicBezTo>
                    <a:pt x="14647" y="28535"/>
                    <a:pt x="18896" y="32783"/>
                    <a:pt x="24561"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7" name="Freeform: Shape 2356">
              <a:extLst>
                <a:ext uri="{FF2B5EF4-FFF2-40B4-BE49-F238E27FC236}">
                  <a16:creationId xmlns:a16="http://schemas.microsoft.com/office/drawing/2014/main" id="{2E743CC0-338A-42CE-AB74-3F0256AB3B98}"/>
                </a:ext>
              </a:extLst>
            </p:cNvPr>
            <p:cNvSpPr/>
            <p:nvPr/>
          </p:nvSpPr>
          <p:spPr>
            <a:xfrm>
              <a:off x="3049561" y="1460284"/>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8" name="Freeform: Shape 2357">
              <a:extLst>
                <a:ext uri="{FF2B5EF4-FFF2-40B4-BE49-F238E27FC236}">
                  <a16:creationId xmlns:a16="http://schemas.microsoft.com/office/drawing/2014/main" id="{29B38326-7AEB-4806-8BE0-A3E9396B8864}"/>
                </a:ext>
              </a:extLst>
            </p:cNvPr>
            <p:cNvSpPr/>
            <p:nvPr/>
          </p:nvSpPr>
          <p:spPr>
            <a:xfrm>
              <a:off x="2902061" y="1658551"/>
              <a:ext cx="56648" cy="56648"/>
            </a:xfrm>
            <a:custGeom>
              <a:avLst/>
              <a:gdLst>
                <a:gd name="connsiteX0" fmla="*/ 28752 w 56647"/>
                <a:gd name="connsiteY0" fmla="*/ 41280 h 56647"/>
                <a:gd name="connsiteX1" fmla="*/ 41497 w 56647"/>
                <a:gd name="connsiteY1" fmla="*/ 28535 h 56647"/>
                <a:gd name="connsiteX2" fmla="*/ 28752 w 56647"/>
                <a:gd name="connsiteY2" fmla="*/ 15789 h 56647"/>
                <a:gd name="connsiteX3" fmla="*/ 16006 w 56647"/>
                <a:gd name="connsiteY3" fmla="*/ 28535 h 56647"/>
                <a:gd name="connsiteX4" fmla="*/ 28752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752" y="41280"/>
                  </a:moveTo>
                  <a:cubicBezTo>
                    <a:pt x="35833" y="41280"/>
                    <a:pt x="41497" y="35616"/>
                    <a:pt x="41497" y="28535"/>
                  </a:cubicBezTo>
                  <a:cubicBezTo>
                    <a:pt x="41497" y="21454"/>
                    <a:pt x="35833" y="15789"/>
                    <a:pt x="28752" y="15789"/>
                  </a:cubicBezTo>
                  <a:cubicBezTo>
                    <a:pt x="21671" y="15789"/>
                    <a:pt x="16006" y="21454"/>
                    <a:pt x="16006" y="28535"/>
                  </a:cubicBezTo>
                  <a:cubicBezTo>
                    <a:pt x="14590" y="35616"/>
                    <a:pt x="20254" y="41280"/>
                    <a:pt x="28752"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59" name="Freeform: Shape 2358">
              <a:extLst>
                <a:ext uri="{FF2B5EF4-FFF2-40B4-BE49-F238E27FC236}">
                  <a16:creationId xmlns:a16="http://schemas.microsoft.com/office/drawing/2014/main" id="{243B8632-8DDB-43DA-AD82-023D90034557}"/>
                </a:ext>
              </a:extLst>
            </p:cNvPr>
            <p:cNvSpPr/>
            <p:nvPr/>
          </p:nvSpPr>
          <p:spPr>
            <a:xfrm>
              <a:off x="3436182" y="1678377"/>
              <a:ext cx="56648" cy="56648"/>
            </a:xfrm>
            <a:custGeom>
              <a:avLst/>
              <a:gdLst>
                <a:gd name="connsiteX0" fmla="*/ 28535 w 56647"/>
                <a:gd name="connsiteY0" fmla="*/ 41280 h 56647"/>
                <a:gd name="connsiteX1" fmla="*/ 41280 w 56647"/>
                <a:gd name="connsiteY1" fmla="*/ 28535 h 56647"/>
                <a:gd name="connsiteX2" fmla="*/ 28535 w 56647"/>
                <a:gd name="connsiteY2" fmla="*/ 15789 h 56647"/>
                <a:gd name="connsiteX3" fmla="*/ 15789 w 56647"/>
                <a:gd name="connsiteY3" fmla="*/ 28535 h 56647"/>
                <a:gd name="connsiteX4" fmla="*/ 28535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535" y="41280"/>
                  </a:moveTo>
                  <a:cubicBezTo>
                    <a:pt x="35616" y="41280"/>
                    <a:pt x="41280" y="35616"/>
                    <a:pt x="41280" y="28535"/>
                  </a:cubicBezTo>
                  <a:cubicBezTo>
                    <a:pt x="41280" y="21454"/>
                    <a:pt x="35616" y="15789"/>
                    <a:pt x="28535" y="15789"/>
                  </a:cubicBezTo>
                  <a:cubicBezTo>
                    <a:pt x="21454" y="15789"/>
                    <a:pt x="15789" y="21454"/>
                    <a:pt x="15789" y="28535"/>
                  </a:cubicBezTo>
                  <a:cubicBezTo>
                    <a:pt x="15789" y="35616"/>
                    <a:pt x="21454" y="41280"/>
                    <a:pt x="28535"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0" name="Freeform: Shape 2359">
              <a:extLst>
                <a:ext uri="{FF2B5EF4-FFF2-40B4-BE49-F238E27FC236}">
                  <a16:creationId xmlns:a16="http://schemas.microsoft.com/office/drawing/2014/main" id="{9E40B6C6-ECE6-4BBB-9A53-7D57F27F6368}"/>
                </a:ext>
              </a:extLst>
            </p:cNvPr>
            <p:cNvSpPr/>
            <p:nvPr/>
          </p:nvSpPr>
          <p:spPr>
            <a:xfrm>
              <a:off x="3870952" y="1933292"/>
              <a:ext cx="70810" cy="70810"/>
            </a:xfrm>
            <a:custGeom>
              <a:avLst/>
              <a:gdLst>
                <a:gd name="connsiteX0" fmla="*/ 38448 w 70809"/>
                <a:gd name="connsiteY0" fmla="*/ 61107 h 70809"/>
                <a:gd name="connsiteX1" fmla="*/ 61107 w 70809"/>
                <a:gd name="connsiteY1" fmla="*/ 38448 h 70809"/>
                <a:gd name="connsiteX2" fmla="*/ 38448 w 70809"/>
                <a:gd name="connsiteY2" fmla="*/ 15789 h 70809"/>
                <a:gd name="connsiteX3" fmla="*/ 15789 w 70809"/>
                <a:gd name="connsiteY3" fmla="*/ 38448 h 70809"/>
                <a:gd name="connsiteX4" fmla="*/ 3844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8" y="61107"/>
                  </a:moveTo>
                  <a:cubicBezTo>
                    <a:pt x="51194" y="61107"/>
                    <a:pt x="61107" y="51194"/>
                    <a:pt x="61107" y="38448"/>
                  </a:cubicBezTo>
                  <a:cubicBezTo>
                    <a:pt x="61107" y="25702"/>
                    <a:pt x="51194" y="15789"/>
                    <a:pt x="38448" y="15789"/>
                  </a:cubicBezTo>
                  <a:cubicBezTo>
                    <a:pt x="25702" y="15789"/>
                    <a:pt x="15789" y="25702"/>
                    <a:pt x="15789" y="38448"/>
                  </a:cubicBezTo>
                  <a:cubicBezTo>
                    <a:pt x="15789" y="51194"/>
                    <a:pt x="25702" y="61107"/>
                    <a:pt x="38448"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1" name="Freeform: Shape 2360">
              <a:extLst>
                <a:ext uri="{FF2B5EF4-FFF2-40B4-BE49-F238E27FC236}">
                  <a16:creationId xmlns:a16="http://schemas.microsoft.com/office/drawing/2014/main" id="{2E04573D-E96E-42DB-956C-9028B3FD8CAF}"/>
                </a:ext>
              </a:extLst>
            </p:cNvPr>
            <p:cNvSpPr/>
            <p:nvPr/>
          </p:nvSpPr>
          <p:spPr>
            <a:xfrm>
              <a:off x="3400511" y="2072860"/>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9"/>
                  </a:cubicBezTo>
                  <a:cubicBezTo>
                    <a:pt x="38448" y="21454"/>
                    <a:pt x="32783" y="15789"/>
                    <a:pt x="27119" y="15789"/>
                  </a:cubicBezTo>
                  <a:cubicBezTo>
                    <a:pt x="21454" y="15789"/>
                    <a:pt x="15789" y="21454"/>
                    <a:pt x="15789" y="27119"/>
                  </a:cubicBezTo>
                  <a:cubicBezTo>
                    <a:pt x="15789" y="32783"/>
                    <a:pt x="21454"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2" name="Freeform: Shape 2361">
              <a:extLst>
                <a:ext uri="{FF2B5EF4-FFF2-40B4-BE49-F238E27FC236}">
                  <a16:creationId xmlns:a16="http://schemas.microsoft.com/office/drawing/2014/main" id="{4873BA0F-DB09-455F-AA73-5BA8180B430A}"/>
                </a:ext>
              </a:extLst>
            </p:cNvPr>
            <p:cNvSpPr/>
            <p:nvPr/>
          </p:nvSpPr>
          <p:spPr>
            <a:xfrm>
              <a:off x="3688166" y="1798753"/>
              <a:ext cx="84971" cy="84971"/>
            </a:xfrm>
            <a:custGeom>
              <a:avLst/>
              <a:gdLst>
                <a:gd name="connsiteX0" fmla="*/ 44211 w 84971"/>
                <a:gd name="connsiteY0" fmla="*/ 72437 h 84971"/>
                <a:gd name="connsiteX1" fmla="*/ 72535 w 84971"/>
                <a:gd name="connsiteY1" fmla="*/ 44113 h 84971"/>
                <a:gd name="connsiteX2" fmla="*/ 44211 w 84971"/>
                <a:gd name="connsiteY2" fmla="*/ 15789 h 84971"/>
                <a:gd name="connsiteX3" fmla="*/ 15887 w 84971"/>
                <a:gd name="connsiteY3" fmla="*/ 44113 h 84971"/>
                <a:gd name="connsiteX4" fmla="*/ 44211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211" y="72437"/>
                  </a:moveTo>
                  <a:cubicBezTo>
                    <a:pt x="59789" y="72437"/>
                    <a:pt x="72535" y="59691"/>
                    <a:pt x="72535" y="44113"/>
                  </a:cubicBezTo>
                  <a:cubicBezTo>
                    <a:pt x="72535" y="28535"/>
                    <a:pt x="59789" y="15789"/>
                    <a:pt x="44211" y="15789"/>
                  </a:cubicBezTo>
                  <a:cubicBezTo>
                    <a:pt x="28633" y="15789"/>
                    <a:pt x="15887" y="28535"/>
                    <a:pt x="15887" y="44113"/>
                  </a:cubicBezTo>
                  <a:cubicBezTo>
                    <a:pt x="14471" y="59691"/>
                    <a:pt x="28633" y="72437"/>
                    <a:pt x="44211"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3" name="Freeform: Shape 2362">
              <a:extLst>
                <a:ext uri="{FF2B5EF4-FFF2-40B4-BE49-F238E27FC236}">
                  <a16:creationId xmlns:a16="http://schemas.microsoft.com/office/drawing/2014/main" id="{2FB85148-C922-4930-8380-792D067C8920}"/>
                </a:ext>
              </a:extLst>
            </p:cNvPr>
            <p:cNvSpPr/>
            <p:nvPr/>
          </p:nvSpPr>
          <p:spPr>
            <a:xfrm>
              <a:off x="2951844" y="1250688"/>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8275"/>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4" name="Freeform: Shape 2363">
              <a:extLst>
                <a:ext uri="{FF2B5EF4-FFF2-40B4-BE49-F238E27FC236}">
                  <a16:creationId xmlns:a16="http://schemas.microsoft.com/office/drawing/2014/main" id="{8C566975-6026-4B06-9F5F-31420F50B77F}"/>
                </a:ext>
              </a:extLst>
            </p:cNvPr>
            <p:cNvSpPr/>
            <p:nvPr/>
          </p:nvSpPr>
          <p:spPr>
            <a:xfrm>
              <a:off x="2536900" y="1297422"/>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1454"/>
                    <a:pt x="37032" y="15789"/>
                    <a:pt x="29951" y="15789"/>
                  </a:cubicBezTo>
                  <a:cubicBezTo>
                    <a:pt x="21454" y="15789"/>
                    <a:pt x="15789" y="22870"/>
                    <a:pt x="15789" y="29951"/>
                  </a:cubicBezTo>
                  <a:cubicBezTo>
                    <a:pt x="15789" y="38448"/>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5" name="Freeform: Shape 2364">
              <a:extLst>
                <a:ext uri="{FF2B5EF4-FFF2-40B4-BE49-F238E27FC236}">
                  <a16:creationId xmlns:a16="http://schemas.microsoft.com/office/drawing/2014/main" id="{7036F36D-E8F9-4972-98D6-C4AF81095AF8}"/>
                </a:ext>
              </a:extLst>
            </p:cNvPr>
            <p:cNvSpPr/>
            <p:nvPr/>
          </p:nvSpPr>
          <p:spPr>
            <a:xfrm>
              <a:off x="2500079" y="1049589"/>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2870"/>
                    <a:pt x="37032" y="15789"/>
                    <a:pt x="29951" y="15789"/>
                  </a:cubicBezTo>
                  <a:cubicBezTo>
                    <a:pt x="21454" y="15789"/>
                    <a:pt x="15789" y="22870"/>
                    <a:pt x="15789" y="29951"/>
                  </a:cubicBezTo>
                  <a:cubicBezTo>
                    <a:pt x="15789" y="37032"/>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6" name="Freeform: Shape 2365">
              <a:extLst>
                <a:ext uri="{FF2B5EF4-FFF2-40B4-BE49-F238E27FC236}">
                  <a16:creationId xmlns:a16="http://schemas.microsoft.com/office/drawing/2014/main" id="{B6D6F538-770A-4ABA-85B7-B3DC752C71DA}"/>
                </a:ext>
              </a:extLst>
            </p:cNvPr>
            <p:cNvSpPr/>
            <p:nvPr/>
          </p:nvSpPr>
          <p:spPr>
            <a:xfrm>
              <a:off x="1685769" y="1614649"/>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4286"/>
                    <a:pt x="42697" y="15789"/>
                    <a:pt x="32783" y="15789"/>
                  </a:cubicBezTo>
                  <a:cubicBezTo>
                    <a:pt x="24286" y="15789"/>
                    <a:pt x="15789" y="22870"/>
                    <a:pt x="15789" y="32783"/>
                  </a:cubicBezTo>
                  <a:cubicBezTo>
                    <a:pt x="15789" y="41280"/>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7" name="Freeform: Shape 2366">
              <a:extLst>
                <a:ext uri="{FF2B5EF4-FFF2-40B4-BE49-F238E27FC236}">
                  <a16:creationId xmlns:a16="http://schemas.microsoft.com/office/drawing/2014/main" id="{B43651F6-4696-4C99-9A25-4481D8BD0A36}"/>
                </a:ext>
              </a:extLst>
            </p:cNvPr>
            <p:cNvSpPr/>
            <p:nvPr/>
          </p:nvSpPr>
          <p:spPr>
            <a:xfrm>
              <a:off x="1691434" y="1664215"/>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2" y="15789"/>
                    <a:pt x="15789" y="25702"/>
                    <a:pt x="15789" y="37032"/>
                  </a:cubicBezTo>
                  <a:cubicBezTo>
                    <a:pt x="17205" y="48361"/>
                    <a:pt x="25702"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8" name="Freeform: Shape 2367">
              <a:extLst>
                <a:ext uri="{FF2B5EF4-FFF2-40B4-BE49-F238E27FC236}">
                  <a16:creationId xmlns:a16="http://schemas.microsoft.com/office/drawing/2014/main" id="{48A1A59F-F957-4AB1-9DBB-4E5E81132936}"/>
                </a:ext>
              </a:extLst>
            </p:cNvPr>
            <p:cNvSpPr/>
            <p:nvPr/>
          </p:nvSpPr>
          <p:spPr>
            <a:xfrm>
              <a:off x="1643283" y="1399388"/>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5789" y="71020"/>
                    <a:pt x="31367"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69" name="Freeform: Shape 2368">
              <a:extLst>
                <a:ext uri="{FF2B5EF4-FFF2-40B4-BE49-F238E27FC236}">
                  <a16:creationId xmlns:a16="http://schemas.microsoft.com/office/drawing/2014/main" id="{ABBEFF95-C975-4415-8871-DD31CFFE5C9A}"/>
                </a:ext>
              </a:extLst>
            </p:cNvPr>
            <p:cNvSpPr/>
            <p:nvPr/>
          </p:nvSpPr>
          <p:spPr>
            <a:xfrm>
              <a:off x="1925399" y="1962663"/>
              <a:ext cx="84971" cy="84971"/>
            </a:xfrm>
            <a:custGeom>
              <a:avLst/>
              <a:gdLst>
                <a:gd name="connsiteX0" fmla="*/ 42697 w 84971"/>
                <a:gd name="connsiteY0" fmla="*/ 69604 h 84971"/>
                <a:gd name="connsiteX1" fmla="*/ 69604 w 84971"/>
                <a:gd name="connsiteY1" fmla="*/ 42697 h 84971"/>
                <a:gd name="connsiteX2" fmla="*/ 42697 w 84971"/>
                <a:gd name="connsiteY2" fmla="*/ 15789 h 84971"/>
                <a:gd name="connsiteX3" fmla="*/ 15789 w 84971"/>
                <a:gd name="connsiteY3" fmla="*/ 42697 h 84971"/>
                <a:gd name="connsiteX4" fmla="*/ 42697 w 84971"/>
                <a:gd name="connsiteY4" fmla="*/ 6960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2697" y="69604"/>
                  </a:moveTo>
                  <a:cubicBezTo>
                    <a:pt x="56859" y="69604"/>
                    <a:pt x="69604" y="56859"/>
                    <a:pt x="69604" y="42697"/>
                  </a:cubicBezTo>
                  <a:cubicBezTo>
                    <a:pt x="69604" y="28535"/>
                    <a:pt x="56859" y="15789"/>
                    <a:pt x="42697" y="15789"/>
                  </a:cubicBezTo>
                  <a:cubicBezTo>
                    <a:pt x="28535" y="15789"/>
                    <a:pt x="15789" y="28535"/>
                    <a:pt x="15789" y="42697"/>
                  </a:cubicBezTo>
                  <a:cubicBezTo>
                    <a:pt x="15789" y="56859"/>
                    <a:pt x="27119" y="69604"/>
                    <a:pt x="42697" y="6960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0" name="Freeform: Shape 2369">
              <a:extLst>
                <a:ext uri="{FF2B5EF4-FFF2-40B4-BE49-F238E27FC236}">
                  <a16:creationId xmlns:a16="http://schemas.microsoft.com/office/drawing/2014/main" id="{2DEB11F4-34F9-4CC7-8E79-93830F54E59A}"/>
                </a:ext>
              </a:extLst>
            </p:cNvPr>
            <p:cNvSpPr/>
            <p:nvPr/>
          </p:nvSpPr>
          <p:spPr>
            <a:xfrm>
              <a:off x="3160171" y="1973764"/>
              <a:ext cx="56648" cy="56648"/>
            </a:xfrm>
            <a:custGeom>
              <a:avLst/>
              <a:gdLst>
                <a:gd name="connsiteX0" fmla="*/ 29951 w 56647"/>
                <a:gd name="connsiteY0" fmla="*/ 42697 h 56647"/>
                <a:gd name="connsiteX1" fmla="*/ 42697 w 56647"/>
                <a:gd name="connsiteY1" fmla="*/ 29951 h 56647"/>
                <a:gd name="connsiteX2" fmla="*/ 29951 w 56647"/>
                <a:gd name="connsiteY2" fmla="*/ 15789 h 56647"/>
                <a:gd name="connsiteX3" fmla="*/ 15789 w 56647"/>
                <a:gd name="connsiteY3" fmla="*/ 29951 h 56647"/>
                <a:gd name="connsiteX4" fmla="*/ 29951 w 56647"/>
                <a:gd name="connsiteY4" fmla="*/ 4269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2697"/>
                  </a:moveTo>
                  <a:cubicBezTo>
                    <a:pt x="37032" y="42697"/>
                    <a:pt x="42697" y="37032"/>
                    <a:pt x="42697" y="29951"/>
                  </a:cubicBezTo>
                  <a:cubicBezTo>
                    <a:pt x="42697" y="22870"/>
                    <a:pt x="37032" y="15789"/>
                    <a:pt x="29951" y="15789"/>
                  </a:cubicBezTo>
                  <a:cubicBezTo>
                    <a:pt x="22870" y="15789"/>
                    <a:pt x="15789" y="21454"/>
                    <a:pt x="15789" y="29951"/>
                  </a:cubicBezTo>
                  <a:cubicBezTo>
                    <a:pt x="15789" y="37032"/>
                    <a:pt x="22870" y="42697"/>
                    <a:pt x="29951" y="4269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1" name="Freeform: Shape 2370">
              <a:extLst>
                <a:ext uri="{FF2B5EF4-FFF2-40B4-BE49-F238E27FC236}">
                  <a16:creationId xmlns:a16="http://schemas.microsoft.com/office/drawing/2014/main" id="{3729B7E0-0D16-4817-AA69-3F0E569E2DCF}"/>
                </a:ext>
              </a:extLst>
            </p:cNvPr>
            <p:cNvSpPr/>
            <p:nvPr/>
          </p:nvSpPr>
          <p:spPr>
            <a:xfrm>
              <a:off x="3034575" y="1878842"/>
              <a:ext cx="42486" cy="42486"/>
            </a:xfrm>
            <a:custGeom>
              <a:avLst/>
              <a:gdLst>
                <a:gd name="connsiteX0" fmla="*/ 27118 w 42485"/>
                <a:gd name="connsiteY0" fmla="*/ 39864 h 42485"/>
                <a:gd name="connsiteX1" fmla="*/ 38448 w 42485"/>
                <a:gd name="connsiteY1" fmla="*/ 28535 h 42485"/>
                <a:gd name="connsiteX2" fmla="*/ 27118 w 42485"/>
                <a:gd name="connsiteY2" fmla="*/ 15789 h 42485"/>
                <a:gd name="connsiteX3" fmla="*/ 15789 w 42485"/>
                <a:gd name="connsiteY3" fmla="*/ 28535 h 42485"/>
                <a:gd name="connsiteX4" fmla="*/ 27118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9864"/>
                  </a:moveTo>
                  <a:cubicBezTo>
                    <a:pt x="34199" y="39864"/>
                    <a:pt x="38448" y="34199"/>
                    <a:pt x="38448" y="28535"/>
                  </a:cubicBezTo>
                  <a:cubicBezTo>
                    <a:pt x="38448" y="22870"/>
                    <a:pt x="32783" y="15789"/>
                    <a:pt x="27118" y="15789"/>
                  </a:cubicBezTo>
                  <a:cubicBezTo>
                    <a:pt x="20037" y="15789"/>
                    <a:pt x="15789" y="21454"/>
                    <a:pt x="15789" y="28535"/>
                  </a:cubicBezTo>
                  <a:cubicBezTo>
                    <a:pt x="15789" y="35616"/>
                    <a:pt x="20037" y="39864"/>
                    <a:pt x="27118"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2" name="Freeform: Shape 2371">
              <a:extLst>
                <a:ext uri="{FF2B5EF4-FFF2-40B4-BE49-F238E27FC236}">
                  <a16:creationId xmlns:a16="http://schemas.microsoft.com/office/drawing/2014/main" id="{5DE56250-ABF0-4A28-AF94-169057551002}"/>
                </a:ext>
              </a:extLst>
            </p:cNvPr>
            <p:cNvSpPr/>
            <p:nvPr/>
          </p:nvSpPr>
          <p:spPr>
            <a:xfrm>
              <a:off x="3470241" y="1907426"/>
              <a:ext cx="42486" cy="42486"/>
            </a:xfrm>
            <a:custGeom>
              <a:avLst/>
              <a:gdLst>
                <a:gd name="connsiteX0" fmla="*/ 27118 w 42485"/>
                <a:gd name="connsiteY0" fmla="*/ 38448 h 42485"/>
                <a:gd name="connsiteX1" fmla="*/ 39864 w 42485"/>
                <a:gd name="connsiteY1" fmla="*/ 27119 h 42485"/>
                <a:gd name="connsiteX2" fmla="*/ 27118 w 42485"/>
                <a:gd name="connsiteY2" fmla="*/ 15789 h 42485"/>
                <a:gd name="connsiteX3" fmla="*/ 15789 w 42485"/>
                <a:gd name="connsiteY3" fmla="*/ 27119 h 42485"/>
                <a:gd name="connsiteX4" fmla="*/ 27118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38448"/>
                  </a:moveTo>
                  <a:cubicBezTo>
                    <a:pt x="34199" y="38448"/>
                    <a:pt x="39864" y="32783"/>
                    <a:pt x="39864" y="27119"/>
                  </a:cubicBezTo>
                  <a:cubicBezTo>
                    <a:pt x="39864" y="21454"/>
                    <a:pt x="34199" y="15789"/>
                    <a:pt x="27118" y="15789"/>
                  </a:cubicBezTo>
                  <a:cubicBezTo>
                    <a:pt x="20037" y="15789"/>
                    <a:pt x="15789" y="21454"/>
                    <a:pt x="15789" y="27119"/>
                  </a:cubicBezTo>
                  <a:cubicBezTo>
                    <a:pt x="15789" y="32783"/>
                    <a:pt x="21454" y="38448"/>
                    <a:pt x="27118"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3" name="Freeform: Shape 2372">
              <a:extLst>
                <a:ext uri="{FF2B5EF4-FFF2-40B4-BE49-F238E27FC236}">
                  <a16:creationId xmlns:a16="http://schemas.microsoft.com/office/drawing/2014/main" id="{4AF4F77E-1158-4E97-93FF-8AAF7F2B0AE3}"/>
                </a:ext>
              </a:extLst>
            </p:cNvPr>
            <p:cNvSpPr/>
            <p:nvPr/>
          </p:nvSpPr>
          <p:spPr>
            <a:xfrm>
              <a:off x="3742524" y="2426273"/>
              <a:ext cx="42486" cy="42486"/>
            </a:xfrm>
            <a:custGeom>
              <a:avLst/>
              <a:gdLst>
                <a:gd name="connsiteX0" fmla="*/ 27119 w 42485"/>
                <a:gd name="connsiteY0" fmla="*/ 39864 h 42485"/>
                <a:gd name="connsiteX1" fmla="*/ 38448 w 42485"/>
                <a:gd name="connsiteY1" fmla="*/ 27118 h 42485"/>
                <a:gd name="connsiteX2" fmla="*/ 27119 w 42485"/>
                <a:gd name="connsiteY2" fmla="*/ 15789 h 42485"/>
                <a:gd name="connsiteX3" fmla="*/ 15789 w 42485"/>
                <a:gd name="connsiteY3" fmla="*/ 27118 h 42485"/>
                <a:gd name="connsiteX4" fmla="*/ 27119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9864"/>
                  </a:moveTo>
                  <a:cubicBezTo>
                    <a:pt x="34200" y="39864"/>
                    <a:pt x="38448" y="34199"/>
                    <a:pt x="38448" y="27118"/>
                  </a:cubicBezTo>
                  <a:cubicBezTo>
                    <a:pt x="38448" y="20037"/>
                    <a:pt x="32783" y="15789"/>
                    <a:pt x="27119" y="15789"/>
                  </a:cubicBezTo>
                  <a:cubicBezTo>
                    <a:pt x="20038" y="15789"/>
                    <a:pt x="15789" y="21454"/>
                    <a:pt x="15789" y="27118"/>
                  </a:cubicBezTo>
                  <a:cubicBezTo>
                    <a:pt x="15789" y="34199"/>
                    <a:pt x="20038" y="39864"/>
                    <a:pt x="27119"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4" name="Freeform: Shape 2373">
              <a:extLst>
                <a:ext uri="{FF2B5EF4-FFF2-40B4-BE49-F238E27FC236}">
                  <a16:creationId xmlns:a16="http://schemas.microsoft.com/office/drawing/2014/main" id="{AC22C31B-4B09-4405-9EFD-CA53099967E0}"/>
                </a:ext>
              </a:extLst>
            </p:cNvPr>
            <p:cNvSpPr/>
            <p:nvPr/>
          </p:nvSpPr>
          <p:spPr>
            <a:xfrm>
              <a:off x="3535097" y="2571994"/>
              <a:ext cx="42486" cy="42486"/>
            </a:xfrm>
            <a:custGeom>
              <a:avLst/>
              <a:gdLst>
                <a:gd name="connsiteX0" fmla="*/ 27337 w 42485"/>
                <a:gd name="connsiteY0" fmla="*/ 39864 h 42485"/>
                <a:gd name="connsiteX1" fmla="*/ 38666 w 42485"/>
                <a:gd name="connsiteY1" fmla="*/ 27118 h 42485"/>
                <a:gd name="connsiteX2" fmla="*/ 27337 w 42485"/>
                <a:gd name="connsiteY2" fmla="*/ 15789 h 42485"/>
                <a:gd name="connsiteX3" fmla="*/ 16007 w 42485"/>
                <a:gd name="connsiteY3" fmla="*/ 27118 h 42485"/>
                <a:gd name="connsiteX4" fmla="*/ 27337 w 42485"/>
                <a:gd name="connsiteY4" fmla="*/ 398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9864"/>
                  </a:moveTo>
                  <a:cubicBezTo>
                    <a:pt x="34418" y="39864"/>
                    <a:pt x="38666" y="34199"/>
                    <a:pt x="38666" y="27118"/>
                  </a:cubicBezTo>
                  <a:cubicBezTo>
                    <a:pt x="38666" y="20037"/>
                    <a:pt x="33002" y="15789"/>
                    <a:pt x="27337" y="15789"/>
                  </a:cubicBezTo>
                  <a:cubicBezTo>
                    <a:pt x="20256" y="15789"/>
                    <a:pt x="16007" y="21454"/>
                    <a:pt x="16007" y="27118"/>
                  </a:cubicBezTo>
                  <a:cubicBezTo>
                    <a:pt x="14591" y="34199"/>
                    <a:pt x="20256" y="39864"/>
                    <a:pt x="27337" y="398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5" name="Freeform: Shape 2374">
              <a:extLst>
                <a:ext uri="{FF2B5EF4-FFF2-40B4-BE49-F238E27FC236}">
                  <a16:creationId xmlns:a16="http://schemas.microsoft.com/office/drawing/2014/main" id="{4B885425-071B-459B-BA54-FA8E576D39CE}"/>
                </a:ext>
              </a:extLst>
            </p:cNvPr>
            <p:cNvSpPr/>
            <p:nvPr/>
          </p:nvSpPr>
          <p:spPr>
            <a:xfrm>
              <a:off x="3555142" y="2368062"/>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6" name="Freeform: Shape 2375">
              <a:extLst>
                <a:ext uri="{FF2B5EF4-FFF2-40B4-BE49-F238E27FC236}">
                  <a16:creationId xmlns:a16="http://schemas.microsoft.com/office/drawing/2014/main" id="{357C52B8-E2F6-4B74-80A8-3F45C653AC80}"/>
                </a:ext>
              </a:extLst>
            </p:cNvPr>
            <p:cNvSpPr/>
            <p:nvPr/>
          </p:nvSpPr>
          <p:spPr>
            <a:xfrm>
              <a:off x="3518543" y="2348382"/>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1454"/>
                    <a:pt x="37032" y="15789"/>
                    <a:pt x="29951" y="15789"/>
                  </a:cubicBezTo>
                  <a:cubicBezTo>
                    <a:pt x="21454" y="15789"/>
                    <a:pt x="15789" y="22870"/>
                    <a:pt x="15789" y="29951"/>
                  </a:cubicBezTo>
                  <a:cubicBezTo>
                    <a:pt x="15789" y="37032"/>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7" name="Freeform: Shape 2376">
              <a:extLst>
                <a:ext uri="{FF2B5EF4-FFF2-40B4-BE49-F238E27FC236}">
                  <a16:creationId xmlns:a16="http://schemas.microsoft.com/office/drawing/2014/main" id="{A8C14E57-A790-4435-BB91-6544BFC04487}"/>
                </a:ext>
              </a:extLst>
            </p:cNvPr>
            <p:cNvSpPr/>
            <p:nvPr/>
          </p:nvSpPr>
          <p:spPr>
            <a:xfrm>
              <a:off x="3182531" y="2256011"/>
              <a:ext cx="56648" cy="56648"/>
            </a:xfrm>
            <a:custGeom>
              <a:avLst/>
              <a:gdLst>
                <a:gd name="connsiteX0" fmla="*/ 30132 w 56647"/>
                <a:gd name="connsiteY0" fmla="*/ 44113 h 56647"/>
                <a:gd name="connsiteX1" fmla="*/ 44294 w 56647"/>
                <a:gd name="connsiteY1" fmla="*/ 29951 h 56647"/>
                <a:gd name="connsiteX2" fmla="*/ 30132 w 56647"/>
                <a:gd name="connsiteY2" fmla="*/ 15789 h 56647"/>
                <a:gd name="connsiteX3" fmla="*/ 15970 w 56647"/>
                <a:gd name="connsiteY3" fmla="*/ 29951 h 56647"/>
                <a:gd name="connsiteX4" fmla="*/ 30132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0132" y="44113"/>
                  </a:moveTo>
                  <a:cubicBezTo>
                    <a:pt x="38629" y="44113"/>
                    <a:pt x="44294" y="37032"/>
                    <a:pt x="44294" y="29951"/>
                  </a:cubicBezTo>
                  <a:cubicBezTo>
                    <a:pt x="44294" y="21454"/>
                    <a:pt x="37213" y="15789"/>
                    <a:pt x="30132" y="15789"/>
                  </a:cubicBezTo>
                  <a:cubicBezTo>
                    <a:pt x="21635" y="15789"/>
                    <a:pt x="15970" y="22870"/>
                    <a:pt x="15970" y="29951"/>
                  </a:cubicBezTo>
                  <a:cubicBezTo>
                    <a:pt x="14554" y="38448"/>
                    <a:pt x="21635" y="44113"/>
                    <a:pt x="30132"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8" name="Freeform: Shape 2377">
              <a:extLst>
                <a:ext uri="{FF2B5EF4-FFF2-40B4-BE49-F238E27FC236}">
                  <a16:creationId xmlns:a16="http://schemas.microsoft.com/office/drawing/2014/main" id="{9187CB59-02C9-4C00-936D-60170BFF5561}"/>
                </a:ext>
              </a:extLst>
            </p:cNvPr>
            <p:cNvSpPr/>
            <p:nvPr/>
          </p:nvSpPr>
          <p:spPr>
            <a:xfrm>
              <a:off x="2851439" y="2252349"/>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7032"/>
                    <a:pt x="44113" y="29951"/>
                  </a:cubicBezTo>
                  <a:cubicBezTo>
                    <a:pt x="44113" y="21454"/>
                    <a:pt x="37032" y="15789"/>
                    <a:pt x="29951" y="15789"/>
                  </a:cubicBezTo>
                  <a:cubicBezTo>
                    <a:pt x="21454" y="15789"/>
                    <a:pt x="15789" y="22870"/>
                    <a:pt x="15789" y="29951"/>
                  </a:cubicBezTo>
                  <a:cubicBezTo>
                    <a:pt x="15789" y="37032"/>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79" name="Freeform: Shape 2378">
              <a:extLst>
                <a:ext uri="{FF2B5EF4-FFF2-40B4-BE49-F238E27FC236}">
                  <a16:creationId xmlns:a16="http://schemas.microsoft.com/office/drawing/2014/main" id="{4EE54A00-FCA9-4EA6-9AE2-808334FAFF8D}"/>
                </a:ext>
              </a:extLst>
            </p:cNvPr>
            <p:cNvSpPr/>
            <p:nvPr/>
          </p:nvSpPr>
          <p:spPr>
            <a:xfrm>
              <a:off x="3682599" y="2206616"/>
              <a:ext cx="84971" cy="84971"/>
            </a:xfrm>
            <a:custGeom>
              <a:avLst/>
              <a:gdLst>
                <a:gd name="connsiteX0" fmla="*/ 44113 w 84971"/>
                <a:gd name="connsiteY0" fmla="*/ 72437 h 84971"/>
                <a:gd name="connsiteX1" fmla="*/ 72437 w 84971"/>
                <a:gd name="connsiteY1" fmla="*/ 44113 h 84971"/>
                <a:gd name="connsiteX2" fmla="*/ 44113 w 84971"/>
                <a:gd name="connsiteY2" fmla="*/ 15789 h 84971"/>
                <a:gd name="connsiteX3" fmla="*/ 15789 w 84971"/>
                <a:gd name="connsiteY3" fmla="*/ 44113 h 84971"/>
                <a:gd name="connsiteX4" fmla="*/ 44113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113" y="72437"/>
                  </a:moveTo>
                  <a:cubicBezTo>
                    <a:pt x="59691" y="72437"/>
                    <a:pt x="72437" y="59691"/>
                    <a:pt x="72437" y="44113"/>
                  </a:cubicBezTo>
                  <a:cubicBezTo>
                    <a:pt x="72437" y="28535"/>
                    <a:pt x="59691" y="15789"/>
                    <a:pt x="44113" y="15789"/>
                  </a:cubicBezTo>
                  <a:cubicBezTo>
                    <a:pt x="28535" y="15789"/>
                    <a:pt x="15789" y="28535"/>
                    <a:pt x="15789" y="44113"/>
                  </a:cubicBezTo>
                  <a:cubicBezTo>
                    <a:pt x="15789" y="59691"/>
                    <a:pt x="28535" y="72437"/>
                    <a:pt x="44113"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0" name="Freeform: Shape 2379">
              <a:extLst>
                <a:ext uri="{FF2B5EF4-FFF2-40B4-BE49-F238E27FC236}">
                  <a16:creationId xmlns:a16="http://schemas.microsoft.com/office/drawing/2014/main" id="{65B1343E-2BCD-4368-8AEB-BE8D1CC49725}"/>
                </a:ext>
              </a:extLst>
            </p:cNvPr>
            <p:cNvSpPr/>
            <p:nvPr/>
          </p:nvSpPr>
          <p:spPr>
            <a:xfrm>
              <a:off x="3652641" y="2038090"/>
              <a:ext cx="42486" cy="42486"/>
            </a:xfrm>
            <a:custGeom>
              <a:avLst/>
              <a:gdLst>
                <a:gd name="connsiteX0" fmla="*/ 27337 w 42485"/>
                <a:gd name="connsiteY0" fmla="*/ 38448 h 42485"/>
                <a:gd name="connsiteX1" fmla="*/ 40083 w 42485"/>
                <a:gd name="connsiteY1" fmla="*/ 27118 h 42485"/>
                <a:gd name="connsiteX2" fmla="*/ 27337 w 42485"/>
                <a:gd name="connsiteY2" fmla="*/ 15789 h 42485"/>
                <a:gd name="connsiteX3" fmla="*/ 16007 w 42485"/>
                <a:gd name="connsiteY3" fmla="*/ 27118 h 42485"/>
                <a:gd name="connsiteX4" fmla="*/ 27337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38448"/>
                  </a:moveTo>
                  <a:cubicBezTo>
                    <a:pt x="34418" y="38448"/>
                    <a:pt x="40083" y="32783"/>
                    <a:pt x="40083" y="27118"/>
                  </a:cubicBezTo>
                  <a:cubicBezTo>
                    <a:pt x="40083" y="20038"/>
                    <a:pt x="34418" y="15789"/>
                    <a:pt x="27337" y="15789"/>
                  </a:cubicBezTo>
                  <a:cubicBezTo>
                    <a:pt x="20256" y="15789"/>
                    <a:pt x="16007" y="21454"/>
                    <a:pt x="16007" y="27118"/>
                  </a:cubicBezTo>
                  <a:cubicBezTo>
                    <a:pt x="14591" y="32783"/>
                    <a:pt x="20256" y="38448"/>
                    <a:pt x="27337"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1" name="Freeform: Shape 2380">
              <a:extLst>
                <a:ext uri="{FF2B5EF4-FFF2-40B4-BE49-F238E27FC236}">
                  <a16:creationId xmlns:a16="http://schemas.microsoft.com/office/drawing/2014/main" id="{A28FD1E0-04AF-41A5-B6C6-8B0B4EBB1487}"/>
                </a:ext>
              </a:extLst>
            </p:cNvPr>
            <p:cNvSpPr/>
            <p:nvPr/>
          </p:nvSpPr>
          <p:spPr>
            <a:xfrm>
              <a:off x="3866704" y="2121645"/>
              <a:ext cx="99133" cy="99133"/>
            </a:xfrm>
            <a:custGeom>
              <a:avLst/>
              <a:gdLst>
                <a:gd name="connsiteX0" fmla="*/ 55442 w 99133"/>
                <a:gd name="connsiteY0" fmla="*/ 95096 h 99133"/>
                <a:gd name="connsiteX1" fmla="*/ 95096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8102" y="95096"/>
                    <a:pt x="95096" y="76685"/>
                    <a:pt x="95096" y="55442"/>
                  </a:cubicBezTo>
                  <a:cubicBezTo>
                    <a:pt x="95096" y="32783"/>
                    <a:pt x="76685" y="15789"/>
                    <a:pt x="55442" y="15789"/>
                  </a:cubicBezTo>
                  <a:cubicBezTo>
                    <a:pt x="32783" y="15789"/>
                    <a:pt x="15789" y="34199"/>
                    <a:pt x="15789" y="55442"/>
                  </a:cubicBezTo>
                  <a:cubicBezTo>
                    <a:pt x="15789" y="78101"/>
                    <a:pt x="32783" y="95096"/>
                    <a:pt x="55442" y="950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2" name="Freeform: Shape 2381">
              <a:extLst>
                <a:ext uri="{FF2B5EF4-FFF2-40B4-BE49-F238E27FC236}">
                  <a16:creationId xmlns:a16="http://schemas.microsoft.com/office/drawing/2014/main" id="{174CF808-8675-4529-BB77-4AA2322676B8}"/>
                </a:ext>
              </a:extLst>
            </p:cNvPr>
            <p:cNvSpPr/>
            <p:nvPr/>
          </p:nvSpPr>
          <p:spPr>
            <a:xfrm>
              <a:off x="3325719" y="2232108"/>
              <a:ext cx="70810" cy="70810"/>
            </a:xfrm>
            <a:custGeom>
              <a:avLst/>
              <a:gdLst>
                <a:gd name="connsiteX0" fmla="*/ 39864 w 70809"/>
                <a:gd name="connsiteY0" fmla="*/ 63939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39" y="52610"/>
                    <a:pt x="63939" y="39864"/>
                  </a:cubicBezTo>
                  <a:cubicBezTo>
                    <a:pt x="63939" y="27118"/>
                    <a:pt x="52610" y="15789"/>
                    <a:pt x="39864" y="15789"/>
                  </a:cubicBezTo>
                  <a:cubicBezTo>
                    <a:pt x="27119" y="15789"/>
                    <a:pt x="15789" y="27118"/>
                    <a:pt x="15789" y="39864"/>
                  </a:cubicBezTo>
                  <a:cubicBezTo>
                    <a:pt x="15789" y="52610"/>
                    <a:pt x="27119" y="63939"/>
                    <a:pt x="3986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3" name="Freeform: Shape 2382">
              <a:extLst>
                <a:ext uri="{FF2B5EF4-FFF2-40B4-BE49-F238E27FC236}">
                  <a16:creationId xmlns:a16="http://schemas.microsoft.com/office/drawing/2014/main" id="{4F2EAA92-06D8-46F0-824D-5A6BA6845BE0}"/>
                </a:ext>
              </a:extLst>
            </p:cNvPr>
            <p:cNvSpPr/>
            <p:nvPr/>
          </p:nvSpPr>
          <p:spPr>
            <a:xfrm>
              <a:off x="3365372" y="2644219"/>
              <a:ext cx="70810" cy="70810"/>
            </a:xfrm>
            <a:custGeom>
              <a:avLst/>
              <a:gdLst>
                <a:gd name="connsiteX0" fmla="*/ 39864 w 70809"/>
                <a:gd name="connsiteY0" fmla="*/ 63940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2610" y="63940"/>
                    <a:pt x="63939" y="52610"/>
                    <a:pt x="63939" y="39864"/>
                  </a:cubicBezTo>
                  <a:cubicBezTo>
                    <a:pt x="63939" y="27119"/>
                    <a:pt x="52610" y="15789"/>
                    <a:pt x="39864" y="15789"/>
                  </a:cubicBezTo>
                  <a:cubicBezTo>
                    <a:pt x="27119" y="15789"/>
                    <a:pt x="15789" y="27119"/>
                    <a:pt x="15789" y="39864"/>
                  </a:cubicBezTo>
                  <a:cubicBezTo>
                    <a:pt x="15789" y="52610"/>
                    <a:pt x="27119"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4" name="Freeform: Shape 2383">
              <a:extLst>
                <a:ext uri="{FF2B5EF4-FFF2-40B4-BE49-F238E27FC236}">
                  <a16:creationId xmlns:a16="http://schemas.microsoft.com/office/drawing/2014/main" id="{AD401AD1-81B1-4C78-A225-1008F1B3EABC}"/>
                </a:ext>
              </a:extLst>
            </p:cNvPr>
            <p:cNvSpPr/>
            <p:nvPr/>
          </p:nvSpPr>
          <p:spPr>
            <a:xfrm>
              <a:off x="2786150" y="2989770"/>
              <a:ext cx="99133" cy="99133"/>
            </a:xfrm>
            <a:custGeom>
              <a:avLst/>
              <a:gdLst>
                <a:gd name="connsiteX0" fmla="*/ 49778 w 99133"/>
                <a:gd name="connsiteY0" fmla="*/ 15789 h 99133"/>
                <a:gd name="connsiteX1" fmla="*/ 83766 w 99133"/>
                <a:gd name="connsiteY1" fmla="*/ 49777 h 99133"/>
                <a:gd name="connsiteX2" fmla="*/ 49778 w 99133"/>
                <a:gd name="connsiteY2" fmla="*/ 83766 h 99133"/>
                <a:gd name="connsiteX3" fmla="*/ 15789 w 99133"/>
                <a:gd name="connsiteY3" fmla="*/ 49777 h 99133"/>
                <a:gd name="connsiteX4" fmla="*/ 49778 w 99133"/>
                <a:gd name="connsiteY4" fmla="*/ 15789 h 99133"/>
                <a:gd name="connsiteX5" fmla="*/ 49778 w 99133"/>
                <a:gd name="connsiteY5" fmla="*/ 15789 h 99133"/>
                <a:gd name="connsiteX6" fmla="*/ 49778 w 99133"/>
                <a:gd name="connsiteY6" fmla="*/ 31367 h 99133"/>
                <a:gd name="connsiteX7" fmla="*/ 31367 w 99133"/>
                <a:gd name="connsiteY7" fmla="*/ 49777 h 99133"/>
                <a:gd name="connsiteX8" fmla="*/ 49778 w 99133"/>
                <a:gd name="connsiteY8" fmla="*/ 68188 h 99133"/>
                <a:gd name="connsiteX9" fmla="*/ 68188 w 99133"/>
                <a:gd name="connsiteY9" fmla="*/ 49777 h 99133"/>
                <a:gd name="connsiteX10" fmla="*/ 49778 w 99133"/>
                <a:gd name="connsiteY10" fmla="*/ 31367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49778" y="15789"/>
                  </a:moveTo>
                  <a:cubicBezTo>
                    <a:pt x="68188" y="15789"/>
                    <a:pt x="83766" y="31367"/>
                    <a:pt x="83766" y="49777"/>
                  </a:cubicBezTo>
                  <a:cubicBezTo>
                    <a:pt x="83766" y="68188"/>
                    <a:pt x="68188" y="83766"/>
                    <a:pt x="49778" y="83766"/>
                  </a:cubicBezTo>
                  <a:cubicBezTo>
                    <a:pt x="31367" y="83766"/>
                    <a:pt x="15789" y="68188"/>
                    <a:pt x="15789" y="49777"/>
                  </a:cubicBezTo>
                  <a:cubicBezTo>
                    <a:pt x="15789" y="31367"/>
                    <a:pt x="29951" y="15789"/>
                    <a:pt x="49778" y="15789"/>
                  </a:cubicBezTo>
                  <a:lnTo>
                    <a:pt x="49778" y="15789"/>
                  </a:lnTo>
                  <a:close/>
                  <a:moveTo>
                    <a:pt x="49778" y="31367"/>
                  </a:moveTo>
                  <a:cubicBezTo>
                    <a:pt x="39864" y="31367"/>
                    <a:pt x="31367" y="39864"/>
                    <a:pt x="31367" y="49777"/>
                  </a:cubicBezTo>
                  <a:cubicBezTo>
                    <a:pt x="31367" y="59691"/>
                    <a:pt x="39864" y="68188"/>
                    <a:pt x="49778" y="68188"/>
                  </a:cubicBezTo>
                  <a:cubicBezTo>
                    <a:pt x="59691" y="68188"/>
                    <a:pt x="68188" y="59691"/>
                    <a:pt x="68188" y="49777"/>
                  </a:cubicBezTo>
                  <a:cubicBezTo>
                    <a:pt x="68188" y="39864"/>
                    <a:pt x="59691" y="31367"/>
                    <a:pt x="49778" y="3136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5" name="Freeform: Shape 2384">
              <a:extLst>
                <a:ext uri="{FF2B5EF4-FFF2-40B4-BE49-F238E27FC236}">
                  <a16:creationId xmlns:a16="http://schemas.microsoft.com/office/drawing/2014/main" id="{F034A4DD-104E-4C35-A387-8DE5F6E5FF22}"/>
                </a:ext>
              </a:extLst>
            </p:cNvPr>
            <p:cNvSpPr/>
            <p:nvPr/>
          </p:nvSpPr>
          <p:spPr>
            <a:xfrm>
              <a:off x="2464592" y="3185204"/>
              <a:ext cx="99133" cy="99133"/>
            </a:xfrm>
            <a:custGeom>
              <a:avLst/>
              <a:gdLst>
                <a:gd name="connsiteX0" fmla="*/ 51276 w 99133"/>
                <a:gd name="connsiteY0" fmla="*/ 86599 h 99133"/>
                <a:gd name="connsiteX1" fmla="*/ 86681 w 99133"/>
                <a:gd name="connsiteY1" fmla="*/ 51194 h 99133"/>
                <a:gd name="connsiteX2" fmla="*/ 51276 w 99133"/>
                <a:gd name="connsiteY2" fmla="*/ 15789 h 99133"/>
                <a:gd name="connsiteX3" fmla="*/ 15872 w 99133"/>
                <a:gd name="connsiteY3" fmla="*/ 51194 h 99133"/>
                <a:gd name="connsiteX4" fmla="*/ 51276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276" y="86599"/>
                  </a:moveTo>
                  <a:cubicBezTo>
                    <a:pt x="71103" y="86599"/>
                    <a:pt x="86681" y="71021"/>
                    <a:pt x="86681" y="51194"/>
                  </a:cubicBezTo>
                  <a:cubicBezTo>
                    <a:pt x="86681" y="31367"/>
                    <a:pt x="71103" y="15789"/>
                    <a:pt x="51276" y="15789"/>
                  </a:cubicBezTo>
                  <a:cubicBezTo>
                    <a:pt x="31450" y="15789"/>
                    <a:pt x="15872" y="31367"/>
                    <a:pt x="15872" y="51194"/>
                  </a:cubicBezTo>
                  <a:cubicBezTo>
                    <a:pt x="14455" y="71021"/>
                    <a:pt x="31450" y="86599"/>
                    <a:pt x="51276"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6" name="Freeform: Shape 2385">
              <a:extLst>
                <a:ext uri="{FF2B5EF4-FFF2-40B4-BE49-F238E27FC236}">
                  <a16:creationId xmlns:a16="http://schemas.microsoft.com/office/drawing/2014/main" id="{CCA05F03-CE96-45AE-9C59-6BD5FB549B75}"/>
                </a:ext>
              </a:extLst>
            </p:cNvPr>
            <p:cNvSpPr/>
            <p:nvPr/>
          </p:nvSpPr>
          <p:spPr>
            <a:xfrm>
              <a:off x="3181267" y="3022342"/>
              <a:ext cx="99133" cy="99133"/>
            </a:xfrm>
            <a:custGeom>
              <a:avLst/>
              <a:gdLst>
                <a:gd name="connsiteX0" fmla="*/ 86599 w 99133"/>
                <a:gd name="connsiteY0" fmla="*/ 51194 h 99133"/>
                <a:gd name="connsiteX1" fmla="*/ 51194 w 99133"/>
                <a:gd name="connsiteY1" fmla="*/ 86598 h 99133"/>
                <a:gd name="connsiteX2" fmla="*/ 15789 w 99133"/>
                <a:gd name="connsiteY2" fmla="*/ 51194 h 99133"/>
                <a:gd name="connsiteX3" fmla="*/ 51194 w 99133"/>
                <a:gd name="connsiteY3" fmla="*/ 15789 h 99133"/>
                <a:gd name="connsiteX4" fmla="*/ 86599 w 99133"/>
                <a:gd name="connsiteY4" fmla="*/ 51194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86599" y="51194"/>
                  </a:moveTo>
                  <a:cubicBezTo>
                    <a:pt x="86599" y="70747"/>
                    <a:pt x="70747" y="86598"/>
                    <a:pt x="51194" y="86598"/>
                  </a:cubicBezTo>
                  <a:cubicBezTo>
                    <a:pt x="31640" y="86598"/>
                    <a:pt x="15789" y="70747"/>
                    <a:pt x="15789" y="51194"/>
                  </a:cubicBezTo>
                  <a:cubicBezTo>
                    <a:pt x="15789" y="31640"/>
                    <a:pt x="31640" y="15789"/>
                    <a:pt x="51194" y="15789"/>
                  </a:cubicBezTo>
                  <a:cubicBezTo>
                    <a:pt x="70747" y="15789"/>
                    <a:pt x="86599" y="31640"/>
                    <a:pt x="86599" y="5119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7" name="Freeform: Shape 2386">
              <a:extLst>
                <a:ext uri="{FF2B5EF4-FFF2-40B4-BE49-F238E27FC236}">
                  <a16:creationId xmlns:a16="http://schemas.microsoft.com/office/drawing/2014/main" id="{55927ED2-0ED1-4B71-82FC-3B19DCD28517}"/>
                </a:ext>
              </a:extLst>
            </p:cNvPr>
            <p:cNvSpPr/>
            <p:nvPr/>
          </p:nvSpPr>
          <p:spPr>
            <a:xfrm>
              <a:off x="2628953" y="3373558"/>
              <a:ext cx="70810" cy="70810"/>
            </a:xfrm>
            <a:custGeom>
              <a:avLst/>
              <a:gdLst>
                <a:gd name="connsiteX0" fmla="*/ 39864 w 70809"/>
                <a:gd name="connsiteY0" fmla="*/ 15789 h 70809"/>
                <a:gd name="connsiteX1" fmla="*/ 63939 w 70809"/>
                <a:gd name="connsiteY1" fmla="*/ 39864 h 70809"/>
                <a:gd name="connsiteX2" fmla="*/ 39864 w 70809"/>
                <a:gd name="connsiteY2" fmla="*/ 63940 h 70809"/>
                <a:gd name="connsiteX3" fmla="*/ 15789 w 70809"/>
                <a:gd name="connsiteY3" fmla="*/ 39864 h 70809"/>
                <a:gd name="connsiteX4" fmla="*/ 39864 w 70809"/>
                <a:gd name="connsiteY4" fmla="*/ 15789 h 70809"/>
                <a:gd name="connsiteX5" fmla="*/ 39864 w 70809"/>
                <a:gd name="connsiteY5" fmla="*/ 15789 h 70809"/>
                <a:gd name="connsiteX6" fmla="*/ 39864 w 70809"/>
                <a:gd name="connsiteY6" fmla="*/ 27119 h 70809"/>
                <a:gd name="connsiteX7" fmla="*/ 25702 w 70809"/>
                <a:gd name="connsiteY7" fmla="*/ 41280 h 70809"/>
                <a:gd name="connsiteX8" fmla="*/ 39864 w 70809"/>
                <a:gd name="connsiteY8" fmla="*/ 55442 h 70809"/>
                <a:gd name="connsiteX9" fmla="*/ 54026 w 70809"/>
                <a:gd name="connsiteY9" fmla="*/ 41280 h 70809"/>
                <a:gd name="connsiteX10" fmla="*/ 39864 w 70809"/>
                <a:gd name="connsiteY10" fmla="*/ 27119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39864" y="15789"/>
                  </a:moveTo>
                  <a:cubicBezTo>
                    <a:pt x="52610" y="15789"/>
                    <a:pt x="63939" y="27119"/>
                    <a:pt x="63939" y="39864"/>
                  </a:cubicBezTo>
                  <a:cubicBezTo>
                    <a:pt x="63939" y="52610"/>
                    <a:pt x="52610" y="63940"/>
                    <a:pt x="39864" y="63940"/>
                  </a:cubicBezTo>
                  <a:cubicBezTo>
                    <a:pt x="27119" y="63940"/>
                    <a:pt x="15789" y="52610"/>
                    <a:pt x="15789" y="39864"/>
                  </a:cubicBezTo>
                  <a:cubicBezTo>
                    <a:pt x="15789" y="27119"/>
                    <a:pt x="25702" y="15789"/>
                    <a:pt x="39864" y="15789"/>
                  </a:cubicBezTo>
                  <a:lnTo>
                    <a:pt x="39864" y="15789"/>
                  </a:lnTo>
                  <a:close/>
                  <a:moveTo>
                    <a:pt x="39864" y="27119"/>
                  </a:moveTo>
                  <a:cubicBezTo>
                    <a:pt x="32783" y="27119"/>
                    <a:pt x="25702" y="32783"/>
                    <a:pt x="25702" y="41280"/>
                  </a:cubicBezTo>
                  <a:cubicBezTo>
                    <a:pt x="25702" y="48361"/>
                    <a:pt x="31367" y="55442"/>
                    <a:pt x="39864" y="55442"/>
                  </a:cubicBezTo>
                  <a:cubicBezTo>
                    <a:pt x="46945" y="55442"/>
                    <a:pt x="54026" y="49778"/>
                    <a:pt x="54026" y="41280"/>
                  </a:cubicBezTo>
                  <a:cubicBezTo>
                    <a:pt x="52610" y="32783"/>
                    <a:pt x="46945" y="27119"/>
                    <a:pt x="3986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8" name="Freeform: Shape 2387">
              <a:extLst>
                <a:ext uri="{FF2B5EF4-FFF2-40B4-BE49-F238E27FC236}">
                  <a16:creationId xmlns:a16="http://schemas.microsoft.com/office/drawing/2014/main" id="{9464A2FA-C8F9-4885-BE90-2E2C447DE0A6}"/>
                </a:ext>
              </a:extLst>
            </p:cNvPr>
            <p:cNvSpPr/>
            <p:nvPr/>
          </p:nvSpPr>
          <p:spPr>
            <a:xfrm>
              <a:off x="2643115" y="2831156"/>
              <a:ext cx="56648" cy="56648"/>
            </a:xfrm>
            <a:custGeom>
              <a:avLst/>
              <a:gdLst>
                <a:gd name="connsiteX0" fmla="*/ 34200 w 56647"/>
                <a:gd name="connsiteY0" fmla="*/ 52610 h 56647"/>
                <a:gd name="connsiteX1" fmla="*/ 52610 w 56647"/>
                <a:gd name="connsiteY1" fmla="*/ 34200 h 56647"/>
                <a:gd name="connsiteX2" fmla="*/ 34200 w 56647"/>
                <a:gd name="connsiteY2" fmla="*/ 15789 h 56647"/>
                <a:gd name="connsiteX3" fmla="*/ 15789 w 56647"/>
                <a:gd name="connsiteY3" fmla="*/ 34200 h 56647"/>
                <a:gd name="connsiteX4" fmla="*/ 34200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200" y="52610"/>
                  </a:moveTo>
                  <a:cubicBezTo>
                    <a:pt x="44113" y="52610"/>
                    <a:pt x="52610" y="44113"/>
                    <a:pt x="52610" y="34200"/>
                  </a:cubicBezTo>
                  <a:cubicBezTo>
                    <a:pt x="52610" y="24286"/>
                    <a:pt x="44113" y="15789"/>
                    <a:pt x="34200" y="15789"/>
                  </a:cubicBezTo>
                  <a:cubicBezTo>
                    <a:pt x="24286" y="15789"/>
                    <a:pt x="15789" y="24286"/>
                    <a:pt x="15789" y="34200"/>
                  </a:cubicBezTo>
                  <a:cubicBezTo>
                    <a:pt x="17205" y="44113"/>
                    <a:pt x="24286" y="52610"/>
                    <a:pt x="34200"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89" name="Freeform: Shape 2388">
              <a:extLst>
                <a:ext uri="{FF2B5EF4-FFF2-40B4-BE49-F238E27FC236}">
                  <a16:creationId xmlns:a16="http://schemas.microsoft.com/office/drawing/2014/main" id="{9B1E2134-1106-425C-BD5D-B5DE6CF450DB}"/>
                </a:ext>
              </a:extLst>
            </p:cNvPr>
            <p:cNvSpPr/>
            <p:nvPr/>
          </p:nvSpPr>
          <p:spPr>
            <a:xfrm>
              <a:off x="3008492" y="3045001"/>
              <a:ext cx="56648" cy="56648"/>
            </a:xfrm>
            <a:custGeom>
              <a:avLst/>
              <a:gdLst>
                <a:gd name="connsiteX0" fmla="*/ 34199 w 56647"/>
                <a:gd name="connsiteY0" fmla="*/ 52610 h 56647"/>
                <a:gd name="connsiteX1" fmla="*/ 52610 w 56647"/>
                <a:gd name="connsiteY1" fmla="*/ 34200 h 56647"/>
                <a:gd name="connsiteX2" fmla="*/ 34199 w 56647"/>
                <a:gd name="connsiteY2" fmla="*/ 15789 h 56647"/>
                <a:gd name="connsiteX3" fmla="*/ 15789 w 56647"/>
                <a:gd name="connsiteY3" fmla="*/ 34200 h 56647"/>
                <a:gd name="connsiteX4" fmla="*/ 34199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199" y="52610"/>
                  </a:moveTo>
                  <a:cubicBezTo>
                    <a:pt x="44113" y="52610"/>
                    <a:pt x="52610" y="44113"/>
                    <a:pt x="52610" y="34200"/>
                  </a:cubicBezTo>
                  <a:cubicBezTo>
                    <a:pt x="52610" y="24286"/>
                    <a:pt x="44113" y="15789"/>
                    <a:pt x="34199" y="15789"/>
                  </a:cubicBezTo>
                  <a:cubicBezTo>
                    <a:pt x="24286" y="15789"/>
                    <a:pt x="15789" y="24286"/>
                    <a:pt x="15789" y="34200"/>
                  </a:cubicBezTo>
                  <a:cubicBezTo>
                    <a:pt x="15789" y="45529"/>
                    <a:pt x="24286" y="52610"/>
                    <a:pt x="34199"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0" name="Freeform: Shape 2389">
              <a:extLst>
                <a:ext uri="{FF2B5EF4-FFF2-40B4-BE49-F238E27FC236}">
                  <a16:creationId xmlns:a16="http://schemas.microsoft.com/office/drawing/2014/main" id="{DF3FA466-707C-4BEB-9163-9425C7F879C6}"/>
                </a:ext>
              </a:extLst>
            </p:cNvPr>
            <p:cNvSpPr/>
            <p:nvPr/>
          </p:nvSpPr>
          <p:spPr>
            <a:xfrm>
              <a:off x="3290314" y="3202199"/>
              <a:ext cx="56648" cy="56648"/>
            </a:xfrm>
            <a:custGeom>
              <a:avLst/>
              <a:gdLst>
                <a:gd name="connsiteX0" fmla="*/ 34200 w 56647"/>
                <a:gd name="connsiteY0" fmla="*/ 52610 h 56647"/>
                <a:gd name="connsiteX1" fmla="*/ 52610 w 56647"/>
                <a:gd name="connsiteY1" fmla="*/ 34199 h 56647"/>
                <a:gd name="connsiteX2" fmla="*/ 34200 w 56647"/>
                <a:gd name="connsiteY2" fmla="*/ 15789 h 56647"/>
                <a:gd name="connsiteX3" fmla="*/ 15789 w 56647"/>
                <a:gd name="connsiteY3" fmla="*/ 34199 h 56647"/>
                <a:gd name="connsiteX4" fmla="*/ 34200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200" y="52610"/>
                  </a:moveTo>
                  <a:cubicBezTo>
                    <a:pt x="44113" y="52610"/>
                    <a:pt x="52610" y="44113"/>
                    <a:pt x="52610" y="34199"/>
                  </a:cubicBezTo>
                  <a:cubicBezTo>
                    <a:pt x="52610" y="24286"/>
                    <a:pt x="44113" y="15789"/>
                    <a:pt x="34200" y="15789"/>
                  </a:cubicBezTo>
                  <a:cubicBezTo>
                    <a:pt x="24286" y="15789"/>
                    <a:pt x="15789" y="24286"/>
                    <a:pt x="15789" y="34199"/>
                  </a:cubicBezTo>
                  <a:cubicBezTo>
                    <a:pt x="15789" y="44113"/>
                    <a:pt x="24286" y="52610"/>
                    <a:pt x="34200"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1" name="Freeform: Shape 2390">
              <a:extLst>
                <a:ext uri="{FF2B5EF4-FFF2-40B4-BE49-F238E27FC236}">
                  <a16:creationId xmlns:a16="http://schemas.microsoft.com/office/drawing/2014/main" id="{1DA0D1FE-AC46-4743-926B-D2DF5845FD39}"/>
                </a:ext>
              </a:extLst>
            </p:cNvPr>
            <p:cNvSpPr/>
            <p:nvPr/>
          </p:nvSpPr>
          <p:spPr>
            <a:xfrm>
              <a:off x="3331383" y="2896301"/>
              <a:ext cx="56648" cy="56648"/>
            </a:xfrm>
            <a:custGeom>
              <a:avLst/>
              <a:gdLst>
                <a:gd name="connsiteX0" fmla="*/ 34200 w 56647"/>
                <a:gd name="connsiteY0" fmla="*/ 52610 h 56647"/>
                <a:gd name="connsiteX1" fmla="*/ 52610 w 56647"/>
                <a:gd name="connsiteY1" fmla="*/ 34200 h 56647"/>
                <a:gd name="connsiteX2" fmla="*/ 34200 w 56647"/>
                <a:gd name="connsiteY2" fmla="*/ 15789 h 56647"/>
                <a:gd name="connsiteX3" fmla="*/ 15789 w 56647"/>
                <a:gd name="connsiteY3" fmla="*/ 34200 h 56647"/>
                <a:gd name="connsiteX4" fmla="*/ 34200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200" y="52610"/>
                  </a:moveTo>
                  <a:cubicBezTo>
                    <a:pt x="44113" y="52610"/>
                    <a:pt x="52610" y="44113"/>
                    <a:pt x="52610" y="34200"/>
                  </a:cubicBezTo>
                  <a:cubicBezTo>
                    <a:pt x="52610" y="24286"/>
                    <a:pt x="44113" y="15789"/>
                    <a:pt x="34200" y="15789"/>
                  </a:cubicBezTo>
                  <a:cubicBezTo>
                    <a:pt x="24286" y="15789"/>
                    <a:pt x="15789" y="24286"/>
                    <a:pt x="15789" y="34200"/>
                  </a:cubicBezTo>
                  <a:cubicBezTo>
                    <a:pt x="15789" y="44113"/>
                    <a:pt x="24286" y="52610"/>
                    <a:pt x="34200"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2" name="Freeform: Shape 2391">
              <a:extLst>
                <a:ext uri="{FF2B5EF4-FFF2-40B4-BE49-F238E27FC236}">
                  <a16:creationId xmlns:a16="http://schemas.microsoft.com/office/drawing/2014/main" id="{43B62568-0032-47F0-B529-3C586E624A3B}"/>
                </a:ext>
              </a:extLst>
            </p:cNvPr>
            <p:cNvSpPr/>
            <p:nvPr/>
          </p:nvSpPr>
          <p:spPr>
            <a:xfrm>
              <a:off x="3873603" y="2411964"/>
              <a:ext cx="56648" cy="56648"/>
            </a:xfrm>
            <a:custGeom>
              <a:avLst/>
              <a:gdLst>
                <a:gd name="connsiteX0" fmla="*/ 28717 w 56647"/>
                <a:gd name="connsiteY0" fmla="*/ 41280 h 56647"/>
                <a:gd name="connsiteX1" fmla="*/ 41463 w 56647"/>
                <a:gd name="connsiteY1" fmla="*/ 28535 h 56647"/>
                <a:gd name="connsiteX2" fmla="*/ 28717 w 56647"/>
                <a:gd name="connsiteY2" fmla="*/ 15789 h 56647"/>
                <a:gd name="connsiteX3" fmla="*/ 15971 w 56647"/>
                <a:gd name="connsiteY3" fmla="*/ 28535 h 56647"/>
                <a:gd name="connsiteX4" fmla="*/ 28717 w 56647"/>
                <a:gd name="connsiteY4" fmla="*/ 4128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8717" y="41280"/>
                  </a:moveTo>
                  <a:cubicBezTo>
                    <a:pt x="35798" y="41280"/>
                    <a:pt x="41463" y="35616"/>
                    <a:pt x="41463" y="28535"/>
                  </a:cubicBezTo>
                  <a:cubicBezTo>
                    <a:pt x="41463" y="21454"/>
                    <a:pt x="35798" y="15789"/>
                    <a:pt x="28717" y="15789"/>
                  </a:cubicBezTo>
                  <a:cubicBezTo>
                    <a:pt x="21636" y="15789"/>
                    <a:pt x="15971" y="21454"/>
                    <a:pt x="15971" y="28535"/>
                  </a:cubicBezTo>
                  <a:cubicBezTo>
                    <a:pt x="14555" y="35616"/>
                    <a:pt x="21636" y="41280"/>
                    <a:pt x="28717" y="4128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3" name="Freeform: Shape 2392">
              <a:extLst>
                <a:ext uri="{FF2B5EF4-FFF2-40B4-BE49-F238E27FC236}">
                  <a16:creationId xmlns:a16="http://schemas.microsoft.com/office/drawing/2014/main" id="{4C8603EE-EB86-41AD-8F01-B02F6087B8A1}"/>
                </a:ext>
              </a:extLst>
            </p:cNvPr>
            <p:cNvSpPr/>
            <p:nvPr/>
          </p:nvSpPr>
          <p:spPr>
            <a:xfrm>
              <a:off x="4159855" y="2298669"/>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9"/>
                  </a:cubicBezTo>
                  <a:cubicBezTo>
                    <a:pt x="38448" y="21454"/>
                    <a:pt x="32783" y="15789"/>
                    <a:pt x="27119" y="15789"/>
                  </a:cubicBezTo>
                  <a:cubicBezTo>
                    <a:pt x="21454" y="15789"/>
                    <a:pt x="15789" y="21454"/>
                    <a:pt x="15789" y="27119"/>
                  </a:cubicBezTo>
                  <a:cubicBezTo>
                    <a:pt x="15789" y="34200"/>
                    <a:pt x="20038"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4" name="Freeform: Shape 2393">
              <a:extLst>
                <a:ext uri="{FF2B5EF4-FFF2-40B4-BE49-F238E27FC236}">
                  <a16:creationId xmlns:a16="http://schemas.microsoft.com/office/drawing/2014/main" id="{CEF61C6E-A6F7-4D85-99F9-2DB5E4B19DE5}"/>
                </a:ext>
              </a:extLst>
            </p:cNvPr>
            <p:cNvSpPr/>
            <p:nvPr/>
          </p:nvSpPr>
          <p:spPr>
            <a:xfrm>
              <a:off x="4022207" y="2297253"/>
              <a:ext cx="42486" cy="42486"/>
            </a:xfrm>
            <a:custGeom>
              <a:avLst/>
              <a:gdLst>
                <a:gd name="connsiteX0" fmla="*/ 23148 w 42485"/>
                <a:gd name="connsiteY0" fmla="*/ 29951 h 42485"/>
                <a:gd name="connsiteX1" fmla="*/ 30229 w 42485"/>
                <a:gd name="connsiteY1" fmla="*/ 22870 h 42485"/>
                <a:gd name="connsiteX2" fmla="*/ 23148 w 42485"/>
                <a:gd name="connsiteY2" fmla="*/ 15789 h 42485"/>
                <a:gd name="connsiteX3" fmla="*/ 16067 w 42485"/>
                <a:gd name="connsiteY3" fmla="*/ 22870 h 42485"/>
                <a:gd name="connsiteX4" fmla="*/ 23148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148" y="29951"/>
                  </a:moveTo>
                  <a:cubicBezTo>
                    <a:pt x="27396" y="29951"/>
                    <a:pt x="30229" y="27119"/>
                    <a:pt x="30229" y="22870"/>
                  </a:cubicBezTo>
                  <a:cubicBezTo>
                    <a:pt x="30229" y="18621"/>
                    <a:pt x="27396" y="15789"/>
                    <a:pt x="23148" y="15789"/>
                  </a:cubicBezTo>
                  <a:cubicBezTo>
                    <a:pt x="18899" y="15789"/>
                    <a:pt x="16067" y="18621"/>
                    <a:pt x="16067" y="22870"/>
                  </a:cubicBezTo>
                  <a:cubicBezTo>
                    <a:pt x="14651" y="25702"/>
                    <a:pt x="18899" y="29951"/>
                    <a:pt x="23148"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5" name="Freeform: Shape 2394">
              <a:extLst>
                <a:ext uri="{FF2B5EF4-FFF2-40B4-BE49-F238E27FC236}">
                  <a16:creationId xmlns:a16="http://schemas.microsoft.com/office/drawing/2014/main" id="{7B10048A-2361-43A3-A9EC-95BF7DEFC30D}"/>
                </a:ext>
              </a:extLst>
            </p:cNvPr>
            <p:cNvSpPr/>
            <p:nvPr/>
          </p:nvSpPr>
          <p:spPr>
            <a:xfrm>
              <a:off x="4049393" y="2097570"/>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7205" y="37032"/>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6" name="Freeform: Shape 2395">
              <a:extLst>
                <a:ext uri="{FF2B5EF4-FFF2-40B4-BE49-F238E27FC236}">
                  <a16:creationId xmlns:a16="http://schemas.microsoft.com/office/drawing/2014/main" id="{6142E6E5-601C-4ABC-9ACE-DAD16140124F}"/>
                </a:ext>
              </a:extLst>
            </p:cNvPr>
            <p:cNvSpPr/>
            <p:nvPr/>
          </p:nvSpPr>
          <p:spPr>
            <a:xfrm>
              <a:off x="5078964" y="1073664"/>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1"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7" name="Freeform: Shape 2396">
              <a:extLst>
                <a:ext uri="{FF2B5EF4-FFF2-40B4-BE49-F238E27FC236}">
                  <a16:creationId xmlns:a16="http://schemas.microsoft.com/office/drawing/2014/main" id="{BE2AE66F-638A-4824-BCA9-803FDEF45C7D}"/>
                </a:ext>
              </a:extLst>
            </p:cNvPr>
            <p:cNvSpPr/>
            <p:nvPr/>
          </p:nvSpPr>
          <p:spPr>
            <a:xfrm>
              <a:off x="4815552" y="885310"/>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2697" y="49778"/>
                    <a:pt x="49778" y="41280"/>
                    <a:pt x="49778" y="32783"/>
                  </a:cubicBezTo>
                  <a:cubicBezTo>
                    <a:pt x="49778" y="22870"/>
                    <a:pt x="41280" y="15789"/>
                    <a:pt x="32783" y="15789"/>
                  </a:cubicBezTo>
                  <a:cubicBezTo>
                    <a:pt x="22870" y="15789"/>
                    <a:pt x="15789" y="24286"/>
                    <a:pt x="15789" y="32783"/>
                  </a:cubicBezTo>
                  <a:cubicBezTo>
                    <a:pt x="15789" y="41280"/>
                    <a:pt x="22870"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8" name="Freeform: Shape 2397">
              <a:extLst>
                <a:ext uri="{FF2B5EF4-FFF2-40B4-BE49-F238E27FC236}">
                  <a16:creationId xmlns:a16="http://schemas.microsoft.com/office/drawing/2014/main" id="{8F4FE83F-9DD8-489D-A688-4C14DA470B3B}"/>
                </a:ext>
              </a:extLst>
            </p:cNvPr>
            <p:cNvSpPr/>
            <p:nvPr/>
          </p:nvSpPr>
          <p:spPr>
            <a:xfrm>
              <a:off x="2847046" y="2824076"/>
              <a:ext cx="70810" cy="70810"/>
            </a:xfrm>
            <a:custGeom>
              <a:avLst/>
              <a:gdLst>
                <a:gd name="connsiteX0" fmla="*/ 39864 w 70809"/>
                <a:gd name="connsiteY0" fmla="*/ 63940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4026" y="63940"/>
                    <a:pt x="63940" y="52610"/>
                    <a:pt x="63940" y="39864"/>
                  </a:cubicBezTo>
                  <a:cubicBezTo>
                    <a:pt x="63940" y="25703"/>
                    <a:pt x="52610" y="15789"/>
                    <a:pt x="39864" y="15789"/>
                  </a:cubicBezTo>
                  <a:cubicBezTo>
                    <a:pt x="25702" y="15789"/>
                    <a:pt x="15789" y="27119"/>
                    <a:pt x="15789" y="39864"/>
                  </a:cubicBezTo>
                  <a:cubicBezTo>
                    <a:pt x="15789" y="52610"/>
                    <a:pt x="27119"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399" name="Freeform: Shape 2398">
              <a:extLst>
                <a:ext uri="{FF2B5EF4-FFF2-40B4-BE49-F238E27FC236}">
                  <a16:creationId xmlns:a16="http://schemas.microsoft.com/office/drawing/2014/main" id="{6AE1803B-1C07-4446-99C8-A6C2C4CD7537}"/>
                </a:ext>
              </a:extLst>
            </p:cNvPr>
            <p:cNvSpPr/>
            <p:nvPr/>
          </p:nvSpPr>
          <p:spPr>
            <a:xfrm>
              <a:off x="2885163" y="3581738"/>
              <a:ext cx="70810" cy="70810"/>
            </a:xfrm>
            <a:custGeom>
              <a:avLst/>
              <a:gdLst>
                <a:gd name="connsiteX0" fmla="*/ 39984 w 70809"/>
                <a:gd name="connsiteY0" fmla="*/ 63940 h 70809"/>
                <a:gd name="connsiteX1" fmla="*/ 64059 w 70809"/>
                <a:gd name="connsiteY1" fmla="*/ 39864 h 70809"/>
                <a:gd name="connsiteX2" fmla="*/ 39984 w 70809"/>
                <a:gd name="connsiteY2" fmla="*/ 15789 h 70809"/>
                <a:gd name="connsiteX3" fmla="*/ 15909 w 70809"/>
                <a:gd name="connsiteY3" fmla="*/ 39864 h 70809"/>
                <a:gd name="connsiteX4" fmla="*/ 3998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984" y="63940"/>
                  </a:moveTo>
                  <a:cubicBezTo>
                    <a:pt x="54146" y="63940"/>
                    <a:pt x="64059" y="52610"/>
                    <a:pt x="64059" y="39864"/>
                  </a:cubicBezTo>
                  <a:cubicBezTo>
                    <a:pt x="64059" y="25703"/>
                    <a:pt x="52730" y="15789"/>
                    <a:pt x="39984" y="15789"/>
                  </a:cubicBezTo>
                  <a:cubicBezTo>
                    <a:pt x="25822" y="15789"/>
                    <a:pt x="15909" y="27119"/>
                    <a:pt x="15909" y="39864"/>
                  </a:cubicBezTo>
                  <a:cubicBezTo>
                    <a:pt x="14493" y="52610"/>
                    <a:pt x="25822" y="63940"/>
                    <a:pt x="3998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0" name="Freeform: Shape 2399">
              <a:extLst>
                <a:ext uri="{FF2B5EF4-FFF2-40B4-BE49-F238E27FC236}">
                  <a16:creationId xmlns:a16="http://schemas.microsoft.com/office/drawing/2014/main" id="{FAB5C53B-D43B-4E0B-A9C6-068E932B6541}"/>
                </a:ext>
              </a:extLst>
            </p:cNvPr>
            <p:cNvSpPr/>
            <p:nvPr/>
          </p:nvSpPr>
          <p:spPr>
            <a:xfrm>
              <a:off x="3073637" y="3393384"/>
              <a:ext cx="56648" cy="56648"/>
            </a:xfrm>
            <a:custGeom>
              <a:avLst/>
              <a:gdLst>
                <a:gd name="connsiteX0" fmla="*/ 44113 w 56647"/>
                <a:gd name="connsiteY0" fmla="*/ 29951 h 56647"/>
                <a:gd name="connsiteX1" fmla="*/ 29951 w 56647"/>
                <a:gd name="connsiteY1" fmla="*/ 44113 h 56647"/>
                <a:gd name="connsiteX2" fmla="*/ 15789 w 56647"/>
                <a:gd name="connsiteY2" fmla="*/ 29951 h 56647"/>
                <a:gd name="connsiteX3" fmla="*/ 29951 w 56647"/>
                <a:gd name="connsiteY3" fmla="*/ 15789 h 56647"/>
                <a:gd name="connsiteX4" fmla="*/ 44113 w 56647"/>
                <a:gd name="connsiteY4" fmla="*/ 29951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44113" y="29951"/>
                  </a:moveTo>
                  <a:cubicBezTo>
                    <a:pt x="44113" y="37773"/>
                    <a:pt x="37772" y="44113"/>
                    <a:pt x="29951" y="44113"/>
                  </a:cubicBezTo>
                  <a:cubicBezTo>
                    <a:pt x="22129" y="44113"/>
                    <a:pt x="15789" y="37773"/>
                    <a:pt x="15789" y="29951"/>
                  </a:cubicBezTo>
                  <a:cubicBezTo>
                    <a:pt x="15789" y="22129"/>
                    <a:pt x="22129" y="15789"/>
                    <a:pt x="29951" y="15789"/>
                  </a:cubicBezTo>
                  <a:cubicBezTo>
                    <a:pt x="37772" y="15789"/>
                    <a:pt x="44113" y="22129"/>
                    <a:pt x="44113"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1" name="Freeform: Shape 2400">
              <a:extLst>
                <a:ext uri="{FF2B5EF4-FFF2-40B4-BE49-F238E27FC236}">
                  <a16:creationId xmlns:a16="http://schemas.microsoft.com/office/drawing/2014/main" id="{F325C14D-4FA4-4C1A-BC7C-40351CB58A59}"/>
                </a:ext>
              </a:extLst>
            </p:cNvPr>
            <p:cNvSpPr/>
            <p:nvPr/>
          </p:nvSpPr>
          <p:spPr>
            <a:xfrm>
              <a:off x="3019821" y="3692201"/>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8448"/>
                    <a:pt x="44113" y="29951"/>
                  </a:cubicBezTo>
                  <a:cubicBezTo>
                    <a:pt x="44113" y="21454"/>
                    <a:pt x="38448" y="15789"/>
                    <a:pt x="29951" y="15789"/>
                  </a:cubicBezTo>
                  <a:cubicBezTo>
                    <a:pt x="21454" y="15789"/>
                    <a:pt x="15789" y="22870"/>
                    <a:pt x="15789" y="29951"/>
                  </a:cubicBezTo>
                  <a:cubicBezTo>
                    <a:pt x="15789" y="38448"/>
                    <a:pt x="21454"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2" name="Freeform: Shape 2401">
              <a:extLst>
                <a:ext uri="{FF2B5EF4-FFF2-40B4-BE49-F238E27FC236}">
                  <a16:creationId xmlns:a16="http://schemas.microsoft.com/office/drawing/2014/main" id="{DB749465-82F2-4881-9B4A-2FF247349F4C}"/>
                </a:ext>
              </a:extLst>
            </p:cNvPr>
            <p:cNvSpPr/>
            <p:nvPr/>
          </p:nvSpPr>
          <p:spPr>
            <a:xfrm>
              <a:off x="2766323" y="3427373"/>
              <a:ext cx="70810" cy="70810"/>
            </a:xfrm>
            <a:custGeom>
              <a:avLst/>
              <a:gdLst>
                <a:gd name="connsiteX0" fmla="*/ 39864 w 70809"/>
                <a:gd name="connsiteY0" fmla="*/ 63939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39" y="52610"/>
                    <a:pt x="63939" y="39864"/>
                  </a:cubicBezTo>
                  <a:cubicBezTo>
                    <a:pt x="63939" y="27119"/>
                    <a:pt x="52610" y="15789"/>
                    <a:pt x="39864" y="15789"/>
                  </a:cubicBezTo>
                  <a:cubicBezTo>
                    <a:pt x="27119" y="15789"/>
                    <a:pt x="15789" y="27119"/>
                    <a:pt x="15789" y="39864"/>
                  </a:cubicBezTo>
                  <a:cubicBezTo>
                    <a:pt x="15789" y="52610"/>
                    <a:pt x="27119" y="63939"/>
                    <a:pt x="3986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3" name="Freeform: Shape 2402">
              <a:extLst>
                <a:ext uri="{FF2B5EF4-FFF2-40B4-BE49-F238E27FC236}">
                  <a16:creationId xmlns:a16="http://schemas.microsoft.com/office/drawing/2014/main" id="{CE8047A4-CC9B-45BB-A51B-921D91D4DD42}"/>
                </a:ext>
              </a:extLst>
            </p:cNvPr>
            <p:cNvSpPr/>
            <p:nvPr/>
          </p:nvSpPr>
          <p:spPr>
            <a:xfrm>
              <a:off x="3162857" y="3757345"/>
              <a:ext cx="70810" cy="70810"/>
            </a:xfrm>
            <a:custGeom>
              <a:avLst/>
              <a:gdLst>
                <a:gd name="connsiteX0" fmla="*/ 39864 w 70809"/>
                <a:gd name="connsiteY0" fmla="*/ 63939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3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39"/>
                  </a:moveTo>
                  <a:cubicBezTo>
                    <a:pt x="52610" y="63939"/>
                    <a:pt x="63939" y="52610"/>
                    <a:pt x="63939" y="39864"/>
                  </a:cubicBezTo>
                  <a:cubicBezTo>
                    <a:pt x="63939" y="27119"/>
                    <a:pt x="52610" y="15789"/>
                    <a:pt x="39864" y="15789"/>
                  </a:cubicBezTo>
                  <a:cubicBezTo>
                    <a:pt x="27119" y="15789"/>
                    <a:pt x="15789" y="27119"/>
                    <a:pt x="15789" y="39864"/>
                  </a:cubicBezTo>
                  <a:cubicBezTo>
                    <a:pt x="15789" y="52610"/>
                    <a:pt x="25702" y="63939"/>
                    <a:pt x="39864" y="639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4" name="Freeform: Shape 2403">
              <a:extLst>
                <a:ext uri="{FF2B5EF4-FFF2-40B4-BE49-F238E27FC236}">
                  <a16:creationId xmlns:a16="http://schemas.microsoft.com/office/drawing/2014/main" id="{308BA547-2C0C-43BF-9A6D-268F675DC2F8}"/>
                </a:ext>
              </a:extLst>
            </p:cNvPr>
            <p:cNvSpPr/>
            <p:nvPr/>
          </p:nvSpPr>
          <p:spPr>
            <a:xfrm>
              <a:off x="3209591" y="3659628"/>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2"/>
                    <a:pt x="24286" y="15789"/>
                    <a:pt x="21454" y="15789"/>
                  </a:cubicBezTo>
                  <a:cubicBezTo>
                    <a:pt x="18621" y="15789"/>
                    <a:pt x="15789" y="18622"/>
                    <a:pt x="15789" y="21454"/>
                  </a:cubicBezTo>
                  <a:cubicBezTo>
                    <a:pt x="15789" y="24286"/>
                    <a:pt x="18621"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5" name="Freeform: Shape 2404">
              <a:extLst>
                <a:ext uri="{FF2B5EF4-FFF2-40B4-BE49-F238E27FC236}">
                  <a16:creationId xmlns:a16="http://schemas.microsoft.com/office/drawing/2014/main" id="{FB576A35-C58D-4487-A3BD-46629DAE18CB}"/>
                </a:ext>
              </a:extLst>
            </p:cNvPr>
            <p:cNvSpPr/>
            <p:nvPr/>
          </p:nvSpPr>
          <p:spPr>
            <a:xfrm>
              <a:off x="3089215" y="3696449"/>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1" y="15789"/>
                    <a:pt x="15789" y="18621"/>
                    <a:pt x="15789" y="21454"/>
                  </a:cubicBezTo>
                  <a:cubicBezTo>
                    <a:pt x="15789" y="24286"/>
                    <a:pt x="18621"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6" name="Freeform: Shape 2405">
              <a:extLst>
                <a:ext uri="{FF2B5EF4-FFF2-40B4-BE49-F238E27FC236}">
                  <a16:creationId xmlns:a16="http://schemas.microsoft.com/office/drawing/2014/main" id="{D9FC2005-74EB-42F1-82D3-8A62C0FFCDBD}"/>
                </a:ext>
              </a:extLst>
            </p:cNvPr>
            <p:cNvSpPr/>
            <p:nvPr/>
          </p:nvSpPr>
          <p:spPr>
            <a:xfrm>
              <a:off x="2331552" y="3244684"/>
              <a:ext cx="99133" cy="99133"/>
            </a:xfrm>
            <a:custGeom>
              <a:avLst/>
              <a:gdLst>
                <a:gd name="connsiteX0" fmla="*/ 49778 w 99133"/>
                <a:gd name="connsiteY0" fmla="*/ 15789 h 99133"/>
                <a:gd name="connsiteX1" fmla="*/ 83766 w 99133"/>
                <a:gd name="connsiteY1" fmla="*/ 49777 h 99133"/>
                <a:gd name="connsiteX2" fmla="*/ 49778 w 99133"/>
                <a:gd name="connsiteY2" fmla="*/ 83766 h 99133"/>
                <a:gd name="connsiteX3" fmla="*/ 15789 w 99133"/>
                <a:gd name="connsiteY3" fmla="*/ 49777 h 99133"/>
                <a:gd name="connsiteX4" fmla="*/ 49778 w 99133"/>
                <a:gd name="connsiteY4" fmla="*/ 15789 h 99133"/>
                <a:gd name="connsiteX5" fmla="*/ 49778 w 99133"/>
                <a:gd name="connsiteY5" fmla="*/ 15789 h 99133"/>
                <a:gd name="connsiteX6" fmla="*/ 49778 w 99133"/>
                <a:gd name="connsiteY6" fmla="*/ 31367 h 99133"/>
                <a:gd name="connsiteX7" fmla="*/ 31367 w 99133"/>
                <a:gd name="connsiteY7" fmla="*/ 49777 h 99133"/>
                <a:gd name="connsiteX8" fmla="*/ 49778 w 99133"/>
                <a:gd name="connsiteY8" fmla="*/ 68188 h 99133"/>
                <a:gd name="connsiteX9" fmla="*/ 68188 w 99133"/>
                <a:gd name="connsiteY9" fmla="*/ 49777 h 99133"/>
                <a:gd name="connsiteX10" fmla="*/ 49778 w 99133"/>
                <a:gd name="connsiteY10" fmla="*/ 31367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49778" y="15789"/>
                  </a:moveTo>
                  <a:cubicBezTo>
                    <a:pt x="68188" y="15789"/>
                    <a:pt x="83766" y="31367"/>
                    <a:pt x="83766" y="49777"/>
                  </a:cubicBezTo>
                  <a:cubicBezTo>
                    <a:pt x="83766" y="68188"/>
                    <a:pt x="68188" y="83766"/>
                    <a:pt x="49778" y="83766"/>
                  </a:cubicBezTo>
                  <a:cubicBezTo>
                    <a:pt x="31367" y="83766"/>
                    <a:pt x="15789" y="68188"/>
                    <a:pt x="15789" y="49777"/>
                  </a:cubicBezTo>
                  <a:cubicBezTo>
                    <a:pt x="15789" y="31367"/>
                    <a:pt x="31367" y="15789"/>
                    <a:pt x="49778" y="15789"/>
                  </a:cubicBezTo>
                  <a:lnTo>
                    <a:pt x="49778" y="15789"/>
                  </a:lnTo>
                  <a:close/>
                  <a:moveTo>
                    <a:pt x="49778" y="31367"/>
                  </a:moveTo>
                  <a:cubicBezTo>
                    <a:pt x="39864" y="31367"/>
                    <a:pt x="31367" y="39864"/>
                    <a:pt x="31367" y="49777"/>
                  </a:cubicBezTo>
                  <a:cubicBezTo>
                    <a:pt x="31367" y="59691"/>
                    <a:pt x="39864" y="68188"/>
                    <a:pt x="49778" y="68188"/>
                  </a:cubicBezTo>
                  <a:cubicBezTo>
                    <a:pt x="59691" y="68188"/>
                    <a:pt x="68188" y="59691"/>
                    <a:pt x="68188" y="49777"/>
                  </a:cubicBezTo>
                  <a:cubicBezTo>
                    <a:pt x="68188" y="39864"/>
                    <a:pt x="59691" y="31367"/>
                    <a:pt x="49778" y="3136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7" name="Freeform: Shape 2406">
              <a:extLst>
                <a:ext uri="{FF2B5EF4-FFF2-40B4-BE49-F238E27FC236}">
                  <a16:creationId xmlns:a16="http://schemas.microsoft.com/office/drawing/2014/main" id="{31744ECD-5A27-4210-8CD9-736EAAD148B4}"/>
                </a:ext>
              </a:extLst>
            </p:cNvPr>
            <p:cNvSpPr/>
            <p:nvPr/>
          </p:nvSpPr>
          <p:spPr>
            <a:xfrm>
              <a:off x="3410690" y="3389136"/>
              <a:ext cx="56648" cy="56648"/>
            </a:xfrm>
            <a:custGeom>
              <a:avLst/>
              <a:gdLst>
                <a:gd name="connsiteX0" fmla="*/ 46945 w 56647"/>
                <a:gd name="connsiteY0" fmla="*/ 31367 h 56647"/>
                <a:gd name="connsiteX1" fmla="*/ 31367 w 56647"/>
                <a:gd name="connsiteY1" fmla="*/ 46945 h 56647"/>
                <a:gd name="connsiteX2" fmla="*/ 15789 w 56647"/>
                <a:gd name="connsiteY2" fmla="*/ 31367 h 56647"/>
                <a:gd name="connsiteX3" fmla="*/ 31367 w 56647"/>
                <a:gd name="connsiteY3" fmla="*/ 15789 h 56647"/>
                <a:gd name="connsiteX4" fmla="*/ 46945 w 56647"/>
                <a:gd name="connsiteY4" fmla="*/ 3136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46945" y="31367"/>
                  </a:moveTo>
                  <a:cubicBezTo>
                    <a:pt x="46945" y="39971"/>
                    <a:pt x="39971" y="46945"/>
                    <a:pt x="31367" y="46945"/>
                  </a:cubicBezTo>
                  <a:cubicBezTo>
                    <a:pt x="22763" y="46945"/>
                    <a:pt x="15789" y="39971"/>
                    <a:pt x="15789" y="31367"/>
                  </a:cubicBezTo>
                  <a:cubicBezTo>
                    <a:pt x="15789" y="22763"/>
                    <a:pt x="22763" y="15789"/>
                    <a:pt x="31367" y="15789"/>
                  </a:cubicBezTo>
                  <a:cubicBezTo>
                    <a:pt x="39971" y="15789"/>
                    <a:pt x="46945" y="22763"/>
                    <a:pt x="46945" y="3136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8" name="Freeform: Shape 2407">
              <a:extLst>
                <a:ext uri="{FF2B5EF4-FFF2-40B4-BE49-F238E27FC236}">
                  <a16:creationId xmlns:a16="http://schemas.microsoft.com/office/drawing/2014/main" id="{9190A044-A259-4092-A01F-13787CF18216}"/>
                </a:ext>
              </a:extLst>
            </p:cNvPr>
            <p:cNvSpPr/>
            <p:nvPr/>
          </p:nvSpPr>
          <p:spPr>
            <a:xfrm>
              <a:off x="3616038" y="3461361"/>
              <a:ext cx="56648" cy="56648"/>
            </a:xfrm>
            <a:custGeom>
              <a:avLst/>
              <a:gdLst>
                <a:gd name="connsiteX0" fmla="*/ 32783 w 56647"/>
                <a:gd name="connsiteY0" fmla="*/ 49778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8"/>
                  </a:moveTo>
                  <a:cubicBezTo>
                    <a:pt x="41280" y="49778"/>
                    <a:pt x="49778" y="42697"/>
                    <a:pt x="49778" y="32783"/>
                  </a:cubicBezTo>
                  <a:cubicBezTo>
                    <a:pt x="49778" y="22870"/>
                    <a:pt x="42697" y="15789"/>
                    <a:pt x="32783" y="15789"/>
                  </a:cubicBezTo>
                  <a:cubicBezTo>
                    <a:pt x="22870" y="15789"/>
                    <a:pt x="15789" y="22870"/>
                    <a:pt x="15789" y="32783"/>
                  </a:cubicBezTo>
                  <a:cubicBezTo>
                    <a:pt x="17205" y="42697"/>
                    <a:pt x="24286" y="49778"/>
                    <a:pt x="32783"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09" name="Freeform: Shape 2408">
              <a:extLst>
                <a:ext uri="{FF2B5EF4-FFF2-40B4-BE49-F238E27FC236}">
                  <a16:creationId xmlns:a16="http://schemas.microsoft.com/office/drawing/2014/main" id="{DE3DD345-C963-42C5-98B4-8EBD847B5531}"/>
                </a:ext>
              </a:extLst>
            </p:cNvPr>
            <p:cNvSpPr/>
            <p:nvPr/>
          </p:nvSpPr>
          <p:spPr>
            <a:xfrm>
              <a:off x="3511240" y="3501015"/>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8448" y="44113"/>
                    <a:pt x="44113" y="38448"/>
                    <a:pt x="44113" y="29951"/>
                  </a:cubicBezTo>
                  <a:cubicBezTo>
                    <a:pt x="44113" y="21454"/>
                    <a:pt x="38448" y="15789"/>
                    <a:pt x="29951" y="15789"/>
                  </a:cubicBezTo>
                  <a:cubicBezTo>
                    <a:pt x="21454" y="15789"/>
                    <a:pt x="15789" y="21454"/>
                    <a:pt x="15789" y="29951"/>
                  </a:cubicBezTo>
                  <a:cubicBezTo>
                    <a:pt x="15789" y="38448"/>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0" name="Freeform: Shape 2409">
              <a:extLst>
                <a:ext uri="{FF2B5EF4-FFF2-40B4-BE49-F238E27FC236}">
                  <a16:creationId xmlns:a16="http://schemas.microsoft.com/office/drawing/2014/main" id="{823DBB98-22F7-4A85-BB5A-1F7BEAE0DC1B}"/>
                </a:ext>
              </a:extLst>
            </p:cNvPr>
            <p:cNvSpPr/>
            <p:nvPr/>
          </p:nvSpPr>
          <p:spPr>
            <a:xfrm>
              <a:off x="3310141" y="3348066"/>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1" name="Freeform: Shape 2410">
              <a:extLst>
                <a:ext uri="{FF2B5EF4-FFF2-40B4-BE49-F238E27FC236}">
                  <a16:creationId xmlns:a16="http://schemas.microsoft.com/office/drawing/2014/main" id="{DC070CD7-65FB-45F7-BE4A-C10328BD1964}"/>
                </a:ext>
              </a:extLst>
            </p:cNvPr>
            <p:cNvSpPr/>
            <p:nvPr/>
          </p:nvSpPr>
          <p:spPr>
            <a:xfrm>
              <a:off x="3430517" y="3457113"/>
              <a:ext cx="42486" cy="42486"/>
            </a:xfrm>
            <a:custGeom>
              <a:avLst/>
              <a:gdLst>
                <a:gd name="connsiteX0" fmla="*/ 21454 w 42485"/>
                <a:gd name="connsiteY0" fmla="*/ 27118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8"/>
                  </a:moveTo>
                  <a:cubicBezTo>
                    <a:pt x="24286" y="27118"/>
                    <a:pt x="27119" y="24286"/>
                    <a:pt x="27119" y="21454"/>
                  </a:cubicBezTo>
                  <a:cubicBezTo>
                    <a:pt x="27119" y="18621"/>
                    <a:pt x="24286" y="15789"/>
                    <a:pt x="21454" y="15789"/>
                  </a:cubicBezTo>
                  <a:cubicBezTo>
                    <a:pt x="18622" y="15789"/>
                    <a:pt x="15789" y="18621"/>
                    <a:pt x="15789" y="21454"/>
                  </a:cubicBezTo>
                  <a:cubicBezTo>
                    <a:pt x="15789" y="24286"/>
                    <a:pt x="18622" y="27118"/>
                    <a:pt x="21454" y="2711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2" name="Freeform: Shape 2411">
              <a:extLst>
                <a:ext uri="{FF2B5EF4-FFF2-40B4-BE49-F238E27FC236}">
                  <a16:creationId xmlns:a16="http://schemas.microsoft.com/office/drawing/2014/main" id="{2DA6B479-42C9-42EF-A1B7-CE71FD3DF25A}"/>
                </a:ext>
              </a:extLst>
            </p:cNvPr>
            <p:cNvSpPr/>
            <p:nvPr/>
          </p:nvSpPr>
          <p:spPr>
            <a:xfrm>
              <a:off x="3226585" y="3367893"/>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1" y="15789"/>
                    <a:pt x="15789" y="18621"/>
                    <a:pt x="15789" y="21454"/>
                  </a:cubicBezTo>
                  <a:cubicBezTo>
                    <a:pt x="15789" y="24286"/>
                    <a:pt x="18621"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3" name="Freeform: Shape 2412">
              <a:extLst>
                <a:ext uri="{FF2B5EF4-FFF2-40B4-BE49-F238E27FC236}">
                  <a16:creationId xmlns:a16="http://schemas.microsoft.com/office/drawing/2014/main" id="{94294D12-F9AC-4671-8CC0-E2E34535D760}"/>
                </a:ext>
              </a:extLst>
            </p:cNvPr>
            <p:cNvSpPr/>
            <p:nvPr/>
          </p:nvSpPr>
          <p:spPr>
            <a:xfrm>
              <a:off x="3743495" y="3519425"/>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9" y="29951"/>
                    <a:pt x="29951" y="27119"/>
                    <a:pt x="29951" y="22870"/>
                  </a:cubicBezTo>
                  <a:cubicBezTo>
                    <a:pt x="29951" y="18621"/>
                    <a:pt x="27119" y="15789"/>
                    <a:pt x="22870" y="15789"/>
                  </a:cubicBezTo>
                  <a:cubicBezTo>
                    <a:pt x="18621" y="15789"/>
                    <a:pt x="15789" y="18621"/>
                    <a:pt x="15789" y="22870"/>
                  </a:cubicBezTo>
                  <a:cubicBezTo>
                    <a:pt x="15789" y="25702"/>
                    <a:pt x="20038" y="29951"/>
                    <a:pt x="22870"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4" name="Freeform: Shape 2413">
              <a:extLst>
                <a:ext uri="{FF2B5EF4-FFF2-40B4-BE49-F238E27FC236}">
                  <a16:creationId xmlns:a16="http://schemas.microsoft.com/office/drawing/2014/main" id="{3B6DD125-B34A-4132-ACB9-DA89788F805E}"/>
                </a:ext>
              </a:extLst>
            </p:cNvPr>
            <p:cNvSpPr/>
            <p:nvPr/>
          </p:nvSpPr>
          <p:spPr>
            <a:xfrm>
              <a:off x="3665605" y="3503847"/>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9" y="29951"/>
                    <a:pt x="29951" y="27119"/>
                    <a:pt x="29951" y="22870"/>
                  </a:cubicBezTo>
                  <a:cubicBezTo>
                    <a:pt x="29951" y="18622"/>
                    <a:pt x="27119" y="15789"/>
                    <a:pt x="22870" y="15789"/>
                  </a:cubicBezTo>
                  <a:cubicBezTo>
                    <a:pt x="18621" y="15789"/>
                    <a:pt x="15789" y="18622"/>
                    <a:pt x="15789" y="22870"/>
                  </a:cubicBezTo>
                  <a:cubicBezTo>
                    <a:pt x="15789" y="25703"/>
                    <a:pt x="18621" y="29951"/>
                    <a:pt x="22870"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5" name="Freeform: Shape 2414">
              <a:extLst>
                <a:ext uri="{FF2B5EF4-FFF2-40B4-BE49-F238E27FC236}">
                  <a16:creationId xmlns:a16="http://schemas.microsoft.com/office/drawing/2014/main" id="{5F050ECD-9FA1-4404-8C51-0A2AE7DEFEBC}"/>
                </a:ext>
              </a:extLst>
            </p:cNvPr>
            <p:cNvSpPr/>
            <p:nvPr/>
          </p:nvSpPr>
          <p:spPr>
            <a:xfrm>
              <a:off x="3359707" y="3345234"/>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7205" y="38448"/>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6" name="Freeform: Shape 2415">
              <a:extLst>
                <a:ext uri="{FF2B5EF4-FFF2-40B4-BE49-F238E27FC236}">
                  <a16:creationId xmlns:a16="http://schemas.microsoft.com/office/drawing/2014/main" id="{C96516D8-6384-4759-8D0D-4C18B5E88B64}"/>
                </a:ext>
              </a:extLst>
            </p:cNvPr>
            <p:cNvSpPr/>
            <p:nvPr/>
          </p:nvSpPr>
          <p:spPr>
            <a:xfrm>
              <a:off x="3409274" y="3544917"/>
              <a:ext cx="42486" cy="42486"/>
            </a:xfrm>
            <a:custGeom>
              <a:avLst/>
              <a:gdLst>
                <a:gd name="connsiteX0" fmla="*/ 21454 w 42485"/>
                <a:gd name="connsiteY0" fmla="*/ 27119 h 42485"/>
                <a:gd name="connsiteX1" fmla="*/ 27119 w 42485"/>
                <a:gd name="connsiteY1" fmla="*/ 21454 h 42485"/>
                <a:gd name="connsiteX2" fmla="*/ 21454 w 42485"/>
                <a:gd name="connsiteY2" fmla="*/ 15789 h 42485"/>
                <a:gd name="connsiteX3" fmla="*/ 15789 w 42485"/>
                <a:gd name="connsiteY3" fmla="*/ 21454 h 42485"/>
                <a:gd name="connsiteX4" fmla="*/ 21454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1454" y="27119"/>
                  </a:moveTo>
                  <a:cubicBezTo>
                    <a:pt x="24286" y="27119"/>
                    <a:pt x="27119" y="24286"/>
                    <a:pt x="27119" y="21454"/>
                  </a:cubicBezTo>
                  <a:cubicBezTo>
                    <a:pt x="27119" y="18621"/>
                    <a:pt x="24286" y="15789"/>
                    <a:pt x="21454" y="15789"/>
                  </a:cubicBezTo>
                  <a:cubicBezTo>
                    <a:pt x="18622" y="15789"/>
                    <a:pt x="15789" y="18621"/>
                    <a:pt x="15789" y="21454"/>
                  </a:cubicBezTo>
                  <a:cubicBezTo>
                    <a:pt x="15789" y="24286"/>
                    <a:pt x="18622" y="27119"/>
                    <a:pt x="21454"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7" name="Freeform: Shape 2416">
              <a:extLst>
                <a:ext uri="{FF2B5EF4-FFF2-40B4-BE49-F238E27FC236}">
                  <a16:creationId xmlns:a16="http://schemas.microsoft.com/office/drawing/2014/main" id="{366DF21C-A476-4321-AE05-A0340439F8E9}"/>
                </a:ext>
              </a:extLst>
            </p:cNvPr>
            <p:cNvSpPr/>
            <p:nvPr/>
          </p:nvSpPr>
          <p:spPr>
            <a:xfrm>
              <a:off x="3407858" y="3512344"/>
              <a:ext cx="28324" cy="28324"/>
            </a:xfrm>
            <a:custGeom>
              <a:avLst/>
              <a:gdLst>
                <a:gd name="connsiteX0" fmla="*/ 20038 w 28323"/>
                <a:gd name="connsiteY0" fmla="*/ 24286 h 28323"/>
                <a:gd name="connsiteX1" fmla="*/ 24286 w 28323"/>
                <a:gd name="connsiteY1" fmla="*/ 20038 h 28323"/>
                <a:gd name="connsiteX2" fmla="*/ 20038 w 28323"/>
                <a:gd name="connsiteY2" fmla="*/ 15789 h 28323"/>
                <a:gd name="connsiteX3" fmla="*/ 15789 w 28323"/>
                <a:gd name="connsiteY3" fmla="*/ 20038 h 28323"/>
                <a:gd name="connsiteX4" fmla="*/ 20038 w 28323"/>
                <a:gd name="connsiteY4" fmla="*/ 24286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0038" y="24286"/>
                  </a:moveTo>
                  <a:cubicBezTo>
                    <a:pt x="22870" y="24286"/>
                    <a:pt x="24286" y="22870"/>
                    <a:pt x="24286" y="20038"/>
                  </a:cubicBezTo>
                  <a:cubicBezTo>
                    <a:pt x="24286" y="17205"/>
                    <a:pt x="22870" y="15789"/>
                    <a:pt x="20038" y="15789"/>
                  </a:cubicBezTo>
                  <a:cubicBezTo>
                    <a:pt x="17205" y="15789"/>
                    <a:pt x="15789" y="17205"/>
                    <a:pt x="15789" y="20038"/>
                  </a:cubicBezTo>
                  <a:cubicBezTo>
                    <a:pt x="15789" y="21454"/>
                    <a:pt x="17205" y="24286"/>
                    <a:pt x="20038"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8" name="Freeform: Shape 2417">
              <a:extLst>
                <a:ext uri="{FF2B5EF4-FFF2-40B4-BE49-F238E27FC236}">
                  <a16:creationId xmlns:a16="http://schemas.microsoft.com/office/drawing/2014/main" id="{F8DB9E88-B1CF-4F31-AD12-DD92EAB13E93}"/>
                </a:ext>
              </a:extLst>
            </p:cNvPr>
            <p:cNvSpPr/>
            <p:nvPr/>
          </p:nvSpPr>
          <p:spPr>
            <a:xfrm>
              <a:off x="1497416" y="1713782"/>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9"/>
                  </a:cubicBezTo>
                  <a:cubicBezTo>
                    <a:pt x="38448" y="21454"/>
                    <a:pt x="32783" y="15789"/>
                    <a:pt x="27119" y="15789"/>
                  </a:cubicBezTo>
                  <a:cubicBezTo>
                    <a:pt x="21454" y="15789"/>
                    <a:pt x="15789" y="21454"/>
                    <a:pt x="15789" y="27119"/>
                  </a:cubicBezTo>
                  <a:cubicBezTo>
                    <a:pt x="15789" y="32783"/>
                    <a:pt x="21454"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19" name="Freeform: Shape 2418">
              <a:extLst>
                <a:ext uri="{FF2B5EF4-FFF2-40B4-BE49-F238E27FC236}">
                  <a16:creationId xmlns:a16="http://schemas.microsoft.com/office/drawing/2014/main" id="{D847C0BF-A521-4404-890B-A35024D4ED38}"/>
                </a:ext>
              </a:extLst>
            </p:cNvPr>
            <p:cNvSpPr/>
            <p:nvPr/>
          </p:nvSpPr>
          <p:spPr>
            <a:xfrm>
              <a:off x="1252415" y="1160051"/>
              <a:ext cx="42486" cy="42486"/>
            </a:xfrm>
            <a:custGeom>
              <a:avLst/>
              <a:gdLst>
                <a:gd name="connsiteX0" fmla="*/ 38448 w 42485"/>
                <a:gd name="connsiteY0" fmla="*/ 27119 h 42485"/>
                <a:gd name="connsiteX1" fmla="*/ 27119 w 42485"/>
                <a:gd name="connsiteY1" fmla="*/ 38448 h 42485"/>
                <a:gd name="connsiteX2" fmla="*/ 15789 w 42485"/>
                <a:gd name="connsiteY2" fmla="*/ 27119 h 42485"/>
                <a:gd name="connsiteX3" fmla="*/ 27119 w 42485"/>
                <a:gd name="connsiteY3" fmla="*/ 15789 h 42485"/>
                <a:gd name="connsiteX4" fmla="*/ 38448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8448" y="27119"/>
                  </a:moveTo>
                  <a:cubicBezTo>
                    <a:pt x="38448" y="33376"/>
                    <a:pt x="33376" y="38448"/>
                    <a:pt x="27119" y="38448"/>
                  </a:cubicBezTo>
                  <a:cubicBezTo>
                    <a:pt x="20861" y="38448"/>
                    <a:pt x="15789" y="33376"/>
                    <a:pt x="15789" y="27119"/>
                  </a:cubicBezTo>
                  <a:cubicBezTo>
                    <a:pt x="15789" y="20861"/>
                    <a:pt x="20861" y="15789"/>
                    <a:pt x="27119" y="15789"/>
                  </a:cubicBezTo>
                  <a:cubicBezTo>
                    <a:pt x="33376" y="15789"/>
                    <a:pt x="38448" y="20861"/>
                    <a:pt x="38448"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0" name="Freeform: Shape 2419">
              <a:extLst>
                <a:ext uri="{FF2B5EF4-FFF2-40B4-BE49-F238E27FC236}">
                  <a16:creationId xmlns:a16="http://schemas.microsoft.com/office/drawing/2014/main" id="{BA7A37DC-7065-4594-BDBB-1E88F0188D52}"/>
                </a:ext>
              </a:extLst>
            </p:cNvPr>
            <p:cNvSpPr/>
            <p:nvPr/>
          </p:nvSpPr>
          <p:spPr>
            <a:xfrm>
              <a:off x="826141" y="1175630"/>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9"/>
                  </a:cubicBezTo>
                  <a:cubicBezTo>
                    <a:pt x="38448" y="21454"/>
                    <a:pt x="32783" y="15789"/>
                    <a:pt x="27119" y="15789"/>
                  </a:cubicBezTo>
                  <a:cubicBezTo>
                    <a:pt x="21454" y="15789"/>
                    <a:pt x="15789" y="21454"/>
                    <a:pt x="15789" y="27119"/>
                  </a:cubicBezTo>
                  <a:cubicBezTo>
                    <a:pt x="15789" y="32783"/>
                    <a:pt x="21454"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1" name="Freeform: Shape 2420">
              <a:extLst>
                <a:ext uri="{FF2B5EF4-FFF2-40B4-BE49-F238E27FC236}">
                  <a16:creationId xmlns:a16="http://schemas.microsoft.com/office/drawing/2014/main" id="{E97E2669-7982-44B8-A0AF-782EFCE7DAB0}"/>
                </a:ext>
              </a:extLst>
            </p:cNvPr>
            <p:cNvSpPr/>
            <p:nvPr/>
          </p:nvSpPr>
          <p:spPr>
            <a:xfrm>
              <a:off x="906864" y="1406469"/>
              <a:ext cx="42486" cy="42486"/>
            </a:xfrm>
            <a:custGeom>
              <a:avLst/>
              <a:gdLst>
                <a:gd name="connsiteX0" fmla="*/ 38448 w 42485"/>
                <a:gd name="connsiteY0" fmla="*/ 27119 h 42485"/>
                <a:gd name="connsiteX1" fmla="*/ 27119 w 42485"/>
                <a:gd name="connsiteY1" fmla="*/ 38448 h 42485"/>
                <a:gd name="connsiteX2" fmla="*/ 15789 w 42485"/>
                <a:gd name="connsiteY2" fmla="*/ 27119 h 42485"/>
                <a:gd name="connsiteX3" fmla="*/ 27119 w 42485"/>
                <a:gd name="connsiteY3" fmla="*/ 15789 h 42485"/>
                <a:gd name="connsiteX4" fmla="*/ 38448 w 42485"/>
                <a:gd name="connsiteY4" fmla="*/ 2711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8448" y="27119"/>
                  </a:moveTo>
                  <a:cubicBezTo>
                    <a:pt x="38448" y="33376"/>
                    <a:pt x="33376" y="38448"/>
                    <a:pt x="27119" y="38448"/>
                  </a:cubicBezTo>
                  <a:cubicBezTo>
                    <a:pt x="20861" y="38448"/>
                    <a:pt x="15789" y="33376"/>
                    <a:pt x="15789" y="27119"/>
                  </a:cubicBezTo>
                  <a:cubicBezTo>
                    <a:pt x="15789" y="20861"/>
                    <a:pt x="20861" y="15789"/>
                    <a:pt x="27119" y="15789"/>
                  </a:cubicBezTo>
                  <a:cubicBezTo>
                    <a:pt x="33376" y="15789"/>
                    <a:pt x="38448" y="20861"/>
                    <a:pt x="38448" y="2711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2" name="Freeform: Shape 2421">
              <a:extLst>
                <a:ext uri="{FF2B5EF4-FFF2-40B4-BE49-F238E27FC236}">
                  <a16:creationId xmlns:a16="http://schemas.microsoft.com/office/drawing/2014/main" id="{5182C0FF-26E3-4C08-81DC-CADDEE58AF90}"/>
                </a:ext>
              </a:extLst>
            </p:cNvPr>
            <p:cNvSpPr/>
            <p:nvPr/>
          </p:nvSpPr>
          <p:spPr>
            <a:xfrm>
              <a:off x="2032736" y="963201"/>
              <a:ext cx="42486" cy="42486"/>
            </a:xfrm>
            <a:custGeom>
              <a:avLst/>
              <a:gdLst>
                <a:gd name="connsiteX0" fmla="*/ 27119 w 42485"/>
                <a:gd name="connsiteY0" fmla="*/ 38448 h 42485"/>
                <a:gd name="connsiteX1" fmla="*/ 38448 w 42485"/>
                <a:gd name="connsiteY1" fmla="*/ 27119 h 42485"/>
                <a:gd name="connsiteX2" fmla="*/ 27119 w 42485"/>
                <a:gd name="connsiteY2" fmla="*/ 15789 h 42485"/>
                <a:gd name="connsiteX3" fmla="*/ 15789 w 42485"/>
                <a:gd name="connsiteY3" fmla="*/ 27119 h 42485"/>
                <a:gd name="connsiteX4" fmla="*/ 27119 w 42485"/>
                <a:gd name="connsiteY4" fmla="*/ 38448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38448"/>
                  </a:moveTo>
                  <a:cubicBezTo>
                    <a:pt x="32783" y="38448"/>
                    <a:pt x="38448" y="32783"/>
                    <a:pt x="38448" y="27119"/>
                  </a:cubicBezTo>
                  <a:cubicBezTo>
                    <a:pt x="38448" y="21454"/>
                    <a:pt x="32783" y="15789"/>
                    <a:pt x="27119" y="15789"/>
                  </a:cubicBezTo>
                  <a:cubicBezTo>
                    <a:pt x="21454" y="15789"/>
                    <a:pt x="15789" y="21454"/>
                    <a:pt x="15789" y="27119"/>
                  </a:cubicBezTo>
                  <a:cubicBezTo>
                    <a:pt x="15789" y="32783"/>
                    <a:pt x="20038" y="38448"/>
                    <a:pt x="27119" y="3844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3" name="Freeform: Shape 2422">
              <a:extLst>
                <a:ext uri="{FF2B5EF4-FFF2-40B4-BE49-F238E27FC236}">
                  <a16:creationId xmlns:a16="http://schemas.microsoft.com/office/drawing/2014/main" id="{A04B4456-9AF1-48BD-9581-770240D998BC}"/>
                </a:ext>
              </a:extLst>
            </p:cNvPr>
            <p:cNvSpPr/>
            <p:nvPr/>
          </p:nvSpPr>
          <p:spPr>
            <a:xfrm>
              <a:off x="1415277" y="1356902"/>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4" name="Freeform: Shape 2423">
              <a:extLst>
                <a:ext uri="{FF2B5EF4-FFF2-40B4-BE49-F238E27FC236}">
                  <a16:creationId xmlns:a16="http://schemas.microsoft.com/office/drawing/2014/main" id="{C5B77753-3684-40DF-AB3E-B9A5E43A20F3}"/>
                </a:ext>
              </a:extLst>
            </p:cNvPr>
            <p:cNvSpPr/>
            <p:nvPr/>
          </p:nvSpPr>
          <p:spPr>
            <a:xfrm>
              <a:off x="1953429" y="1369648"/>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5" name="Freeform: Shape 2424">
              <a:extLst>
                <a:ext uri="{FF2B5EF4-FFF2-40B4-BE49-F238E27FC236}">
                  <a16:creationId xmlns:a16="http://schemas.microsoft.com/office/drawing/2014/main" id="{D1DD2A8F-0D49-478B-BF9D-69DC5D1D1D93}"/>
                </a:ext>
              </a:extLst>
            </p:cNvPr>
            <p:cNvSpPr/>
            <p:nvPr/>
          </p:nvSpPr>
          <p:spPr>
            <a:xfrm>
              <a:off x="2521322" y="1172797"/>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6" name="Freeform: Shape 2425">
              <a:extLst>
                <a:ext uri="{FF2B5EF4-FFF2-40B4-BE49-F238E27FC236}">
                  <a16:creationId xmlns:a16="http://schemas.microsoft.com/office/drawing/2014/main" id="{6749D681-7FA1-41D9-8C13-59D3B49DC1F0}"/>
                </a:ext>
              </a:extLst>
            </p:cNvPr>
            <p:cNvSpPr/>
            <p:nvPr/>
          </p:nvSpPr>
          <p:spPr>
            <a:xfrm>
              <a:off x="3781732" y="1709533"/>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7" name="Freeform: Shape 2426">
              <a:extLst>
                <a:ext uri="{FF2B5EF4-FFF2-40B4-BE49-F238E27FC236}">
                  <a16:creationId xmlns:a16="http://schemas.microsoft.com/office/drawing/2014/main" id="{4E3F64DB-83C2-4327-912F-9C271092AE93}"/>
                </a:ext>
              </a:extLst>
            </p:cNvPr>
            <p:cNvSpPr/>
            <p:nvPr/>
          </p:nvSpPr>
          <p:spPr>
            <a:xfrm>
              <a:off x="2657276" y="3149799"/>
              <a:ext cx="56648" cy="56648"/>
            </a:xfrm>
            <a:custGeom>
              <a:avLst/>
              <a:gdLst>
                <a:gd name="connsiteX0" fmla="*/ 34200 w 56647"/>
                <a:gd name="connsiteY0" fmla="*/ 52610 h 56647"/>
                <a:gd name="connsiteX1" fmla="*/ 52610 w 56647"/>
                <a:gd name="connsiteY1" fmla="*/ 34200 h 56647"/>
                <a:gd name="connsiteX2" fmla="*/ 34200 w 56647"/>
                <a:gd name="connsiteY2" fmla="*/ 15789 h 56647"/>
                <a:gd name="connsiteX3" fmla="*/ 15789 w 56647"/>
                <a:gd name="connsiteY3" fmla="*/ 34200 h 56647"/>
                <a:gd name="connsiteX4" fmla="*/ 34200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200" y="52610"/>
                  </a:moveTo>
                  <a:cubicBezTo>
                    <a:pt x="44113" y="52610"/>
                    <a:pt x="52610" y="44113"/>
                    <a:pt x="52610" y="34200"/>
                  </a:cubicBezTo>
                  <a:cubicBezTo>
                    <a:pt x="52610" y="24286"/>
                    <a:pt x="44113" y="15789"/>
                    <a:pt x="34200" y="15789"/>
                  </a:cubicBezTo>
                  <a:cubicBezTo>
                    <a:pt x="24286" y="15789"/>
                    <a:pt x="15789" y="24286"/>
                    <a:pt x="15789" y="34200"/>
                  </a:cubicBezTo>
                  <a:cubicBezTo>
                    <a:pt x="17205" y="45529"/>
                    <a:pt x="24286" y="52610"/>
                    <a:pt x="34200"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8" name="Freeform: Shape 2427">
              <a:extLst>
                <a:ext uri="{FF2B5EF4-FFF2-40B4-BE49-F238E27FC236}">
                  <a16:creationId xmlns:a16="http://schemas.microsoft.com/office/drawing/2014/main" id="{B09EB7F5-6C7B-49B8-AEEE-D4FD654BBD51}"/>
                </a:ext>
              </a:extLst>
            </p:cNvPr>
            <p:cNvSpPr/>
            <p:nvPr/>
          </p:nvSpPr>
          <p:spPr>
            <a:xfrm>
              <a:off x="2662941" y="3523674"/>
              <a:ext cx="99133" cy="99133"/>
            </a:xfrm>
            <a:custGeom>
              <a:avLst/>
              <a:gdLst>
                <a:gd name="connsiteX0" fmla="*/ 86599 w 99133"/>
                <a:gd name="connsiteY0" fmla="*/ 51194 h 99133"/>
                <a:gd name="connsiteX1" fmla="*/ 51194 w 99133"/>
                <a:gd name="connsiteY1" fmla="*/ 86599 h 99133"/>
                <a:gd name="connsiteX2" fmla="*/ 15789 w 99133"/>
                <a:gd name="connsiteY2" fmla="*/ 51194 h 99133"/>
                <a:gd name="connsiteX3" fmla="*/ 51194 w 99133"/>
                <a:gd name="connsiteY3" fmla="*/ 15789 h 99133"/>
                <a:gd name="connsiteX4" fmla="*/ 86599 w 99133"/>
                <a:gd name="connsiteY4" fmla="*/ 51194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86599" y="51194"/>
                  </a:moveTo>
                  <a:cubicBezTo>
                    <a:pt x="86599" y="70747"/>
                    <a:pt x="70747" y="86599"/>
                    <a:pt x="51194" y="86599"/>
                  </a:cubicBezTo>
                  <a:cubicBezTo>
                    <a:pt x="31640" y="86599"/>
                    <a:pt x="15789" y="70747"/>
                    <a:pt x="15789" y="51194"/>
                  </a:cubicBezTo>
                  <a:cubicBezTo>
                    <a:pt x="15789" y="31640"/>
                    <a:pt x="31640" y="15789"/>
                    <a:pt x="51194" y="15789"/>
                  </a:cubicBezTo>
                  <a:cubicBezTo>
                    <a:pt x="70747" y="15789"/>
                    <a:pt x="86599" y="31640"/>
                    <a:pt x="86599" y="5119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29" name="Freeform: Shape 2428">
              <a:extLst>
                <a:ext uri="{FF2B5EF4-FFF2-40B4-BE49-F238E27FC236}">
                  <a16:creationId xmlns:a16="http://schemas.microsoft.com/office/drawing/2014/main" id="{42CCC45E-FE05-4665-B20A-D4A06A015853}"/>
                </a:ext>
              </a:extLst>
            </p:cNvPr>
            <p:cNvSpPr/>
            <p:nvPr/>
          </p:nvSpPr>
          <p:spPr>
            <a:xfrm>
              <a:off x="3312973" y="3900381"/>
              <a:ext cx="56648" cy="56648"/>
            </a:xfrm>
            <a:custGeom>
              <a:avLst/>
              <a:gdLst>
                <a:gd name="connsiteX0" fmla="*/ 34199 w 56647"/>
                <a:gd name="connsiteY0" fmla="*/ 52610 h 56647"/>
                <a:gd name="connsiteX1" fmla="*/ 52610 w 56647"/>
                <a:gd name="connsiteY1" fmla="*/ 34200 h 56647"/>
                <a:gd name="connsiteX2" fmla="*/ 34199 w 56647"/>
                <a:gd name="connsiteY2" fmla="*/ 15789 h 56647"/>
                <a:gd name="connsiteX3" fmla="*/ 15789 w 56647"/>
                <a:gd name="connsiteY3" fmla="*/ 34200 h 56647"/>
                <a:gd name="connsiteX4" fmla="*/ 34199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199" y="52610"/>
                  </a:moveTo>
                  <a:cubicBezTo>
                    <a:pt x="44113" y="52610"/>
                    <a:pt x="52610" y="44113"/>
                    <a:pt x="52610" y="34200"/>
                  </a:cubicBezTo>
                  <a:cubicBezTo>
                    <a:pt x="52610" y="24286"/>
                    <a:pt x="44113" y="15789"/>
                    <a:pt x="34199" y="15789"/>
                  </a:cubicBezTo>
                  <a:cubicBezTo>
                    <a:pt x="24286" y="15789"/>
                    <a:pt x="15789" y="24286"/>
                    <a:pt x="15789" y="34200"/>
                  </a:cubicBezTo>
                  <a:cubicBezTo>
                    <a:pt x="15789" y="44113"/>
                    <a:pt x="24286" y="52610"/>
                    <a:pt x="34199"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0" name="Freeform: Shape 2429">
              <a:extLst>
                <a:ext uri="{FF2B5EF4-FFF2-40B4-BE49-F238E27FC236}">
                  <a16:creationId xmlns:a16="http://schemas.microsoft.com/office/drawing/2014/main" id="{C58CAFA4-B989-40CB-B3EF-3B851CA92267}"/>
                </a:ext>
              </a:extLst>
            </p:cNvPr>
            <p:cNvSpPr/>
            <p:nvPr/>
          </p:nvSpPr>
          <p:spPr>
            <a:xfrm>
              <a:off x="3535315" y="3809744"/>
              <a:ext cx="56648" cy="56648"/>
            </a:xfrm>
            <a:custGeom>
              <a:avLst/>
              <a:gdLst>
                <a:gd name="connsiteX0" fmla="*/ 34200 w 56647"/>
                <a:gd name="connsiteY0" fmla="*/ 52610 h 56647"/>
                <a:gd name="connsiteX1" fmla="*/ 52610 w 56647"/>
                <a:gd name="connsiteY1" fmla="*/ 34200 h 56647"/>
                <a:gd name="connsiteX2" fmla="*/ 34200 w 56647"/>
                <a:gd name="connsiteY2" fmla="*/ 15789 h 56647"/>
                <a:gd name="connsiteX3" fmla="*/ 15789 w 56647"/>
                <a:gd name="connsiteY3" fmla="*/ 34200 h 56647"/>
                <a:gd name="connsiteX4" fmla="*/ 34200 w 56647"/>
                <a:gd name="connsiteY4" fmla="*/ 5261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200" y="52610"/>
                  </a:moveTo>
                  <a:cubicBezTo>
                    <a:pt x="44113" y="52610"/>
                    <a:pt x="52610" y="44113"/>
                    <a:pt x="52610" y="34200"/>
                  </a:cubicBezTo>
                  <a:cubicBezTo>
                    <a:pt x="52610" y="24286"/>
                    <a:pt x="44113" y="15789"/>
                    <a:pt x="34200" y="15789"/>
                  </a:cubicBezTo>
                  <a:cubicBezTo>
                    <a:pt x="24286" y="15789"/>
                    <a:pt x="15789" y="24286"/>
                    <a:pt x="15789" y="34200"/>
                  </a:cubicBezTo>
                  <a:cubicBezTo>
                    <a:pt x="17205" y="44113"/>
                    <a:pt x="24286" y="52610"/>
                    <a:pt x="34200" y="5261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1" name="Freeform: Shape 2430">
              <a:extLst>
                <a:ext uri="{FF2B5EF4-FFF2-40B4-BE49-F238E27FC236}">
                  <a16:creationId xmlns:a16="http://schemas.microsoft.com/office/drawing/2014/main" id="{E2C3291F-C463-44CF-8DCE-4C0F956E7453}"/>
                </a:ext>
              </a:extLst>
            </p:cNvPr>
            <p:cNvSpPr/>
            <p:nvPr/>
          </p:nvSpPr>
          <p:spPr>
            <a:xfrm>
              <a:off x="4448759" y="1213867"/>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2" name="Freeform: Shape 2431">
              <a:extLst>
                <a:ext uri="{FF2B5EF4-FFF2-40B4-BE49-F238E27FC236}">
                  <a16:creationId xmlns:a16="http://schemas.microsoft.com/office/drawing/2014/main" id="{DE83A2FB-A4B1-4E9A-A5CB-21A3F2CB3E16}"/>
                </a:ext>
              </a:extLst>
            </p:cNvPr>
            <p:cNvSpPr/>
            <p:nvPr/>
          </p:nvSpPr>
          <p:spPr>
            <a:xfrm>
              <a:off x="4326966" y="738027"/>
              <a:ext cx="42486" cy="42486"/>
            </a:xfrm>
            <a:custGeom>
              <a:avLst/>
              <a:gdLst>
                <a:gd name="connsiteX0" fmla="*/ 24286 w 42485"/>
                <a:gd name="connsiteY0" fmla="*/ 32783 h 42485"/>
                <a:gd name="connsiteX1" fmla="*/ 32783 w 42485"/>
                <a:gd name="connsiteY1" fmla="*/ 24286 h 42485"/>
                <a:gd name="connsiteX2" fmla="*/ 24286 w 42485"/>
                <a:gd name="connsiteY2" fmla="*/ 15789 h 42485"/>
                <a:gd name="connsiteX3" fmla="*/ 15789 w 42485"/>
                <a:gd name="connsiteY3" fmla="*/ 24286 h 42485"/>
                <a:gd name="connsiteX4" fmla="*/ 24286 w 42485"/>
                <a:gd name="connsiteY4" fmla="*/ 3278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32783"/>
                  </a:moveTo>
                  <a:cubicBezTo>
                    <a:pt x="28535" y="32783"/>
                    <a:pt x="32783" y="28535"/>
                    <a:pt x="32783" y="24286"/>
                  </a:cubicBezTo>
                  <a:cubicBezTo>
                    <a:pt x="32783" y="20038"/>
                    <a:pt x="28535" y="15789"/>
                    <a:pt x="24286" y="15789"/>
                  </a:cubicBezTo>
                  <a:cubicBezTo>
                    <a:pt x="20038" y="15789"/>
                    <a:pt x="15789" y="20038"/>
                    <a:pt x="15789" y="24286"/>
                  </a:cubicBezTo>
                  <a:cubicBezTo>
                    <a:pt x="15789" y="28535"/>
                    <a:pt x="20038" y="32783"/>
                    <a:pt x="24286" y="3278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3" name="Freeform: Shape 2432">
              <a:extLst>
                <a:ext uri="{FF2B5EF4-FFF2-40B4-BE49-F238E27FC236}">
                  <a16:creationId xmlns:a16="http://schemas.microsoft.com/office/drawing/2014/main" id="{48A78798-E5EA-4A91-9D0A-CC53DE2926EE}"/>
                </a:ext>
              </a:extLst>
            </p:cNvPr>
            <p:cNvSpPr/>
            <p:nvPr/>
          </p:nvSpPr>
          <p:spPr>
            <a:xfrm>
              <a:off x="6951169" y="2996851"/>
              <a:ext cx="42486" cy="42486"/>
            </a:xfrm>
            <a:custGeom>
              <a:avLst/>
              <a:gdLst>
                <a:gd name="connsiteX0" fmla="*/ 22870 w 42485"/>
                <a:gd name="connsiteY0" fmla="*/ 15789 h 42485"/>
                <a:gd name="connsiteX1" fmla="*/ 28535 w 42485"/>
                <a:gd name="connsiteY1" fmla="*/ 22870 h 42485"/>
                <a:gd name="connsiteX2" fmla="*/ 21454 w 42485"/>
                <a:gd name="connsiteY2" fmla="*/ 28535 h 42485"/>
                <a:gd name="connsiteX3" fmla="*/ 15789 w 42485"/>
                <a:gd name="connsiteY3" fmla="*/ 21454 h 42485"/>
                <a:gd name="connsiteX4" fmla="*/ 22870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15789"/>
                  </a:moveTo>
                  <a:cubicBezTo>
                    <a:pt x="27118" y="15789"/>
                    <a:pt x="29951" y="20037"/>
                    <a:pt x="28535" y="22870"/>
                  </a:cubicBezTo>
                  <a:cubicBezTo>
                    <a:pt x="28535" y="27118"/>
                    <a:pt x="24286" y="29951"/>
                    <a:pt x="21454" y="28535"/>
                  </a:cubicBezTo>
                  <a:cubicBezTo>
                    <a:pt x="17205" y="28535"/>
                    <a:pt x="15789" y="24286"/>
                    <a:pt x="15789" y="21454"/>
                  </a:cubicBezTo>
                  <a:cubicBezTo>
                    <a:pt x="15789" y="18621"/>
                    <a:pt x="20037" y="15789"/>
                    <a:pt x="22870"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4" name="Freeform: Shape 2433">
              <a:extLst>
                <a:ext uri="{FF2B5EF4-FFF2-40B4-BE49-F238E27FC236}">
                  <a16:creationId xmlns:a16="http://schemas.microsoft.com/office/drawing/2014/main" id="{70560A6B-6330-4800-8E76-43665F1D98E9}"/>
                </a:ext>
              </a:extLst>
            </p:cNvPr>
            <p:cNvSpPr/>
            <p:nvPr/>
          </p:nvSpPr>
          <p:spPr>
            <a:xfrm>
              <a:off x="7004984" y="2904583"/>
              <a:ext cx="56648" cy="56648"/>
            </a:xfrm>
            <a:custGeom>
              <a:avLst/>
              <a:gdLst>
                <a:gd name="connsiteX0" fmla="*/ 32783 w 56647"/>
                <a:gd name="connsiteY0" fmla="*/ 16004 h 56647"/>
                <a:gd name="connsiteX1" fmla="*/ 46945 w 56647"/>
                <a:gd name="connsiteY1" fmla="*/ 32999 h 56647"/>
                <a:gd name="connsiteX2" fmla="*/ 29951 w 56647"/>
                <a:gd name="connsiteY2" fmla="*/ 47161 h 56647"/>
                <a:gd name="connsiteX3" fmla="*/ 15789 w 56647"/>
                <a:gd name="connsiteY3" fmla="*/ 30166 h 56647"/>
                <a:gd name="connsiteX4" fmla="*/ 32783 w 56647"/>
                <a:gd name="connsiteY4" fmla="*/ 1600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16004"/>
                  </a:moveTo>
                  <a:cubicBezTo>
                    <a:pt x="41281" y="17420"/>
                    <a:pt x="46945" y="24501"/>
                    <a:pt x="46945" y="32999"/>
                  </a:cubicBezTo>
                  <a:cubicBezTo>
                    <a:pt x="45529" y="41496"/>
                    <a:pt x="38448" y="47161"/>
                    <a:pt x="29951" y="47161"/>
                  </a:cubicBezTo>
                  <a:cubicBezTo>
                    <a:pt x="21454" y="45744"/>
                    <a:pt x="15789" y="38663"/>
                    <a:pt x="15789" y="30166"/>
                  </a:cubicBezTo>
                  <a:cubicBezTo>
                    <a:pt x="17205" y="20253"/>
                    <a:pt x="24286" y="14588"/>
                    <a:pt x="32783" y="1600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5" name="Freeform: Shape 2434">
              <a:extLst>
                <a:ext uri="{FF2B5EF4-FFF2-40B4-BE49-F238E27FC236}">
                  <a16:creationId xmlns:a16="http://schemas.microsoft.com/office/drawing/2014/main" id="{C4A46F7B-6C81-49D3-A0D8-2310CA43C176}"/>
                </a:ext>
              </a:extLst>
            </p:cNvPr>
            <p:cNvSpPr/>
            <p:nvPr/>
          </p:nvSpPr>
          <p:spPr>
            <a:xfrm>
              <a:off x="7105533" y="2974192"/>
              <a:ext cx="42486" cy="42486"/>
            </a:xfrm>
            <a:custGeom>
              <a:avLst/>
              <a:gdLst>
                <a:gd name="connsiteX0" fmla="*/ 29951 w 42485"/>
                <a:gd name="connsiteY0" fmla="*/ 15789 h 42485"/>
                <a:gd name="connsiteX1" fmla="*/ 39864 w 42485"/>
                <a:gd name="connsiteY1" fmla="*/ 28535 h 42485"/>
                <a:gd name="connsiteX2" fmla="*/ 27119 w 42485"/>
                <a:gd name="connsiteY2" fmla="*/ 38448 h 42485"/>
                <a:gd name="connsiteX3" fmla="*/ 15789 w 42485"/>
                <a:gd name="connsiteY3" fmla="*/ 25702 h 42485"/>
                <a:gd name="connsiteX4" fmla="*/ 29951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951" y="15789"/>
                  </a:moveTo>
                  <a:cubicBezTo>
                    <a:pt x="37032" y="15789"/>
                    <a:pt x="41281" y="21454"/>
                    <a:pt x="39864" y="28535"/>
                  </a:cubicBezTo>
                  <a:cubicBezTo>
                    <a:pt x="39864" y="35616"/>
                    <a:pt x="34200" y="39864"/>
                    <a:pt x="27119" y="38448"/>
                  </a:cubicBezTo>
                  <a:cubicBezTo>
                    <a:pt x="20038" y="38448"/>
                    <a:pt x="15789" y="32783"/>
                    <a:pt x="15789" y="25702"/>
                  </a:cubicBezTo>
                  <a:cubicBezTo>
                    <a:pt x="17205" y="20038"/>
                    <a:pt x="22870" y="15789"/>
                    <a:pt x="29951"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6" name="Freeform: Shape 2435">
              <a:extLst>
                <a:ext uri="{FF2B5EF4-FFF2-40B4-BE49-F238E27FC236}">
                  <a16:creationId xmlns:a16="http://schemas.microsoft.com/office/drawing/2014/main" id="{E7922197-C992-4520-A8D0-A7E5ECB90395}"/>
                </a:ext>
              </a:extLst>
            </p:cNvPr>
            <p:cNvSpPr/>
            <p:nvPr/>
          </p:nvSpPr>
          <p:spPr>
            <a:xfrm>
              <a:off x="7082506" y="3371773"/>
              <a:ext cx="42486" cy="42486"/>
            </a:xfrm>
            <a:custGeom>
              <a:avLst/>
              <a:gdLst>
                <a:gd name="connsiteX0" fmla="*/ 23238 w 42485"/>
                <a:gd name="connsiteY0" fmla="*/ 16157 h 42485"/>
                <a:gd name="connsiteX1" fmla="*/ 28903 w 42485"/>
                <a:gd name="connsiteY1" fmla="*/ 23238 h 42485"/>
                <a:gd name="connsiteX2" fmla="*/ 21822 w 42485"/>
                <a:gd name="connsiteY2" fmla="*/ 28903 h 42485"/>
                <a:gd name="connsiteX3" fmla="*/ 16157 w 42485"/>
                <a:gd name="connsiteY3" fmla="*/ 21822 h 42485"/>
                <a:gd name="connsiteX4" fmla="*/ 23238 w 42485"/>
                <a:gd name="connsiteY4" fmla="*/ 16157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6157"/>
                  </a:moveTo>
                  <a:cubicBezTo>
                    <a:pt x="27487" y="16157"/>
                    <a:pt x="28903" y="20406"/>
                    <a:pt x="28903" y="23238"/>
                  </a:cubicBezTo>
                  <a:cubicBezTo>
                    <a:pt x="28903" y="27487"/>
                    <a:pt x="24655" y="30319"/>
                    <a:pt x="21822" y="28903"/>
                  </a:cubicBezTo>
                  <a:cubicBezTo>
                    <a:pt x="17574" y="28903"/>
                    <a:pt x="14741" y="24654"/>
                    <a:pt x="16157" y="21822"/>
                  </a:cubicBezTo>
                  <a:cubicBezTo>
                    <a:pt x="16157" y="17573"/>
                    <a:pt x="20406" y="14741"/>
                    <a:pt x="23238" y="1615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7" name="Freeform: Shape 2436">
              <a:extLst>
                <a:ext uri="{FF2B5EF4-FFF2-40B4-BE49-F238E27FC236}">
                  <a16:creationId xmlns:a16="http://schemas.microsoft.com/office/drawing/2014/main" id="{AEA8F885-3DF8-4792-8488-614C07F3C898}"/>
                </a:ext>
              </a:extLst>
            </p:cNvPr>
            <p:cNvSpPr/>
            <p:nvPr/>
          </p:nvSpPr>
          <p:spPr>
            <a:xfrm>
              <a:off x="6548970" y="2972407"/>
              <a:ext cx="42486" cy="42486"/>
            </a:xfrm>
            <a:custGeom>
              <a:avLst/>
              <a:gdLst>
                <a:gd name="connsiteX0" fmla="*/ 22870 w 42485"/>
                <a:gd name="connsiteY0" fmla="*/ 16157 h 42485"/>
                <a:gd name="connsiteX1" fmla="*/ 28535 w 42485"/>
                <a:gd name="connsiteY1" fmla="*/ 23238 h 42485"/>
                <a:gd name="connsiteX2" fmla="*/ 21454 w 42485"/>
                <a:gd name="connsiteY2" fmla="*/ 28903 h 42485"/>
                <a:gd name="connsiteX3" fmla="*/ 15789 w 42485"/>
                <a:gd name="connsiteY3" fmla="*/ 21822 h 42485"/>
                <a:gd name="connsiteX4" fmla="*/ 22870 w 42485"/>
                <a:gd name="connsiteY4" fmla="*/ 16157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16157"/>
                  </a:moveTo>
                  <a:cubicBezTo>
                    <a:pt x="27118" y="16157"/>
                    <a:pt x="29951" y="20406"/>
                    <a:pt x="28535" y="23238"/>
                  </a:cubicBezTo>
                  <a:cubicBezTo>
                    <a:pt x="28535" y="27487"/>
                    <a:pt x="24286" y="30319"/>
                    <a:pt x="21454" y="28903"/>
                  </a:cubicBezTo>
                  <a:cubicBezTo>
                    <a:pt x="17205" y="28903"/>
                    <a:pt x="15789" y="24655"/>
                    <a:pt x="15789" y="21822"/>
                  </a:cubicBezTo>
                  <a:cubicBezTo>
                    <a:pt x="17205" y="17574"/>
                    <a:pt x="20037" y="14741"/>
                    <a:pt x="22870" y="1615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8" name="Freeform: Shape 2437">
              <a:extLst>
                <a:ext uri="{FF2B5EF4-FFF2-40B4-BE49-F238E27FC236}">
                  <a16:creationId xmlns:a16="http://schemas.microsoft.com/office/drawing/2014/main" id="{DB93927E-663D-461C-B8B6-AE13717DA090}"/>
                </a:ext>
              </a:extLst>
            </p:cNvPr>
            <p:cNvSpPr/>
            <p:nvPr/>
          </p:nvSpPr>
          <p:spPr>
            <a:xfrm>
              <a:off x="6709000" y="2978440"/>
              <a:ext cx="42486" cy="42486"/>
            </a:xfrm>
            <a:custGeom>
              <a:avLst/>
              <a:gdLst>
                <a:gd name="connsiteX0" fmla="*/ 25703 w 42485"/>
                <a:gd name="connsiteY0" fmla="*/ 15789 h 42485"/>
                <a:gd name="connsiteX1" fmla="*/ 34200 w 42485"/>
                <a:gd name="connsiteY1" fmla="*/ 25702 h 42485"/>
                <a:gd name="connsiteX2" fmla="*/ 24286 w 42485"/>
                <a:gd name="connsiteY2" fmla="*/ 34200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31367" y="15789"/>
                    <a:pt x="34200" y="21454"/>
                    <a:pt x="34200" y="25702"/>
                  </a:cubicBezTo>
                  <a:cubicBezTo>
                    <a:pt x="34200" y="31367"/>
                    <a:pt x="28535" y="34200"/>
                    <a:pt x="24286" y="34200"/>
                  </a:cubicBezTo>
                  <a:cubicBezTo>
                    <a:pt x="18622" y="34200"/>
                    <a:pt x="15789" y="28535"/>
                    <a:pt x="15789" y="24286"/>
                  </a:cubicBezTo>
                  <a:cubicBezTo>
                    <a:pt x="17205" y="18621"/>
                    <a:pt x="21454" y="15789"/>
                    <a:pt x="25703"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39" name="Freeform: Shape 2438">
              <a:extLst>
                <a:ext uri="{FF2B5EF4-FFF2-40B4-BE49-F238E27FC236}">
                  <a16:creationId xmlns:a16="http://schemas.microsoft.com/office/drawing/2014/main" id="{F3C98328-BD86-4746-9661-3CF726746AB4}"/>
                </a:ext>
              </a:extLst>
            </p:cNvPr>
            <p:cNvSpPr/>
            <p:nvPr/>
          </p:nvSpPr>
          <p:spPr>
            <a:xfrm>
              <a:off x="6279894" y="3036504"/>
              <a:ext cx="42486" cy="42486"/>
            </a:xfrm>
            <a:custGeom>
              <a:avLst/>
              <a:gdLst>
                <a:gd name="connsiteX0" fmla="*/ 22870 w 42485"/>
                <a:gd name="connsiteY0" fmla="*/ 15789 h 42485"/>
                <a:gd name="connsiteX1" fmla="*/ 28535 w 42485"/>
                <a:gd name="connsiteY1" fmla="*/ 22870 h 42485"/>
                <a:gd name="connsiteX2" fmla="*/ 21454 w 42485"/>
                <a:gd name="connsiteY2" fmla="*/ 28535 h 42485"/>
                <a:gd name="connsiteX3" fmla="*/ 15789 w 42485"/>
                <a:gd name="connsiteY3" fmla="*/ 21454 h 42485"/>
                <a:gd name="connsiteX4" fmla="*/ 22870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15789"/>
                  </a:moveTo>
                  <a:cubicBezTo>
                    <a:pt x="27118" y="15789"/>
                    <a:pt x="29951" y="20038"/>
                    <a:pt x="28535" y="22870"/>
                  </a:cubicBezTo>
                  <a:cubicBezTo>
                    <a:pt x="28535" y="27119"/>
                    <a:pt x="24286" y="29951"/>
                    <a:pt x="21454" y="28535"/>
                  </a:cubicBezTo>
                  <a:cubicBezTo>
                    <a:pt x="17205" y="28535"/>
                    <a:pt x="15789" y="24286"/>
                    <a:pt x="15789" y="21454"/>
                  </a:cubicBezTo>
                  <a:cubicBezTo>
                    <a:pt x="15789" y="18622"/>
                    <a:pt x="18621" y="15789"/>
                    <a:pt x="22870"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0" name="Freeform: Shape 2439">
              <a:extLst>
                <a:ext uri="{FF2B5EF4-FFF2-40B4-BE49-F238E27FC236}">
                  <a16:creationId xmlns:a16="http://schemas.microsoft.com/office/drawing/2014/main" id="{767A7323-A493-421D-A104-C063AE3B4694}"/>
                </a:ext>
              </a:extLst>
            </p:cNvPr>
            <p:cNvSpPr/>
            <p:nvPr/>
          </p:nvSpPr>
          <p:spPr>
            <a:xfrm>
              <a:off x="6742988" y="3078990"/>
              <a:ext cx="113295" cy="113295"/>
            </a:xfrm>
            <a:custGeom>
              <a:avLst/>
              <a:gdLst>
                <a:gd name="connsiteX0" fmla="*/ 56859 w 113295"/>
                <a:gd name="connsiteY0" fmla="*/ 97928 h 113295"/>
                <a:gd name="connsiteX1" fmla="*/ 97928 w 113295"/>
                <a:gd name="connsiteY1" fmla="*/ 56859 h 113295"/>
                <a:gd name="connsiteX2" fmla="*/ 56859 w 113295"/>
                <a:gd name="connsiteY2" fmla="*/ 15789 h 113295"/>
                <a:gd name="connsiteX3" fmla="*/ 15789 w 113295"/>
                <a:gd name="connsiteY3" fmla="*/ 56859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8" y="79518"/>
                    <a:pt x="97928" y="56859"/>
                  </a:cubicBezTo>
                  <a:cubicBezTo>
                    <a:pt x="97928" y="34200"/>
                    <a:pt x="79518" y="15789"/>
                    <a:pt x="56859" y="15789"/>
                  </a:cubicBezTo>
                  <a:cubicBezTo>
                    <a:pt x="34200" y="15789"/>
                    <a:pt x="15789" y="34200"/>
                    <a:pt x="15789" y="56859"/>
                  </a:cubicBezTo>
                  <a:cubicBezTo>
                    <a:pt x="15789" y="79518"/>
                    <a:pt x="34200" y="97928"/>
                    <a:pt x="56859"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1" name="Freeform: Shape 2440">
              <a:extLst>
                <a:ext uri="{FF2B5EF4-FFF2-40B4-BE49-F238E27FC236}">
                  <a16:creationId xmlns:a16="http://schemas.microsoft.com/office/drawing/2014/main" id="{3F9A85A2-AE97-4D27-8387-B8CBF957C52E}"/>
                </a:ext>
              </a:extLst>
            </p:cNvPr>
            <p:cNvSpPr/>
            <p:nvPr/>
          </p:nvSpPr>
          <p:spPr>
            <a:xfrm>
              <a:off x="6929818" y="3304164"/>
              <a:ext cx="70810" cy="70810"/>
            </a:xfrm>
            <a:custGeom>
              <a:avLst/>
              <a:gdLst>
                <a:gd name="connsiteX0" fmla="*/ 41388 w 70809"/>
                <a:gd name="connsiteY0" fmla="*/ 66772 h 70809"/>
                <a:gd name="connsiteX1" fmla="*/ 66880 w 70809"/>
                <a:gd name="connsiteY1" fmla="*/ 41280 h 70809"/>
                <a:gd name="connsiteX2" fmla="*/ 41388 w 70809"/>
                <a:gd name="connsiteY2" fmla="*/ 15789 h 70809"/>
                <a:gd name="connsiteX3" fmla="*/ 15897 w 70809"/>
                <a:gd name="connsiteY3" fmla="*/ 41280 h 70809"/>
                <a:gd name="connsiteX4" fmla="*/ 41388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388" y="66772"/>
                  </a:moveTo>
                  <a:cubicBezTo>
                    <a:pt x="55550" y="66772"/>
                    <a:pt x="66880" y="55442"/>
                    <a:pt x="66880" y="41280"/>
                  </a:cubicBezTo>
                  <a:cubicBezTo>
                    <a:pt x="66880" y="27119"/>
                    <a:pt x="55550" y="15789"/>
                    <a:pt x="41388" y="15789"/>
                  </a:cubicBezTo>
                  <a:cubicBezTo>
                    <a:pt x="27226" y="15789"/>
                    <a:pt x="15897" y="27119"/>
                    <a:pt x="15897" y="41280"/>
                  </a:cubicBezTo>
                  <a:cubicBezTo>
                    <a:pt x="14481" y="55442"/>
                    <a:pt x="27226" y="66772"/>
                    <a:pt x="41388"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2" name="Freeform: Shape 2441">
              <a:extLst>
                <a:ext uri="{FF2B5EF4-FFF2-40B4-BE49-F238E27FC236}">
                  <a16:creationId xmlns:a16="http://schemas.microsoft.com/office/drawing/2014/main" id="{C7BFBCC7-E244-42B9-B600-976587934E53}"/>
                </a:ext>
              </a:extLst>
            </p:cNvPr>
            <p:cNvSpPr/>
            <p:nvPr/>
          </p:nvSpPr>
          <p:spPr>
            <a:xfrm>
              <a:off x="6825128" y="3101432"/>
              <a:ext cx="56648" cy="56648"/>
            </a:xfrm>
            <a:custGeom>
              <a:avLst/>
              <a:gdLst>
                <a:gd name="connsiteX0" fmla="*/ 29951 w 56647"/>
                <a:gd name="connsiteY0" fmla="*/ 16006 h 56647"/>
                <a:gd name="connsiteX1" fmla="*/ 42697 w 56647"/>
                <a:gd name="connsiteY1" fmla="*/ 30168 h 56647"/>
                <a:gd name="connsiteX2" fmla="*/ 28535 w 56647"/>
                <a:gd name="connsiteY2" fmla="*/ 42913 h 56647"/>
                <a:gd name="connsiteX3" fmla="*/ 15789 w 56647"/>
                <a:gd name="connsiteY3" fmla="*/ 28752 h 56647"/>
                <a:gd name="connsiteX4" fmla="*/ 29951 w 56647"/>
                <a:gd name="connsiteY4" fmla="*/ 16006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6006"/>
                  </a:moveTo>
                  <a:cubicBezTo>
                    <a:pt x="37032" y="16006"/>
                    <a:pt x="42697" y="23087"/>
                    <a:pt x="42697" y="30168"/>
                  </a:cubicBezTo>
                  <a:cubicBezTo>
                    <a:pt x="42697" y="37249"/>
                    <a:pt x="35616" y="42913"/>
                    <a:pt x="28535" y="42913"/>
                  </a:cubicBezTo>
                  <a:cubicBezTo>
                    <a:pt x="21454" y="42913"/>
                    <a:pt x="15789" y="35832"/>
                    <a:pt x="15789" y="28752"/>
                  </a:cubicBezTo>
                  <a:cubicBezTo>
                    <a:pt x="15789" y="20255"/>
                    <a:pt x="22870" y="14590"/>
                    <a:pt x="29951" y="1600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3" name="Freeform: Shape 2442">
              <a:extLst>
                <a:ext uri="{FF2B5EF4-FFF2-40B4-BE49-F238E27FC236}">
                  <a16:creationId xmlns:a16="http://schemas.microsoft.com/office/drawing/2014/main" id="{CE723A2B-0A83-42FD-A429-5B6795B490A2}"/>
                </a:ext>
              </a:extLst>
            </p:cNvPr>
            <p:cNvSpPr/>
            <p:nvPr/>
          </p:nvSpPr>
          <p:spPr>
            <a:xfrm>
              <a:off x="6779441" y="3529339"/>
              <a:ext cx="42486" cy="42486"/>
            </a:xfrm>
            <a:custGeom>
              <a:avLst/>
              <a:gdLst>
                <a:gd name="connsiteX0" fmla="*/ 23238 w 42485"/>
                <a:gd name="connsiteY0" fmla="*/ 15789 h 42485"/>
                <a:gd name="connsiteX1" fmla="*/ 28903 w 42485"/>
                <a:gd name="connsiteY1" fmla="*/ 22870 h 42485"/>
                <a:gd name="connsiteX2" fmla="*/ 21822 w 42485"/>
                <a:gd name="connsiteY2" fmla="*/ 28535 h 42485"/>
                <a:gd name="connsiteX3" fmla="*/ 16157 w 42485"/>
                <a:gd name="connsiteY3" fmla="*/ 21454 h 42485"/>
                <a:gd name="connsiteX4" fmla="*/ 2323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5789"/>
                  </a:moveTo>
                  <a:cubicBezTo>
                    <a:pt x="27487" y="15789"/>
                    <a:pt x="30319" y="20038"/>
                    <a:pt x="28903" y="22870"/>
                  </a:cubicBezTo>
                  <a:cubicBezTo>
                    <a:pt x="28903" y="27119"/>
                    <a:pt x="24655" y="29951"/>
                    <a:pt x="21822" y="28535"/>
                  </a:cubicBezTo>
                  <a:cubicBezTo>
                    <a:pt x="17574" y="28535"/>
                    <a:pt x="14741" y="24286"/>
                    <a:pt x="16157" y="21454"/>
                  </a:cubicBezTo>
                  <a:cubicBezTo>
                    <a:pt x="16157" y="18621"/>
                    <a:pt x="18990" y="15789"/>
                    <a:pt x="2323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4" name="Freeform: Shape 2443">
              <a:extLst>
                <a:ext uri="{FF2B5EF4-FFF2-40B4-BE49-F238E27FC236}">
                  <a16:creationId xmlns:a16="http://schemas.microsoft.com/office/drawing/2014/main" id="{C7C3D9EB-C567-4D43-BD98-5CBAA407FA36}"/>
                </a:ext>
              </a:extLst>
            </p:cNvPr>
            <p:cNvSpPr/>
            <p:nvPr/>
          </p:nvSpPr>
          <p:spPr>
            <a:xfrm>
              <a:off x="6885655" y="3410010"/>
              <a:ext cx="42486" cy="42486"/>
            </a:xfrm>
            <a:custGeom>
              <a:avLst/>
              <a:gdLst>
                <a:gd name="connsiteX0" fmla="*/ 23238 w 42485"/>
                <a:gd name="connsiteY0" fmla="*/ 16157 h 42485"/>
                <a:gd name="connsiteX1" fmla="*/ 28903 w 42485"/>
                <a:gd name="connsiteY1" fmla="*/ 23238 h 42485"/>
                <a:gd name="connsiteX2" fmla="*/ 21822 w 42485"/>
                <a:gd name="connsiteY2" fmla="*/ 28903 h 42485"/>
                <a:gd name="connsiteX3" fmla="*/ 16157 w 42485"/>
                <a:gd name="connsiteY3" fmla="*/ 21822 h 42485"/>
                <a:gd name="connsiteX4" fmla="*/ 23238 w 42485"/>
                <a:gd name="connsiteY4" fmla="*/ 16157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6157"/>
                  </a:moveTo>
                  <a:cubicBezTo>
                    <a:pt x="27487" y="16157"/>
                    <a:pt x="30319" y="20406"/>
                    <a:pt x="28903" y="23238"/>
                  </a:cubicBezTo>
                  <a:cubicBezTo>
                    <a:pt x="28903" y="27487"/>
                    <a:pt x="24655" y="30319"/>
                    <a:pt x="21822" y="28903"/>
                  </a:cubicBezTo>
                  <a:cubicBezTo>
                    <a:pt x="17574" y="28903"/>
                    <a:pt x="14741" y="24654"/>
                    <a:pt x="16157" y="21822"/>
                  </a:cubicBezTo>
                  <a:cubicBezTo>
                    <a:pt x="16157" y="17573"/>
                    <a:pt x="18990" y="14741"/>
                    <a:pt x="23238" y="1615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5" name="Freeform: Shape 2444">
              <a:extLst>
                <a:ext uri="{FF2B5EF4-FFF2-40B4-BE49-F238E27FC236}">
                  <a16:creationId xmlns:a16="http://schemas.microsoft.com/office/drawing/2014/main" id="{AF4AB749-13D4-4B52-A680-4D0584AC7296}"/>
                </a:ext>
              </a:extLst>
            </p:cNvPr>
            <p:cNvSpPr/>
            <p:nvPr/>
          </p:nvSpPr>
          <p:spPr>
            <a:xfrm>
              <a:off x="6435675" y="3098817"/>
              <a:ext cx="56648" cy="56648"/>
            </a:xfrm>
            <a:custGeom>
              <a:avLst/>
              <a:gdLst>
                <a:gd name="connsiteX0" fmla="*/ 29951 w 56647"/>
                <a:gd name="connsiteY0" fmla="*/ 15789 h 56647"/>
                <a:gd name="connsiteX1" fmla="*/ 42697 w 56647"/>
                <a:gd name="connsiteY1" fmla="*/ 29951 h 56647"/>
                <a:gd name="connsiteX2" fmla="*/ 28535 w 56647"/>
                <a:gd name="connsiteY2" fmla="*/ 42697 h 56647"/>
                <a:gd name="connsiteX3" fmla="*/ 15789 w 56647"/>
                <a:gd name="connsiteY3" fmla="*/ 28535 h 56647"/>
                <a:gd name="connsiteX4" fmla="*/ 29951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5789"/>
                  </a:moveTo>
                  <a:cubicBezTo>
                    <a:pt x="37032" y="15789"/>
                    <a:pt x="42697" y="22870"/>
                    <a:pt x="42697" y="29951"/>
                  </a:cubicBezTo>
                  <a:cubicBezTo>
                    <a:pt x="42697" y="37032"/>
                    <a:pt x="35616" y="42697"/>
                    <a:pt x="28535" y="42697"/>
                  </a:cubicBezTo>
                  <a:cubicBezTo>
                    <a:pt x="21454" y="42697"/>
                    <a:pt x="15789" y="35616"/>
                    <a:pt x="15789" y="28535"/>
                  </a:cubicBezTo>
                  <a:cubicBezTo>
                    <a:pt x="15789" y="21454"/>
                    <a:pt x="22870" y="15789"/>
                    <a:pt x="29951"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6" name="Freeform: Shape 2445">
              <a:extLst>
                <a:ext uri="{FF2B5EF4-FFF2-40B4-BE49-F238E27FC236}">
                  <a16:creationId xmlns:a16="http://schemas.microsoft.com/office/drawing/2014/main" id="{E963E974-5F0C-4BDF-98AE-0247A2ADE2F8}"/>
                </a:ext>
              </a:extLst>
            </p:cNvPr>
            <p:cNvSpPr/>
            <p:nvPr/>
          </p:nvSpPr>
          <p:spPr>
            <a:xfrm>
              <a:off x="6990822" y="3330801"/>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4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5"/>
                    <a:pt x="31367" y="37303"/>
                    <a:pt x="25703" y="37303"/>
                  </a:cubicBezTo>
                  <a:cubicBezTo>
                    <a:pt x="20038" y="37303"/>
                    <a:pt x="15789" y="31638"/>
                    <a:pt x="15789" y="25974"/>
                  </a:cubicBezTo>
                  <a:cubicBezTo>
                    <a:pt x="15789" y="18893"/>
                    <a:pt x="21454" y="14644"/>
                    <a:pt x="27119"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7" name="Freeform: Shape 2446">
              <a:extLst>
                <a:ext uri="{FF2B5EF4-FFF2-40B4-BE49-F238E27FC236}">
                  <a16:creationId xmlns:a16="http://schemas.microsoft.com/office/drawing/2014/main" id="{18C21AE3-52D3-4807-8595-C664098FCC0B}"/>
                </a:ext>
              </a:extLst>
            </p:cNvPr>
            <p:cNvSpPr/>
            <p:nvPr/>
          </p:nvSpPr>
          <p:spPr>
            <a:xfrm>
              <a:off x="6316626" y="3638288"/>
              <a:ext cx="99133" cy="99133"/>
            </a:xfrm>
            <a:custGeom>
              <a:avLst/>
              <a:gdLst>
                <a:gd name="connsiteX0" fmla="*/ 55532 w 99133"/>
                <a:gd name="connsiteY0" fmla="*/ 15886 h 99133"/>
                <a:gd name="connsiteX1" fmla="*/ 89520 w 99133"/>
                <a:gd name="connsiteY1" fmla="*/ 55540 h 99133"/>
                <a:gd name="connsiteX2" fmla="*/ 49867 w 99133"/>
                <a:gd name="connsiteY2" fmla="*/ 89528 h 99133"/>
                <a:gd name="connsiteX3" fmla="*/ 15878 w 99133"/>
                <a:gd name="connsiteY3" fmla="*/ 49875 h 99133"/>
                <a:gd name="connsiteX4" fmla="*/ 55532 w 99133"/>
                <a:gd name="connsiteY4" fmla="*/ 15886 h 99133"/>
                <a:gd name="connsiteX5" fmla="*/ 55532 w 99133"/>
                <a:gd name="connsiteY5" fmla="*/ 15886 h 99133"/>
                <a:gd name="connsiteX6" fmla="*/ 54115 w 99133"/>
                <a:gd name="connsiteY6" fmla="*/ 31465 h 99133"/>
                <a:gd name="connsiteX7" fmla="*/ 31456 w 99133"/>
                <a:gd name="connsiteY7" fmla="*/ 49875 h 99133"/>
                <a:gd name="connsiteX8" fmla="*/ 49867 w 99133"/>
                <a:gd name="connsiteY8" fmla="*/ 72534 h 99133"/>
                <a:gd name="connsiteX9" fmla="*/ 72526 w 99133"/>
                <a:gd name="connsiteY9" fmla="*/ 54124 h 99133"/>
                <a:gd name="connsiteX10" fmla="*/ 54115 w 99133"/>
                <a:gd name="connsiteY10" fmla="*/ 31465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55532" y="15886"/>
                  </a:moveTo>
                  <a:cubicBezTo>
                    <a:pt x="75358" y="17303"/>
                    <a:pt x="90936" y="35713"/>
                    <a:pt x="89520" y="55540"/>
                  </a:cubicBezTo>
                  <a:cubicBezTo>
                    <a:pt x="88104" y="75367"/>
                    <a:pt x="69694" y="90945"/>
                    <a:pt x="49867" y="89528"/>
                  </a:cubicBezTo>
                  <a:cubicBezTo>
                    <a:pt x="30040" y="88112"/>
                    <a:pt x="14462" y="69702"/>
                    <a:pt x="15878" y="49875"/>
                  </a:cubicBezTo>
                  <a:cubicBezTo>
                    <a:pt x="17294" y="28632"/>
                    <a:pt x="34289" y="14470"/>
                    <a:pt x="55532" y="15886"/>
                  </a:cubicBezTo>
                  <a:lnTo>
                    <a:pt x="55532" y="15886"/>
                  </a:lnTo>
                  <a:close/>
                  <a:moveTo>
                    <a:pt x="54115" y="31465"/>
                  </a:moveTo>
                  <a:cubicBezTo>
                    <a:pt x="42786" y="30048"/>
                    <a:pt x="32873" y="38545"/>
                    <a:pt x="31456" y="49875"/>
                  </a:cubicBezTo>
                  <a:cubicBezTo>
                    <a:pt x="30040" y="61205"/>
                    <a:pt x="38537" y="71118"/>
                    <a:pt x="49867" y="72534"/>
                  </a:cubicBezTo>
                  <a:cubicBezTo>
                    <a:pt x="61196" y="73950"/>
                    <a:pt x="71110" y="65453"/>
                    <a:pt x="72526" y="54124"/>
                  </a:cubicBezTo>
                  <a:cubicBezTo>
                    <a:pt x="73942" y="42794"/>
                    <a:pt x="65445" y="32881"/>
                    <a:pt x="54115" y="3146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8" name="Freeform: Shape 2447">
              <a:extLst>
                <a:ext uri="{FF2B5EF4-FFF2-40B4-BE49-F238E27FC236}">
                  <a16:creationId xmlns:a16="http://schemas.microsoft.com/office/drawing/2014/main" id="{50EF258E-01F8-4FF9-BB69-709220C05BB8}"/>
                </a:ext>
              </a:extLst>
            </p:cNvPr>
            <p:cNvSpPr/>
            <p:nvPr/>
          </p:nvSpPr>
          <p:spPr>
            <a:xfrm>
              <a:off x="6291042" y="3462778"/>
              <a:ext cx="56648" cy="56648"/>
            </a:xfrm>
            <a:custGeom>
              <a:avLst/>
              <a:gdLst>
                <a:gd name="connsiteX0" fmla="*/ 32965 w 56647"/>
                <a:gd name="connsiteY0" fmla="*/ 15789 h 56647"/>
                <a:gd name="connsiteX1" fmla="*/ 47127 w 56647"/>
                <a:gd name="connsiteY1" fmla="*/ 32783 h 56647"/>
                <a:gd name="connsiteX2" fmla="*/ 30132 w 56647"/>
                <a:gd name="connsiteY2" fmla="*/ 46945 h 56647"/>
                <a:gd name="connsiteX3" fmla="*/ 15970 w 56647"/>
                <a:gd name="connsiteY3" fmla="*/ 29951 h 56647"/>
                <a:gd name="connsiteX4" fmla="*/ 32965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789"/>
                  </a:moveTo>
                  <a:cubicBezTo>
                    <a:pt x="41462" y="17205"/>
                    <a:pt x="48543" y="24286"/>
                    <a:pt x="47127" y="32783"/>
                  </a:cubicBezTo>
                  <a:cubicBezTo>
                    <a:pt x="45710" y="41280"/>
                    <a:pt x="38630" y="48361"/>
                    <a:pt x="30132" y="46945"/>
                  </a:cubicBezTo>
                  <a:cubicBezTo>
                    <a:pt x="21635" y="45529"/>
                    <a:pt x="14554" y="38448"/>
                    <a:pt x="15970" y="29951"/>
                  </a:cubicBezTo>
                  <a:cubicBezTo>
                    <a:pt x="15970" y="22870"/>
                    <a:pt x="24468" y="15789"/>
                    <a:pt x="32965"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49" name="Freeform: Shape 2448">
              <a:extLst>
                <a:ext uri="{FF2B5EF4-FFF2-40B4-BE49-F238E27FC236}">
                  <a16:creationId xmlns:a16="http://schemas.microsoft.com/office/drawing/2014/main" id="{DC707F50-49BC-4981-BB56-50D51D609875}"/>
                </a:ext>
              </a:extLst>
            </p:cNvPr>
            <p:cNvSpPr/>
            <p:nvPr/>
          </p:nvSpPr>
          <p:spPr>
            <a:xfrm>
              <a:off x="6337958" y="3543501"/>
              <a:ext cx="42486" cy="42486"/>
            </a:xfrm>
            <a:custGeom>
              <a:avLst/>
              <a:gdLst>
                <a:gd name="connsiteX0" fmla="*/ 25702 w 42485"/>
                <a:gd name="connsiteY0" fmla="*/ 15789 h 42485"/>
                <a:gd name="connsiteX1" fmla="*/ 34199 w 42485"/>
                <a:gd name="connsiteY1" fmla="*/ 25702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1454"/>
                    <a:pt x="34199" y="25702"/>
                  </a:cubicBezTo>
                  <a:cubicBezTo>
                    <a:pt x="34199" y="31367"/>
                    <a:pt x="28535" y="34200"/>
                    <a:pt x="24286" y="34200"/>
                  </a:cubicBezTo>
                  <a:cubicBezTo>
                    <a:pt x="18621" y="34200"/>
                    <a:pt x="15789" y="29951"/>
                    <a:pt x="15789" y="24286"/>
                  </a:cubicBezTo>
                  <a:cubicBezTo>
                    <a:pt x="17205" y="18621"/>
                    <a:pt x="21454"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0" name="Freeform: Shape 2449">
              <a:extLst>
                <a:ext uri="{FF2B5EF4-FFF2-40B4-BE49-F238E27FC236}">
                  <a16:creationId xmlns:a16="http://schemas.microsoft.com/office/drawing/2014/main" id="{D5ED5AB6-9B82-42E3-BDDC-2FFC5ABAA882}"/>
                </a:ext>
              </a:extLst>
            </p:cNvPr>
            <p:cNvSpPr/>
            <p:nvPr/>
          </p:nvSpPr>
          <p:spPr>
            <a:xfrm>
              <a:off x="6435675" y="3527923"/>
              <a:ext cx="42486" cy="42486"/>
            </a:xfrm>
            <a:custGeom>
              <a:avLst/>
              <a:gdLst>
                <a:gd name="connsiteX0" fmla="*/ 25702 w 42485"/>
                <a:gd name="connsiteY0" fmla="*/ 15789 h 42485"/>
                <a:gd name="connsiteX1" fmla="*/ 34199 w 42485"/>
                <a:gd name="connsiteY1" fmla="*/ 25702 h 42485"/>
                <a:gd name="connsiteX2" fmla="*/ 24286 w 42485"/>
                <a:gd name="connsiteY2" fmla="*/ 34199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1454"/>
                    <a:pt x="34199" y="25702"/>
                  </a:cubicBezTo>
                  <a:cubicBezTo>
                    <a:pt x="34199" y="31367"/>
                    <a:pt x="29951" y="34199"/>
                    <a:pt x="24286" y="34199"/>
                  </a:cubicBezTo>
                  <a:cubicBezTo>
                    <a:pt x="18621" y="34199"/>
                    <a:pt x="15789" y="28535"/>
                    <a:pt x="15789" y="24286"/>
                  </a:cubicBezTo>
                  <a:cubicBezTo>
                    <a:pt x="17205" y="20037"/>
                    <a:pt x="21454"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1" name="Freeform: Shape 2450">
              <a:extLst>
                <a:ext uri="{FF2B5EF4-FFF2-40B4-BE49-F238E27FC236}">
                  <a16:creationId xmlns:a16="http://schemas.microsoft.com/office/drawing/2014/main" id="{8514EFC5-3D4A-44AB-908D-0AFBA8084052}"/>
                </a:ext>
              </a:extLst>
            </p:cNvPr>
            <p:cNvSpPr/>
            <p:nvPr/>
          </p:nvSpPr>
          <p:spPr>
            <a:xfrm>
              <a:off x="6306694" y="3223334"/>
              <a:ext cx="84971" cy="84971"/>
            </a:xfrm>
            <a:custGeom>
              <a:avLst/>
              <a:gdLst>
                <a:gd name="connsiteX0" fmla="*/ 51301 w 84971"/>
                <a:gd name="connsiteY0" fmla="*/ 15896 h 84971"/>
                <a:gd name="connsiteX1" fmla="*/ 81041 w 84971"/>
                <a:gd name="connsiteY1" fmla="*/ 51301 h 84971"/>
                <a:gd name="connsiteX2" fmla="*/ 45636 w 84971"/>
                <a:gd name="connsiteY2" fmla="*/ 81041 h 84971"/>
                <a:gd name="connsiteX3" fmla="*/ 15896 w 84971"/>
                <a:gd name="connsiteY3" fmla="*/ 45636 h 84971"/>
                <a:gd name="connsiteX4" fmla="*/ 51301 w 84971"/>
                <a:gd name="connsiteY4" fmla="*/ 15896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51301" y="15896"/>
                  </a:moveTo>
                  <a:cubicBezTo>
                    <a:pt x="69711" y="17312"/>
                    <a:pt x="82457" y="32891"/>
                    <a:pt x="81041" y="51301"/>
                  </a:cubicBezTo>
                  <a:cubicBezTo>
                    <a:pt x="79625" y="69711"/>
                    <a:pt x="64047" y="82457"/>
                    <a:pt x="45636" y="81041"/>
                  </a:cubicBezTo>
                  <a:cubicBezTo>
                    <a:pt x="27226" y="79625"/>
                    <a:pt x="14480" y="62630"/>
                    <a:pt x="15896" y="45636"/>
                  </a:cubicBezTo>
                  <a:cubicBezTo>
                    <a:pt x="17313" y="27226"/>
                    <a:pt x="32891" y="14480"/>
                    <a:pt x="51301" y="158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2" name="Freeform: Shape 2451">
              <a:extLst>
                <a:ext uri="{FF2B5EF4-FFF2-40B4-BE49-F238E27FC236}">
                  <a16:creationId xmlns:a16="http://schemas.microsoft.com/office/drawing/2014/main" id="{AA04E645-2544-4553-9D65-8FBB8446D171}"/>
                </a:ext>
              </a:extLst>
            </p:cNvPr>
            <p:cNvSpPr/>
            <p:nvPr/>
          </p:nvSpPr>
          <p:spPr>
            <a:xfrm>
              <a:off x="6286975" y="3394800"/>
              <a:ext cx="42486" cy="42486"/>
            </a:xfrm>
            <a:custGeom>
              <a:avLst/>
              <a:gdLst>
                <a:gd name="connsiteX0" fmla="*/ 25702 w 42485"/>
                <a:gd name="connsiteY0" fmla="*/ 15789 h 42485"/>
                <a:gd name="connsiteX1" fmla="*/ 34199 w 42485"/>
                <a:gd name="connsiteY1" fmla="*/ 25702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0038"/>
                    <a:pt x="34199" y="25702"/>
                  </a:cubicBezTo>
                  <a:cubicBezTo>
                    <a:pt x="34199" y="31367"/>
                    <a:pt x="29951" y="34200"/>
                    <a:pt x="24286" y="34200"/>
                  </a:cubicBezTo>
                  <a:cubicBezTo>
                    <a:pt x="18621" y="34200"/>
                    <a:pt x="15789" y="28535"/>
                    <a:pt x="15789" y="24286"/>
                  </a:cubicBezTo>
                  <a:cubicBezTo>
                    <a:pt x="15789" y="18621"/>
                    <a:pt x="20037"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3" name="Freeform: Shape 2452">
              <a:extLst>
                <a:ext uri="{FF2B5EF4-FFF2-40B4-BE49-F238E27FC236}">
                  <a16:creationId xmlns:a16="http://schemas.microsoft.com/office/drawing/2014/main" id="{696D96A2-AF3B-4FEA-B2E3-E54D59EB5A3C}"/>
                </a:ext>
              </a:extLst>
            </p:cNvPr>
            <p:cNvSpPr/>
            <p:nvPr/>
          </p:nvSpPr>
          <p:spPr>
            <a:xfrm>
              <a:off x="6670763" y="3387445"/>
              <a:ext cx="42486" cy="42486"/>
            </a:xfrm>
            <a:custGeom>
              <a:avLst/>
              <a:gdLst>
                <a:gd name="connsiteX0" fmla="*/ 25702 w 42485"/>
                <a:gd name="connsiteY0" fmla="*/ 16063 h 42485"/>
                <a:gd name="connsiteX1" fmla="*/ 34199 w 42485"/>
                <a:gd name="connsiteY1" fmla="*/ 25977 h 42485"/>
                <a:gd name="connsiteX2" fmla="*/ 24286 w 42485"/>
                <a:gd name="connsiteY2" fmla="*/ 34474 h 42485"/>
                <a:gd name="connsiteX3" fmla="*/ 15789 w 42485"/>
                <a:gd name="connsiteY3" fmla="*/ 24561 h 42485"/>
                <a:gd name="connsiteX4" fmla="*/ 25702 w 42485"/>
                <a:gd name="connsiteY4" fmla="*/ 1606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6063"/>
                  </a:moveTo>
                  <a:cubicBezTo>
                    <a:pt x="31367" y="16063"/>
                    <a:pt x="34199" y="20312"/>
                    <a:pt x="34199" y="25977"/>
                  </a:cubicBezTo>
                  <a:cubicBezTo>
                    <a:pt x="34199" y="31642"/>
                    <a:pt x="28535" y="34474"/>
                    <a:pt x="24286" y="34474"/>
                  </a:cubicBezTo>
                  <a:cubicBezTo>
                    <a:pt x="18621" y="34474"/>
                    <a:pt x="15789" y="28809"/>
                    <a:pt x="15789" y="24561"/>
                  </a:cubicBezTo>
                  <a:cubicBezTo>
                    <a:pt x="15789" y="18896"/>
                    <a:pt x="20037" y="14647"/>
                    <a:pt x="25702" y="1606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4" name="Freeform: Shape 2453">
              <a:extLst>
                <a:ext uri="{FF2B5EF4-FFF2-40B4-BE49-F238E27FC236}">
                  <a16:creationId xmlns:a16="http://schemas.microsoft.com/office/drawing/2014/main" id="{3AD8DF53-3EA7-46B8-9812-71715C4DA024}"/>
                </a:ext>
              </a:extLst>
            </p:cNvPr>
            <p:cNvSpPr/>
            <p:nvPr/>
          </p:nvSpPr>
          <p:spPr>
            <a:xfrm>
              <a:off x="6970995" y="3624223"/>
              <a:ext cx="42486" cy="42486"/>
            </a:xfrm>
            <a:custGeom>
              <a:avLst/>
              <a:gdLst>
                <a:gd name="connsiteX0" fmla="*/ 22870 w 42485"/>
                <a:gd name="connsiteY0" fmla="*/ 15789 h 42485"/>
                <a:gd name="connsiteX1" fmla="*/ 28535 w 42485"/>
                <a:gd name="connsiteY1" fmla="*/ 22870 h 42485"/>
                <a:gd name="connsiteX2" fmla="*/ 21454 w 42485"/>
                <a:gd name="connsiteY2" fmla="*/ 28535 h 42485"/>
                <a:gd name="connsiteX3" fmla="*/ 15789 w 42485"/>
                <a:gd name="connsiteY3" fmla="*/ 21454 h 42485"/>
                <a:gd name="connsiteX4" fmla="*/ 22870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15789"/>
                  </a:moveTo>
                  <a:cubicBezTo>
                    <a:pt x="27119" y="15789"/>
                    <a:pt x="28535" y="20038"/>
                    <a:pt x="28535" y="22870"/>
                  </a:cubicBezTo>
                  <a:cubicBezTo>
                    <a:pt x="28535" y="27119"/>
                    <a:pt x="24286" y="29951"/>
                    <a:pt x="21454" y="28535"/>
                  </a:cubicBezTo>
                  <a:cubicBezTo>
                    <a:pt x="17205" y="28535"/>
                    <a:pt x="15789" y="24286"/>
                    <a:pt x="15789" y="21454"/>
                  </a:cubicBezTo>
                  <a:cubicBezTo>
                    <a:pt x="15789" y="18622"/>
                    <a:pt x="20038" y="15789"/>
                    <a:pt x="22870"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5" name="Freeform: Shape 2454">
              <a:extLst>
                <a:ext uri="{FF2B5EF4-FFF2-40B4-BE49-F238E27FC236}">
                  <a16:creationId xmlns:a16="http://schemas.microsoft.com/office/drawing/2014/main" id="{6EF64B33-9A94-41A2-969A-4B6891EF322D}"/>
                </a:ext>
              </a:extLst>
            </p:cNvPr>
            <p:cNvSpPr/>
            <p:nvPr/>
          </p:nvSpPr>
          <p:spPr>
            <a:xfrm>
              <a:off x="6909945" y="3458394"/>
              <a:ext cx="70810" cy="70810"/>
            </a:xfrm>
            <a:custGeom>
              <a:avLst/>
              <a:gdLst>
                <a:gd name="connsiteX0" fmla="*/ 40018 w 70809"/>
                <a:gd name="connsiteY0" fmla="*/ 15924 h 70809"/>
                <a:gd name="connsiteX1" fmla="*/ 59845 w 70809"/>
                <a:gd name="connsiteY1" fmla="*/ 39999 h 70809"/>
                <a:gd name="connsiteX2" fmla="*/ 35769 w 70809"/>
                <a:gd name="connsiteY2" fmla="*/ 59826 h 70809"/>
                <a:gd name="connsiteX3" fmla="*/ 15943 w 70809"/>
                <a:gd name="connsiteY3" fmla="*/ 35751 h 70809"/>
                <a:gd name="connsiteX4" fmla="*/ 40018 w 70809"/>
                <a:gd name="connsiteY4" fmla="*/ 1592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24"/>
                  </a:moveTo>
                  <a:cubicBezTo>
                    <a:pt x="52764" y="17341"/>
                    <a:pt x="61261" y="27254"/>
                    <a:pt x="59845" y="39999"/>
                  </a:cubicBezTo>
                  <a:cubicBezTo>
                    <a:pt x="58429" y="52745"/>
                    <a:pt x="48515" y="61242"/>
                    <a:pt x="35769" y="59826"/>
                  </a:cubicBezTo>
                  <a:cubicBezTo>
                    <a:pt x="23024" y="58410"/>
                    <a:pt x="14527" y="48497"/>
                    <a:pt x="15943" y="35751"/>
                  </a:cubicBezTo>
                  <a:cubicBezTo>
                    <a:pt x="15943" y="24422"/>
                    <a:pt x="27272" y="14508"/>
                    <a:pt x="40018" y="1592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6" name="Freeform: Shape 2455">
              <a:extLst>
                <a:ext uri="{FF2B5EF4-FFF2-40B4-BE49-F238E27FC236}">
                  <a16:creationId xmlns:a16="http://schemas.microsoft.com/office/drawing/2014/main" id="{0CA0D8B3-1E6E-4ECD-8A3D-9047A09B924C}"/>
                </a:ext>
              </a:extLst>
            </p:cNvPr>
            <p:cNvSpPr/>
            <p:nvPr/>
          </p:nvSpPr>
          <p:spPr>
            <a:xfrm>
              <a:off x="6591456" y="3465610"/>
              <a:ext cx="42486" cy="42486"/>
            </a:xfrm>
            <a:custGeom>
              <a:avLst/>
              <a:gdLst>
                <a:gd name="connsiteX0" fmla="*/ 27118 w 42485"/>
                <a:gd name="connsiteY0" fmla="*/ 15789 h 42485"/>
                <a:gd name="connsiteX1" fmla="*/ 37032 w 42485"/>
                <a:gd name="connsiteY1" fmla="*/ 27119 h 42485"/>
                <a:gd name="connsiteX2" fmla="*/ 25702 w 42485"/>
                <a:gd name="connsiteY2" fmla="*/ 37032 h 42485"/>
                <a:gd name="connsiteX3" fmla="*/ 15789 w 42485"/>
                <a:gd name="connsiteY3" fmla="*/ 25702 h 42485"/>
                <a:gd name="connsiteX4" fmla="*/ 2711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5789"/>
                  </a:moveTo>
                  <a:cubicBezTo>
                    <a:pt x="32783" y="15789"/>
                    <a:pt x="37032" y="21454"/>
                    <a:pt x="37032" y="27119"/>
                  </a:cubicBezTo>
                  <a:cubicBezTo>
                    <a:pt x="37032" y="32783"/>
                    <a:pt x="31367" y="37032"/>
                    <a:pt x="25702" y="37032"/>
                  </a:cubicBezTo>
                  <a:cubicBezTo>
                    <a:pt x="20037" y="37032"/>
                    <a:pt x="15789" y="31367"/>
                    <a:pt x="15789" y="25702"/>
                  </a:cubicBezTo>
                  <a:cubicBezTo>
                    <a:pt x="15789" y="20038"/>
                    <a:pt x="21454" y="15789"/>
                    <a:pt x="2711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7" name="Freeform: Shape 2456">
              <a:extLst>
                <a:ext uri="{FF2B5EF4-FFF2-40B4-BE49-F238E27FC236}">
                  <a16:creationId xmlns:a16="http://schemas.microsoft.com/office/drawing/2014/main" id="{179AFDA7-34B1-430B-A159-B402AE9F6C71}"/>
                </a:ext>
              </a:extLst>
            </p:cNvPr>
            <p:cNvSpPr/>
            <p:nvPr/>
          </p:nvSpPr>
          <p:spPr>
            <a:xfrm>
              <a:off x="6580126" y="3273008"/>
              <a:ext cx="42486" cy="42486"/>
            </a:xfrm>
            <a:custGeom>
              <a:avLst/>
              <a:gdLst>
                <a:gd name="connsiteX0" fmla="*/ 27119 w 42485"/>
                <a:gd name="connsiteY0" fmla="*/ 15789 h 42485"/>
                <a:gd name="connsiteX1" fmla="*/ 37032 w 42485"/>
                <a:gd name="connsiteY1" fmla="*/ 27118 h 42485"/>
                <a:gd name="connsiteX2" fmla="*/ 25703 w 42485"/>
                <a:gd name="connsiteY2" fmla="*/ 37032 h 42485"/>
                <a:gd name="connsiteX3" fmla="*/ 15789 w 42485"/>
                <a:gd name="connsiteY3" fmla="*/ 25702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8"/>
                  </a:cubicBezTo>
                  <a:cubicBezTo>
                    <a:pt x="37032" y="32783"/>
                    <a:pt x="31367" y="37032"/>
                    <a:pt x="25703" y="37032"/>
                  </a:cubicBezTo>
                  <a:cubicBezTo>
                    <a:pt x="20038" y="37032"/>
                    <a:pt x="15789" y="31367"/>
                    <a:pt x="15789" y="25702"/>
                  </a:cubicBezTo>
                  <a:cubicBezTo>
                    <a:pt x="15789" y="20037"/>
                    <a:pt x="21454" y="15789"/>
                    <a:pt x="27119"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8" name="Freeform: Shape 2457">
              <a:extLst>
                <a:ext uri="{FF2B5EF4-FFF2-40B4-BE49-F238E27FC236}">
                  <a16:creationId xmlns:a16="http://schemas.microsoft.com/office/drawing/2014/main" id="{FF5AA576-6A14-457E-A34C-5B494F1B6297}"/>
                </a:ext>
              </a:extLst>
            </p:cNvPr>
            <p:cNvSpPr/>
            <p:nvPr/>
          </p:nvSpPr>
          <p:spPr>
            <a:xfrm>
              <a:off x="6228911" y="3173875"/>
              <a:ext cx="42486" cy="42486"/>
            </a:xfrm>
            <a:custGeom>
              <a:avLst/>
              <a:gdLst>
                <a:gd name="connsiteX0" fmla="*/ 25703 w 42485"/>
                <a:gd name="connsiteY0" fmla="*/ 15789 h 42485"/>
                <a:gd name="connsiteX1" fmla="*/ 34199 w 42485"/>
                <a:gd name="connsiteY1" fmla="*/ 25702 h 42485"/>
                <a:gd name="connsiteX2" fmla="*/ 24286 w 42485"/>
                <a:gd name="connsiteY2" fmla="*/ 34199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29951" y="15789"/>
                    <a:pt x="34199" y="20037"/>
                    <a:pt x="34199" y="25702"/>
                  </a:cubicBezTo>
                  <a:cubicBezTo>
                    <a:pt x="34199" y="29951"/>
                    <a:pt x="29951" y="34199"/>
                    <a:pt x="24286" y="34199"/>
                  </a:cubicBezTo>
                  <a:cubicBezTo>
                    <a:pt x="20037" y="34199"/>
                    <a:pt x="15789" y="29951"/>
                    <a:pt x="15789" y="24286"/>
                  </a:cubicBezTo>
                  <a:cubicBezTo>
                    <a:pt x="15789" y="18621"/>
                    <a:pt x="20037" y="15789"/>
                    <a:pt x="25703"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59" name="Freeform: Shape 2458">
              <a:extLst>
                <a:ext uri="{FF2B5EF4-FFF2-40B4-BE49-F238E27FC236}">
                  <a16:creationId xmlns:a16="http://schemas.microsoft.com/office/drawing/2014/main" id="{ADFBC57B-0A51-41D4-A836-780B4019C802}"/>
                </a:ext>
              </a:extLst>
            </p:cNvPr>
            <p:cNvSpPr/>
            <p:nvPr/>
          </p:nvSpPr>
          <p:spPr>
            <a:xfrm>
              <a:off x="5730412" y="3431253"/>
              <a:ext cx="42486" cy="42486"/>
            </a:xfrm>
            <a:custGeom>
              <a:avLst/>
              <a:gdLst>
                <a:gd name="connsiteX0" fmla="*/ 22870 w 42485"/>
                <a:gd name="connsiteY0" fmla="*/ 16157 h 42485"/>
                <a:gd name="connsiteX1" fmla="*/ 28535 w 42485"/>
                <a:gd name="connsiteY1" fmla="*/ 23238 h 42485"/>
                <a:gd name="connsiteX2" fmla="*/ 21454 w 42485"/>
                <a:gd name="connsiteY2" fmla="*/ 28903 h 42485"/>
                <a:gd name="connsiteX3" fmla="*/ 15789 w 42485"/>
                <a:gd name="connsiteY3" fmla="*/ 21822 h 42485"/>
                <a:gd name="connsiteX4" fmla="*/ 22870 w 42485"/>
                <a:gd name="connsiteY4" fmla="*/ 16157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16157"/>
                  </a:moveTo>
                  <a:cubicBezTo>
                    <a:pt x="27119" y="16157"/>
                    <a:pt x="28535" y="20406"/>
                    <a:pt x="28535" y="23238"/>
                  </a:cubicBezTo>
                  <a:cubicBezTo>
                    <a:pt x="28535" y="27487"/>
                    <a:pt x="24286" y="30319"/>
                    <a:pt x="21454" y="28903"/>
                  </a:cubicBezTo>
                  <a:cubicBezTo>
                    <a:pt x="17205" y="28903"/>
                    <a:pt x="15789" y="24654"/>
                    <a:pt x="15789" y="21822"/>
                  </a:cubicBezTo>
                  <a:cubicBezTo>
                    <a:pt x="15789" y="17573"/>
                    <a:pt x="18622" y="14741"/>
                    <a:pt x="22870" y="1615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0" name="Freeform: Shape 2459">
              <a:extLst>
                <a:ext uri="{FF2B5EF4-FFF2-40B4-BE49-F238E27FC236}">
                  <a16:creationId xmlns:a16="http://schemas.microsoft.com/office/drawing/2014/main" id="{8FAB6C16-E157-4BED-8D71-477DAB0E6059}"/>
                </a:ext>
              </a:extLst>
            </p:cNvPr>
            <p:cNvSpPr/>
            <p:nvPr/>
          </p:nvSpPr>
          <p:spPr>
            <a:xfrm>
              <a:off x="6140739" y="3479404"/>
              <a:ext cx="42486" cy="42486"/>
            </a:xfrm>
            <a:custGeom>
              <a:avLst/>
              <a:gdLst>
                <a:gd name="connsiteX0" fmla="*/ 23238 w 42485"/>
                <a:gd name="connsiteY0" fmla="*/ 16157 h 42485"/>
                <a:gd name="connsiteX1" fmla="*/ 28903 w 42485"/>
                <a:gd name="connsiteY1" fmla="*/ 23238 h 42485"/>
                <a:gd name="connsiteX2" fmla="*/ 21822 w 42485"/>
                <a:gd name="connsiteY2" fmla="*/ 28903 h 42485"/>
                <a:gd name="connsiteX3" fmla="*/ 16157 w 42485"/>
                <a:gd name="connsiteY3" fmla="*/ 21822 h 42485"/>
                <a:gd name="connsiteX4" fmla="*/ 23238 w 42485"/>
                <a:gd name="connsiteY4" fmla="*/ 16157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6157"/>
                  </a:moveTo>
                  <a:cubicBezTo>
                    <a:pt x="27487" y="16157"/>
                    <a:pt x="28903" y="20406"/>
                    <a:pt x="28903" y="23238"/>
                  </a:cubicBezTo>
                  <a:cubicBezTo>
                    <a:pt x="28903" y="27487"/>
                    <a:pt x="24655" y="30319"/>
                    <a:pt x="21822" y="28903"/>
                  </a:cubicBezTo>
                  <a:cubicBezTo>
                    <a:pt x="17574" y="28903"/>
                    <a:pt x="14741" y="24655"/>
                    <a:pt x="16157" y="21822"/>
                  </a:cubicBezTo>
                  <a:cubicBezTo>
                    <a:pt x="16157" y="17574"/>
                    <a:pt x="18990" y="14741"/>
                    <a:pt x="23238" y="1615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1" name="Freeform: Shape 2460">
              <a:extLst>
                <a:ext uri="{FF2B5EF4-FFF2-40B4-BE49-F238E27FC236}">
                  <a16:creationId xmlns:a16="http://schemas.microsoft.com/office/drawing/2014/main" id="{6B9ECF32-D77D-4AB6-B345-5C22E2227AC2}"/>
                </a:ext>
              </a:extLst>
            </p:cNvPr>
            <p:cNvSpPr/>
            <p:nvPr/>
          </p:nvSpPr>
          <p:spPr>
            <a:xfrm>
              <a:off x="6586839" y="3367893"/>
              <a:ext cx="42486" cy="42486"/>
            </a:xfrm>
            <a:custGeom>
              <a:avLst/>
              <a:gdLst>
                <a:gd name="connsiteX0" fmla="*/ 23238 w 42485"/>
                <a:gd name="connsiteY0" fmla="*/ 15789 h 42485"/>
                <a:gd name="connsiteX1" fmla="*/ 28903 w 42485"/>
                <a:gd name="connsiteY1" fmla="*/ 22870 h 42485"/>
                <a:gd name="connsiteX2" fmla="*/ 21822 w 42485"/>
                <a:gd name="connsiteY2" fmla="*/ 28535 h 42485"/>
                <a:gd name="connsiteX3" fmla="*/ 16157 w 42485"/>
                <a:gd name="connsiteY3" fmla="*/ 21454 h 42485"/>
                <a:gd name="connsiteX4" fmla="*/ 2323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5789"/>
                  </a:moveTo>
                  <a:cubicBezTo>
                    <a:pt x="27487" y="15789"/>
                    <a:pt x="28903" y="20038"/>
                    <a:pt x="28903" y="22870"/>
                  </a:cubicBezTo>
                  <a:cubicBezTo>
                    <a:pt x="28903" y="27119"/>
                    <a:pt x="24655" y="29951"/>
                    <a:pt x="21822" y="28535"/>
                  </a:cubicBezTo>
                  <a:cubicBezTo>
                    <a:pt x="17574" y="28535"/>
                    <a:pt x="14741" y="24286"/>
                    <a:pt x="16157" y="21454"/>
                  </a:cubicBezTo>
                  <a:cubicBezTo>
                    <a:pt x="17574" y="18621"/>
                    <a:pt x="20406" y="15789"/>
                    <a:pt x="2323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2" name="Freeform: Shape 2461">
              <a:extLst>
                <a:ext uri="{FF2B5EF4-FFF2-40B4-BE49-F238E27FC236}">
                  <a16:creationId xmlns:a16="http://schemas.microsoft.com/office/drawing/2014/main" id="{41012BAF-FD5A-473E-98AD-622F2065A8F4}"/>
                </a:ext>
              </a:extLst>
            </p:cNvPr>
            <p:cNvSpPr/>
            <p:nvPr/>
          </p:nvSpPr>
          <p:spPr>
            <a:xfrm>
              <a:off x="4005491" y="3995266"/>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29" y="55442"/>
                    <a:pt x="55442" y="46945"/>
                    <a:pt x="55442" y="35616"/>
                  </a:cubicBezTo>
                  <a:cubicBezTo>
                    <a:pt x="55442" y="25702"/>
                    <a:pt x="46945" y="15789"/>
                    <a:pt x="35616" y="15789"/>
                  </a:cubicBezTo>
                  <a:cubicBezTo>
                    <a:pt x="25702" y="15789"/>
                    <a:pt x="15789" y="24286"/>
                    <a:pt x="15789" y="35616"/>
                  </a:cubicBezTo>
                  <a:cubicBezTo>
                    <a:pt x="15789" y="46945"/>
                    <a:pt x="25702"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3" name="Freeform: Shape 2462">
              <a:extLst>
                <a:ext uri="{FF2B5EF4-FFF2-40B4-BE49-F238E27FC236}">
                  <a16:creationId xmlns:a16="http://schemas.microsoft.com/office/drawing/2014/main" id="{E23534B4-7759-496E-AE57-DCB5A1AC2759}"/>
                </a:ext>
              </a:extLst>
            </p:cNvPr>
            <p:cNvSpPr/>
            <p:nvPr/>
          </p:nvSpPr>
          <p:spPr>
            <a:xfrm>
              <a:off x="3346962" y="4216191"/>
              <a:ext cx="113295" cy="113295"/>
            </a:xfrm>
            <a:custGeom>
              <a:avLst/>
              <a:gdLst>
                <a:gd name="connsiteX0" fmla="*/ 56858 w 113295"/>
                <a:gd name="connsiteY0" fmla="*/ 97928 h 113295"/>
                <a:gd name="connsiteX1" fmla="*/ 97928 w 113295"/>
                <a:gd name="connsiteY1" fmla="*/ 56858 h 113295"/>
                <a:gd name="connsiteX2" fmla="*/ 56858 w 113295"/>
                <a:gd name="connsiteY2" fmla="*/ 15789 h 113295"/>
                <a:gd name="connsiteX3" fmla="*/ 15789 w 113295"/>
                <a:gd name="connsiteY3" fmla="*/ 56858 h 113295"/>
                <a:gd name="connsiteX4" fmla="*/ 56858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8" y="97928"/>
                  </a:moveTo>
                  <a:cubicBezTo>
                    <a:pt x="79518" y="97928"/>
                    <a:pt x="97928" y="79518"/>
                    <a:pt x="97928" y="56858"/>
                  </a:cubicBezTo>
                  <a:cubicBezTo>
                    <a:pt x="97928" y="34199"/>
                    <a:pt x="79518" y="15789"/>
                    <a:pt x="56858" y="15789"/>
                  </a:cubicBezTo>
                  <a:cubicBezTo>
                    <a:pt x="34200" y="15789"/>
                    <a:pt x="15789" y="34199"/>
                    <a:pt x="15789" y="56858"/>
                  </a:cubicBezTo>
                  <a:cubicBezTo>
                    <a:pt x="15789" y="79518"/>
                    <a:pt x="34200" y="97928"/>
                    <a:pt x="56858"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4" name="Freeform: Shape 2463">
              <a:extLst>
                <a:ext uri="{FF2B5EF4-FFF2-40B4-BE49-F238E27FC236}">
                  <a16:creationId xmlns:a16="http://schemas.microsoft.com/office/drawing/2014/main" id="{A36DB1C8-C68D-4C2E-8BF2-B7EF88C37309}"/>
                </a:ext>
              </a:extLst>
            </p:cNvPr>
            <p:cNvSpPr/>
            <p:nvPr/>
          </p:nvSpPr>
          <p:spPr>
            <a:xfrm>
              <a:off x="3759460" y="5558517"/>
              <a:ext cx="113295" cy="113295"/>
            </a:xfrm>
            <a:custGeom>
              <a:avLst/>
              <a:gdLst>
                <a:gd name="connsiteX0" fmla="*/ 73467 w 113295"/>
                <a:gd name="connsiteY0" fmla="*/ 18844 h 113295"/>
                <a:gd name="connsiteX1" fmla="*/ 94709 w 113295"/>
                <a:gd name="connsiteY1" fmla="*/ 72659 h 113295"/>
                <a:gd name="connsiteX2" fmla="*/ 40894 w 113295"/>
                <a:gd name="connsiteY2" fmla="*/ 93902 h 113295"/>
                <a:gd name="connsiteX3" fmla="*/ 19651 w 113295"/>
                <a:gd name="connsiteY3" fmla="*/ 40087 h 113295"/>
                <a:gd name="connsiteX4" fmla="*/ 73467 w 113295"/>
                <a:gd name="connsiteY4" fmla="*/ 18844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73467" y="18844"/>
                  </a:moveTo>
                  <a:cubicBezTo>
                    <a:pt x="94709" y="27341"/>
                    <a:pt x="104623" y="51416"/>
                    <a:pt x="94709" y="72659"/>
                  </a:cubicBezTo>
                  <a:cubicBezTo>
                    <a:pt x="86212" y="93902"/>
                    <a:pt x="62137" y="103816"/>
                    <a:pt x="40894" y="93902"/>
                  </a:cubicBezTo>
                  <a:cubicBezTo>
                    <a:pt x="19651" y="85405"/>
                    <a:pt x="9738" y="61330"/>
                    <a:pt x="19651" y="40087"/>
                  </a:cubicBezTo>
                  <a:cubicBezTo>
                    <a:pt x="28148" y="20260"/>
                    <a:pt x="52224" y="10347"/>
                    <a:pt x="73467" y="1884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5" name="Freeform: Shape 2464">
              <a:extLst>
                <a:ext uri="{FF2B5EF4-FFF2-40B4-BE49-F238E27FC236}">
                  <a16:creationId xmlns:a16="http://schemas.microsoft.com/office/drawing/2014/main" id="{92ED4CCF-DF3F-418E-A749-8FEE3523DE7E}"/>
                </a:ext>
              </a:extLst>
            </p:cNvPr>
            <p:cNvSpPr/>
            <p:nvPr/>
          </p:nvSpPr>
          <p:spPr>
            <a:xfrm>
              <a:off x="3933265" y="4240266"/>
              <a:ext cx="70810" cy="70810"/>
            </a:xfrm>
            <a:custGeom>
              <a:avLst/>
              <a:gdLst>
                <a:gd name="connsiteX0" fmla="*/ 35616 w 70809"/>
                <a:gd name="connsiteY0" fmla="*/ 55443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3"/>
                  </a:moveTo>
                  <a:cubicBezTo>
                    <a:pt x="46945" y="55443"/>
                    <a:pt x="55442" y="46945"/>
                    <a:pt x="55442" y="35616"/>
                  </a:cubicBezTo>
                  <a:cubicBezTo>
                    <a:pt x="55442" y="24286"/>
                    <a:pt x="46945" y="15789"/>
                    <a:pt x="35616" y="15789"/>
                  </a:cubicBezTo>
                  <a:cubicBezTo>
                    <a:pt x="24286" y="15789"/>
                    <a:pt x="15789" y="24286"/>
                    <a:pt x="15789" y="35616"/>
                  </a:cubicBezTo>
                  <a:cubicBezTo>
                    <a:pt x="17205" y="45529"/>
                    <a:pt x="25703" y="55443"/>
                    <a:pt x="35616" y="554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6" name="Freeform: Shape 2465">
              <a:extLst>
                <a:ext uri="{FF2B5EF4-FFF2-40B4-BE49-F238E27FC236}">
                  <a16:creationId xmlns:a16="http://schemas.microsoft.com/office/drawing/2014/main" id="{C1791FDA-E4CA-4DDB-AEF8-77B9E2A23B21}"/>
                </a:ext>
              </a:extLst>
            </p:cNvPr>
            <p:cNvSpPr/>
            <p:nvPr/>
          </p:nvSpPr>
          <p:spPr>
            <a:xfrm>
              <a:off x="3892195" y="4827986"/>
              <a:ext cx="70810" cy="70810"/>
            </a:xfrm>
            <a:custGeom>
              <a:avLst/>
              <a:gdLst>
                <a:gd name="connsiteX0" fmla="*/ 35616 w 70809"/>
                <a:gd name="connsiteY0" fmla="*/ 55443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3"/>
                  </a:moveTo>
                  <a:cubicBezTo>
                    <a:pt x="46945" y="55443"/>
                    <a:pt x="55442" y="46945"/>
                    <a:pt x="55442" y="35616"/>
                  </a:cubicBezTo>
                  <a:cubicBezTo>
                    <a:pt x="55442" y="24286"/>
                    <a:pt x="46945" y="15789"/>
                    <a:pt x="35616" y="15789"/>
                  </a:cubicBezTo>
                  <a:cubicBezTo>
                    <a:pt x="24286" y="15789"/>
                    <a:pt x="15789" y="24286"/>
                    <a:pt x="15789" y="35616"/>
                  </a:cubicBezTo>
                  <a:cubicBezTo>
                    <a:pt x="15789" y="45529"/>
                    <a:pt x="24286" y="55443"/>
                    <a:pt x="35616" y="554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7" name="Freeform: Shape 2466">
              <a:extLst>
                <a:ext uri="{FF2B5EF4-FFF2-40B4-BE49-F238E27FC236}">
                  <a16:creationId xmlns:a16="http://schemas.microsoft.com/office/drawing/2014/main" id="{55E6F51E-F422-4BF6-92C5-03B328C145DC}"/>
                </a:ext>
              </a:extLst>
            </p:cNvPr>
            <p:cNvSpPr/>
            <p:nvPr/>
          </p:nvSpPr>
          <p:spPr>
            <a:xfrm>
              <a:off x="3539564" y="4003763"/>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5789" y="46945"/>
                    <a:pt x="25702"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8" name="Freeform: Shape 2467">
              <a:extLst>
                <a:ext uri="{FF2B5EF4-FFF2-40B4-BE49-F238E27FC236}">
                  <a16:creationId xmlns:a16="http://schemas.microsoft.com/office/drawing/2014/main" id="{754D7880-25D7-49C0-BF70-142C8F3298B2}"/>
                </a:ext>
              </a:extLst>
            </p:cNvPr>
            <p:cNvSpPr/>
            <p:nvPr/>
          </p:nvSpPr>
          <p:spPr>
            <a:xfrm>
              <a:off x="4045144" y="4619806"/>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5789" y="45529"/>
                    <a:pt x="24286"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69" name="Freeform: Shape 2468">
              <a:extLst>
                <a:ext uri="{FF2B5EF4-FFF2-40B4-BE49-F238E27FC236}">
                  <a16:creationId xmlns:a16="http://schemas.microsoft.com/office/drawing/2014/main" id="{6B27782E-96C8-4C84-8F2D-3879066F78B7}"/>
                </a:ext>
              </a:extLst>
            </p:cNvPr>
            <p:cNvSpPr/>
            <p:nvPr/>
          </p:nvSpPr>
          <p:spPr>
            <a:xfrm>
              <a:off x="4021069" y="4757176"/>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8"/>
                    <a:pt x="31367" y="15789"/>
                    <a:pt x="25702" y="15789"/>
                  </a:cubicBezTo>
                  <a:cubicBezTo>
                    <a:pt x="20037" y="15789"/>
                    <a:pt x="15789" y="20038"/>
                    <a:pt x="15789" y="25703"/>
                  </a:cubicBezTo>
                  <a:cubicBezTo>
                    <a:pt x="17205" y="31367"/>
                    <a:pt x="21454"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0" name="Freeform: Shape 2469">
              <a:extLst>
                <a:ext uri="{FF2B5EF4-FFF2-40B4-BE49-F238E27FC236}">
                  <a16:creationId xmlns:a16="http://schemas.microsoft.com/office/drawing/2014/main" id="{83A76179-75DA-4173-AD6C-ECE2F081002F}"/>
                </a:ext>
              </a:extLst>
            </p:cNvPr>
            <p:cNvSpPr/>
            <p:nvPr/>
          </p:nvSpPr>
          <p:spPr>
            <a:xfrm>
              <a:off x="3710923" y="4380469"/>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8"/>
                    <a:pt x="31367" y="15789"/>
                    <a:pt x="25702" y="15789"/>
                  </a:cubicBezTo>
                  <a:cubicBezTo>
                    <a:pt x="20038" y="15789"/>
                    <a:pt x="15789" y="20038"/>
                    <a:pt x="15789" y="25703"/>
                  </a:cubicBezTo>
                  <a:cubicBezTo>
                    <a:pt x="17205" y="31367"/>
                    <a:pt x="21454"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1" name="Freeform: Shape 2470">
              <a:extLst>
                <a:ext uri="{FF2B5EF4-FFF2-40B4-BE49-F238E27FC236}">
                  <a16:creationId xmlns:a16="http://schemas.microsoft.com/office/drawing/2014/main" id="{D2502C24-18A3-4D8B-9D09-7D4A6273FD15}"/>
                </a:ext>
              </a:extLst>
            </p:cNvPr>
            <p:cNvSpPr/>
            <p:nvPr/>
          </p:nvSpPr>
          <p:spPr>
            <a:xfrm>
              <a:off x="4539395" y="4912957"/>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8"/>
                    <a:pt x="31367" y="15789"/>
                    <a:pt x="25702" y="15789"/>
                  </a:cubicBezTo>
                  <a:cubicBezTo>
                    <a:pt x="20037" y="15789"/>
                    <a:pt x="15789" y="20038"/>
                    <a:pt x="15789" y="25703"/>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2" name="Freeform: Shape 2471">
              <a:extLst>
                <a:ext uri="{FF2B5EF4-FFF2-40B4-BE49-F238E27FC236}">
                  <a16:creationId xmlns:a16="http://schemas.microsoft.com/office/drawing/2014/main" id="{202A1917-08C6-4545-B825-53CA5C2B85B1}"/>
                </a:ext>
              </a:extLst>
            </p:cNvPr>
            <p:cNvSpPr/>
            <p:nvPr/>
          </p:nvSpPr>
          <p:spPr>
            <a:xfrm>
              <a:off x="4174017" y="4890298"/>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8" y="15789"/>
                    <a:pt x="15789" y="20038"/>
                    <a:pt x="15789" y="25703"/>
                  </a:cubicBezTo>
                  <a:cubicBezTo>
                    <a:pt x="15789" y="31367"/>
                    <a:pt x="20038"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3" name="Freeform: Shape 2472">
              <a:extLst>
                <a:ext uri="{FF2B5EF4-FFF2-40B4-BE49-F238E27FC236}">
                  <a16:creationId xmlns:a16="http://schemas.microsoft.com/office/drawing/2014/main" id="{21D2C0A3-6237-4015-83B0-61171C809FF4}"/>
                </a:ext>
              </a:extLst>
            </p:cNvPr>
            <p:cNvSpPr/>
            <p:nvPr/>
          </p:nvSpPr>
          <p:spPr>
            <a:xfrm>
              <a:off x="4317053" y="5019171"/>
              <a:ext cx="70810" cy="70810"/>
            </a:xfrm>
            <a:custGeom>
              <a:avLst/>
              <a:gdLst>
                <a:gd name="connsiteX0" fmla="*/ 66772 w 70809"/>
                <a:gd name="connsiteY0" fmla="*/ 41281 h 70809"/>
                <a:gd name="connsiteX1" fmla="*/ 41280 w 70809"/>
                <a:gd name="connsiteY1" fmla="*/ 66772 h 70809"/>
                <a:gd name="connsiteX2" fmla="*/ 15789 w 70809"/>
                <a:gd name="connsiteY2" fmla="*/ 41281 h 70809"/>
                <a:gd name="connsiteX3" fmla="*/ 41280 w 70809"/>
                <a:gd name="connsiteY3" fmla="*/ 15789 h 70809"/>
                <a:gd name="connsiteX4" fmla="*/ 66772 w 70809"/>
                <a:gd name="connsiteY4" fmla="*/ 41281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66772" y="41281"/>
                  </a:moveTo>
                  <a:cubicBezTo>
                    <a:pt x="66772" y="55359"/>
                    <a:pt x="55359" y="66772"/>
                    <a:pt x="41280" y="66772"/>
                  </a:cubicBezTo>
                  <a:cubicBezTo>
                    <a:pt x="27202" y="66772"/>
                    <a:pt x="15789" y="55359"/>
                    <a:pt x="15789" y="41281"/>
                  </a:cubicBezTo>
                  <a:cubicBezTo>
                    <a:pt x="15789" y="27202"/>
                    <a:pt x="27202" y="15789"/>
                    <a:pt x="41280" y="15789"/>
                  </a:cubicBezTo>
                  <a:cubicBezTo>
                    <a:pt x="55359" y="15789"/>
                    <a:pt x="66772" y="27202"/>
                    <a:pt x="66772" y="4128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4" name="Freeform: Shape 2473">
              <a:extLst>
                <a:ext uri="{FF2B5EF4-FFF2-40B4-BE49-F238E27FC236}">
                  <a16:creationId xmlns:a16="http://schemas.microsoft.com/office/drawing/2014/main" id="{D5714680-6551-4DBB-BD2E-5F34C7970BAF}"/>
                </a:ext>
              </a:extLst>
            </p:cNvPr>
            <p:cNvSpPr/>
            <p:nvPr/>
          </p:nvSpPr>
          <p:spPr>
            <a:xfrm>
              <a:off x="3806666" y="5773246"/>
              <a:ext cx="70810" cy="70810"/>
            </a:xfrm>
            <a:custGeom>
              <a:avLst/>
              <a:gdLst>
                <a:gd name="connsiteX0" fmla="*/ 51752 w 70809"/>
                <a:gd name="connsiteY0" fmla="*/ 17960 h 70809"/>
                <a:gd name="connsiteX1" fmla="*/ 65914 w 70809"/>
                <a:gd name="connsiteY1" fmla="*/ 51949 h 70809"/>
                <a:gd name="connsiteX2" fmla="*/ 31925 w 70809"/>
                <a:gd name="connsiteY2" fmla="*/ 66111 h 70809"/>
                <a:gd name="connsiteX3" fmla="*/ 17763 w 70809"/>
                <a:gd name="connsiteY3" fmla="*/ 32122 h 70809"/>
                <a:gd name="connsiteX4" fmla="*/ 51752 w 70809"/>
                <a:gd name="connsiteY4" fmla="*/ 1796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51752" y="17960"/>
                  </a:moveTo>
                  <a:cubicBezTo>
                    <a:pt x="64497" y="23625"/>
                    <a:pt x="71578" y="39203"/>
                    <a:pt x="65914" y="51949"/>
                  </a:cubicBezTo>
                  <a:cubicBezTo>
                    <a:pt x="60249" y="64694"/>
                    <a:pt x="44671" y="71775"/>
                    <a:pt x="31925" y="66111"/>
                  </a:cubicBezTo>
                  <a:cubicBezTo>
                    <a:pt x="19179" y="60445"/>
                    <a:pt x="12098" y="44868"/>
                    <a:pt x="17763" y="32122"/>
                  </a:cubicBezTo>
                  <a:cubicBezTo>
                    <a:pt x="23428" y="17960"/>
                    <a:pt x="37590" y="12295"/>
                    <a:pt x="51752" y="179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5" name="Freeform: Shape 2474">
              <a:extLst>
                <a:ext uri="{FF2B5EF4-FFF2-40B4-BE49-F238E27FC236}">
                  <a16:creationId xmlns:a16="http://schemas.microsoft.com/office/drawing/2014/main" id="{AC575745-FB4B-4B15-AD88-BE702A49D622}"/>
                </a:ext>
              </a:extLst>
            </p:cNvPr>
            <p:cNvSpPr/>
            <p:nvPr/>
          </p:nvSpPr>
          <p:spPr>
            <a:xfrm>
              <a:off x="4346793" y="4370556"/>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8"/>
                    <a:pt x="55442" y="15789"/>
                    <a:pt x="41280" y="15789"/>
                  </a:cubicBezTo>
                  <a:cubicBezTo>
                    <a:pt x="27118" y="15789"/>
                    <a:pt x="15789" y="27118"/>
                    <a:pt x="15789" y="41280"/>
                  </a:cubicBezTo>
                  <a:cubicBezTo>
                    <a:pt x="15789" y="54026"/>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6" name="Freeform: Shape 2475">
              <a:extLst>
                <a:ext uri="{FF2B5EF4-FFF2-40B4-BE49-F238E27FC236}">
                  <a16:creationId xmlns:a16="http://schemas.microsoft.com/office/drawing/2014/main" id="{EC68C2F7-50E4-4FF3-A60F-12AA51A90855}"/>
                </a:ext>
              </a:extLst>
            </p:cNvPr>
            <p:cNvSpPr/>
            <p:nvPr/>
          </p:nvSpPr>
          <p:spPr>
            <a:xfrm>
              <a:off x="3992545" y="5356025"/>
              <a:ext cx="70810" cy="70810"/>
            </a:xfrm>
            <a:custGeom>
              <a:avLst/>
              <a:gdLst>
                <a:gd name="connsiteX0" fmla="*/ 44313 w 70809"/>
                <a:gd name="connsiteY0" fmla="*/ 17405 h 70809"/>
                <a:gd name="connsiteX1" fmla="*/ 55642 w 70809"/>
                <a:gd name="connsiteY1" fmla="*/ 44313 h 70809"/>
                <a:gd name="connsiteX2" fmla="*/ 28735 w 70809"/>
                <a:gd name="connsiteY2" fmla="*/ 55642 h 70809"/>
                <a:gd name="connsiteX3" fmla="*/ 17405 w 70809"/>
                <a:gd name="connsiteY3" fmla="*/ 28735 h 70809"/>
                <a:gd name="connsiteX4" fmla="*/ 44313 w 70809"/>
                <a:gd name="connsiteY4" fmla="*/ 17405 h 70809"/>
                <a:gd name="connsiteX5" fmla="*/ 44313 w 70809"/>
                <a:gd name="connsiteY5" fmla="*/ 17405 h 70809"/>
                <a:gd name="connsiteX6" fmla="*/ 40064 w 70809"/>
                <a:gd name="connsiteY6" fmla="*/ 25902 h 70809"/>
                <a:gd name="connsiteX7" fmla="*/ 24486 w 70809"/>
                <a:gd name="connsiteY7" fmla="*/ 31567 h 70809"/>
                <a:gd name="connsiteX8" fmla="*/ 30151 w 70809"/>
                <a:gd name="connsiteY8" fmla="*/ 47145 h 70809"/>
                <a:gd name="connsiteX9" fmla="*/ 45729 w 70809"/>
                <a:gd name="connsiteY9" fmla="*/ 41480 h 70809"/>
                <a:gd name="connsiteX10" fmla="*/ 40064 w 70809"/>
                <a:gd name="connsiteY10" fmla="*/ 25902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313" y="17405"/>
                  </a:moveTo>
                  <a:cubicBezTo>
                    <a:pt x="55642" y="21654"/>
                    <a:pt x="59891" y="34399"/>
                    <a:pt x="55642" y="44313"/>
                  </a:cubicBezTo>
                  <a:cubicBezTo>
                    <a:pt x="51394" y="55642"/>
                    <a:pt x="38648" y="59891"/>
                    <a:pt x="28735" y="55642"/>
                  </a:cubicBezTo>
                  <a:cubicBezTo>
                    <a:pt x="17405" y="51394"/>
                    <a:pt x="13156" y="38648"/>
                    <a:pt x="17405" y="28735"/>
                  </a:cubicBezTo>
                  <a:cubicBezTo>
                    <a:pt x="21654" y="17405"/>
                    <a:pt x="32983" y="13157"/>
                    <a:pt x="44313" y="17405"/>
                  </a:cubicBezTo>
                  <a:lnTo>
                    <a:pt x="44313" y="17405"/>
                  </a:lnTo>
                  <a:close/>
                  <a:moveTo>
                    <a:pt x="40064" y="25902"/>
                  </a:moveTo>
                  <a:cubicBezTo>
                    <a:pt x="34399" y="23070"/>
                    <a:pt x="27318" y="25902"/>
                    <a:pt x="24486" y="31567"/>
                  </a:cubicBezTo>
                  <a:cubicBezTo>
                    <a:pt x="21654" y="37232"/>
                    <a:pt x="24486" y="44313"/>
                    <a:pt x="30151" y="47145"/>
                  </a:cubicBezTo>
                  <a:cubicBezTo>
                    <a:pt x="35816" y="49978"/>
                    <a:pt x="42897" y="47145"/>
                    <a:pt x="45729" y="41480"/>
                  </a:cubicBezTo>
                  <a:cubicBezTo>
                    <a:pt x="49978" y="34399"/>
                    <a:pt x="47145" y="28735"/>
                    <a:pt x="40064" y="2590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7" name="Freeform: Shape 2476">
              <a:extLst>
                <a:ext uri="{FF2B5EF4-FFF2-40B4-BE49-F238E27FC236}">
                  <a16:creationId xmlns:a16="http://schemas.microsoft.com/office/drawing/2014/main" id="{F5137850-29CB-403B-A1E4-74C9DA841F22}"/>
                </a:ext>
              </a:extLst>
            </p:cNvPr>
            <p:cNvSpPr/>
            <p:nvPr/>
          </p:nvSpPr>
          <p:spPr>
            <a:xfrm>
              <a:off x="3548061" y="4261509"/>
              <a:ext cx="70810" cy="70810"/>
            </a:xfrm>
            <a:custGeom>
              <a:avLst/>
              <a:gdLst>
                <a:gd name="connsiteX0" fmla="*/ 35616 w 70809"/>
                <a:gd name="connsiteY0" fmla="*/ 55443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3"/>
                  </a:moveTo>
                  <a:cubicBezTo>
                    <a:pt x="46945" y="55443"/>
                    <a:pt x="55442" y="46945"/>
                    <a:pt x="55442" y="35616"/>
                  </a:cubicBezTo>
                  <a:cubicBezTo>
                    <a:pt x="55442" y="24286"/>
                    <a:pt x="46945" y="15789"/>
                    <a:pt x="35616" y="15789"/>
                  </a:cubicBezTo>
                  <a:cubicBezTo>
                    <a:pt x="24286" y="15789"/>
                    <a:pt x="15789" y="24286"/>
                    <a:pt x="15789" y="35616"/>
                  </a:cubicBezTo>
                  <a:cubicBezTo>
                    <a:pt x="15789" y="46945"/>
                    <a:pt x="25702" y="55443"/>
                    <a:pt x="35616" y="554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8" name="Freeform: Shape 2477">
              <a:extLst>
                <a:ext uri="{FF2B5EF4-FFF2-40B4-BE49-F238E27FC236}">
                  <a16:creationId xmlns:a16="http://schemas.microsoft.com/office/drawing/2014/main" id="{316EB968-C7A3-4A40-87B8-892DDA517A7B}"/>
                </a:ext>
              </a:extLst>
            </p:cNvPr>
            <p:cNvSpPr/>
            <p:nvPr/>
          </p:nvSpPr>
          <p:spPr>
            <a:xfrm>
              <a:off x="3858072" y="4629719"/>
              <a:ext cx="70810" cy="70810"/>
            </a:xfrm>
            <a:custGeom>
              <a:avLst/>
              <a:gdLst>
                <a:gd name="connsiteX0" fmla="*/ 35751 w 70809"/>
                <a:gd name="connsiteY0" fmla="*/ 55443 h 70809"/>
                <a:gd name="connsiteX1" fmla="*/ 55578 w 70809"/>
                <a:gd name="connsiteY1" fmla="*/ 35616 h 70809"/>
                <a:gd name="connsiteX2" fmla="*/ 35751 w 70809"/>
                <a:gd name="connsiteY2" fmla="*/ 15789 h 70809"/>
                <a:gd name="connsiteX3" fmla="*/ 15924 w 70809"/>
                <a:gd name="connsiteY3" fmla="*/ 35616 h 70809"/>
                <a:gd name="connsiteX4" fmla="*/ 35751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751" y="55443"/>
                  </a:moveTo>
                  <a:cubicBezTo>
                    <a:pt x="47080" y="55443"/>
                    <a:pt x="55578" y="46945"/>
                    <a:pt x="55578" y="35616"/>
                  </a:cubicBezTo>
                  <a:cubicBezTo>
                    <a:pt x="55578" y="24286"/>
                    <a:pt x="47080" y="15789"/>
                    <a:pt x="35751" y="15789"/>
                  </a:cubicBezTo>
                  <a:cubicBezTo>
                    <a:pt x="24421" y="15789"/>
                    <a:pt x="15924" y="24286"/>
                    <a:pt x="15924" y="35616"/>
                  </a:cubicBezTo>
                  <a:cubicBezTo>
                    <a:pt x="14508" y="45529"/>
                    <a:pt x="24421" y="55443"/>
                    <a:pt x="35751" y="554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79" name="Freeform: Shape 2478">
              <a:extLst>
                <a:ext uri="{FF2B5EF4-FFF2-40B4-BE49-F238E27FC236}">
                  <a16:creationId xmlns:a16="http://schemas.microsoft.com/office/drawing/2014/main" id="{0F0CE4F7-7D9F-4096-8E25-771BE229193C}"/>
                </a:ext>
              </a:extLst>
            </p:cNvPr>
            <p:cNvSpPr/>
            <p:nvPr/>
          </p:nvSpPr>
          <p:spPr>
            <a:xfrm>
              <a:off x="4420435" y="4373388"/>
              <a:ext cx="84971" cy="84971"/>
            </a:xfrm>
            <a:custGeom>
              <a:avLst/>
              <a:gdLst>
                <a:gd name="connsiteX0" fmla="*/ 45529 w 84971"/>
                <a:gd name="connsiteY0" fmla="*/ 75269 h 84971"/>
                <a:gd name="connsiteX1" fmla="*/ 75269 w 84971"/>
                <a:gd name="connsiteY1" fmla="*/ 45529 h 84971"/>
                <a:gd name="connsiteX2" fmla="*/ 45529 w 84971"/>
                <a:gd name="connsiteY2" fmla="*/ 15789 h 84971"/>
                <a:gd name="connsiteX3" fmla="*/ 15789 w 84971"/>
                <a:gd name="connsiteY3" fmla="*/ 45529 h 84971"/>
                <a:gd name="connsiteX4" fmla="*/ 45529 w 84971"/>
                <a:gd name="connsiteY4" fmla="*/ 7526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529" y="75269"/>
                  </a:moveTo>
                  <a:cubicBezTo>
                    <a:pt x="61107" y="75269"/>
                    <a:pt x="75269" y="62524"/>
                    <a:pt x="75269" y="45529"/>
                  </a:cubicBezTo>
                  <a:cubicBezTo>
                    <a:pt x="75269" y="29951"/>
                    <a:pt x="62523" y="15789"/>
                    <a:pt x="45529" y="15789"/>
                  </a:cubicBezTo>
                  <a:cubicBezTo>
                    <a:pt x="29951" y="15789"/>
                    <a:pt x="15789" y="28535"/>
                    <a:pt x="15789" y="45529"/>
                  </a:cubicBezTo>
                  <a:cubicBezTo>
                    <a:pt x="15789" y="62524"/>
                    <a:pt x="29951" y="75269"/>
                    <a:pt x="45529" y="752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0" name="Freeform: Shape 2479">
              <a:extLst>
                <a:ext uri="{FF2B5EF4-FFF2-40B4-BE49-F238E27FC236}">
                  <a16:creationId xmlns:a16="http://schemas.microsoft.com/office/drawing/2014/main" id="{E3D76AA2-471A-4645-BF58-65095295C516}"/>
                </a:ext>
              </a:extLst>
            </p:cNvPr>
            <p:cNvSpPr/>
            <p:nvPr/>
          </p:nvSpPr>
          <p:spPr>
            <a:xfrm>
              <a:off x="4567719" y="4731685"/>
              <a:ext cx="84971" cy="84971"/>
            </a:xfrm>
            <a:custGeom>
              <a:avLst/>
              <a:gdLst>
                <a:gd name="connsiteX0" fmla="*/ 75269 w 84971"/>
                <a:gd name="connsiteY0" fmla="*/ 45529 h 84971"/>
                <a:gd name="connsiteX1" fmla="*/ 45529 w 84971"/>
                <a:gd name="connsiteY1" fmla="*/ 75269 h 84971"/>
                <a:gd name="connsiteX2" fmla="*/ 15789 w 84971"/>
                <a:gd name="connsiteY2" fmla="*/ 45529 h 84971"/>
                <a:gd name="connsiteX3" fmla="*/ 45529 w 84971"/>
                <a:gd name="connsiteY3" fmla="*/ 15789 h 84971"/>
                <a:gd name="connsiteX4" fmla="*/ 75269 w 84971"/>
                <a:gd name="connsiteY4" fmla="*/ 4552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75269" y="45529"/>
                  </a:moveTo>
                  <a:cubicBezTo>
                    <a:pt x="75269" y="61954"/>
                    <a:pt x="61954" y="75269"/>
                    <a:pt x="45529" y="75269"/>
                  </a:cubicBezTo>
                  <a:cubicBezTo>
                    <a:pt x="29104" y="75269"/>
                    <a:pt x="15789" y="61954"/>
                    <a:pt x="15789" y="45529"/>
                  </a:cubicBezTo>
                  <a:cubicBezTo>
                    <a:pt x="15789" y="29104"/>
                    <a:pt x="29104" y="15789"/>
                    <a:pt x="45529" y="15789"/>
                  </a:cubicBezTo>
                  <a:cubicBezTo>
                    <a:pt x="61954" y="15789"/>
                    <a:pt x="75269" y="29104"/>
                    <a:pt x="75269" y="4552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1" name="Freeform: Shape 2480">
              <a:extLst>
                <a:ext uri="{FF2B5EF4-FFF2-40B4-BE49-F238E27FC236}">
                  <a16:creationId xmlns:a16="http://schemas.microsoft.com/office/drawing/2014/main" id="{475318D0-E907-4196-81F7-2EC4E32E2101}"/>
                </a:ext>
              </a:extLst>
            </p:cNvPr>
            <p:cNvSpPr/>
            <p:nvPr/>
          </p:nvSpPr>
          <p:spPr>
            <a:xfrm>
              <a:off x="4292823" y="4755760"/>
              <a:ext cx="56648" cy="56648"/>
            </a:xfrm>
            <a:custGeom>
              <a:avLst/>
              <a:gdLst>
                <a:gd name="connsiteX0" fmla="*/ 32938 w 56647"/>
                <a:gd name="connsiteY0" fmla="*/ 49778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8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8"/>
                  </a:moveTo>
                  <a:cubicBezTo>
                    <a:pt x="42852" y="49778"/>
                    <a:pt x="49933" y="41281"/>
                    <a:pt x="49933" y="32783"/>
                  </a:cubicBezTo>
                  <a:cubicBezTo>
                    <a:pt x="49933" y="22870"/>
                    <a:pt x="41435" y="15789"/>
                    <a:pt x="32938" y="15789"/>
                  </a:cubicBezTo>
                  <a:cubicBezTo>
                    <a:pt x="23025" y="15789"/>
                    <a:pt x="15944" y="24286"/>
                    <a:pt x="15944" y="32783"/>
                  </a:cubicBezTo>
                  <a:cubicBezTo>
                    <a:pt x="14528" y="41281"/>
                    <a:pt x="23025" y="49778"/>
                    <a:pt x="32938" y="4977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2" name="Freeform: Shape 2481">
              <a:extLst>
                <a:ext uri="{FF2B5EF4-FFF2-40B4-BE49-F238E27FC236}">
                  <a16:creationId xmlns:a16="http://schemas.microsoft.com/office/drawing/2014/main" id="{A1C77EED-75A5-47AD-9F59-5821FC43CA5E}"/>
                </a:ext>
              </a:extLst>
            </p:cNvPr>
            <p:cNvSpPr/>
            <p:nvPr/>
          </p:nvSpPr>
          <p:spPr>
            <a:xfrm>
              <a:off x="4237746" y="4442782"/>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1280"/>
                    <a:pt x="49778" y="32783"/>
                  </a:cubicBezTo>
                  <a:cubicBezTo>
                    <a:pt x="49778" y="22870"/>
                    <a:pt x="41280" y="15789"/>
                    <a:pt x="32783" y="15789"/>
                  </a:cubicBezTo>
                  <a:cubicBezTo>
                    <a:pt x="22870" y="15789"/>
                    <a:pt x="15789" y="24286"/>
                    <a:pt x="15789" y="32783"/>
                  </a:cubicBezTo>
                  <a:cubicBezTo>
                    <a:pt x="15789" y="41280"/>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3" name="Freeform: Shape 2482">
              <a:extLst>
                <a:ext uri="{FF2B5EF4-FFF2-40B4-BE49-F238E27FC236}">
                  <a16:creationId xmlns:a16="http://schemas.microsoft.com/office/drawing/2014/main" id="{DBA26219-7C51-4A60-A514-4999BDE6EAF7}"/>
                </a:ext>
              </a:extLst>
            </p:cNvPr>
            <p:cNvSpPr/>
            <p:nvPr/>
          </p:nvSpPr>
          <p:spPr>
            <a:xfrm>
              <a:off x="3362540" y="4524921"/>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1280"/>
                    <a:pt x="49778" y="32783"/>
                  </a:cubicBezTo>
                  <a:cubicBezTo>
                    <a:pt x="49778" y="22870"/>
                    <a:pt x="41280" y="15789"/>
                    <a:pt x="32783" y="15789"/>
                  </a:cubicBezTo>
                  <a:cubicBezTo>
                    <a:pt x="22870" y="15789"/>
                    <a:pt x="15789" y="24286"/>
                    <a:pt x="15789" y="32783"/>
                  </a:cubicBezTo>
                  <a:cubicBezTo>
                    <a:pt x="15789" y="41280"/>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4" name="Freeform: Shape 2483">
              <a:extLst>
                <a:ext uri="{FF2B5EF4-FFF2-40B4-BE49-F238E27FC236}">
                  <a16:creationId xmlns:a16="http://schemas.microsoft.com/office/drawing/2014/main" id="{F9A91A0C-7D06-4786-B305-6D0D3B9F2D75}"/>
                </a:ext>
              </a:extLst>
            </p:cNvPr>
            <p:cNvSpPr/>
            <p:nvPr/>
          </p:nvSpPr>
          <p:spPr>
            <a:xfrm>
              <a:off x="3904067" y="5460149"/>
              <a:ext cx="56648" cy="56648"/>
            </a:xfrm>
            <a:custGeom>
              <a:avLst/>
              <a:gdLst>
                <a:gd name="connsiteX0" fmla="*/ 39322 w 56647"/>
                <a:gd name="connsiteY0" fmla="*/ 16663 h 56647"/>
                <a:gd name="connsiteX1" fmla="*/ 49235 w 56647"/>
                <a:gd name="connsiteY1" fmla="*/ 39322 h 56647"/>
                <a:gd name="connsiteX2" fmla="*/ 26576 w 56647"/>
                <a:gd name="connsiteY2" fmla="*/ 49235 h 56647"/>
                <a:gd name="connsiteX3" fmla="*/ 16663 w 56647"/>
                <a:gd name="connsiteY3" fmla="*/ 26576 h 56647"/>
                <a:gd name="connsiteX4" fmla="*/ 39322 w 56647"/>
                <a:gd name="connsiteY4" fmla="*/ 1666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9322" y="16663"/>
                  </a:moveTo>
                  <a:cubicBezTo>
                    <a:pt x="47819" y="20911"/>
                    <a:pt x="52068" y="30825"/>
                    <a:pt x="49235" y="39322"/>
                  </a:cubicBezTo>
                  <a:cubicBezTo>
                    <a:pt x="44987" y="47819"/>
                    <a:pt x="35073" y="52068"/>
                    <a:pt x="26576" y="49235"/>
                  </a:cubicBezTo>
                  <a:cubicBezTo>
                    <a:pt x="18079" y="44987"/>
                    <a:pt x="13830" y="35073"/>
                    <a:pt x="16663" y="26576"/>
                  </a:cubicBezTo>
                  <a:cubicBezTo>
                    <a:pt x="19495" y="18079"/>
                    <a:pt x="29409" y="13830"/>
                    <a:pt x="39322" y="1666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5" name="Freeform: Shape 2484">
              <a:extLst>
                <a:ext uri="{FF2B5EF4-FFF2-40B4-BE49-F238E27FC236}">
                  <a16:creationId xmlns:a16="http://schemas.microsoft.com/office/drawing/2014/main" id="{0687A263-B7A8-4CF0-9DDB-8D46D5D9FD49}"/>
                </a:ext>
              </a:extLst>
            </p:cNvPr>
            <p:cNvSpPr/>
            <p:nvPr/>
          </p:nvSpPr>
          <p:spPr>
            <a:xfrm>
              <a:off x="4375117" y="4548996"/>
              <a:ext cx="84971" cy="84971"/>
            </a:xfrm>
            <a:custGeom>
              <a:avLst/>
              <a:gdLst>
                <a:gd name="connsiteX0" fmla="*/ 45529 w 84971"/>
                <a:gd name="connsiteY0" fmla="*/ 15789 h 84971"/>
                <a:gd name="connsiteX1" fmla="*/ 75269 w 84971"/>
                <a:gd name="connsiteY1" fmla="*/ 45529 h 84971"/>
                <a:gd name="connsiteX2" fmla="*/ 45529 w 84971"/>
                <a:gd name="connsiteY2" fmla="*/ 75269 h 84971"/>
                <a:gd name="connsiteX3" fmla="*/ 15789 w 84971"/>
                <a:gd name="connsiteY3" fmla="*/ 45529 h 84971"/>
                <a:gd name="connsiteX4" fmla="*/ 45529 w 84971"/>
                <a:gd name="connsiteY4" fmla="*/ 15789 h 84971"/>
                <a:gd name="connsiteX5" fmla="*/ 45529 w 84971"/>
                <a:gd name="connsiteY5" fmla="*/ 15789 h 84971"/>
                <a:gd name="connsiteX6" fmla="*/ 45529 w 84971"/>
                <a:gd name="connsiteY6" fmla="*/ 28535 h 84971"/>
                <a:gd name="connsiteX7" fmla="*/ 28535 w 84971"/>
                <a:gd name="connsiteY7" fmla="*/ 45529 h 84971"/>
                <a:gd name="connsiteX8" fmla="*/ 45529 w 84971"/>
                <a:gd name="connsiteY8" fmla="*/ 62523 h 84971"/>
                <a:gd name="connsiteX9" fmla="*/ 62523 w 84971"/>
                <a:gd name="connsiteY9" fmla="*/ 45529 h 84971"/>
                <a:gd name="connsiteX10" fmla="*/ 45529 w 84971"/>
                <a:gd name="connsiteY10" fmla="*/ 28535 h 8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971" h="84971">
                  <a:moveTo>
                    <a:pt x="45529" y="15789"/>
                  </a:moveTo>
                  <a:cubicBezTo>
                    <a:pt x="62523" y="15789"/>
                    <a:pt x="75269" y="29951"/>
                    <a:pt x="75269" y="45529"/>
                  </a:cubicBezTo>
                  <a:cubicBezTo>
                    <a:pt x="75269" y="61107"/>
                    <a:pt x="62523" y="75269"/>
                    <a:pt x="45529" y="75269"/>
                  </a:cubicBezTo>
                  <a:cubicBezTo>
                    <a:pt x="28535" y="75269"/>
                    <a:pt x="15789" y="62523"/>
                    <a:pt x="15789" y="45529"/>
                  </a:cubicBezTo>
                  <a:cubicBezTo>
                    <a:pt x="15789" y="28535"/>
                    <a:pt x="28535" y="15789"/>
                    <a:pt x="45529" y="15789"/>
                  </a:cubicBezTo>
                  <a:lnTo>
                    <a:pt x="45529" y="15789"/>
                  </a:lnTo>
                  <a:close/>
                  <a:moveTo>
                    <a:pt x="45529" y="28535"/>
                  </a:moveTo>
                  <a:cubicBezTo>
                    <a:pt x="35616" y="28535"/>
                    <a:pt x="28535" y="35616"/>
                    <a:pt x="28535" y="45529"/>
                  </a:cubicBezTo>
                  <a:cubicBezTo>
                    <a:pt x="28535" y="55442"/>
                    <a:pt x="35616" y="62523"/>
                    <a:pt x="45529" y="62523"/>
                  </a:cubicBezTo>
                  <a:cubicBezTo>
                    <a:pt x="55442" y="62523"/>
                    <a:pt x="62523" y="55442"/>
                    <a:pt x="62523" y="45529"/>
                  </a:cubicBezTo>
                  <a:cubicBezTo>
                    <a:pt x="62523" y="37032"/>
                    <a:pt x="54026" y="28535"/>
                    <a:pt x="45529" y="2853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6" name="Freeform: Shape 2485">
              <a:extLst>
                <a:ext uri="{FF2B5EF4-FFF2-40B4-BE49-F238E27FC236}">
                  <a16:creationId xmlns:a16="http://schemas.microsoft.com/office/drawing/2014/main" id="{9204CA9F-3564-4967-8B5F-15BF54CD086F}"/>
                </a:ext>
              </a:extLst>
            </p:cNvPr>
            <p:cNvSpPr/>
            <p:nvPr/>
          </p:nvSpPr>
          <p:spPr>
            <a:xfrm>
              <a:off x="4598655" y="4602811"/>
              <a:ext cx="42486" cy="42486"/>
            </a:xfrm>
            <a:custGeom>
              <a:avLst/>
              <a:gdLst>
                <a:gd name="connsiteX0" fmla="*/ 25923 w 42485"/>
                <a:gd name="connsiteY0" fmla="*/ 35616 h 42485"/>
                <a:gd name="connsiteX1" fmla="*/ 35836 w 42485"/>
                <a:gd name="connsiteY1" fmla="*/ 25703 h 42485"/>
                <a:gd name="connsiteX2" fmla="*/ 25923 w 42485"/>
                <a:gd name="connsiteY2" fmla="*/ 15789 h 42485"/>
                <a:gd name="connsiteX3" fmla="*/ 16009 w 42485"/>
                <a:gd name="connsiteY3" fmla="*/ 25703 h 42485"/>
                <a:gd name="connsiteX4" fmla="*/ 2592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923" y="35616"/>
                  </a:moveTo>
                  <a:cubicBezTo>
                    <a:pt x="31587" y="35616"/>
                    <a:pt x="35836" y="31367"/>
                    <a:pt x="35836" y="25703"/>
                  </a:cubicBezTo>
                  <a:cubicBezTo>
                    <a:pt x="35836" y="20037"/>
                    <a:pt x="31587" y="15789"/>
                    <a:pt x="25923" y="15789"/>
                  </a:cubicBezTo>
                  <a:cubicBezTo>
                    <a:pt x="20258" y="15789"/>
                    <a:pt x="16009" y="20037"/>
                    <a:pt x="16009" y="25703"/>
                  </a:cubicBezTo>
                  <a:cubicBezTo>
                    <a:pt x="14593" y="31367"/>
                    <a:pt x="20258" y="35616"/>
                    <a:pt x="2592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7" name="Freeform: Shape 2486">
              <a:extLst>
                <a:ext uri="{FF2B5EF4-FFF2-40B4-BE49-F238E27FC236}">
                  <a16:creationId xmlns:a16="http://schemas.microsoft.com/office/drawing/2014/main" id="{6B806E00-7910-4F58-8090-2574CAF9946F}"/>
                </a:ext>
              </a:extLst>
            </p:cNvPr>
            <p:cNvSpPr/>
            <p:nvPr/>
          </p:nvSpPr>
          <p:spPr>
            <a:xfrm>
              <a:off x="3422020" y="4410209"/>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8"/>
                    <a:pt x="31367" y="15789"/>
                    <a:pt x="25702" y="15789"/>
                  </a:cubicBezTo>
                  <a:cubicBezTo>
                    <a:pt x="20038" y="15789"/>
                    <a:pt x="15789" y="20038"/>
                    <a:pt x="15789" y="25703"/>
                  </a:cubicBezTo>
                  <a:cubicBezTo>
                    <a:pt x="17205" y="31367"/>
                    <a:pt x="21454"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8" name="Freeform: Shape 2487">
              <a:extLst>
                <a:ext uri="{FF2B5EF4-FFF2-40B4-BE49-F238E27FC236}">
                  <a16:creationId xmlns:a16="http://schemas.microsoft.com/office/drawing/2014/main" id="{639210B0-4EAD-49C3-BF94-D46C3335632B}"/>
                </a:ext>
              </a:extLst>
            </p:cNvPr>
            <p:cNvSpPr/>
            <p:nvPr/>
          </p:nvSpPr>
          <p:spPr>
            <a:xfrm>
              <a:off x="4011155" y="4973853"/>
              <a:ext cx="70810" cy="70810"/>
            </a:xfrm>
            <a:custGeom>
              <a:avLst/>
              <a:gdLst>
                <a:gd name="connsiteX0" fmla="*/ 38448 w 70809"/>
                <a:gd name="connsiteY0" fmla="*/ 61107 h 70809"/>
                <a:gd name="connsiteX1" fmla="*/ 61107 w 70809"/>
                <a:gd name="connsiteY1" fmla="*/ 38448 h 70809"/>
                <a:gd name="connsiteX2" fmla="*/ 38448 w 70809"/>
                <a:gd name="connsiteY2" fmla="*/ 15789 h 70809"/>
                <a:gd name="connsiteX3" fmla="*/ 15789 w 70809"/>
                <a:gd name="connsiteY3" fmla="*/ 38448 h 70809"/>
                <a:gd name="connsiteX4" fmla="*/ 38448 w 70809"/>
                <a:gd name="connsiteY4" fmla="*/ 6110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448" y="61107"/>
                  </a:moveTo>
                  <a:cubicBezTo>
                    <a:pt x="51194" y="61107"/>
                    <a:pt x="61107" y="51194"/>
                    <a:pt x="61107" y="38448"/>
                  </a:cubicBezTo>
                  <a:cubicBezTo>
                    <a:pt x="61107" y="25702"/>
                    <a:pt x="51194" y="15789"/>
                    <a:pt x="38448" y="15789"/>
                  </a:cubicBezTo>
                  <a:cubicBezTo>
                    <a:pt x="25703" y="15789"/>
                    <a:pt x="15789" y="25702"/>
                    <a:pt x="15789" y="38448"/>
                  </a:cubicBezTo>
                  <a:cubicBezTo>
                    <a:pt x="15789" y="51194"/>
                    <a:pt x="25703" y="61107"/>
                    <a:pt x="38448" y="611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89" name="Freeform: Shape 2488">
              <a:extLst>
                <a:ext uri="{FF2B5EF4-FFF2-40B4-BE49-F238E27FC236}">
                  <a16:creationId xmlns:a16="http://schemas.microsoft.com/office/drawing/2014/main" id="{2FA05DF7-A917-4159-A674-32C757F2CC55}"/>
                </a:ext>
              </a:extLst>
            </p:cNvPr>
            <p:cNvSpPr/>
            <p:nvPr/>
          </p:nvSpPr>
          <p:spPr>
            <a:xfrm>
              <a:off x="3640113" y="4017925"/>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0" y="49777"/>
                    <a:pt x="49778" y="42697"/>
                    <a:pt x="49778" y="32783"/>
                  </a:cubicBezTo>
                  <a:cubicBezTo>
                    <a:pt x="49778" y="24286"/>
                    <a:pt x="42697" y="15789"/>
                    <a:pt x="32783" y="15789"/>
                  </a:cubicBezTo>
                  <a:cubicBezTo>
                    <a:pt x="22870" y="15789"/>
                    <a:pt x="15789" y="22870"/>
                    <a:pt x="15789" y="32783"/>
                  </a:cubicBezTo>
                  <a:cubicBezTo>
                    <a:pt x="15789" y="41280"/>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0" name="Freeform: Shape 2489">
              <a:extLst>
                <a:ext uri="{FF2B5EF4-FFF2-40B4-BE49-F238E27FC236}">
                  <a16:creationId xmlns:a16="http://schemas.microsoft.com/office/drawing/2014/main" id="{7EABA76D-6C88-4D0D-A821-F4547388E572}"/>
                </a:ext>
              </a:extLst>
            </p:cNvPr>
            <p:cNvSpPr/>
            <p:nvPr/>
          </p:nvSpPr>
          <p:spPr>
            <a:xfrm>
              <a:off x="3593379" y="3842317"/>
              <a:ext cx="113295" cy="113295"/>
            </a:xfrm>
            <a:custGeom>
              <a:avLst/>
              <a:gdLst>
                <a:gd name="connsiteX0" fmla="*/ 56859 w 113295"/>
                <a:gd name="connsiteY0" fmla="*/ 97928 h 113295"/>
                <a:gd name="connsiteX1" fmla="*/ 97928 w 113295"/>
                <a:gd name="connsiteY1" fmla="*/ 56858 h 113295"/>
                <a:gd name="connsiteX2" fmla="*/ 56859 w 113295"/>
                <a:gd name="connsiteY2" fmla="*/ 15789 h 113295"/>
                <a:gd name="connsiteX3" fmla="*/ 15789 w 113295"/>
                <a:gd name="connsiteY3" fmla="*/ 56858 h 113295"/>
                <a:gd name="connsiteX4" fmla="*/ 56859 w 113295"/>
                <a:gd name="connsiteY4" fmla="*/ 97928 h 11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95" h="113295">
                  <a:moveTo>
                    <a:pt x="56859" y="97928"/>
                  </a:moveTo>
                  <a:cubicBezTo>
                    <a:pt x="79518" y="97928"/>
                    <a:pt x="97928" y="79518"/>
                    <a:pt x="97928" y="56858"/>
                  </a:cubicBezTo>
                  <a:cubicBezTo>
                    <a:pt x="97928" y="34200"/>
                    <a:pt x="79518" y="15789"/>
                    <a:pt x="56859" y="15789"/>
                  </a:cubicBezTo>
                  <a:cubicBezTo>
                    <a:pt x="34200" y="15789"/>
                    <a:pt x="15789" y="34200"/>
                    <a:pt x="15789" y="56858"/>
                  </a:cubicBezTo>
                  <a:cubicBezTo>
                    <a:pt x="15789" y="79518"/>
                    <a:pt x="34200" y="97928"/>
                    <a:pt x="56859" y="9792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1" name="Freeform: Shape 2490">
              <a:extLst>
                <a:ext uri="{FF2B5EF4-FFF2-40B4-BE49-F238E27FC236}">
                  <a16:creationId xmlns:a16="http://schemas.microsoft.com/office/drawing/2014/main" id="{A1120AEF-9182-4D25-91F0-85B196C355ED}"/>
                </a:ext>
              </a:extLst>
            </p:cNvPr>
            <p:cNvSpPr/>
            <p:nvPr/>
          </p:nvSpPr>
          <p:spPr>
            <a:xfrm>
              <a:off x="4016820" y="4363475"/>
              <a:ext cx="99133" cy="99133"/>
            </a:xfrm>
            <a:custGeom>
              <a:avLst/>
              <a:gdLst>
                <a:gd name="connsiteX0" fmla="*/ 49778 w 99133"/>
                <a:gd name="connsiteY0" fmla="*/ 83766 h 99133"/>
                <a:gd name="connsiteX1" fmla="*/ 83766 w 99133"/>
                <a:gd name="connsiteY1" fmla="*/ 49777 h 99133"/>
                <a:gd name="connsiteX2" fmla="*/ 49778 w 99133"/>
                <a:gd name="connsiteY2" fmla="*/ 15789 h 99133"/>
                <a:gd name="connsiteX3" fmla="*/ 15789 w 99133"/>
                <a:gd name="connsiteY3" fmla="*/ 49777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7"/>
                  </a:cubicBezTo>
                  <a:cubicBezTo>
                    <a:pt x="83766" y="31367"/>
                    <a:pt x="68188" y="15789"/>
                    <a:pt x="49778" y="15789"/>
                  </a:cubicBezTo>
                  <a:cubicBezTo>
                    <a:pt x="31367" y="15789"/>
                    <a:pt x="15789" y="31367"/>
                    <a:pt x="15789" y="49777"/>
                  </a:cubicBezTo>
                  <a:cubicBezTo>
                    <a:pt x="15789" y="69604"/>
                    <a:pt x="31367" y="83766"/>
                    <a:pt x="49778" y="8376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2" name="Freeform: Shape 2491">
              <a:extLst>
                <a:ext uri="{FF2B5EF4-FFF2-40B4-BE49-F238E27FC236}">
                  <a16:creationId xmlns:a16="http://schemas.microsoft.com/office/drawing/2014/main" id="{E4B8E5D2-6A66-4BF1-858B-57A52879A1F2}"/>
                </a:ext>
              </a:extLst>
            </p:cNvPr>
            <p:cNvSpPr/>
            <p:nvPr/>
          </p:nvSpPr>
          <p:spPr>
            <a:xfrm>
              <a:off x="4002103" y="5552520"/>
              <a:ext cx="42486" cy="42486"/>
            </a:xfrm>
            <a:custGeom>
              <a:avLst/>
              <a:gdLst>
                <a:gd name="connsiteX0" fmla="*/ 24842 w 42485"/>
                <a:gd name="connsiteY0" fmla="*/ 16345 h 42485"/>
                <a:gd name="connsiteX1" fmla="*/ 27674 w 42485"/>
                <a:gd name="connsiteY1" fmla="*/ 24842 h 42485"/>
                <a:gd name="connsiteX2" fmla="*/ 19177 w 42485"/>
                <a:gd name="connsiteY2" fmla="*/ 27674 h 42485"/>
                <a:gd name="connsiteX3" fmla="*/ 16345 w 42485"/>
                <a:gd name="connsiteY3" fmla="*/ 19177 h 42485"/>
                <a:gd name="connsiteX4" fmla="*/ 24842 w 42485"/>
                <a:gd name="connsiteY4" fmla="*/ 1634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6345"/>
                  </a:moveTo>
                  <a:cubicBezTo>
                    <a:pt x="27674" y="17761"/>
                    <a:pt x="29090" y="22009"/>
                    <a:pt x="27674" y="24842"/>
                  </a:cubicBezTo>
                  <a:cubicBezTo>
                    <a:pt x="26258" y="27674"/>
                    <a:pt x="22009" y="29090"/>
                    <a:pt x="19177" y="27674"/>
                  </a:cubicBezTo>
                  <a:cubicBezTo>
                    <a:pt x="16345" y="26258"/>
                    <a:pt x="14928" y="22009"/>
                    <a:pt x="16345" y="19177"/>
                  </a:cubicBezTo>
                  <a:cubicBezTo>
                    <a:pt x="17761" y="16345"/>
                    <a:pt x="20593" y="14928"/>
                    <a:pt x="24842" y="163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3" name="Freeform: Shape 2492">
              <a:extLst>
                <a:ext uri="{FF2B5EF4-FFF2-40B4-BE49-F238E27FC236}">
                  <a16:creationId xmlns:a16="http://schemas.microsoft.com/office/drawing/2014/main" id="{25396C25-05D8-4996-BADA-B53B594757EB}"/>
                </a:ext>
              </a:extLst>
            </p:cNvPr>
            <p:cNvSpPr/>
            <p:nvPr/>
          </p:nvSpPr>
          <p:spPr>
            <a:xfrm>
              <a:off x="3839845" y="5601274"/>
              <a:ext cx="56648" cy="56648"/>
            </a:xfrm>
            <a:custGeom>
              <a:avLst/>
              <a:gdLst>
                <a:gd name="connsiteX0" fmla="*/ 35567 w 56647"/>
                <a:gd name="connsiteY0" fmla="*/ 17157 h 56647"/>
                <a:gd name="connsiteX1" fmla="*/ 41232 w 56647"/>
                <a:gd name="connsiteY1" fmla="*/ 35567 h 56647"/>
                <a:gd name="connsiteX2" fmla="*/ 22822 w 56647"/>
                <a:gd name="connsiteY2" fmla="*/ 41232 h 56647"/>
                <a:gd name="connsiteX3" fmla="*/ 17157 w 56647"/>
                <a:gd name="connsiteY3" fmla="*/ 22821 h 56647"/>
                <a:gd name="connsiteX4" fmla="*/ 35567 w 56647"/>
                <a:gd name="connsiteY4" fmla="*/ 1715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567" y="17157"/>
                  </a:moveTo>
                  <a:cubicBezTo>
                    <a:pt x="42648" y="19989"/>
                    <a:pt x="44064" y="28486"/>
                    <a:pt x="41232" y="35567"/>
                  </a:cubicBezTo>
                  <a:cubicBezTo>
                    <a:pt x="38400" y="42648"/>
                    <a:pt x="29902" y="44064"/>
                    <a:pt x="22822" y="41232"/>
                  </a:cubicBezTo>
                  <a:cubicBezTo>
                    <a:pt x="15741" y="38400"/>
                    <a:pt x="14324" y="29902"/>
                    <a:pt x="17157" y="22821"/>
                  </a:cubicBezTo>
                  <a:cubicBezTo>
                    <a:pt x="21405" y="15741"/>
                    <a:pt x="29902" y="14324"/>
                    <a:pt x="35567" y="1715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4" name="Freeform: Shape 2493">
              <a:extLst>
                <a:ext uri="{FF2B5EF4-FFF2-40B4-BE49-F238E27FC236}">
                  <a16:creationId xmlns:a16="http://schemas.microsoft.com/office/drawing/2014/main" id="{B41F9F4B-E589-4973-AA1E-875784BAA85D}"/>
                </a:ext>
              </a:extLst>
            </p:cNvPr>
            <p:cNvSpPr/>
            <p:nvPr/>
          </p:nvSpPr>
          <p:spPr>
            <a:xfrm>
              <a:off x="4230297" y="4715738"/>
              <a:ext cx="42486" cy="42486"/>
            </a:xfrm>
            <a:custGeom>
              <a:avLst/>
              <a:gdLst>
                <a:gd name="connsiteX0" fmla="*/ 23238 w 42485"/>
                <a:gd name="connsiteY0" fmla="*/ 16157 h 42485"/>
                <a:gd name="connsiteX1" fmla="*/ 28903 w 42485"/>
                <a:gd name="connsiteY1" fmla="*/ 23238 h 42485"/>
                <a:gd name="connsiteX2" fmla="*/ 21822 w 42485"/>
                <a:gd name="connsiteY2" fmla="*/ 28903 h 42485"/>
                <a:gd name="connsiteX3" fmla="*/ 16157 w 42485"/>
                <a:gd name="connsiteY3" fmla="*/ 21822 h 42485"/>
                <a:gd name="connsiteX4" fmla="*/ 23238 w 42485"/>
                <a:gd name="connsiteY4" fmla="*/ 16157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6157"/>
                  </a:moveTo>
                  <a:cubicBezTo>
                    <a:pt x="27487" y="16157"/>
                    <a:pt x="30319" y="20406"/>
                    <a:pt x="28903" y="23238"/>
                  </a:cubicBezTo>
                  <a:cubicBezTo>
                    <a:pt x="28903" y="27487"/>
                    <a:pt x="24655" y="30319"/>
                    <a:pt x="21822" y="28903"/>
                  </a:cubicBezTo>
                  <a:cubicBezTo>
                    <a:pt x="17574" y="28903"/>
                    <a:pt x="14741" y="24655"/>
                    <a:pt x="16157" y="21822"/>
                  </a:cubicBezTo>
                  <a:cubicBezTo>
                    <a:pt x="16157" y="17574"/>
                    <a:pt x="20406" y="14741"/>
                    <a:pt x="23238" y="1615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5" name="Freeform: Shape 2494">
              <a:extLst>
                <a:ext uri="{FF2B5EF4-FFF2-40B4-BE49-F238E27FC236}">
                  <a16:creationId xmlns:a16="http://schemas.microsoft.com/office/drawing/2014/main" id="{697A99D1-8DA3-4D19-B473-D1B7BCD5E4F6}"/>
                </a:ext>
              </a:extLst>
            </p:cNvPr>
            <p:cNvSpPr/>
            <p:nvPr/>
          </p:nvSpPr>
          <p:spPr>
            <a:xfrm>
              <a:off x="3635309" y="5975961"/>
              <a:ext cx="42486" cy="42486"/>
            </a:xfrm>
            <a:custGeom>
              <a:avLst/>
              <a:gdLst>
                <a:gd name="connsiteX0" fmla="*/ 24842 w 42485"/>
                <a:gd name="connsiteY0" fmla="*/ 16345 h 42485"/>
                <a:gd name="connsiteX1" fmla="*/ 27674 w 42485"/>
                <a:gd name="connsiteY1" fmla="*/ 24842 h 42485"/>
                <a:gd name="connsiteX2" fmla="*/ 19177 w 42485"/>
                <a:gd name="connsiteY2" fmla="*/ 27674 h 42485"/>
                <a:gd name="connsiteX3" fmla="*/ 16345 w 42485"/>
                <a:gd name="connsiteY3" fmla="*/ 19177 h 42485"/>
                <a:gd name="connsiteX4" fmla="*/ 24842 w 42485"/>
                <a:gd name="connsiteY4" fmla="*/ 1634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6345"/>
                  </a:moveTo>
                  <a:cubicBezTo>
                    <a:pt x="27674" y="17761"/>
                    <a:pt x="29090" y="22009"/>
                    <a:pt x="27674" y="24842"/>
                  </a:cubicBezTo>
                  <a:cubicBezTo>
                    <a:pt x="26258" y="27674"/>
                    <a:pt x="22009" y="29090"/>
                    <a:pt x="19177" y="27674"/>
                  </a:cubicBezTo>
                  <a:cubicBezTo>
                    <a:pt x="16345" y="26258"/>
                    <a:pt x="14928" y="22009"/>
                    <a:pt x="16345" y="19177"/>
                  </a:cubicBezTo>
                  <a:cubicBezTo>
                    <a:pt x="17761" y="16345"/>
                    <a:pt x="22009" y="14928"/>
                    <a:pt x="24842" y="163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6" name="Freeform: Shape 2495">
              <a:extLst>
                <a:ext uri="{FF2B5EF4-FFF2-40B4-BE49-F238E27FC236}">
                  <a16:creationId xmlns:a16="http://schemas.microsoft.com/office/drawing/2014/main" id="{6D8C0496-5F71-49A0-8A37-8DE18ED64521}"/>
                </a:ext>
              </a:extLst>
            </p:cNvPr>
            <p:cNvSpPr/>
            <p:nvPr/>
          </p:nvSpPr>
          <p:spPr>
            <a:xfrm>
              <a:off x="3781177" y="5907066"/>
              <a:ext cx="42486" cy="42486"/>
            </a:xfrm>
            <a:custGeom>
              <a:avLst/>
              <a:gdLst>
                <a:gd name="connsiteX0" fmla="*/ 24842 w 42485"/>
                <a:gd name="connsiteY0" fmla="*/ 17263 h 42485"/>
                <a:gd name="connsiteX1" fmla="*/ 27674 w 42485"/>
                <a:gd name="connsiteY1" fmla="*/ 25759 h 42485"/>
                <a:gd name="connsiteX2" fmla="*/ 19177 w 42485"/>
                <a:gd name="connsiteY2" fmla="*/ 28592 h 42485"/>
                <a:gd name="connsiteX3" fmla="*/ 16345 w 42485"/>
                <a:gd name="connsiteY3" fmla="*/ 20095 h 42485"/>
                <a:gd name="connsiteX4" fmla="*/ 24842 w 42485"/>
                <a:gd name="connsiteY4" fmla="*/ 1726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7263"/>
                  </a:moveTo>
                  <a:cubicBezTo>
                    <a:pt x="27674" y="18679"/>
                    <a:pt x="29090" y="22927"/>
                    <a:pt x="27674" y="25759"/>
                  </a:cubicBezTo>
                  <a:cubicBezTo>
                    <a:pt x="26258" y="28592"/>
                    <a:pt x="22009" y="30008"/>
                    <a:pt x="19177" y="28592"/>
                  </a:cubicBezTo>
                  <a:cubicBezTo>
                    <a:pt x="16345" y="27176"/>
                    <a:pt x="14928" y="22927"/>
                    <a:pt x="16345" y="20095"/>
                  </a:cubicBezTo>
                  <a:cubicBezTo>
                    <a:pt x="16345" y="15846"/>
                    <a:pt x="20593" y="14430"/>
                    <a:pt x="24842" y="1726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7" name="Freeform: Shape 2496">
              <a:extLst>
                <a:ext uri="{FF2B5EF4-FFF2-40B4-BE49-F238E27FC236}">
                  <a16:creationId xmlns:a16="http://schemas.microsoft.com/office/drawing/2014/main" id="{37FDCFFE-B20C-4FC7-83F9-011B22002EB5}"/>
                </a:ext>
              </a:extLst>
            </p:cNvPr>
            <p:cNvSpPr/>
            <p:nvPr/>
          </p:nvSpPr>
          <p:spPr>
            <a:xfrm>
              <a:off x="4138613" y="4674766"/>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3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4"/>
                    <a:pt x="31367" y="37303"/>
                    <a:pt x="25703" y="37303"/>
                  </a:cubicBezTo>
                  <a:cubicBezTo>
                    <a:pt x="20038" y="37303"/>
                    <a:pt x="15789" y="31639"/>
                    <a:pt x="15789" y="25973"/>
                  </a:cubicBezTo>
                  <a:cubicBezTo>
                    <a:pt x="15789" y="18893"/>
                    <a:pt x="21454" y="14644"/>
                    <a:pt x="27119"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8" name="Freeform: Shape 2497">
              <a:extLst>
                <a:ext uri="{FF2B5EF4-FFF2-40B4-BE49-F238E27FC236}">
                  <a16:creationId xmlns:a16="http://schemas.microsoft.com/office/drawing/2014/main" id="{5F7F3C7D-C5E8-4A48-865B-21F01A0BF538}"/>
                </a:ext>
              </a:extLst>
            </p:cNvPr>
            <p:cNvSpPr/>
            <p:nvPr/>
          </p:nvSpPr>
          <p:spPr>
            <a:xfrm>
              <a:off x="3618716" y="4455374"/>
              <a:ext cx="70810" cy="70810"/>
            </a:xfrm>
            <a:custGeom>
              <a:avLst/>
              <a:gdLst>
                <a:gd name="connsiteX0" fmla="*/ 40018 w 70809"/>
                <a:gd name="connsiteY0" fmla="*/ 15943 h 70809"/>
                <a:gd name="connsiteX1" fmla="*/ 59845 w 70809"/>
                <a:gd name="connsiteY1" fmla="*/ 40018 h 70809"/>
                <a:gd name="connsiteX2" fmla="*/ 35770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2"/>
                    <a:pt x="59845" y="40018"/>
                  </a:cubicBezTo>
                  <a:cubicBezTo>
                    <a:pt x="58429" y="52764"/>
                    <a:pt x="48515" y="61261"/>
                    <a:pt x="35770" y="59845"/>
                  </a:cubicBezTo>
                  <a:cubicBezTo>
                    <a:pt x="23024" y="58429"/>
                    <a:pt x="14527" y="48515"/>
                    <a:pt x="15943" y="35769"/>
                  </a:cubicBezTo>
                  <a:cubicBezTo>
                    <a:pt x="15943" y="23024"/>
                    <a:pt x="27272" y="14527"/>
                    <a:pt x="40018" y="159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499" name="Freeform: Shape 2498">
              <a:extLst>
                <a:ext uri="{FF2B5EF4-FFF2-40B4-BE49-F238E27FC236}">
                  <a16:creationId xmlns:a16="http://schemas.microsoft.com/office/drawing/2014/main" id="{43A99B27-D64A-47B2-B944-0EFC864D52B2}"/>
                </a:ext>
              </a:extLst>
            </p:cNvPr>
            <p:cNvSpPr/>
            <p:nvPr/>
          </p:nvSpPr>
          <p:spPr>
            <a:xfrm>
              <a:off x="4342437" y="4761306"/>
              <a:ext cx="84971" cy="84971"/>
            </a:xfrm>
            <a:custGeom>
              <a:avLst/>
              <a:gdLst>
                <a:gd name="connsiteX0" fmla="*/ 49885 w 84971"/>
                <a:gd name="connsiteY0" fmla="*/ 15908 h 84971"/>
                <a:gd name="connsiteX1" fmla="*/ 78209 w 84971"/>
                <a:gd name="connsiteY1" fmla="*/ 49897 h 84971"/>
                <a:gd name="connsiteX2" fmla="*/ 44220 w 84971"/>
                <a:gd name="connsiteY2" fmla="*/ 78220 h 84971"/>
                <a:gd name="connsiteX3" fmla="*/ 15897 w 84971"/>
                <a:gd name="connsiteY3" fmla="*/ 44232 h 84971"/>
                <a:gd name="connsiteX4" fmla="*/ 49885 w 84971"/>
                <a:gd name="connsiteY4" fmla="*/ 15908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9885" y="15908"/>
                  </a:moveTo>
                  <a:cubicBezTo>
                    <a:pt x="66879" y="17324"/>
                    <a:pt x="79625" y="32902"/>
                    <a:pt x="78209" y="49897"/>
                  </a:cubicBezTo>
                  <a:cubicBezTo>
                    <a:pt x="76793" y="66891"/>
                    <a:pt x="61215" y="79637"/>
                    <a:pt x="44220" y="78220"/>
                  </a:cubicBezTo>
                  <a:cubicBezTo>
                    <a:pt x="27226" y="76804"/>
                    <a:pt x="14480" y="61226"/>
                    <a:pt x="15897" y="44232"/>
                  </a:cubicBezTo>
                  <a:cubicBezTo>
                    <a:pt x="17313" y="25821"/>
                    <a:pt x="32891" y="14492"/>
                    <a:pt x="49885" y="15908"/>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0" name="Freeform: Shape 2499">
              <a:extLst>
                <a:ext uri="{FF2B5EF4-FFF2-40B4-BE49-F238E27FC236}">
                  <a16:creationId xmlns:a16="http://schemas.microsoft.com/office/drawing/2014/main" id="{65629D3D-2879-45A0-81E2-2164BF75FEDA}"/>
                </a:ext>
              </a:extLst>
            </p:cNvPr>
            <p:cNvSpPr/>
            <p:nvPr/>
          </p:nvSpPr>
          <p:spPr>
            <a:xfrm>
              <a:off x="3491708" y="6386091"/>
              <a:ext cx="70810" cy="70810"/>
            </a:xfrm>
            <a:custGeom>
              <a:avLst/>
              <a:gdLst>
                <a:gd name="connsiteX0" fmla="*/ 48066 w 70809"/>
                <a:gd name="connsiteY0" fmla="*/ 18326 h 70809"/>
                <a:gd name="connsiteX1" fmla="*/ 56564 w 70809"/>
                <a:gd name="connsiteY1" fmla="*/ 48066 h 70809"/>
                <a:gd name="connsiteX2" fmla="*/ 26823 w 70809"/>
                <a:gd name="connsiteY2" fmla="*/ 56563 h 70809"/>
                <a:gd name="connsiteX3" fmla="*/ 18326 w 70809"/>
                <a:gd name="connsiteY3" fmla="*/ 26823 h 70809"/>
                <a:gd name="connsiteX4" fmla="*/ 48066 w 70809"/>
                <a:gd name="connsiteY4" fmla="*/ 18326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8066" y="18326"/>
                  </a:moveTo>
                  <a:cubicBezTo>
                    <a:pt x="59396" y="23991"/>
                    <a:pt x="62228" y="38153"/>
                    <a:pt x="56564" y="48066"/>
                  </a:cubicBezTo>
                  <a:cubicBezTo>
                    <a:pt x="50899" y="59396"/>
                    <a:pt x="36737" y="62228"/>
                    <a:pt x="26823" y="56563"/>
                  </a:cubicBezTo>
                  <a:cubicBezTo>
                    <a:pt x="16910" y="50898"/>
                    <a:pt x="12662" y="36737"/>
                    <a:pt x="18326" y="26823"/>
                  </a:cubicBezTo>
                  <a:cubicBezTo>
                    <a:pt x="23991" y="16910"/>
                    <a:pt x="36737" y="12662"/>
                    <a:pt x="48066" y="1832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1" name="Freeform: Shape 2500">
              <a:extLst>
                <a:ext uri="{FF2B5EF4-FFF2-40B4-BE49-F238E27FC236}">
                  <a16:creationId xmlns:a16="http://schemas.microsoft.com/office/drawing/2014/main" id="{7CD791DB-87C6-41FD-8DD7-8E4B63AA3597}"/>
                </a:ext>
              </a:extLst>
            </p:cNvPr>
            <p:cNvSpPr/>
            <p:nvPr/>
          </p:nvSpPr>
          <p:spPr>
            <a:xfrm>
              <a:off x="4234824" y="4227431"/>
              <a:ext cx="99133" cy="99133"/>
            </a:xfrm>
            <a:custGeom>
              <a:avLst/>
              <a:gdLst>
                <a:gd name="connsiteX0" fmla="*/ 55532 w 99133"/>
                <a:gd name="connsiteY0" fmla="*/ 15878 h 99133"/>
                <a:gd name="connsiteX1" fmla="*/ 89520 w 99133"/>
                <a:gd name="connsiteY1" fmla="*/ 55532 h 99133"/>
                <a:gd name="connsiteX2" fmla="*/ 49867 w 99133"/>
                <a:gd name="connsiteY2" fmla="*/ 89521 h 99133"/>
                <a:gd name="connsiteX3" fmla="*/ 15878 w 99133"/>
                <a:gd name="connsiteY3" fmla="*/ 49867 h 99133"/>
                <a:gd name="connsiteX4" fmla="*/ 55532 w 99133"/>
                <a:gd name="connsiteY4" fmla="*/ 15878 h 99133"/>
                <a:gd name="connsiteX5" fmla="*/ 55532 w 99133"/>
                <a:gd name="connsiteY5" fmla="*/ 15878 h 99133"/>
                <a:gd name="connsiteX6" fmla="*/ 54116 w 99133"/>
                <a:gd name="connsiteY6" fmla="*/ 32873 h 99133"/>
                <a:gd name="connsiteX7" fmla="*/ 31457 w 99133"/>
                <a:gd name="connsiteY7" fmla="*/ 51283 h 99133"/>
                <a:gd name="connsiteX8" fmla="*/ 49867 w 99133"/>
                <a:gd name="connsiteY8" fmla="*/ 73942 h 99133"/>
                <a:gd name="connsiteX9" fmla="*/ 72526 w 99133"/>
                <a:gd name="connsiteY9" fmla="*/ 55532 h 99133"/>
                <a:gd name="connsiteX10" fmla="*/ 54116 w 99133"/>
                <a:gd name="connsiteY10" fmla="*/ 32873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55532" y="15878"/>
                  </a:moveTo>
                  <a:cubicBezTo>
                    <a:pt x="75358" y="17295"/>
                    <a:pt x="90937" y="35705"/>
                    <a:pt x="89520" y="55532"/>
                  </a:cubicBezTo>
                  <a:cubicBezTo>
                    <a:pt x="88104" y="75359"/>
                    <a:pt x="69694" y="90936"/>
                    <a:pt x="49867" y="89521"/>
                  </a:cubicBezTo>
                  <a:cubicBezTo>
                    <a:pt x="30040" y="88104"/>
                    <a:pt x="14462" y="69694"/>
                    <a:pt x="15878" y="49867"/>
                  </a:cubicBezTo>
                  <a:cubicBezTo>
                    <a:pt x="17295" y="30040"/>
                    <a:pt x="34289" y="14462"/>
                    <a:pt x="55532" y="15878"/>
                  </a:cubicBezTo>
                  <a:lnTo>
                    <a:pt x="55532" y="15878"/>
                  </a:lnTo>
                  <a:close/>
                  <a:moveTo>
                    <a:pt x="54116" y="32873"/>
                  </a:moveTo>
                  <a:cubicBezTo>
                    <a:pt x="42786" y="31457"/>
                    <a:pt x="32873" y="39954"/>
                    <a:pt x="31457" y="51283"/>
                  </a:cubicBezTo>
                  <a:cubicBezTo>
                    <a:pt x="30040" y="62613"/>
                    <a:pt x="38538" y="72526"/>
                    <a:pt x="49867" y="73942"/>
                  </a:cubicBezTo>
                  <a:cubicBezTo>
                    <a:pt x="61197" y="75359"/>
                    <a:pt x="71110" y="66861"/>
                    <a:pt x="72526" y="55532"/>
                  </a:cubicBezTo>
                  <a:cubicBezTo>
                    <a:pt x="73942" y="44202"/>
                    <a:pt x="65445" y="34289"/>
                    <a:pt x="54116" y="3287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2" name="Freeform: Shape 2501">
              <a:extLst>
                <a:ext uri="{FF2B5EF4-FFF2-40B4-BE49-F238E27FC236}">
                  <a16:creationId xmlns:a16="http://schemas.microsoft.com/office/drawing/2014/main" id="{314F15E1-241A-434D-9248-A4466E269EB2}"/>
                </a:ext>
              </a:extLst>
            </p:cNvPr>
            <p:cNvSpPr/>
            <p:nvPr/>
          </p:nvSpPr>
          <p:spPr>
            <a:xfrm>
              <a:off x="3892040" y="4962369"/>
              <a:ext cx="56648" cy="56648"/>
            </a:xfrm>
            <a:custGeom>
              <a:avLst/>
              <a:gdLst>
                <a:gd name="connsiteX0" fmla="*/ 35771 w 56647"/>
                <a:gd name="connsiteY0" fmla="*/ 15944 h 56647"/>
                <a:gd name="connsiteX1" fmla="*/ 52765 w 56647"/>
                <a:gd name="connsiteY1" fmla="*/ 35771 h 56647"/>
                <a:gd name="connsiteX2" fmla="*/ 32938 w 56647"/>
                <a:gd name="connsiteY2" fmla="*/ 52765 h 56647"/>
                <a:gd name="connsiteX3" fmla="*/ 15944 w 56647"/>
                <a:gd name="connsiteY3" fmla="*/ 32938 h 56647"/>
                <a:gd name="connsiteX4" fmla="*/ 35771 w 56647"/>
                <a:gd name="connsiteY4" fmla="*/ 1594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44"/>
                  </a:moveTo>
                  <a:cubicBezTo>
                    <a:pt x="45684" y="17360"/>
                    <a:pt x="54181" y="25858"/>
                    <a:pt x="52765" y="35771"/>
                  </a:cubicBezTo>
                  <a:cubicBezTo>
                    <a:pt x="51349" y="45684"/>
                    <a:pt x="42852" y="54181"/>
                    <a:pt x="32938" y="52765"/>
                  </a:cubicBezTo>
                  <a:cubicBezTo>
                    <a:pt x="23025" y="51349"/>
                    <a:pt x="14528" y="42852"/>
                    <a:pt x="15944" y="32938"/>
                  </a:cubicBezTo>
                  <a:cubicBezTo>
                    <a:pt x="15944" y="23025"/>
                    <a:pt x="25857" y="14528"/>
                    <a:pt x="35771" y="1594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3" name="Freeform: Shape 2502">
              <a:extLst>
                <a:ext uri="{FF2B5EF4-FFF2-40B4-BE49-F238E27FC236}">
                  <a16:creationId xmlns:a16="http://schemas.microsoft.com/office/drawing/2014/main" id="{5EC96930-519A-4069-B211-4E2865DBD98E}"/>
                </a:ext>
              </a:extLst>
            </p:cNvPr>
            <p:cNvSpPr/>
            <p:nvPr/>
          </p:nvSpPr>
          <p:spPr>
            <a:xfrm>
              <a:off x="3610219" y="4735779"/>
              <a:ext cx="70810" cy="70810"/>
            </a:xfrm>
            <a:custGeom>
              <a:avLst/>
              <a:gdLst>
                <a:gd name="connsiteX0" fmla="*/ 40018 w 70809"/>
                <a:gd name="connsiteY0" fmla="*/ 15943 h 70809"/>
                <a:gd name="connsiteX1" fmla="*/ 59845 w 70809"/>
                <a:gd name="connsiteY1" fmla="*/ 40018 h 70809"/>
                <a:gd name="connsiteX2" fmla="*/ 35769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3"/>
                    <a:pt x="59845" y="40018"/>
                  </a:cubicBezTo>
                  <a:cubicBezTo>
                    <a:pt x="58429" y="52764"/>
                    <a:pt x="48515" y="61261"/>
                    <a:pt x="35769" y="59845"/>
                  </a:cubicBezTo>
                  <a:cubicBezTo>
                    <a:pt x="23024" y="58429"/>
                    <a:pt x="14527" y="48516"/>
                    <a:pt x="15943" y="35769"/>
                  </a:cubicBezTo>
                  <a:cubicBezTo>
                    <a:pt x="17359" y="23024"/>
                    <a:pt x="28689" y="14527"/>
                    <a:pt x="40018" y="159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4" name="Freeform: Shape 2503">
              <a:extLst>
                <a:ext uri="{FF2B5EF4-FFF2-40B4-BE49-F238E27FC236}">
                  <a16:creationId xmlns:a16="http://schemas.microsoft.com/office/drawing/2014/main" id="{80A7577B-F200-41FE-AB12-CAD998E535DF}"/>
                </a:ext>
              </a:extLst>
            </p:cNvPr>
            <p:cNvSpPr/>
            <p:nvPr/>
          </p:nvSpPr>
          <p:spPr>
            <a:xfrm>
              <a:off x="3713755" y="4622638"/>
              <a:ext cx="28324" cy="28324"/>
            </a:xfrm>
            <a:custGeom>
              <a:avLst/>
              <a:gdLst>
                <a:gd name="connsiteX0" fmla="*/ 21454 w 28323"/>
                <a:gd name="connsiteY0" fmla="*/ 15789 h 28323"/>
                <a:gd name="connsiteX1" fmla="*/ 25703 w 28323"/>
                <a:gd name="connsiteY1" fmla="*/ 21454 h 28323"/>
                <a:gd name="connsiteX2" fmla="*/ 20038 w 28323"/>
                <a:gd name="connsiteY2" fmla="*/ 25703 h 28323"/>
                <a:gd name="connsiteX3" fmla="*/ 15789 w 28323"/>
                <a:gd name="connsiteY3" fmla="*/ 20038 h 28323"/>
                <a:gd name="connsiteX4" fmla="*/ 21454 w 28323"/>
                <a:gd name="connsiteY4" fmla="*/ 15789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1454" y="15789"/>
                  </a:moveTo>
                  <a:cubicBezTo>
                    <a:pt x="24286" y="15789"/>
                    <a:pt x="25703" y="18622"/>
                    <a:pt x="25703" y="21454"/>
                  </a:cubicBezTo>
                  <a:cubicBezTo>
                    <a:pt x="25703" y="24286"/>
                    <a:pt x="22870" y="25703"/>
                    <a:pt x="20038" y="25703"/>
                  </a:cubicBezTo>
                  <a:cubicBezTo>
                    <a:pt x="17205" y="25703"/>
                    <a:pt x="15789" y="22870"/>
                    <a:pt x="15789" y="20038"/>
                  </a:cubicBezTo>
                  <a:cubicBezTo>
                    <a:pt x="15789" y="17205"/>
                    <a:pt x="18622" y="15789"/>
                    <a:pt x="21454"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5" name="Freeform: Shape 2504">
              <a:extLst>
                <a:ext uri="{FF2B5EF4-FFF2-40B4-BE49-F238E27FC236}">
                  <a16:creationId xmlns:a16="http://schemas.microsoft.com/office/drawing/2014/main" id="{D804F353-F51F-4512-865B-B956416400F7}"/>
                </a:ext>
              </a:extLst>
            </p:cNvPr>
            <p:cNvSpPr/>
            <p:nvPr/>
          </p:nvSpPr>
          <p:spPr>
            <a:xfrm>
              <a:off x="3628784" y="4888611"/>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3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4"/>
                    <a:pt x="31367" y="37303"/>
                    <a:pt x="25703" y="37303"/>
                  </a:cubicBezTo>
                  <a:cubicBezTo>
                    <a:pt x="20038" y="37303"/>
                    <a:pt x="15789" y="31638"/>
                    <a:pt x="15789" y="25973"/>
                  </a:cubicBezTo>
                  <a:cubicBezTo>
                    <a:pt x="15789" y="18893"/>
                    <a:pt x="21454" y="14644"/>
                    <a:pt x="27119"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6" name="Freeform: Shape 2505">
              <a:extLst>
                <a:ext uri="{FF2B5EF4-FFF2-40B4-BE49-F238E27FC236}">
                  <a16:creationId xmlns:a16="http://schemas.microsoft.com/office/drawing/2014/main" id="{DD90D7F5-0EF9-4AF3-8225-C3F28D1AC5D2}"/>
                </a:ext>
              </a:extLst>
            </p:cNvPr>
            <p:cNvSpPr/>
            <p:nvPr/>
          </p:nvSpPr>
          <p:spPr>
            <a:xfrm>
              <a:off x="3441315" y="6199743"/>
              <a:ext cx="42486" cy="42486"/>
            </a:xfrm>
            <a:custGeom>
              <a:avLst/>
              <a:gdLst>
                <a:gd name="connsiteX0" fmla="*/ 29066 w 42485"/>
                <a:gd name="connsiteY0" fmla="*/ 16320 h 42485"/>
                <a:gd name="connsiteX1" fmla="*/ 33314 w 42485"/>
                <a:gd name="connsiteY1" fmla="*/ 29066 h 42485"/>
                <a:gd name="connsiteX2" fmla="*/ 20569 w 42485"/>
                <a:gd name="connsiteY2" fmla="*/ 33314 h 42485"/>
                <a:gd name="connsiteX3" fmla="*/ 16320 w 42485"/>
                <a:gd name="connsiteY3" fmla="*/ 20569 h 42485"/>
                <a:gd name="connsiteX4" fmla="*/ 29066 w 42485"/>
                <a:gd name="connsiteY4" fmla="*/ 1632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066" y="16320"/>
                  </a:moveTo>
                  <a:cubicBezTo>
                    <a:pt x="33314" y="19152"/>
                    <a:pt x="34731" y="24817"/>
                    <a:pt x="33314" y="29066"/>
                  </a:cubicBezTo>
                  <a:cubicBezTo>
                    <a:pt x="30482" y="33314"/>
                    <a:pt x="24817" y="34731"/>
                    <a:pt x="20569" y="33314"/>
                  </a:cubicBezTo>
                  <a:cubicBezTo>
                    <a:pt x="16320" y="30482"/>
                    <a:pt x="14904" y="24817"/>
                    <a:pt x="16320" y="20569"/>
                  </a:cubicBezTo>
                  <a:cubicBezTo>
                    <a:pt x="19152" y="16320"/>
                    <a:pt x="24817" y="14904"/>
                    <a:pt x="29066" y="1632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7" name="Freeform: Shape 2506">
              <a:extLst>
                <a:ext uri="{FF2B5EF4-FFF2-40B4-BE49-F238E27FC236}">
                  <a16:creationId xmlns:a16="http://schemas.microsoft.com/office/drawing/2014/main" id="{9259E0FE-E38A-40CE-B297-01857FA9A5F9}"/>
                </a:ext>
              </a:extLst>
            </p:cNvPr>
            <p:cNvSpPr/>
            <p:nvPr/>
          </p:nvSpPr>
          <p:spPr>
            <a:xfrm>
              <a:off x="3673571" y="6366854"/>
              <a:ext cx="42486" cy="42486"/>
            </a:xfrm>
            <a:custGeom>
              <a:avLst/>
              <a:gdLst>
                <a:gd name="connsiteX0" fmla="*/ 29066 w 42485"/>
                <a:gd name="connsiteY0" fmla="*/ 16320 h 42485"/>
                <a:gd name="connsiteX1" fmla="*/ 33314 w 42485"/>
                <a:gd name="connsiteY1" fmla="*/ 29066 h 42485"/>
                <a:gd name="connsiteX2" fmla="*/ 20569 w 42485"/>
                <a:gd name="connsiteY2" fmla="*/ 33314 h 42485"/>
                <a:gd name="connsiteX3" fmla="*/ 16320 w 42485"/>
                <a:gd name="connsiteY3" fmla="*/ 20569 h 42485"/>
                <a:gd name="connsiteX4" fmla="*/ 29066 w 42485"/>
                <a:gd name="connsiteY4" fmla="*/ 1632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066" y="16320"/>
                  </a:moveTo>
                  <a:cubicBezTo>
                    <a:pt x="33314" y="19152"/>
                    <a:pt x="34730" y="24817"/>
                    <a:pt x="33314" y="29066"/>
                  </a:cubicBezTo>
                  <a:cubicBezTo>
                    <a:pt x="30482" y="33314"/>
                    <a:pt x="24817" y="34730"/>
                    <a:pt x="20569" y="33314"/>
                  </a:cubicBezTo>
                  <a:cubicBezTo>
                    <a:pt x="16320" y="30482"/>
                    <a:pt x="14904" y="24817"/>
                    <a:pt x="16320" y="20569"/>
                  </a:cubicBezTo>
                  <a:cubicBezTo>
                    <a:pt x="19152" y="16320"/>
                    <a:pt x="24817" y="14904"/>
                    <a:pt x="29066" y="1632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8" name="Freeform: Shape 2507">
              <a:extLst>
                <a:ext uri="{FF2B5EF4-FFF2-40B4-BE49-F238E27FC236}">
                  <a16:creationId xmlns:a16="http://schemas.microsoft.com/office/drawing/2014/main" id="{DDD5700B-99D0-4985-9647-0B27E0E5A6AD}"/>
                </a:ext>
              </a:extLst>
            </p:cNvPr>
            <p:cNvSpPr/>
            <p:nvPr/>
          </p:nvSpPr>
          <p:spPr>
            <a:xfrm>
              <a:off x="3875201" y="4748679"/>
              <a:ext cx="42486" cy="42486"/>
            </a:xfrm>
            <a:custGeom>
              <a:avLst/>
              <a:gdLst>
                <a:gd name="connsiteX0" fmla="*/ 27119 w 42485"/>
                <a:gd name="connsiteY0" fmla="*/ 15789 h 42485"/>
                <a:gd name="connsiteX1" fmla="*/ 37032 w 42485"/>
                <a:gd name="connsiteY1" fmla="*/ 27119 h 42485"/>
                <a:gd name="connsiteX2" fmla="*/ 25702 w 42485"/>
                <a:gd name="connsiteY2" fmla="*/ 37032 h 42485"/>
                <a:gd name="connsiteX3" fmla="*/ 15789 w 42485"/>
                <a:gd name="connsiteY3" fmla="*/ 25703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9"/>
                  </a:cubicBezTo>
                  <a:cubicBezTo>
                    <a:pt x="37032" y="32783"/>
                    <a:pt x="31367" y="37032"/>
                    <a:pt x="25702" y="37032"/>
                  </a:cubicBezTo>
                  <a:cubicBezTo>
                    <a:pt x="20038" y="37032"/>
                    <a:pt x="15789" y="31367"/>
                    <a:pt x="15789" y="25703"/>
                  </a:cubicBezTo>
                  <a:cubicBezTo>
                    <a:pt x="15789" y="20038"/>
                    <a:pt x="20038" y="15789"/>
                    <a:pt x="27119"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09" name="Freeform: Shape 2508">
              <a:extLst>
                <a:ext uri="{FF2B5EF4-FFF2-40B4-BE49-F238E27FC236}">
                  <a16:creationId xmlns:a16="http://schemas.microsoft.com/office/drawing/2014/main" id="{62D4B2CD-1E0C-47F5-B16F-147EBC2FB90F}"/>
                </a:ext>
              </a:extLst>
            </p:cNvPr>
            <p:cNvSpPr/>
            <p:nvPr/>
          </p:nvSpPr>
          <p:spPr>
            <a:xfrm>
              <a:off x="3611789" y="6330564"/>
              <a:ext cx="42486" cy="42486"/>
            </a:xfrm>
            <a:custGeom>
              <a:avLst/>
              <a:gdLst>
                <a:gd name="connsiteX0" fmla="*/ 31367 w 42485"/>
                <a:gd name="connsiteY0" fmla="*/ 17205 h 42485"/>
                <a:gd name="connsiteX1" fmla="*/ 35616 w 42485"/>
                <a:gd name="connsiteY1" fmla="*/ 31367 h 42485"/>
                <a:gd name="connsiteX2" fmla="*/ 21454 w 42485"/>
                <a:gd name="connsiteY2" fmla="*/ 35616 h 42485"/>
                <a:gd name="connsiteX3" fmla="*/ 17205 w 42485"/>
                <a:gd name="connsiteY3" fmla="*/ 21454 h 42485"/>
                <a:gd name="connsiteX4" fmla="*/ 31367 w 42485"/>
                <a:gd name="connsiteY4" fmla="*/ 1720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1367" y="17205"/>
                  </a:moveTo>
                  <a:cubicBezTo>
                    <a:pt x="37032" y="20037"/>
                    <a:pt x="38448" y="27118"/>
                    <a:pt x="35616" y="31367"/>
                  </a:cubicBezTo>
                  <a:cubicBezTo>
                    <a:pt x="32783" y="37032"/>
                    <a:pt x="25702" y="38448"/>
                    <a:pt x="21454" y="35616"/>
                  </a:cubicBezTo>
                  <a:cubicBezTo>
                    <a:pt x="15789" y="32783"/>
                    <a:pt x="14373" y="25703"/>
                    <a:pt x="17205" y="21454"/>
                  </a:cubicBezTo>
                  <a:cubicBezTo>
                    <a:pt x="20038" y="15789"/>
                    <a:pt x="25702" y="14373"/>
                    <a:pt x="31367" y="1720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0" name="Freeform: Shape 2509">
              <a:extLst>
                <a:ext uri="{FF2B5EF4-FFF2-40B4-BE49-F238E27FC236}">
                  <a16:creationId xmlns:a16="http://schemas.microsoft.com/office/drawing/2014/main" id="{75F79A8D-C1B5-41CA-9996-AA86B2951308}"/>
                </a:ext>
              </a:extLst>
            </p:cNvPr>
            <p:cNvSpPr/>
            <p:nvPr/>
          </p:nvSpPr>
          <p:spPr>
            <a:xfrm>
              <a:off x="3520071" y="6073152"/>
              <a:ext cx="70810" cy="70810"/>
            </a:xfrm>
            <a:custGeom>
              <a:avLst/>
              <a:gdLst>
                <a:gd name="connsiteX0" fmla="*/ 50860 w 70809"/>
                <a:gd name="connsiteY0" fmla="*/ 18287 h 70809"/>
                <a:gd name="connsiteX1" fmla="*/ 60773 w 70809"/>
                <a:gd name="connsiteY1" fmla="*/ 50859 h 70809"/>
                <a:gd name="connsiteX2" fmla="*/ 28201 w 70809"/>
                <a:gd name="connsiteY2" fmla="*/ 60773 h 70809"/>
                <a:gd name="connsiteX3" fmla="*/ 18287 w 70809"/>
                <a:gd name="connsiteY3" fmla="*/ 28201 h 70809"/>
                <a:gd name="connsiteX4" fmla="*/ 50860 w 70809"/>
                <a:gd name="connsiteY4" fmla="*/ 18287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50860" y="18287"/>
                  </a:moveTo>
                  <a:cubicBezTo>
                    <a:pt x="62189" y="23952"/>
                    <a:pt x="66438" y="39530"/>
                    <a:pt x="60773" y="50859"/>
                  </a:cubicBezTo>
                  <a:cubicBezTo>
                    <a:pt x="55108" y="62189"/>
                    <a:pt x="39530" y="66438"/>
                    <a:pt x="28201" y="60773"/>
                  </a:cubicBezTo>
                  <a:cubicBezTo>
                    <a:pt x="16871" y="55108"/>
                    <a:pt x="12622" y="39530"/>
                    <a:pt x="18287" y="28201"/>
                  </a:cubicBezTo>
                  <a:cubicBezTo>
                    <a:pt x="25368" y="16871"/>
                    <a:pt x="39530" y="12623"/>
                    <a:pt x="50860" y="1828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1" name="Freeform: Shape 2510">
              <a:extLst>
                <a:ext uri="{FF2B5EF4-FFF2-40B4-BE49-F238E27FC236}">
                  <a16:creationId xmlns:a16="http://schemas.microsoft.com/office/drawing/2014/main" id="{841B6E97-7C9F-4FD9-9E4A-25EFE8B522FB}"/>
                </a:ext>
              </a:extLst>
            </p:cNvPr>
            <p:cNvSpPr/>
            <p:nvPr/>
          </p:nvSpPr>
          <p:spPr>
            <a:xfrm>
              <a:off x="3590015" y="5803210"/>
              <a:ext cx="42486" cy="42486"/>
            </a:xfrm>
            <a:custGeom>
              <a:avLst/>
              <a:gdLst>
                <a:gd name="connsiteX0" fmla="*/ 29066 w 42485"/>
                <a:gd name="connsiteY0" fmla="*/ 16320 h 42485"/>
                <a:gd name="connsiteX1" fmla="*/ 33314 w 42485"/>
                <a:gd name="connsiteY1" fmla="*/ 29066 h 42485"/>
                <a:gd name="connsiteX2" fmla="*/ 20569 w 42485"/>
                <a:gd name="connsiteY2" fmla="*/ 33314 h 42485"/>
                <a:gd name="connsiteX3" fmla="*/ 16320 w 42485"/>
                <a:gd name="connsiteY3" fmla="*/ 20569 h 42485"/>
                <a:gd name="connsiteX4" fmla="*/ 29066 w 42485"/>
                <a:gd name="connsiteY4" fmla="*/ 1632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066" y="16320"/>
                  </a:moveTo>
                  <a:cubicBezTo>
                    <a:pt x="33314" y="19152"/>
                    <a:pt x="34731" y="24817"/>
                    <a:pt x="33314" y="29066"/>
                  </a:cubicBezTo>
                  <a:cubicBezTo>
                    <a:pt x="30482" y="33314"/>
                    <a:pt x="24817" y="34731"/>
                    <a:pt x="20569" y="33314"/>
                  </a:cubicBezTo>
                  <a:cubicBezTo>
                    <a:pt x="16320" y="30482"/>
                    <a:pt x="14904" y="24817"/>
                    <a:pt x="16320" y="20569"/>
                  </a:cubicBezTo>
                  <a:cubicBezTo>
                    <a:pt x="17736" y="16320"/>
                    <a:pt x="23401" y="14904"/>
                    <a:pt x="29066" y="1632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2" name="Freeform: Shape 2511">
              <a:extLst>
                <a:ext uri="{FF2B5EF4-FFF2-40B4-BE49-F238E27FC236}">
                  <a16:creationId xmlns:a16="http://schemas.microsoft.com/office/drawing/2014/main" id="{CD466941-3E5B-4DAC-94E4-F4687EF1D7DE}"/>
                </a:ext>
              </a:extLst>
            </p:cNvPr>
            <p:cNvSpPr/>
            <p:nvPr/>
          </p:nvSpPr>
          <p:spPr>
            <a:xfrm>
              <a:off x="3784034" y="5442081"/>
              <a:ext cx="42486" cy="42486"/>
            </a:xfrm>
            <a:custGeom>
              <a:avLst/>
              <a:gdLst>
                <a:gd name="connsiteX0" fmla="*/ 29066 w 42485"/>
                <a:gd name="connsiteY0" fmla="*/ 16320 h 42485"/>
                <a:gd name="connsiteX1" fmla="*/ 33314 w 42485"/>
                <a:gd name="connsiteY1" fmla="*/ 29066 h 42485"/>
                <a:gd name="connsiteX2" fmla="*/ 20569 w 42485"/>
                <a:gd name="connsiteY2" fmla="*/ 33314 h 42485"/>
                <a:gd name="connsiteX3" fmla="*/ 16320 w 42485"/>
                <a:gd name="connsiteY3" fmla="*/ 20569 h 42485"/>
                <a:gd name="connsiteX4" fmla="*/ 29066 w 42485"/>
                <a:gd name="connsiteY4" fmla="*/ 1632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066" y="16320"/>
                  </a:moveTo>
                  <a:cubicBezTo>
                    <a:pt x="33314" y="19152"/>
                    <a:pt x="34731" y="24817"/>
                    <a:pt x="33314" y="29066"/>
                  </a:cubicBezTo>
                  <a:cubicBezTo>
                    <a:pt x="30482" y="33314"/>
                    <a:pt x="24817" y="34731"/>
                    <a:pt x="20569" y="33314"/>
                  </a:cubicBezTo>
                  <a:cubicBezTo>
                    <a:pt x="16320" y="30482"/>
                    <a:pt x="14904" y="24817"/>
                    <a:pt x="16320" y="20569"/>
                  </a:cubicBezTo>
                  <a:cubicBezTo>
                    <a:pt x="19153" y="16320"/>
                    <a:pt x="24817" y="14904"/>
                    <a:pt x="29066" y="1632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3" name="Freeform: Shape 2512">
              <a:extLst>
                <a:ext uri="{FF2B5EF4-FFF2-40B4-BE49-F238E27FC236}">
                  <a16:creationId xmlns:a16="http://schemas.microsoft.com/office/drawing/2014/main" id="{EEC25609-A619-42B1-BDD2-E66F24289E93}"/>
                </a:ext>
              </a:extLst>
            </p:cNvPr>
            <p:cNvSpPr/>
            <p:nvPr/>
          </p:nvSpPr>
          <p:spPr>
            <a:xfrm>
              <a:off x="3775512" y="6138823"/>
              <a:ext cx="42486" cy="42486"/>
            </a:xfrm>
            <a:custGeom>
              <a:avLst/>
              <a:gdLst>
                <a:gd name="connsiteX0" fmla="*/ 24842 w 42485"/>
                <a:gd name="connsiteY0" fmla="*/ 16345 h 42485"/>
                <a:gd name="connsiteX1" fmla="*/ 27674 w 42485"/>
                <a:gd name="connsiteY1" fmla="*/ 24842 h 42485"/>
                <a:gd name="connsiteX2" fmla="*/ 19177 w 42485"/>
                <a:gd name="connsiteY2" fmla="*/ 27674 h 42485"/>
                <a:gd name="connsiteX3" fmla="*/ 16345 w 42485"/>
                <a:gd name="connsiteY3" fmla="*/ 19177 h 42485"/>
                <a:gd name="connsiteX4" fmla="*/ 24842 w 42485"/>
                <a:gd name="connsiteY4" fmla="*/ 1634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6345"/>
                  </a:moveTo>
                  <a:cubicBezTo>
                    <a:pt x="27674" y="17761"/>
                    <a:pt x="29090" y="22009"/>
                    <a:pt x="27674" y="24842"/>
                  </a:cubicBezTo>
                  <a:cubicBezTo>
                    <a:pt x="26258" y="27674"/>
                    <a:pt x="22009" y="29090"/>
                    <a:pt x="19177" y="27674"/>
                  </a:cubicBezTo>
                  <a:cubicBezTo>
                    <a:pt x="16345" y="26258"/>
                    <a:pt x="14928" y="22009"/>
                    <a:pt x="16345" y="19177"/>
                  </a:cubicBezTo>
                  <a:cubicBezTo>
                    <a:pt x="17761" y="16345"/>
                    <a:pt x="22009" y="14928"/>
                    <a:pt x="24842" y="163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4" name="Freeform: Shape 2513">
              <a:extLst>
                <a:ext uri="{FF2B5EF4-FFF2-40B4-BE49-F238E27FC236}">
                  <a16:creationId xmlns:a16="http://schemas.microsoft.com/office/drawing/2014/main" id="{2E11F8D3-6FDC-4FD3-BD75-AC0CCECCD004}"/>
                </a:ext>
              </a:extLst>
            </p:cNvPr>
            <p:cNvSpPr/>
            <p:nvPr/>
          </p:nvSpPr>
          <p:spPr>
            <a:xfrm>
              <a:off x="3599044" y="6220101"/>
              <a:ext cx="42486" cy="42486"/>
            </a:xfrm>
            <a:custGeom>
              <a:avLst/>
              <a:gdLst>
                <a:gd name="connsiteX0" fmla="*/ 31367 w 42485"/>
                <a:gd name="connsiteY0" fmla="*/ 17205 h 42485"/>
                <a:gd name="connsiteX1" fmla="*/ 35616 w 42485"/>
                <a:gd name="connsiteY1" fmla="*/ 31367 h 42485"/>
                <a:gd name="connsiteX2" fmla="*/ 21454 w 42485"/>
                <a:gd name="connsiteY2" fmla="*/ 35616 h 42485"/>
                <a:gd name="connsiteX3" fmla="*/ 17205 w 42485"/>
                <a:gd name="connsiteY3" fmla="*/ 21454 h 42485"/>
                <a:gd name="connsiteX4" fmla="*/ 31367 w 42485"/>
                <a:gd name="connsiteY4" fmla="*/ 1720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1367" y="17205"/>
                  </a:moveTo>
                  <a:cubicBezTo>
                    <a:pt x="37032" y="20038"/>
                    <a:pt x="38448" y="25702"/>
                    <a:pt x="35616" y="31367"/>
                  </a:cubicBezTo>
                  <a:cubicBezTo>
                    <a:pt x="32783" y="37032"/>
                    <a:pt x="27119" y="38448"/>
                    <a:pt x="21454" y="35616"/>
                  </a:cubicBezTo>
                  <a:cubicBezTo>
                    <a:pt x="15789" y="32783"/>
                    <a:pt x="14373" y="27119"/>
                    <a:pt x="17205" y="21454"/>
                  </a:cubicBezTo>
                  <a:cubicBezTo>
                    <a:pt x="21454" y="15789"/>
                    <a:pt x="27119" y="14373"/>
                    <a:pt x="31367" y="1720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5" name="Freeform: Shape 2514">
              <a:extLst>
                <a:ext uri="{FF2B5EF4-FFF2-40B4-BE49-F238E27FC236}">
                  <a16:creationId xmlns:a16="http://schemas.microsoft.com/office/drawing/2014/main" id="{9D65928B-8A8E-4FD2-B90E-03F5A5271596}"/>
                </a:ext>
              </a:extLst>
            </p:cNvPr>
            <p:cNvSpPr/>
            <p:nvPr/>
          </p:nvSpPr>
          <p:spPr>
            <a:xfrm>
              <a:off x="3684015" y="6049037"/>
              <a:ext cx="70810" cy="70810"/>
            </a:xfrm>
            <a:custGeom>
              <a:avLst/>
              <a:gdLst>
                <a:gd name="connsiteX0" fmla="*/ 48361 w 70809"/>
                <a:gd name="connsiteY0" fmla="*/ 18326 h 70809"/>
                <a:gd name="connsiteX1" fmla="*/ 56858 w 70809"/>
                <a:gd name="connsiteY1" fmla="*/ 48066 h 70809"/>
                <a:gd name="connsiteX2" fmla="*/ 27119 w 70809"/>
                <a:gd name="connsiteY2" fmla="*/ 56563 h 70809"/>
                <a:gd name="connsiteX3" fmla="*/ 18621 w 70809"/>
                <a:gd name="connsiteY3" fmla="*/ 26823 h 70809"/>
                <a:gd name="connsiteX4" fmla="*/ 48361 w 70809"/>
                <a:gd name="connsiteY4" fmla="*/ 18326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8361" y="18326"/>
                  </a:moveTo>
                  <a:cubicBezTo>
                    <a:pt x="59691" y="23991"/>
                    <a:pt x="62523" y="38153"/>
                    <a:pt x="56858" y="48066"/>
                  </a:cubicBezTo>
                  <a:cubicBezTo>
                    <a:pt x="51194" y="59396"/>
                    <a:pt x="37032" y="62228"/>
                    <a:pt x="27119" y="56563"/>
                  </a:cubicBezTo>
                  <a:cubicBezTo>
                    <a:pt x="15789" y="50899"/>
                    <a:pt x="12957" y="36737"/>
                    <a:pt x="18621" y="26823"/>
                  </a:cubicBezTo>
                  <a:cubicBezTo>
                    <a:pt x="24286" y="16910"/>
                    <a:pt x="38448" y="12661"/>
                    <a:pt x="48361" y="1832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6" name="Freeform: Shape 2515">
              <a:extLst>
                <a:ext uri="{FF2B5EF4-FFF2-40B4-BE49-F238E27FC236}">
                  <a16:creationId xmlns:a16="http://schemas.microsoft.com/office/drawing/2014/main" id="{C6C2492E-8492-45AF-9C8D-F799E8C630EA}"/>
                </a:ext>
              </a:extLst>
            </p:cNvPr>
            <p:cNvSpPr/>
            <p:nvPr/>
          </p:nvSpPr>
          <p:spPr>
            <a:xfrm>
              <a:off x="3682599" y="6190637"/>
              <a:ext cx="42486" cy="42486"/>
            </a:xfrm>
            <a:custGeom>
              <a:avLst/>
              <a:gdLst>
                <a:gd name="connsiteX0" fmla="*/ 32783 w 42485"/>
                <a:gd name="connsiteY0" fmla="*/ 16929 h 42485"/>
                <a:gd name="connsiteX1" fmla="*/ 37032 w 42485"/>
                <a:gd name="connsiteY1" fmla="*/ 32507 h 42485"/>
                <a:gd name="connsiteX2" fmla="*/ 21454 w 42485"/>
                <a:gd name="connsiteY2" fmla="*/ 36756 h 42485"/>
                <a:gd name="connsiteX3" fmla="*/ 17205 w 42485"/>
                <a:gd name="connsiteY3" fmla="*/ 21178 h 42485"/>
                <a:gd name="connsiteX4" fmla="*/ 32783 w 42485"/>
                <a:gd name="connsiteY4" fmla="*/ 1692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2783" y="16929"/>
                  </a:moveTo>
                  <a:cubicBezTo>
                    <a:pt x="38448" y="19761"/>
                    <a:pt x="39864" y="26842"/>
                    <a:pt x="37032" y="32507"/>
                  </a:cubicBezTo>
                  <a:cubicBezTo>
                    <a:pt x="34199" y="38172"/>
                    <a:pt x="27118" y="39588"/>
                    <a:pt x="21454" y="36756"/>
                  </a:cubicBezTo>
                  <a:cubicBezTo>
                    <a:pt x="15789" y="33923"/>
                    <a:pt x="14373" y="26842"/>
                    <a:pt x="17205" y="21178"/>
                  </a:cubicBezTo>
                  <a:cubicBezTo>
                    <a:pt x="20038" y="16929"/>
                    <a:pt x="27118" y="14097"/>
                    <a:pt x="32783" y="1692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7" name="Freeform: Shape 2516">
              <a:extLst>
                <a:ext uri="{FF2B5EF4-FFF2-40B4-BE49-F238E27FC236}">
                  <a16:creationId xmlns:a16="http://schemas.microsoft.com/office/drawing/2014/main" id="{C1A321E3-8765-4482-B2D6-560871D85225}"/>
                </a:ext>
              </a:extLst>
            </p:cNvPr>
            <p:cNvSpPr/>
            <p:nvPr/>
          </p:nvSpPr>
          <p:spPr>
            <a:xfrm>
              <a:off x="4013988" y="4421268"/>
              <a:ext cx="42486" cy="42486"/>
            </a:xfrm>
            <a:custGeom>
              <a:avLst/>
              <a:gdLst>
                <a:gd name="connsiteX0" fmla="*/ 27118 w 42485"/>
                <a:gd name="connsiteY0" fmla="*/ 16060 h 42485"/>
                <a:gd name="connsiteX1" fmla="*/ 37032 w 42485"/>
                <a:gd name="connsiteY1" fmla="*/ 27390 h 42485"/>
                <a:gd name="connsiteX2" fmla="*/ 25702 w 42485"/>
                <a:gd name="connsiteY2" fmla="*/ 37303 h 42485"/>
                <a:gd name="connsiteX3" fmla="*/ 15789 w 42485"/>
                <a:gd name="connsiteY3" fmla="*/ 25973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4"/>
                    <a:pt x="31367" y="37303"/>
                    <a:pt x="25702" y="37303"/>
                  </a:cubicBezTo>
                  <a:cubicBezTo>
                    <a:pt x="20037" y="37303"/>
                    <a:pt x="15789" y="31638"/>
                    <a:pt x="15789" y="25973"/>
                  </a:cubicBezTo>
                  <a:cubicBezTo>
                    <a:pt x="17205" y="18893"/>
                    <a:pt x="21454" y="14644"/>
                    <a:pt x="27118"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8" name="Freeform: Shape 2517">
              <a:extLst>
                <a:ext uri="{FF2B5EF4-FFF2-40B4-BE49-F238E27FC236}">
                  <a16:creationId xmlns:a16="http://schemas.microsoft.com/office/drawing/2014/main" id="{7896EAE2-74BB-4E74-84B7-095DE76FF7D4}"/>
                </a:ext>
              </a:extLst>
            </p:cNvPr>
            <p:cNvSpPr/>
            <p:nvPr/>
          </p:nvSpPr>
          <p:spPr>
            <a:xfrm>
              <a:off x="3598513" y="6407038"/>
              <a:ext cx="42486" cy="42486"/>
            </a:xfrm>
            <a:custGeom>
              <a:avLst/>
              <a:gdLst>
                <a:gd name="connsiteX0" fmla="*/ 29066 w 42485"/>
                <a:gd name="connsiteY0" fmla="*/ 17205 h 42485"/>
                <a:gd name="connsiteX1" fmla="*/ 33314 w 42485"/>
                <a:gd name="connsiteY1" fmla="*/ 29951 h 42485"/>
                <a:gd name="connsiteX2" fmla="*/ 20569 w 42485"/>
                <a:gd name="connsiteY2" fmla="*/ 34200 h 42485"/>
                <a:gd name="connsiteX3" fmla="*/ 16320 w 42485"/>
                <a:gd name="connsiteY3" fmla="*/ 21454 h 42485"/>
                <a:gd name="connsiteX4" fmla="*/ 29066 w 42485"/>
                <a:gd name="connsiteY4" fmla="*/ 1720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9066" y="17205"/>
                  </a:moveTo>
                  <a:cubicBezTo>
                    <a:pt x="33314" y="20038"/>
                    <a:pt x="34731" y="25703"/>
                    <a:pt x="33314" y="29951"/>
                  </a:cubicBezTo>
                  <a:cubicBezTo>
                    <a:pt x="30482" y="34200"/>
                    <a:pt x="24817" y="35616"/>
                    <a:pt x="20569" y="34200"/>
                  </a:cubicBezTo>
                  <a:cubicBezTo>
                    <a:pt x="16320" y="31367"/>
                    <a:pt x="14904" y="25703"/>
                    <a:pt x="16320" y="21454"/>
                  </a:cubicBezTo>
                  <a:cubicBezTo>
                    <a:pt x="19152" y="15789"/>
                    <a:pt x="24817" y="14373"/>
                    <a:pt x="29066" y="1720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19" name="Freeform: Shape 2518">
              <a:extLst>
                <a:ext uri="{FF2B5EF4-FFF2-40B4-BE49-F238E27FC236}">
                  <a16:creationId xmlns:a16="http://schemas.microsoft.com/office/drawing/2014/main" id="{F7D7B8EF-3E11-4364-B8B3-F5AC3D1731E7}"/>
                </a:ext>
              </a:extLst>
            </p:cNvPr>
            <p:cNvSpPr/>
            <p:nvPr/>
          </p:nvSpPr>
          <p:spPr>
            <a:xfrm>
              <a:off x="3746328" y="4611037"/>
              <a:ext cx="42486" cy="42486"/>
            </a:xfrm>
            <a:custGeom>
              <a:avLst/>
              <a:gdLst>
                <a:gd name="connsiteX0" fmla="*/ 27119 w 42485"/>
                <a:gd name="connsiteY0" fmla="*/ 16060 h 42485"/>
                <a:gd name="connsiteX1" fmla="*/ 37032 w 42485"/>
                <a:gd name="connsiteY1" fmla="*/ 27390 h 42485"/>
                <a:gd name="connsiteX2" fmla="*/ 25702 w 42485"/>
                <a:gd name="connsiteY2" fmla="*/ 37303 h 42485"/>
                <a:gd name="connsiteX3" fmla="*/ 15789 w 42485"/>
                <a:gd name="connsiteY3" fmla="*/ 25973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4"/>
                    <a:pt x="31367" y="37303"/>
                    <a:pt x="25702" y="37303"/>
                  </a:cubicBezTo>
                  <a:cubicBezTo>
                    <a:pt x="20038" y="37303"/>
                    <a:pt x="15789" y="31639"/>
                    <a:pt x="15789" y="25973"/>
                  </a:cubicBezTo>
                  <a:cubicBezTo>
                    <a:pt x="15789" y="18893"/>
                    <a:pt x="21454" y="14644"/>
                    <a:pt x="27119"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0" name="Freeform: Shape 2519">
              <a:extLst>
                <a:ext uri="{FF2B5EF4-FFF2-40B4-BE49-F238E27FC236}">
                  <a16:creationId xmlns:a16="http://schemas.microsoft.com/office/drawing/2014/main" id="{2ABCBE09-7CC7-4FE0-BD0E-F7A5E8EB3058}"/>
                </a:ext>
              </a:extLst>
            </p:cNvPr>
            <p:cNvSpPr/>
            <p:nvPr/>
          </p:nvSpPr>
          <p:spPr>
            <a:xfrm>
              <a:off x="3662638" y="5174818"/>
              <a:ext cx="70810" cy="70810"/>
            </a:xfrm>
            <a:custGeom>
              <a:avLst/>
              <a:gdLst>
                <a:gd name="connsiteX0" fmla="*/ 44247 w 70809"/>
                <a:gd name="connsiteY0" fmla="*/ 15924 h 70809"/>
                <a:gd name="connsiteX1" fmla="*/ 66906 w 70809"/>
                <a:gd name="connsiteY1" fmla="*/ 44247 h 70809"/>
                <a:gd name="connsiteX2" fmla="*/ 38583 w 70809"/>
                <a:gd name="connsiteY2" fmla="*/ 66907 h 70809"/>
                <a:gd name="connsiteX3" fmla="*/ 15924 w 70809"/>
                <a:gd name="connsiteY3" fmla="*/ 38583 h 70809"/>
                <a:gd name="connsiteX4" fmla="*/ 44247 w 70809"/>
                <a:gd name="connsiteY4" fmla="*/ 15924 h 70809"/>
                <a:gd name="connsiteX5" fmla="*/ 44247 w 70809"/>
                <a:gd name="connsiteY5" fmla="*/ 15924 h 70809"/>
                <a:gd name="connsiteX6" fmla="*/ 42831 w 70809"/>
                <a:gd name="connsiteY6" fmla="*/ 27253 h 70809"/>
                <a:gd name="connsiteX7" fmla="*/ 27253 w 70809"/>
                <a:gd name="connsiteY7" fmla="*/ 39999 h 70809"/>
                <a:gd name="connsiteX8" fmla="*/ 39999 w 70809"/>
                <a:gd name="connsiteY8" fmla="*/ 55577 h 70809"/>
                <a:gd name="connsiteX9" fmla="*/ 55577 w 70809"/>
                <a:gd name="connsiteY9" fmla="*/ 42831 h 70809"/>
                <a:gd name="connsiteX10" fmla="*/ 42831 w 70809"/>
                <a:gd name="connsiteY10" fmla="*/ 27253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247" y="15924"/>
                  </a:moveTo>
                  <a:cubicBezTo>
                    <a:pt x="58409" y="17340"/>
                    <a:pt x="68323" y="30085"/>
                    <a:pt x="66906" y="44247"/>
                  </a:cubicBezTo>
                  <a:cubicBezTo>
                    <a:pt x="65490" y="58409"/>
                    <a:pt x="52744" y="68323"/>
                    <a:pt x="38583" y="66907"/>
                  </a:cubicBezTo>
                  <a:cubicBezTo>
                    <a:pt x="24421" y="65490"/>
                    <a:pt x="14507" y="52745"/>
                    <a:pt x="15924" y="38583"/>
                  </a:cubicBezTo>
                  <a:cubicBezTo>
                    <a:pt x="17340" y="24421"/>
                    <a:pt x="30085" y="14507"/>
                    <a:pt x="44247" y="15924"/>
                  </a:cubicBezTo>
                  <a:lnTo>
                    <a:pt x="44247" y="15924"/>
                  </a:lnTo>
                  <a:close/>
                  <a:moveTo>
                    <a:pt x="42831" y="27253"/>
                  </a:moveTo>
                  <a:cubicBezTo>
                    <a:pt x="34334" y="25837"/>
                    <a:pt x="27253" y="32918"/>
                    <a:pt x="27253" y="39999"/>
                  </a:cubicBezTo>
                  <a:cubicBezTo>
                    <a:pt x="25837" y="48496"/>
                    <a:pt x="32918" y="55577"/>
                    <a:pt x="39999" y="55577"/>
                  </a:cubicBezTo>
                  <a:cubicBezTo>
                    <a:pt x="48496" y="56993"/>
                    <a:pt x="55577" y="49912"/>
                    <a:pt x="55577" y="42831"/>
                  </a:cubicBezTo>
                  <a:cubicBezTo>
                    <a:pt x="56993" y="34334"/>
                    <a:pt x="51328" y="27253"/>
                    <a:pt x="42831" y="2725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1" name="Freeform: Shape 2520">
              <a:extLst>
                <a:ext uri="{FF2B5EF4-FFF2-40B4-BE49-F238E27FC236}">
                  <a16:creationId xmlns:a16="http://schemas.microsoft.com/office/drawing/2014/main" id="{8BB1C21A-935E-4304-9223-648726F48127}"/>
                </a:ext>
              </a:extLst>
            </p:cNvPr>
            <p:cNvSpPr/>
            <p:nvPr/>
          </p:nvSpPr>
          <p:spPr>
            <a:xfrm>
              <a:off x="3828467" y="5231600"/>
              <a:ext cx="56648" cy="56648"/>
            </a:xfrm>
            <a:custGeom>
              <a:avLst/>
              <a:gdLst>
                <a:gd name="connsiteX0" fmla="*/ 31367 w 56647"/>
                <a:gd name="connsiteY0" fmla="*/ 15789 h 56647"/>
                <a:gd name="connsiteX1" fmla="*/ 44113 w 56647"/>
                <a:gd name="connsiteY1" fmla="*/ 31367 h 56647"/>
                <a:gd name="connsiteX2" fmla="*/ 28535 w 56647"/>
                <a:gd name="connsiteY2" fmla="*/ 44113 h 56647"/>
                <a:gd name="connsiteX3" fmla="*/ 15789 w 56647"/>
                <a:gd name="connsiteY3" fmla="*/ 28535 h 56647"/>
                <a:gd name="connsiteX4" fmla="*/ 31367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5789"/>
                  </a:moveTo>
                  <a:cubicBezTo>
                    <a:pt x="38448" y="15789"/>
                    <a:pt x="44113" y="22870"/>
                    <a:pt x="44113" y="31367"/>
                  </a:cubicBezTo>
                  <a:cubicBezTo>
                    <a:pt x="44113" y="38448"/>
                    <a:pt x="37032" y="44113"/>
                    <a:pt x="28535" y="44113"/>
                  </a:cubicBezTo>
                  <a:cubicBezTo>
                    <a:pt x="21454" y="44113"/>
                    <a:pt x="15789" y="37032"/>
                    <a:pt x="15789" y="28535"/>
                  </a:cubicBezTo>
                  <a:cubicBezTo>
                    <a:pt x="17205" y="21454"/>
                    <a:pt x="24286" y="15789"/>
                    <a:pt x="31367"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2" name="Freeform: Shape 2521">
              <a:extLst>
                <a:ext uri="{FF2B5EF4-FFF2-40B4-BE49-F238E27FC236}">
                  <a16:creationId xmlns:a16="http://schemas.microsoft.com/office/drawing/2014/main" id="{5BCB7BC6-856E-49CE-BCB5-A35A2F87C657}"/>
                </a:ext>
              </a:extLst>
            </p:cNvPr>
            <p:cNvSpPr/>
            <p:nvPr/>
          </p:nvSpPr>
          <p:spPr>
            <a:xfrm>
              <a:off x="3722097" y="5050173"/>
              <a:ext cx="56648" cy="56648"/>
            </a:xfrm>
            <a:custGeom>
              <a:avLst/>
              <a:gdLst>
                <a:gd name="connsiteX0" fmla="*/ 35771 w 56647"/>
                <a:gd name="connsiteY0" fmla="*/ 15944 h 56647"/>
                <a:gd name="connsiteX1" fmla="*/ 52765 w 56647"/>
                <a:gd name="connsiteY1" fmla="*/ 35771 h 56647"/>
                <a:gd name="connsiteX2" fmla="*/ 32938 w 56647"/>
                <a:gd name="connsiteY2" fmla="*/ 52765 h 56647"/>
                <a:gd name="connsiteX3" fmla="*/ 15944 w 56647"/>
                <a:gd name="connsiteY3" fmla="*/ 32938 h 56647"/>
                <a:gd name="connsiteX4" fmla="*/ 35771 w 56647"/>
                <a:gd name="connsiteY4" fmla="*/ 1594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44"/>
                  </a:moveTo>
                  <a:cubicBezTo>
                    <a:pt x="45684" y="17360"/>
                    <a:pt x="54181" y="25857"/>
                    <a:pt x="52765" y="35771"/>
                  </a:cubicBezTo>
                  <a:cubicBezTo>
                    <a:pt x="51349" y="45684"/>
                    <a:pt x="42852" y="54181"/>
                    <a:pt x="32938" y="52765"/>
                  </a:cubicBezTo>
                  <a:cubicBezTo>
                    <a:pt x="23025" y="51349"/>
                    <a:pt x="14528" y="42852"/>
                    <a:pt x="15944" y="32938"/>
                  </a:cubicBezTo>
                  <a:cubicBezTo>
                    <a:pt x="15944" y="23025"/>
                    <a:pt x="25857" y="14528"/>
                    <a:pt x="35771" y="1594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3" name="Freeform: Shape 2522">
              <a:extLst>
                <a:ext uri="{FF2B5EF4-FFF2-40B4-BE49-F238E27FC236}">
                  <a16:creationId xmlns:a16="http://schemas.microsoft.com/office/drawing/2014/main" id="{EC0ABB6B-6E33-429E-94A5-B0FCEED66CA9}"/>
                </a:ext>
              </a:extLst>
            </p:cNvPr>
            <p:cNvSpPr/>
            <p:nvPr/>
          </p:nvSpPr>
          <p:spPr>
            <a:xfrm>
              <a:off x="3617454" y="5506341"/>
              <a:ext cx="56648" cy="56648"/>
            </a:xfrm>
            <a:custGeom>
              <a:avLst/>
              <a:gdLst>
                <a:gd name="connsiteX0" fmla="*/ 35616 w 56647"/>
                <a:gd name="connsiteY0" fmla="*/ 15789 h 56647"/>
                <a:gd name="connsiteX1" fmla="*/ 52610 w 56647"/>
                <a:gd name="connsiteY1" fmla="*/ 35616 h 56647"/>
                <a:gd name="connsiteX2" fmla="*/ 32783 w 56647"/>
                <a:gd name="connsiteY2" fmla="*/ 52610 h 56647"/>
                <a:gd name="connsiteX3" fmla="*/ 15789 w 56647"/>
                <a:gd name="connsiteY3" fmla="*/ 32783 h 56647"/>
                <a:gd name="connsiteX4" fmla="*/ 35616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616" y="15789"/>
                  </a:moveTo>
                  <a:cubicBezTo>
                    <a:pt x="45529" y="17205"/>
                    <a:pt x="52610" y="25703"/>
                    <a:pt x="52610" y="35616"/>
                  </a:cubicBezTo>
                  <a:cubicBezTo>
                    <a:pt x="51194" y="45529"/>
                    <a:pt x="42697" y="52610"/>
                    <a:pt x="32783" y="52610"/>
                  </a:cubicBezTo>
                  <a:cubicBezTo>
                    <a:pt x="22870" y="51194"/>
                    <a:pt x="15789" y="42697"/>
                    <a:pt x="15789" y="32783"/>
                  </a:cubicBezTo>
                  <a:cubicBezTo>
                    <a:pt x="17205" y="22870"/>
                    <a:pt x="25702" y="15789"/>
                    <a:pt x="35616"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4" name="Freeform: Shape 2523">
              <a:extLst>
                <a:ext uri="{FF2B5EF4-FFF2-40B4-BE49-F238E27FC236}">
                  <a16:creationId xmlns:a16="http://schemas.microsoft.com/office/drawing/2014/main" id="{63EA29E8-F653-4F19-9CBD-EDE83D93D191}"/>
                </a:ext>
              </a:extLst>
            </p:cNvPr>
            <p:cNvSpPr/>
            <p:nvPr/>
          </p:nvSpPr>
          <p:spPr>
            <a:xfrm>
              <a:off x="3522014" y="5753327"/>
              <a:ext cx="42486" cy="42486"/>
            </a:xfrm>
            <a:custGeom>
              <a:avLst/>
              <a:gdLst>
                <a:gd name="connsiteX0" fmla="*/ 24842 w 42485"/>
                <a:gd name="connsiteY0" fmla="*/ 16636 h 42485"/>
                <a:gd name="connsiteX1" fmla="*/ 27674 w 42485"/>
                <a:gd name="connsiteY1" fmla="*/ 25133 h 42485"/>
                <a:gd name="connsiteX2" fmla="*/ 19177 w 42485"/>
                <a:gd name="connsiteY2" fmla="*/ 27966 h 42485"/>
                <a:gd name="connsiteX3" fmla="*/ 16345 w 42485"/>
                <a:gd name="connsiteY3" fmla="*/ 19468 h 42485"/>
                <a:gd name="connsiteX4" fmla="*/ 24842 w 42485"/>
                <a:gd name="connsiteY4" fmla="*/ 1663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6636"/>
                  </a:moveTo>
                  <a:cubicBezTo>
                    <a:pt x="27674" y="18052"/>
                    <a:pt x="29090" y="22301"/>
                    <a:pt x="27674" y="25133"/>
                  </a:cubicBezTo>
                  <a:cubicBezTo>
                    <a:pt x="26258" y="27966"/>
                    <a:pt x="22009" y="29382"/>
                    <a:pt x="19177" y="27966"/>
                  </a:cubicBezTo>
                  <a:cubicBezTo>
                    <a:pt x="16345" y="26549"/>
                    <a:pt x="14928" y="22301"/>
                    <a:pt x="16345" y="19468"/>
                  </a:cubicBezTo>
                  <a:cubicBezTo>
                    <a:pt x="17761" y="15220"/>
                    <a:pt x="22009" y="15220"/>
                    <a:pt x="24842" y="1663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5" name="Freeform: Shape 2524">
              <a:extLst>
                <a:ext uri="{FF2B5EF4-FFF2-40B4-BE49-F238E27FC236}">
                  <a16:creationId xmlns:a16="http://schemas.microsoft.com/office/drawing/2014/main" id="{C6FE085D-F149-4F92-9312-CD0DFB9ECA4F}"/>
                </a:ext>
              </a:extLst>
            </p:cNvPr>
            <p:cNvSpPr/>
            <p:nvPr/>
          </p:nvSpPr>
          <p:spPr>
            <a:xfrm>
              <a:off x="3764738" y="5410040"/>
              <a:ext cx="42486" cy="42486"/>
            </a:xfrm>
            <a:custGeom>
              <a:avLst/>
              <a:gdLst>
                <a:gd name="connsiteX0" fmla="*/ 27119 w 42485"/>
                <a:gd name="connsiteY0" fmla="*/ 15789 h 42485"/>
                <a:gd name="connsiteX1" fmla="*/ 37032 w 42485"/>
                <a:gd name="connsiteY1" fmla="*/ 27118 h 42485"/>
                <a:gd name="connsiteX2" fmla="*/ 25702 w 42485"/>
                <a:gd name="connsiteY2" fmla="*/ 37032 h 42485"/>
                <a:gd name="connsiteX3" fmla="*/ 15789 w 42485"/>
                <a:gd name="connsiteY3" fmla="*/ 25703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8"/>
                  </a:cubicBezTo>
                  <a:cubicBezTo>
                    <a:pt x="37032" y="32783"/>
                    <a:pt x="31367" y="37032"/>
                    <a:pt x="25702" y="37032"/>
                  </a:cubicBezTo>
                  <a:cubicBezTo>
                    <a:pt x="20038" y="37032"/>
                    <a:pt x="15789" y="31367"/>
                    <a:pt x="15789" y="25703"/>
                  </a:cubicBezTo>
                  <a:cubicBezTo>
                    <a:pt x="15789" y="20037"/>
                    <a:pt x="21454" y="15789"/>
                    <a:pt x="27119"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6" name="Freeform: Shape 2525">
              <a:extLst>
                <a:ext uri="{FF2B5EF4-FFF2-40B4-BE49-F238E27FC236}">
                  <a16:creationId xmlns:a16="http://schemas.microsoft.com/office/drawing/2014/main" id="{ADABC6D3-B737-4187-9AA7-62A267F355D0}"/>
                </a:ext>
              </a:extLst>
            </p:cNvPr>
            <p:cNvSpPr/>
            <p:nvPr/>
          </p:nvSpPr>
          <p:spPr>
            <a:xfrm>
              <a:off x="4246089" y="5020434"/>
              <a:ext cx="70810" cy="70810"/>
            </a:xfrm>
            <a:custGeom>
              <a:avLst/>
              <a:gdLst>
                <a:gd name="connsiteX0" fmla="*/ 40018 w 70809"/>
                <a:gd name="connsiteY0" fmla="*/ 15943 h 70809"/>
                <a:gd name="connsiteX1" fmla="*/ 59845 w 70809"/>
                <a:gd name="connsiteY1" fmla="*/ 40018 h 70809"/>
                <a:gd name="connsiteX2" fmla="*/ 35769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2"/>
                    <a:pt x="59845" y="40018"/>
                  </a:cubicBezTo>
                  <a:cubicBezTo>
                    <a:pt x="58429" y="52764"/>
                    <a:pt x="48515" y="61261"/>
                    <a:pt x="35769" y="59845"/>
                  </a:cubicBezTo>
                  <a:cubicBezTo>
                    <a:pt x="23024" y="58429"/>
                    <a:pt x="14527" y="48515"/>
                    <a:pt x="15943" y="35769"/>
                  </a:cubicBezTo>
                  <a:cubicBezTo>
                    <a:pt x="15943" y="23024"/>
                    <a:pt x="27272" y="14527"/>
                    <a:pt x="40018" y="159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7" name="Freeform: Shape 2526">
              <a:extLst>
                <a:ext uri="{FF2B5EF4-FFF2-40B4-BE49-F238E27FC236}">
                  <a16:creationId xmlns:a16="http://schemas.microsoft.com/office/drawing/2014/main" id="{F6897357-4252-4C4E-9EB9-4E23FBF1ED47}"/>
                </a:ext>
              </a:extLst>
            </p:cNvPr>
            <p:cNvSpPr/>
            <p:nvPr/>
          </p:nvSpPr>
          <p:spPr>
            <a:xfrm>
              <a:off x="4093076" y="5347456"/>
              <a:ext cx="42486" cy="42486"/>
            </a:xfrm>
            <a:custGeom>
              <a:avLst/>
              <a:gdLst>
                <a:gd name="connsiteX0" fmla="*/ 27337 w 42485"/>
                <a:gd name="connsiteY0" fmla="*/ 16060 h 42485"/>
                <a:gd name="connsiteX1" fmla="*/ 37250 w 42485"/>
                <a:gd name="connsiteY1" fmla="*/ 27390 h 42485"/>
                <a:gd name="connsiteX2" fmla="*/ 25921 w 42485"/>
                <a:gd name="connsiteY2" fmla="*/ 37303 h 42485"/>
                <a:gd name="connsiteX3" fmla="*/ 16007 w 42485"/>
                <a:gd name="connsiteY3" fmla="*/ 25973 h 42485"/>
                <a:gd name="connsiteX4" fmla="*/ 27337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337" y="16060"/>
                  </a:moveTo>
                  <a:cubicBezTo>
                    <a:pt x="33002" y="16060"/>
                    <a:pt x="37250" y="21725"/>
                    <a:pt x="37250" y="27390"/>
                  </a:cubicBezTo>
                  <a:cubicBezTo>
                    <a:pt x="37250" y="33054"/>
                    <a:pt x="31586" y="37303"/>
                    <a:pt x="25921" y="37303"/>
                  </a:cubicBezTo>
                  <a:cubicBezTo>
                    <a:pt x="20256" y="37303"/>
                    <a:pt x="16007" y="31639"/>
                    <a:pt x="16007" y="25973"/>
                  </a:cubicBezTo>
                  <a:cubicBezTo>
                    <a:pt x="14591" y="18893"/>
                    <a:pt x="20256" y="14644"/>
                    <a:pt x="27337"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8" name="Freeform: Shape 2527">
              <a:extLst>
                <a:ext uri="{FF2B5EF4-FFF2-40B4-BE49-F238E27FC236}">
                  <a16:creationId xmlns:a16="http://schemas.microsoft.com/office/drawing/2014/main" id="{2439DA0A-B317-4B91-96A9-0B122C3095EA}"/>
                </a:ext>
              </a:extLst>
            </p:cNvPr>
            <p:cNvSpPr/>
            <p:nvPr/>
          </p:nvSpPr>
          <p:spPr>
            <a:xfrm>
              <a:off x="4222168" y="5239826"/>
              <a:ext cx="42486" cy="42486"/>
            </a:xfrm>
            <a:custGeom>
              <a:avLst/>
              <a:gdLst>
                <a:gd name="connsiteX0" fmla="*/ 27119 w 42485"/>
                <a:gd name="connsiteY0" fmla="*/ 16060 h 42485"/>
                <a:gd name="connsiteX1" fmla="*/ 37032 w 42485"/>
                <a:gd name="connsiteY1" fmla="*/ 27390 h 42485"/>
                <a:gd name="connsiteX2" fmla="*/ 25702 w 42485"/>
                <a:gd name="connsiteY2" fmla="*/ 37303 h 42485"/>
                <a:gd name="connsiteX3" fmla="*/ 15789 w 42485"/>
                <a:gd name="connsiteY3" fmla="*/ 25974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5"/>
                    <a:pt x="31367" y="37303"/>
                    <a:pt x="25702" y="37303"/>
                  </a:cubicBezTo>
                  <a:cubicBezTo>
                    <a:pt x="20038" y="37303"/>
                    <a:pt x="15789" y="31639"/>
                    <a:pt x="15789" y="25974"/>
                  </a:cubicBezTo>
                  <a:cubicBezTo>
                    <a:pt x="15789" y="18893"/>
                    <a:pt x="21454" y="14644"/>
                    <a:pt x="27119"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29" name="Freeform: Shape 2528">
              <a:extLst>
                <a:ext uri="{FF2B5EF4-FFF2-40B4-BE49-F238E27FC236}">
                  <a16:creationId xmlns:a16="http://schemas.microsoft.com/office/drawing/2014/main" id="{0E49144F-A6D3-4B37-8970-303E1A6632EE}"/>
                </a:ext>
              </a:extLst>
            </p:cNvPr>
            <p:cNvSpPr/>
            <p:nvPr/>
          </p:nvSpPr>
          <p:spPr>
            <a:xfrm>
              <a:off x="4138458" y="5140784"/>
              <a:ext cx="56648" cy="56648"/>
            </a:xfrm>
            <a:custGeom>
              <a:avLst/>
              <a:gdLst>
                <a:gd name="connsiteX0" fmla="*/ 35771 w 56647"/>
                <a:gd name="connsiteY0" fmla="*/ 15969 h 56647"/>
                <a:gd name="connsiteX1" fmla="*/ 52765 w 56647"/>
                <a:gd name="connsiteY1" fmla="*/ 35795 h 56647"/>
                <a:gd name="connsiteX2" fmla="*/ 32938 w 56647"/>
                <a:gd name="connsiteY2" fmla="*/ 52790 h 56647"/>
                <a:gd name="connsiteX3" fmla="*/ 15944 w 56647"/>
                <a:gd name="connsiteY3" fmla="*/ 32963 h 56647"/>
                <a:gd name="connsiteX4" fmla="*/ 35771 w 56647"/>
                <a:gd name="connsiteY4" fmla="*/ 1596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69"/>
                  </a:moveTo>
                  <a:cubicBezTo>
                    <a:pt x="45684" y="17385"/>
                    <a:pt x="54181" y="25882"/>
                    <a:pt x="52765" y="35795"/>
                  </a:cubicBezTo>
                  <a:cubicBezTo>
                    <a:pt x="51349" y="45709"/>
                    <a:pt x="42852" y="54206"/>
                    <a:pt x="32938" y="52790"/>
                  </a:cubicBezTo>
                  <a:cubicBezTo>
                    <a:pt x="23025" y="51373"/>
                    <a:pt x="14528" y="42876"/>
                    <a:pt x="15944" y="32963"/>
                  </a:cubicBezTo>
                  <a:cubicBezTo>
                    <a:pt x="17360" y="21633"/>
                    <a:pt x="25857" y="14552"/>
                    <a:pt x="35771" y="159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0" name="Freeform: Shape 2529">
              <a:extLst>
                <a:ext uri="{FF2B5EF4-FFF2-40B4-BE49-F238E27FC236}">
                  <a16:creationId xmlns:a16="http://schemas.microsoft.com/office/drawing/2014/main" id="{F6DD4CB5-87CD-4696-9A4C-8B7F7FFDEA4B}"/>
                </a:ext>
              </a:extLst>
            </p:cNvPr>
            <p:cNvSpPr/>
            <p:nvPr/>
          </p:nvSpPr>
          <p:spPr>
            <a:xfrm>
              <a:off x="4154036" y="5404196"/>
              <a:ext cx="56648" cy="56648"/>
            </a:xfrm>
            <a:custGeom>
              <a:avLst/>
              <a:gdLst>
                <a:gd name="connsiteX0" fmla="*/ 35771 w 56647"/>
                <a:gd name="connsiteY0" fmla="*/ 15969 h 56647"/>
                <a:gd name="connsiteX1" fmla="*/ 52765 w 56647"/>
                <a:gd name="connsiteY1" fmla="*/ 35795 h 56647"/>
                <a:gd name="connsiteX2" fmla="*/ 32938 w 56647"/>
                <a:gd name="connsiteY2" fmla="*/ 52790 h 56647"/>
                <a:gd name="connsiteX3" fmla="*/ 15944 w 56647"/>
                <a:gd name="connsiteY3" fmla="*/ 32963 h 56647"/>
                <a:gd name="connsiteX4" fmla="*/ 35771 w 56647"/>
                <a:gd name="connsiteY4" fmla="*/ 1596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69"/>
                  </a:moveTo>
                  <a:cubicBezTo>
                    <a:pt x="45684" y="17385"/>
                    <a:pt x="54181" y="25882"/>
                    <a:pt x="52765" y="35795"/>
                  </a:cubicBezTo>
                  <a:cubicBezTo>
                    <a:pt x="51349" y="45709"/>
                    <a:pt x="42852" y="54205"/>
                    <a:pt x="32938" y="52790"/>
                  </a:cubicBezTo>
                  <a:cubicBezTo>
                    <a:pt x="23025" y="51373"/>
                    <a:pt x="14528" y="42876"/>
                    <a:pt x="15944" y="32963"/>
                  </a:cubicBezTo>
                  <a:cubicBezTo>
                    <a:pt x="15944" y="21633"/>
                    <a:pt x="25857" y="14552"/>
                    <a:pt x="35771" y="159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1" name="Freeform: Shape 2530">
              <a:extLst>
                <a:ext uri="{FF2B5EF4-FFF2-40B4-BE49-F238E27FC236}">
                  <a16:creationId xmlns:a16="http://schemas.microsoft.com/office/drawing/2014/main" id="{6ACE3D7D-978B-4443-8079-497887C95447}"/>
                </a:ext>
              </a:extLst>
            </p:cNvPr>
            <p:cNvSpPr/>
            <p:nvPr/>
          </p:nvSpPr>
          <p:spPr>
            <a:xfrm>
              <a:off x="4131532" y="5342063"/>
              <a:ext cx="56648" cy="56648"/>
            </a:xfrm>
            <a:custGeom>
              <a:avLst/>
              <a:gdLst>
                <a:gd name="connsiteX0" fmla="*/ 31367 w 56647"/>
                <a:gd name="connsiteY0" fmla="*/ 15789 h 56647"/>
                <a:gd name="connsiteX1" fmla="*/ 44113 w 56647"/>
                <a:gd name="connsiteY1" fmla="*/ 31367 h 56647"/>
                <a:gd name="connsiteX2" fmla="*/ 28535 w 56647"/>
                <a:gd name="connsiteY2" fmla="*/ 44113 h 56647"/>
                <a:gd name="connsiteX3" fmla="*/ 15789 w 56647"/>
                <a:gd name="connsiteY3" fmla="*/ 28535 h 56647"/>
                <a:gd name="connsiteX4" fmla="*/ 31367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5789"/>
                  </a:moveTo>
                  <a:cubicBezTo>
                    <a:pt x="38448" y="17205"/>
                    <a:pt x="44113" y="22870"/>
                    <a:pt x="44113" y="31367"/>
                  </a:cubicBezTo>
                  <a:cubicBezTo>
                    <a:pt x="42697" y="38448"/>
                    <a:pt x="37032" y="44113"/>
                    <a:pt x="28535" y="44113"/>
                  </a:cubicBezTo>
                  <a:cubicBezTo>
                    <a:pt x="21454" y="42697"/>
                    <a:pt x="15789" y="37032"/>
                    <a:pt x="15789" y="28535"/>
                  </a:cubicBezTo>
                  <a:cubicBezTo>
                    <a:pt x="15789" y="21454"/>
                    <a:pt x="22870" y="15789"/>
                    <a:pt x="31367"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2" name="Freeform: Shape 2531">
              <a:extLst>
                <a:ext uri="{FF2B5EF4-FFF2-40B4-BE49-F238E27FC236}">
                  <a16:creationId xmlns:a16="http://schemas.microsoft.com/office/drawing/2014/main" id="{DDBFB66A-D81E-44DC-849A-A962BA06AE8C}"/>
                </a:ext>
              </a:extLst>
            </p:cNvPr>
            <p:cNvSpPr/>
            <p:nvPr/>
          </p:nvSpPr>
          <p:spPr>
            <a:xfrm>
              <a:off x="3788679" y="4274135"/>
              <a:ext cx="70810" cy="70810"/>
            </a:xfrm>
            <a:custGeom>
              <a:avLst/>
              <a:gdLst>
                <a:gd name="connsiteX0" fmla="*/ 44247 w 70809"/>
                <a:gd name="connsiteY0" fmla="*/ 15909 h 70809"/>
                <a:gd name="connsiteX1" fmla="*/ 66907 w 70809"/>
                <a:gd name="connsiteY1" fmla="*/ 44233 h 70809"/>
                <a:gd name="connsiteX2" fmla="*/ 38583 w 70809"/>
                <a:gd name="connsiteY2" fmla="*/ 66892 h 70809"/>
                <a:gd name="connsiteX3" fmla="*/ 15924 w 70809"/>
                <a:gd name="connsiteY3" fmla="*/ 38568 h 70809"/>
                <a:gd name="connsiteX4" fmla="*/ 44247 w 70809"/>
                <a:gd name="connsiteY4" fmla="*/ 15909 h 70809"/>
                <a:gd name="connsiteX5" fmla="*/ 44247 w 70809"/>
                <a:gd name="connsiteY5" fmla="*/ 15909 h 70809"/>
                <a:gd name="connsiteX6" fmla="*/ 42831 w 70809"/>
                <a:gd name="connsiteY6" fmla="*/ 27239 h 70809"/>
                <a:gd name="connsiteX7" fmla="*/ 27253 w 70809"/>
                <a:gd name="connsiteY7" fmla="*/ 39984 h 70809"/>
                <a:gd name="connsiteX8" fmla="*/ 39999 w 70809"/>
                <a:gd name="connsiteY8" fmla="*/ 55563 h 70809"/>
                <a:gd name="connsiteX9" fmla="*/ 55577 w 70809"/>
                <a:gd name="connsiteY9" fmla="*/ 42817 h 70809"/>
                <a:gd name="connsiteX10" fmla="*/ 42831 w 70809"/>
                <a:gd name="connsiteY10" fmla="*/ 27239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247" y="15909"/>
                  </a:moveTo>
                  <a:cubicBezTo>
                    <a:pt x="58409" y="17325"/>
                    <a:pt x="68323" y="30071"/>
                    <a:pt x="66907" y="44233"/>
                  </a:cubicBezTo>
                  <a:cubicBezTo>
                    <a:pt x="65490" y="58395"/>
                    <a:pt x="52745" y="68308"/>
                    <a:pt x="38583" y="66892"/>
                  </a:cubicBezTo>
                  <a:cubicBezTo>
                    <a:pt x="24421" y="65476"/>
                    <a:pt x="14507" y="52730"/>
                    <a:pt x="15924" y="38568"/>
                  </a:cubicBezTo>
                  <a:cubicBezTo>
                    <a:pt x="17340" y="25822"/>
                    <a:pt x="30085" y="14493"/>
                    <a:pt x="44247" y="15909"/>
                  </a:cubicBezTo>
                  <a:lnTo>
                    <a:pt x="44247" y="15909"/>
                  </a:lnTo>
                  <a:close/>
                  <a:moveTo>
                    <a:pt x="42831" y="27239"/>
                  </a:moveTo>
                  <a:cubicBezTo>
                    <a:pt x="34334" y="25822"/>
                    <a:pt x="27253" y="32903"/>
                    <a:pt x="27253" y="39984"/>
                  </a:cubicBezTo>
                  <a:cubicBezTo>
                    <a:pt x="25837" y="48482"/>
                    <a:pt x="32918" y="55563"/>
                    <a:pt x="39999" y="55563"/>
                  </a:cubicBezTo>
                  <a:cubicBezTo>
                    <a:pt x="48496" y="56979"/>
                    <a:pt x="55577" y="49898"/>
                    <a:pt x="55577" y="42817"/>
                  </a:cubicBezTo>
                  <a:cubicBezTo>
                    <a:pt x="56993" y="35736"/>
                    <a:pt x="49912" y="28655"/>
                    <a:pt x="42831" y="272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3" name="Freeform: Shape 2532">
              <a:extLst>
                <a:ext uri="{FF2B5EF4-FFF2-40B4-BE49-F238E27FC236}">
                  <a16:creationId xmlns:a16="http://schemas.microsoft.com/office/drawing/2014/main" id="{DB1E1331-FAA7-4983-9D54-84C9BF849129}"/>
                </a:ext>
              </a:extLst>
            </p:cNvPr>
            <p:cNvSpPr/>
            <p:nvPr/>
          </p:nvSpPr>
          <p:spPr>
            <a:xfrm>
              <a:off x="3756087" y="3968358"/>
              <a:ext cx="70810" cy="70810"/>
            </a:xfrm>
            <a:custGeom>
              <a:avLst/>
              <a:gdLst>
                <a:gd name="connsiteX0" fmla="*/ 40018 w 70809"/>
                <a:gd name="connsiteY0" fmla="*/ 15789 h 70809"/>
                <a:gd name="connsiteX1" fmla="*/ 59845 w 70809"/>
                <a:gd name="connsiteY1" fmla="*/ 39864 h 70809"/>
                <a:gd name="connsiteX2" fmla="*/ 35770 w 70809"/>
                <a:gd name="connsiteY2" fmla="*/ 59691 h 70809"/>
                <a:gd name="connsiteX3" fmla="*/ 15943 w 70809"/>
                <a:gd name="connsiteY3" fmla="*/ 35616 h 70809"/>
                <a:gd name="connsiteX4" fmla="*/ 40018 w 70809"/>
                <a:gd name="connsiteY4" fmla="*/ 1578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789"/>
                  </a:moveTo>
                  <a:cubicBezTo>
                    <a:pt x="52764" y="17205"/>
                    <a:pt x="61261" y="27118"/>
                    <a:pt x="59845" y="39864"/>
                  </a:cubicBezTo>
                  <a:cubicBezTo>
                    <a:pt x="58429" y="52610"/>
                    <a:pt x="48515" y="61107"/>
                    <a:pt x="35770" y="59691"/>
                  </a:cubicBezTo>
                  <a:cubicBezTo>
                    <a:pt x="23024" y="58275"/>
                    <a:pt x="14527" y="48361"/>
                    <a:pt x="15943" y="35616"/>
                  </a:cubicBezTo>
                  <a:cubicBezTo>
                    <a:pt x="17359" y="24286"/>
                    <a:pt x="28689" y="15789"/>
                    <a:pt x="4001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4" name="Freeform: Shape 2533">
              <a:extLst>
                <a:ext uri="{FF2B5EF4-FFF2-40B4-BE49-F238E27FC236}">
                  <a16:creationId xmlns:a16="http://schemas.microsoft.com/office/drawing/2014/main" id="{F98DB794-2257-43C9-B47D-6CE71134E77C}"/>
                </a:ext>
              </a:extLst>
            </p:cNvPr>
            <p:cNvSpPr/>
            <p:nvPr/>
          </p:nvSpPr>
          <p:spPr>
            <a:xfrm>
              <a:off x="4066206" y="4060410"/>
              <a:ext cx="56648" cy="56648"/>
            </a:xfrm>
            <a:custGeom>
              <a:avLst/>
              <a:gdLst>
                <a:gd name="connsiteX0" fmla="*/ 32965 w 56647"/>
                <a:gd name="connsiteY0" fmla="*/ 15789 h 56647"/>
                <a:gd name="connsiteX1" fmla="*/ 47127 w 56647"/>
                <a:gd name="connsiteY1" fmla="*/ 32783 h 56647"/>
                <a:gd name="connsiteX2" fmla="*/ 30132 w 56647"/>
                <a:gd name="connsiteY2" fmla="*/ 46945 h 56647"/>
                <a:gd name="connsiteX3" fmla="*/ 15970 w 56647"/>
                <a:gd name="connsiteY3" fmla="*/ 29951 h 56647"/>
                <a:gd name="connsiteX4" fmla="*/ 32965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789"/>
                  </a:moveTo>
                  <a:cubicBezTo>
                    <a:pt x="41462" y="17205"/>
                    <a:pt x="48543" y="24286"/>
                    <a:pt x="47127" y="32783"/>
                  </a:cubicBezTo>
                  <a:cubicBezTo>
                    <a:pt x="45710" y="41280"/>
                    <a:pt x="38629" y="48361"/>
                    <a:pt x="30132" y="46945"/>
                  </a:cubicBezTo>
                  <a:cubicBezTo>
                    <a:pt x="21635" y="45529"/>
                    <a:pt x="14554" y="38448"/>
                    <a:pt x="15970" y="29951"/>
                  </a:cubicBezTo>
                  <a:cubicBezTo>
                    <a:pt x="15970" y="21454"/>
                    <a:pt x="24467" y="15789"/>
                    <a:pt x="32965"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5" name="Freeform: Shape 2534">
              <a:extLst>
                <a:ext uri="{FF2B5EF4-FFF2-40B4-BE49-F238E27FC236}">
                  <a16:creationId xmlns:a16="http://schemas.microsoft.com/office/drawing/2014/main" id="{D907BCF6-64AE-42C0-BD8D-FDE480066882}"/>
                </a:ext>
              </a:extLst>
            </p:cNvPr>
            <p:cNvSpPr/>
            <p:nvPr/>
          </p:nvSpPr>
          <p:spPr>
            <a:xfrm>
              <a:off x="3671269" y="4312492"/>
              <a:ext cx="42486" cy="42486"/>
            </a:xfrm>
            <a:custGeom>
              <a:avLst/>
              <a:gdLst>
                <a:gd name="connsiteX0" fmla="*/ 25703 w 42485"/>
                <a:gd name="connsiteY0" fmla="*/ 15789 h 42485"/>
                <a:gd name="connsiteX1" fmla="*/ 34200 w 42485"/>
                <a:gd name="connsiteY1" fmla="*/ 25703 h 42485"/>
                <a:gd name="connsiteX2" fmla="*/ 24286 w 42485"/>
                <a:gd name="connsiteY2" fmla="*/ 34199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31367" y="15789"/>
                    <a:pt x="34200" y="21454"/>
                    <a:pt x="34200" y="25703"/>
                  </a:cubicBezTo>
                  <a:cubicBezTo>
                    <a:pt x="34200" y="31367"/>
                    <a:pt x="28535" y="34199"/>
                    <a:pt x="24286" y="34199"/>
                  </a:cubicBezTo>
                  <a:cubicBezTo>
                    <a:pt x="18622" y="34199"/>
                    <a:pt x="15789" y="28535"/>
                    <a:pt x="15789" y="24286"/>
                  </a:cubicBezTo>
                  <a:cubicBezTo>
                    <a:pt x="15789" y="20037"/>
                    <a:pt x="20038" y="15789"/>
                    <a:pt x="25703"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6" name="Freeform: Shape 2535">
              <a:extLst>
                <a:ext uri="{FF2B5EF4-FFF2-40B4-BE49-F238E27FC236}">
                  <a16:creationId xmlns:a16="http://schemas.microsoft.com/office/drawing/2014/main" id="{725704E8-A583-4906-91D3-6AF67EE9AD42}"/>
                </a:ext>
              </a:extLst>
            </p:cNvPr>
            <p:cNvSpPr/>
            <p:nvPr/>
          </p:nvSpPr>
          <p:spPr>
            <a:xfrm>
              <a:off x="3879450" y="4068907"/>
              <a:ext cx="42486" cy="42486"/>
            </a:xfrm>
            <a:custGeom>
              <a:avLst/>
              <a:gdLst>
                <a:gd name="connsiteX0" fmla="*/ 25702 w 42485"/>
                <a:gd name="connsiteY0" fmla="*/ 15789 h 42485"/>
                <a:gd name="connsiteX1" fmla="*/ 34199 w 42485"/>
                <a:gd name="connsiteY1" fmla="*/ 25703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0038"/>
                    <a:pt x="34199" y="25703"/>
                  </a:cubicBezTo>
                  <a:cubicBezTo>
                    <a:pt x="34199" y="31367"/>
                    <a:pt x="28535" y="34200"/>
                    <a:pt x="24286" y="34200"/>
                  </a:cubicBezTo>
                  <a:cubicBezTo>
                    <a:pt x="18621" y="34200"/>
                    <a:pt x="15789" y="29951"/>
                    <a:pt x="15789" y="24286"/>
                  </a:cubicBezTo>
                  <a:cubicBezTo>
                    <a:pt x="15789" y="18622"/>
                    <a:pt x="20037"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7" name="Freeform: Shape 2536">
              <a:extLst>
                <a:ext uri="{FF2B5EF4-FFF2-40B4-BE49-F238E27FC236}">
                  <a16:creationId xmlns:a16="http://schemas.microsoft.com/office/drawing/2014/main" id="{71096569-4CF9-44EB-98C7-2848F05F84DB}"/>
                </a:ext>
              </a:extLst>
            </p:cNvPr>
            <p:cNvSpPr/>
            <p:nvPr/>
          </p:nvSpPr>
          <p:spPr>
            <a:xfrm>
              <a:off x="3668330" y="4096869"/>
              <a:ext cx="84971" cy="84971"/>
            </a:xfrm>
            <a:custGeom>
              <a:avLst/>
              <a:gdLst>
                <a:gd name="connsiteX0" fmla="*/ 51301 w 84971"/>
                <a:gd name="connsiteY0" fmla="*/ 16151 h 84971"/>
                <a:gd name="connsiteX1" fmla="*/ 81041 w 84971"/>
                <a:gd name="connsiteY1" fmla="*/ 51556 h 84971"/>
                <a:gd name="connsiteX2" fmla="*/ 45636 w 84971"/>
                <a:gd name="connsiteY2" fmla="*/ 81296 h 84971"/>
                <a:gd name="connsiteX3" fmla="*/ 15896 w 84971"/>
                <a:gd name="connsiteY3" fmla="*/ 45891 h 84971"/>
                <a:gd name="connsiteX4" fmla="*/ 51301 w 84971"/>
                <a:gd name="connsiteY4" fmla="*/ 16151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51301" y="16151"/>
                  </a:moveTo>
                  <a:cubicBezTo>
                    <a:pt x="69712" y="17567"/>
                    <a:pt x="82457" y="33145"/>
                    <a:pt x="81041" y="51556"/>
                  </a:cubicBezTo>
                  <a:cubicBezTo>
                    <a:pt x="79625" y="69966"/>
                    <a:pt x="62631" y="82712"/>
                    <a:pt x="45636" y="81296"/>
                  </a:cubicBezTo>
                  <a:cubicBezTo>
                    <a:pt x="27226" y="79879"/>
                    <a:pt x="14480" y="62885"/>
                    <a:pt x="15896" y="45891"/>
                  </a:cubicBezTo>
                  <a:cubicBezTo>
                    <a:pt x="17313" y="27481"/>
                    <a:pt x="34307" y="13319"/>
                    <a:pt x="51301" y="161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8" name="Freeform: Shape 2537">
              <a:extLst>
                <a:ext uri="{FF2B5EF4-FFF2-40B4-BE49-F238E27FC236}">
                  <a16:creationId xmlns:a16="http://schemas.microsoft.com/office/drawing/2014/main" id="{6FFE5B35-2591-4DDF-8D19-9B5387B3B4E9}"/>
                </a:ext>
              </a:extLst>
            </p:cNvPr>
            <p:cNvSpPr/>
            <p:nvPr/>
          </p:nvSpPr>
          <p:spPr>
            <a:xfrm>
              <a:off x="4225000" y="4136610"/>
              <a:ext cx="42486" cy="42486"/>
            </a:xfrm>
            <a:custGeom>
              <a:avLst/>
              <a:gdLst>
                <a:gd name="connsiteX0" fmla="*/ 25702 w 42485"/>
                <a:gd name="connsiteY0" fmla="*/ 16064 h 42485"/>
                <a:gd name="connsiteX1" fmla="*/ 34200 w 42485"/>
                <a:gd name="connsiteY1" fmla="*/ 25977 h 42485"/>
                <a:gd name="connsiteX2" fmla="*/ 24286 w 42485"/>
                <a:gd name="connsiteY2" fmla="*/ 34474 h 42485"/>
                <a:gd name="connsiteX3" fmla="*/ 15789 w 42485"/>
                <a:gd name="connsiteY3" fmla="*/ 24561 h 42485"/>
                <a:gd name="connsiteX4" fmla="*/ 25702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6064"/>
                  </a:moveTo>
                  <a:cubicBezTo>
                    <a:pt x="29951" y="16064"/>
                    <a:pt x="34200" y="20312"/>
                    <a:pt x="34200" y="25977"/>
                  </a:cubicBezTo>
                  <a:cubicBezTo>
                    <a:pt x="34200" y="30225"/>
                    <a:pt x="29951" y="34474"/>
                    <a:pt x="24286" y="34474"/>
                  </a:cubicBezTo>
                  <a:cubicBezTo>
                    <a:pt x="20038" y="34474"/>
                    <a:pt x="15789" y="30225"/>
                    <a:pt x="15789" y="24561"/>
                  </a:cubicBezTo>
                  <a:cubicBezTo>
                    <a:pt x="15789" y="18896"/>
                    <a:pt x="20038" y="14647"/>
                    <a:pt x="25702" y="160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39" name="Freeform: Shape 2538">
              <a:extLst>
                <a:ext uri="{FF2B5EF4-FFF2-40B4-BE49-F238E27FC236}">
                  <a16:creationId xmlns:a16="http://schemas.microsoft.com/office/drawing/2014/main" id="{30E1128A-C8E5-42E4-B92F-BF5F12BE4646}"/>
                </a:ext>
              </a:extLst>
            </p:cNvPr>
            <p:cNvSpPr/>
            <p:nvPr/>
          </p:nvSpPr>
          <p:spPr>
            <a:xfrm>
              <a:off x="3968670" y="4020482"/>
              <a:ext cx="42486" cy="42486"/>
            </a:xfrm>
            <a:custGeom>
              <a:avLst/>
              <a:gdLst>
                <a:gd name="connsiteX0" fmla="*/ 25703 w 42485"/>
                <a:gd name="connsiteY0" fmla="*/ 16063 h 42485"/>
                <a:gd name="connsiteX1" fmla="*/ 34200 w 42485"/>
                <a:gd name="connsiteY1" fmla="*/ 25977 h 42485"/>
                <a:gd name="connsiteX2" fmla="*/ 24286 w 42485"/>
                <a:gd name="connsiteY2" fmla="*/ 34474 h 42485"/>
                <a:gd name="connsiteX3" fmla="*/ 15789 w 42485"/>
                <a:gd name="connsiteY3" fmla="*/ 24561 h 42485"/>
                <a:gd name="connsiteX4" fmla="*/ 25703 w 42485"/>
                <a:gd name="connsiteY4" fmla="*/ 1606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3"/>
                  </a:moveTo>
                  <a:cubicBezTo>
                    <a:pt x="29951" y="16063"/>
                    <a:pt x="34200" y="20312"/>
                    <a:pt x="34200" y="25977"/>
                  </a:cubicBezTo>
                  <a:cubicBezTo>
                    <a:pt x="34200" y="30225"/>
                    <a:pt x="29951" y="34474"/>
                    <a:pt x="24286" y="34474"/>
                  </a:cubicBezTo>
                  <a:cubicBezTo>
                    <a:pt x="20038" y="34474"/>
                    <a:pt x="15789" y="30225"/>
                    <a:pt x="15789" y="24561"/>
                  </a:cubicBezTo>
                  <a:cubicBezTo>
                    <a:pt x="17205" y="18896"/>
                    <a:pt x="21454" y="14647"/>
                    <a:pt x="25703" y="1606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0" name="Freeform: Shape 2539">
              <a:extLst>
                <a:ext uri="{FF2B5EF4-FFF2-40B4-BE49-F238E27FC236}">
                  <a16:creationId xmlns:a16="http://schemas.microsoft.com/office/drawing/2014/main" id="{09B3CCE1-ADF0-42BC-A83E-F47F6DEFE287}"/>
                </a:ext>
              </a:extLst>
            </p:cNvPr>
            <p:cNvSpPr/>
            <p:nvPr/>
          </p:nvSpPr>
          <p:spPr>
            <a:xfrm>
              <a:off x="3642946" y="4002072"/>
              <a:ext cx="42486" cy="42486"/>
            </a:xfrm>
            <a:custGeom>
              <a:avLst/>
              <a:gdLst>
                <a:gd name="connsiteX0" fmla="*/ 25703 w 42485"/>
                <a:gd name="connsiteY0" fmla="*/ 16064 h 42485"/>
                <a:gd name="connsiteX1" fmla="*/ 34200 w 42485"/>
                <a:gd name="connsiteY1" fmla="*/ 25977 h 42485"/>
                <a:gd name="connsiteX2" fmla="*/ 24286 w 42485"/>
                <a:gd name="connsiteY2" fmla="*/ 34474 h 42485"/>
                <a:gd name="connsiteX3" fmla="*/ 15789 w 42485"/>
                <a:gd name="connsiteY3" fmla="*/ 24561 h 42485"/>
                <a:gd name="connsiteX4" fmla="*/ 25703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4"/>
                  </a:moveTo>
                  <a:cubicBezTo>
                    <a:pt x="29951" y="16064"/>
                    <a:pt x="34200" y="20312"/>
                    <a:pt x="34200" y="25977"/>
                  </a:cubicBezTo>
                  <a:cubicBezTo>
                    <a:pt x="34200" y="30225"/>
                    <a:pt x="29951" y="34474"/>
                    <a:pt x="24286" y="34474"/>
                  </a:cubicBezTo>
                  <a:cubicBezTo>
                    <a:pt x="20038" y="34474"/>
                    <a:pt x="15789" y="30225"/>
                    <a:pt x="15789" y="24561"/>
                  </a:cubicBezTo>
                  <a:cubicBezTo>
                    <a:pt x="15789" y="18896"/>
                    <a:pt x="20038" y="14647"/>
                    <a:pt x="25703" y="160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1" name="Freeform: Shape 2540">
              <a:extLst>
                <a:ext uri="{FF2B5EF4-FFF2-40B4-BE49-F238E27FC236}">
                  <a16:creationId xmlns:a16="http://schemas.microsoft.com/office/drawing/2014/main" id="{5D0C9687-DD11-497B-8057-62988B1D92E5}"/>
                </a:ext>
              </a:extLst>
            </p:cNvPr>
            <p:cNvSpPr/>
            <p:nvPr/>
          </p:nvSpPr>
          <p:spPr>
            <a:xfrm>
              <a:off x="3686848" y="4183619"/>
              <a:ext cx="42486" cy="42486"/>
            </a:xfrm>
            <a:custGeom>
              <a:avLst/>
              <a:gdLst>
                <a:gd name="connsiteX0" fmla="*/ 25702 w 42485"/>
                <a:gd name="connsiteY0" fmla="*/ 15789 h 42485"/>
                <a:gd name="connsiteX1" fmla="*/ 34200 w 42485"/>
                <a:gd name="connsiteY1" fmla="*/ 25703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29951" y="15789"/>
                    <a:pt x="34200" y="20038"/>
                    <a:pt x="34200" y="25703"/>
                  </a:cubicBezTo>
                  <a:cubicBezTo>
                    <a:pt x="34200" y="29951"/>
                    <a:pt x="29951" y="34200"/>
                    <a:pt x="24286" y="34200"/>
                  </a:cubicBezTo>
                  <a:cubicBezTo>
                    <a:pt x="20038" y="34200"/>
                    <a:pt x="15789" y="29951"/>
                    <a:pt x="15789" y="24286"/>
                  </a:cubicBezTo>
                  <a:cubicBezTo>
                    <a:pt x="17205" y="18622"/>
                    <a:pt x="21454"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2" name="Freeform: Shape 2541">
              <a:extLst>
                <a:ext uri="{FF2B5EF4-FFF2-40B4-BE49-F238E27FC236}">
                  <a16:creationId xmlns:a16="http://schemas.microsoft.com/office/drawing/2014/main" id="{313B34B9-E5F2-4DCE-89C8-E373526B4F57}"/>
                </a:ext>
              </a:extLst>
            </p:cNvPr>
            <p:cNvSpPr/>
            <p:nvPr/>
          </p:nvSpPr>
          <p:spPr>
            <a:xfrm>
              <a:off x="4080180" y="4180787"/>
              <a:ext cx="42486" cy="42486"/>
            </a:xfrm>
            <a:custGeom>
              <a:avLst/>
              <a:gdLst>
                <a:gd name="connsiteX0" fmla="*/ 23238 w 42485"/>
                <a:gd name="connsiteY0" fmla="*/ 15789 h 42485"/>
                <a:gd name="connsiteX1" fmla="*/ 28903 w 42485"/>
                <a:gd name="connsiteY1" fmla="*/ 22870 h 42485"/>
                <a:gd name="connsiteX2" fmla="*/ 21822 w 42485"/>
                <a:gd name="connsiteY2" fmla="*/ 28535 h 42485"/>
                <a:gd name="connsiteX3" fmla="*/ 16157 w 42485"/>
                <a:gd name="connsiteY3" fmla="*/ 21454 h 42485"/>
                <a:gd name="connsiteX4" fmla="*/ 2323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5789"/>
                  </a:moveTo>
                  <a:cubicBezTo>
                    <a:pt x="27487" y="15789"/>
                    <a:pt x="30319" y="20037"/>
                    <a:pt x="28903" y="22870"/>
                  </a:cubicBezTo>
                  <a:cubicBezTo>
                    <a:pt x="28903" y="27118"/>
                    <a:pt x="24654" y="29951"/>
                    <a:pt x="21822" y="28535"/>
                  </a:cubicBezTo>
                  <a:cubicBezTo>
                    <a:pt x="17574" y="28535"/>
                    <a:pt x="14741" y="24286"/>
                    <a:pt x="16157" y="21454"/>
                  </a:cubicBezTo>
                  <a:cubicBezTo>
                    <a:pt x="16157" y="18621"/>
                    <a:pt x="18990" y="15789"/>
                    <a:pt x="2323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3" name="Freeform: Shape 2542">
              <a:extLst>
                <a:ext uri="{FF2B5EF4-FFF2-40B4-BE49-F238E27FC236}">
                  <a16:creationId xmlns:a16="http://schemas.microsoft.com/office/drawing/2014/main" id="{587408DA-A476-4B32-88D0-197CCB15A7CF}"/>
                </a:ext>
              </a:extLst>
            </p:cNvPr>
            <p:cNvSpPr/>
            <p:nvPr/>
          </p:nvSpPr>
          <p:spPr>
            <a:xfrm>
              <a:off x="3465922" y="4659459"/>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7205" y="46945"/>
                    <a:pt x="25703"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4" name="Freeform: Shape 2543">
              <a:extLst>
                <a:ext uri="{FF2B5EF4-FFF2-40B4-BE49-F238E27FC236}">
                  <a16:creationId xmlns:a16="http://schemas.microsoft.com/office/drawing/2014/main" id="{104756DD-12C6-4BA8-88C4-BF6C354F5501}"/>
                </a:ext>
              </a:extLst>
            </p:cNvPr>
            <p:cNvSpPr/>
            <p:nvPr/>
          </p:nvSpPr>
          <p:spPr>
            <a:xfrm>
              <a:off x="4595935" y="4407377"/>
              <a:ext cx="70810" cy="70810"/>
            </a:xfrm>
            <a:custGeom>
              <a:avLst/>
              <a:gdLst>
                <a:gd name="connsiteX0" fmla="*/ 41388 w 70809"/>
                <a:gd name="connsiteY0" fmla="*/ 66772 h 70809"/>
                <a:gd name="connsiteX1" fmla="*/ 66879 w 70809"/>
                <a:gd name="connsiteY1" fmla="*/ 41280 h 70809"/>
                <a:gd name="connsiteX2" fmla="*/ 41388 w 70809"/>
                <a:gd name="connsiteY2" fmla="*/ 15789 h 70809"/>
                <a:gd name="connsiteX3" fmla="*/ 15897 w 70809"/>
                <a:gd name="connsiteY3" fmla="*/ 41280 h 70809"/>
                <a:gd name="connsiteX4" fmla="*/ 41388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388" y="66772"/>
                  </a:moveTo>
                  <a:cubicBezTo>
                    <a:pt x="55550" y="66772"/>
                    <a:pt x="66879" y="55442"/>
                    <a:pt x="66879" y="41280"/>
                  </a:cubicBezTo>
                  <a:cubicBezTo>
                    <a:pt x="66879" y="27118"/>
                    <a:pt x="55550" y="15789"/>
                    <a:pt x="41388" y="15789"/>
                  </a:cubicBezTo>
                  <a:cubicBezTo>
                    <a:pt x="27226" y="15789"/>
                    <a:pt x="15897" y="27118"/>
                    <a:pt x="15897" y="41280"/>
                  </a:cubicBezTo>
                  <a:cubicBezTo>
                    <a:pt x="14481" y="54026"/>
                    <a:pt x="27226" y="66772"/>
                    <a:pt x="41388"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5" name="Freeform: Shape 2544">
              <a:extLst>
                <a:ext uri="{FF2B5EF4-FFF2-40B4-BE49-F238E27FC236}">
                  <a16:creationId xmlns:a16="http://schemas.microsoft.com/office/drawing/2014/main" id="{AAFC6ECF-B542-4997-9A58-29D631809D56}"/>
                </a:ext>
              </a:extLst>
            </p:cNvPr>
            <p:cNvSpPr/>
            <p:nvPr/>
          </p:nvSpPr>
          <p:spPr>
            <a:xfrm>
              <a:off x="3849710" y="3829571"/>
              <a:ext cx="42486" cy="42486"/>
            </a:xfrm>
            <a:custGeom>
              <a:avLst/>
              <a:gdLst>
                <a:gd name="connsiteX0" fmla="*/ 25702 w 42485"/>
                <a:gd name="connsiteY0" fmla="*/ 15789 h 42485"/>
                <a:gd name="connsiteX1" fmla="*/ 34200 w 42485"/>
                <a:gd name="connsiteY1" fmla="*/ 25703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29951" y="15789"/>
                    <a:pt x="34200" y="20038"/>
                    <a:pt x="34200" y="25703"/>
                  </a:cubicBezTo>
                  <a:cubicBezTo>
                    <a:pt x="34200" y="29951"/>
                    <a:pt x="29951" y="34200"/>
                    <a:pt x="24286" y="34200"/>
                  </a:cubicBezTo>
                  <a:cubicBezTo>
                    <a:pt x="20038" y="34200"/>
                    <a:pt x="15789" y="29951"/>
                    <a:pt x="15789" y="24286"/>
                  </a:cubicBezTo>
                  <a:cubicBezTo>
                    <a:pt x="15789" y="20038"/>
                    <a:pt x="20038"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6" name="Freeform: Shape 2545">
              <a:extLst>
                <a:ext uri="{FF2B5EF4-FFF2-40B4-BE49-F238E27FC236}">
                  <a16:creationId xmlns:a16="http://schemas.microsoft.com/office/drawing/2014/main" id="{858E4BEB-0C0D-47C4-A172-67FFFB736CF1}"/>
                </a:ext>
              </a:extLst>
            </p:cNvPr>
            <p:cNvSpPr/>
            <p:nvPr/>
          </p:nvSpPr>
          <p:spPr>
            <a:xfrm>
              <a:off x="3406442" y="4030670"/>
              <a:ext cx="42486" cy="42486"/>
            </a:xfrm>
            <a:custGeom>
              <a:avLst/>
              <a:gdLst>
                <a:gd name="connsiteX0" fmla="*/ 25702 w 42485"/>
                <a:gd name="connsiteY0" fmla="*/ 15789 h 42485"/>
                <a:gd name="connsiteX1" fmla="*/ 34200 w 42485"/>
                <a:gd name="connsiteY1" fmla="*/ 25702 h 42485"/>
                <a:gd name="connsiteX2" fmla="*/ 24286 w 42485"/>
                <a:gd name="connsiteY2" fmla="*/ 34199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29951" y="15789"/>
                    <a:pt x="34200" y="20037"/>
                    <a:pt x="34200" y="25702"/>
                  </a:cubicBezTo>
                  <a:cubicBezTo>
                    <a:pt x="34200" y="29951"/>
                    <a:pt x="29951" y="34199"/>
                    <a:pt x="24286" y="34199"/>
                  </a:cubicBezTo>
                  <a:cubicBezTo>
                    <a:pt x="20038" y="34199"/>
                    <a:pt x="15789" y="29951"/>
                    <a:pt x="15789" y="24286"/>
                  </a:cubicBezTo>
                  <a:cubicBezTo>
                    <a:pt x="15789" y="18621"/>
                    <a:pt x="20038"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7" name="Freeform: Shape 2546">
              <a:extLst>
                <a:ext uri="{FF2B5EF4-FFF2-40B4-BE49-F238E27FC236}">
                  <a16:creationId xmlns:a16="http://schemas.microsoft.com/office/drawing/2014/main" id="{DF76F185-55DB-485F-B751-8E2AD440D31B}"/>
                </a:ext>
              </a:extLst>
            </p:cNvPr>
            <p:cNvSpPr/>
            <p:nvPr/>
          </p:nvSpPr>
          <p:spPr>
            <a:xfrm>
              <a:off x="3291730" y="4390383"/>
              <a:ext cx="42486" cy="42486"/>
            </a:xfrm>
            <a:custGeom>
              <a:avLst/>
              <a:gdLst>
                <a:gd name="connsiteX0" fmla="*/ 25702 w 42485"/>
                <a:gd name="connsiteY0" fmla="*/ 15789 h 42485"/>
                <a:gd name="connsiteX1" fmla="*/ 34199 w 42485"/>
                <a:gd name="connsiteY1" fmla="*/ 25703 h 42485"/>
                <a:gd name="connsiteX2" fmla="*/ 24286 w 42485"/>
                <a:gd name="connsiteY2" fmla="*/ 34199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29951" y="15789"/>
                    <a:pt x="34199" y="20037"/>
                    <a:pt x="34199" y="25703"/>
                  </a:cubicBezTo>
                  <a:cubicBezTo>
                    <a:pt x="34199" y="29951"/>
                    <a:pt x="29951" y="34199"/>
                    <a:pt x="24286" y="34199"/>
                  </a:cubicBezTo>
                  <a:cubicBezTo>
                    <a:pt x="20037" y="34199"/>
                    <a:pt x="15789" y="29951"/>
                    <a:pt x="15789" y="24286"/>
                  </a:cubicBezTo>
                  <a:cubicBezTo>
                    <a:pt x="17205" y="18622"/>
                    <a:pt x="21454"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8" name="Freeform: Shape 2547">
              <a:extLst>
                <a:ext uri="{FF2B5EF4-FFF2-40B4-BE49-F238E27FC236}">
                  <a16:creationId xmlns:a16="http://schemas.microsoft.com/office/drawing/2014/main" id="{316ECB3D-6B4F-4D0D-83D1-3F9B2B248915}"/>
                </a:ext>
              </a:extLst>
            </p:cNvPr>
            <p:cNvSpPr/>
            <p:nvPr/>
          </p:nvSpPr>
          <p:spPr>
            <a:xfrm>
              <a:off x="4189227" y="4054745"/>
              <a:ext cx="42486" cy="42486"/>
            </a:xfrm>
            <a:custGeom>
              <a:avLst/>
              <a:gdLst>
                <a:gd name="connsiteX0" fmla="*/ 23238 w 42485"/>
                <a:gd name="connsiteY0" fmla="*/ 15789 h 42485"/>
                <a:gd name="connsiteX1" fmla="*/ 28903 w 42485"/>
                <a:gd name="connsiteY1" fmla="*/ 22870 h 42485"/>
                <a:gd name="connsiteX2" fmla="*/ 21822 w 42485"/>
                <a:gd name="connsiteY2" fmla="*/ 28535 h 42485"/>
                <a:gd name="connsiteX3" fmla="*/ 16157 w 42485"/>
                <a:gd name="connsiteY3" fmla="*/ 21454 h 42485"/>
                <a:gd name="connsiteX4" fmla="*/ 2323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3238" y="15789"/>
                  </a:moveTo>
                  <a:cubicBezTo>
                    <a:pt x="27487" y="15789"/>
                    <a:pt x="30319" y="20038"/>
                    <a:pt x="28903" y="22870"/>
                  </a:cubicBezTo>
                  <a:cubicBezTo>
                    <a:pt x="28903" y="27119"/>
                    <a:pt x="24655" y="29951"/>
                    <a:pt x="21822" y="28535"/>
                  </a:cubicBezTo>
                  <a:cubicBezTo>
                    <a:pt x="17574" y="28535"/>
                    <a:pt x="14741" y="24286"/>
                    <a:pt x="16157" y="21454"/>
                  </a:cubicBezTo>
                  <a:cubicBezTo>
                    <a:pt x="16157" y="18622"/>
                    <a:pt x="20406" y="15789"/>
                    <a:pt x="2323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49" name="Freeform: Shape 2548">
              <a:extLst>
                <a:ext uri="{FF2B5EF4-FFF2-40B4-BE49-F238E27FC236}">
                  <a16:creationId xmlns:a16="http://schemas.microsoft.com/office/drawing/2014/main" id="{FE7E787C-F8C3-45A3-A491-A2D465CE74CB}"/>
                </a:ext>
              </a:extLst>
            </p:cNvPr>
            <p:cNvSpPr/>
            <p:nvPr/>
          </p:nvSpPr>
          <p:spPr>
            <a:xfrm>
              <a:off x="3371037" y="4135468"/>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29" y="55442"/>
                    <a:pt x="55442" y="46945"/>
                    <a:pt x="55442" y="35616"/>
                  </a:cubicBezTo>
                  <a:cubicBezTo>
                    <a:pt x="55442" y="25703"/>
                    <a:pt x="46945" y="15789"/>
                    <a:pt x="35616" y="15789"/>
                  </a:cubicBezTo>
                  <a:cubicBezTo>
                    <a:pt x="25702" y="15789"/>
                    <a:pt x="15789" y="24286"/>
                    <a:pt x="15789" y="35616"/>
                  </a:cubicBezTo>
                  <a:cubicBezTo>
                    <a:pt x="15789" y="46945"/>
                    <a:pt x="24286"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0" name="Freeform: Shape 2549">
              <a:extLst>
                <a:ext uri="{FF2B5EF4-FFF2-40B4-BE49-F238E27FC236}">
                  <a16:creationId xmlns:a16="http://schemas.microsoft.com/office/drawing/2014/main" id="{C5C73519-3AF0-46A9-AFA2-5590D9FDD6A4}"/>
                </a:ext>
              </a:extLst>
            </p:cNvPr>
            <p:cNvSpPr/>
            <p:nvPr/>
          </p:nvSpPr>
          <p:spPr>
            <a:xfrm>
              <a:off x="3429101" y="3900381"/>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5529" y="55442"/>
                    <a:pt x="55442" y="46945"/>
                    <a:pt x="55442" y="35616"/>
                  </a:cubicBezTo>
                  <a:cubicBezTo>
                    <a:pt x="55442" y="25703"/>
                    <a:pt x="46945" y="15789"/>
                    <a:pt x="35616" y="15789"/>
                  </a:cubicBezTo>
                  <a:cubicBezTo>
                    <a:pt x="25702" y="15789"/>
                    <a:pt x="15789" y="24286"/>
                    <a:pt x="15789" y="35616"/>
                  </a:cubicBezTo>
                  <a:cubicBezTo>
                    <a:pt x="15789" y="46945"/>
                    <a:pt x="25702"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1" name="Freeform: Shape 2550">
              <a:extLst>
                <a:ext uri="{FF2B5EF4-FFF2-40B4-BE49-F238E27FC236}">
                  <a16:creationId xmlns:a16="http://schemas.microsoft.com/office/drawing/2014/main" id="{11D267A9-7863-4AFE-89E2-60828B381BE2}"/>
                </a:ext>
              </a:extLst>
            </p:cNvPr>
            <p:cNvSpPr/>
            <p:nvPr/>
          </p:nvSpPr>
          <p:spPr>
            <a:xfrm>
              <a:off x="4475511" y="5029085"/>
              <a:ext cx="56648" cy="56648"/>
            </a:xfrm>
            <a:custGeom>
              <a:avLst/>
              <a:gdLst>
                <a:gd name="connsiteX0" fmla="*/ 32938 w 56647"/>
                <a:gd name="connsiteY0" fmla="*/ 49777 h 56647"/>
                <a:gd name="connsiteX1" fmla="*/ 49933 w 56647"/>
                <a:gd name="connsiteY1" fmla="*/ 32783 h 56647"/>
                <a:gd name="connsiteX2" fmla="*/ 32938 w 56647"/>
                <a:gd name="connsiteY2" fmla="*/ 15789 h 56647"/>
                <a:gd name="connsiteX3" fmla="*/ 15944 w 56647"/>
                <a:gd name="connsiteY3" fmla="*/ 32783 h 56647"/>
                <a:gd name="connsiteX4" fmla="*/ 32938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38" y="49777"/>
                  </a:moveTo>
                  <a:cubicBezTo>
                    <a:pt x="42852" y="49777"/>
                    <a:pt x="49933" y="41280"/>
                    <a:pt x="49933" y="32783"/>
                  </a:cubicBezTo>
                  <a:cubicBezTo>
                    <a:pt x="49933" y="22870"/>
                    <a:pt x="41435" y="15789"/>
                    <a:pt x="32938" y="15789"/>
                  </a:cubicBezTo>
                  <a:cubicBezTo>
                    <a:pt x="23025" y="15789"/>
                    <a:pt x="15944" y="24286"/>
                    <a:pt x="15944" y="32783"/>
                  </a:cubicBezTo>
                  <a:cubicBezTo>
                    <a:pt x="14528" y="41280"/>
                    <a:pt x="23025" y="49777"/>
                    <a:pt x="32938"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2" name="Freeform: Shape 2551">
              <a:extLst>
                <a:ext uri="{FF2B5EF4-FFF2-40B4-BE49-F238E27FC236}">
                  <a16:creationId xmlns:a16="http://schemas.microsoft.com/office/drawing/2014/main" id="{36AFD172-85C5-45B1-9C78-480BBF37B74C}"/>
                </a:ext>
              </a:extLst>
            </p:cNvPr>
            <p:cNvSpPr/>
            <p:nvPr/>
          </p:nvSpPr>
          <p:spPr>
            <a:xfrm>
              <a:off x="4698008" y="4522088"/>
              <a:ext cx="42486" cy="42486"/>
            </a:xfrm>
            <a:custGeom>
              <a:avLst/>
              <a:gdLst>
                <a:gd name="connsiteX0" fmla="*/ 25703 w 42485"/>
                <a:gd name="connsiteY0" fmla="*/ 35616 h 42485"/>
                <a:gd name="connsiteX1" fmla="*/ 35616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3"/>
                  </a:cubicBezTo>
                  <a:cubicBezTo>
                    <a:pt x="35616" y="20038"/>
                    <a:pt x="31367" y="15789"/>
                    <a:pt x="25703" y="15789"/>
                  </a:cubicBezTo>
                  <a:cubicBezTo>
                    <a:pt x="20038" y="15789"/>
                    <a:pt x="15789" y="20038"/>
                    <a:pt x="15789" y="25703"/>
                  </a:cubicBezTo>
                  <a:cubicBezTo>
                    <a:pt x="17205" y="31367"/>
                    <a:pt x="21454"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3" name="Freeform: Shape 2552">
              <a:extLst>
                <a:ext uri="{FF2B5EF4-FFF2-40B4-BE49-F238E27FC236}">
                  <a16:creationId xmlns:a16="http://schemas.microsoft.com/office/drawing/2014/main" id="{A3E1C295-F27F-4F1D-A991-C230B976913A}"/>
                </a:ext>
              </a:extLst>
            </p:cNvPr>
            <p:cNvSpPr/>
            <p:nvPr/>
          </p:nvSpPr>
          <p:spPr>
            <a:xfrm>
              <a:off x="4399192" y="4308244"/>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7"/>
                    <a:pt x="31367" y="15789"/>
                    <a:pt x="25702" y="15789"/>
                  </a:cubicBezTo>
                  <a:cubicBezTo>
                    <a:pt x="20038" y="15789"/>
                    <a:pt x="15789" y="20037"/>
                    <a:pt x="15789" y="25702"/>
                  </a:cubicBezTo>
                  <a:cubicBezTo>
                    <a:pt x="15789" y="31367"/>
                    <a:pt x="20038"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4" name="Freeform: Shape 2553">
              <a:extLst>
                <a:ext uri="{FF2B5EF4-FFF2-40B4-BE49-F238E27FC236}">
                  <a16:creationId xmlns:a16="http://schemas.microsoft.com/office/drawing/2014/main" id="{433B18EB-349D-4549-B27B-90BE8CF98816}"/>
                </a:ext>
              </a:extLst>
            </p:cNvPr>
            <p:cNvSpPr/>
            <p:nvPr/>
          </p:nvSpPr>
          <p:spPr>
            <a:xfrm>
              <a:off x="3518321" y="4796830"/>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7"/>
                    <a:pt x="31367" y="15789"/>
                    <a:pt x="25702" y="15789"/>
                  </a:cubicBezTo>
                  <a:cubicBezTo>
                    <a:pt x="20037" y="15789"/>
                    <a:pt x="15789" y="20037"/>
                    <a:pt x="15789" y="25702"/>
                  </a:cubicBezTo>
                  <a:cubicBezTo>
                    <a:pt x="17205" y="31367"/>
                    <a:pt x="21454"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5" name="Freeform: Shape 2554">
              <a:extLst>
                <a:ext uri="{FF2B5EF4-FFF2-40B4-BE49-F238E27FC236}">
                  <a16:creationId xmlns:a16="http://schemas.microsoft.com/office/drawing/2014/main" id="{1B66F26D-BE13-4E8F-9897-83B806CE9F22}"/>
                </a:ext>
              </a:extLst>
            </p:cNvPr>
            <p:cNvSpPr/>
            <p:nvPr/>
          </p:nvSpPr>
          <p:spPr>
            <a:xfrm>
              <a:off x="3637281" y="4966772"/>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7"/>
                    <a:pt x="31367" y="15789"/>
                    <a:pt x="25702" y="15789"/>
                  </a:cubicBezTo>
                  <a:cubicBezTo>
                    <a:pt x="20038" y="15789"/>
                    <a:pt x="15789" y="20037"/>
                    <a:pt x="15789" y="25702"/>
                  </a:cubicBezTo>
                  <a:cubicBezTo>
                    <a:pt x="17205" y="31367"/>
                    <a:pt x="21454"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6" name="Freeform: Shape 2555">
              <a:extLst>
                <a:ext uri="{FF2B5EF4-FFF2-40B4-BE49-F238E27FC236}">
                  <a16:creationId xmlns:a16="http://schemas.microsoft.com/office/drawing/2014/main" id="{745590C6-29DD-4A06-A417-67F3411DDD68}"/>
                </a:ext>
              </a:extLst>
            </p:cNvPr>
            <p:cNvSpPr/>
            <p:nvPr/>
          </p:nvSpPr>
          <p:spPr>
            <a:xfrm>
              <a:off x="3967254" y="5704608"/>
              <a:ext cx="56648" cy="56648"/>
            </a:xfrm>
            <a:custGeom>
              <a:avLst/>
              <a:gdLst>
                <a:gd name="connsiteX0" fmla="*/ 32783 w 56647"/>
                <a:gd name="connsiteY0" fmla="*/ 15789 h 56647"/>
                <a:gd name="connsiteX1" fmla="*/ 46945 w 56647"/>
                <a:gd name="connsiteY1" fmla="*/ 32783 h 56647"/>
                <a:gd name="connsiteX2" fmla="*/ 29951 w 56647"/>
                <a:gd name="connsiteY2" fmla="*/ 46945 h 56647"/>
                <a:gd name="connsiteX3" fmla="*/ 15789 w 56647"/>
                <a:gd name="connsiteY3" fmla="*/ 29951 h 56647"/>
                <a:gd name="connsiteX4" fmla="*/ 32783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15789"/>
                  </a:moveTo>
                  <a:cubicBezTo>
                    <a:pt x="41280" y="17205"/>
                    <a:pt x="48361" y="24286"/>
                    <a:pt x="46945" y="32783"/>
                  </a:cubicBezTo>
                  <a:cubicBezTo>
                    <a:pt x="45529" y="41281"/>
                    <a:pt x="38448" y="48362"/>
                    <a:pt x="29951" y="46945"/>
                  </a:cubicBezTo>
                  <a:cubicBezTo>
                    <a:pt x="21454" y="45529"/>
                    <a:pt x="15789" y="38448"/>
                    <a:pt x="15789" y="29951"/>
                  </a:cubicBezTo>
                  <a:cubicBezTo>
                    <a:pt x="17205" y="21454"/>
                    <a:pt x="24286" y="15789"/>
                    <a:pt x="32783"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7" name="Freeform: Shape 2556">
              <a:extLst>
                <a:ext uri="{FF2B5EF4-FFF2-40B4-BE49-F238E27FC236}">
                  <a16:creationId xmlns:a16="http://schemas.microsoft.com/office/drawing/2014/main" id="{83CEFBDD-6FA2-4E8B-87E8-D7829A4E9E32}"/>
                </a:ext>
              </a:extLst>
            </p:cNvPr>
            <p:cNvSpPr/>
            <p:nvPr/>
          </p:nvSpPr>
          <p:spPr>
            <a:xfrm>
              <a:off x="3601695" y="5342063"/>
              <a:ext cx="56648" cy="56648"/>
            </a:xfrm>
            <a:custGeom>
              <a:avLst/>
              <a:gdLst>
                <a:gd name="connsiteX0" fmla="*/ 32965 w 56647"/>
                <a:gd name="connsiteY0" fmla="*/ 15789 h 56647"/>
                <a:gd name="connsiteX1" fmla="*/ 47127 w 56647"/>
                <a:gd name="connsiteY1" fmla="*/ 32783 h 56647"/>
                <a:gd name="connsiteX2" fmla="*/ 30132 w 56647"/>
                <a:gd name="connsiteY2" fmla="*/ 46945 h 56647"/>
                <a:gd name="connsiteX3" fmla="*/ 15970 w 56647"/>
                <a:gd name="connsiteY3" fmla="*/ 29951 h 56647"/>
                <a:gd name="connsiteX4" fmla="*/ 32965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789"/>
                  </a:moveTo>
                  <a:cubicBezTo>
                    <a:pt x="41462" y="17205"/>
                    <a:pt x="48543" y="24286"/>
                    <a:pt x="47127" y="32783"/>
                  </a:cubicBezTo>
                  <a:cubicBezTo>
                    <a:pt x="45710" y="41280"/>
                    <a:pt x="38630" y="46945"/>
                    <a:pt x="30132" y="46945"/>
                  </a:cubicBezTo>
                  <a:cubicBezTo>
                    <a:pt x="21635" y="45529"/>
                    <a:pt x="14554" y="38448"/>
                    <a:pt x="15970" y="29951"/>
                  </a:cubicBezTo>
                  <a:cubicBezTo>
                    <a:pt x="15970" y="21454"/>
                    <a:pt x="24468" y="15789"/>
                    <a:pt x="32965"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8" name="Freeform: Shape 2557">
              <a:extLst>
                <a:ext uri="{FF2B5EF4-FFF2-40B4-BE49-F238E27FC236}">
                  <a16:creationId xmlns:a16="http://schemas.microsoft.com/office/drawing/2014/main" id="{E2A378C6-A8D8-41C8-8BC3-36657F7F576D}"/>
                </a:ext>
              </a:extLst>
            </p:cNvPr>
            <p:cNvSpPr/>
            <p:nvPr/>
          </p:nvSpPr>
          <p:spPr>
            <a:xfrm>
              <a:off x="3637099" y="5087149"/>
              <a:ext cx="56648" cy="56648"/>
            </a:xfrm>
            <a:custGeom>
              <a:avLst/>
              <a:gdLst>
                <a:gd name="connsiteX0" fmla="*/ 32965 w 56647"/>
                <a:gd name="connsiteY0" fmla="*/ 15789 h 56647"/>
                <a:gd name="connsiteX1" fmla="*/ 47127 w 56647"/>
                <a:gd name="connsiteY1" fmla="*/ 32783 h 56647"/>
                <a:gd name="connsiteX2" fmla="*/ 30132 w 56647"/>
                <a:gd name="connsiteY2" fmla="*/ 46945 h 56647"/>
                <a:gd name="connsiteX3" fmla="*/ 15970 w 56647"/>
                <a:gd name="connsiteY3" fmla="*/ 29951 h 56647"/>
                <a:gd name="connsiteX4" fmla="*/ 32965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789"/>
                  </a:moveTo>
                  <a:cubicBezTo>
                    <a:pt x="41462" y="17205"/>
                    <a:pt x="47127" y="24286"/>
                    <a:pt x="47127" y="32783"/>
                  </a:cubicBezTo>
                  <a:cubicBezTo>
                    <a:pt x="45710" y="41280"/>
                    <a:pt x="38630" y="46945"/>
                    <a:pt x="30132" y="46945"/>
                  </a:cubicBezTo>
                  <a:cubicBezTo>
                    <a:pt x="21635" y="45529"/>
                    <a:pt x="14554" y="38448"/>
                    <a:pt x="15970" y="29951"/>
                  </a:cubicBezTo>
                  <a:cubicBezTo>
                    <a:pt x="17387" y="21454"/>
                    <a:pt x="24468" y="15789"/>
                    <a:pt x="32965"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59" name="Freeform: Shape 2558">
              <a:extLst>
                <a:ext uri="{FF2B5EF4-FFF2-40B4-BE49-F238E27FC236}">
                  <a16:creationId xmlns:a16="http://schemas.microsoft.com/office/drawing/2014/main" id="{E211A09A-1663-4E52-B4D8-91FBF56D0EA1}"/>
                </a:ext>
              </a:extLst>
            </p:cNvPr>
            <p:cNvSpPr/>
            <p:nvPr/>
          </p:nvSpPr>
          <p:spPr>
            <a:xfrm>
              <a:off x="3610373" y="5224519"/>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8"/>
                    <a:pt x="31367" y="15789"/>
                    <a:pt x="25702" y="15789"/>
                  </a:cubicBezTo>
                  <a:cubicBezTo>
                    <a:pt x="20037" y="15789"/>
                    <a:pt x="15789" y="20038"/>
                    <a:pt x="15789" y="25703"/>
                  </a:cubicBezTo>
                  <a:cubicBezTo>
                    <a:pt x="15789" y="31367"/>
                    <a:pt x="21454"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0" name="Freeform: Shape 2559">
              <a:extLst>
                <a:ext uri="{FF2B5EF4-FFF2-40B4-BE49-F238E27FC236}">
                  <a16:creationId xmlns:a16="http://schemas.microsoft.com/office/drawing/2014/main" id="{2E287B20-8B73-4D4E-B928-3B5A12CDA7A3}"/>
                </a:ext>
              </a:extLst>
            </p:cNvPr>
            <p:cNvSpPr/>
            <p:nvPr/>
          </p:nvSpPr>
          <p:spPr>
            <a:xfrm>
              <a:off x="4053641" y="5560156"/>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7"/>
                    <a:pt x="31367" y="15789"/>
                    <a:pt x="25703" y="15789"/>
                  </a:cubicBezTo>
                  <a:cubicBezTo>
                    <a:pt x="20038" y="15789"/>
                    <a:pt x="15789" y="20037"/>
                    <a:pt x="15789" y="25702"/>
                  </a:cubicBezTo>
                  <a:cubicBezTo>
                    <a:pt x="17205" y="31367"/>
                    <a:pt x="21454"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1" name="Freeform: Shape 2560">
              <a:extLst>
                <a:ext uri="{FF2B5EF4-FFF2-40B4-BE49-F238E27FC236}">
                  <a16:creationId xmlns:a16="http://schemas.microsoft.com/office/drawing/2014/main" id="{9110DDF8-E53F-4C57-973D-4DFAD545B6CC}"/>
                </a:ext>
              </a:extLst>
            </p:cNvPr>
            <p:cNvSpPr/>
            <p:nvPr/>
          </p:nvSpPr>
          <p:spPr>
            <a:xfrm>
              <a:off x="3988496" y="5605474"/>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8"/>
                    <a:pt x="31367" y="15789"/>
                    <a:pt x="25702" y="15789"/>
                  </a:cubicBezTo>
                  <a:cubicBezTo>
                    <a:pt x="20038" y="15789"/>
                    <a:pt x="15789" y="20038"/>
                    <a:pt x="15789" y="25703"/>
                  </a:cubicBezTo>
                  <a:cubicBezTo>
                    <a:pt x="15789" y="31367"/>
                    <a:pt x="20038"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2" name="Freeform: Shape 2561">
              <a:extLst>
                <a:ext uri="{FF2B5EF4-FFF2-40B4-BE49-F238E27FC236}">
                  <a16:creationId xmlns:a16="http://schemas.microsoft.com/office/drawing/2014/main" id="{D154688B-66C0-4DF3-918F-08841E919870}"/>
                </a:ext>
              </a:extLst>
            </p:cNvPr>
            <p:cNvSpPr/>
            <p:nvPr/>
          </p:nvSpPr>
          <p:spPr>
            <a:xfrm>
              <a:off x="4311388" y="5176369"/>
              <a:ext cx="42486" cy="42486"/>
            </a:xfrm>
            <a:custGeom>
              <a:avLst/>
              <a:gdLst>
                <a:gd name="connsiteX0" fmla="*/ 25702 w 42485"/>
                <a:gd name="connsiteY0" fmla="*/ 35616 h 42485"/>
                <a:gd name="connsiteX1" fmla="*/ 35616 w 42485"/>
                <a:gd name="connsiteY1" fmla="*/ 25703 h 42485"/>
                <a:gd name="connsiteX2" fmla="*/ 25702 w 42485"/>
                <a:gd name="connsiteY2" fmla="*/ 15789 h 42485"/>
                <a:gd name="connsiteX3" fmla="*/ 15789 w 42485"/>
                <a:gd name="connsiteY3" fmla="*/ 25703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3"/>
                  </a:cubicBezTo>
                  <a:cubicBezTo>
                    <a:pt x="35616" y="20037"/>
                    <a:pt x="31367" y="15789"/>
                    <a:pt x="25702" y="15789"/>
                  </a:cubicBezTo>
                  <a:cubicBezTo>
                    <a:pt x="20037" y="15789"/>
                    <a:pt x="15789" y="20037"/>
                    <a:pt x="15789" y="25703"/>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3" name="Freeform: Shape 2562">
              <a:extLst>
                <a:ext uri="{FF2B5EF4-FFF2-40B4-BE49-F238E27FC236}">
                  <a16:creationId xmlns:a16="http://schemas.microsoft.com/office/drawing/2014/main" id="{3F2C5A06-9428-4F8D-A36B-DC767B5549B9}"/>
                </a:ext>
              </a:extLst>
            </p:cNvPr>
            <p:cNvSpPr/>
            <p:nvPr/>
          </p:nvSpPr>
          <p:spPr>
            <a:xfrm>
              <a:off x="3897860" y="5686197"/>
              <a:ext cx="70810" cy="70810"/>
            </a:xfrm>
            <a:custGeom>
              <a:avLst/>
              <a:gdLst>
                <a:gd name="connsiteX0" fmla="*/ 35616 w 70809"/>
                <a:gd name="connsiteY0" fmla="*/ 55442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2"/>
                  </a:moveTo>
                  <a:cubicBezTo>
                    <a:pt x="46945" y="55442"/>
                    <a:pt x="55442" y="46945"/>
                    <a:pt x="55442" y="35616"/>
                  </a:cubicBezTo>
                  <a:cubicBezTo>
                    <a:pt x="55442" y="24286"/>
                    <a:pt x="46945" y="15789"/>
                    <a:pt x="35616" y="15789"/>
                  </a:cubicBezTo>
                  <a:cubicBezTo>
                    <a:pt x="24286" y="15789"/>
                    <a:pt x="15789" y="24286"/>
                    <a:pt x="15789" y="35616"/>
                  </a:cubicBezTo>
                  <a:cubicBezTo>
                    <a:pt x="15789" y="46945"/>
                    <a:pt x="25703" y="55442"/>
                    <a:pt x="35616" y="5544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4" name="Freeform: Shape 2563">
              <a:extLst>
                <a:ext uri="{FF2B5EF4-FFF2-40B4-BE49-F238E27FC236}">
                  <a16:creationId xmlns:a16="http://schemas.microsoft.com/office/drawing/2014/main" id="{76DA7FAA-E17B-40FE-896F-0A2A7E82ECBC}"/>
                </a:ext>
              </a:extLst>
            </p:cNvPr>
            <p:cNvSpPr/>
            <p:nvPr/>
          </p:nvSpPr>
          <p:spPr>
            <a:xfrm>
              <a:off x="3947427" y="3917375"/>
              <a:ext cx="42486" cy="42486"/>
            </a:xfrm>
            <a:custGeom>
              <a:avLst/>
              <a:gdLst>
                <a:gd name="connsiteX0" fmla="*/ 24286 w 42485"/>
                <a:gd name="connsiteY0" fmla="*/ 15789 h 42485"/>
                <a:gd name="connsiteX1" fmla="*/ 31367 w 42485"/>
                <a:gd name="connsiteY1" fmla="*/ 24286 h 42485"/>
                <a:gd name="connsiteX2" fmla="*/ 22870 w 42485"/>
                <a:gd name="connsiteY2" fmla="*/ 31367 h 42485"/>
                <a:gd name="connsiteX3" fmla="*/ 15789 w 42485"/>
                <a:gd name="connsiteY3" fmla="*/ 22870 h 42485"/>
                <a:gd name="connsiteX4" fmla="*/ 24286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15789"/>
                  </a:moveTo>
                  <a:cubicBezTo>
                    <a:pt x="28535" y="15789"/>
                    <a:pt x="31367" y="20037"/>
                    <a:pt x="31367" y="24286"/>
                  </a:cubicBezTo>
                  <a:cubicBezTo>
                    <a:pt x="31367" y="28535"/>
                    <a:pt x="27119" y="31367"/>
                    <a:pt x="22870" y="31367"/>
                  </a:cubicBezTo>
                  <a:cubicBezTo>
                    <a:pt x="18622" y="31367"/>
                    <a:pt x="15789" y="27118"/>
                    <a:pt x="15789" y="22870"/>
                  </a:cubicBezTo>
                  <a:cubicBezTo>
                    <a:pt x="17205" y="18621"/>
                    <a:pt x="20038" y="15789"/>
                    <a:pt x="24286"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5" name="Freeform: Shape 2564">
              <a:extLst>
                <a:ext uri="{FF2B5EF4-FFF2-40B4-BE49-F238E27FC236}">
                  <a16:creationId xmlns:a16="http://schemas.microsoft.com/office/drawing/2014/main" id="{971A2292-907A-4FEE-B237-33544A4F9AD4}"/>
                </a:ext>
              </a:extLst>
            </p:cNvPr>
            <p:cNvSpPr/>
            <p:nvPr/>
          </p:nvSpPr>
          <p:spPr>
            <a:xfrm>
              <a:off x="3485748" y="3830987"/>
              <a:ext cx="42486" cy="42486"/>
            </a:xfrm>
            <a:custGeom>
              <a:avLst/>
              <a:gdLst>
                <a:gd name="connsiteX0" fmla="*/ 24286 w 42485"/>
                <a:gd name="connsiteY0" fmla="*/ 15789 h 42485"/>
                <a:gd name="connsiteX1" fmla="*/ 31367 w 42485"/>
                <a:gd name="connsiteY1" fmla="*/ 24286 h 42485"/>
                <a:gd name="connsiteX2" fmla="*/ 22870 w 42485"/>
                <a:gd name="connsiteY2" fmla="*/ 31367 h 42485"/>
                <a:gd name="connsiteX3" fmla="*/ 15789 w 42485"/>
                <a:gd name="connsiteY3" fmla="*/ 22870 h 42485"/>
                <a:gd name="connsiteX4" fmla="*/ 24286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15789"/>
                  </a:moveTo>
                  <a:cubicBezTo>
                    <a:pt x="28535" y="15789"/>
                    <a:pt x="31367" y="20038"/>
                    <a:pt x="31367" y="24286"/>
                  </a:cubicBezTo>
                  <a:cubicBezTo>
                    <a:pt x="31367" y="28535"/>
                    <a:pt x="27119" y="31367"/>
                    <a:pt x="22870" y="31367"/>
                  </a:cubicBezTo>
                  <a:cubicBezTo>
                    <a:pt x="18621" y="31367"/>
                    <a:pt x="15789" y="27119"/>
                    <a:pt x="15789" y="22870"/>
                  </a:cubicBezTo>
                  <a:cubicBezTo>
                    <a:pt x="17205" y="18621"/>
                    <a:pt x="20038" y="15789"/>
                    <a:pt x="24286"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6" name="Freeform: Shape 2565">
              <a:extLst>
                <a:ext uri="{FF2B5EF4-FFF2-40B4-BE49-F238E27FC236}">
                  <a16:creationId xmlns:a16="http://schemas.microsoft.com/office/drawing/2014/main" id="{4A18F385-2368-47B8-AD52-7D5283BFD7B1}"/>
                </a:ext>
              </a:extLst>
            </p:cNvPr>
            <p:cNvSpPr/>
            <p:nvPr/>
          </p:nvSpPr>
          <p:spPr>
            <a:xfrm>
              <a:off x="3631616" y="3775756"/>
              <a:ext cx="42486" cy="42486"/>
            </a:xfrm>
            <a:custGeom>
              <a:avLst/>
              <a:gdLst>
                <a:gd name="connsiteX0" fmla="*/ 24286 w 42485"/>
                <a:gd name="connsiteY0" fmla="*/ 15789 h 42485"/>
                <a:gd name="connsiteX1" fmla="*/ 31367 w 42485"/>
                <a:gd name="connsiteY1" fmla="*/ 24286 h 42485"/>
                <a:gd name="connsiteX2" fmla="*/ 22870 w 42485"/>
                <a:gd name="connsiteY2" fmla="*/ 31367 h 42485"/>
                <a:gd name="connsiteX3" fmla="*/ 15789 w 42485"/>
                <a:gd name="connsiteY3" fmla="*/ 22870 h 42485"/>
                <a:gd name="connsiteX4" fmla="*/ 24286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286" y="15789"/>
                  </a:moveTo>
                  <a:cubicBezTo>
                    <a:pt x="28535" y="15789"/>
                    <a:pt x="31367" y="20037"/>
                    <a:pt x="31367" y="24286"/>
                  </a:cubicBezTo>
                  <a:cubicBezTo>
                    <a:pt x="31367" y="28535"/>
                    <a:pt x="27118" y="31367"/>
                    <a:pt x="22870" y="31367"/>
                  </a:cubicBezTo>
                  <a:cubicBezTo>
                    <a:pt x="18621" y="31367"/>
                    <a:pt x="15789" y="27118"/>
                    <a:pt x="15789" y="22870"/>
                  </a:cubicBezTo>
                  <a:cubicBezTo>
                    <a:pt x="15789" y="18621"/>
                    <a:pt x="20037" y="15789"/>
                    <a:pt x="24286"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7" name="Freeform: Shape 2566">
              <a:extLst>
                <a:ext uri="{FF2B5EF4-FFF2-40B4-BE49-F238E27FC236}">
                  <a16:creationId xmlns:a16="http://schemas.microsoft.com/office/drawing/2014/main" id="{18464B21-43F1-477D-B2AE-AB84AFF24B53}"/>
                </a:ext>
              </a:extLst>
            </p:cNvPr>
            <p:cNvSpPr/>
            <p:nvPr/>
          </p:nvSpPr>
          <p:spPr>
            <a:xfrm>
              <a:off x="3539382" y="5671854"/>
              <a:ext cx="56648" cy="56648"/>
            </a:xfrm>
            <a:custGeom>
              <a:avLst/>
              <a:gdLst>
                <a:gd name="connsiteX0" fmla="*/ 32965 w 56647"/>
                <a:gd name="connsiteY0" fmla="*/ 15970 h 56647"/>
                <a:gd name="connsiteX1" fmla="*/ 47127 w 56647"/>
                <a:gd name="connsiteY1" fmla="*/ 32965 h 56647"/>
                <a:gd name="connsiteX2" fmla="*/ 30132 w 56647"/>
                <a:gd name="connsiteY2" fmla="*/ 47127 h 56647"/>
                <a:gd name="connsiteX3" fmla="*/ 15970 w 56647"/>
                <a:gd name="connsiteY3" fmla="*/ 30132 h 56647"/>
                <a:gd name="connsiteX4" fmla="*/ 32965 w 56647"/>
                <a:gd name="connsiteY4" fmla="*/ 1597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970"/>
                  </a:moveTo>
                  <a:cubicBezTo>
                    <a:pt x="41462" y="17387"/>
                    <a:pt x="47127" y="24468"/>
                    <a:pt x="47127" y="32965"/>
                  </a:cubicBezTo>
                  <a:cubicBezTo>
                    <a:pt x="45710" y="41462"/>
                    <a:pt x="38629" y="47127"/>
                    <a:pt x="30132" y="47127"/>
                  </a:cubicBezTo>
                  <a:cubicBezTo>
                    <a:pt x="21635" y="45710"/>
                    <a:pt x="14554" y="38630"/>
                    <a:pt x="15970" y="30132"/>
                  </a:cubicBezTo>
                  <a:cubicBezTo>
                    <a:pt x="17386" y="21635"/>
                    <a:pt x="24467" y="14554"/>
                    <a:pt x="32965" y="1597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8" name="Freeform: Shape 2567">
              <a:extLst>
                <a:ext uri="{FF2B5EF4-FFF2-40B4-BE49-F238E27FC236}">
                  <a16:creationId xmlns:a16="http://schemas.microsoft.com/office/drawing/2014/main" id="{8180AA17-2785-4257-A977-2E289CCA1F22}"/>
                </a:ext>
              </a:extLst>
            </p:cNvPr>
            <p:cNvSpPr/>
            <p:nvPr/>
          </p:nvSpPr>
          <p:spPr>
            <a:xfrm>
              <a:off x="3613206" y="5453942"/>
              <a:ext cx="56648" cy="56648"/>
            </a:xfrm>
            <a:custGeom>
              <a:avLst/>
              <a:gdLst>
                <a:gd name="connsiteX0" fmla="*/ 32783 w 56647"/>
                <a:gd name="connsiteY0" fmla="*/ 15789 h 56647"/>
                <a:gd name="connsiteX1" fmla="*/ 46945 w 56647"/>
                <a:gd name="connsiteY1" fmla="*/ 32783 h 56647"/>
                <a:gd name="connsiteX2" fmla="*/ 29951 w 56647"/>
                <a:gd name="connsiteY2" fmla="*/ 46945 h 56647"/>
                <a:gd name="connsiteX3" fmla="*/ 15789 w 56647"/>
                <a:gd name="connsiteY3" fmla="*/ 29951 h 56647"/>
                <a:gd name="connsiteX4" fmla="*/ 32783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15789"/>
                  </a:moveTo>
                  <a:cubicBezTo>
                    <a:pt x="41280" y="17205"/>
                    <a:pt x="48361" y="24286"/>
                    <a:pt x="46945" y="32783"/>
                  </a:cubicBezTo>
                  <a:cubicBezTo>
                    <a:pt x="45529" y="41280"/>
                    <a:pt x="38448" y="46945"/>
                    <a:pt x="29951" y="46945"/>
                  </a:cubicBezTo>
                  <a:cubicBezTo>
                    <a:pt x="21454" y="45529"/>
                    <a:pt x="15789" y="38448"/>
                    <a:pt x="15789" y="29951"/>
                  </a:cubicBezTo>
                  <a:cubicBezTo>
                    <a:pt x="15789" y="21454"/>
                    <a:pt x="24286" y="15789"/>
                    <a:pt x="32783"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69" name="Freeform: Shape 2568">
              <a:extLst>
                <a:ext uri="{FF2B5EF4-FFF2-40B4-BE49-F238E27FC236}">
                  <a16:creationId xmlns:a16="http://schemas.microsoft.com/office/drawing/2014/main" id="{B2AC2893-C5C9-4925-96AF-D3F8A5A78344}"/>
                </a:ext>
              </a:extLst>
            </p:cNvPr>
            <p:cNvSpPr/>
            <p:nvPr/>
          </p:nvSpPr>
          <p:spPr>
            <a:xfrm>
              <a:off x="3539564" y="5990678"/>
              <a:ext cx="42486" cy="42486"/>
            </a:xfrm>
            <a:custGeom>
              <a:avLst/>
              <a:gdLst>
                <a:gd name="connsiteX0" fmla="*/ 27118 w 42485"/>
                <a:gd name="connsiteY0" fmla="*/ 15789 h 42485"/>
                <a:gd name="connsiteX1" fmla="*/ 37032 w 42485"/>
                <a:gd name="connsiteY1" fmla="*/ 27118 h 42485"/>
                <a:gd name="connsiteX2" fmla="*/ 25702 w 42485"/>
                <a:gd name="connsiteY2" fmla="*/ 37032 h 42485"/>
                <a:gd name="connsiteX3" fmla="*/ 15789 w 42485"/>
                <a:gd name="connsiteY3" fmla="*/ 25703 h 42485"/>
                <a:gd name="connsiteX4" fmla="*/ 2711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5789"/>
                  </a:moveTo>
                  <a:cubicBezTo>
                    <a:pt x="32783" y="15789"/>
                    <a:pt x="37032" y="21454"/>
                    <a:pt x="37032" y="27118"/>
                  </a:cubicBezTo>
                  <a:cubicBezTo>
                    <a:pt x="37032" y="32783"/>
                    <a:pt x="31367" y="37032"/>
                    <a:pt x="25702" y="37032"/>
                  </a:cubicBezTo>
                  <a:cubicBezTo>
                    <a:pt x="20037" y="37032"/>
                    <a:pt x="15789" y="31367"/>
                    <a:pt x="15789" y="25703"/>
                  </a:cubicBezTo>
                  <a:cubicBezTo>
                    <a:pt x="15789" y="20037"/>
                    <a:pt x="21454" y="15789"/>
                    <a:pt x="2711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0" name="Freeform: Shape 2569">
              <a:extLst>
                <a:ext uri="{FF2B5EF4-FFF2-40B4-BE49-F238E27FC236}">
                  <a16:creationId xmlns:a16="http://schemas.microsoft.com/office/drawing/2014/main" id="{CE2E622B-28CF-4A42-99A3-B6972988E1CC}"/>
                </a:ext>
              </a:extLst>
            </p:cNvPr>
            <p:cNvSpPr/>
            <p:nvPr/>
          </p:nvSpPr>
          <p:spPr>
            <a:xfrm>
              <a:off x="3492829" y="6262587"/>
              <a:ext cx="42486" cy="42486"/>
            </a:xfrm>
            <a:custGeom>
              <a:avLst/>
              <a:gdLst>
                <a:gd name="connsiteX0" fmla="*/ 27119 w 42485"/>
                <a:gd name="connsiteY0" fmla="*/ 15789 h 42485"/>
                <a:gd name="connsiteX1" fmla="*/ 37032 w 42485"/>
                <a:gd name="connsiteY1" fmla="*/ 27118 h 42485"/>
                <a:gd name="connsiteX2" fmla="*/ 25702 w 42485"/>
                <a:gd name="connsiteY2" fmla="*/ 37032 h 42485"/>
                <a:gd name="connsiteX3" fmla="*/ 15789 w 42485"/>
                <a:gd name="connsiteY3" fmla="*/ 25702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8"/>
                  </a:cubicBezTo>
                  <a:cubicBezTo>
                    <a:pt x="37032" y="32783"/>
                    <a:pt x="31367" y="37032"/>
                    <a:pt x="25702" y="37032"/>
                  </a:cubicBezTo>
                  <a:cubicBezTo>
                    <a:pt x="20038" y="37032"/>
                    <a:pt x="15789" y="31367"/>
                    <a:pt x="15789" y="25702"/>
                  </a:cubicBezTo>
                  <a:cubicBezTo>
                    <a:pt x="15789" y="20037"/>
                    <a:pt x="20038" y="15789"/>
                    <a:pt x="27119"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1" name="Freeform: Shape 2570">
              <a:extLst>
                <a:ext uri="{FF2B5EF4-FFF2-40B4-BE49-F238E27FC236}">
                  <a16:creationId xmlns:a16="http://schemas.microsoft.com/office/drawing/2014/main" id="{FA8E4052-641A-4D79-B3BA-BD6642B2A03B}"/>
                </a:ext>
              </a:extLst>
            </p:cNvPr>
            <p:cNvSpPr/>
            <p:nvPr/>
          </p:nvSpPr>
          <p:spPr>
            <a:xfrm>
              <a:off x="3732166" y="6448108"/>
              <a:ext cx="42486" cy="42486"/>
            </a:xfrm>
            <a:custGeom>
              <a:avLst/>
              <a:gdLst>
                <a:gd name="connsiteX0" fmla="*/ 31367 w 42485"/>
                <a:gd name="connsiteY0" fmla="*/ 17205 h 42485"/>
                <a:gd name="connsiteX1" fmla="*/ 35616 w 42485"/>
                <a:gd name="connsiteY1" fmla="*/ 31367 h 42485"/>
                <a:gd name="connsiteX2" fmla="*/ 21454 w 42485"/>
                <a:gd name="connsiteY2" fmla="*/ 35616 h 42485"/>
                <a:gd name="connsiteX3" fmla="*/ 17205 w 42485"/>
                <a:gd name="connsiteY3" fmla="*/ 21454 h 42485"/>
                <a:gd name="connsiteX4" fmla="*/ 31367 w 42485"/>
                <a:gd name="connsiteY4" fmla="*/ 1720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1367" y="17205"/>
                  </a:moveTo>
                  <a:cubicBezTo>
                    <a:pt x="37032" y="20038"/>
                    <a:pt x="38448" y="27119"/>
                    <a:pt x="35616" y="31367"/>
                  </a:cubicBezTo>
                  <a:cubicBezTo>
                    <a:pt x="32783" y="37032"/>
                    <a:pt x="25702" y="38448"/>
                    <a:pt x="21454" y="35616"/>
                  </a:cubicBezTo>
                  <a:cubicBezTo>
                    <a:pt x="15789" y="32783"/>
                    <a:pt x="14373" y="25702"/>
                    <a:pt x="17205" y="21454"/>
                  </a:cubicBezTo>
                  <a:cubicBezTo>
                    <a:pt x="18621" y="15789"/>
                    <a:pt x="25702" y="14373"/>
                    <a:pt x="31367" y="1720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2" name="Freeform: Shape 2571">
              <a:extLst>
                <a:ext uri="{FF2B5EF4-FFF2-40B4-BE49-F238E27FC236}">
                  <a16:creationId xmlns:a16="http://schemas.microsoft.com/office/drawing/2014/main" id="{C60869E5-6BAD-468F-949E-BCAB49EF5972}"/>
                </a:ext>
              </a:extLst>
            </p:cNvPr>
            <p:cNvSpPr/>
            <p:nvPr/>
          </p:nvSpPr>
          <p:spPr>
            <a:xfrm>
              <a:off x="3647194" y="6466518"/>
              <a:ext cx="42486" cy="42486"/>
            </a:xfrm>
            <a:custGeom>
              <a:avLst/>
              <a:gdLst>
                <a:gd name="connsiteX0" fmla="*/ 31367 w 42485"/>
                <a:gd name="connsiteY0" fmla="*/ 17205 h 42485"/>
                <a:gd name="connsiteX1" fmla="*/ 35616 w 42485"/>
                <a:gd name="connsiteY1" fmla="*/ 31367 h 42485"/>
                <a:gd name="connsiteX2" fmla="*/ 21454 w 42485"/>
                <a:gd name="connsiteY2" fmla="*/ 35616 h 42485"/>
                <a:gd name="connsiteX3" fmla="*/ 17205 w 42485"/>
                <a:gd name="connsiteY3" fmla="*/ 21454 h 42485"/>
                <a:gd name="connsiteX4" fmla="*/ 31367 w 42485"/>
                <a:gd name="connsiteY4" fmla="*/ 1720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1367" y="17205"/>
                  </a:moveTo>
                  <a:cubicBezTo>
                    <a:pt x="37032" y="20037"/>
                    <a:pt x="38448" y="27118"/>
                    <a:pt x="35616" y="31367"/>
                  </a:cubicBezTo>
                  <a:cubicBezTo>
                    <a:pt x="32783" y="37032"/>
                    <a:pt x="25702" y="38448"/>
                    <a:pt x="21454" y="35616"/>
                  </a:cubicBezTo>
                  <a:cubicBezTo>
                    <a:pt x="15789" y="32783"/>
                    <a:pt x="14373" y="25702"/>
                    <a:pt x="17205" y="21454"/>
                  </a:cubicBezTo>
                  <a:cubicBezTo>
                    <a:pt x="18621" y="15789"/>
                    <a:pt x="25702" y="14373"/>
                    <a:pt x="31367" y="1720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3" name="Freeform: Shape 2572">
              <a:extLst>
                <a:ext uri="{FF2B5EF4-FFF2-40B4-BE49-F238E27FC236}">
                  <a16:creationId xmlns:a16="http://schemas.microsoft.com/office/drawing/2014/main" id="{B7FE1F14-75D1-4EE7-9001-33E332832850}"/>
                </a:ext>
              </a:extLst>
            </p:cNvPr>
            <p:cNvSpPr/>
            <p:nvPr/>
          </p:nvSpPr>
          <p:spPr>
            <a:xfrm>
              <a:off x="3944594" y="6314986"/>
              <a:ext cx="42486" cy="42486"/>
            </a:xfrm>
            <a:custGeom>
              <a:avLst/>
              <a:gdLst>
                <a:gd name="connsiteX0" fmla="*/ 31367 w 42485"/>
                <a:gd name="connsiteY0" fmla="*/ 17205 h 42485"/>
                <a:gd name="connsiteX1" fmla="*/ 35616 w 42485"/>
                <a:gd name="connsiteY1" fmla="*/ 31367 h 42485"/>
                <a:gd name="connsiteX2" fmla="*/ 21454 w 42485"/>
                <a:gd name="connsiteY2" fmla="*/ 35616 h 42485"/>
                <a:gd name="connsiteX3" fmla="*/ 17205 w 42485"/>
                <a:gd name="connsiteY3" fmla="*/ 21454 h 42485"/>
                <a:gd name="connsiteX4" fmla="*/ 31367 w 42485"/>
                <a:gd name="connsiteY4" fmla="*/ 1720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31367" y="17205"/>
                  </a:moveTo>
                  <a:cubicBezTo>
                    <a:pt x="37032" y="20038"/>
                    <a:pt x="38448" y="27119"/>
                    <a:pt x="35616" y="31367"/>
                  </a:cubicBezTo>
                  <a:cubicBezTo>
                    <a:pt x="32783" y="37032"/>
                    <a:pt x="25702" y="38448"/>
                    <a:pt x="21454" y="35616"/>
                  </a:cubicBezTo>
                  <a:cubicBezTo>
                    <a:pt x="15789" y="32783"/>
                    <a:pt x="14373" y="25703"/>
                    <a:pt x="17205" y="21454"/>
                  </a:cubicBezTo>
                  <a:cubicBezTo>
                    <a:pt x="18621" y="15789"/>
                    <a:pt x="25702" y="14373"/>
                    <a:pt x="31367" y="1720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4" name="Freeform: Shape 2573">
              <a:extLst>
                <a:ext uri="{FF2B5EF4-FFF2-40B4-BE49-F238E27FC236}">
                  <a16:creationId xmlns:a16="http://schemas.microsoft.com/office/drawing/2014/main" id="{CF761472-8B0E-4483-A47F-70D70E810F7A}"/>
                </a:ext>
              </a:extLst>
            </p:cNvPr>
            <p:cNvSpPr/>
            <p:nvPr/>
          </p:nvSpPr>
          <p:spPr>
            <a:xfrm>
              <a:off x="3750021" y="5983042"/>
              <a:ext cx="42486" cy="42486"/>
            </a:xfrm>
            <a:custGeom>
              <a:avLst/>
              <a:gdLst>
                <a:gd name="connsiteX0" fmla="*/ 24842 w 42485"/>
                <a:gd name="connsiteY0" fmla="*/ 16345 h 42485"/>
                <a:gd name="connsiteX1" fmla="*/ 27674 w 42485"/>
                <a:gd name="connsiteY1" fmla="*/ 24842 h 42485"/>
                <a:gd name="connsiteX2" fmla="*/ 19177 w 42485"/>
                <a:gd name="connsiteY2" fmla="*/ 27674 h 42485"/>
                <a:gd name="connsiteX3" fmla="*/ 16345 w 42485"/>
                <a:gd name="connsiteY3" fmla="*/ 19177 h 42485"/>
                <a:gd name="connsiteX4" fmla="*/ 24842 w 42485"/>
                <a:gd name="connsiteY4" fmla="*/ 1634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6345"/>
                  </a:moveTo>
                  <a:cubicBezTo>
                    <a:pt x="27674" y="17761"/>
                    <a:pt x="29090" y="22009"/>
                    <a:pt x="27674" y="24842"/>
                  </a:cubicBezTo>
                  <a:cubicBezTo>
                    <a:pt x="26258" y="27674"/>
                    <a:pt x="22009" y="29090"/>
                    <a:pt x="19177" y="27674"/>
                  </a:cubicBezTo>
                  <a:cubicBezTo>
                    <a:pt x="16345" y="26258"/>
                    <a:pt x="14928" y="22009"/>
                    <a:pt x="16345" y="19177"/>
                  </a:cubicBezTo>
                  <a:cubicBezTo>
                    <a:pt x="17761" y="16345"/>
                    <a:pt x="22009" y="14928"/>
                    <a:pt x="24842" y="163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5" name="Freeform: Shape 2574">
              <a:extLst>
                <a:ext uri="{FF2B5EF4-FFF2-40B4-BE49-F238E27FC236}">
                  <a16:creationId xmlns:a16="http://schemas.microsoft.com/office/drawing/2014/main" id="{5FEE86C6-8F77-4579-A2E3-411DB1666278}"/>
                </a:ext>
              </a:extLst>
            </p:cNvPr>
            <p:cNvSpPr/>
            <p:nvPr/>
          </p:nvSpPr>
          <p:spPr>
            <a:xfrm>
              <a:off x="3686292" y="5709717"/>
              <a:ext cx="42486" cy="42486"/>
            </a:xfrm>
            <a:custGeom>
              <a:avLst/>
              <a:gdLst>
                <a:gd name="connsiteX0" fmla="*/ 24842 w 42485"/>
                <a:gd name="connsiteY0" fmla="*/ 16345 h 42485"/>
                <a:gd name="connsiteX1" fmla="*/ 27674 w 42485"/>
                <a:gd name="connsiteY1" fmla="*/ 24841 h 42485"/>
                <a:gd name="connsiteX2" fmla="*/ 19177 w 42485"/>
                <a:gd name="connsiteY2" fmla="*/ 27674 h 42485"/>
                <a:gd name="connsiteX3" fmla="*/ 16345 w 42485"/>
                <a:gd name="connsiteY3" fmla="*/ 19177 h 42485"/>
                <a:gd name="connsiteX4" fmla="*/ 24842 w 42485"/>
                <a:gd name="connsiteY4" fmla="*/ 16345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4842" y="16345"/>
                  </a:moveTo>
                  <a:cubicBezTo>
                    <a:pt x="27674" y="17760"/>
                    <a:pt x="29090" y="22009"/>
                    <a:pt x="27674" y="24841"/>
                  </a:cubicBezTo>
                  <a:cubicBezTo>
                    <a:pt x="26258" y="27674"/>
                    <a:pt x="22009" y="29090"/>
                    <a:pt x="19177" y="27674"/>
                  </a:cubicBezTo>
                  <a:cubicBezTo>
                    <a:pt x="16345" y="26258"/>
                    <a:pt x="14928" y="22009"/>
                    <a:pt x="16345" y="19177"/>
                  </a:cubicBezTo>
                  <a:cubicBezTo>
                    <a:pt x="17761" y="16345"/>
                    <a:pt x="22009" y="14928"/>
                    <a:pt x="24842" y="163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6" name="Freeform: Shape 2575">
              <a:extLst>
                <a:ext uri="{FF2B5EF4-FFF2-40B4-BE49-F238E27FC236}">
                  <a16:creationId xmlns:a16="http://schemas.microsoft.com/office/drawing/2014/main" id="{0BA9312A-E479-4891-AB91-6F2987ACB96B}"/>
                </a:ext>
              </a:extLst>
            </p:cNvPr>
            <p:cNvSpPr/>
            <p:nvPr/>
          </p:nvSpPr>
          <p:spPr>
            <a:xfrm>
              <a:off x="4400608" y="5108120"/>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3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4"/>
                    <a:pt x="31367" y="37303"/>
                    <a:pt x="25703" y="37303"/>
                  </a:cubicBezTo>
                  <a:cubicBezTo>
                    <a:pt x="20038" y="37303"/>
                    <a:pt x="15789" y="31638"/>
                    <a:pt x="15789" y="25973"/>
                  </a:cubicBezTo>
                  <a:cubicBezTo>
                    <a:pt x="15789" y="18893"/>
                    <a:pt x="21454" y="14644"/>
                    <a:pt x="27119"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7" name="Freeform: Shape 2576">
              <a:extLst>
                <a:ext uri="{FF2B5EF4-FFF2-40B4-BE49-F238E27FC236}">
                  <a16:creationId xmlns:a16="http://schemas.microsoft.com/office/drawing/2014/main" id="{98BE628C-FBE8-4B98-A9B3-D1B01CE8BB78}"/>
                </a:ext>
              </a:extLst>
            </p:cNvPr>
            <p:cNvSpPr/>
            <p:nvPr/>
          </p:nvSpPr>
          <p:spPr>
            <a:xfrm>
              <a:off x="5438542" y="3523554"/>
              <a:ext cx="70810" cy="70810"/>
            </a:xfrm>
            <a:custGeom>
              <a:avLst/>
              <a:gdLst>
                <a:gd name="connsiteX0" fmla="*/ 44247 w 70809"/>
                <a:gd name="connsiteY0" fmla="*/ 15909 h 70809"/>
                <a:gd name="connsiteX1" fmla="*/ 66906 w 70809"/>
                <a:gd name="connsiteY1" fmla="*/ 44233 h 70809"/>
                <a:gd name="connsiteX2" fmla="*/ 38582 w 70809"/>
                <a:gd name="connsiteY2" fmla="*/ 66892 h 70809"/>
                <a:gd name="connsiteX3" fmla="*/ 15924 w 70809"/>
                <a:gd name="connsiteY3" fmla="*/ 38568 h 70809"/>
                <a:gd name="connsiteX4" fmla="*/ 44247 w 70809"/>
                <a:gd name="connsiteY4" fmla="*/ 15909 h 70809"/>
                <a:gd name="connsiteX5" fmla="*/ 44247 w 70809"/>
                <a:gd name="connsiteY5" fmla="*/ 15909 h 70809"/>
                <a:gd name="connsiteX6" fmla="*/ 42831 w 70809"/>
                <a:gd name="connsiteY6" fmla="*/ 27239 h 70809"/>
                <a:gd name="connsiteX7" fmla="*/ 27253 w 70809"/>
                <a:gd name="connsiteY7" fmla="*/ 39984 h 70809"/>
                <a:gd name="connsiteX8" fmla="*/ 39999 w 70809"/>
                <a:gd name="connsiteY8" fmla="*/ 55562 h 70809"/>
                <a:gd name="connsiteX9" fmla="*/ 55577 w 70809"/>
                <a:gd name="connsiteY9" fmla="*/ 42817 h 70809"/>
                <a:gd name="connsiteX10" fmla="*/ 42831 w 70809"/>
                <a:gd name="connsiteY10" fmla="*/ 27239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247" y="15909"/>
                  </a:moveTo>
                  <a:cubicBezTo>
                    <a:pt x="58409" y="17325"/>
                    <a:pt x="68322" y="30071"/>
                    <a:pt x="66906" y="44233"/>
                  </a:cubicBezTo>
                  <a:cubicBezTo>
                    <a:pt x="65490" y="58395"/>
                    <a:pt x="52744" y="68308"/>
                    <a:pt x="38582" y="66892"/>
                  </a:cubicBezTo>
                  <a:cubicBezTo>
                    <a:pt x="24420" y="65476"/>
                    <a:pt x="14507" y="52730"/>
                    <a:pt x="15924" y="38568"/>
                  </a:cubicBezTo>
                  <a:cubicBezTo>
                    <a:pt x="17339" y="25822"/>
                    <a:pt x="30085" y="14493"/>
                    <a:pt x="44247" y="15909"/>
                  </a:cubicBezTo>
                  <a:lnTo>
                    <a:pt x="44247" y="15909"/>
                  </a:lnTo>
                  <a:close/>
                  <a:moveTo>
                    <a:pt x="42831" y="27239"/>
                  </a:moveTo>
                  <a:cubicBezTo>
                    <a:pt x="34334" y="25822"/>
                    <a:pt x="27253" y="32903"/>
                    <a:pt x="27253" y="39984"/>
                  </a:cubicBezTo>
                  <a:cubicBezTo>
                    <a:pt x="25837" y="48481"/>
                    <a:pt x="32918" y="55562"/>
                    <a:pt x="39999" y="55562"/>
                  </a:cubicBezTo>
                  <a:cubicBezTo>
                    <a:pt x="48496" y="56978"/>
                    <a:pt x="55577" y="49898"/>
                    <a:pt x="55577" y="42817"/>
                  </a:cubicBezTo>
                  <a:cubicBezTo>
                    <a:pt x="56993" y="35736"/>
                    <a:pt x="51328" y="28655"/>
                    <a:pt x="42831" y="2723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8" name="Freeform: Shape 2577">
              <a:extLst>
                <a:ext uri="{FF2B5EF4-FFF2-40B4-BE49-F238E27FC236}">
                  <a16:creationId xmlns:a16="http://schemas.microsoft.com/office/drawing/2014/main" id="{C8692B2F-1FA6-4942-9042-723B32B9B686}"/>
                </a:ext>
              </a:extLst>
            </p:cNvPr>
            <p:cNvSpPr/>
            <p:nvPr/>
          </p:nvSpPr>
          <p:spPr>
            <a:xfrm>
              <a:off x="5665147" y="3632601"/>
              <a:ext cx="84971" cy="84971"/>
            </a:xfrm>
            <a:custGeom>
              <a:avLst/>
              <a:gdLst>
                <a:gd name="connsiteX0" fmla="*/ 45648 w 84971"/>
                <a:gd name="connsiteY0" fmla="*/ 15909 h 84971"/>
                <a:gd name="connsiteX1" fmla="*/ 69724 w 84971"/>
                <a:gd name="connsiteY1" fmla="*/ 45649 h 84971"/>
                <a:gd name="connsiteX2" fmla="*/ 39984 w 84971"/>
                <a:gd name="connsiteY2" fmla="*/ 69724 h 84971"/>
                <a:gd name="connsiteX3" fmla="*/ 15909 w 84971"/>
                <a:gd name="connsiteY3" fmla="*/ 39984 h 84971"/>
                <a:gd name="connsiteX4" fmla="*/ 45648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8" y="15909"/>
                  </a:moveTo>
                  <a:cubicBezTo>
                    <a:pt x="59810" y="17325"/>
                    <a:pt x="71140" y="30071"/>
                    <a:pt x="69724" y="45649"/>
                  </a:cubicBezTo>
                  <a:cubicBezTo>
                    <a:pt x="68308" y="59811"/>
                    <a:pt x="55562" y="71140"/>
                    <a:pt x="39984" y="69724"/>
                  </a:cubicBezTo>
                  <a:cubicBezTo>
                    <a:pt x="25822" y="68308"/>
                    <a:pt x="14493" y="55562"/>
                    <a:pt x="15909" y="39984"/>
                  </a:cubicBezTo>
                  <a:cubicBezTo>
                    <a:pt x="18741" y="25822"/>
                    <a:pt x="31487" y="14493"/>
                    <a:pt x="45648" y="1590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79" name="Freeform: Shape 2578">
              <a:extLst>
                <a:ext uri="{FF2B5EF4-FFF2-40B4-BE49-F238E27FC236}">
                  <a16:creationId xmlns:a16="http://schemas.microsoft.com/office/drawing/2014/main" id="{C0CF7110-0A6E-419B-848D-D8E4E8EDA573}"/>
                </a:ext>
              </a:extLst>
            </p:cNvPr>
            <p:cNvSpPr/>
            <p:nvPr/>
          </p:nvSpPr>
          <p:spPr>
            <a:xfrm>
              <a:off x="5717485" y="3309829"/>
              <a:ext cx="56648" cy="56648"/>
            </a:xfrm>
            <a:custGeom>
              <a:avLst/>
              <a:gdLst>
                <a:gd name="connsiteX0" fmla="*/ 32965 w 56647"/>
                <a:gd name="connsiteY0" fmla="*/ 15789 h 56647"/>
                <a:gd name="connsiteX1" fmla="*/ 47127 w 56647"/>
                <a:gd name="connsiteY1" fmla="*/ 32783 h 56647"/>
                <a:gd name="connsiteX2" fmla="*/ 30132 w 56647"/>
                <a:gd name="connsiteY2" fmla="*/ 46945 h 56647"/>
                <a:gd name="connsiteX3" fmla="*/ 15970 w 56647"/>
                <a:gd name="connsiteY3" fmla="*/ 29951 h 56647"/>
                <a:gd name="connsiteX4" fmla="*/ 32965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789"/>
                  </a:moveTo>
                  <a:cubicBezTo>
                    <a:pt x="41462" y="17205"/>
                    <a:pt x="48543" y="24286"/>
                    <a:pt x="47127" y="32783"/>
                  </a:cubicBezTo>
                  <a:cubicBezTo>
                    <a:pt x="45710" y="41280"/>
                    <a:pt x="38630" y="48361"/>
                    <a:pt x="30132" y="46945"/>
                  </a:cubicBezTo>
                  <a:cubicBezTo>
                    <a:pt x="21635" y="45529"/>
                    <a:pt x="14554" y="38448"/>
                    <a:pt x="15970" y="29951"/>
                  </a:cubicBezTo>
                  <a:cubicBezTo>
                    <a:pt x="15970" y="21454"/>
                    <a:pt x="23051" y="15789"/>
                    <a:pt x="32965"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0" name="Freeform: Shape 2579">
              <a:extLst>
                <a:ext uri="{FF2B5EF4-FFF2-40B4-BE49-F238E27FC236}">
                  <a16:creationId xmlns:a16="http://schemas.microsoft.com/office/drawing/2014/main" id="{D4793AE3-2A1C-4703-B361-37D603219BFC}"/>
                </a:ext>
              </a:extLst>
            </p:cNvPr>
            <p:cNvSpPr/>
            <p:nvPr/>
          </p:nvSpPr>
          <p:spPr>
            <a:xfrm>
              <a:off x="5394593" y="3714678"/>
              <a:ext cx="56648" cy="56648"/>
            </a:xfrm>
            <a:custGeom>
              <a:avLst/>
              <a:gdLst>
                <a:gd name="connsiteX0" fmla="*/ 32964 w 56647"/>
                <a:gd name="connsiteY0" fmla="*/ 15970 h 56647"/>
                <a:gd name="connsiteX1" fmla="*/ 47126 w 56647"/>
                <a:gd name="connsiteY1" fmla="*/ 32965 h 56647"/>
                <a:gd name="connsiteX2" fmla="*/ 30132 w 56647"/>
                <a:gd name="connsiteY2" fmla="*/ 47127 h 56647"/>
                <a:gd name="connsiteX3" fmla="*/ 15970 w 56647"/>
                <a:gd name="connsiteY3" fmla="*/ 30132 h 56647"/>
                <a:gd name="connsiteX4" fmla="*/ 32964 w 56647"/>
                <a:gd name="connsiteY4" fmla="*/ 15970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4" y="15970"/>
                  </a:moveTo>
                  <a:cubicBezTo>
                    <a:pt x="41462" y="17386"/>
                    <a:pt x="48543" y="24467"/>
                    <a:pt x="47126" y="32965"/>
                  </a:cubicBezTo>
                  <a:cubicBezTo>
                    <a:pt x="45710" y="41462"/>
                    <a:pt x="38630" y="48543"/>
                    <a:pt x="30132" y="47127"/>
                  </a:cubicBezTo>
                  <a:cubicBezTo>
                    <a:pt x="21635" y="45710"/>
                    <a:pt x="14554" y="38629"/>
                    <a:pt x="15970" y="30132"/>
                  </a:cubicBezTo>
                  <a:cubicBezTo>
                    <a:pt x="15970" y="21635"/>
                    <a:pt x="24468" y="14554"/>
                    <a:pt x="32964" y="1597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1" name="Freeform: Shape 2580">
              <a:extLst>
                <a:ext uri="{FF2B5EF4-FFF2-40B4-BE49-F238E27FC236}">
                  <a16:creationId xmlns:a16="http://schemas.microsoft.com/office/drawing/2014/main" id="{516D49FA-9E1A-4D55-BDD0-AEDB5803D8A5}"/>
                </a:ext>
              </a:extLst>
            </p:cNvPr>
            <p:cNvSpPr/>
            <p:nvPr/>
          </p:nvSpPr>
          <p:spPr>
            <a:xfrm>
              <a:off x="5321132" y="3561911"/>
              <a:ext cx="42486" cy="42486"/>
            </a:xfrm>
            <a:custGeom>
              <a:avLst/>
              <a:gdLst>
                <a:gd name="connsiteX0" fmla="*/ 25703 w 42485"/>
                <a:gd name="connsiteY0" fmla="*/ 15789 h 42485"/>
                <a:gd name="connsiteX1" fmla="*/ 34200 w 42485"/>
                <a:gd name="connsiteY1" fmla="*/ 25702 h 42485"/>
                <a:gd name="connsiteX2" fmla="*/ 24286 w 42485"/>
                <a:gd name="connsiteY2" fmla="*/ 34200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31367" y="15789"/>
                    <a:pt x="34200" y="21454"/>
                    <a:pt x="34200" y="25702"/>
                  </a:cubicBezTo>
                  <a:cubicBezTo>
                    <a:pt x="34200" y="31367"/>
                    <a:pt x="29951" y="34200"/>
                    <a:pt x="24286" y="34200"/>
                  </a:cubicBezTo>
                  <a:cubicBezTo>
                    <a:pt x="18622" y="34200"/>
                    <a:pt x="15789" y="28535"/>
                    <a:pt x="15789" y="24286"/>
                  </a:cubicBezTo>
                  <a:cubicBezTo>
                    <a:pt x="15789" y="20038"/>
                    <a:pt x="21454" y="15789"/>
                    <a:pt x="25703"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2" name="Freeform: Shape 2581">
              <a:extLst>
                <a:ext uri="{FF2B5EF4-FFF2-40B4-BE49-F238E27FC236}">
                  <a16:creationId xmlns:a16="http://schemas.microsoft.com/office/drawing/2014/main" id="{F91F31B4-C822-45EB-8436-F2FFA1BC46F8}"/>
                </a:ext>
              </a:extLst>
            </p:cNvPr>
            <p:cNvSpPr/>
            <p:nvPr/>
          </p:nvSpPr>
          <p:spPr>
            <a:xfrm>
              <a:off x="5874863" y="3386029"/>
              <a:ext cx="42486" cy="42486"/>
            </a:xfrm>
            <a:custGeom>
              <a:avLst/>
              <a:gdLst>
                <a:gd name="connsiteX0" fmla="*/ 25703 w 42485"/>
                <a:gd name="connsiteY0" fmla="*/ 16064 h 42485"/>
                <a:gd name="connsiteX1" fmla="*/ 34199 w 42485"/>
                <a:gd name="connsiteY1" fmla="*/ 25977 h 42485"/>
                <a:gd name="connsiteX2" fmla="*/ 24286 w 42485"/>
                <a:gd name="connsiteY2" fmla="*/ 34474 h 42485"/>
                <a:gd name="connsiteX3" fmla="*/ 15789 w 42485"/>
                <a:gd name="connsiteY3" fmla="*/ 24561 h 42485"/>
                <a:gd name="connsiteX4" fmla="*/ 25703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4"/>
                  </a:moveTo>
                  <a:cubicBezTo>
                    <a:pt x="29951" y="16064"/>
                    <a:pt x="34199" y="20312"/>
                    <a:pt x="34199" y="25977"/>
                  </a:cubicBezTo>
                  <a:cubicBezTo>
                    <a:pt x="34199" y="30225"/>
                    <a:pt x="29951" y="34474"/>
                    <a:pt x="24286" y="34474"/>
                  </a:cubicBezTo>
                  <a:cubicBezTo>
                    <a:pt x="20037" y="34474"/>
                    <a:pt x="15789" y="30225"/>
                    <a:pt x="15789" y="24561"/>
                  </a:cubicBezTo>
                  <a:cubicBezTo>
                    <a:pt x="17205" y="18896"/>
                    <a:pt x="21454" y="14647"/>
                    <a:pt x="25703" y="160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3" name="Freeform: Shape 2582">
              <a:extLst>
                <a:ext uri="{FF2B5EF4-FFF2-40B4-BE49-F238E27FC236}">
                  <a16:creationId xmlns:a16="http://schemas.microsoft.com/office/drawing/2014/main" id="{A8E3D48E-D637-4730-90DF-3B3C0400600B}"/>
                </a:ext>
              </a:extLst>
            </p:cNvPr>
            <p:cNvSpPr/>
            <p:nvPr/>
          </p:nvSpPr>
          <p:spPr>
            <a:xfrm>
              <a:off x="6062998" y="3354929"/>
              <a:ext cx="56648" cy="56648"/>
            </a:xfrm>
            <a:custGeom>
              <a:avLst/>
              <a:gdLst>
                <a:gd name="connsiteX0" fmla="*/ 30169 w 56647"/>
                <a:gd name="connsiteY0" fmla="*/ 16007 h 56647"/>
                <a:gd name="connsiteX1" fmla="*/ 41499 w 56647"/>
                <a:gd name="connsiteY1" fmla="*/ 30169 h 56647"/>
                <a:gd name="connsiteX2" fmla="*/ 27337 w 56647"/>
                <a:gd name="connsiteY2" fmla="*/ 41499 h 56647"/>
                <a:gd name="connsiteX3" fmla="*/ 16007 w 56647"/>
                <a:gd name="connsiteY3" fmla="*/ 27337 h 56647"/>
                <a:gd name="connsiteX4" fmla="*/ 30169 w 56647"/>
                <a:gd name="connsiteY4" fmla="*/ 1600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0169" y="16007"/>
                  </a:moveTo>
                  <a:cubicBezTo>
                    <a:pt x="37250" y="16007"/>
                    <a:pt x="42915" y="23088"/>
                    <a:pt x="41499" y="30169"/>
                  </a:cubicBezTo>
                  <a:cubicBezTo>
                    <a:pt x="41499" y="37250"/>
                    <a:pt x="34418" y="42915"/>
                    <a:pt x="27337" y="41499"/>
                  </a:cubicBezTo>
                  <a:cubicBezTo>
                    <a:pt x="20256" y="41499"/>
                    <a:pt x="14592" y="34418"/>
                    <a:pt x="16007" y="27337"/>
                  </a:cubicBezTo>
                  <a:cubicBezTo>
                    <a:pt x="16007" y="20256"/>
                    <a:pt x="23088" y="14591"/>
                    <a:pt x="30169" y="160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4" name="Freeform: Shape 2583">
              <a:extLst>
                <a:ext uri="{FF2B5EF4-FFF2-40B4-BE49-F238E27FC236}">
                  <a16:creationId xmlns:a16="http://schemas.microsoft.com/office/drawing/2014/main" id="{0F5B9344-B73C-4194-884F-0DB41A34849A}"/>
                </a:ext>
              </a:extLst>
            </p:cNvPr>
            <p:cNvSpPr/>
            <p:nvPr/>
          </p:nvSpPr>
          <p:spPr>
            <a:xfrm>
              <a:off x="5900235" y="3481069"/>
              <a:ext cx="84971" cy="84971"/>
            </a:xfrm>
            <a:custGeom>
              <a:avLst/>
              <a:gdLst>
                <a:gd name="connsiteX0" fmla="*/ 45649 w 84971"/>
                <a:gd name="connsiteY0" fmla="*/ 15909 h 84971"/>
                <a:gd name="connsiteX1" fmla="*/ 71140 w 84971"/>
                <a:gd name="connsiteY1" fmla="*/ 45648 h 84971"/>
                <a:gd name="connsiteX2" fmla="*/ 41400 w 84971"/>
                <a:gd name="connsiteY2" fmla="*/ 71140 h 84971"/>
                <a:gd name="connsiteX3" fmla="*/ 15908 w 84971"/>
                <a:gd name="connsiteY3" fmla="*/ 41400 h 84971"/>
                <a:gd name="connsiteX4" fmla="*/ 45649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9" y="15909"/>
                  </a:moveTo>
                  <a:cubicBezTo>
                    <a:pt x="61227" y="17325"/>
                    <a:pt x="72556" y="30070"/>
                    <a:pt x="71140" y="45648"/>
                  </a:cubicBezTo>
                  <a:cubicBezTo>
                    <a:pt x="69724" y="61227"/>
                    <a:pt x="56978" y="72556"/>
                    <a:pt x="41400" y="71140"/>
                  </a:cubicBezTo>
                  <a:cubicBezTo>
                    <a:pt x="25822" y="69724"/>
                    <a:pt x="14493" y="56978"/>
                    <a:pt x="15908" y="41400"/>
                  </a:cubicBezTo>
                  <a:cubicBezTo>
                    <a:pt x="15908" y="25822"/>
                    <a:pt x="30070" y="14492"/>
                    <a:pt x="45649" y="1590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5" name="Freeform: Shape 2584">
              <a:extLst>
                <a:ext uri="{FF2B5EF4-FFF2-40B4-BE49-F238E27FC236}">
                  <a16:creationId xmlns:a16="http://schemas.microsoft.com/office/drawing/2014/main" id="{6BD214FB-9D68-4A75-83F2-31D9991A093C}"/>
                </a:ext>
              </a:extLst>
            </p:cNvPr>
            <p:cNvSpPr/>
            <p:nvPr/>
          </p:nvSpPr>
          <p:spPr>
            <a:xfrm>
              <a:off x="5767233" y="3709195"/>
              <a:ext cx="42486" cy="42486"/>
            </a:xfrm>
            <a:custGeom>
              <a:avLst/>
              <a:gdLst>
                <a:gd name="connsiteX0" fmla="*/ 25703 w 42485"/>
                <a:gd name="connsiteY0" fmla="*/ 15789 h 42485"/>
                <a:gd name="connsiteX1" fmla="*/ 34200 w 42485"/>
                <a:gd name="connsiteY1" fmla="*/ 25703 h 42485"/>
                <a:gd name="connsiteX2" fmla="*/ 24286 w 42485"/>
                <a:gd name="connsiteY2" fmla="*/ 34200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29951" y="15789"/>
                    <a:pt x="34200" y="20038"/>
                    <a:pt x="34200" y="25703"/>
                  </a:cubicBezTo>
                  <a:cubicBezTo>
                    <a:pt x="34200" y="29951"/>
                    <a:pt x="29951" y="34200"/>
                    <a:pt x="24286" y="34200"/>
                  </a:cubicBezTo>
                  <a:cubicBezTo>
                    <a:pt x="20038" y="34200"/>
                    <a:pt x="15789" y="29951"/>
                    <a:pt x="15789" y="24286"/>
                  </a:cubicBezTo>
                  <a:cubicBezTo>
                    <a:pt x="17205" y="20038"/>
                    <a:pt x="21454" y="15789"/>
                    <a:pt x="25703"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6" name="Freeform: Shape 2585">
              <a:extLst>
                <a:ext uri="{FF2B5EF4-FFF2-40B4-BE49-F238E27FC236}">
                  <a16:creationId xmlns:a16="http://schemas.microsoft.com/office/drawing/2014/main" id="{8AF083D4-5F56-4509-A8FC-2966386EF324}"/>
                </a:ext>
              </a:extLst>
            </p:cNvPr>
            <p:cNvSpPr/>
            <p:nvPr/>
          </p:nvSpPr>
          <p:spPr>
            <a:xfrm>
              <a:off x="5619949" y="3269901"/>
              <a:ext cx="42486" cy="42486"/>
            </a:xfrm>
            <a:custGeom>
              <a:avLst/>
              <a:gdLst>
                <a:gd name="connsiteX0" fmla="*/ 25703 w 42485"/>
                <a:gd name="connsiteY0" fmla="*/ 16063 h 42485"/>
                <a:gd name="connsiteX1" fmla="*/ 34199 w 42485"/>
                <a:gd name="connsiteY1" fmla="*/ 25977 h 42485"/>
                <a:gd name="connsiteX2" fmla="*/ 24286 w 42485"/>
                <a:gd name="connsiteY2" fmla="*/ 34474 h 42485"/>
                <a:gd name="connsiteX3" fmla="*/ 15789 w 42485"/>
                <a:gd name="connsiteY3" fmla="*/ 24561 h 42485"/>
                <a:gd name="connsiteX4" fmla="*/ 25703 w 42485"/>
                <a:gd name="connsiteY4" fmla="*/ 1606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3"/>
                  </a:moveTo>
                  <a:cubicBezTo>
                    <a:pt x="29951" y="16063"/>
                    <a:pt x="34199" y="20312"/>
                    <a:pt x="34199" y="25977"/>
                  </a:cubicBezTo>
                  <a:cubicBezTo>
                    <a:pt x="34199" y="30225"/>
                    <a:pt x="29951" y="34474"/>
                    <a:pt x="24286" y="34474"/>
                  </a:cubicBezTo>
                  <a:cubicBezTo>
                    <a:pt x="20037" y="34474"/>
                    <a:pt x="15789" y="30225"/>
                    <a:pt x="15789" y="24561"/>
                  </a:cubicBezTo>
                  <a:cubicBezTo>
                    <a:pt x="15789" y="18896"/>
                    <a:pt x="20037" y="14647"/>
                    <a:pt x="25703" y="1606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7" name="Freeform: Shape 2586">
              <a:extLst>
                <a:ext uri="{FF2B5EF4-FFF2-40B4-BE49-F238E27FC236}">
                  <a16:creationId xmlns:a16="http://schemas.microsoft.com/office/drawing/2014/main" id="{6D1FED2A-5220-481E-873F-EBBA4F6A036A}"/>
                </a:ext>
              </a:extLst>
            </p:cNvPr>
            <p:cNvSpPr/>
            <p:nvPr/>
          </p:nvSpPr>
          <p:spPr>
            <a:xfrm>
              <a:off x="5761568" y="2873642"/>
              <a:ext cx="70810" cy="70810"/>
            </a:xfrm>
            <a:custGeom>
              <a:avLst/>
              <a:gdLst>
                <a:gd name="connsiteX0" fmla="*/ 41280 w 70809"/>
                <a:gd name="connsiteY0" fmla="*/ 66772 h 70809"/>
                <a:gd name="connsiteX1" fmla="*/ 66772 w 70809"/>
                <a:gd name="connsiteY1" fmla="*/ 41280 h 70809"/>
                <a:gd name="connsiteX2" fmla="*/ 41280 w 70809"/>
                <a:gd name="connsiteY2" fmla="*/ 15789 h 70809"/>
                <a:gd name="connsiteX3" fmla="*/ 15789 w 70809"/>
                <a:gd name="connsiteY3" fmla="*/ 41280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2"/>
                    <a:pt x="66772" y="41280"/>
                  </a:cubicBezTo>
                  <a:cubicBezTo>
                    <a:pt x="66772" y="27119"/>
                    <a:pt x="55442" y="15789"/>
                    <a:pt x="41280" y="15789"/>
                  </a:cubicBezTo>
                  <a:cubicBezTo>
                    <a:pt x="27118" y="15789"/>
                    <a:pt x="15789" y="27119"/>
                    <a:pt x="15789" y="41280"/>
                  </a:cubicBezTo>
                  <a:cubicBezTo>
                    <a:pt x="15789" y="55442"/>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8" name="Freeform: Shape 2587">
              <a:extLst>
                <a:ext uri="{FF2B5EF4-FFF2-40B4-BE49-F238E27FC236}">
                  <a16:creationId xmlns:a16="http://schemas.microsoft.com/office/drawing/2014/main" id="{A9E3AF15-C098-45CA-8E46-AA7A0AB5700D}"/>
                </a:ext>
              </a:extLst>
            </p:cNvPr>
            <p:cNvSpPr/>
            <p:nvPr/>
          </p:nvSpPr>
          <p:spPr>
            <a:xfrm>
              <a:off x="5543474" y="2642803"/>
              <a:ext cx="56648" cy="56648"/>
            </a:xfrm>
            <a:custGeom>
              <a:avLst/>
              <a:gdLst>
                <a:gd name="connsiteX0" fmla="*/ 46945 w 56647"/>
                <a:gd name="connsiteY0" fmla="*/ 31367 h 56647"/>
                <a:gd name="connsiteX1" fmla="*/ 31367 w 56647"/>
                <a:gd name="connsiteY1" fmla="*/ 46945 h 56647"/>
                <a:gd name="connsiteX2" fmla="*/ 15789 w 56647"/>
                <a:gd name="connsiteY2" fmla="*/ 31367 h 56647"/>
                <a:gd name="connsiteX3" fmla="*/ 31367 w 56647"/>
                <a:gd name="connsiteY3" fmla="*/ 15789 h 56647"/>
                <a:gd name="connsiteX4" fmla="*/ 46945 w 56647"/>
                <a:gd name="connsiteY4" fmla="*/ 3136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46945" y="31367"/>
                  </a:moveTo>
                  <a:cubicBezTo>
                    <a:pt x="46945" y="39971"/>
                    <a:pt x="39970" y="46945"/>
                    <a:pt x="31367" y="46945"/>
                  </a:cubicBezTo>
                  <a:cubicBezTo>
                    <a:pt x="22763" y="46945"/>
                    <a:pt x="15789" y="39971"/>
                    <a:pt x="15789" y="31367"/>
                  </a:cubicBezTo>
                  <a:cubicBezTo>
                    <a:pt x="15789" y="22764"/>
                    <a:pt x="22763" y="15789"/>
                    <a:pt x="31367" y="15789"/>
                  </a:cubicBezTo>
                  <a:cubicBezTo>
                    <a:pt x="39970" y="15789"/>
                    <a:pt x="46945" y="22764"/>
                    <a:pt x="46945" y="3136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89" name="Freeform: Shape 2588">
              <a:extLst>
                <a:ext uri="{FF2B5EF4-FFF2-40B4-BE49-F238E27FC236}">
                  <a16:creationId xmlns:a16="http://schemas.microsoft.com/office/drawing/2014/main" id="{DDE95BAE-8FE3-42CE-A731-112FFEAE7B29}"/>
                </a:ext>
              </a:extLst>
            </p:cNvPr>
            <p:cNvSpPr/>
            <p:nvPr/>
          </p:nvSpPr>
          <p:spPr>
            <a:xfrm>
              <a:off x="5525064" y="2719278"/>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1" y="86599"/>
                    <a:pt x="86599" y="71020"/>
                    <a:pt x="86599" y="51194"/>
                  </a:cubicBezTo>
                  <a:cubicBezTo>
                    <a:pt x="86599" y="31367"/>
                    <a:pt x="71021" y="15789"/>
                    <a:pt x="51194" y="15789"/>
                  </a:cubicBezTo>
                  <a:cubicBezTo>
                    <a:pt x="31367" y="15789"/>
                    <a:pt x="15789" y="31367"/>
                    <a:pt x="15789" y="51194"/>
                  </a:cubicBezTo>
                  <a:cubicBezTo>
                    <a:pt x="15789" y="71020"/>
                    <a:pt x="31367"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0" name="Freeform: Shape 2589">
              <a:extLst>
                <a:ext uri="{FF2B5EF4-FFF2-40B4-BE49-F238E27FC236}">
                  <a16:creationId xmlns:a16="http://schemas.microsoft.com/office/drawing/2014/main" id="{2AC3196F-20E2-4804-B7EE-0A5FAB995E1D}"/>
                </a:ext>
              </a:extLst>
            </p:cNvPr>
            <p:cNvSpPr/>
            <p:nvPr/>
          </p:nvSpPr>
          <p:spPr>
            <a:xfrm>
              <a:off x="5505237" y="2521011"/>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1281" y="49777"/>
                    <a:pt x="49778" y="42697"/>
                    <a:pt x="49778" y="32783"/>
                  </a:cubicBezTo>
                  <a:cubicBezTo>
                    <a:pt x="49778" y="24286"/>
                    <a:pt x="42697" y="15789"/>
                    <a:pt x="32783" y="15789"/>
                  </a:cubicBezTo>
                  <a:cubicBezTo>
                    <a:pt x="22870" y="15789"/>
                    <a:pt x="15789" y="22870"/>
                    <a:pt x="15789" y="32783"/>
                  </a:cubicBezTo>
                  <a:cubicBezTo>
                    <a:pt x="17205" y="42697"/>
                    <a:pt x="24286"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1" name="Freeform: Shape 2590">
              <a:extLst>
                <a:ext uri="{FF2B5EF4-FFF2-40B4-BE49-F238E27FC236}">
                  <a16:creationId xmlns:a16="http://schemas.microsoft.com/office/drawing/2014/main" id="{C667F9E1-F5B0-4F63-909D-AF82A6654798}"/>
                </a:ext>
              </a:extLst>
            </p:cNvPr>
            <p:cNvSpPr/>
            <p:nvPr/>
          </p:nvSpPr>
          <p:spPr>
            <a:xfrm>
              <a:off x="5628446" y="2750434"/>
              <a:ext cx="56648" cy="56648"/>
            </a:xfrm>
            <a:custGeom>
              <a:avLst/>
              <a:gdLst>
                <a:gd name="connsiteX0" fmla="*/ 31367 w 56647"/>
                <a:gd name="connsiteY0" fmla="*/ 46945 h 56647"/>
                <a:gd name="connsiteX1" fmla="*/ 46945 w 56647"/>
                <a:gd name="connsiteY1" fmla="*/ 31367 h 56647"/>
                <a:gd name="connsiteX2" fmla="*/ 31367 w 56647"/>
                <a:gd name="connsiteY2" fmla="*/ 15789 h 56647"/>
                <a:gd name="connsiteX3" fmla="*/ 15789 w 56647"/>
                <a:gd name="connsiteY3" fmla="*/ 31367 h 56647"/>
                <a:gd name="connsiteX4" fmla="*/ 31367 w 56647"/>
                <a:gd name="connsiteY4" fmla="*/ 46945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46945"/>
                  </a:moveTo>
                  <a:cubicBezTo>
                    <a:pt x="39864" y="46945"/>
                    <a:pt x="46945" y="39864"/>
                    <a:pt x="46945" y="31367"/>
                  </a:cubicBezTo>
                  <a:cubicBezTo>
                    <a:pt x="46945" y="22870"/>
                    <a:pt x="39864" y="15789"/>
                    <a:pt x="31367" y="15789"/>
                  </a:cubicBezTo>
                  <a:cubicBezTo>
                    <a:pt x="22870" y="15789"/>
                    <a:pt x="15789" y="22870"/>
                    <a:pt x="15789" y="31367"/>
                  </a:cubicBezTo>
                  <a:cubicBezTo>
                    <a:pt x="15789" y="39864"/>
                    <a:pt x="22870" y="46945"/>
                    <a:pt x="31367" y="4694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2" name="Freeform: Shape 2591">
              <a:extLst>
                <a:ext uri="{FF2B5EF4-FFF2-40B4-BE49-F238E27FC236}">
                  <a16:creationId xmlns:a16="http://schemas.microsoft.com/office/drawing/2014/main" id="{3B5B411B-9D4C-498F-A3D0-7F0A573BE2A0}"/>
                </a:ext>
              </a:extLst>
            </p:cNvPr>
            <p:cNvSpPr/>
            <p:nvPr/>
          </p:nvSpPr>
          <p:spPr>
            <a:xfrm>
              <a:off x="5728996" y="2504017"/>
              <a:ext cx="56648" cy="56648"/>
            </a:xfrm>
            <a:custGeom>
              <a:avLst/>
              <a:gdLst>
                <a:gd name="connsiteX0" fmla="*/ 32783 w 56647"/>
                <a:gd name="connsiteY0" fmla="*/ 49777 h 56647"/>
                <a:gd name="connsiteX1" fmla="*/ 49778 w 56647"/>
                <a:gd name="connsiteY1" fmla="*/ 32783 h 56647"/>
                <a:gd name="connsiteX2" fmla="*/ 32783 w 56647"/>
                <a:gd name="connsiteY2" fmla="*/ 15789 h 56647"/>
                <a:gd name="connsiteX3" fmla="*/ 15789 w 56647"/>
                <a:gd name="connsiteY3" fmla="*/ 32783 h 56647"/>
                <a:gd name="connsiteX4" fmla="*/ 32783 w 56647"/>
                <a:gd name="connsiteY4" fmla="*/ 4977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783" y="49777"/>
                  </a:moveTo>
                  <a:cubicBezTo>
                    <a:pt x="42697" y="49777"/>
                    <a:pt x="49778" y="41280"/>
                    <a:pt x="49778" y="32783"/>
                  </a:cubicBezTo>
                  <a:cubicBezTo>
                    <a:pt x="49778" y="22870"/>
                    <a:pt x="41280" y="15789"/>
                    <a:pt x="32783" y="15789"/>
                  </a:cubicBezTo>
                  <a:cubicBezTo>
                    <a:pt x="22870" y="15789"/>
                    <a:pt x="15789" y="24286"/>
                    <a:pt x="15789" y="32783"/>
                  </a:cubicBezTo>
                  <a:cubicBezTo>
                    <a:pt x="15789" y="41280"/>
                    <a:pt x="22870" y="49777"/>
                    <a:pt x="32783" y="4977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3" name="Freeform: Shape 2592">
              <a:extLst>
                <a:ext uri="{FF2B5EF4-FFF2-40B4-BE49-F238E27FC236}">
                  <a16:creationId xmlns:a16="http://schemas.microsoft.com/office/drawing/2014/main" id="{DD6BB834-E744-4454-83D8-F46B03A48B24}"/>
                </a:ext>
              </a:extLst>
            </p:cNvPr>
            <p:cNvSpPr/>
            <p:nvPr/>
          </p:nvSpPr>
          <p:spPr>
            <a:xfrm>
              <a:off x="5736077" y="2679624"/>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4" name="Freeform: Shape 2593">
              <a:extLst>
                <a:ext uri="{FF2B5EF4-FFF2-40B4-BE49-F238E27FC236}">
                  <a16:creationId xmlns:a16="http://schemas.microsoft.com/office/drawing/2014/main" id="{A3A982F5-CD59-4FE6-86EE-69346CFA3775}"/>
                </a:ext>
              </a:extLst>
            </p:cNvPr>
            <p:cNvSpPr/>
            <p:nvPr/>
          </p:nvSpPr>
          <p:spPr>
            <a:xfrm>
              <a:off x="5561885" y="2556416"/>
              <a:ext cx="42486" cy="42486"/>
            </a:xfrm>
            <a:custGeom>
              <a:avLst/>
              <a:gdLst>
                <a:gd name="connsiteX0" fmla="*/ 25703 w 42485"/>
                <a:gd name="connsiteY0" fmla="*/ 35616 h 42485"/>
                <a:gd name="connsiteX1" fmla="*/ 35616 w 42485"/>
                <a:gd name="connsiteY1" fmla="*/ 25702 h 42485"/>
                <a:gd name="connsiteX2" fmla="*/ 25703 w 42485"/>
                <a:gd name="connsiteY2" fmla="*/ 15789 h 42485"/>
                <a:gd name="connsiteX3" fmla="*/ 15789 w 42485"/>
                <a:gd name="connsiteY3" fmla="*/ 25702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6" y="31367"/>
                    <a:pt x="35616" y="25702"/>
                  </a:cubicBezTo>
                  <a:cubicBezTo>
                    <a:pt x="35616" y="20038"/>
                    <a:pt x="31367" y="15789"/>
                    <a:pt x="25703" y="15789"/>
                  </a:cubicBezTo>
                  <a:cubicBezTo>
                    <a:pt x="20038" y="15789"/>
                    <a:pt x="15789" y="20038"/>
                    <a:pt x="15789" y="25702"/>
                  </a:cubicBezTo>
                  <a:cubicBezTo>
                    <a:pt x="15789" y="31367"/>
                    <a:pt x="21454"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5" name="Freeform: Shape 2594">
              <a:extLst>
                <a:ext uri="{FF2B5EF4-FFF2-40B4-BE49-F238E27FC236}">
                  <a16:creationId xmlns:a16="http://schemas.microsoft.com/office/drawing/2014/main" id="{277A144D-80FF-4FBE-AA45-A7CBBCB7456E}"/>
                </a:ext>
              </a:extLst>
            </p:cNvPr>
            <p:cNvSpPr/>
            <p:nvPr/>
          </p:nvSpPr>
          <p:spPr>
            <a:xfrm>
              <a:off x="5821048" y="2573410"/>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1454"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6" name="Freeform: Shape 2595">
              <a:extLst>
                <a:ext uri="{FF2B5EF4-FFF2-40B4-BE49-F238E27FC236}">
                  <a16:creationId xmlns:a16="http://schemas.microsoft.com/office/drawing/2014/main" id="{31D990F4-42D9-4357-B857-A3FB97885F60}"/>
                </a:ext>
              </a:extLst>
            </p:cNvPr>
            <p:cNvSpPr/>
            <p:nvPr/>
          </p:nvSpPr>
          <p:spPr>
            <a:xfrm>
              <a:off x="5651105" y="2723526"/>
              <a:ext cx="42486" cy="42486"/>
            </a:xfrm>
            <a:custGeom>
              <a:avLst/>
              <a:gdLst>
                <a:gd name="connsiteX0" fmla="*/ 25702 w 42485"/>
                <a:gd name="connsiteY0" fmla="*/ 35616 h 42485"/>
                <a:gd name="connsiteX1" fmla="*/ 35616 w 42485"/>
                <a:gd name="connsiteY1" fmla="*/ 25702 h 42485"/>
                <a:gd name="connsiteX2" fmla="*/ 25702 w 42485"/>
                <a:gd name="connsiteY2" fmla="*/ 15789 h 42485"/>
                <a:gd name="connsiteX3" fmla="*/ 15789 w 42485"/>
                <a:gd name="connsiteY3" fmla="*/ 25702 h 42485"/>
                <a:gd name="connsiteX4" fmla="*/ 25702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35616"/>
                  </a:moveTo>
                  <a:cubicBezTo>
                    <a:pt x="31367" y="35616"/>
                    <a:pt x="35616" y="31367"/>
                    <a:pt x="35616" y="25702"/>
                  </a:cubicBezTo>
                  <a:cubicBezTo>
                    <a:pt x="35616" y="20038"/>
                    <a:pt x="31367" y="15789"/>
                    <a:pt x="25702" y="15789"/>
                  </a:cubicBezTo>
                  <a:cubicBezTo>
                    <a:pt x="20037" y="15789"/>
                    <a:pt x="15789" y="20038"/>
                    <a:pt x="15789" y="25702"/>
                  </a:cubicBezTo>
                  <a:cubicBezTo>
                    <a:pt x="15789" y="31367"/>
                    <a:pt x="20037" y="35616"/>
                    <a:pt x="2570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7" name="Freeform: Shape 2596">
              <a:extLst>
                <a:ext uri="{FF2B5EF4-FFF2-40B4-BE49-F238E27FC236}">
                  <a16:creationId xmlns:a16="http://schemas.microsoft.com/office/drawing/2014/main" id="{EB75D140-9726-4B15-8EDA-E187F84D7D3D}"/>
                </a:ext>
              </a:extLst>
            </p:cNvPr>
            <p:cNvSpPr/>
            <p:nvPr/>
          </p:nvSpPr>
          <p:spPr>
            <a:xfrm>
              <a:off x="5407366" y="3217777"/>
              <a:ext cx="70810" cy="70810"/>
            </a:xfrm>
            <a:custGeom>
              <a:avLst/>
              <a:gdLst>
                <a:gd name="connsiteX0" fmla="*/ 40018 w 70809"/>
                <a:gd name="connsiteY0" fmla="*/ 15789 h 70809"/>
                <a:gd name="connsiteX1" fmla="*/ 59845 w 70809"/>
                <a:gd name="connsiteY1" fmla="*/ 39864 h 70809"/>
                <a:gd name="connsiteX2" fmla="*/ 35769 w 70809"/>
                <a:gd name="connsiteY2" fmla="*/ 59691 h 70809"/>
                <a:gd name="connsiteX3" fmla="*/ 15943 w 70809"/>
                <a:gd name="connsiteY3" fmla="*/ 35616 h 70809"/>
                <a:gd name="connsiteX4" fmla="*/ 40018 w 70809"/>
                <a:gd name="connsiteY4" fmla="*/ 15789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789"/>
                  </a:moveTo>
                  <a:cubicBezTo>
                    <a:pt x="52764" y="17205"/>
                    <a:pt x="61261" y="27119"/>
                    <a:pt x="59845" y="39864"/>
                  </a:cubicBezTo>
                  <a:cubicBezTo>
                    <a:pt x="58429" y="52610"/>
                    <a:pt x="48515" y="61107"/>
                    <a:pt x="35769" y="59691"/>
                  </a:cubicBezTo>
                  <a:cubicBezTo>
                    <a:pt x="23024" y="58275"/>
                    <a:pt x="14527" y="48361"/>
                    <a:pt x="15943" y="35616"/>
                  </a:cubicBezTo>
                  <a:cubicBezTo>
                    <a:pt x="15943" y="24286"/>
                    <a:pt x="27272" y="15789"/>
                    <a:pt x="4001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8" name="Freeform: Shape 2597">
              <a:extLst>
                <a:ext uri="{FF2B5EF4-FFF2-40B4-BE49-F238E27FC236}">
                  <a16:creationId xmlns:a16="http://schemas.microsoft.com/office/drawing/2014/main" id="{EA550274-6A4E-4631-AB0D-29049CFC64B0}"/>
                </a:ext>
              </a:extLst>
            </p:cNvPr>
            <p:cNvSpPr/>
            <p:nvPr/>
          </p:nvSpPr>
          <p:spPr>
            <a:xfrm>
              <a:off x="5529313" y="3318326"/>
              <a:ext cx="42486" cy="42486"/>
            </a:xfrm>
            <a:custGeom>
              <a:avLst/>
              <a:gdLst>
                <a:gd name="connsiteX0" fmla="*/ 25702 w 42485"/>
                <a:gd name="connsiteY0" fmla="*/ 15789 h 42485"/>
                <a:gd name="connsiteX1" fmla="*/ 34199 w 42485"/>
                <a:gd name="connsiteY1" fmla="*/ 25702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1454"/>
                    <a:pt x="34199" y="25702"/>
                  </a:cubicBezTo>
                  <a:cubicBezTo>
                    <a:pt x="34199" y="31367"/>
                    <a:pt x="29951" y="34200"/>
                    <a:pt x="24286" y="34200"/>
                  </a:cubicBezTo>
                  <a:cubicBezTo>
                    <a:pt x="18621" y="34200"/>
                    <a:pt x="15789" y="28535"/>
                    <a:pt x="15789" y="24286"/>
                  </a:cubicBezTo>
                  <a:cubicBezTo>
                    <a:pt x="15789" y="20038"/>
                    <a:pt x="21454"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599" name="Freeform: Shape 2598">
              <a:extLst>
                <a:ext uri="{FF2B5EF4-FFF2-40B4-BE49-F238E27FC236}">
                  <a16:creationId xmlns:a16="http://schemas.microsoft.com/office/drawing/2014/main" id="{9E080557-A832-409F-8077-730774942C01}"/>
                </a:ext>
              </a:extLst>
            </p:cNvPr>
            <p:cNvSpPr/>
            <p:nvPr/>
          </p:nvSpPr>
          <p:spPr>
            <a:xfrm>
              <a:off x="5319609" y="3346288"/>
              <a:ext cx="84971" cy="84971"/>
            </a:xfrm>
            <a:custGeom>
              <a:avLst/>
              <a:gdLst>
                <a:gd name="connsiteX0" fmla="*/ 51301 w 84971"/>
                <a:gd name="connsiteY0" fmla="*/ 16151 h 84971"/>
                <a:gd name="connsiteX1" fmla="*/ 81041 w 84971"/>
                <a:gd name="connsiteY1" fmla="*/ 51556 h 84971"/>
                <a:gd name="connsiteX2" fmla="*/ 45636 w 84971"/>
                <a:gd name="connsiteY2" fmla="*/ 81295 h 84971"/>
                <a:gd name="connsiteX3" fmla="*/ 15896 w 84971"/>
                <a:gd name="connsiteY3" fmla="*/ 45891 h 84971"/>
                <a:gd name="connsiteX4" fmla="*/ 51301 w 84971"/>
                <a:gd name="connsiteY4" fmla="*/ 16151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51301" y="16151"/>
                  </a:moveTo>
                  <a:cubicBezTo>
                    <a:pt x="69712" y="17567"/>
                    <a:pt x="82457" y="34561"/>
                    <a:pt x="81041" y="51556"/>
                  </a:cubicBezTo>
                  <a:cubicBezTo>
                    <a:pt x="79625" y="69966"/>
                    <a:pt x="62631" y="82712"/>
                    <a:pt x="45636" y="81295"/>
                  </a:cubicBezTo>
                  <a:cubicBezTo>
                    <a:pt x="27226" y="79879"/>
                    <a:pt x="14480" y="64301"/>
                    <a:pt x="15896" y="45891"/>
                  </a:cubicBezTo>
                  <a:cubicBezTo>
                    <a:pt x="17313" y="27480"/>
                    <a:pt x="32891" y="13318"/>
                    <a:pt x="51301" y="161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0" name="Freeform: Shape 2599">
              <a:extLst>
                <a:ext uri="{FF2B5EF4-FFF2-40B4-BE49-F238E27FC236}">
                  <a16:creationId xmlns:a16="http://schemas.microsoft.com/office/drawing/2014/main" id="{E8500CE6-2AA7-40C2-9182-FB8C29C25AD3}"/>
                </a:ext>
              </a:extLst>
            </p:cNvPr>
            <p:cNvSpPr/>
            <p:nvPr/>
          </p:nvSpPr>
          <p:spPr>
            <a:xfrm>
              <a:off x="5292809" y="3251491"/>
              <a:ext cx="42486" cy="42486"/>
            </a:xfrm>
            <a:custGeom>
              <a:avLst/>
              <a:gdLst>
                <a:gd name="connsiteX0" fmla="*/ 25703 w 42485"/>
                <a:gd name="connsiteY0" fmla="*/ 16064 h 42485"/>
                <a:gd name="connsiteX1" fmla="*/ 34200 w 42485"/>
                <a:gd name="connsiteY1" fmla="*/ 25977 h 42485"/>
                <a:gd name="connsiteX2" fmla="*/ 24286 w 42485"/>
                <a:gd name="connsiteY2" fmla="*/ 34474 h 42485"/>
                <a:gd name="connsiteX3" fmla="*/ 15789 w 42485"/>
                <a:gd name="connsiteY3" fmla="*/ 24561 h 42485"/>
                <a:gd name="connsiteX4" fmla="*/ 25703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4"/>
                  </a:moveTo>
                  <a:cubicBezTo>
                    <a:pt x="29951" y="16064"/>
                    <a:pt x="34200" y="20312"/>
                    <a:pt x="34200" y="25977"/>
                  </a:cubicBezTo>
                  <a:cubicBezTo>
                    <a:pt x="34200" y="30225"/>
                    <a:pt x="29951" y="34474"/>
                    <a:pt x="24286" y="34474"/>
                  </a:cubicBezTo>
                  <a:cubicBezTo>
                    <a:pt x="20038" y="34474"/>
                    <a:pt x="15789" y="30225"/>
                    <a:pt x="15789" y="24561"/>
                  </a:cubicBezTo>
                  <a:cubicBezTo>
                    <a:pt x="17205" y="18896"/>
                    <a:pt x="21454" y="14647"/>
                    <a:pt x="25703" y="160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1" name="Freeform: Shape 2600">
              <a:extLst>
                <a:ext uri="{FF2B5EF4-FFF2-40B4-BE49-F238E27FC236}">
                  <a16:creationId xmlns:a16="http://schemas.microsoft.com/office/drawing/2014/main" id="{463C66F1-A760-4B77-963F-256750A4775A}"/>
                </a:ext>
              </a:extLst>
            </p:cNvPr>
            <p:cNvSpPr/>
            <p:nvPr/>
          </p:nvSpPr>
          <p:spPr>
            <a:xfrm>
              <a:off x="5338127" y="3433038"/>
              <a:ext cx="42486" cy="42486"/>
            </a:xfrm>
            <a:custGeom>
              <a:avLst/>
              <a:gdLst>
                <a:gd name="connsiteX0" fmla="*/ 25702 w 42485"/>
                <a:gd name="connsiteY0" fmla="*/ 15789 h 42485"/>
                <a:gd name="connsiteX1" fmla="*/ 34199 w 42485"/>
                <a:gd name="connsiteY1" fmla="*/ 25703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29951" y="15789"/>
                    <a:pt x="34199" y="20038"/>
                    <a:pt x="34199" y="25703"/>
                  </a:cubicBezTo>
                  <a:cubicBezTo>
                    <a:pt x="34199" y="29951"/>
                    <a:pt x="29951" y="34200"/>
                    <a:pt x="24286" y="34200"/>
                  </a:cubicBezTo>
                  <a:cubicBezTo>
                    <a:pt x="20037" y="34200"/>
                    <a:pt x="15789" y="29951"/>
                    <a:pt x="15789" y="24286"/>
                  </a:cubicBezTo>
                  <a:cubicBezTo>
                    <a:pt x="15789" y="20038"/>
                    <a:pt x="20037"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2" name="Freeform: Shape 2601">
              <a:extLst>
                <a:ext uri="{FF2B5EF4-FFF2-40B4-BE49-F238E27FC236}">
                  <a16:creationId xmlns:a16="http://schemas.microsoft.com/office/drawing/2014/main" id="{4A8E70D9-C64C-43B1-8613-6D4FF177DF23}"/>
                </a:ext>
              </a:extLst>
            </p:cNvPr>
            <p:cNvSpPr/>
            <p:nvPr/>
          </p:nvSpPr>
          <p:spPr>
            <a:xfrm>
              <a:off x="5641192" y="2839654"/>
              <a:ext cx="70810" cy="70810"/>
            </a:xfrm>
            <a:custGeom>
              <a:avLst/>
              <a:gdLst>
                <a:gd name="connsiteX0" fmla="*/ 55442 w 70809"/>
                <a:gd name="connsiteY0" fmla="*/ 35616 h 70809"/>
                <a:gd name="connsiteX1" fmla="*/ 35616 w 70809"/>
                <a:gd name="connsiteY1" fmla="*/ 55442 h 70809"/>
                <a:gd name="connsiteX2" fmla="*/ 15789 w 70809"/>
                <a:gd name="connsiteY2" fmla="*/ 35616 h 70809"/>
                <a:gd name="connsiteX3" fmla="*/ 35616 w 70809"/>
                <a:gd name="connsiteY3" fmla="*/ 15789 h 70809"/>
                <a:gd name="connsiteX4" fmla="*/ 55442 w 70809"/>
                <a:gd name="connsiteY4" fmla="*/ 35616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55442" y="35616"/>
                  </a:moveTo>
                  <a:cubicBezTo>
                    <a:pt x="55442" y="46565"/>
                    <a:pt x="46566" y="55442"/>
                    <a:pt x="35616" y="55442"/>
                  </a:cubicBezTo>
                  <a:cubicBezTo>
                    <a:pt x="24666" y="55442"/>
                    <a:pt x="15789" y="46565"/>
                    <a:pt x="15789" y="35616"/>
                  </a:cubicBezTo>
                  <a:cubicBezTo>
                    <a:pt x="15789" y="24666"/>
                    <a:pt x="24666" y="15789"/>
                    <a:pt x="35616" y="15789"/>
                  </a:cubicBezTo>
                  <a:cubicBezTo>
                    <a:pt x="46566" y="15789"/>
                    <a:pt x="55442" y="24666"/>
                    <a:pt x="55442"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3" name="Freeform: Shape 2602">
              <a:extLst>
                <a:ext uri="{FF2B5EF4-FFF2-40B4-BE49-F238E27FC236}">
                  <a16:creationId xmlns:a16="http://schemas.microsoft.com/office/drawing/2014/main" id="{EA0A0BD7-0A24-48A8-ADC8-6DC83B54611B}"/>
                </a:ext>
              </a:extLst>
            </p:cNvPr>
            <p:cNvSpPr/>
            <p:nvPr/>
          </p:nvSpPr>
          <p:spPr>
            <a:xfrm>
              <a:off x="5523648" y="2947284"/>
              <a:ext cx="42486" cy="42486"/>
            </a:xfrm>
            <a:custGeom>
              <a:avLst/>
              <a:gdLst>
                <a:gd name="connsiteX0" fmla="*/ 22870 w 42485"/>
                <a:gd name="connsiteY0" fmla="*/ 29951 h 42485"/>
                <a:gd name="connsiteX1" fmla="*/ 29951 w 42485"/>
                <a:gd name="connsiteY1" fmla="*/ 22870 h 42485"/>
                <a:gd name="connsiteX2" fmla="*/ 22870 w 42485"/>
                <a:gd name="connsiteY2" fmla="*/ 15789 h 42485"/>
                <a:gd name="connsiteX3" fmla="*/ 15789 w 42485"/>
                <a:gd name="connsiteY3" fmla="*/ 22870 h 42485"/>
                <a:gd name="connsiteX4" fmla="*/ 22870 w 42485"/>
                <a:gd name="connsiteY4" fmla="*/ 29951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2870" y="29951"/>
                  </a:moveTo>
                  <a:cubicBezTo>
                    <a:pt x="27118" y="29951"/>
                    <a:pt x="29951" y="27118"/>
                    <a:pt x="29951" y="22870"/>
                  </a:cubicBezTo>
                  <a:cubicBezTo>
                    <a:pt x="29951" y="18621"/>
                    <a:pt x="27118" y="15789"/>
                    <a:pt x="22870" y="15789"/>
                  </a:cubicBezTo>
                  <a:cubicBezTo>
                    <a:pt x="18621" y="15789"/>
                    <a:pt x="15789" y="18621"/>
                    <a:pt x="15789" y="22870"/>
                  </a:cubicBezTo>
                  <a:cubicBezTo>
                    <a:pt x="15789" y="27118"/>
                    <a:pt x="20037" y="29951"/>
                    <a:pt x="22870" y="29951"/>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4" name="Freeform: Shape 2603">
              <a:extLst>
                <a:ext uri="{FF2B5EF4-FFF2-40B4-BE49-F238E27FC236}">
                  <a16:creationId xmlns:a16="http://schemas.microsoft.com/office/drawing/2014/main" id="{4142F0B7-BF0F-4B93-B619-396DCF584189}"/>
                </a:ext>
              </a:extLst>
            </p:cNvPr>
            <p:cNvSpPr/>
            <p:nvPr/>
          </p:nvSpPr>
          <p:spPr>
            <a:xfrm>
              <a:off x="6153853" y="2960030"/>
              <a:ext cx="56648" cy="56648"/>
            </a:xfrm>
            <a:custGeom>
              <a:avLst/>
              <a:gdLst>
                <a:gd name="connsiteX0" fmla="*/ 29951 w 56647"/>
                <a:gd name="connsiteY0" fmla="*/ 44113 h 56647"/>
                <a:gd name="connsiteX1" fmla="*/ 44113 w 56647"/>
                <a:gd name="connsiteY1" fmla="*/ 29951 h 56647"/>
                <a:gd name="connsiteX2" fmla="*/ 29951 w 56647"/>
                <a:gd name="connsiteY2" fmla="*/ 15789 h 56647"/>
                <a:gd name="connsiteX3" fmla="*/ 15789 w 56647"/>
                <a:gd name="connsiteY3" fmla="*/ 29951 h 56647"/>
                <a:gd name="connsiteX4" fmla="*/ 29951 w 56647"/>
                <a:gd name="connsiteY4" fmla="*/ 44113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44113"/>
                  </a:moveTo>
                  <a:cubicBezTo>
                    <a:pt x="37032" y="44113"/>
                    <a:pt x="44113" y="38448"/>
                    <a:pt x="44113" y="29951"/>
                  </a:cubicBezTo>
                  <a:cubicBezTo>
                    <a:pt x="44113" y="22870"/>
                    <a:pt x="38448" y="15789"/>
                    <a:pt x="29951" y="15789"/>
                  </a:cubicBezTo>
                  <a:cubicBezTo>
                    <a:pt x="22870" y="15789"/>
                    <a:pt x="15789" y="21454"/>
                    <a:pt x="15789" y="29951"/>
                  </a:cubicBezTo>
                  <a:cubicBezTo>
                    <a:pt x="15789" y="37032"/>
                    <a:pt x="22870" y="44113"/>
                    <a:pt x="29951" y="4411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5" name="Freeform: Shape 2604">
              <a:extLst>
                <a:ext uri="{FF2B5EF4-FFF2-40B4-BE49-F238E27FC236}">
                  <a16:creationId xmlns:a16="http://schemas.microsoft.com/office/drawing/2014/main" id="{66248DA3-7D12-4FE2-8404-95C223717AD0}"/>
                </a:ext>
              </a:extLst>
            </p:cNvPr>
            <p:cNvSpPr/>
            <p:nvPr/>
          </p:nvSpPr>
          <p:spPr>
            <a:xfrm>
              <a:off x="6050336" y="2764596"/>
              <a:ext cx="70810" cy="70810"/>
            </a:xfrm>
            <a:custGeom>
              <a:avLst/>
              <a:gdLst>
                <a:gd name="connsiteX0" fmla="*/ 37167 w 70809"/>
                <a:gd name="connsiteY0" fmla="*/ 58275 h 70809"/>
                <a:gd name="connsiteX1" fmla="*/ 58410 w 70809"/>
                <a:gd name="connsiteY1" fmla="*/ 37032 h 70809"/>
                <a:gd name="connsiteX2" fmla="*/ 37167 w 70809"/>
                <a:gd name="connsiteY2" fmla="*/ 15789 h 70809"/>
                <a:gd name="connsiteX3" fmla="*/ 15924 w 70809"/>
                <a:gd name="connsiteY3" fmla="*/ 37032 h 70809"/>
                <a:gd name="connsiteX4" fmla="*/ 37167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167" y="58275"/>
                  </a:moveTo>
                  <a:cubicBezTo>
                    <a:pt x="48497" y="58275"/>
                    <a:pt x="58410" y="48361"/>
                    <a:pt x="58410" y="37032"/>
                  </a:cubicBezTo>
                  <a:cubicBezTo>
                    <a:pt x="58410" y="25702"/>
                    <a:pt x="48497" y="15789"/>
                    <a:pt x="37167" y="15789"/>
                  </a:cubicBezTo>
                  <a:cubicBezTo>
                    <a:pt x="25837" y="15789"/>
                    <a:pt x="15924" y="25702"/>
                    <a:pt x="15924" y="37032"/>
                  </a:cubicBezTo>
                  <a:cubicBezTo>
                    <a:pt x="14508" y="48361"/>
                    <a:pt x="24421" y="58275"/>
                    <a:pt x="37167"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6" name="Freeform: Shape 2605">
              <a:extLst>
                <a:ext uri="{FF2B5EF4-FFF2-40B4-BE49-F238E27FC236}">
                  <a16:creationId xmlns:a16="http://schemas.microsoft.com/office/drawing/2014/main" id="{D8169657-02DD-4D1F-A303-636BFA423BCD}"/>
                </a:ext>
              </a:extLst>
            </p:cNvPr>
            <p:cNvSpPr/>
            <p:nvPr/>
          </p:nvSpPr>
          <p:spPr>
            <a:xfrm>
              <a:off x="5445622" y="3046418"/>
              <a:ext cx="70810" cy="70810"/>
            </a:xfrm>
            <a:custGeom>
              <a:avLst/>
              <a:gdLst>
                <a:gd name="connsiteX0" fmla="*/ 37167 w 70809"/>
                <a:gd name="connsiteY0" fmla="*/ 58275 h 70809"/>
                <a:gd name="connsiteX1" fmla="*/ 58410 w 70809"/>
                <a:gd name="connsiteY1" fmla="*/ 37032 h 70809"/>
                <a:gd name="connsiteX2" fmla="*/ 37167 w 70809"/>
                <a:gd name="connsiteY2" fmla="*/ 15789 h 70809"/>
                <a:gd name="connsiteX3" fmla="*/ 15924 w 70809"/>
                <a:gd name="connsiteY3" fmla="*/ 37032 h 70809"/>
                <a:gd name="connsiteX4" fmla="*/ 37167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167" y="58275"/>
                  </a:moveTo>
                  <a:cubicBezTo>
                    <a:pt x="48496" y="58275"/>
                    <a:pt x="58410" y="48361"/>
                    <a:pt x="58410" y="37032"/>
                  </a:cubicBezTo>
                  <a:cubicBezTo>
                    <a:pt x="58410" y="25702"/>
                    <a:pt x="48496" y="15789"/>
                    <a:pt x="37167" y="15789"/>
                  </a:cubicBezTo>
                  <a:cubicBezTo>
                    <a:pt x="25837" y="15789"/>
                    <a:pt x="15924" y="25702"/>
                    <a:pt x="15924" y="37032"/>
                  </a:cubicBezTo>
                  <a:cubicBezTo>
                    <a:pt x="14508" y="48361"/>
                    <a:pt x="24421" y="58275"/>
                    <a:pt x="37167"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7" name="Freeform: Shape 2606">
              <a:extLst>
                <a:ext uri="{FF2B5EF4-FFF2-40B4-BE49-F238E27FC236}">
                  <a16:creationId xmlns:a16="http://schemas.microsoft.com/office/drawing/2014/main" id="{3F3383D9-3329-419A-BF0B-E2F48167604B}"/>
                </a:ext>
              </a:extLst>
            </p:cNvPr>
            <p:cNvSpPr/>
            <p:nvPr/>
          </p:nvSpPr>
          <p:spPr>
            <a:xfrm>
              <a:off x="5458322" y="2967111"/>
              <a:ext cx="56648" cy="56648"/>
            </a:xfrm>
            <a:custGeom>
              <a:avLst/>
              <a:gdLst>
                <a:gd name="connsiteX0" fmla="*/ 32964 w 56647"/>
                <a:gd name="connsiteY0" fmla="*/ 15789 h 56647"/>
                <a:gd name="connsiteX1" fmla="*/ 47126 w 56647"/>
                <a:gd name="connsiteY1" fmla="*/ 32783 h 56647"/>
                <a:gd name="connsiteX2" fmla="*/ 30132 w 56647"/>
                <a:gd name="connsiteY2" fmla="*/ 46945 h 56647"/>
                <a:gd name="connsiteX3" fmla="*/ 15970 w 56647"/>
                <a:gd name="connsiteY3" fmla="*/ 29951 h 56647"/>
                <a:gd name="connsiteX4" fmla="*/ 32964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4" y="15789"/>
                  </a:moveTo>
                  <a:cubicBezTo>
                    <a:pt x="41462" y="17205"/>
                    <a:pt x="48543" y="24286"/>
                    <a:pt x="47126" y="32783"/>
                  </a:cubicBezTo>
                  <a:cubicBezTo>
                    <a:pt x="45710" y="41280"/>
                    <a:pt x="38630" y="48361"/>
                    <a:pt x="30132" y="46945"/>
                  </a:cubicBezTo>
                  <a:cubicBezTo>
                    <a:pt x="21635" y="45529"/>
                    <a:pt x="14554" y="38448"/>
                    <a:pt x="15970" y="29951"/>
                  </a:cubicBezTo>
                  <a:cubicBezTo>
                    <a:pt x="15970" y="21454"/>
                    <a:pt x="23051" y="15789"/>
                    <a:pt x="32964"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8" name="Freeform: Shape 2607">
              <a:extLst>
                <a:ext uri="{FF2B5EF4-FFF2-40B4-BE49-F238E27FC236}">
                  <a16:creationId xmlns:a16="http://schemas.microsoft.com/office/drawing/2014/main" id="{91C963A3-E9DF-4B74-AFB0-75F6AD2AAE46}"/>
                </a:ext>
              </a:extLst>
            </p:cNvPr>
            <p:cNvSpPr/>
            <p:nvPr/>
          </p:nvSpPr>
          <p:spPr>
            <a:xfrm>
              <a:off x="5744466" y="3969379"/>
              <a:ext cx="84971" cy="84971"/>
            </a:xfrm>
            <a:custGeom>
              <a:avLst/>
              <a:gdLst>
                <a:gd name="connsiteX0" fmla="*/ 48469 w 84971"/>
                <a:gd name="connsiteY0" fmla="*/ 16184 h 84971"/>
                <a:gd name="connsiteX1" fmla="*/ 75377 w 84971"/>
                <a:gd name="connsiteY1" fmla="*/ 48757 h 84971"/>
                <a:gd name="connsiteX2" fmla="*/ 42805 w 84971"/>
                <a:gd name="connsiteY2" fmla="*/ 75664 h 84971"/>
                <a:gd name="connsiteX3" fmla="*/ 15897 w 84971"/>
                <a:gd name="connsiteY3" fmla="*/ 43092 h 84971"/>
                <a:gd name="connsiteX4" fmla="*/ 48469 w 84971"/>
                <a:gd name="connsiteY4" fmla="*/ 16184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8469" y="16184"/>
                  </a:moveTo>
                  <a:cubicBezTo>
                    <a:pt x="64047" y="17600"/>
                    <a:pt x="76793" y="31762"/>
                    <a:pt x="75377" y="48757"/>
                  </a:cubicBezTo>
                  <a:cubicBezTo>
                    <a:pt x="73961" y="64335"/>
                    <a:pt x="59799" y="77081"/>
                    <a:pt x="42805" y="75664"/>
                  </a:cubicBezTo>
                  <a:cubicBezTo>
                    <a:pt x="27226" y="74248"/>
                    <a:pt x="14481" y="60086"/>
                    <a:pt x="15897" y="43092"/>
                  </a:cubicBezTo>
                  <a:cubicBezTo>
                    <a:pt x="18729" y="26098"/>
                    <a:pt x="32891" y="13352"/>
                    <a:pt x="48469" y="1618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09" name="Freeform: Shape 2608">
              <a:extLst>
                <a:ext uri="{FF2B5EF4-FFF2-40B4-BE49-F238E27FC236}">
                  <a16:creationId xmlns:a16="http://schemas.microsoft.com/office/drawing/2014/main" id="{E38706B4-FC2A-4A18-B0FB-2B23D26A5744}"/>
                </a:ext>
              </a:extLst>
            </p:cNvPr>
            <p:cNvSpPr/>
            <p:nvPr/>
          </p:nvSpPr>
          <p:spPr>
            <a:xfrm>
              <a:off x="5686510" y="3772923"/>
              <a:ext cx="56648" cy="56648"/>
            </a:xfrm>
            <a:custGeom>
              <a:avLst/>
              <a:gdLst>
                <a:gd name="connsiteX0" fmla="*/ 29951 w 56647"/>
                <a:gd name="connsiteY0" fmla="*/ 15789 h 56647"/>
                <a:gd name="connsiteX1" fmla="*/ 42697 w 56647"/>
                <a:gd name="connsiteY1" fmla="*/ 29951 h 56647"/>
                <a:gd name="connsiteX2" fmla="*/ 28535 w 56647"/>
                <a:gd name="connsiteY2" fmla="*/ 42697 h 56647"/>
                <a:gd name="connsiteX3" fmla="*/ 15789 w 56647"/>
                <a:gd name="connsiteY3" fmla="*/ 28535 h 56647"/>
                <a:gd name="connsiteX4" fmla="*/ 29951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5789"/>
                  </a:moveTo>
                  <a:cubicBezTo>
                    <a:pt x="37032" y="15789"/>
                    <a:pt x="42697" y="22870"/>
                    <a:pt x="42697" y="29951"/>
                  </a:cubicBezTo>
                  <a:cubicBezTo>
                    <a:pt x="42697" y="37032"/>
                    <a:pt x="35616" y="42697"/>
                    <a:pt x="28535" y="42697"/>
                  </a:cubicBezTo>
                  <a:cubicBezTo>
                    <a:pt x="21454" y="42697"/>
                    <a:pt x="15789" y="35616"/>
                    <a:pt x="15789" y="28535"/>
                  </a:cubicBezTo>
                  <a:cubicBezTo>
                    <a:pt x="15789" y="20038"/>
                    <a:pt x="21454" y="15789"/>
                    <a:pt x="29951"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0" name="Freeform: Shape 2609">
              <a:extLst>
                <a:ext uri="{FF2B5EF4-FFF2-40B4-BE49-F238E27FC236}">
                  <a16:creationId xmlns:a16="http://schemas.microsoft.com/office/drawing/2014/main" id="{96F6C9BD-5BCC-412A-A4B6-2EC0E2E98227}"/>
                </a:ext>
              </a:extLst>
            </p:cNvPr>
            <p:cNvSpPr/>
            <p:nvPr/>
          </p:nvSpPr>
          <p:spPr>
            <a:xfrm>
              <a:off x="5499573" y="4051696"/>
              <a:ext cx="56648" cy="56648"/>
            </a:xfrm>
            <a:custGeom>
              <a:avLst/>
              <a:gdLst>
                <a:gd name="connsiteX0" fmla="*/ 29951 w 56647"/>
                <a:gd name="connsiteY0" fmla="*/ 16006 h 56647"/>
                <a:gd name="connsiteX1" fmla="*/ 42697 w 56647"/>
                <a:gd name="connsiteY1" fmla="*/ 30168 h 56647"/>
                <a:gd name="connsiteX2" fmla="*/ 28535 w 56647"/>
                <a:gd name="connsiteY2" fmla="*/ 42913 h 56647"/>
                <a:gd name="connsiteX3" fmla="*/ 15789 w 56647"/>
                <a:gd name="connsiteY3" fmla="*/ 28752 h 56647"/>
                <a:gd name="connsiteX4" fmla="*/ 29951 w 56647"/>
                <a:gd name="connsiteY4" fmla="*/ 16006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6006"/>
                  </a:moveTo>
                  <a:cubicBezTo>
                    <a:pt x="37032" y="16006"/>
                    <a:pt x="42697" y="23087"/>
                    <a:pt x="42697" y="30168"/>
                  </a:cubicBezTo>
                  <a:cubicBezTo>
                    <a:pt x="42697" y="37249"/>
                    <a:pt x="35616" y="42913"/>
                    <a:pt x="28535" y="42913"/>
                  </a:cubicBezTo>
                  <a:cubicBezTo>
                    <a:pt x="21454" y="42913"/>
                    <a:pt x="15789" y="35832"/>
                    <a:pt x="15789" y="28752"/>
                  </a:cubicBezTo>
                  <a:cubicBezTo>
                    <a:pt x="15789" y="20254"/>
                    <a:pt x="21454" y="14590"/>
                    <a:pt x="29951" y="1600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1" name="Freeform: Shape 2610">
              <a:extLst>
                <a:ext uri="{FF2B5EF4-FFF2-40B4-BE49-F238E27FC236}">
                  <a16:creationId xmlns:a16="http://schemas.microsoft.com/office/drawing/2014/main" id="{45C75F53-9FBA-4E1D-93D8-D7F935A7A129}"/>
                </a:ext>
              </a:extLst>
            </p:cNvPr>
            <p:cNvSpPr/>
            <p:nvPr/>
          </p:nvSpPr>
          <p:spPr>
            <a:xfrm>
              <a:off x="5313870" y="3840901"/>
              <a:ext cx="56648" cy="56648"/>
            </a:xfrm>
            <a:custGeom>
              <a:avLst/>
              <a:gdLst>
                <a:gd name="connsiteX0" fmla="*/ 32965 w 56647"/>
                <a:gd name="connsiteY0" fmla="*/ 15789 h 56647"/>
                <a:gd name="connsiteX1" fmla="*/ 47127 w 56647"/>
                <a:gd name="connsiteY1" fmla="*/ 32783 h 56647"/>
                <a:gd name="connsiteX2" fmla="*/ 30132 w 56647"/>
                <a:gd name="connsiteY2" fmla="*/ 46945 h 56647"/>
                <a:gd name="connsiteX3" fmla="*/ 15970 w 56647"/>
                <a:gd name="connsiteY3" fmla="*/ 29951 h 56647"/>
                <a:gd name="connsiteX4" fmla="*/ 32965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5" y="15789"/>
                  </a:moveTo>
                  <a:cubicBezTo>
                    <a:pt x="41462" y="17205"/>
                    <a:pt x="48543" y="24286"/>
                    <a:pt x="47127" y="32783"/>
                  </a:cubicBezTo>
                  <a:cubicBezTo>
                    <a:pt x="45710" y="41280"/>
                    <a:pt x="38630" y="48361"/>
                    <a:pt x="30132" y="46945"/>
                  </a:cubicBezTo>
                  <a:cubicBezTo>
                    <a:pt x="21635" y="45529"/>
                    <a:pt x="14554" y="38448"/>
                    <a:pt x="15970" y="29951"/>
                  </a:cubicBezTo>
                  <a:cubicBezTo>
                    <a:pt x="15970" y="22870"/>
                    <a:pt x="23051" y="15789"/>
                    <a:pt x="32965"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2" name="Freeform: Shape 2611">
              <a:extLst>
                <a:ext uri="{FF2B5EF4-FFF2-40B4-BE49-F238E27FC236}">
                  <a16:creationId xmlns:a16="http://schemas.microsoft.com/office/drawing/2014/main" id="{BE6E7385-D69F-4261-AC8A-2C13AAB81F19}"/>
                </a:ext>
              </a:extLst>
            </p:cNvPr>
            <p:cNvSpPr/>
            <p:nvPr/>
          </p:nvSpPr>
          <p:spPr>
            <a:xfrm>
              <a:off x="5554804" y="3838068"/>
              <a:ext cx="56648" cy="56648"/>
            </a:xfrm>
            <a:custGeom>
              <a:avLst/>
              <a:gdLst>
                <a:gd name="connsiteX0" fmla="*/ 29951 w 56647"/>
                <a:gd name="connsiteY0" fmla="*/ 15789 h 56647"/>
                <a:gd name="connsiteX1" fmla="*/ 41281 w 56647"/>
                <a:gd name="connsiteY1" fmla="*/ 29951 h 56647"/>
                <a:gd name="connsiteX2" fmla="*/ 27119 w 56647"/>
                <a:gd name="connsiteY2" fmla="*/ 41280 h 56647"/>
                <a:gd name="connsiteX3" fmla="*/ 15789 w 56647"/>
                <a:gd name="connsiteY3" fmla="*/ 27119 h 56647"/>
                <a:gd name="connsiteX4" fmla="*/ 29951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5789"/>
                  </a:moveTo>
                  <a:cubicBezTo>
                    <a:pt x="37032" y="15789"/>
                    <a:pt x="41281" y="22870"/>
                    <a:pt x="41281" y="29951"/>
                  </a:cubicBezTo>
                  <a:cubicBezTo>
                    <a:pt x="41281" y="37032"/>
                    <a:pt x="34200" y="41280"/>
                    <a:pt x="27119" y="41280"/>
                  </a:cubicBezTo>
                  <a:cubicBezTo>
                    <a:pt x="20038" y="41280"/>
                    <a:pt x="15789" y="34200"/>
                    <a:pt x="15789" y="27119"/>
                  </a:cubicBezTo>
                  <a:cubicBezTo>
                    <a:pt x="17205" y="20038"/>
                    <a:pt x="22870" y="15789"/>
                    <a:pt x="29951"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3" name="Freeform: Shape 2612">
              <a:extLst>
                <a:ext uri="{FF2B5EF4-FFF2-40B4-BE49-F238E27FC236}">
                  <a16:creationId xmlns:a16="http://schemas.microsoft.com/office/drawing/2014/main" id="{930A8C2C-B8D6-4C04-B574-07C852C903F2}"/>
                </a:ext>
              </a:extLst>
            </p:cNvPr>
            <p:cNvSpPr/>
            <p:nvPr/>
          </p:nvSpPr>
          <p:spPr>
            <a:xfrm>
              <a:off x="5244658" y="3748630"/>
              <a:ext cx="56648" cy="56648"/>
            </a:xfrm>
            <a:custGeom>
              <a:avLst/>
              <a:gdLst>
                <a:gd name="connsiteX0" fmla="*/ 29951 w 56647"/>
                <a:gd name="connsiteY0" fmla="*/ 16007 h 56647"/>
                <a:gd name="connsiteX1" fmla="*/ 41280 w 56647"/>
                <a:gd name="connsiteY1" fmla="*/ 30169 h 56647"/>
                <a:gd name="connsiteX2" fmla="*/ 27118 w 56647"/>
                <a:gd name="connsiteY2" fmla="*/ 41499 h 56647"/>
                <a:gd name="connsiteX3" fmla="*/ 15789 w 56647"/>
                <a:gd name="connsiteY3" fmla="*/ 27337 h 56647"/>
                <a:gd name="connsiteX4" fmla="*/ 29951 w 56647"/>
                <a:gd name="connsiteY4" fmla="*/ 1600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6007"/>
                  </a:moveTo>
                  <a:cubicBezTo>
                    <a:pt x="37032" y="16007"/>
                    <a:pt x="41280" y="23088"/>
                    <a:pt x="41280" y="30169"/>
                  </a:cubicBezTo>
                  <a:cubicBezTo>
                    <a:pt x="41280" y="37250"/>
                    <a:pt x="34199" y="41499"/>
                    <a:pt x="27118" y="41499"/>
                  </a:cubicBezTo>
                  <a:cubicBezTo>
                    <a:pt x="20037" y="41499"/>
                    <a:pt x="15789" y="34418"/>
                    <a:pt x="15789" y="27337"/>
                  </a:cubicBezTo>
                  <a:cubicBezTo>
                    <a:pt x="15789" y="20256"/>
                    <a:pt x="22870" y="14591"/>
                    <a:pt x="29951" y="160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4" name="Freeform: Shape 2613">
              <a:extLst>
                <a:ext uri="{FF2B5EF4-FFF2-40B4-BE49-F238E27FC236}">
                  <a16:creationId xmlns:a16="http://schemas.microsoft.com/office/drawing/2014/main" id="{ABF0D657-39F2-4FA3-A45C-E3C4D30D3F99}"/>
                </a:ext>
              </a:extLst>
            </p:cNvPr>
            <p:cNvSpPr/>
            <p:nvPr/>
          </p:nvSpPr>
          <p:spPr>
            <a:xfrm>
              <a:off x="5587377" y="4031868"/>
              <a:ext cx="56648" cy="56648"/>
            </a:xfrm>
            <a:custGeom>
              <a:avLst/>
              <a:gdLst>
                <a:gd name="connsiteX0" fmla="*/ 29951 w 56647"/>
                <a:gd name="connsiteY0" fmla="*/ 16007 h 56647"/>
                <a:gd name="connsiteX1" fmla="*/ 41280 w 56647"/>
                <a:gd name="connsiteY1" fmla="*/ 30169 h 56647"/>
                <a:gd name="connsiteX2" fmla="*/ 27118 w 56647"/>
                <a:gd name="connsiteY2" fmla="*/ 41499 h 56647"/>
                <a:gd name="connsiteX3" fmla="*/ 15789 w 56647"/>
                <a:gd name="connsiteY3" fmla="*/ 27337 h 56647"/>
                <a:gd name="connsiteX4" fmla="*/ 29951 w 56647"/>
                <a:gd name="connsiteY4" fmla="*/ 1600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29951" y="16007"/>
                  </a:moveTo>
                  <a:cubicBezTo>
                    <a:pt x="37032" y="16007"/>
                    <a:pt x="41280" y="23088"/>
                    <a:pt x="41280" y="30169"/>
                  </a:cubicBezTo>
                  <a:cubicBezTo>
                    <a:pt x="41280" y="37250"/>
                    <a:pt x="34199" y="41499"/>
                    <a:pt x="27118" y="41499"/>
                  </a:cubicBezTo>
                  <a:cubicBezTo>
                    <a:pt x="20037" y="41499"/>
                    <a:pt x="15789" y="34418"/>
                    <a:pt x="15789" y="27337"/>
                  </a:cubicBezTo>
                  <a:cubicBezTo>
                    <a:pt x="17205" y="20256"/>
                    <a:pt x="22870" y="14591"/>
                    <a:pt x="29951" y="160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5" name="Freeform: Shape 2614">
              <a:extLst>
                <a:ext uri="{FF2B5EF4-FFF2-40B4-BE49-F238E27FC236}">
                  <a16:creationId xmlns:a16="http://schemas.microsoft.com/office/drawing/2014/main" id="{9FA37D0C-7E0B-497E-9DC9-9BD170F66EE6}"/>
                </a:ext>
              </a:extLst>
            </p:cNvPr>
            <p:cNvSpPr/>
            <p:nvPr/>
          </p:nvSpPr>
          <p:spPr>
            <a:xfrm>
              <a:off x="7170559" y="3675206"/>
              <a:ext cx="70810" cy="70810"/>
            </a:xfrm>
            <a:custGeom>
              <a:avLst/>
              <a:gdLst>
                <a:gd name="connsiteX0" fmla="*/ 41400 w 70809"/>
                <a:gd name="connsiteY0" fmla="*/ 66772 h 70809"/>
                <a:gd name="connsiteX1" fmla="*/ 66892 w 70809"/>
                <a:gd name="connsiteY1" fmla="*/ 41280 h 70809"/>
                <a:gd name="connsiteX2" fmla="*/ 41400 w 70809"/>
                <a:gd name="connsiteY2" fmla="*/ 15789 h 70809"/>
                <a:gd name="connsiteX3" fmla="*/ 15909 w 70809"/>
                <a:gd name="connsiteY3" fmla="*/ 41280 h 70809"/>
                <a:gd name="connsiteX4" fmla="*/ 4140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400" y="66772"/>
                  </a:moveTo>
                  <a:cubicBezTo>
                    <a:pt x="55562" y="66772"/>
                    <a:pt x="66892" y="55442"/>
                    <a:pt x="66892" y="41280"/>
                  </a:cubicBezTo>
                  <a:cubicBezTo>
                    <a:pt x="66892" y="27119"/>
                    <a:pt x="55562" y="15789"/>
                    <a:pt x="41400" y="15789"/>
                  </a:cubicBezTo>
                  <a:cubicBezTo>
                    <a:pt x="27238" y="15789"/>
                    <a:pt x="15909" y="27119"/>
                    <a:pt x="15909" y="41280"/>
                  </a:cubicBezTo>
                  <a:cubicBezTo>
                    <a:pt x="14492" y="55442"/>
                    <a:pt x="25822" y="66772"/>
                    <a:pt x="4140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6" name="Freeform: Shape 2615">
              <a:extLst>
                <a:ext uri="{FF2B5EF4-FFF2-40B4-BE49-F238E27FC236}">
                  <a16:creationId xmlns:a16="http://schemas.microsoft.com/office/drawing/2014/main" id="{A5A3D542-76A3-46BA-8384-CCA1F3630562}"/>
                </a:ext>
              </a:extLst>
            </p:cNvPr>
            <p:cNvSpPr/>
            <p:nvPr/>
          </p:nvSpPr>
          <p:spPr>
            <a:xfrm>
              <a:off x="6068882" y="4268590"/>
              <a:ext cx="70810" cy="70810"/>
            </a:xfrm>
            <a:custGeom>
              <a:avLst/>
              <a:gdLst>
                <a:gd name="connsiteX0" fmla="*/ 41280 w 70809"/>
                <a:gd name="connsiteY0" fmla="*/ 66772 h 70809"/>
                <a:gd name="connsiteX1" fmla="*/ 66772 w 70809"/>
                <a:gd name="connsiteY1" fmla="*/ 41281 h 70809"/>
                <a:gd name="connsiteX2" fmla="*/ 41280 w 70809"/>
                <a:gd name="connsiteY2" fmla="*/ 15789 h 70809"/>
                <a:gd name="connsiteX3" fmla="*/ 15789 w 70809"/>
                <a:gd name="connsiteY3" fmla="*/ 41281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3"/>
                    <a:pt x="66772" y="41281"/>
                  </a:cubicBezTo>
                  <a:cubicBezTo>
                    <a:pt x="66772" y="27119"/>
                    <a:pt x="55442" y="15789"/>
                    <a:pt x="41280" y="15789"/>
                  </a:cubicBezTo>
                  <a:cubicBezTo>
                    <a:pt x="27118" y="15789"/>
                    <a:pt x="15789" y="27119"/>
                    <a:pt x="15789" y="41281"/>
                  </a:cubicBezTo>
                  <a:cubicBezTo>
                    <a:pt x="15789" y="55443"/>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7" name="Freeform: Shape 2616">
              <a:extLst>
                <a:ext uri="{FF2B5EF4-FFF2-40B4-BE49-F238E27FC236}">
                  <a16:creationId xmlns:a16="http://schemas.microsoft.com/office/drawing/2014/main" id="{A12C6EFB-C658-4312-A38B-148B9DE0C726}"/>
                </a:ext>
              </a:extLst>
            </p:cNvPr>
            <p:cNvSpPr/>
            <p:nvPr/>
          </p:nvSpPr>
          <p:spPr>
            <a:xfrm>
              <a:off x="6499404" y="3669542"/>
              <a:ext cx="42486" cy="42486"/>
            </a:xfrm>
            <a:custGeom>
              <a:avLst/>
              <a:gdLst>
                <a:gd name="connsiteX0" fmla="*/ 27118 w 42485"/>
                <a:gd name="connsiteY0" fmla="*/ 15789 h 42485"/>
                <a:gd name="connsiteX1" fmla="*/ 37032 w 42485"/>
                <a:gd name="connsiteY1" fmla="*/ 27118 h 42485"/>
                <a:gd name="connsiteX2" fmla="*/ 25702 w 42485"/>
                <a:gd name="connsiteY2" fmla="*/ 37032 h 42485"/>
                <a:gd name="connsiteX3" fmla="*/ 15789 w 42485"/>
                <a:gd name="connsiteY3" fmla="*/ 25702 h 42485"/>
                <a:gd name="connsiteX4" fmla="*/ 2711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5789"/>
                  </a:moveTo>
                  <a:cubicBezTo>
                    <a:pt x="32783" y="15789"/>
                    <a:pt x="37032" y="21454"/>
                    <a:pt x="37032" y="27118"/>
                  </a:cubicBezTo>
                  <a:cubicBezTo>
                    <a:pt x="37032" y="32783"/>
                    <a:pt x="31367" y="37032"/>
                    <a:pt x="25702" y="37032"/>
                  </a:cubicBezTo>
                  <a:cubicBezTo>
                    <a:pt x="20037" y="37032"/>
                    <a:pt x="15789" y="31367"/>
                    <a:pt x="15789" y="25702"/>
                  </a:cubicBezTo>
                  <a:cubicBezTo>
                    <a:pt x="15789" y="20037"/>
                    <a:pt x="21454" y="15789"/>
                    <a:pt x="2711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8" name="Freeform: Shape 2617">
              <a:extLst>
                <a:ext uri="{FF2B5EF4-FFF2-40B4-BE49-F238E27FC236}">
                  <a16:creationId xmlns:a16="http://schemas.microsoft.com/office/drawing/2014/main" id="{3F29DC38-0D35-4CF8-B57A-35D6E22A45C9}"/>
                </a:ext>
              </a:extLst>
            </p:cNvPr>
            <p:cNvSpPr/>
            <p:nvPr/>
          </p:nvSpPr>
          <p:spPr>
            <a:xfrm>
              <a:off x="6499250" y="4410055"/>
              <a:ext cx="70810" cy="70810"/>
            </a:xfrm>
            <a:custGeom>
              <a:avLst/>
              <a:gdLst>
                <a:gd name="connsiteX0" fmla="*/ 40018 w 70809"/>
                <a:gd name="connsiteY0" fmla="*/ 15943 h 70809"/>
                <a:gd name="connsiteX1" fmla="*/ 59845 w 70809"/>
                <a:gd name="connsiteY1" fmla="*/ 40018 h 70809"/>
                <a:gd name="connsiteX2" fmla="*/ 35769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3"/>
                    <a:pt x="59845" y="40018"/>
                  </a:cubicBezTo>
                  <a:cubicBezTo>
                    <a:pt x="58429" y="52764"/>
                    <a:pt x="48515" y="61261"/>
                    <a:pt x="35769" y="59845"/>
                  </a:cubicBezTo>
                  <a:cubicBezTo>
                    <a:pt x="23024" y="58429"/>
                    <a:pt x="14527" y="48516"/>
                    <a:pt x="15943" y="35769"/>
                  </a:cubicBezTo>
                  <a:cubicBezTo>
                    <a:pt x="17359" y="23024"/>
                    <a:pt x="27272" y="14527"/>
                    <a:pt x="40018" y="159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19" name="Freeform: Shape 2618">
              <a:extLst>
                <a:ext uri="{FF2B5EF4-FFF2-40B4-BE49-F238E27FC236}">
                  <a16:creationId xmlns:a16="http://schemas.microsoft.com/office/drawing/2014/main" id="{7D24F335-1A61-4415-92AF-ADC2A67EB230}"/>
                </a:ext>
              </a:extLst>
            </p:cNvPr>
            <p:cNvSpPr/>
            <p:nvPr/>
          </p:nvSpPr>
          <p:spPr>
            <a:xfrm>
              <a:off x="6615377" y="4057424"/>
              <a:ext cx="70810" cy="70810"/>
            </a:xfrm>
            <a:custGeom>
              <a:avLst/>
              <a:gdLst>
                <a:gd name="connsiteX0" fmla="*/ 40018 w 70809"/>
                <a:gd name="connsiteY0" fmla="*/ 15943 h 70809"/>
                <a:gd name="connsiteX1" fmla="*/ 59845 w 70809"/>
                <a:gd name="connsiteY1" fmla="*/ 40018 h 70809"/>
                <a:gd name="connsiteX2" fmla="*/ 35770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2"/>
                    <a:pt x="59845" y="40018"/>
                  </a:cubicBezTo>
                  <a:cubicBezTo>
                    <a:pt x="58429" y="52764"/>
                    <a:pt x="48515" y="61261"/>
                    <a:pt x="35770" y="59845"/>
                  </a:cubicBezTo>
                  <a:cubicBezTo>
                    <a:pt x="23024" y="58429"/>
                    <a:pt x="14527" y="48515"/>
                    <a:pt x="15943" y="35769"/>
                  </a:cubicBezTo>
                  <a:cubicBezTo>
                    <a:pt x="17359" y="23024"/>
                    <a:pt x="28689" y="14527"/>
                    <a:pt x="40018" y="159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0" name="Freeform: Shape 2619">
              <a:extLst>
                <a:ext uri="{FF2B5EF4-FFF2-40B4-BE49-F238E27FC236}">
                  <a16:creationId xmlns:a16="http://schemas.microsoft.com/office/drawing/2014/main" id="{FF1CA900-3D52-4945-8E53-5EF697061DAA}"/>
                </a:ext>
              </a:extLst>
            </p:cNvPr>
            <p:cNvSpPr/>
            <p:nvPr/>
          </p:nvSpPr>
          <p:spPr>
            <a:xfrm>
              <a:off x="6898662" y="4418599"/>
              <a:ext cx="84971" cy="84971"/>
            </a:xfrm>
            <a:custGeom>
              <a:avLst/>
              <a:gdLst>
                <a:gd name="connsiteX0" fmla="*/ 49885 w 84971"/>
                <a:gd name="connsiteY0" fmla="*/ 15897 h 84971"/>
                <a:gd name="connsiteX1" fmla="*/ 78209 w 84971"/>
                <a:gd name="connsiteY1" fmla="*/ 49885 h 84971"/>
                <a:gd name="connsiteX2" fmla="*/ 44220 w 84971"/>
                <a:gd name="connsiteY2" fmla="*/ 78209 h 84971"/>
                <a:gd name="connsiteX3" fmla="*/ 15896 w 84971"/>
                <a:gd name="connsiteY3" fmla="*/ 44220 h 84971"/>
                <a:gd name="connsiteX4" fmla="*/ 49885 w 84971"/>
                <a:gd name="connsiteY4" fmla="*/ 1589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9885" y="15897"/>
                  </a:moveTo>
                  <a:cubicBezTo>
                    <a:pt x="66879" y="17313"/>
                    <a:pt x="79625" y="32891"/>
                    <a:pt x="78209" y="49885"/>
                  </a:cubicBezTo>
                  <a:cubicBezTo>
                    <a:pt x="76793" y="66879"/>
                    <a:pt x="61215" y="79625"/>
                    <a:pt x="44220" y="78209"/>
                  </a:cubicBezTo>
                  <a:cubicBezTo>
                    <a:pt x="27226" y="76793"/>
                    <a:pt x="14481" y="61215"/>
                    <a:pt x="15896" y="44220"/>
                  </a:cubicBezTo>
                  <a:cubicBezTo>
                    <a:pt x="17313" y="27226"/>
                    <a:pt x="32891" y="14480"/>
                    <a:pt x="49885" y="1589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1" name="Freeform: Shape 2620">
              <a:extLst>
                <a:ext uri="{FF2B5EF4-FFF2-40B4-BE49-F238E27FC236}">
                  <a16:creationId xmlns:a16="http://schemas.microsoft.com/office/drawing/2014/main" id="{CA28E708-25E7-4C7E-8CFD-9D5E894D741F}"/>
                </a:ext>
              </a:extLst>
            </p:cNvPr>
            <p:cNvSpPr/>
            <p:nvPr/>
          </p:nvSpPr>
          <p:spPr>
            <a:xfrm>
              <a:off x="6238825" y="4687603"/>
              <a:ext cx="56648" cy="56648"/>
            </a:xfrm>
            <a:custGeom>
              <a:avLst/>
              <a:gdLst>
                <a:gd name="connsiteX0" fmla="*/ 35616 w 56647"/>
                <a:gd name="connsiteY0" fmla="*/ 15969 h 56647"/>
                <a:gd name="connsiteX1" fmla="*/ 52610 w 56647"/>
                <a:gd name="connsiteY1" fmla="*/ 35795 h 56647"/>
                <a:gd name="connsiteX2" fmla="*/ 32783 w 56647"/>
                <a:gd name="connsiteY2" fmla="*/ 52790 h 56647"/>
                <a:gd name="connsiteX3" fmla="*/ 15789 w 56647"/>
                <a:gd name="connsiteY3" fmla="*/ 32963 h 56647"/>
                <a:gd name="connsiteX4" fmla="*/ 35616 w 56647"/>
                <a:gd name="connsiteY4" fmla="*/ 1596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616" y="15969"/>
                  </a:moveTo>
                  <a:cubicBezTo>
                    <a:pt x="45529" y="17385"/>
                    <a:pt x="52610" y="25882"/>
                    <a:pt x="52610" y="35795"/>
                  </a:cubicBezTo>
                  <a:cubicBezTo>
                    <a:pt x="51194" y="45709"/>
                    <a:pt x="42697" y="52790"/>
                    <a:pt x="32783" y="52790"/>
                  </a:cubicBezTo>
                  <a:cubicBezTo>
                    <a:pt x="22870" y="51373"/>
                    <a:pt x="15789" y="42876"/>
                    <a:pt x="15789" y="32963"/>
                  </a:cubicBezTo>
                  <a:cubicBezTo>
                    <a:pt x="15789" y="21633"/>
                    <a:pt x="25702" y="14552"/>
                    <a:pt x="35616" y="159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2" name="Freeform: Shape 2621">
              <a:extLst>
                <a:ext uri="{FF2B5EF4-FFF2-40B4-BE49-F238E27FC236}">
                  <a16:creationId xmlns:a16="http://schemas.microsoft.com/office/drawing/2014/main" id="{CA0DE10A-1311-4090-9CC9-2E024D68EE24}"/>
                </a:ext>
              </a:extLst>
            </p:cNvPr>
            <p:cNvSpPr/>
            <p:nvPr/>
          </p:nvSpPr>
          <p:spPr>
            <a:xfrm>
              <a:off x="6196204" y="4428485"/>
              <a:ext cx="70810" cy="70810"/>
            </a:xfrm>
            <a:custGeom>
              <a:avLst/>
              <a:gdLst>
                <a:gd name="connsiteX0" fmla="*/ 44247 w 70809"/>
                <a:gd name="connsiteY0" fmla="*/ 15924 h 70809"/>
                <a:gd name="connsiteX1" fmla="*/ 66906 w 70809"/>
                <a:gd name="connsiteY1" fmla="*/ 44247 h 70809"/>
                <a:gd name="connsiteX2" fmla="*/ 38582 w 70809"/>
                <a:gd name="connsiteY2" fmla="*/ 66906 h 70809"/>
                <a:gd name="connsiteX3" fmla="*/ 15924 w 70809"/>
                <a:gd name="connsiteY3" fmla="*/ 38582 h 70809"/>
                <a:gd name="connsiteX4" fmla="*/ 44247 w 70809"/>
                <a:gd name="connsiteY4" fmla="*/ 15924 h 70809"/>
                <a:gd name="connsiteX5" fmla="*/ 44247 w 70809"/>
                <a:gd name="connsiteY5" fmla="*/ 15924 h 70809"/>
                <a:gd name="connsiteX6" fmla="*/ 44247 w 70809"/>
                <a:gd name="connsiteY6" fmla="*/ 27253 h 70809"/>
                <a:gd name="connsiteX7" fmla="*/ 28669 w 70809"/>
                <a:gd name="connsiteY7" fmla="*/ 39999 h 70809"/>
                <a:gd name="connsiteX8" fmla="*/ 41415 w 70809"/>
                <a:gd name="connsiteY8" fmla="*/ 55577 h 70809"/>
                <a:gd name="connsiteX9" fmla="*/ 56993 w 70809"/>
                <a:gd name="connsiteY9" fmla="*/ 42831 h 70809"/>
                <a:gd name="connsiteX10" fmla="*/ 44247 w 70809"/>
                <a:gd name="connsiteY10" fmla="*/ 27253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247" y="15924"/>
                  </a:moveTo>
                  <a:cubicBezTo>
                    <a:pt x="58409" y="17339"/>
                    <a:pt x="68322" y="30085"/>
                    <a:pt x="66906" y="44247"/>
                  </a:cubicBezTo>
                  <a:cubicBezTo>
                    <a:pt x="65490" y="58409"/>
                    <a:pt x="52744" y="68322"/>
                    <a:pt x="38582" y="66906"/>
                  </a:cubicBezTo>
                  <a:cubicBezTo>
                    <a:pt x="24420" y="65490"/>
                    <a:pt x="14507" y="52744"/>
                    <a:pt x="15924" y="38582"/>
                  </a:cubicBezTo>
                  <a:cubicBezTo>
                    <a:pt x="17339" y="24420"/>
                    <a:pt x="30085" y="14507"/>
                    <a:pt x="44247" y="15924"/>
                  </a:cubicBezTo>
                  <a:lnTo>
                    <a:pt x="44247" y="15924"/>
                  </a:lnTo>
                  <a:close/>
                  <a:moveTo>
                    <a:pt x="44247" y="27253"/>
                  </a:moveTo>
                  <a:cubicBezTo>
                    <a:pt x="35750" y="25837"/>
                    <a:pt x="28669" y="32918"/>
                    <a:pt x="28669" y="39999"/>
                  </a:cubicBezTo>
                  <a:cubicBezTo>
                    <a:pt x="27253" y="48496"/>
                    <a:pt x="34334" y="55577"/>
                    <a:pt x="41415" y="55577"/>
                  </a:cubicBezTo>
                  <a:cubicBezTo>
                    <a:pt x="49912" y="56993"/>
                    <a:pt x="56993" y="49912"/>
                    <a:pt x="56993" y="42831"/>
                  </a:cubicBezTo>
                  <a:cubicBezTo>
                    <a:pt x="56993" y="34334"/>
                    <a:pt x="51328" y="27253"/>
                    <a:pt x="44247" y="2725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3" name="Freeform: Shape 2622">
              <a:extLst>
                <a:ext uri="{FF2B5EF4-FFF2-40B4-BE49-F238E27FC236}">
                  <a16:creationId xmlns:a16="http://schemas.microsoft.com/office/drawing/2014/main" id="{CF6F5222-8B8D-4D54-B7DE-E612A87E67D8}"/>
                </a:ext>
              </a:extLst>
            </p:cNvPr>
            <p:cNvSpPr/>
            <p:nvPr/>
          </p:nvSpPr>
          <p:spPr>
            <a:xfrm>
              <a:off x="6152347" y="4095482"/>
              <a:ext cx="99133" cy="99133"/>
            </a:xfrm>
            <a:custGeom>
              <a:avLst/>
              <a:gdLst>
                <a:gd name="connsiteX0" fmla="*/ 55532 w 99133"/>
                <a:gd name="connsiteY0" fmla="*/ 16122 h 99133"/>
                <a:gd name="connsiteX1" fmla="*/ 89520 w 99133"/>
                <a:gd name="connsiteY1" fmla="*/ 55775 h 99133"/>
                <a:gd name="connsiteX2" fmla="*/ 49867 w 99133"/>
                <a:gd name="connsiteY2" fmla="*/ 89764 h 99133"/>
                <a:gd name="connsiteX3" fmla="*/ 15878 w 99133"/>
                <a:gd name="connsiteY3" fmla="*/ 50110 h 99133"/>
                <a:gd name="connsiteX4" fmla="*/ 55532 w 99133"/>
                <a:gd name="connsiteY4" fmla="*/ 16122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532" y="16122"/>
                  </a:moveTo>
                  <a:cubicBezTo>
                    <a:pt x="75358" y="17538"/>
                    <a:pt x="90936" y="35948"/>
                    <a:pt x="89520" y="55775"/>
                  </a:cubicBezTo>
                  <a:cubicBezTo>
                    <a:pt x="88104" y="75602"/>
                    <a:pt x="69694" y="91180"/>
                    <a:pt x="49867" y="89764"/>
                  </a:cubicBezTo>
                  <a:cubicBezTo>
                    <a:pt x="30040" y="88347"/>
                    <a:pt x="14462" y="69937"/>
                    <a:pt x="15878" y="50110"/>
                  </a:cubicBezTo>
                  <a:cubicBezTo>
                    <a:pt x="17295" y="28868"/>
                    <a:pt x="35705" y="13289"/>
                    <a:pt x="55532" y="1612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4" name="Freeform: Shape 2623">
              <a:extLst>
                <a:ext uri="{FF2B5EF4-FFF2-40B4-BE49-F238E27FC236}">
                  <a16:creationId xmlns:a16="http://schemas.microsoft.com/office/drawing/2014/main" id="{E4CA04E9-C826-442A-87FC-9744082DB924}"/>
                </a:ext>
              </a:extLst>
            </p:cNvPr>
            <p:cNvSpPr/>
            <p:nvPr/>
          </p:nvSpPr>
          <p:spPr>
            <a:xfrm>
              <a:off x="6810812" y="3955477"/>
              <a:ext cx="70810" cy="70810"/>
            </a:xfrm>
            <a:custGeom>
              <a:avLst/>
              <a:gdLst>
                <a:gd name="connsiteX0" fmla="*/ 40018 w 70809"/>
                <a:gd name="connsiteY0" fmla="*/ 15924 h 70809"/>
                <a:gd name="connsiteX1" fmla="*/ 59845 w 70809"/>
                <a:gd name="connsiteY1" fmla="*/ 40000 h 70809"/>
                <a:gd name="connsiteX2" fmla="*/ 35769 w 70809"/>
                <a:gd name="connsiteY2" fmla="*/ 59826 h 70809"/>
                <a:gd name="connsiteX3" fmla="*/ 15943 w 70809"/>
                <a:gd name="connsiteY3" fmla="*/ 35751 h 70809"/>
                <a:gd name="connsiteX4" fmla="*/ 40018 w 70809"/>
                <a:gd name="connsiteY4" fmla="*/ 1592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24"/>
                  </a:moveTo>
                  <a:cubicBezTo>
                    <a:pt x="52764" y="17340"/>
                    <a:pt x="61261" y="27254"/>
                    <a:pt x="59845" y="40000"/>
                  </a:cubicBezTo>
                  <a:cubicBezTo>
                    <a:pt x="58429" y="52745"/>
                    <a:pt x="48515" y="61242"/>
                    <a:pt x="35769" y="59826"/>
                  </a:cubicBezTo>
                  <a:cubicBezTo>
                    <a:pt x="23024" y="58410"/>
                    <a:pt x="14527" y="48497"/>
                    <a:pt x="15943" y="35751"/>
                  </a:cubicBezTo>
                  <a:cubicBezTo>
                    <a:pt x="17359" y="24421"/>
                    <a:pt x="28689" y="14508"/>
                    <a:pt x="40018" y="1592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5" name="Freeform: Shape 2624">
              <a:extLst>
                <a:ext uri="{FF2B5EF4-FFF2-40B4-BE49-F238E27FC236}">
                  <a16:creationId xmlns:a16="http://schemas.microsoft.com/office/drawing/2014/main" id="{8C88A447-1238-4A4A-A01C-71FFF59961CA}"/>
                </a:ext>
              </a:extLst>
            </p:cNvPr>
            <p:cNvSpPr/>
            <p:nvPr/>
          </p:nvSpPr>
          <p:spPr>
            <a:xfrm>
              <a:off x="6640933" y="4375888"/>
              <a:ext cx="99133" cy="99133"/>
            </a:xfrm>
            <a:custGeom>
              <a:avLst/>
              <a:gdLst>
                <a:gd name="connsiteX0" fmla="*/ 55532 w 99133"/>
                <a:gd name="connsiteY0" fmla="*/ 16122 h 99133"/>
                <a:gd name="connsiteX1" fmla="*/ 89520 w 99133"/>
                <a:gd name="connsiteY1" fmla="*/ 55775 h 99133"/>
                <a:gd name="connsiteX2" fmla="*/ 49867 w 99133"/>
                <a:gd name="connsiteY2" fmla="*/ 89764 h 99133"/>
                <a:gd name="connsiteX3" fmla="*/ 15878 w 99133"/>
                <a:gd name="connsiteY3" fmla="*/ 50110 h 99133"/>
                <a:gd name="connsiteX4" fmla="*/ 55532 w 99133"/>
                <a:gd name="connsiteY4" fmla="*/ 16122 h 99133"/>
                <a:gd name="connsiteX5" fmla="*/ 55532 w 99133"/>
                <a:gd name="connsiteY5" fmla="*/ 16122 h 99133"/>
                <a:gd name="connsiteX6" fmla="*/ 54115 w 99133"/>
                <a:gd name="connsiteY6" fmla="*/ 31700 h 99133"/>
                <a:gd name="connsiteX7" fmla="*/ 31457 w 99133"/>
                <a:gd name="connsiteY7" fmla="*/ 50110 h 99133"/>
                <a:gd name="connsiteX8" fmla="*/ 49867 w 99133"/>
                <a:gd name="connsiteY8" fmla="*/ 72770 h 99133"/>
                <a:gd name="connsiteX9" fmla="*/ 72526 w 99133"/>
                <a:gd name="connsiteY9" fmla="*/ 54359 h 99133"/>
                <a:gd name="connsiteX10" fmla="*/ 54115 w 99133"/>
                <a:gd name="connsiteY10" fmla="*/ 31700 h 9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3" h="99133">
                  <a:moveTo>
                    <a:pt x="55532" y="16122"/>
                  </a:moveTo>
                  <a:cubicBezTo>
                    <a:pt x="75358" y="17538"/>
                    <a:pt x="90936" y="35948"/>
                    <a:pt x="89520" y="55775"/>
                  </a:cubicBezTo>
                  <a:cubicBezTo>
                    <a:pt x="88104" y="75602"/>
                    <a:pt x="69694" y="91180"/>
                    <a:pt x="49867" y="89764"/>
                  </a:cubicBezTo>
                  <a:cubicBezTo>
                    <a:pt x="30040" y="88348"/>
                    <a:pt x="14462" y="69937"/>
                    <a:pt x="15878" y="50110"/>
                  </a:cubicBezTo>
                  <a:cubicBezTo>
                    <a:pt x="17295" y="28868"/>
                    <a:pt x="35705" y="13289"/>
                    <a:pt x="55532" y="16122"/>
                  </a:cubicBezTo>
                  <a:lnTo>
                    <a:pt x="55532" y="16122"/>
                  </a:lnTo>
                  <a:close/>
                  <a:moveTo>
                    <a:pt x="54115" y="31700"/>
                  </a:moveTo>
                  <a:cubicBezTo>
                    <a:pt x="42786" y="30284"/>
                    <a:pt x="32873" y="38781"/>
                    <a:pt x="31457" y="50110"/>
                  </a:cubicBezTo>
                  <a:cubicBezTo>
                    <a:pt x="30040" y="61440"/>
                    <a:pt x="38538" y="71353"/>
                    <a:pt x="49867" y="72770"/>
                  </a:cubicBezTo>
                  <a:cubicBezTo>
                    <a:pt x="61196" y="74186"/>
                    <a:pt x="71110" y="65689"/>
                    <a:pt x="72526" y="54359"/>
                  </a:cubicBezTo>
                  <a:cubicBezTo>
                    <a:pt x="73942" y="43029"/>
                    <a:pt x="65445" y="33116"/>
                    <a:pt x="54115" y="3170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6" name="Freeform: Shape 2625">
              <a:extLst>
                <a:ext uri="{FF2B5EF4-FFF2-40B4-BE49-F238E27FC236}">
                  <a16:creationId xmlns:a16="http://schemas.microsoft.com/office/drawing/2014/main" id="{9DB682E7-82AA-4556-B065-B54F77178250}"/>
                </a:ext>
              </a:extLst>
            </p:cNvPr>
            <p:cNvSpPr/>
            <p:nvPr/>
          </p:nvSpPr>
          <p:spPr>
            <a:xfrm>
              <a:off x="6292640" y="4534834"/>
              <a:ext cx="42486" cy="42486"/>
            </a:xfrm>
            <a:custGeom>
              <a:avLst/>
              <a:gdLst>
                <a:gd name="connsiteX0" fmla="*/ 25703 w 42485"/>
                <a:gd name="connsiteY0" fmla="*/ 15789 h 42485"/>
                <a:gd name="connsiteX1" fmla="*/ 34199 w 42485"/>
                <a:gd name="connsiteY1" fmla="*/ 25702 h 42485"/>
                <a:gd name="connsiteX2" fmla="*/ 24286 w 42485"/>
                <a:gd name="connsiteY2" fmla="*/ 34199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31367" y="15789"/>
                    <a:pt x="34199" y="20037"/>
                    <a:pt x="34199" y="25702"/>
                  </a:cubicBezTo>
                  <a:cubicBezTo>
                    <a:pt x="34199" y="31367"/>
                    <a:pt x="28535" y="34199"/>
                    <a:pt x="24286" y="34199"/>
                  </a:cubicBezTo>
                  <a:cubicBezTo>
                    <a:pt x="18622" y="34199"/>
                    <a:pt x="15789" y="28535"/>
                    <a:pt x="15789" y="24286"/>
                  </a:cubicBezTo>
                  <a:cubicBezTo>
                    <a:pt x="15789" y="18621"/>
                    <a:pt x="20037" y="15789"/>
                    <a:pt x="25703"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7" name="Freeform: Shape 2626">
              <a:extLst>
                <a:ext uri="{FF2B5EF4-FFF2-40B4-BE49-F238E27FC236}">
                  <a16:creationId xmlns:a16="http://schemas.microsoft.com/office/drawing/2014/main" id="{4D87BEFA-90BC-45C4-A174-36B16C788D4E}"/>
                </a:ext>
              </a:extLst>
            </p:cNvPr>
            <p:cNvSpPr/>
            <p:nvPr/>
          </p:nvSpPr>
          <p:spPr>
            <a:xfrm>
              <a:off x="6432843" y="3891609"/>
              <a:ext cx="42486" cy="42486"/>
            </a:xfrm>
            <a:custGeom>
              <a:avLst/>
              <a:gdLst>
                <a:gd name="connsiteX0" fmla="*/ 25703 w 42485"/>
                <a:gd name="connsiteY0" fmla="*/ 16064 h 42485"/>
                <a:gd name="connsiteX1" fmla="*/ 34200 w 42485"/>
                <a:gd name="connsiteY1" fmla="*/ 25977 h 42485"/>
                <a:gd name="connsiteX2" fmla="*/ 24286 w 42485"/>
                <a:gd name="connsiteY2" fmla="*/ 34474 h 42485"/>
                <a:gd name="connsiteX3" fmla="*/ 15789 w 42485"/>
                <a:gd name="connsiteY3" fmla="*/ 24561 h 42485"/>
                <a:gd name="connsiteX4" fmla="*/ 25703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4"/>
                  </a:moveTo>
                  <a:cubicBezTo>
                    <a:pt x="31367" y="16064"/>
                    <a:pt x="34200" y="21728"/>
                    <a:pt x="34200" y="25977"/>
                  </a:cubicBezTo>
                  <a:cubicBezTo>
                    <a:pt x="34200" y="31641"/>
                    <a:pt x="28535" y="34474"/>
                    <a:pt x="24286" y="34474"/>
                  </a:cubicBezTo>
                  <a:cubicBezTo>
                    <a:pt x="18622" y="34474"/>
                    <a:pt x="15789" y="28809"/>
                    <a:pt x="15789" y="24561"/>
                  </a:cubicBezTo>
                  <a:cubicBezTo>
                    <a:pt x="15789" y="18896"/>
                    <a:pt x="20038" y="14647"/>
                    <a:pt x="25703" y="160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8" name="Freeform: Shape 2627">
              <a:extLst>
                <a:ext uri="{FF2B5EF4-FFF2-40B4-BE49-F238E27FC236}">
                  <a16:creationId xmlns:a16="http://schemas.microsoft.com/office/drawing/2014/main" id="{44DAA6F5-A75D-48A7-B6D7-65A5C0344B2D}"/>
                </a:ext>
              </a:extLst>
            </p:cNvPr>
            <p:cNvSpPr/>
            <p:nvPr/>
          </p:nvSpPr>
          <p:spPr>
            <a:xfrm>
              <a:off x="6890118" y="4564419"/>
              <a:ext cx="56648" cy="56648"/>
            </a:xfrm>
            <a:custGeom>
              <a:avLst/>
              <a:gdLst>
                <a:gd name="connsiteX0" fmla="*/ 35771 w 56647"/>
                <a:gd name="connsiteY0" fmla="*/ 15944 h 56647"/>
                <a:gd name="connsiteX1" fmla="*/ 52765 w 56647"/>
                <a:gd name="connsiteY1" fmla="*/ 35771 h 56647"/>
                <a:gd name="connsiteX2" fmla="*/ 32938 w 56647"/>
                <a:gd name="connsiteY2" fmla="*/ 52765 h 56647"/>
                <a:gd name="connsiteX3" fmla="*/ 15944 w 56647"/>
                <a:gd name="connsiteY3" fmla="*/ 32938 h 56647"/>
                <a:gd name="connsiteX4" fmla="*/ 35771 w 56647"/>
                <a:gd name="connsiteY4" fmla="*/ 1594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44"/>
                  </a:moveTo>
                  <a:cubicBezTo>
                    <a:pt x="45684" y="17360"/>
                    <a:pt x="54181" y="25857"/>
                    <a:pt x="52765" y="35771"/>
                  </a:cubicBezTo>
                  <a:cubicBezTo>
                    <a:pt x="51349" y="45684"/>
                    <a:pt x="42852" y="54181"/>
                    <a:pt x="32938" y="52765"/>
                  </a:cubicBezTo>
                  <a:cubicBezTo>
                    <a:pt x="23025" y="51349"/>
                    <a:pt x="14528" y="42852"/>
                    <a:pt x="15944" y="32938"/>
                  </a:cubicBezTo>
                  <a:cubicBezTo>
                    <a:pt x="15944" y="23025"/>
                    <a:pt x="24441" y="14528"/>
                    <a:pt x="35771" y="1594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29" name="Freeform: Shape 2628">
              <a:extLst>
                <a:ext uri="{FF2B5EF4-FFF2-40B4-BE49-F238E27FC236}">
                  <a16:creationId xmlns:a16="http://schemas.microsoft.com/office/drawing/2014/main" id="{7D15DA89-B92A-41F7-85D9-241FDB6D8F5C}"/>
                </a:ext>
              </a:extLst>
            </p:cNvPr>
            <p:cNvSpPr/>
            <p:nvPr/>
          </p:nvSpPr>
          <p:spPr>
            <a:xfrm>
              <a:off x="6235872" y="3761474"/>
              <a:ext cx="84971" cy="84971"/>
            </a:xfrm>
            <a:custGeom>
              <a:avLst/>
              <a:gdLst>
                <a:gd name="connsiteX0" fmla="*/ 45649 w 84971"/>
                <a:gd name="connsiteY0" fmla="*/ 15909 h 84971"/>
                <a:gd name="connsiteX1" fmla="*/ 69724 w 84971"/>
                <a:gd name="connsiteY1" fmla="*/ 45649 h 84971"/>
                <a:gd name="connsiteX2" fmla="*/ 39984 w 84971"/>
                <a:gd name="connsiteY2" fmla="*/ 69724 h 84971"/>
                <a:gd name="connsiteX3" fmla="*/ 15909 w 84971"/>
                <a:gd name="connsiteY3" fmla="*/ 39984 h 84971"/>
                <a:gd name="connsiteX4" fmla="*/ 45649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9" y="15909"/>
                  </a:moveTo>
                  <a:cubicBezTo>
                    <a:pt x="59811" y="17325"/>
                    <a:pt x="71140" y="30071"/>
                    <a:pt x="69724" y="45649"/>
                  </a:cubicBezTo>
                  <a:cubicBezTo>
                    <a:pt x="68308" y="59811"/>
                    <a:pt x="55562" y="71140"/>
                    <a:pt x="39984" y="69724"/>
                  </a:cubicBezTo>
                  <a:cubicBezTo>
                    <a:pt x="25822" y="68308"/>
                    <a:pt x="14493" y="55562"/>
                    <a:pt x="15909" y="39984"/>
                  </a:cubicBezTo>
                  <a:cubicBezTo>
                    <a:pt x="17325" y="25822"/>
                    <a:pt x="30071" y="14493"/>
                    <a:pt x="45649" y="1590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0" name="Freeform: Shape 2629">
              <a:extLst>
                <a:ext uri="{FF2B5EF4-FFF2-40B4-BE49-F238E27FC236}">
                  <a16:creationId xmlns:a16="http://schemas.microsoft.com/office/drawing/2014/main" id="{7CA3AEEE-EAC3-4575-8DC6-FF8CFF2F14F3}"/>
                </a:ext>
              </a:extLst>
            </p:cNvPr>
            <p:cNvSpPr/>
            <p:nvPr/>
          </p:nvSpPr>
          <p:spPr>
            <a:xfrm>
              <a:off x="6240240" y="4160685"/>
              <a:ext cx="42486" cy="42486"/>
            </a:xfrm>
            <a:custGeom>
              <a:avLst/>
              <a:gdLst>
                <a:gd name="connsiteX0" fmla="*/ 25703 w 42485"/>
                <a:gd name="connsiteY0" fmla="*/ 16063 h 42485"/>
                <a:gd name="connsiteX1" fmla="*/ 34200 w 42485"/>
                <a:gd name="connsiteY1" fmla="*/ 25977 h 42485"/>
                <a:gd name="connsiteX2" fmla="*/ 24286 w 42485"/>
                <a:gd name="connsiteY2" fmla="*/ 34474 h 42485"/>
                <a:gd name="connsiteX3" fmla="*/ 15789 w 42485"/>
                <a:gd name="connsiteY3" fmla="*/ 24561 h 42485"/>
                <a:gd name="connsiteX4" fmla="*/ 25703 w 42485"/>
                <a:gd name="connsiteY4" fmla="*/ 1606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3"/>
                  </a:moveTo>
                  <a:cubicBezTo>
                    <a:pt x="31367" y="16063"/>
                    <a:pt x="34200" y="21728"/>
                    <a:pt x="34200" y="25977"/>
                  </a:cubicBezTo>
                  <a:cubicBezTo>
                    <a:pt x="34200" y="31642"/>
                    <a:pt x="28535" y="34474"/>
                    <a:pt x="24286" y="34474"/>
                  </a:cubicBezTo>
                  <a:cubicBezTo>
                    <a:pt x="20038" y="34474"/>
                    <a:pt x="15789" y="28809"/>
                    <a:pt x="15789" y="24561"/>
                  </a:cubicBezTo>
                  <a:cubicBezTo>
                    <a:pt x="17205" y="18896"/>
                    <a:pt x="21454" y="14648"/>
                    <a:pt x="25703" y="1606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1" name="Freeform: Shape 2630">
              <a:extLst>
                <a:ext uri="{FF2B5EF4-FFF2-40B4-BE49-F238E27FC236}">
                  <a16:creationId xmlns:a16="http://schemas.microsoft.com/office/drawing/2014/main" id="{7D04A7A6-D743-40B6-8280-B724C70720A1}"/>
                </a:ext>
              </a:extLst>
            </p:cNvPr>
            <p:cNvSpPr/>
            <p:nvPr/>
          </p:nvSpPr>
          <p:spPr>
            <a:xfrm>
              <a:off x="6608296" y="4337830"/>
              <a:ext cx="70810" cy="70810"/>
            </a:xfrm>
            <a:custGeom>
              <a:avLst/>
              <a:gdLst>
                <a:gd name="connsiteX0" fmla="*/ 40018 w 70809"/>
                <a:gd name="connsiteY0" fmla="*/ 15943 h 70809"/>
                <a:gd name="connsiteX1" fmla="*/ 59845 w 70809"/>
                <a:gd name="connsiteY1" fmla="*/ 40018 h 70809"/>
                <a:gd name="connsiteX2" fmla="*/ 35770 w 70809"/>
                <a:gd name="connsiteY2" fmla="*/ 59845 h 70809"/>
                <a:gd name="connsiteX3" fmla="*/ 15943 w 70809"/>
                <a:gd name="connsiteY3" fmla="*/ 35770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3"/>
                    <a:pt x="59845" y="40018"/>
                  </a:cubicBezTo>
                  <a:cubicBezTo>
                    <a:pt x="58429" y="52764"/>
                    <a:pt x="48515" y="61261"/>
                    <a:pt x="35770" y="59845"/>
                  </a:cubicBezTo>
                  <a:cubicBezTo>
                    <a:pt x="23024" y="58429"/>
                    <a:pt x="14527" y="48515"/>
                    <a:pt x="15943" y="35770"/>
                  </a:cubicBezTo>
                  <a:cubicBezTo>
                    <a:pt x="17359" y="23024"/>
                    <a:pt x="27273" y="14527"/>
                    <a:pt x="40018" y="159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2" name="Freeform: Shape 2631">
              <a:extLst>
                <a:ext uri="{FF2B5EF4-FFF2-40B4-BE49-F238E27FC236}">
                  <a16:creationId xmlns:a16="http://schemas.microsoft.com/office/drawing/2014/main" id="{96CB61AC-F805-461F-97CE-9FE744506E09}"/>
                </a:ext>
              </a:extLst>
            </p:cNvPr>
            <p:cNvSpPr/>
            <p:nvPr/>
          </p:nvSpPr>
          <p:spPr>
            <a:xfrm>
              <a:off x="6516217" y="3733270"/>
              <a:ext cx="56648" cy="56648"/>
            </a:xfrm>
            <a:custGeom>
              <a:avLst/>
              <a:gdLst>
                <a:gd name="connsiteX0" fmla="*/ 35796 w 56647"/>
                <a:gd name="connsiteY0" fmla="*/ 15789 h 56647"/>
                <a:gd name="connsiteX1" fmla="*/ 51374 w 56647"/>
                <a:gd name="connsiteY1" fmla="*/ 35616 h 56647"/>
                <a:gd name="connsiteX2" fmla="*/ 31548 w 56647"/>
                <a:gd name="connsiteY2" fmla="*/ 51194 h 56647"/>
                <a:gd name="connsiteX3" fmla="*/ 15969 w 56647"/>
                <a:gd name="connsiteY3" fmla="*/ 31367 h 56647"/>
                <a:gd name="connsiteX4" fmla="*/ 35796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96" y="15789"/>
                  </a:moveTo>
                  <a:cubicBezTo>
                    <a:pt x="45709" y="17205"/>
                    <a:pt x="52790" y="25702"/>
                    <a:pt x="51374" y="35616"/>
                  </a:cubicBezTo>
                  <a:cubicBezTo>
                    <a:pt x="49958" y="45529"/>
                    <a:pt x="41461" y="52610"/>
                    <a:pt x="31548" y="51194"/>
                  </a:cubicBezTo>
                  <a:cubicBezTo>
                    <a:pt x="21634" y="49777"/>
                    <a:pt x="14554" y="41280"/>
                    <a:pt x="15969" y="31367"/>
                  </a:cubicBezTo>
                  <a:cubicBezTo>
                    <a:pt x="18802" y="22870"/>
                    <a:pt x="27299" y="15789"/>
                    <a:pt x="35796"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3" name="Freeform: Shape 2632">
              <a:extLst>
                <a:ext uri="{FF2B5EF4-FFF2-40B4-BE49-F238E27FC236}">
                  <a16:creationId xmlns:a16="http://schemas.microsoft.com/office/drawing/2014/main" id="{3BAE7CBA-4C1A-4D74-B084-9BDFBA937E2E}"/>
                </a:ext>
              </a:extLst>
            </p:cNvPr>
            <p:cNvSpPr/>
            <p:nvPr/>
          </p:nvSpPr>
          <p:spPr>
            <a:xfrm>
              <a:off x="6149604" y="4286726"/>
              <a:ext cx="42486" cy="42486"/>
            </a:xfrm>
            <a:custGeom>
              <a:avLst/>
              <a:gdLst>
                <a:gd name="connsiteX0" fmla="*/ 25703 w 42485"/>
                <a:gd name="connsiteY0" fmla="*/ 16064 h 42485"/>
                <a:gd name="connsiteX1" fmla="*/ 34200 w 42485"/>
                <a:gd name="connsiteY1" fmla="*/ 25977 h 42485"/>
                <a:gd name="connsiteX2" fmla="*/ 24286 w 42485"/>
                <a:gd name="connsiteY2" fmla="*/ 34474 h 42485"/>
                <a:gd name="connsiteX3" fmla="*/ 15789 w 42485"/>
                <a:gd name="connsiteY3" fmla="*/ 24560 h 42485"/>
                <a:gd name="connsiteX4" fmla="*/ 25703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4"/>
                  </a:moveTo>
                  <a:cubicBezTo>
                    <a:pt x="31367" y="16064"/>
                    <a:pt x="34200" y="20312"/>
                    <a:pt x="34200" y="25977"/>
                  </a:cubicBezTo>
                  <a:cubicBezTo>
                    <a:pt x="34200" y="31641"/>
                    <a:pt x="28535" y="34474"/>
                    <a:pt x="24286" y="34474"/>
                  </a:cubicBezTo>
                  <a:cubicBezTo>
                    <a:pt x="18622" y="34474"/>
                    <a:pt x="15789" y="28809"/>
                    <a:pt x="15789" y="24560"/>
                  </a:cubicBezTo>
                  <a:cubicBezTo>
                    <a:pt x="15789" y="18896"/>
                    <a:pt x="20038" y="14647"/>
                    <a:pt x="25703" y="160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4" name="Freeform: Shape 2633">
              <a:extLst>
                <a:ext uri="{FF2B5EF4-FFF2-40B4-BE49-F238E27FC236}">
                  <a16:creationId xmlns:a16="http://schemas.microsoft.com/office/drawing/2014/main" id="{CC9D170D-61F5-410E-BEFE-E6D7ADA9FAAF}"/>
                </a:ext>
              </a:extLst>
            </p:cNvPr>
            <p:cNvSpPr/>
            <p:nvPr/>
          </p:nvSpPr>
          <p:spPr>
            <a:xfrm>
              <a:off x="6202004" y="3959861"/>
              <a:ext cx="28324" cy="28324"/>
            </a:xfrm>
            <a:custGeom>
              <a:avLst/>
              <a:gdLst>
                <a:gd name="connsiteX0" fmla="*/ 21454 w 28323"/>
                <a:gd name="connsiteY0" fmla="*/ 15789 h 28323"/>
                <a:gd name="connsiteX1" fmla="*/ 25702 w 28323"/>
                <a:gd name="connsiteY1" fmla="*/ 21454 h 28323"/>
                <a:gd name="connsiteX2" fmla="*/ 20037 w 28323"/>
                <a:gd name="connsiteY2" fmla="*/ 25702 h 28323"/>
                <a:gd name="connsiteX3" fmla="*/ 15789 w 28323"/>
                <a:gd name="connsiteY3" fmla="*/ 20037 h 28323"/>
                <a:gd name="connsiteX4" fmla="*/ 21454 w 28323"/>
                <a:gd name="connsiteY4" fmla="*/ 15789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1454" y="15789"/>
                  </a:moveTo>
                  <a:cubicBezTo>
                    <a:pt x="24286" y="15789"/>
                    <a:pt x="25702" y="18621"/>
                    <a:pt x="25702" y="21454"/>
                  </a:cubicBezTo>
                  <a:cubicBezTo>
                    <a:pt x="25702" y="24286"/>
                    <a:pt x="22870" y="25702"/>
                    <a:pt x="20037" y="25702"/>
                  </a:cubicBezTo>
                  <a:cubicBezTo>
                    <a:pt x="17205" y="25702"/>
                    <a:pt x="15789" y="22870"/>
                    <a:pt x="15789" y="20037"/>
                  </a:cubicBezTo>
                  <a:cubicBezTo>
                    <a:pt x="15789" y="17205"/>
                    <a:pt x="18621" y="15789"/>
                    <a:pt x="21454"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5" name="Freeform: Shape 2634">
              <a:extLst>
                <a:ext uri="{FF2B5EF4-FFF2-40B4-BE49-F238E27FC236}">
                  <a16:creationId xmlns:a16="http://schemas.microsoft.com/office/drawing/2014/main" id="{63F928D6-08D4-45FE-8B24-26B843586A12}"/>
                </a:ext>
              </a:extLst>
            </p:cNvPr>
            <p:cNvSpPr/>
            <p:nvPr/>
          </p:nvSpPr>
          <p:spPr>
            <a:xfrm>
              <a:off x="6710416" y="4224688"/>
              <a:ext cx="28324" cy="28324"/>
            </a:xfrm>
            <a:custGeom>
              <a:avLst/>
              <a:gdLst>
                <a:gd name="connsiteX0" fmla="*/ 21454 w 28323"/>
                <a:gd name="connsiteY0" fmla="*/ 15789 h 28323"/>
                <a:gd name="connsiteX1" fmla="*/ 25703 w 28323"/>
                <a:gd name="connsiteY1" fmla="*/ 21454 h 28323"/>
                <a:gd name="connsiteX2" fmla="*/ 20037 w 28323"/>
                <a:gd name="connsiteY2" fmla="*/ 25703 h 28323"/>
                <a:gd name="connsiteX3" fmla="*/ 15789 w 28323"/>
                <a:gd name="connsiteY3" fmla="*/ 20038 h 28323"/>
                <a:gd name="connsiteX4" fmla="*/ 21454 w 28323"/>
                <a:gd name="connsiteY4" fmla="*/ 15789 h 28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3" h="28323">
                  <a:moveTo>
                    <a:pt x="21454" y="15789"/>
                  </a:moveTo>
                  <a:cubicBezTo>
                    <a:pt x="24286" y="15789"/>
                    <a:pt x="25703" y="18622"/>
                    <a:pt x="25703" y="21454"/>
                  </a:cubicBezTo>
                  <a:cubicBezTo>
                    <a:pt x="25703" y="24286"/>
                    <a:pt x="22870" y="25703"/>
                    <a:pt x="20037" y="25703"/>
                  </a:cubicBezTo>
                  <a:cubicBezTo>
                    <a:pt x="17205" y="25703"/>
                    <a:pt x="15789" y="22870"/>
                    <a:pt x="15789" y="20038"/>
                  </a:cubicBezTo>
                  <a:cubicBezTo>
                    <a:pt x="17205" y="17205"/>
                    <a:pt x="18622" y="15789"/>
                    <a:pt x="21454"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6" name="Freeform: Shape 2635">
              <a:extLst>
                <a:ext uri="{FF2B5EF4-FFF2-40B4-BE49-F238E27FC236}">
                  <a16:creationId xmlns:a16="http://schemas.microsoft.com/office/drawing/2014/main" id="{A3182B61-E041-4AF7-9DBA-E1865795A369}"/>
                </a:ext>
              </a:extLst>
            </p:cNvPr>
            <p:cNvSpPr/>
            <p:nvPr/>
          </p:nvSpPr>
          <p:spPr>
            <a:xfrm>
              <a:off x="6626861" y="4490661"/>
              <a:ext cx="42486" cy="42486"/>
            </a:xfrm>
            <a:custGeom>
              <a:avLst/>
              <a:gdLst>
                <a:gd name="connsiteX0" fmla="*/ 27118 w 42485"/>
                <a:gd name="connsiteY0" fmla="*/ 16060 h 42485"/>
                <a:gd name="connsiteX1" fmla="*/ 37032 w 42485"/>
                <a:gd name="connsiteY1" fmla="*/ 27390 h 42485"/>
                <a:gd name="connsiteX2" fmla="*/ 25702 w 42485"/>
                <a:gd name="connsiteY2" fmla="*/ 37303 h 42485"/>
                <a:gd name="connsiteX3" fmla="*/ 15789 w 42485"/>
                <a:gd name="connsiteY3" fmla="*/ 25973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4"/>
                    <a:pt x="31367" y="37303"/>
                    <a:pt x="25702" y="37303"/>
                  </a:cubicBezTo>
                  <a:cubicBezTo>
                    <a:pt x="20037" y="37303"/>
                    <a:pt x="15789" y="31639"/>
                    <a:pt x="15789" y="25973"/>
                  </a:cubicBezTo>
                  <a:cubicBezTo>
                    <a:pt x="15789" y="18893"/>
                    <a:pt x="20037" y="14644"/>
                    <a:pt x="27118"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7" name="Freeform: Shape 2636">
              <a:extLst>
                <a:ext uri="{FF2B5EF4-FFF2-40B4-BE49-F238E27FC236}">
                  <a16:creationId xmlns:a16="http://schemas.microsoft.com/office/drawing/2014/main" id="{5F470E7D-0E91-4B3A-B779-3B68AC62F448}"/>
                </a:ext>
              </a:extLst>
            </p:cNvPr>
            <p:cNvSpPr/>
            <p:nvPr/>
          </p:nvSpPr>
          <p:spPr>
            <a:xfrm>
              <a:off x="6090125" y="4490932"/>
              <a:ext cx="42486" cy="42486"/>
            </a:xfrm>
            <a:custGeom>
              <a:avLst/>
              <a:gdLst>
                <a:gd name="connsiteX0" fmla="*/ 27118 w 42485"/>
                <a:gd name="connsiteY0" fmla="*/ 15789 h 42485"/>
                <a:gd name="connsiteX1" fmla="*/ 37032 w 42485"/>
                <a:gd name="connsiteY1" fmla="*/ 27118 h 42485"/>
                <a:gd name="connsiteX2" fmla="*/ 25702 w 42485"/>
                <a:gd name="connsiteY2" fmla="*/ 37032 h 42485"/>
                <a:gd name="connsiteX3" fmla="*/ 15789 w 42485"/>
                <a:gd name="connsiteY3" fmla="*/ 25702 h 42485"/>
                <a:gd name="connsiteX4" fmla="*/ 2711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5789"/>
                  </a:moveTo>
                  <a:cubicBezTo>
                    <a:pt x="32783" y="15789"/>
                    <a:pt x="37032" y="21454"/>
                    <a:pt x="37032" y="27118"/>
                  </a:cubicBezTo>
                  <a:cubicBezTo>
                    <a:pt x="37032" y="32783"/>
                    <a:pt x="31367" y="37032"/>
                    <a:pt x="25702" y="37032"/>
                  </a:cubicBezTo>
                  <a:cubicBezTo>
                    <a:pt x="20037" y="37032"/>
                    <a:pt x="15789" y="31367"/>
                    <a:pt x="15789" y="25702"/>
                  </a:cubicBezTo>
                  <a:cubicBezTo>
                    <a:pt x="15789" y="20037"/>
                    <a:pt x="20037" y="15789"/>
                    <a:pt x="2711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8" name="Freeform: Shape 2637">
              <a:extLst>
                <a:ext uri="{FF2B5EF4-FFF2-40B4-BE49-F238E27FC236}">
                  <a16:creationId xmlns:a16="http://schemas.microsoft.com/office/drawing/2014/main" id="{58B36DFC-91C6-4063-B609-3775FB7BA0E3}"/>
                </a:ext>
              </a:extLst>
            </p:cNvPr>
            <p:cNvSpPr/>
            <p:nvPr/>
          </p:nvSpPr>
          <p:spPr>
            <a:xfrm>
              <a:off x="6554635" y="4190428"/>
              <a:ext cx="42486" cy="42486"/>
            </a:xfrm>
            <a:custGeom>
              <a:avLst/>
              <a:gdLst>
                <a:gd name="connsiteX0" fmla="*/ 27118 w 42485"/>
                <a:gd name="connsiteY0" fmla="*/ 16060 h 42485"/>
                <a:gd name="connsiteX1" fmla="*/ 37032 w 42485"/>
                <a:gd name="connsiteY1" fmla="*/ 27390 h 42485"/>
                <a:gd name="connsiteX2" fmla="*/ 25703 w 42485"/>
                <a:gd name="connsiteY2" fmla="*/ 37303 h 42485"/>
                <a:gd name="connsiteX3" fmla="*/ 15789 w 42485"/>
                <a:gd name="connsiteY3" fmla="*/ 25974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5"/>
                    <a:pt x="31367" y="37303"/>
                    <a:pt x="25703" y="37303"/>
                  </a:cubicBezTo>
                  <a:cubicBezTo>
                    <a:pt x="20037" y="37303"/>
                    <a:pt x="15789" y="31639"/>
                    <a:pt x="15789" y="25974"/>
                  </a:cubicBezTo>
                  <a:cubicBezTo>
                    <a:pt x="15789" y="18893"/>
                    <a:pt x="21454" y="14644"/>
                    <a:pt x="27118"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39" name="Freeform: Shape 2638">
              <a:extLst>
                <a:ext uri="{FF2B5EF4-FFF2-40B4-BE49-F238E27FC236}">
                  <a16:creationId xmlns:a16="http://schemas.microsoft.com/office/drawing/2014/main" id="{2EA11A7E-C5D0-41D8-94E0-6615A6F72072}"/>
                </a:ext>
              </a:extLst>
            </p:cNvPr>
            <p:cNvSpPr/>
            <p:nvPr/>
          </p:nvSpPr>
          <p:spPr>
            <a:xfrm>
              <a:off x="6234576" y="3939763"/>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4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5"/>
                    <a:pt x="31367" y="37303"/>
                    <a:pt x="25703" y="37303"/>
                  </a:cubicBezTo>
                  <a:cubicBezTo>
                    <a:pt x="20038" y="37303"/>
                    <a:pt x="15789" y="31638"/>
                    <a:pt x="15789" y="25974"/>
                  </a:cubicBezTo>
                  <a:cubicBezTo>
                    <a:pt x="15789" y="18893"/>
                    <a:pt x="21454" y="14644"/>
                    <a:pt x="27119"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0" name="Freeform: Shape 2639">
              <a:extLst>
                <a:ext uri="{FF2B5EF4-FFF2-40B4-BE49-F238E27FC236}">
                  <a16:creationId xmlns:a16="http://schemas.microsoft.com/office/drawing/2014/main" id="{E3744CE5-B57F-4230-82B3-91FE5887CAB4}"/>
                </a:ext>
              </a:extLst>
            </p:cNvPr>
            <p:cNvSpPr/>
            <p:nvPr/>
          </p:nvSpPr>
          <p:spPr>
            <a:xfrm>
              <a:off x="6689173" y="3809744"/>
              <a:ext cx="42486" cy="42486"/>
            </a:xfrm>
            <a:custGeom>
              <a:avLst/>
              <a:gdLst>
                <a:gd name="connsiteX0" fmla="*/ 25703 w 42485"/>
                <a:gd name="connsiteY0" fmla="*/ 15789 h 42485"/>
                <a:gd name="connsiteX1" fmla="*/ 34199 w 42485"/>
                <a:gd name="connsiteY1" fmla="*/ 25702 h 42485"/>
                <a:gd name="connsiteX2" fmla="*/ 24286 w 42485"/>
                <a:gd name="connsiteY2" fmla="*/ 34200 h 42485"/>
                <a:gd name="connsiteX3" fmla="*/ 15789 w 42485"/>
                <a:gd name="connsiteY3" fmla="*/ 24286 h 42485"/>
                <a:gd name="connsiteX4" fmla="*/ 25703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5789"/>
                  </a:moveTo>
                  <a:cubicBezTo>
                    <a:pt x="31367" y="15789"/>
                    <a:pt x="34199" y="21454"/>
                    <a:pt x="34199" y="25702"/>
                  </a:cubicBezTo>
                  <a:cubicBezTo>
                    <a:pt x="34199" y="31367"/>
                    <a:pt x="28535" y="34200"/>
                    <a:pt x="24286" y="34200"/>
                  </a:cubicBezTo>
                  <a:cubicBezTo>
                    <a:pt x="18622" y="34200"/>
                    <a:pt x="15789" y="29951"/>
                    <a:pt x="15789" y="24286"/>
                  </a:cubicBezTo>
                  <a:cubicBezTo>
                    <a:pt x="15789" y="18621"/>
                    <a:pt x="20037" y="15789"/>
                    <a:pt x="25703"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1" name="Freeform: Shape 2640">
              <a:extLst>
                <a:ext uri="{FF2B5EF4-FFF2-40B4-BE49-F238E27FC236}">
                  <a16:creationId xmlns:a16="http://schemas.microsoft.com/office/drawing/2014/main" id="{81F496E8-3E69-4353-90FD-AE1F34257FE7}"/>
                </a:ext>
              </a:extLst>
            </p:cNvPr>
            <p:cNvSpPr/>
            <p:nvPr/>
          </p:nvSpPr>
          <p:spPr>
            <a:xfrm>
              <a:off x="6966747" y="3873473"/>
              <a:ext cx="42486" cy="42486"/>
            </a:xfrm>
            <a:custGeom>
              <a:avLst/>
              <a:gdLst>
                <a:gd name="connsiteX0" fmla="*/ 25702 w 42485"/>
                <a:gd name="connsiteY0" fmla="*/ 15789 h 42485"/>
                <a:gd name="connsiteX1" fmla="*/ 34199 w 42485"/>
                <a:gd name="connsiteY1" fmla="*/ 25702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1454"/>
                    <a:pt x="34199" y="25702"/>
                  </a:cubicBezTo>
                  <a:cubicBezTo>
                    <a:pt x="34199" y="31367"/>
                    <a:pt x="29951" y="34200"/>
                    <a:pt x="24286" y="34200"/>
                  </a:cubicBezTo>
                  <a:cubicBezTo>
                    <a:pt x="18621" y="34200"/>
                    <a:pt x="15789" y="28535"/>
                    <a:pt x="15789" y="24286"/>
                  </a:cubicBezTo>
                  <a:cubicBezTo>
                    <a:pt x="17205" y="18621"/>
                    <a:pt x="21454"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2" name="Freeform: Shape 2641">
              <a:extLst>
                <a:ext uri="{FF2B5EF4-FFF2-40B4-BE49-F238E27FC236}">
                  <a16:creationId xmlns:a16="http://schemas.microsoft.com/office/drawing/2014/main" id="{7FE5B556-C953-48E7-9D9A-1C8F674D6A14}"/>
                </a:ext>
              </a:extLst>
            </p:cNvPr>
            <p:cNvSpPr/>
            <p:nvPr/>
          </p:nvSpPr>
          <p:spPr>
            <a:xfrm>
              <a:off x="6871862" y="4350729"/>
              <a:ext cx="42486" cy="42486"/>
            </a:xfrm>
            <a:custGeom>
              <a:avLst/>
              <a:gdLst>
                <a:gd name="connsiteX0" fmla="*/ 27119 w 42485"/>
                <a:gd name="connsiteY0" fmla="*/ 15789 h 42485"/>
                <a:gd name="connsiteX1" fmla="*/ 37032 w 42485"/>
                <a:gd name="connsiteY1" fmla="*/ 27118 h 42485"/>
                <a:gd name="connsiteX2" fmla="*/ 25703 w 42485"/>
                <a:gd name="connsiteY2" fmla="*/ 37032 h 42485"/>
                <a:gd name="connsiteX3" fmla="*/ 15789 w 42485"/>
                <a:gd name="connsiteY3" fmla="*/ 25702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8"/>
                  </a:cubicBezTo>
                  <a:cubicBezTo>
                    <a:pt x="37032" y="32783"/>
                    <a:pt x="31367" y="37032"/>
                    <a:pt x="25703" y="37032"/>
                  </a:cubicBezTo>
                  <a:cubicBezTo>
                    <a:pt x="20038" y="37032"/>
                    <a:pt x="15789" y="31367"/>
                    <a:pt x="15789" y="25702"/>
                  </a:cubicBezTo>
                  <a:cubicBezTo>
                    <a:pt x="15789" y="20037"/>
                    <a:pt x="21454" y="15789"/>
                    <a:pt x="27119"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3" name="Freeform: Shape 2642">
              <a:extLst>
                <a:ext uri="{FF2B5EF4-FFF2-40B4-BE49-F238E27FC236}">
                  <a16:creationId xmlns:a16="http://schemas.microsoft.com/office/drawing/2014/main" id="{EFE278B9-33B8-4982-BC78-C44C16787EDF}"/>
                </a:ext>
              </a:extLst>
            </p:cNvPr>
            <p:cNvSpPr/>
            <p:nvPr/>
          </p:nvSpPr>
          <p:spPr>
            <a:xfrm>
              <a:off x="6487939" y="3992298"/>
              <a:ext cx="70810" cy="70810"/>
            </a:xfrm>
            <a:custGeom>
              <a:avLst/>
              <a:gdLst>
                <a:gd name="connsiteX0" fmla="*/ 41416 w 70809"/>
                <a:gd name="connsiteY0" fmla="*/ 15924 h 70809"/>
                <a:gd name="connsiteX1" fmla="*/ 62658 w 70809"/>
                <a:gd name="connsiteY1" fmla="*/ 41416 h 70809"/>
                <a:gd name="connsiteX2" fmla="*/ 37167 w 70809"/>
                <a:gd name="connsiteY2" fmla="*/ 62658 h 70809"/>
                <a:gd name="connsiteX3" fmla="*/ 15924 w 70809"/>
                <a:gd name="connsiteY3" fmla="*/ 37167 h 70809"/>
                <a:gd name="connsiteX4" fmla="*/ 41416 w 70809"/>
                <a:gd name="connsiteY4" fmla="*/ 1592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416" y="15924"/>
                  </a:moveTo>
                  <a:cubicBezTo>
                    <a:pt x="54161" y="17340"/>
                    <a:pt x="64075" y="28670"/>
                    <a:pt x="62658" y="41416"/>
                  </a:cubicBezTo>
                  <a:cubicBezTo>
                    <a:pt x="61242" y="54161"/>
                    <a:pt x="49913" y="64074"/>
                    <a:pt x="37167" y="62658"/>
                  </a:cubicBezTo>
                  <a:cubicBezTo>
                    <a:pt x="24421" y="61242"/>
                    <a:pt x="14508" y="49912"/>
                    <a:pt x="15924" y="37167"/>
                  </a:cubicBezTo>
                  <a:cubicBezTo>
                    <a:pt x="17340" y="24421"/>
                    <a:pt x="28670" y="14508"/>
                    <a:pt x="41416" y="1592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4" name="Freeform: Shape 2643">
              <a:extLst>
                <a:ext uri="{FF2B5EF4-FFF2-40B4-BE49-F238E27FC236}">
                  <a16:creationId xmlns:a16="http://schemas.microsoft.com/office/drawing/2014/main" id="{D28BBE4E-8126-4BE7-AB7A-4A0B4E909387}"/>
                </a:ext>
              </a:extLst>
            </p:cNvPr>
            <p:cNvSpPr/>
            <p:nvPr/>
          </p:nvSpPr>
          <p:spPr>
            <a:xfrm>
              <a:off x="6234576" y="4513375"/>
              <a:ext cx="56648" cy="56648"/>
            </a:xfrm>
            <a:custGeom>
              <a:avLst/>
              <a:gdLst>
                <a:gd name="connsiteX0" fmla="*/ 31367 w 56647"/>
                <a:gd name="connsiteY0" fmla="*/ 16006 h 56647"/>
                <a:gd name="connsiteX1" fmla="*/ 44113 w 56647"/>
                <a:gd name="connsiteY1" fmla="*/ 31584 h 56647"/>
                <a:gd name="connsiteX2" fmla="*/ 28535 w 56647"/>
                <a:gd name="connsiteY2" fmla="*/ 44330 h 56647"/>
                <a:gd name="connsiteX3" fmla="*/ 15789 w 56647"/>
                <a:gd name="connsiteY3" fmla="*/ 28752 h 56647"/>
                <a:gd name="connsiteX4" fmla="*/ 31367 w 56647"/>
                <a:gd name="connsiteY4" fmla="*/ 16006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6006"/>
                  </a:moveTo>
                  <a:cubicBezTo>
                    <a:pt x="38448" y="17422"/>
                    <a:pt x="44113" y="23087"/>
                    <a:pt x="44113" y="31584"/>
                  </a:cubicBezTo>
                  <a:cubicBezTo>
                    <a:pt x="42697" y="38665"/>
                    <a:pt x="37032" y="44330"/>
                    <a:pt x="28535" y="44330"/>
                  </a:cubicBezTo>
                  <a:cubicBezTo>
                    <a:pt x="21454" y="44330"/>
                    <a:pt x="15789" y="37249"/>
                    <a:pt x="15789" y="28752"/>
                  </a:cubicBezTo>
                  <a:cubicBezTo>
                    <a:pt x="17205" y="20254"/>
                    <a:pt x="24286" y="14590"/>
                    <a:pt x="31367" y="1600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5" name="Freeform: Shape 2644">
              <a:extLst>
                <a:ext uri="{FF2B5EF4-FFF2-40B4-BE49-F238E27FC236}">
                  <a16:creationId xmlns:a16="http://schemas.microsoft.com/office/drawing/2014/main" id="{A59B9F49-8B5A-4E9C-A8A5-94DDE43445D5}"/>
                </a:ext>
              </a:extLst>
            </p:cNvPr>
            <p:cNvSpPr/>
            <p:nvPr/>
          </p:nvSpPr>
          <p:spPr>
            <a:xfrm>
              <a:off x="6234576" y="4081379"/>
              <a:ext cx="42486" cy="42486"/>
            </a:xfrm>
            <a:custGeom>
              <a:avLst/>
              <a:gdLst>
                <a:gd name="connsiteX0" fmla="*/ 25703 w 42485"/>
                <a:gd name="connsiteY0" fmla="*/ 16064 h 42485"/>
                <a:gd name="connsiteX1" fmla="*/ 34200 w 42485"/>
                <a:gd name="connsiteY1" fmla="*/ 25977 h 42485"/>
                <a:gd name="connsiteX2" fmla="*/ 24286 w 42485"/>
                <a:gd name="connsiteY2" fmla="*/ 34474 h 42485"/>
                <a:gd name="connsiteX3" fmla="*/ 15789 w 42485"/>
                <a:gd name="connsiteY3" fmla="*/ 24560 h 42485"/>
                <a:gd name="connsiteX4" fmla="*/ 25703 w 42485"/>
                <a:gd name="connsiteY4" fmla="*/ 16064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4"/>
                  </a:moveTo>
                  <a:cubicBezTo>
                    <a:pt x="31367" y="16064"/>
                    <a:pt x="34200" y="20312"/>
                    <a:pt x="34200" y="25977"/>
                  </a:cubicBezTo>
                  <a:cubicBezTo>
                    <a:pt x="34200" y="31641"/>
                    <a:pt x="28535" y="34474"/>
                    <a:pt x="24286" y="34474"/>
                  </a:cubicBezTo>
                  <a:cubicBezTo>
                    <a:pt x="18622" y="34474"/>
                    <a:pt x="15789" y="30225"/>
                    <a:pt x="15789" y="24560"/>
                  </a:cubicBezTo>
                  <a:cubicBezTo>
                    <a:pt x="17205" y="18896"/>
                    <a:pt x="21454" y="14647"/>
                    <a:pt x="25703" y="1606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6" name="Freeform: Shape 2645">
              <a:extLst>
                <a:ext uri="{FF2B5EF4-FFF2-40B4-BE49-F238E27FC236}">
                  <a16:creationId xmlns:a16="http://schemas.microsoft.com/office/drawing/2014/main" id="{C882C6AA-1C2E-47AE-A5FE-BFB08C2254E6}"/>
                </a:ext>
              </a:extLst>
            </p:cNvPr>
            <p:cNvSpPr/>
            <p:nvPr/>
          </p:nvSpPr>
          <p:spPr>
            <a:xfrm>
              <a:off x="6182177" y="3651131"/>
              <a:ext cx="42486" cy="42486"/>
            </a:xfrm>
            <a:custGeom>
              <a:avLst/>
              <a:gdLst>
                <a:gd name="connsiteX0" fmla="*/ 25702 w 42485"/>
                <a:gd name="connsiteY0" fmla="*/ 15789 h 42485"/>
                <a:gd name="connsiteX1" fmla="*/ 34199 w 42485"/>
                <a:gd name="connsiteY1" fmla="*/ 25702 h 42485"/>
                <a:gd name="connsiteX2" fmla="*/ 24286 w 42485"/>
                <a:gd name="connsiteY2" fmla="*/ 34200 h 42485"/>
                <a:gd name="connsiteX3" fmla="*/ 15789 w 42485"/>
                <a:gd name="connsiteY3" fmla="*/ 24286 h 42485"/>
                <a:gd name="connsiteX4" fmla="*/ 25702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2" y="15789"/>
                  </a:moveTo>
                  <a:cubicBezTo>
                    <a:pt x="31367" y="15789"/>
                    <a:pt x="34199" y="21454"/>
                    <a:pt x="34199" y="25702"/>
                  </a:cubicBezTo>
                  <a:cubicBezTo>
                    <a:pt x="34199" y="29951"/>
                    <a:pt x="28535" y="34200"/>
                    <a:pt x="24286" y="34200"/>
                  </a:cubicBezTo>
                  <a:cubicBezTo>
                    <a:pt x="18621" y="34200"/>
                    <a:pt x="15789" y="28535"/>
                    <a:pt x="15789" y="24286"/>
                  </a:cubicBezTo>
                  <a:cubicBezTo>
                    <a:pt x="15789" y="18621"/>
                    <a:pt x="21454" y="15789"/>
                    <a:pt x="25702"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7" name="Freeform: Shape 2646">
              <a:extLst>
                <a:ext uri="{FF2B5EF4-FFF2-40B4-BE49-F238E27FC236}">
                  <a16:creationId xmlns:a16="http://schemas.microsoft.com/office/drawing/2014/main" id="{99AD87C3-6690-4124-8DCD-FCD9DF0B8F86}"/>
                </a:ext>
              </a:extLst>
            </p:cNvPr>
            <p:cNvSpPr/>
            <p:nvPr/>
          </p:nvSpPr>
          <p:spPr>
            <a:xfrm>
              <a:off x="6897354" y="3863288"/>
              <a:ext cx="42486" cy="42486"/>
            </a:xfrm>
            <a:custGeom>
              <a:avLst/>
              <a:gdLst>
                <a:gd name="connsiteX0" fmla="*/ 27118 w 42485"/>
                <a:gd name="connsiteY0" fmla="*/ 16060 h 42485"/>
                <a:gd name="connsiteX1" fmla="*/ 37032 w 42485"/>
                <a:gd name="connsiteY1" fmla="*/ 27390 h 42485"/>
                <a:gd name="connsiteX2" fmla="*/ 25702 w 42485"/>
                <a:gd name="connsiteY2" fmla="*/ 37303 h 42485"/>
                <a:gd name="connsiteX3" fmla="*/ 15789 w 42485"/>
                <a:gd name="connsiteY3" fmla="*/ 25974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5"/>
                    <a:pt x="31367" y="37303"/>
                    <a:pt x="25702" y="37303"/>
                  </a:cubicBezTo>
                  <a:cubicBezTo>
                    <a:pt x="20037" y="37303"/>
                    <a:pt x="15789" y="31638"/>
                    <a:pt x="15789" y="25974"/>
                  </a:cubicBezTo>
                  <a:cubicBezTo>
                    <a:pt x="15789" y="18893"/>
                    <a:pt x="21454" y="14644"/>
                    <a:pt x="27118"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8" name="Freeform: Shape 2647">
              <a:extLst>
                <a:ext uri="{FF2B5EF4-FFF2-40B4-BE49-F238E27FC236}">
                  <a16:creationId xmlns:a16="http://schemas.microsoft.com/office/drawing/2014/main" id="{631805E4-51F7-44E8-A79F-FF86C73BB457}"/>
                </a:ext>
              </a:extLst>
            </p:cNvPr>
            <p:cNvSpPr/>
            <p:nvPr/>
          </p:nvSpPr>
          <p:spPr>
            <a:xfrm>
              <a:off x="5918765" y="3846565"/>
              <a:ext cx="56648" cy="56648"/>
            </a:xfrm>
            <a:custGeom>
              <a:avLst/>
              <a:gdLst>
                <a:gd name="connsiteX0" fmla="*/ 35616 w 56647"/>
                <a:gd name="connsiteY0" fmla="*/ 15789 h 56647"/>
                <a:gd name="connsiteX1" fmla="*/ 52610 w 56647"/>
                <a:gd name="connsiteY1" fmla="*/ 35616 h 56647"/>
                <a:gd name="connsiteX2" fmla="*/ 32783 w 56647"/>
                <a:gd name="connsiteY2" fmla="*/ 52610 h 56647"/>
                <a:gd name="connsiteX3" fmla="*/ 15789 w 56647"/>
                <a:gd name="connsiteY3" fmla="*/ 32783 h 56647"/>
                <a:gd name="connsiteX4" fmla="*/ 35616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616" y="15789"/>
                  </a:moveTo>
                  <a:cubicBezTo>
                    <a:pt x="45529" y="17205"/>
                    <a:pt x="52610" y="25702"/>
                    <a:pt x="52610" y="35616"/>
                  </a:cubicBezTo>
                  <a:cubicBezTo>
                    <a:pt x="51194" y="45529"/>
                    <a:pt x="42697" y="52610"/>
                    <a:pt x="32783" y="52610"/>
                  </a:cubicBezTo>
                  <a:cubicBezTo>
                    <a:pt x="22870" y="51194"/>
                    <a:pt x="15789" y="42697"/>
                    <a:pt x="15789" y="32783"/>
                  </a:cubicBezTo>
                  <a:cubicBezTo>
                    <a:pt x="15789" y="22870"/>
                    <a:pt x="24286" y="15789"/>
                    <a:pt x="35616"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49" name="Freeform: Shape 2648">
              <a:extLst>
                <a:ext uri="{FF2B5EF4-FFF2-40B4-BE49-F238E27FC236}">
                  <a16:creationId xmlns:a16="http://schemas.microsoft.com/office/drawing/2014/main" id="{260F6C38-4768-4A7F-AB57-6F98D6D77D3C}"/>
                </a:ext>
              </a:extLst>
            </p:cNvPr>
            <p:cNvSpPr/>
            <p:nvPr/>
          </p:nvSpPr>
          <p:spPr>
            <a:xfrm>
              <a:off x="6166599" y="4643881"/>
              <a:ext cx="56648" cy="56648"/>
            </a:xfrm>
            <a:custGeom>
              <a:avLst/>
              <a:gdLst>
                <a:gd name="connsiteX0" fmla="*/ 31367 w 56647"/>
                <a:gd name="connsiteY0" fmla="*/ 15789 h 56647"/>
                <a:gd name="connsiteX1" fmla="*/ 44113 w 56647"/>
                <a:gd name="connsiteY1" fmla="*/ 31367 h 56647"/>
                <a:gd name="connsiteX2" fmla="*/ 28535 w 56647"/>
                <a:gd name="connsiteY2" fmla="*/ 44113 h 56647"/>
                <a:gd name="connsiteX3" fmla="*/ 15789 w 56647"/>
                <a:gd name="connsiteY3" fmla="*/ 28535 h 56647"/>
                <a:gd name="connsiteX4" fmla="*/ 31367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5789"/>
                  </a:moveTo>
                  <a:cubicBezTo>
                    <a:pt x="38448" y="17205"/>
                    <a:pt x="44113" y="22870"/>
                    <a:pt x="44113" y="31367"/>
                  </a:cubicBezTo>
                  <a:cubicBezTo>
                    <a:pt x="42697" y="38448"/>
                    <a:pt x="37032" y="44113"/>
                    <a:pt x="28535" y="44113"/>
                  </a:cubicBezTo>
                  <a:cubicBezTo>
                    <a:pt x="21454" y="44113"/>
                    <a:pt x="15789" y="37032"/>
                    <a:pt x="15789" y="28535"/>
                  </a:cubicBezTo>
                  <a:cubicBezTo>
                    <a:pt x="15789" y="21454"/>
                    <a:pt x="22870" y="15789"/>
                    <a:pt x="31367"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0" name="Freeform: Shape 2649">
              <a:extLst>
                <a:ext uri="{FF2B5EF4-FFF2-40B4-BE49-F238E27FC236}">
                  <a16:creationId xmlns:a16="http://schemas.microsoft.com/office/drawing/2014/main" id="{EFF98CA4-0DC0-44F3-A66C-38F52F99CC10}"/>
                </a:ext>
              </a:extLst>
            </p:cNvPr>
            <p:cNvSpPr/>
            <p:nvPr/>
          </p:nvSpPr>
          <p:spPr>
            <a:xfrm>
              <a:off x="6717362" y="3655245"/>
              <a:ext cx="70810" cy="70810"/>
            </a:xfrm>
            <a:custGeom>
              <a:avLst/>
              <a:gdLst>
                <a:gd name="connsiteX0" fmla="*/ 41415 w 70809"/>
                <a:gd name="connsiteY0" fmla="*/ 15924 h 70809"/>
                <a:gd name="connsiteX1" fmla="*/ 62658 w 70809"/>
                <a:gd name="connsiteY1" fmla="*/ 41415 h 70809"/>
                <a:gd name="connsiteX2" fmla="*/ 37167 w 70809"/>
                <a:gd name="connsiteY2" fmla="*/ 62658 h 70809"/>
                <a:gd name="connsiteX3" fmla="*/ 15924 w 70809"/>
                <a:gd name="connsiteY3" fmla="*/ 37167 h 70809"/>
                <a:gd name="connsiteX4" fmla="*/ 41415 w 70809"/>
                <a:gd name="connsiteY4" fmla="*/ 15924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415" y="15924"/>
                  </a:moveTo>
                  <a:cubicBezTo>
                    <a:pt x="54161" y="17340"/>
                    <a:pt x="64074" y="28670"/>
                    <a:pt x="62658" y="41415"/>
                  </a:cubicBezTo>
                  <a:cubicBezTo>
                    <a:pt x="61242" y="54161"/>
                    <a:pt x="49912" y="64074"/>
                    <a:pt x="37167" y="62658"/>
                  </a:cubicBezTo>
                  <a:cubicBezTo>
                    <a:pt x="24421" y="61242"/>
                    <a:pt x="14508" y="49912"/>
                    <a:pt x="15924" y="37167"/>
                  </a:cubicBezTo>
                  <a:cubicBezTo>
                    <a:pt x="17340" y="24421"/>
                    <a:pt x="28670" y="14508"/>
                    <a:pt x="41415" y="1592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1" name="Freeform: Shape 2650">
              <a:extLst>
                <a:ext uri="{FF2B5EF4-FFF2-40B4-BE49-F238E27FC236}">
                  <a16:creationId xmlns:a16="http://schemas.microsoft.com/office/drawing/2014/main" id="{53808FD6-40F8-4D97-BF5C-B4987B004142}"/>
                </a:ext>
              </a:extLst>
            </p:cNvPr>
            <p:cNvSpPr/>
            <p:nvPr/>
          </p:nvSpPr>
          <p:spPr>
            <a:xfrm>
              <a:off x="6843538" y="3765842"/>
              <a:ext cx="42486" cy="42486"/>
            </a:xfrm>
            <a:custGeom>
              <a:avLst/>
              <a:gdLst>
                <a:gd name="connsiteX0" fmla="*/ 27119 w 42485"/>
                <a:gd name="connsiteY0" fmla="*/ 15789 h 42485"/>
                <a:gd name="connsiteX1" fmla="*/ 37032 w 42485"/>
                <a:gd name="connsiteY1" fmla="*/ 27119 h 42485"/>
                <a:gd name="connsiteX2" fmla="*/ 25703 w 42485"/>
                <a:gd name="connsiteY2" fmla="*/ 37032 h 42485"/>
                <a:gd name="connsiteX3" fmla="*/ 15789 w 42485"/>
                <a:gd name="connsiteY3" fmla="*/ 25703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9"/>
                  </a:cubicBezTo>
                  <a:cubicBezTo>
                    <a:pt x="37032" y="32783"/>
                    <a:pt x="31367" y="37032"/>
                    <a:pt x="25703" y="37032"/>
                  </a:cubicBezTo>
                  <a:cubicBezTo>
                    <a:pt x="20038" y="37032"/>
                    <a:pt x="15789" y="31367"/>
                    <a:pt x="15789" y="25703"/>
                  </a:cubicBezTo>
                  <a:cubicBezTo>
                    <a:pt x="15789" y="18622"/>
                    <a:pt x="21454" y="15789"/>
                    <a:pt x="27119"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2" name="Freeform: Shape 2651">
              <a:extLst>
                <a:ext uri="{FF2B5EF4-FFF2-40B4-BE49-F238E27FC236}">
                  <a16:creationId xmlns:a16="http://schemas.microsoft.com/office/drawing/2014/main" id="{9FAC87C8-49D0-4441-AB97-91BB5C2F9B8B}"/>
                </a:ext>
              </a:extLst>
            </p:cNvPr>
            <p:cNvSpPr/>
            <p:nvPr/>
          </p:nvSpPr>
          <p:spPr>
            <a:xfrm>
              <a:off x="5918547" y="3648080"/>
              <a:ext cx="56648" cy="56648"/>
            </a:xfrm>
            <a:custGeom>
              <a:avLst/>
              <a:gdLst>
                <a:gd name="connsiteX0" fmla="*/ 30169 w 56647"/>
                <a:gd name="connsiteY0" fmla="*/ 16007 h 56647"/>
                <a:gd name="connsiteX1" fmla="*/ 41499 w 56647"/>
                <a:gd name="connsiteY1" fmla="*/ 30169 h 56647"/>
                <a:gd name="connsiteX2" fmla="*/ 27337 w 56647"/>
                <a:gd name="connsiteY2" fmla="*/ 41499 h 56647"/>
                <a:gd name="connsiteX3" fmla="*/ 16007 w 56647"/>
                <a:gd name="connsiteY3" fmla="*/ 27337 h 56647"/>
                <a:gd name="connsiteX4" fmla="*/ 30169 w 56647"/>
                <a:gd name="connsiteY4" fmla="*/ 16007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0169" y="16007"/>
                  </a:moveTo>
                  <a:cubicBezTo>
                    <a:pt x="37250" y="16007"/>
                    <a:pt x="42915" y="23088"/>
                    <a:pt x="41499" y="30169"/>
                  </a:cubicBezTo>
                  <a:cubicBezTo>
                    <a:pt x="41499" y="37250"/>
                    <a:pt x="34418" y="42915"/>
                    <a:pt x="27337" y="41499"/>
                  </a:cubicBezTo>
                  <a:cubicBezTo>
                    <a:pt x="20256" y="41499"/>
                    <a:pt x="14591" y="34418"/>
                    <a:pt x="16007" y="27337"/>
                  </a:cubicBezTo>
                  <a:cubicBezTo>
                    <a:pt x="16007" y="20256"/>
                    <a:pt x="23088" y="14591"/>
                    <a:pt x="30169" y="1600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3" name="Freeform: Shape 2652">
              <a:extLst>
                <a:ext uri="{FF2B5EF4-FFF2-40B4-BE49-F238E27FC236}">
                  <a16:creationId xmlns:a16="http://schemas.microsoft.com/office/drawing/2014/main" id="{6CFCA81B-E273-4320-9977-95A3DAEB2F8F}"/>
                </a:ext>
              </a:extLst>
            </p:cNvPr>
            <p:cNvSpPr/>
            <p:nvPr/>
          </p:nvSpPr>
          <p:spPr>
            <a:xfrm>
              <a:off x="5920000" y="3686536"/>
              <a:ext cx="56648" cy="56648"/>
            </a:xfrm>
            <a:custGeom>
              <a:avLst/>
              <a:gdLst>
                <a:gd name="connsiteX0" fmla="*/ 32964 w 56647"/>
                <a:gd name="connsiteY0" fmla="*/ 15789 h 56647"/>
                <a:gd name="connsiteX1" fmla="*/ 47126 w 56647"/>
                <a:gd name="connsiteY1" fmla="*/ 32783 h 56647"/>
                <a:gd name="connsiteX2" fmla="*/ 30132 w 56647"/>
                <a:gd name="connsiteY2" fmla="*/ 46945 h 56647"/>
                <a:gd name="connsiteX3" fmla="*/ 15970 w 56647"/>
                <a:gd name="connsiteY3" fmla="*/ 29951 h 56647"/>
                <a:gd name="connsiteX4" fmla="*/ 32964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2964" y="15789"/>
                  </a:moveTo>
                  <a:cubicBezTo>
                    <a:pt x="41462" y="17205"/>
                    <a:pt x="48543" y="24286"/>
                    <a:pt x="47126" y="32783"/>
                  </a:cubicBezTo>
                  <a:cubicBezTo>
                    <a:pt x="45710" y="41280"/>
                    <a:pt x="38629" y="48361"/>
                    <a:pt x="30132" y="46945"/>
                  </a:cubicBezTo>
                  <a:cubicBezTo>
                    <a:pt x="21635" y="45529"/>
                    <a:pt x="14554" y="38448"/>
                    <a:pt x="15970" y="29951"/>
                  </a:cubicBezTo>
                  <a:cubicBezTo>
                    <a:pt x="15970" y="21454"/>
                    <a:pt x="23051" y="15789"/>
                    <a:pt x="32964"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4" name="Freeform: Shape 2653">
              <a:extLst>
                <a:ext uri="{FF2B5EF4-FFF2-40B4-BE49-F238E27FC236}">
                  <a16:creationId xmlns:a16="http://schemas.microsoft.com/office/drawing/2014/main" id="{6BFE093C-06DF-4BC6-8FEF-159504FCF1B3}"/>
                </a:ext>
              </a:extLst>
            </p:cNvPr>
            <p:cNvSpPr/>
            <p:nvPr/>
          </p:nvSpPr>
          <p:spPr>
            <a:xfrm>
              <a:off x="6058814" y="3941296"/>
              <a:ext cx="70810" cy="70810"/>
            </a:xfrm>
            <a:custGeom>
              <a:avLst/>
              <a:gdLst>
                <a:gd name="connsiteX0" fmla="*/ 38603 w 70809"/>
                <a:gd name="connsiteY0" fmla="*/ 15943 h 70809"/>
                <a:gd name="connsiteX1" fmla="*/ 57013 w 70809"/>
                <a:gd name="connsiteY1" fmla="*/ 38602 h 70809"/>
                <a:gd name="connsiteX2" fmla="*/ 34354 w 70809"/>
                <a:gd name="connsiteY2" fmla="*/ 57013 h 70809"/>
                <a:gd name="connsiteX3" fmla="*/ 15943 w 70809"/>
                <a:gd name="connsiteY3" fmla="*/ 34354 h 70809"/>
                <a:gd name="connsiteX4" fmla="*/ 38603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8603" y="15943"/>
                  </a:moveTo>
                  <a:cubicBezTo>
                    <a:pt x="49932" y="17359"/>
                    <a:pt x="58429" y="27273"/>
                    <a:pt x="57013" y="38602"/>
                  </a:cubicBezTo>
                  <a:cubicBezTo>
                    <a:pt x="55597" y="49932"/>
                    <a:pt x="45684" y="58429"/>
                    <a:pt x="34354" y="57013"/>
                  </a:cubicBezTo>
                  <a:cubicBezTo>
                    <a:pt x="23024" y="55597"/>
                    <a:pt x="14527" y="45683"/>
                    <a:pt x="15943" y="34354"/>
                  </a:cubicBezTo>
                  <a:cubicBezTo>
                    <a:pt x="17360" y="23024"/>
                    <a:pt x="27273" y="14527"/>
                    <a:pt x="38603" y="159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5" name="Freeform: Shape 2654">
              <a:extLst>
                <a:ext uri="{FF2B5EF4-FFF2-40B4-BE49-F238E27FC236}">
                  <a16:creationId xmlns:a16="http://schemas.microsoft.com/office/drawing/2014/main" id="{0E24A5A5-C58C-4DA6-883B-64B1016520A3}"/>
                </a:ext>
              </a:extLst>
            </p:cNvPr>
            <p:cNvSpPr/>
            <p:nvPr/>
          </p:nvSpPr>
          <p:spPr>
            <a:xfrm>
              <a:off x="7012065" y="4023318"/>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3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4"/>
                    <a:pt x="31367" y="37303"/>
                    <a:pt x="25703" y="37303"/>
                  </a:cubicBezTo>
                  <a:cubicBezTo>
                    <a:pt x="20038" y="37303"/>
                    <a:pt x="15789" y="31639"/>
                    <a:pt x="15789" y="25973"/>
                  </a:cubicBezTo>
                  <a:cubicBezTo>
                    <a:pt x="15789" y="18893"/>
                    <a:pt x="21454" y="14644"/>
                    <a:pt x="27119"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6" name="Freeform: Shape 2655">
              <a:extLst>
                <a:ext uri="{FF2B5EF4-FFF2-40B4-BE49-F238E27FC236}">
                  <a16:creationId xmlns:a16="http://schemas.microsoft.com/office/drawing/2014/main" id="{9044180A-BC76-4F6A-AC8F-44392822A507}"/>
                </a:ext>
              </a:extLst>
            </p:cNvPr>
            <p:cNvSpPr/>
            <p:nvPr/>
          </p:nvSpPr>
          <p:spPr>
            <a:xfrm>
              <a:off x="6914348" y="3939759"/>
              <a:ext cx="42486" cy="42486"/>
            </a:xfrm>
            <a:custGeom>
              <a:avLst/>
              <a:gdLst>
                <a:gd name="connsiteX0" fmla="*/ 25703 w 42485"/>
                <a:gd name="connsiteY0" fmla="*/ 16063 h 42485"/>
                <a:gd name="connsiteX1" fmla="*/ 34200 w 42485"/>
                <a:gd name="connsiteY1" fmla="*/ 25977 h 42485"/>
                <a:gd name="connsiteX2" fmla="*/ 24286 w 42485"/>
                <a:gd name="connsiteY2" fmla="*/ 34474 h 42485"/>
                <a:gd name="connsiteX3" fmla="*/ 15789 w 42485"/>
                <a:gd name="connsiteY3" fmla="*/ 24561 h 42485"/>
                <a:gd name="connsiteX4" fmla="*/ 25703 w 42485"/>
                <a:gd name="connsiteY4" fmla="*/ 16063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16063"/>
                  </a:moveTo>
                  <a:cubicBezTo>
                    <a:pt x="31367" y="16063"/>
                    <a:pt x="34200" y="20312"/>
                    <a:pt x="34200" y="25977"/>
                  </a:cubicBezTo>
                  <a:cubicBezTo>
                    <a:pt x="34200" y="31642"/>
                    <a:pt x="29951" y="34474"/>
                    <a:pt x="24286" y="34474"/>
                  </a:cubicBezTo>
                  <a:cubicBezTo>
                    <a:pt x="18622" y="34474"/>
                    <a:pt x="15789" y="30225"/>
                    <a:pt x="15789" y="24561"/>
                  </a:cubicBezTo>
                  <a:cubicBezTo>
                    <a:pt x="17205" y="18896"/>
                    <a:pt x="21454" y="14647"/>
                    <a:pt x="25703" y="1606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7" name="Freeform: Shape 2656">
              <a:extLst>
                <a:ext uri="{FF2B5EF4-FFF2-40B4-BE49-F238E27FC236}">
                  <a16:creationId xmlns:a16="http://schemas.microsoft.com/office/drawing/2014/main" id="{BAA19C26-AD5F-489A-B06F-9825ECC430B5}"/>
                </a:ext>
              </a:extLst>
            </p:cNvPr>
            <p:cNvSpPr/>
            <p:nvPr/>
          </p:nvSpPr>
          <p:spPr>
            <a:xfrm>
              <a:off x="6744405" y="4213139"/>
              <a:ext cx="42486" cy="42486"/>
            </a:xfrm>
            <a:custGeom>
              <a:avLst/>
              <a:gdLst>
                <a:gd name="connsiteX0" fmla="*/ 27119 w 42485"/>
                <a:gd name="connsiteY0" fmla="*/ 16009 h 42485"/>
                <a:gd name="connsiteX1" fmla="*/ 37032 w 42485"/>
                <a:gd name="connsiteY1" fmla="*/ 27338 h 42485"/>
                <a:gd name="connsiteX2" fmla="*/ 25703 w 42485"/>
                <a:gd name="connsiteY2" fmla="*/ 37252 h 42485"/>
                <a:gd name="connsiteX3" fmla="*/ 15789 w 42485"/>
                <a:gd name="connsiteY3" fmla="*/ 25923 h 42485"/>
                <a:gd name="connsiteX4" fmla="*/ 27119 w 42485"/>
                <a:gd name="connsiteY4" fmla="*/ 1600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09"/>
                  </a:moveTo>
                  <a:cubicBezTo>
                    <a:pt x="32783" y="16009"/>
                    <a:pt x="37032" y="21674"/>
                    <a:pt x="37032" y="27338"/>
                  </a:cubicBezTo>
                  <a:cubicBezTo>
                    <a:pt x="37032" y="33004"/>
                    <a:pt x="31367" y="37252"/>
                    <a:pt x="25703" y="37252"/>
                  </a:cubicBezTo>
                  <a:cubicBezTo>
                    <a:pt x="20038" y="37252"/>
                    <a:pt x="15789" y="31587"/>
                    <a:pt x="15789" y="25923"/>
                  </a:cubicBezTo>
                  <a:cubicBezTo>
                    <a:pt x="15789" y="20258"/>
                    <a:pt x="21454" y="14593"/>
                    <a:pt x="27119" y="1600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8" name="Freeform: Shape 2657">
              <a:extLst>
                <a:ext uri="{FF2B5EF4-FFF2-40B4-BE49-F238E27FC236}">
                  <a16:creationId xmlns:a16="http://schemas.microsoft.com/office/drawing/2014/main" id="{23177C6A-9035-4ACA-876E-C2987C040ED4}"/>
                </a:ext>
              </a:extLst>
            </p:cNvPr>
            <p:cNvSpPr/>
            <p:nvPr/>
          </p:nvSpPr>
          <p:spPr>
            <a:xfrm>
              <a:off x="6659299" y="4776868"/>
              <a:ext cx="70810" cy="70810"/>
            </a:xfrm>
            <a:custGeom>
              <a:avLst/>
              <a:gdLst>
                <a:gd name="connsiteX0" fmla="*/ 44247 w 70809"/>
                <a:gd name="connsiteY0" fmla="*/ 15923 h 70809"/>
                <a:gd name="connsiteX1" fmla="*/ 66907 w 70809"/>
                <a:gd name="connsiteY1" fmla="*/ 44247 h 70809"/>
                <a:gd name="connsiteX2" fmla="*/ 38583 w 70809"/>
                <a:gd name="connsiteY2" fmla="*/ 66906 h 70809"/>
                <a:gd name="connsiteX3" fmla="*/ 15924 w 70809"/>
                <a:gd name="connsiteY3" fmla="*/ 38583 h 70809"/>
                <a:gd name="connsiteX4" fmla="*/ 44247 w 70809"/>
                <a:gd name="connsiteY4" fmla="*/ 15923 h 70809"/>
                <a:gd name="connsiteX5" fmla="*/ 44247 w 70809"/>
                <a:gd name="connsiteY5" fmla="*/ 15923 h 70809"/>
                <a:gd name="connsiteX6" fmla="*/ 44247 w 70809"/>
                <a:gd name="connsiteY6" fmla="*/ 27253 h 70809"/>
                <a:gd name="connsiteX7" fmla="*/ 28669 w 70809"/>
                <a:gd name="connsiteY7" fmla="*/ 39999 h 70809"/>
                <a:gd name="connsiteX8" fmla="*/ 41415 w 70809"/>
                <a:gd name="connsiteY8" fmla="*/ 55577 h 70809"/>
                <a:gd name="connsiteX9" fmla="*/ 56993 w 70809"/>
                <a:gd name="connsiteY9" fmla="*/ 42831 h 70809"/>
                <a:gd name="connsiteX10" fmla="*/ 44247 w 70809"/>
                <a:gd name="connsiteY10" fmla="*/ 27253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247" y="15923"/>
                  </a:moveTo>
                  <a:cubicBezTo>
                    <a:pt x="58409" y="17340"/>
                    <a:pt x="68323" y="30085"/>
                    <a:pt x="66907" y="44247"/>
                  </a:cubicBezTo>
                  <a:cubicBezTo>
                    <a:pt x="65490" y="58409"/>
                    <a:pt x="52745" y="68323"/>
                    <a:pt x="38583" y="66906"/>
                  </a:cubicBezTo>
                  <a:cubicBezTo>
                    <a:pt x="24421" y="65490"/>
                    <a:pt x="14507" y="52745"/>
                    <a:pt x="15924" y="38583"/>
                  </a:cubicBezTo>
                  <a:cubicBezTo>
                    <a:pt x="17340" y="24421"/>
                    <a:pt x="30085" y="14508"/>
                    <a:pt x="44247" y="15923"/>
                  </a:cubicBezTo>
                  <a:lnTo>
                    <a:pt x="44247" y="15923"/>
                  </a:lnTo>
                  <a:close/>
                  <a:moveTo>
                    <a:pt x="44247" y="27253"/>
                  </a:moveTo>
                  <a:cubicBezTo>
                    <a:pt x="35750" y="25837"/>
                    <a:pt x="28669" y="32918"/>
                    <a:pt x="28669" y="39999"/>
                  </a:cubicBezTo>
                  <a:cubicBezTo>
                    <a:pt x="27253" y="48496"/>
                    <a:pt x="34334" y="55577"/>
                    <a:pt x="41415" y="55577"/>
                  </a:cubicBezTo>
                  <a:cubicBezTo>
                    <a:pt x="49912" y="56993"/>
                    <a:pt x="56993" y="49912"/>
                    <a:pt x="56993" y="42831"/>
                  </a:cubicBezTo>
                  <a:cubicBezTo>
                    <a:pt x="56993" y="34334"/>
                    <a:pt x="51328" y="27253"/>
                    <a:pt x="44247" y="2725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59" name="Freeform: Shape 2658">
              <a:extLst>
                <a:ext uri="{FF2B5EF4-FFF2-40B4-BE49-F238E27FC236}">
                  <a16:creationId xmlns:a16="http://schemas.microsoft.com/office/drawing/2014/main" id="{F39161A8-FC94-4815-A761-EAEC46806685}"/>
                </a:ext>
              </a:extLst>
            </p:cNvPr>
            <p:cNvSpPr/>
            <p:nvPr/>
          </p:nvSpPr>
          <p:spPr>
            <a:xfrm>
              <a:off x="6400151" y="4902924"/>
              <a:ext cx="84971" cy="84971"/>
            </a:xfrm>
            <a:custGeom>
              <a:avLst/>
              <a:gdLst>
                <a:gd name="connsiteX0" fmla="*/ 45649 w 84971"/>
                <a:gd name="connsiteY0" fmla="*/ 15909 h 84971"/>
                <a:gd name="connsiteX1" fmla="*/ 71140 w 84971"/>
                <a:gd name="connsiteY1" fmla="*/ 45648 h 84971"/>
                <a:gd name="connsiteX2" fmla="*/ 41400 w 84971"/>
                <a:gd name="connsiteY2" fmla="*/ 71140 h 84971"/>
                <a:gd name="connsiteX3" fmla="*/ 15909 w 84971"/>
                <a:gd name="connsiteY3" fmla="*/ 41400 h 84971"/>
                <a:gd name="connsiteX4" fmla="*/ 45649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9" y="15909"/>
                  </a:moveTo>
                  <a:cubicBezTo>
                    <a:pt x="61226" y="17324"/>
                    <a:pt x="72556" y="30070"/>
                    <a:pt x="71140" y="45648"/>
                  </a:cubicBezTo>
                  <a:cubicBezTo>
                    <a:pt x="69724" y="61226"/>
                    <a:pt x="56978" y="72556"/>
                    <a:pt x="41400" y="71140"/>
                  </a:cubicBezTo>
                  <a:cubicBezTo>
                    <a:pt x="25822" y="69724"/>
                    <a:pt x="14492" y="56978"/>
                    <a:pt x="15909" y="41400"/>
                  </a:cubicBezTo>
                  <a:cubicBezTo>
                    <a:pt x="17325" y="25822"/>
                    <a:pt x="31487" y="14492"/>
                    <a:pt x="45649" y="1590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0" name="Freeform: Shape 2659">
              <a:extLst>
                <a:ext uri="{FF2B5EF4-FFF2-40B4-BE49-F238E27FC236}">
                  <a16:creationId xmlns:a16="http://schemas.microsoft.com/office/drawing/2014/main" id="{06091AD0-DE0C-4507-89E8-A7522B6F5583}"/>
                </a:ext>
              </a:extLst>
            </p:cNvPr>
            <p:cNvSpPr/>
            <p:nvPr/>
          </p:nvSpPr>
          <p:spPr>
            <a:xfrm>
              <a:off x="6513566" y="5057409"/>
              <a:ext cx="56648" cy="56648"/>
            </a:xfrm>
            <a:custGeom>
              <a:avLst/>
              <a:gdLst>
                <a:gd name="connsiteX0" fmla="*/ 35616 w 56647"/>
                <a:gd name="connsiteY0" fmla="*/ 15789 h 56647"/>
                <a:gd name="connsiteX1" fmla="*/ 52610 w 56647"/>
                <a:gd name="connsiteY1" fmla="*/ 35616 h 56647"/>
                <a:gd name="connsiteX2" fmla="*/ 32783 w 56647"/>
                <a:gd name="connsiteY2" fmla="*/ 52610 h 56647"/>
                <a:gd name="connsiteX3" fmla="*/ 15789 w 56647"/>
                <a:gd name="connsiteY3" fmla="*/ 32783 h 56647"/>
                <a:gd name="connsiteX4" fmla="*/ 35616 w 56647"/>
                <a:gd name="connsiteY4" fmla="*/ 15789 h 56647"/>
                <a:gd name="connsiteX5" fmla="*/ 35616 w 56647"/>
                <a:gd name="connsiteY5" fmla="*/ 15789 h 56647"/>
                <a:gd name="connsiteX6" fmla="*/ 35616 w 56647"/>
                <a:gd name="connsiteY6" fmla="*/ 24286 h 56647"/>
                <a:gd name="connsiteX7" fmla="*/ 24286 w 56647"/>
                <a:gd name="connsiteY7" fmla="*/ 34199 h 56647"/>
                <a:gd name="connsiteX8" fmla="*/ 34199 w 56647"/>
                <a:gd name="connsiteY8" fmla="*/ 45529 h 56647"/>
                <a:gd name="connsiteX9" fmla="*/ 45529 w 56647"/>
                <a:gd name="connsiteY9" fmla="*/ 35616 h 56647"/>
                <a:gd name="connsiteX10" fmla="*/ 35616 w 56647"/>
                <a:gd name="connsiteY10" fmla="*/ 24286 h 5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647" h="56647">
                  <a:moveTo>
                    <a:pt x="35616" y="15789"/>
                  </a:moveTo>
                  <a:cubicBezTo>
                    <a:pt x="45529" y="17205"/>
                    <a:pt x="52610" y="25702"/>
                    <a:pt x="52610" y="35616"/>
                  </a:cubicBezTo>
                  <a:cubicBezTo>
                    <a:pt x="51194" y="45529"/>
                    <a:pt x="42697" y="52610"/>
                    <a:pt x="32783" y="52610"/>
                  </a:cubicBezTo>
                  <a:cubicBezTo>
                    <a:pt x="22870" y="51194"/>
                    <a:pt x="15789" y="42697"/>
                    <a:pt x="15789" y="32783"/>
                  </a:cubicBezTo>
                  <a:cubicBezTo>
                    <a:pt x="17205" y="22870"/>
                    <a:pt x="25702" y="15789"/>
                    <a:pt x="35616" y="15789"/>
                  </a:cubicBezTo>
                  <a:lnTo>
                    <a:pt x="35616" y="15789"/>
                  </a:lnTo>
                  <a:close/>
                  <a:moveTo>
                    <a:pt x="35616" y="24286"/>
                  </a:moveTo>
                  <a:cubicBezTo>
                    <a:pt x="29951" y="24286"/>
                    <a:pt x="24286" y="28535"/>
                    <a:pt x="24286" y="34199"/>
                  </a:cubicBezTo>
                  <a:cubicBezTo>
                    <a:pt x="24286" y="39864"/>
                    <a:pt x="28535" y="45529"/>
                    <a:pt x="34199" y="45529"/>
                  </a:cubicBezTo>
                  <a:cubicBezTo>
                    <a:pt x="39864" y="45529"/>
                    <a:pt x="45529" y="41280"/>
                    <a:pt x="45529" y="35616"/>
                  </a:cubicBezTo>
                  <a:cubicBezTo>
                    <a:pt x="45529" y="29951"/>
                    <a:pt x="41280" y="24286"/>
                    <a:pt x="35616" y="2428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1" name="Freeform: Shape 2660">
              <a:extLst>
                <a:ext uri="{FF2B5EF4-FFF2-40B4-BE49-F238E27FC236}">
                  <a16:creationId xmlns:a16="http://schemas.microsoft.com/office/drawing/2014/main" id="{C5B5CA0D-E180-41BB-8DA3-F78391BC7C1C}"/>
                </a:ext>
              </a:extLst>
            </p:cNvPr>
            <p:cNvSpPr/>
            <p:nvPr/>
          </p:nvSpPr>
          <p:spPr>
            <a:xfrm>
              <a:off x="6563132" y="4643881"/>
              <a:ext cx="56648" cy="56648"/>
            </a:xfrm>
            <a:custGeom>
              <a:avLst/>
              <a:gdLst>
                <a:gd name="connsiteX0" fmla="*/ 31367 w 56647"/>
                <a:gd name="connsiteY0" fmla="*/ 15789 h 56647"/>
                <a:gd name="connsiteX1" fmla="*/ 44113 w 56647"/>
                <a:gd name="connsiteY1" fmla="*/ 31367 h 56647"/>
                <a:gd name="connsiteX2" fmla="*/ 28535 w 56647"/>
                <a:gd name="connsiteY2" fmla="*/ 44113 h 56647"/>
                <a:gd name="connsiteX3" fmla="*/ 15789 w 56647"/>
                <a:gd name="connsiteY3" fmla="*/ 28535 h 56647"/>
                <a:gd name="connsiteX4" fmla="*/ 31367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5789"/>
                  </a:moveTo>
                  <a:cubicBezTo>
                    <a:pt x="38448" y="15789"/>
                    <a:pt x="44113" y="22870"/>
                    <a:pt x="44113" y="31367"/>
                  </a:cubicBezTo>
                  <a:cubicBezTo>
                    <a:pt x="44113" y="39864"/>
                    <a:pt x="37032" y="44113"/>
                    <a:pt x="28535" y="44113"/>
                  </a:cubicBezTo>
                  <a:cubicBezTo>
                    <a:pt x="21454" y="44113"/>
                    <a:pt x="15789" y="37032"/>
                    <a:pt x="15789" y="28535"/>
                  </a:cubicBezTo>
                  <a:cubicBezTo>
                    <a:pt x="17205" y="21454"/>
                    <a:pt x="24286" y="15789"/>
                    <a:pt x="31367"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2" name="Freeform: Shape 2661">
              <a:extLst>
                <a:ext uri="{FF2B5EF4-FFF2-40B4-BE49-F238E27FC236}">
                  <a16:creationId xmlns:a16="http://schemas.microsoft.com/office/drawing/2014/main" id="{AF2502E6-0F18-4526-96FE-878B521DB7D7}"/>
                </a:ext>
              </a:extLst>
            </p:cNvPr>
            <p:cNvSpPr/>
            <p:nvPr/>
          </p:nvSpPr>
          <p:spPr>
            <a:xfrm>
              <a:off x="6826544" y="4834850"/>
              <a:ext cx="56648" cy="56648"/>
            </a:xfrm>
            <a:custGeom>
              <a:avLst/>
              <a:gdLst>
                <a:gd name="connsiteX0" fmla="*/ 31367 w 56647"/>
                <a:gd name="connsiteY0" fmla="*/ 16006 h 56647"/>
                <a:gd name="connsiteX1" fmla="*/ 44113 w 56647"/>
                <a:gd name="connsiteY1" fmla="*/ 31584 h 56647"/>
                <a:gd name="connsiteX2" fmla="*/ 28535 w 56647"/>
                <a:gd name="connsiteY2" fmla="*/ 44330 h 56647"/>
                <a:gd name="connsiteX3" fmla="*/ 15789 w 56647"/>
                <a:gd name="connsiteY3" fmla="*/ 28752 h 56647"/>
                <a:gd name="connsiteX4" fmla="*/ 31367 w 56647"/>
                <a:gd name="connsiteY4" fmla="*/ 16006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6006"/>
                  </a:moveTo>
                  <a:cubicBezTo>
                    <a:pt x="38448" y="16006"/>
                    <a:pt x="44113" y="23087"/>
                    <a:pt x="44113" y="31584"/>
                  </a:cubicBezTo>
                  <a:cubicBezTo>
                    <a:pt x="42697" y="38665"/>
                    <a:pt x="37032" y="44330"/>
                    <a:pt x="28535" y="44330"/>
                  </a:cubicBezTo>
                  <a:cubicBezTo>
                    <a:pt x="21454" y="44330"/>
                    <a:pt x="15789" y="37249"/>
                    <a:pt x="15789" y="28752"/>
                  </a:cubicBezTo>
                  <a:cubicBezTo>
                    <a:pt x="17205" y="20255"/>
                    <a:pt x="24286" y="14590"/>
                    <a:pt x="31367" y="1600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3" name="Freeform: Shape 2662">
              <a:extLst>
                <a:ext uri="{FF2B5EF4-FFF2-40B4-BE49-F238E27FC236}">
                  <a16:creationId xmlns:a16="http://schemas.microsoft.com/office/drawing/2014/main" id="{344A3CFA-9A5B-417E-9EDB-6EEDD5A7FB53}"/>
                </a:ext>
              </a:extLst>
            </p:cNvPr>
            <p:cNvSpPr/>
            <p:nvPr/>
          </p:nvSpPr>
          <p:spPr>
            <a:xfrm>
              <a:off x="6720175" y="4652223"/>
              <a:ext cx="56648" cy="56648"/>
            </a:xfrm>
            <a:custGeom>
              <a:avLst/>
              <a:gdLst>
                <a:gd name="connsiteX0" fmla="*/ 35771 w 56647"/>
                <a:gd name="connsiteY0" fmla="*/ 15944 h 56647"/>
                <a:gd name="connsiteX1" fmla="*/ 52765 w 56647"/>
                <a:gd name="connsiteY1" fmla="*/ 35771 h 56647"/>
                <a:gd name="connsiteX2" fmla="*/ 32938 w 56647"/>
                <a:gd name="connsiteY2" fmla="*/ 52765 h 56647"/>
                <a:gd name="connsiteX3" fmla="*/ 15944 w 56647"/>
                <a:gd name="connsiteY3" fmla="*/ 32938 h 56647"/>
                <a:gd name="connsiteX4" fmla="*/ 35771 w 56647"/>
                <a:gd name="connsiteY4" fmla="*/ 1594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44"/>
                  </a:moveTo>
                  <a:cubicBezTo>
                    <a:pt x="45684" y="17360"/>
                    <a:pt x="54181" y="25858"/>
                    <a:pt x="52765" y="35771"/>
                  </a:cubicBezTo>
                  <a:cubicBezTo>
                    <a:pt x="51349" y="45684"/>
                    <a:pt x="42852" y="54181"/>
                    <a:pt x="32938" y="52765"/>
                  </a:cubicBezTo>
                  <a:cubicBezTo>
                    <a:pt x="23025" y="51349"/>
                    <a:pt x="14528" y="42852"/>
                    <a:pt x="15944" y="32938"/>
                  </a:cubicBezTo>
                  <a:cubicBezTo>
                    <a:pt x="15944" y="23025"/>
                    <a:pt x="24441" y="14528"/>
                    <a:pt x="35771" y="1594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4" name="Freeform: Shape 2663">
              <a:extLst>
                <a:ext uri="{FF2B5EF4-FFF2-40B4-BE49-F238E27FC236}">
                  <a16:creationId xmlns:a16="http://schemas.microsoft.com/office/drawing/2014/main" id="{BA9B0313-7AC3-405A-B091-F3CF90948D1B}"/>
                </a:ext>
              </a:extLst>
            </p:cNvPr>
            <p:cNvSpPr/>
            <p:nvPr/>
          </p:nvSpPr>
          <p:spPr>
            <a:xfrm>
              <a:off x="6393034" y="5315000"/>
              <a:ext cx="56648" cy="56648"/>
            </a:xfrm>
            <a:custGeom>
              <a:avLst/>
              <a:gdLst>
                <a:gd name="connsiteX0" fmla="*/ 35771 w 56647"/>
                <a:gd name="connsiteY0" fmla="*/ 15944 h 56647"/>
                <a:gd name="connsiteX1" fmla="*/ 52765 w 56647"/>
                <a:gd name="connsiteY1" fmla="*/ 35771 h 56647"/>
                <a:gd name="connsiteX2" fmla="*/ 32938 w 56647"/>
                <a:gd name="connsiteY2" fmla="*/ 52765 h 56647"/>
                <a:gd name="connsiteX3" fmla="*/ 15944 w 56647"/>
                <a:gd name="connsiteY3" fmla="*/ 32938 h 56647"/>
                <a:gd name="connsiteX4" fmla="*/ 35771 w 56647"/>
                <a:gd name="connsiteY4" fmla="*/ 1594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44"/>
                  </a:moveTo>
                  <a:cubicBezTo>
                    <a:pt x="45684" y="17360"/>
                    <a:pt x="54181" y="25857"/>
                    <a:pt x="52765" y="35771"/>
                  </a:cubicBezTo>
                  <a:cubicBezTo>
                    <a:pt x="51349" y="45684"/>
                    <a:pt x="42852" y="54181"/>
                    <a:pt x="32938" y="52765"/>
                  </a:cubicBezTo>
                  <a:cubicBezTo>
                    <a:pt x="23025" y="51349"/>
                    <a:pt x="14528" y="42852"/>
                    <a:pt x="15944" y="32938"/>
                  </a:cubicBezTo>
                  <a:cubicBezTo>
                    <a:pt x="15944" y="23025"/>
                    <a:pt x="24441" y="14528"/>
                    <a:pt x="35771" y="1594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5" name="Freeform: Shape 2664">
              <a:extLst>
                <a:ext uri="{FF2B5EF4-FFF2-40B4-BE49-F238E27FC236}">
                  <a16:creationId xmlns:a16="http://schemas.microsoft.com/office/drawing/2014/main" id="{698F93C7-B603-40C6-906A-EC12C4CC872F}"/>
                </a:ext>
              </a:extLst>
            </p:cNvPr>
            <p:cNvSpPr/>
            <p:nvPr/>
          </p:nvSpPr>
          <p:spPr>
            <a:xfrm>
              <a:off x="6337958" y="5203005"/>
              <a:ext cx="42486" cy="42486"/>
            </a:xfrm>
            <a:custGeom>
              <a:avLst/>
              <a:gdLst>
                <a:gd name="connsiteX0" fmla="*/ 27118 w 42485"/>
                <a:gd name="connsiteY0" fmla="*/ 16060 h 42485"/>
                <a:gd name="connsiteX1" fmla="*/ 37032 w 42485"/>
                <a:gd name="connsiteY1" fmla="*/ 27390 h 42485"/>
                <a:gd name="connsiteX2" fmla="*/ 25702 w 42485"/>
                <a:gd name="connsiteY2" fmla="*/ 37303 h 42485"/>
                <a:gd name="connsiteX3" fmla="*/ 15789 w 42485"/>
                <a:gd name="connsiteY3" fmla="*/ 25974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5"/>
                    <a:pt x="31367" y="37303"/>
                    <a:pt x="25702" y="37303"/>
                  </a:cubicBezTo>
                  <a:cubicBezTo>
                    <a:pt x="20037" y="37303"/>
                    <a:pt x="15789" y="31639"/>
                    <a:pt x="15789" y="25974"/>
                  </a:cubicBezTo>
                  <a:cubicBezTo>
                    <a:pt x="17205" y="18893"/>
                    <a:pt x="21454" y="14644"/>
                    <a:pt x="27118"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6" name="Freeform: Shape 2665">
              <a:extLst>
                <a:ext uri="{FF2B5EF4-FFF2-40B4-BE49-F238E27FC236}">
                  <a16:creationId xmlns:a16="http://schemas.microsoft.com/office/drawing/2014/main" id="{EECF00D8-79D0-4452-8755-EE3F552A874E}"/>
                </a:ext>
              </a:extLst>
            </p:cNvPr>
            <p:cNvSpPr/>
            <p:nvPr/>
          </p:nvSpPr>
          <p:spPr>
            <a:xfrm>
              <a:off x="6615531" y="5108392"/>
              <a:ext cx="56648" cy="56648"/>
            </a:xfrm>
            <a:custGeom>
              <a:avLst/>
              <a:gdLst>
                <a:gd name="connsiteX0" fmla="*/ 35616 w 56647"/>
                <a:gd name="connsiteY0" fmla="*/ 15789 h 56647"/>
                <a:gd name="connsiteX1" fmla="*/ 52610 w 56647"/>
                <a:gd name="connsiteY1" fmla="*/ 35616 h 56647"/>
                <a:gd name="connsiteX2" fmla="*/ 32783 w 56647"/>
                <a:gd name="connsiteY2" fmla="*/ 52610 h 56647"/>
                <a:gd name="connsiteX3" fmla="*/ 15789 w 56647"/>
                <a:gd name="connsiteY3" fmla="*/ 32783 h 56647"/>
                <a:gd name="connsiteX4" fmla="*/ 35616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616" y="15789"/>
                  </a:moveTo>
                  <a:cubicBezTo>
                    <a:pt x="45529" y="17205"/>
                    <a:pt x="52610" y="25702"/>
                    <a:pt x="52610" y="35616"/>
                  </a:cubicBezTo>
                  <a:cubicBezTo>
                    <a:pt x="51194" y="45529"/>
                    <a:pt x="42697" y="52610"/>
                    <a:pt x="32783" y="52610"/>
                  </a:cubicBezTo>
                  <a:cubicBezTo>
                    <a:pt x="22870" y="51194"/>
                    <a:pt x="15789" y="42697"/>
                    <a:pt x="15789" y="32783"/>
                  </a:cubicBezTo>
                  <a:cubicBezTo>
                    <a:pt x="17205" y="22870"/>
                    <a:pt x="25703" y="15789"/>
                    <a:pt x="35616"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7" name="Freeform: Shape 2666">
              <a:extLst>
                <a:ext uri="{FF2B5EF4-FFF2-40B4-BE49-F238E27FC236}">
                  <a16:creationId xmlns:a16="http://schemas.microsoft.com/office/drawing/2014/main" id="{B065CE73-052A-43D9-BA15-F37792B947F9}"/>
                </a:ext>
              </a:extLst>
            </p:cNvPr>
            <p:cNvSpPr/>
            <p:nvPr/>
          </p:nvSpPr>
          <p:spPr>
            <a:xfrm>
              <a:off x="6295338" y="4939730"/>
              <a:ext cx="70810" cy="70810"/>
            </a:xfrm>
            <a:custGeom>
              <a:avLst/>
              <a:gdLst>
                <a:gd name="connsiteX0" fmla="*/ 44247 w 70809"/>
                <a:gd name="connsiteY0" fmla="*/ 15923 h 70809"/>
                <a:gd name="connsiteX1" fmla="*/ 66906 w 70809"/>
                <a:gd name="connsiteY1" fmla="*/ 44247 h 70809"/>
                <a:gd name="connsiteX2" fmla="*/ 38582 w 70809"/>
                <a:gd name="connsiteY2" fmla="*/ 66906 h 70809"/>
                <a:gd name="connsiteX3" fmla="*/ 15924 w 70809"/>
                <a:gd name="connsiteY3" fmla="*/ 38583 h 70809"/>
                <a:gd name="connsiteX4" fmla="*/ 44247 w 70809"/>
                <a:gd name="connsiteY4" fmla="*/ 15923 h 70809"/>
                <a:gd name="connsiteX5" fmla="*/ 44247 w 70809"/>
                <a:gd name="connsiteY5" fmla="*/ 15923 h 70809"/>
                <a:gd name="connsiteX6" fmla="*/ 42831 w 70809"/>
                <a:gd name="connsiteY6" fmla="*/ 27253 h 70809"/>
                <a:gd name="connsiteX7" fmla="*/ 27253 w 70809"/>
                <a:gd name="connsiteY7" fmla="*/ 39999 h 70809"/>
                <a:gd name="connsiteX8" fmla="*/ 39999 w 70809"/>
                <a:gd name="connsiteY8" fmla="*/ 55577 h 70809"/>
                <a:gd name="connsiteX9" fmla="*/ 55577 w 70809"/>
                <a:gd name="connsiteY9" fmla="*/ 42831 h 70809"/>
                <a:gd name="connsiteX10" fmla="*/ 42831 w 70809"/>
                <a:gd name="connsiteY10" fmla="*/ 27253 h 7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809" h="70809">
                  <a:moveTo>
                    <a:pt x="44247" y="15923"/>
                  </a:moveTo>
                  <a:cubicBezTo>
                    <a:pt x="58409" y="17340"/>
                    <a:pt x="68322" y="30085"/>
                    <a:pt x="66906" y="44247"/>
                  </a:cubicBezTo>
                  <a:cubicBezTo>
                    <a:pt x="65490" y="58409"/>
                    <a:pt x="52744" y="68323"/>
                    <a:pt x="38582" y="66906"/>
                  </a:cubicBezTo>
                  <a:cubicBezTo>
                    <a:pt x="24420" y="65490"/>
                    <a:pt x="14507" y="52745"/>
                    <a:pt x="15924" y="38583"/>
                  </a:cubicBezTo>
                  <a:cubicBezTo>
                    <a:pt x="17339" y="24421"/>
                    <a:pt x="30085" y="14508"/>
                    <a:pt x="44247" y="15923"/>
                  </a:cubicBezTo>
                  <a:lnTo>
                    <a:pt x="44247" y="15923"/>
                  </a:lnTo>
                  <a:close/>
                  <a:moveTo>
                    <a:pt x="42831" y="27253"/>
                  </a:moveTo>
                  <a:cubicBezTo>
                    <a:pt x="34334" y="25837"/>
                    <a:pt x="27253" y="32918"/>
                    <a:pt x="27253" y="39999"/>
                  </a:cubicBezTo>
                  <a:cubicBezTo>
                    <a:pt x="25837" y="48496"/>
                    <a:pt x="32918" y="55577"/>
                    <a:pt x="39999" y="55577"/>
                  </a:cubicBezTo>
                  <a:cubicBezTo>
                    <a:pt x="48496" y="56993"/>
                    <a:pt x="55577" y="49912"/>
                    <a:pt x="55577" y="42831"/>
                  </a:cubicBezTo>
                  <a:cubicBezTo>
                    <a:pt x="56993" y="34334"/>
                    <a:pt x="51328" y="27253"/>
                    <a:pt x="42831" y="2725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8" name="Freeform: Shape 2667">
              <a:extLst>
                <a:ext uri="{FF2B5EF4-FFF2-40B4-BE49-F238E27FC236}">
                  <a16:creationId xmlns:a16="http://schemas.microsoft.com/office/drawing/2014/main" id="{3F78315D-8996-43E6-B0CB-4664630A6CB6}"/>
                </a:ext>
              </a:extLst>
            </p:cNvPr>
            <p:cNvSpPr/>
            <p:nvPr/>
          </p:nvSpPr>
          <p:spPr>
            <a:xfrm>
              <a:off x="6551803" y="4888882"/>
              <a:ext cx="56648" cy="56648"/>
            </a:xfrm>
            <a:custGeom>
              <a:avLst/>
              <a:gdLst>
                <a:gd name="connsiteX0" fmla="*/ 31367 w 56647"/>
                <a:gd name="connsiteY0" fmla="*/ 15789 h 56647"/>
                <a:gd name="connsiteX1" fmla="*/ 44113 w 56647"/>
                <a:gd name="connsiteY1" fmla="*/ 31367 h 56647"/>
                <a:gd name="connsiteX2" fmla="*/ 28535 w 56647"/>
                <a:gd name="connsiteY2" fmla="*/ 44113 h 56647"/>
                <a:gd name="connsiteX3" fmla="*/ 15789 w 56647"/>
                <a:gd name="connsiteY3" fmla="*/ 28535 h 56647"/>
                <a:gd name="connsiteX4" fmla="*/ 31367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5789"/>
                  </a:moveTo>
                  <a:cubicBezTo>
                    <a:pt x="38448" y="15789"/>
                    <a:pt x="44113" y="22870"/>
                    <a:pt x="44113" y="31367"/>
                  </a:cubicBezTo>
                  <a:cubicBezTo>
                    <a:pt x="44113" y="38448"/>
                    <a:pt x="37032" y="44113"/>
                    <a:pt x="28535" y="44113"/>
                  </a:cubicBezTo>
                  <a:cubicBezTo>
                    <a:pt x="21454" y="44113"/>
                    <a:pt x="15789" y="37032"/>
                    <a:pt x="15789" y="28535"/>
                  </a:cubicBezTo>
                  <a:cubicBezTo>
                    <a:pt x="17205" y="21454"/>
                    <a:pt x="24286" y="15789"/>
                    <a:pt x="31367"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69" name="Freeform: Shape 2668">
              <a:extLst>
                <a:ext uri="{FF2B5EF4-FFF2-40B4-BE49-F238E27FC236}">
                  <a16:creationId xmlns:a16="http://schemas.microsoft.com/office/drawing/2014/main" id="{0EDEB90E-3398-44F4-97D5-72D29B619EEC}"/>
                </a:ext>
              </a:extLst>
            </p:cNvPr>
            <p:cNvSpPr/>
            <p:nvPr/>
          </p:nvSpPr>
          <p:spPr>
            <a:xfrm>
              <a:off x="6527608" y="5176235"/>
              <a:ext cx="84971" cy="84971"/>
            </a:xfrm>
            <a:custGeom>
              <a:avLst/>
              <a:gdLst>
                <a:gd name="connsiteX0" fmla="*/ 45649 w 84971"/>
                <a:gd name="connsiteY0" fmla="*/ 15923 h 84971"/>
                <a:gd name="connsiteX1" fmla="*/ 71140 w 84971"/>
                <a:gd name="connsiteY1" fmla="*/ 45663 h 84971"/>
                <a:gd name="connsiteX2" fmla="*/ 41400 w 84971"/>
                <a:gd name="connsiteY2" fmla="*/ 71154 h 84971"/>
                <a:gd name="connsiteX3" fmla="*/ 15909 w 84971"/>
                <a:gd name="connsiteY3" fmla="*/ 41414 h 84971"/>
                <a:gd name="connsiteX4" fmla="*/ 45649 w 84971"/>
                <a:gd name="connsiteY4" fmla="*/ 15923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9" y="15923"/>
                  </a:moveTo>
                  <a:cubicBezTo>
                    <a:pt x="61226" y="17339"/>
                    <a:pt x="72556" y="30085"/>
                    <a:pt x="71140" y="45663"/>
                  </a:cubicBezTo>
                  <a:cubicBezTo>
                    <a:pt x="69724" y="61241"/>
                    <a:pt x="56978" y="72570"/>
                    <a:pt x="41400" y="71154"/>
                  </a:cubicBezTo>
                  <a:cubicBezTo>
                    <a:pt x="25822" y="69738"/>
                    <a:pt x="14492" y="56992"/>
                    <a:pt x="15909" y="41414"/>
                  </a:cubicBezTo>
                  <a:cubicBezTo>
                    <a:pt x="17325" y="24420"/>
                    <a:pt x="31487" y="14507"/>
                    <a:pt x="45649" y="1592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0" name="Freeform: Shape 2669">
              <a:extLst>
                <a:ext uri="{FF2B5EF4-FFF2-40B4-BE49-F238E27FC236}">
                  <a16:creationId xmlns:a16="http://schemas.microsoft.com/office/drawing/2014/main" id="{4A5463FA-C262-49DA-804A-0B4DD7DFB4FF}"/>
                </a:ext>
              </a:extLst>
            </p:cNvPr>
            <p:cNvSpPr/>
            <p:nvPr/>
          </p:nvSpPr>
          <p:spPr>
            <a:xfrm>
              <a:off x="6259948" y="5041711"/>
              <a:ext cx="84971" cy="84971"/>
            </a:xfrm>
            <a:custGeom>
              <a:avLst/>
              <a:gdLst>
                <a:gd name="connsiteX0" fmla="*/ 45648 w 84971"/>
                <a:gd name="connsiteY0" fmla="*/ 15909 h 84971"/>
                <a:gd name="connsiteX1" fmla="*/ 71140 w 84971"/>
                <a:gd name="connsiteY1" fmla="*/ 45649 h 84971"/>
                <a:gd name="connsiteX2" fmla="*/ 41400 w 84971"/>
                <a:gd name="connsiteY2" fmla="*/ 71140 h 84971"/>
                <a:gd name="connsiteX3" fmla="*/ 15909 w 84971"/>
                <a:gd name="connsiteY3" fmla="*/ 41400 h 84971"/>
                <a:gd name="connsiteX4" fmla="*/ 45648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8" y="15909"/>
                  </a:moveTo>
                  <a:cubicBezTo>
                    <a:pt x="61226" y="17325"/>
                    <a:pt x="72556" y="30070"/>
                    <a:pt x="71140" y="45649"/>
                  </a:cubicBezTo>
                  <a:cubicBezTo>
                    <a:pt x="69724" y="61227"/>
                    <a:pt x="56978" y="72556"/>
                    <a:pt x="41400" y="71140"/>
                  </a:cubicBezTo>
                  <a:cubicBezTo>
                    <a:pt x="25822" y="69724"/>
                    <a:pt x="14492" y="56978"/>
                    <a:pt x="15909" y="41400"/>
                  </a:cubicBezTo>
                  <a:cubicBezTo>
                    <a:pt x="15909" y="25822"/>
                    <a:pt x="30070" y="14492"/>
                    <a:pt x="45648" y="1590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1" name="Freeform: Shape 2670">
              <a:extLst>
                <a:ext uri="{FF2B5EF4-FFF2-40B4-BE49-F238E27FC236}">
                  <a16:creationId xmlns:a16="http://schemas.microsoft.com/office/drawing/2014/main" id="{F098095B-FCEA-441D-B435-05A6B93D9DDD}"/>
                </a:ext>
              </a:extLst>
            </p:cNvPr>
            <p:cNvSpPr/>
            <p:nvPr/>
          </p:nvSpPr>
          <p:spPr>
            <a:xfrm>
              <a:off x="6762815" y="5012090"/>
              <a:ext cx="42486" cy="42486"/>
            </a:xfrm>
            <a:custGeom>
              <a:avLst/>
              <a:gdLst>
                <a:gd name="connsiteX0" fmla="*/ 27118 w 42485"/>
                <a:gd name="connsiteY0" fmla="*/ 15789 h 42485"/>
                <a:gd name="connsiteX1" fmla="*/ 37032 w 42485"/>
                <a:gd name="connsiteY1" fmla="*/ 27119 h 42485"/>
                <a:gd name="connsiteX2" fmla="*/ 25702 w 42485"/>
                <a:gd name="connsiteY2" fmla="*/ 37032 h 42485"/>
                <a:gd name="connsiteX3" fmla="*/ 15789 w 42485"/>
                <a:gd name="connsiteY3" fmla="*/ 25703 h 42485"/>
                <a:gd name="connsiteX4" fmla="*/ 2711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5789"/>
                  </a:moveTo>
                  <a:cubicBezTo>
                    <a:pt x="32783" y="15789"/>
                    <a:pt x="37032" y="21454"/>
                    <a:pt x="37032" y="27119"/>
                  </a:cubicBezTo>
                  <a:cubicBezTo>
                    <a:pt x="37032" y="32783"/>
                    <a:pt x="31367" y="37032"/>
                    <a:pt x="25702" y="37032"/>
                  </a:cubicBezTo>
                  <a:cubicBezTo>
                    <a:pt x="20037" y="37032"/>
                    <a:pt x="15789" y="31367"/>
                    <a:pt x="15789" y="25703"/>
                  </a:cubicBezTo>
                  <a:cubicBezTo>
                    <a:pt x="15789" y="20038"/>
                    <a:pt x="20037" y="15789"/>
                    <a:pt x="2711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2" name="Freeform: Shape 2671">
              <a:extLst>
                <a:ext uri="{FF2B5EF4-FFF2-40B4-BE49-F238E27FC236}">
                  <a16:creationId xmlns:a16="http://schemas.microsoft.com/office/drawing/2014/main" id="{CF42C029-5A57-4A0D-9183-C6573E47595A}"/>
                </a:ext>
              </a:extLst>
            </p:cNvPr>
            <p:cNvSpPr/>
            <p:nvPr/>
          </p:nvSpPr>
          <p:spPr>
            <a:xfrm>
              <a:off x="7242750" y="4622484"/>
              <a:ext cx="70810" cy="70810"/>
            </a:xfrm>
            <a:custGeom>
              <a:avLst/>
              <a:gdLst>
                <a:gd name="connsiteX0" fmla="*/ 40018 w 70809"/>
                <a:gd name="connsiteY0" fmla="*/ 15943 h 70809"/>
                <a:gd name="connsiteX1" fmla="*/ 59845 w 70809"/>
                <a:gd name="connsiteY1" fmla="*/ 40018 h 70809"/>
                <a:gd name="connsiteX2" fmla="*/ 35769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3"/>
                    <a:pt x="59845" y="40018"/>
                  </a:cubicBezTo>
                  <a:cubicBezTo>
                    <a:pt x="58429" y="52764"/>
                    <a:pt x="48515" y="61261"/>
                    <a:pt x="35769" y="59845"/>
                  </a:cubicBezTo>
                  <a:cubicBezTo>
                    <a:pt x="23024" y="58429"/>
                    <a:pt x="14527" y="48516"/>
                    <a:pt x="15943" y="35769"/>
                  </a:cubicBezTo>
                  <a:cubicBezTo>
                    <a:pt x="17359" y="23024"/>
                    <a:pt x="28689" y="14527"/>
                    <a:pt x="40018" y="159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3" name="Freeform: Shape 2672">
              <a:extLst>
                <a:ext uri="{FF2B5EF4-FFF2-40B4-BE49-F238E27FC236}">
                  <a16:creationId xmlns:a16="http://schemas.microsoft.com/office/drawing/2014/main" id="{6D1D1F46-7CFC-406D-9648-C8C983D87323}"/>
                </a:ext>
              </a:extLst>
            </p:cNvPr>
            <p:cNvSpPr/>
            <p:nvPr/>
          </p:nvSpPr>
          <p:spPr>
            <a:xfrm>
              <a:off x="7089955" y="4949507"/>
              <a:ext cx="42486" cy="42486"/>
            </a:xfrm>
            <a:custGeom>
              <a:avLst/>
              <a:gdLst>
                <a:gd name="connsiteX0" fmla="*/ 27119 w 42485"/>
                <a:gd name="connsiteY0" fmla="*/ 16060 h 42485"/>
                <a:gd name="connsiteX1" fmla="*/ 37032 w 42485"/>
                <a:gd name="connsiteY1" fmla="*/ 27390 h 42485"/>
                <a:gd name="connsiteX2" fmla="*/ 25703 w 42485"/>
                <a:gd name="connsiteY2" fmla="*/ 37303 h 42485"/>
                <a:gd name="connsiteX3" fmla="*/ 15789 w 42485"/>
                <a:gd name="connsiteY3" fmla="*/ 25974 h 42485"/>
                <a:gd name="connsiteX4" fmla="*/ 27119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6060"/>
                  </a:moveTo>
                  <a:cubicBezTo>
                    <a:pt x="32783" y="16060"/>
                    <a:pt x="37032" y="21725"/>
                    <a:pt x="37032" y="27390"/>
                  </a:cubicBezTo>
                  <a:cubicBezTo>
                    <a:pt x="37032" y="33055"/>
                    <a:pt x="31367" y="37303"/>
                    <a:pt x="25703" y="37303"/>
                  </a:cubicBezTo>
                  <a:cubicBezTo>
                    <a:pt x="20038" y="37303"/>
                    <a:pt x="15789" y="31639"/>
                    <a:pt x="15789" y="25974"/>
                  </a:cubicBezTo>
                  <a:cubicBezTo>
                    <a:pt x="15789" y="18893"/>
                    <a:pt x="21454" y="14644"/>
                    <a:pt x="27119"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4" name="Freeform: Shape 2673">
              <a:extLst>
                <a:ext uri="{FF2B5EF4-FFF2-40B4-BE49-F238E27FC236}">
                  <a16:creationId xmlns:a16="http://schemas.microsoft.com/office/drawing/2014/main" id="{C01E6685-A893-4D52-B301-27F8984E2C86}"/>
                </a:ext>
              </a:extLst>
            </p:cNvPr>
            <p:cNvSpPr/>
            <p:nvPr/>
          </p:nvSpPr>
          <p:spPr>
            <a:xfrm>
              <a:off x="7220245" y="4841876"/>
              <a:ext cx="42486" cy="42486"/>
            </a:xfrm>
            <a:custGeom>
              <a:avLst/>
              <a:gdLst>
                <a:gd name="connsiteX0" fmla="*/ 27118 w 42485"/>
                <a:gd name="connsiteY0" fmla="*/ 16060 h 42485"/>
                <a:gd name="connsiteX1" fmla="*/ 37032 w 42485"/>
                <a:gd name="connsiteY1" fmla="*/ 27390 h 42485"/>
                <a:gd name="connsiteX2" fmla="*/ 25703 w 42485"/>
                <a:gd name="connsiteY2" fmla="*/ 37303 h 42485"/>
                <a:gd name="connsiteX3" fmla="*/ 15789 w 42485"/>
                <a:gd name="connsiteY3" fmla="*/ 25974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5"/>
                    <a:pt x="31367" y="37303"/>
                    <a:pt x="25703" y="37303"/>
                  </a:cubicBezTo>
                  <a:cubicBezTo>
                    <a:pt x="20037" y="37303"/>
                    <a:pt x="15789" y="31639"/>
                    <a:pt x="15789" y="25974"/>
                  </a:cubicBezTo>
                  <a:cubicBezTo>
                    <a:pt x="15789" y="18893"/>
                    <a:pt x="21454" y="14644"/>
                    <a:pt x="27118"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5" name="Freeform: Shape 2674">
              <a:extLst>
                <a:ext uri="{FF2B5EF4-FFF2-40B4-BE49-F238E27FC236}">
                  <a16:creationId xmlns:a16="http://schemas.microsoft.com/office/drawing/2014/main" id="{1E8D6866-241D-4E6F-82D7-D07556F906D3}"/>
                </a:ext>
              </a:extLst>
            </p:cNvPr>
            <p:cNvSpPr/>
            <p:nvPr/>
          </p:nvSpPr>
          <p:spPr>
            <a:xfrm>
              <a:off x="7136535" y="4742859"/>
              <a:ext cx="56648" cy="56648"/>
            </a:xfrm>
            <a:custGeom>
              <a:avLst/>
              <a:gdLst>
                <a:gd name="connsiteX0" fmla="*/ 35771 w 56647"/>
                <a:gd name="connsiteY0" fmla="*/ 15944 h 56647"/>
                <a:gd name="connsiteX1" fmla="*/ 52765 w 56647"/>
                <a:gd name="connsiteY1" fmla="*/ 35771 h 56647"/>
                <a:gd name="connsiteX2" fmla="*/ 32938 w 56647"/>
                <a:gd name="connsiteY2" fmla="*/ 52765 h 56647"/>
                <a:gd name="connsiteX3" fmla="*/ 15944 w 56647"/>
                <a:gd name="connsiteY3" fmla="*/ 32938 h 56647"/>
                <a:gd name="connsiteX4" fmla="*/ 35771 w 56647"/>
                <a:gd name="connsiteY4" fmla="*/ 15944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44"/>
                  </a:moveTo>
                  <a:cubicBezTo>
                    <a:pt x="45684" y="17360"/>
                    <a:pt x="54181" y="25858"/>
                    <a:pt x="52765" y="35771"/>
                  </a:cubicBezTo>
                  <a:cubicBezTo>
                    <a:pt x="51349" y="45684"/>
                    <a:pt x="42852" y="54181"/>
                    <a:pt x="32938" y="52765"/>
                  </a:cubicBezTo>
                  <a:cubicBezTo>
                    <a:pt x="23025" y="51349"/>
                    <a:pt x="14528" y="42852"/>
                    <a:pt x="15944" y="32938"/>
                  </a:cubicBezTo>
                  <a:cubicBezTo>
                    <a:pt x="15944" y="23025"/>
                    <a:pt x="25857" y="14528"/>
                    <a:pt x="35771" y="15944"/>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6" name="Freeform: Shape 2675">
              <a:extLst>
                <a:ext uri="{FF2B5EF4-FFF2-40B4-BE49-F238E27FC236}">
                  <a16:creationId xmlns:a16="http://schemas.microsoft.com/office/drawing/2014/main" id="{B0C45CC1-5709-41C6-B1C6-77120A399F24}"/>
                </a:ext>
              </a:extLst>
            </p:cNvPr>
            <p:cNvSpPr/>
            <p:nvPr/>
          </p:nvSpPr>
          <p:spPr>
            <a:xfrm>
              <a:off x="7152113" y="5006246"/>
              <a:ext cx="56648" cy="56648"/>
            </a:xfrm>
            <a:custGeom>
              <a:avLst/>
              <a:gdLst>
                <a:gd name="connsiteX0" fmla="*/ 35771 w 56647"/>
                <a:gd name="connsiteY0" fmla="*/ 15969 h 56647"/>
                <a:gd name="connsiteX1" fmla="*/ 52765 w 56647"/>
                <a:gd name="connsiteY1" fmla="*/ 35795 h 56647"/>
                <a:gd name="connsiteX2" fmla="*/ 32938 w 56647"/>
                <a:gd name="connsiteY2" fmla="*/ 52790 h 56647"/>
                <a:gd name="connsiteX3" fmla="*/ 15944 w 56647"/>
                <a:gd name="connsiteY3" fmla="*/ 32963 h 56647"/>
                <a:gd name="connsiteX4" fmla="*/ 35771 w 56647"/>
                <a:gd name="connsiteY4" fmla="*/ 1596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69"/>
                  </a:moveTo>
                  <a:cubicBezTo>
                    <a:pt x="45684" y="17385"/>
                    <a:pt x="54181" y="25882"/>
                    <a:pt x="52765" y="35795"/>
                  </a:cubicBezTo>
                  <a:cubicBezTo>
                    <a:pt x="51349" y="45709"/>
                    <a:pt x="42852" y="54206"/>
                    <a:pt x="32938" y="52790"/>
                  </a:cubicBezTo>
                  <a:cubicBezTo>
                    <a:pt x="23025" y="51373"/>
                    <a:pt x="14528" y="42876"/>
                    <a:pt x="15944" y="32963"/>
                  </a:cubicBezTo>
                  <a:cubicBezTo>
                    <a:pt x="15944" y="21633"/>
                    <a:pt x="25857" y="14552"/>
                    <a:pt x="35771" y="159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7" name="Freeform: Shape 2676">
              <a:extLst>
                <a:ext uri="{FF2B5EF4-FFF2-40B4-BE49-F238E27FC236}">
                  <a16:creationId xmlns:a16="http://schemas.microsoft.com/office/drawing/2014/main" id="{58F7354C-7BC8-41B3-A0CF-22BBB450224B}"/>
                </a:ext>
              </a:extLst>
            </p:cNvPr>
            <p:cNvSpPr/>
            <p:nvPr/>
          </p:nvSpPr>
          <p:spPr>
            <a:xfrm>
              <a:off x="7128193" y="4944113"/>
              <a:ext cx="56648" cy="56648"/>
            </a:xfrm>
            <a:custGeom>
              <a:avLst/>
              <a:gdLst>
                <a:gd name="connsiteX0" fmla="*/ 31367 w 56647"/>
                <a:gd name="connsiteY0" fmla="*/ 15789 h 56647"/>
                <a:gd name="connsiteX1" fmla="*/ 44113 w 56647"/>
                <a:gd name="connsiteY1" fmla="*/ 31367 h 56647"/>
                <a:gd name="connsiteX2" fmla="*/ 28535 w 56647"/>
                <a:gd name="connsiteY2" fmla="*/ 44113 h 56647"/>
                <a:gd name="connsiteX3" fmla="*/ 15789 w 56647"/>
                <a:gd name="connsiteY3" fmla="*/ 28535 h 56647"/>
                <a:gd name="connsiteX4" fmla="*/ 31367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367" y="15789"/>
                  </a:moveTo>
                  <a:cubicBezTo>
                    <a:pt x="38448" y="15789"/>
                    <a:pt x="44113" y="22870"/>
                    <a:pt x="44113" y="31367"/>
                  </a:cubicBezTo>
                  <a:cubicBezTo>
                    <a:pt x="42697" y="38448"/>
                    <a:pt x="37032" y="44113"/>
                    <a:pt x="28535" y="44113"/>
                  </a:cubicBezTo>
                  <a:cubicBezTo>
                    <a:pt x="21454" y="44113"/>
                    <a:pt x="15789" y="37032"/>
                    <a:pt x="15789" y="28535"/>
                  </a:cubicBezTo>
                  <a:cubicBezTo>
                    <a:pt x="17205" y="21454"/>
                    <a:pt x="24286" y="15789"/>
                    <a:pt x="31367"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8" name="Freeform: Shape 2677">
              <a:extLst>
                <a:ext uri="{FF2B5EF4-FFF2-40B4-BE49-F238E27FC236}">
                  <a16:creationId xmlns:a16="http://schemas.microsoft.com/office/drawing/2014/main" id="{B55D4CF8-36F2-4183-BFB9-96E010F72DFD}"/>
                </a:ext>
              </a:extLst>
            </p:cNvPr>
            <p:cNvSpPr/>
            <p:nvPr/>
          </p:nvSpPr>
          <p:spPr>
            <a:xfrm>
              <a:off x="5903187" y="4016237"/>
              <a:ext cx="42486" cy="42486"/>
            </a:xfrm>
            <a:custGeom>
              <a:avLst/>
              <a:gdLst>
                <a:gd name="connsiteX0" fmla="*/ 27118 w 42485"/>
                <a:gd name="connsiteY0" fmla="*/ 16060 h 42485"/>
                <a:gd name="connsiteX1" fmla="*/ 37032 w 42485"/>
                <a:gd name="connsiteY1" fmla="*/ 27390 h 42485"/>
                <a:gd name="connsiteX2" fmla="*/ 25703 w 42485"/>
                <a:gd name="connsiteY2" fmla="*/ 37303 h 42485"/>
                <a:gd name="connsiteX3" fmla="*/ 15789 w 42485"/>
                <a:gd name="connsiteY3" fmla="*/ 25973 h 42485"/>
                <a:gd name="connsiteX4" fmla="*/ 27118 w 42485"/>
                <a:gd name="connsiteY4" fmla="*/ 16060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6060"/>
                  </a:moveTo>
                  <a:cubicBezTo>
                    <a:pt x="32783" y="16060"/>
                    <a:pt x="37032" y="21725"/>
                    <a:pt x="37032" y="27390"/>
                  </a:cubicBezTo>
                  <a:cubicBezTo>
                    <a:pt x="37032" y="33054"/>
                    <a:pt x="31367" y="37303"/>
                    <a:pt x="25703" y="37303"/>
                  </a:cubicBezTo>
                  <a:cubicBezTo>
                    <a:pt x="20037" y="37303"/>
                    <a:pt x="15789" y="31639"/>
                    <a:pt x="15789" y="25973"/>
                  </a:cubicBezTo>
                  <a:cubicBezTo>
                    <a:pt x="17205" y="18893"/>
                    <a:pt x="21454" y="14644"/>
                    <a:pt x="27118" y="1606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79" name="Freeform: Shape 2678">
              <a:extLst>
                <a:ext uri="{FF2B5EF4-FFF2-40B4-BE49-F238E27FC236}">
                  <a16:creationId xmlns:a16="http://schemas.microsoft.com/office/drawing/2014/main" id="{48CE392B-46D7-43D0-BF1D-BDA63BFBA0AD}"/>
                </a:ext>
              </a:extLst>
            </p:cNvPr>
            <p:cNvSpPr/>
            <p:nvPr/>
          </p:nvSpPr>
          <p:spPr>
            <a:xfrm>
              <a:off x="7244320" y="3989601"/>
              <a:ext cx="42486" cy="42486"/>
            </a:xfrm>
            <a:custGeom>
              <a:avLst/>
              <a:gdLst>
                <a:gd name="connsiteX0" fmla="*/ 27118 w 42485"/>
                <a:gd name="connsiteY0" fmla="*/ 15789 h 42485"/>
                <a:gd name="connsiteX1" fmla="*/ 37032 w 42485"/>
                <a:gd name="connsiteY1" fmla="*/ 27118 h 42485"/>
                <a:gd name="connsiteX2" fmla="*/ 25702 w 42485"/>
                <a:gd name="connsiteY2" fmla="*/ 37032 h 42485"/>
                <a:gd name="connsiteX3" fmla="*/ 15789 w 42485"/>
                <a:gd name="connsiteY3" fmla="*/ 25702 h 42485"/>
                <a:gd name="connsiteX4" fmla="*/ 27118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8" y="15789"/>
                  </a:moveTo>
                  <a:cubicBezTo>
                    <a:pt x="32783" y="15789"/>
                    <a:pt x="37032" y="21454"/>
                    <a:pt x="37032" y="27118"/>
                  </a:cubicBezTo>
                  <a:cubicBezTo>
                    <a:pt x="37032" y="32783"/>
                    <a:pt x="31367" y="37032"/>
                    <a:pt x="25702" y="37032"/>
                  </a:cubicBezTo>
                  <a:cubicBezTo>
                    <a:pt x="20037" y="37032"/>
                    <a:pt x="15789" y="31367"/>
                    <a:pt x="15789" y="25702"/>
                  </a:cubicBezTo>
                  <a:cubicBezTo>
                    <a:pt x="17205" y="20037"/>
                    <a:pt x="21454" y="15789"/>
                    <a:pt x="27118"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0" name="Freeform: Shape 2679">
              <a:extLst>
                <a:ext uri="{FF2B5EF4-FFF2-40B4-BE49-F238E27FC236}">
                  <a16:creationId xmlns:a16="http://schemas.microsoft.com/office/drawing/2014/main" id="{5FE2F8A8-DB8B-4140-8769-C0C1850A6376}"/>
                </a:ext>
              </a:extLst>
            </p:cNvPr>
            <p:cNvSpPr/>
            <p:nvPr/>
          </p:nvSpPr>
          <p:spPr>
            <a:xfrm>
              <a:off x="7098453" y="3829571"/>
              <a:ext cx="42486" cy="42486"/>
            </a:xfrm>
            <a:custGeom>
              <a:avLst/>
              <a:gdLst>
                <a:gd name="connsiteX0" fmla="*/ 27119 w 42485"/>
                <a:gd name="connsiteY0" fmla="*/ 15789 h 42485"/>
                <a:gd name="connsiteX1" fmla="*/ 37032 w 42485"/>
                <a:gd name="connsiteY1" fmla="*/ 27119 h 42485"/>
                <a:gd name="connsiteX2" fmla="*/ 25703 w 42485"/>
                <a:gd name="connsiteY2" fmla="*/ 37032 h 42485"/>
                <a:gd name="connsiteX3" fmla="*/ 15789 w 42485"/>
                <a:gd name="connsiteY3" fmla="*/ 25703 h 42485"/>
                <a:gd name="connsiteX4" fmla="*/ 27119 w 42485"/>
                <a:gd name="connsiteY4" fmla="*/ 15789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7119" y="15789"/>
                  </a:moveTo>
                  <a:cubicBezTo>
                    <a:pt x="32783" y="15789"/>
                    <a:pt x="37032" y="21454"/>
                    <a:pt x="37032" y="27119"/>
                  </a:cubicBezTo>
                  <a:cubicBezTo>
                    <a:pt x="37032" y="32783"/>
                    <a:pt x="31367" y="37032"/>
                    <a:pt x="25703" y="37032"/>
                  </a:cubicBezTo>
                  <a:cubicBezTo>
                    <a:pt x="20038" y="37032"/>
                    <a:pt x="15789" y="31367"/>
                    <a:pt x="15789" y="25703"/>
                  </a:cubicBezTo>
                  <a:cubicBezTo>
                    <a:pt x="15789" y="20038"/>
                    <a:pt x="21454" y="15789"/>
                    <a:pt x="27119"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1" name="Freeform: Shape 2680">
              <a:extLst>
                <a:ext uri="{FF2B5EF4-FFF2-40B4-BE49-F238E27FC236}">
                  <a16:creationId xmlns:a16="http://schemas.microsoft.com/office/drawing/2014/main" id="{AB5BE16F-C8DD-497E-8F7D-AD53AFD8068D}"/>
                </a:ext>
              </a:extLst>
            </p:cNvPr>
            <p:cNvSpPr/>
            <p:nvPr/>
          </p:nvSpPr>
          <p:spPr>
            <a:xfrm>
              <a:off x="7288068" y="3771353"/>
              <a:ext cx="70810" cy="70810"/>
            </a:xfrm>
            <a:custGeom>
              <a:avLst/>
              <a:gdLst>
                <a:gd name="connsiteX0" fmla="*/ 40018 w 70809"/>
                <a:gd name="connsiteY0" fmla="*/ 15943 h 70809"/>
                <a:gd name="connsiteX1" fmla="*/ 59845 w 70809"/>
                <a:gd name="connsiteY1" fmla="*/ 40018 h 70809"/>
                <a:gd name="connsiteX2" fmla="*/ 35770 w 70809"/>
                <a:gd name="connsiteY2" fmla="*/ 59845 h 70809"/>
                <a:gd name="connsiteX3" fmla="*/ 15943 w 70809"/>
                <a:gd name="connsiteY3" fmla="*/ 35769 h 70809"/>
                <a:gd name="connsiteX4" fmla="*/ 40018 w 70809"/>
                <a:gd name="connsiteY4" fmla="*/ 159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0018" y="15943"/>
                  </a:moveTo>
                  <a:cubicBezTo>
                    <a:pt x="52764" y="17359"/>
                    <a:pt x="61261" y="27272"/>
                    <a:pt x="59845" y="40018"/>
                  </a:cubicBezTo>
                  <a:cubicBezTo>
                    <a:pt x="58429" y="52764"/>
                    <a:pt x="48515" y="61261"/>
                    <a:pt x="35770" y="59845"/>
                  </a:cubicBezTo>
                  <a:cubicBezTo>
                    <a:pt x="23024" y="58429"/>
                    <a:pt x="14527" y="48515"/>
                    <a:pt x="15943" y="35769"/>
                  </a:cubicBezTo>
                  <a:cubicBezTo>
                    <a:pt x="17359" y="23024"/>
                    <a:pt x="28689" y="14527"/>
                    <a:pt x="40018" y="159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2" name="Freeform: Shape 2681">
              <a:extLst>
                <a:ext uri="{FF2B5EF4-FFF2-40B4-BE49-F238E27FC236}">
                  <a16:creationId xmlns:a16="http://schemas.microsoft.com/office/drawing/2014/main" id="{CD77AACF-32C5-48BE-A9C7-660DABB630EE}"/>
                </a:ext>
              </a:extLst>
            </p:cNvPr>
            <p:cNvSpPr/>
            <p:nvPr/>
          </p:nvSpPr>
          <p:spPr>
            <a:xfrm>
              <a:off x="7180411" y="4084305"/>
              <a:ext cx="56648" cy="56648"/>
            </a:xfrm>
            <a:custGeom>
              <a:avLst/>
              <a:gdLst>
                <a:gd name="connsiteX0" fmla="*/ 34380 w 56647"/>
                <a:gd name="connsiteY0" fmla="*/ 15969 h 56647"/>
                <a:gd name="connsiteX1" fmla="*/ 49958 w 56647"/>
                <a:gd name="connsiteY1" fmla="*/ 34380 h 56647"/>
                <a:gd name="connsiteX2" fmla="*/ 31547 w 56647"/>
                <a:gd name="connsiteY2" fmla="*/ 49958 h 56647"/>
                <a:gd name="connsiteX3" fmla="*/ 15969 w 56647"/>
                <a:gd name="connsiteY3" fmla="*/ 31548 h 56647"/>
                <a:gd name="connsiteX4" fmla="*/ 34380 w 56647"/>
                <a:gd name="connsiteY4" fmla="*/ 1596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4380" y="15969"/>
                  </a:moveTo>
                  <a:cubicBezTo>
                    <a:pt x="44293" y="17386"/>
                    <a:pt x="51374" y="25883"/>
                    <a:pt x="49958" y="34380"/>
                  </a:cubicBezTo>
                  <a:cubicBezTo>
                    <a:pt x="48542" y="44293"/>
                    <a:pt x="40044" y="51374"/>
                    <a:pt x="31547" y="49958"/>
                  </a:cubicBezTo>
                  <a:cubicBezTo>
                    <a:pt x="21634" y="48542"/>
                    <a:pt x="14553" y="40045"/>
                    <a:pt x="15969" y="31548"/>
                  </a:cubicBezTo>
                  <a:cubicBezTo>
                    <a:pt x="15969" y="21634"/>
                    <a:pt x="24466" y="14553"/>
                    <a:pt x="34380" y="159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3" name="Freeform: Shape 2682">
              <a:extLst>
                <a:ext uri="{FF2B5EF4-FFF2-40B4-BE49-F238E27FC236}">
                  <a16:creationId xmlns:a16="http://schemas.microsoft.com/office/drawing/2014/main" id="{67339E44-3222-4364-9328-F96059161C08}"/>
                </a:ext>
              </a:extLst>
            </p:cNvPr>
            <p:cNvSpPr/>
            <p:nvPr/>
          </p:nvSpPr>
          <p:spPr>
            <a:xfrm>
              <a:off x="6952368" y="4312492"/>
              <a:ext cx="56648" cy="56648"/>
            </a:xfrm>
            <a:custGeom>
              <a:avLst/>
              <a:gdLst>
                <a:gd name="connsiteX0" fmla="*/ 31584 w 56647"/>
                <a:gd name="connsiteY0" fmla="*/ 15789 h 56647"/>
                <a:gd name="connsiteX1" fmla="*/ 44330 w 56647"/>
                <a:gd name="connsiteY1" fmla="*/ 31367 h 56647"/>
                <a:gd name="connsiteX2" fmla="*/ 28752 w 56647"/>
                <a:gd name="connsiteY2" fmla="*/ 44113 h 56647"/>
                <a:gd name="connsiteX3" fmla="*/ 16006 w 56647"/>
                <a:gd name="connsiteY3" fmla="*/ 28535 h 56647"/>
                <a:gd name="connsiteX4" fmla="*/ 31584 w 56647"/>
                <a:gd name="connsiteY4" fmla="*/ 1578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1584" y="15789"/>
                  </a:moveTo>
                  <a:cubicBezTo>
                    <a:pt x="40081" y="17205"/>
                    <a:pt x="45746" y="24286"/>
                    <a:pt x="44330" y="31367"/>
                  </a:cubicBezTo>
                  <a:cubicBezTo>
                    <a:pt x="42913" y="39864"/>
                    <a:pt x="35833" y="45529"/>
                    <a:pt x="28752" y="44113"/>
                  </a:cubicBezTo>
                  <a:cubicBezTo>
                    <a:pt x="20254" y="42697"/>
                    <a:pt x="14590" y="35616"/>
                    <a:pt x="16006" y="28535"/>
                  </a:cubicBezTo>
                  <a:cubicBezTo>
                    <a:pt x="16006" y="21454"/>
                    <a:pt x="24503" y="15789"/>
                    <a:pt x="31584" y="1578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4" name="Freeform: Shape 2683">
              <a:extLst>
                <a:ext uri="{FF2B5EF4-FFF2-40B4-BE49-F238E27FC236}">
                  <a16:creationId xmlns:a16="http://schemas.microsoft.com/office/drawing/2014/main" id="{405967CC-8443-4474-88A9-53CDAF3EE170}"/>
                </a:ext>
              </a:extLst>
            </p:cNvPr>
            <p:cNvSpPr/>
            <p:nvPr/>
          </p:nvSpPr>
          <p:spPr>
            <a:xfrm>
              <a:off x="7419928" y="1127479"/>
              <a:ext cx="70810" cy="70810"/>
            </a:xfrm>
            <a:custGeom>
              <a:avLst/>
              <a:gdLst>
                <a:gd name="connsiteX0" fmla="*/ 39864 w 70809"/>
                <a:gd name="connsiteY0" fmla="*/ 63940 h 70809"/>
                <a:gd name="connsiteX1" fmla="*/ 63939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4026" y="63940"/>
                    <a:pt x="63939" y="52610"/>
                    <a:pt x="63939" y="39864"/>
                  </a:cubicBezTo>
                  <a:cubicBezTo>
                    <a:pt x="63939" y="25702"/>
                    <a:pt x="52610" y="15789"/>
                    <a:pt x="39864" y="15789"/>
                  </a:cubicBezTo>
                  <a:cubicBezTo>
                    <a:pt x="25702" y="15789"/>
                    <a:pt x="15789" y="27119"/>
                    <a:pt x="15789" y="39864"/>
                  </a:cubicBezTo>
                  <a:cubicBezTo>
                    <a:pt x="15789" y="52610"/>
                    <a:pt x="27118"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5" name="Freeform: Shape 2684">
              <a:extLst>
                <a:ext uri="{FF2B5EF4-FFF2-40B4-BE49-F238E27FC236}">
                  <a16:creationId xmlns:a16="http://schemas.microsoft.com/office/drawing/2014/main" id="{42644D97-64DE-42C1-9B38-42B72B4645FA}"/>
                </a:ext>
              </a:extLst>
            </p:cNvPr>
            <p:cNvSpPr/>
            <p:nvPr/>
          </p:nvSpPr>
          <p:spPr>
            <a:xfrm>
              <a:off x="10105027" y="4808159"/>
              <a:ext cx="42486" cy="42486"/>
            </a:xfrm>
            <a:custGeom>
              <a:avLst/>
              <a:gdLst>
                <a:gd name="connsiteX0" fmla="*/ 25703 w 42485"/>
                <a:gd name="connsiteY0" fmla="*/ 35616 h 42485"/>
                <a:gd name="connsiteX1" fmla="*/ 35615 w 42485"/>
                <a:gd name="connsiteY1" fmla="*/ 25703 h 42485"/>
                <a:gd name="connsiteX2" fmla="*/ 25703 w 42485"/>
                <a:gd name="connsiteY2" fmla="*/ 15789 h 42485"/>
                <a:gd name="connsiteX3" fmla="*/ 15789 w 42485"/>
                <a:gd name="connsiteY3" fmla="*/ 25703 h 42485"/>
                <a:gd name="connsiteX4" fmla="*/ 25703 w 42485"/>
                <a:gd name="connsiteY4" fmla="*/ 35616 h 4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85" h="42485">
                  <a:moveTo>
                    <a:pt x="25703" y="35616"/>
                  </a:moveTo>
                  <a:cubicBezTo>
                    <a:pt x="31367" y="35616"/>
                    <a:pt x="35615" y="31367"/>
                    <a:pt x="35615" y="25703"/>
                  </a:cubicBezTo>
                  <a:cubicBezTo>
                    <a:pt x="35615" y="20037"/>
                    <a:pt x="31367" y="15789"/>
                    <a:pt x="25703" y="15789"/>
                  </a:cubicBezTo>
                  <a:cubicBezTo>
                    <a:pt x="20037" y="15789"/>
                    <a:pt x="15789" y="20037"/>
                    <a:pt x="15789" y="25703"/>
                  </a:cubicBezTo>
                  <a:cubicBezTo>
                    <a:pt x="15789" y="31367"/>
                    <a:pt x="20037" y="35616"/>
                    <a:pt x="25703" y="3561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6" name="Freeform: Shape 2685">
              <a:extLst>
                <a:ext uri="{FF2B5EF4-FFF2-40B4-BE49-F238E27FC236}">
                  <a16:creationId xmlns:a16="http://schemas.microsoft.com/office/drawing/2014/main" id="{D5157C2A-8EE3-4FD5-9CFC-73397D86FF1E}"/>
                </a:ext>
              </a:extLst>
            </p:cNvPr>
            <p:cNvSpPr/>
            <p:nvPr/>
          </p:nvSpPr>
          <p:spPr>
            <a:xfrm>
              <a:off x="7919649" y="1937568"/>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7" name="Freeform: Shape 2686">
              <a:extLst>
                <a:ext uri="{FF2B5EF4-FFF2-40B4-BE49-F238E27FC236}">
                  <a16:creationId xmlns:a16="http://schemas.microsoft.com/office/drawing/2014/main" id="{528693EB-2B8A-425D-996A-3A2496519F77}"/>
                </a:ext>
              </a:extLst>
            </p:cNvPr>
            <p:cNvSpPr/>
            <p:nvPr/>
          </p:nvSpPr>
          <p:spPr>
            <a:xfrm>
              <a:off x="7857955" y="2246037"/>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8" name="Freeform: Shape 2687">
              <a:extLst>
                <a:ext uri="{FF2B5EF4-FFF2-40B4-BE49-F238E27FC236}">
                  <a16:creationId xmlns:a16="http://schemas.microsoft.com/office/drawing/2014/main" id="{613C8461-7CBF-47C5-9988-B7F7E2B0DAA2}"/>
                </a:ext>
              </a:extLst>
            </p:cNvPr>
            <p:cNvSpPr/>
            <p:nvPr/>
          </p:nvSpPr>
          <p:spPr>
            <a:xfrm>
              <a:off x="7027463" y="1996889"/>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89" name="Freeform: Shape 2688">
              <a:extLst>
                <a:ext uri="{FF2B5EF4-FFF2-40B4-BE49-F238E27FC236}">
                  <a16:creationId xmlns:a16="http://schemas.microsoft.com/office/drawing/2014/main" id="{641FBA08-70F0-4800-967A-AB812A7B352C}"/>
                </a:ext>
              </a:extLst>
            </p:cNvPr>
            <p:cNvSpPr/>
            <p:nvPr/>
          </p:nvSpPr>
          <p:spPr>
            <a:xfrm>
              <a:off x="7478301" y="1005043"/>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0" name="Freeform: Shape 2689">
              <a:extLst>
                <a:ext uri="{FF2B5EF4-FFF2-40B4-BE49-F238E27FC236}">
                  <a16:creationId xmlns:a16="http://schemas.microsoft.com/office/drawing/2014/main" id="{41D3A057-EF59-45A1-A73B-58D237A1B2B5}"/>
                </a:ext>
              </a:extLst>
            </p:cNvPr>
            <p:cNvSpPr/>
            <p:nvPr/>
          </p:nvSpPr>
          <p:spPr>
            <a:xfrm>
              <a:off x="6614588" y="1311138"/>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1" name="Freeform: Shape 2690">
              <a:extLst>
                <a:ext uri="{FF2B5EF4-FFF2-40B4-BE49-F238E27FC236}">
                  <a16:creationId xmlns:a16="http://schemas.microsoft.com/office/drawing/2014/main" id="{FF691C02-616D-4F90-9517-8CB56A8E5CAB}"/>
                </a:ext>
              </a:extLst>
            </p:cNvPr>
            <p:cNvSpPr/>
            <p:nvPr/>
          </p:nvSpPr>
          <p:spPr>
            <a:xfrm>
              <a:off x="7416608" y="2696876"/>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2" name="Freeform: Shape 2691">
              <a:extLst>
                <a:ext uri="{FF2B5EF4-FFF2-40B4-BE49-F238E27FC236}">
                  <a16:creationId xmlns:a16="http://schemas.microsoft.com/office/drawing/2014/main" id="{9F4D736F-C8AA-42D7-8D10-C9855EDA3CB7}"/>
                </a:ext>
              </a:extLst>
            </p:cNvPr>
            <p:cNvSpPr/>
            <p:nvPr/>
          </p:nvSpPr>
          <p:spPr>
            <a:xfrm>
              <a:off x="9414537" y="1194870"/>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3" name="Freeform: Shape 2692">
              <a:extLst>
                <a:ext uri="{FF2B5EF4-FFF2-40B4-BE49-F238E27FC236}">
                  <a16:creationId xmlns:a16="http://schemas.microsoft.com/office/drawing/2014/main" id="{7AFF7B06-D6FE-44C2-824D-BD58D0DFA5CA}"/>
                </a:ext>
              </a:extLst>
            </p:cNvPr>
            <p:cNvSpPr/>
            <p:nvPr/>
          </p:nvSpPr>
          <p:spPr>
            <a:xfrm>
              <a:off x="9889105" y="1681301"/>
              <a:ext cx="110207" cy="11020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4" name="Freeform: Shape 2693">
              <a:extLst>
                <a:ext uri="{FF2B5EF4-FFF2-40B4-BE49-F238E27FC236}">
                  <a16:creationId xmlns:a16="http://schemas.microsoft.com/office/drawing/2014/main" id="{AF0D3277-57F9-4A67-BA3C-A6B19564C948}"/>
                </a:ext>
              </a:extLst>
            </p:cNvPr>
            <p:cNvSpPr/>
            <p:nvPr/>
          </p:nvSpPr>
          <p:spPr>
            <a:xfrm>
              <a:off x="10268758" y="1643338"/>
              <a:ext cx="126815" cy="126813"/>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5" name="Freeform: Shape 2694">
              <a:extLst>
                <a:ext uri="{FF2B5EF4-FFF2-40B4-BE49-F238E27FC236}">
                  <a16:creationId xmlns:a16="http://schemas.microsoft.com/office/drawing/2014/main" id="{03EBDA81-D327-499E-9533-2D0BFEE1C891}"/>
                </a:ext>
              </a:extLst>
            </p:cNvPr>
            <p:cNvSpPr/>
            <p:nvPr/>
          </p:nvSpPr>
          <p:spPr>
            <a:xfrm>
              <a:off x="9414536" y="2091804"/>
              <a:ext cx="126815" cy="126813"/>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6" name="Freeform: Shape 2695">
              <a:extLst>
                <a:ext uri="{FF2B5EF4-FFF2-40B4-BE49-F238E27FC236}">
                  <a16:creationId xmlns:a16="http://schemas.microsoft.com/office/drawing/2014/main" id="{700E83C3-45A9-4B58-9821-D5CEC940A268}"/>
                </a:ext>
              </a:extLst>
            </p:cNvPr>
            <p:cNvSpPr/>
            <p:nvPr/>
          </p:nvSpPr>
          <p:spPr>
            <a:xfrm>
              <a:off x="9267421" y="2893823"/>
              <a:ext cx="126815" cy="126813"/>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7" name="Freeform: Shape 2696">
              <a:extLst>
                <a:ext uri="{FF2B5EF4-FFF2-40B4-BE49-F238E27FC236}">
                  <a16:creationId xmlns:a16="http://schemas.microsoft.com/office/drawing/2014/main" id="{ADAA7C57-ABC0-47E0-B111-2D34F45C0256}"/>
                </a:ext>
              </a:extLst>
            </p:cNvPr>
            <p:cNvSpPr/>
            <p:nvPr/>
          </p:nvSpPr>
          <p:spPr>
            <a:xfrm>
              <a:off x="8726414" y="846063"/>
              <a:ext cx="126815" cy="126813"/>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8" name="Freeform: Shape 2697">
              <a:extLst>
                <a:ext uri="{FF2B5EF4-FFF2-40B4-BE49-F238E27FC236}">
                  <a16:creationId xmlns:a16="http://schemas.microsoft.com/office/drawing/2014/main" id="{B4D94A2C-560C-4C28-83B4-F6183A2BA255}"/>
                </a:ext>
              </a:extLst>
            </p:cNvPr>
            <p:cNvSpPr/>
            <p:nvPr/>
          </p:nvSpPr>
          <p:spPr>
            <a:xfrm>
              <a:off x="6154257" y="1480872"/>
              <a:ext cx="85217" cy="85215"/>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699" name="Freeform: Shape 2698">
              <a:extLst>
                <a:ext uri="{FF2B5EF4-FFF2-40B4-BE49-F238E27FC236}">
                  <a16:creationId xmlns:a16="http://schemas.microsoft.com/office/drawing/2014/main" id="{7E4B5B9A-EA31-484D-B718-7579B59C1EA4}"/>
                </a:ext>
              </a:extLst>
            </p:cNvPr>
            <p:cNvSpPr/>
            <p:nvPr/>
          </p:nvSpPr>
          <p:spPr>
            <a:xfrm>
              <a:off x="7108139" y="2470346"/>
              <a:ext cx="75933" cy="7593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0" name="Freeform: Shape 2699">
              <a:extLst>
                <a:ext uri="{FF2B5EF4-FFF2-40B4-BE49-F238E27FC236}">
                  <a16:creationId xmlns:a16="http://schemas.microsoft.com/office/drawing/2014/main" id="{BB5267C2-AB05-4B44-A03B-432920084C55}"/>
                </a:ext>
              </a:extLst>
            </p:cNvPr>
            <p:cNvSpPr/>
            <p:nvPr/>
          </p:nvSpPr>
          <p:spPr>
            <a:xfrm>
              <a:off x="6866109" y="2809662"/>
              <a:ext cx="75933" cy="7593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1" name="Freeform: Shape 2700">
              <a:extLst>
                <a:ext uri="{FF2B5EF4-FFF2-40B4-BE49-F238E27FC236}">
                  <a16:creationId xmlns:a16="http://schemas.microsoft.com/office/drawing/2014/main" id="{5F2C01EB-2C90-4AF2-BCB8-D2EF189EE544}"/>
                </a:ext>
              </a:extLst>
            </p:cNvPr>
            <p:cNvSpPr/>
            <p:nvPr/>
          </p:nvSpPr>
          <p:spPr>
            <a:xfrm>
              <a:off x="6374932" y="2401534"/>
              <a:ext cx="75933" cy="7593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2" name="Freeform: Shape 2701">
              <a:extLst>
                <a:ext uri="{FF2B5EF4-FFF2-40B4-BE49-F238E27FC236}">
                  <a16:creationId xmlns:a16="http://schemas.microsoft.com/office/drawing/2014/main" id="{4D677518-631D-4774-91FA-04D46BE3B4D4}"/>
                </a:ext>
              </a:extLst>
            </p:cNvPr>
            <p:cNvSpPr/>
            <p:nvPr/>
          </p:nvSpPr>
          <p:spPr>
            <a:xfrm>
              <a:off x="5888499" y="2392043"/>
              <a:ext cx="75933" cy="7593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3" name="Freeform: Shape 2702">
              <a:extLst>
                <a:ext uri="{FF2B5EF4-FFF2-40B4-BE49-F238E27FC236}">
                  <a16:creationId xmlns:a16="http://schemas.microsoft.com/office/drawing/2014/main" id="{3934F235-B22D-44FE-AE7A-5365D7393364}"/>
                </a:ext>
              </a:extLst>
            </p:cNvPr>
            <p:cNvSpPr/>
            <p:nvPr/>
          </p:nvSpPr>
          <p:spPr>
            <a:xfrm>
              <a:off x="7233899" y="3208299"/>
              <a:ext cx="75933" cy="7593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4" name="Freeform: Shape 2703">
              <a:extLst>
                <a:ext uri="{FF2B5EF4-FFF2-40B4-BE49-F238E27FC236}">
                  <a16:creationId xmlns:a16="http://schemas.microsoft.com/office/drawing/2014/main" id="{2A896B39-1395-43EB-8E65-B582D588AF84}"/>
                </a:ext>
              </a:extLst>
            </p:cNvPr>
            <p:cNvSpPr/>
            <p:nvPr/>
          </p:nvSpPr>
          <p:spPr>
            <a:xfrm>
              <a:off x="9846383" y="2785362"/>
              <a:ext cx="99133" cy="99133"/>
            </a:xfrm>
            <a:custGeom>
              <a:avLst/>
              <a:gdLst>
                <a:gd name="connsiteX0" fmla="*/ 55442 w 99133"/>
                <a:gd name="connsiteY0" fmla="*/ 95096 h 99133"/>
                <a:gd name="connsiteX1" fmla="*/ 95095 w 99133"/>
                <a:gd name="connsiteY1" fmla="*/ 55442 h 99133"/>
                <a:gd name="connsiteX2" fmla="*/ 55442 w 99133"/>
                <a:gd name="connsiteY2" fmla="*/ 15789 h 99133"/>
                <a:gd name="connsiteX3" fmla="*/ 15789 w 99133"/>
                <a:gd name="connsiteY3" fmla="*/ 55442 h 99133"/>
                <a:gd name="connsiteX4" fmla="*/ 55442 w 99133"/>
                <a:gd name="connsiteY4" fmla="*/ 9509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5442" y="95096"/>
                  </a:moveTo>
                  <a:cubicBezTo>
                    <a:pt x="76685" y="95096"/>
                    <a:pt x="95095" y="76685"/>
                    <a:pt x="95095" y="55442"/>
                  </a:cubicBezTo>
                  <a:cubicBezTo>
                    <a:pt x="95095" y="34199"/>
                    <a:pt x="76685" y="15789"/>
                    <a:pt x="55442" y="15789"/>
                  </a:cubicBezTo>
                  <a:cubicBezTo>
                    <a:pt x="34199" y="15789"/>
                    <a:pt x="15789" y="34199"/>
                    <a:pt x="15789" y="55442"/>
                  </a:cubicBezTo>
                  <a:cubicBezTo>
                    <a:pt x="15789" y="78101"/>
                    <a:pt x="34199" y="95096"/>
                    <a:pt x="55442" y="9509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5" name="Freeform: Shape 2704">
              <a:extLst>
                <a:ext uri="{FF2B5EF4-FFF2-40B4-BE49-F238E27FC236}">
                  <a16:creationId xmlns:a16="http://schemas.microsoft.com/office/drawing/2014/main" id="{3F4FD6C5-D375-415D-AC5E-C245975C84BB}"/>
                </a:ext>
              </a:extLst>
            </p:cNvPr>
            <p:cNvSpPr/>
            <p:nvPr/>
          </p:nvSpPr>
          <p:spPr>
            <a:xfrm>
              <a:off x="9208100" y="3303213"/>
              <a:ext cx="75933" cy="75931"/>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6" name="Freeform: Shape 2705">
              <a:extLst>
                <a:ext uri="{FF2B5EF4-FFF2-40B4-BE49-F238E27FC236}">
                  <a16:creationId xmlns:a16="http://schemas.microsoft.com/office/drawing/2014/main" id="{2DD41953-5AA0-4CA8-94DC-EFE105407171}"/>
                </a:ext>
              </a:extLst>
            </p:cNvPr>
            <p:cNvSpPr/>
            <p:nvPr/>
          </p:nvSpPr>
          <p:spPr>
            <a:xfrm>
              <a:off x="10533462" y="1168977"/>
              <a:ext cx="111260" cy="111258"/>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7" name="Freeform: Shape 2706">
              <a:extLst>
                <a:ext uri="{FF2B5EF4-FFF2-40B4-BE49-F238E27FC236}">
                  <a16:creationId xmlns:a16="http://schemas.microsoft.com/office/drawing/2014/main" id="{C3CEB2B7-3617-43F1-A6E1-DF2047D1937E}"/>
                </a:ext>
              </a:extLst>
            </p:cNvPr>
            <p:cNvSpPr/>
            <p:nvPr/>
          </p:nvSpPr>
          <p:spPr>
            <a:xfrm>
              <a:off x="10608445" y="1961209"/>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1" y="58275"/>
                    <a:pt x="58275" y="48361"/>
                    <a:pt x="58275" y="37032"/>
                  </a:cubicBezTo>
                  <a:cubicBezTo>
                    <a:pt x="58275" y="25702"/>
                    <a:pt x="48361" y="15789"/>
                    <a:pt x="37032" y="15789"/>
                  </a:cubicBezTo>
                  <a:cubicBezTo>
                    <a:pt x="25703" y="15789"/>
                    <a:pt x="15789" y="25702"/>
                    <a:pt x="15789" y="37032"/>
                  </a:cubicBezTo>
                  <a:cubicBezTo>
                    <a:pt x="15789" y="49777"/>
                    <a:pt x="25703"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8" name="Freeform: Shape 2707">
              <a:extLst>
                <a:ext uri="{FF2B5EF4-FFF2-40B4-BE49-F238E27FC236}">
                  <a16:creationId xmlns:a16="http://schemas.microsoft.com/office/drawing/2014/main" id="{C6006926-2A35-40BE-A1FE-F97581747AC5}"/>
                </a:ext>
              </a:extLst>
            </p:cNvPr>
            <p:cNvSpPr/>
            <p:nvPr/>
          </p:nvSpPr>
          <p:spPr>
            <a:xfrm>
              <a:off x="10911006" y="1567407"/>
              <a:ext cx="126815" cy="126813"/>
            </a:xfrm>
            <a:custGeom>
              <a:avLst/>
              <a:gdLst>
                <a:gd name="connsiteX0" fmla="*/ 80933 w 155781"/>
                <a:gd name="connsiteY0" fmla="*/ 146079 h 155780"/>
                <a:gd name="connsiteX1" fmla="*/ 146079 w 155781"/>
                <a:gd name="connsiteY1" fmla="*/ 80934 h 155780"/>
                <a:gd name="connsiteX2" fmla="*/ 80933 w 155781"/>
                <a:gd name="connsiteY2" fmla="*/ 15789 h 155780"/>
                <a:gd name="connsiteX3" fmla="*/ 15789 w 155781"/>
                <a:gd name="connsiteY3" fmla="*/ 80934 h 155780"/>
                <a:gd name="connsiteX4" fmla="*/ 80933 w 155781"/>
                <a:gd name="connsiteY4" fmla="*/ 146079 h 155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81" h="155780">
                  <a:moveTo>
                    <a:pt x="80933" y="146079"/>
                  </a:moveTo>
                  <a:cubicBezTo>
                    <a:pt x="116338" y="146079"/>
                    <a:pt x="146079" y="116339"/>
                    <a:pt x="146079" y="80934"/>
                  </a:cubicBezTo>
                  <a:cubicBezTo>
                    <a:pt x="146079" y="45529"/>
                    <a:pt x="116338" y="15789"/>
                    <a:pt x="80933" y="15789"/>
                  </a:cubicBezTo>
                  <a:cubicBezTo>
                    <a:pt x="45529" y="15789"/>
                    <a:pt x="15789" y="45529"/>
                    <a:pt x="15789" y="80934"/>
                  </a:cubicBezTo>
                  <a:cubicBezTo>
                    <a:pt x="15789" y="116339"/>
                    <a:pt x="45529" y="146079"/>
                    <a:pt x="80933" y="14607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09" name="Freeform: Shape 2708">
              <a:extLst>
                <a:ext uri="{FF2B5EF4-FFF2-40B4-BE49-F238E27FC236}">
                  <a16:creationId xmlns:a16="http://schemas.microsoft.com/office/drawing/2014/main" id="{81214705-8019-4A49-B79E-D2E031E4807A}"/>
                </a:ext>
              </a:extLst>
            </p:cNvPr>
            <p:cNvSpPr/>
            <p:nvPr/>
          </p:nvSpPr>
          <p:spPr>
            <a:xfrm>
              <a:off x="8650853" y="3531843"/>
              <a:ext cx="99133" cy="99133"/>
            </a:xfrm>
            <a:custGeom>
              <a:avLst/>
              <a:gdLst>
                <a:gd name="connsiteX0" fmla="*/ 49778 w 99133"/>
                <a:gd name="connsiteY0" fmla="*/ 83766 h 99133"/>
                <a:gd name="connsiteX1" fmla="*/ 83766 w 99133"/>
                <a:gd name="connsiteY1" fmla="*/ 49777 h 99133"/>
                <a:gd name="connsiteX2" fmla="*/ 49778 w 99133"/>
                <a:gd name="connsiteY2" fmla="*/ 15789 h 99133"/>
                <a:gd name="connsiteX3" fmla="*/ 15789 w 99133"/>
                <a:gd name="connsiteY3" fmla="*/ 49777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7"/>
                  </a:cubicBezTo>
                  <a:cubicBezTo>
                    <a:pt x="83766" y="31367"/>
                    <a:pt x="68188" y="15789"/>
                    <a:pt x="49778" y="15789"/>
                  </a:cubicBezTo>
                  <a:cubicBezTo>
                    <a:pt x="31367" y="15789"/>
                    <a:pt x="15789" y="31367"/>
                    <a:pt x="15789" y="49777"/>
                  </a:cubicBezTo>
                  <a:cubicBezTo>
                    <a:pt x="17205" y="68188"/>
                    <a:pt x="31367" y="83766"/>
                    <a:pt x="49778" y="8376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0" name="Freeform: Shape 2709">
              <a:extLst>
                <a:ext uri="{FF2B5EF4-FFF2-40B4-BE49-F238E27FC236}">
                  <a16:creationId xmlns:a16="http://schemas.microsoft.com/office/drawing/2014/main" id="{9312BE59-6889-4600-BA80-038FE597153B}"/>
                </a:ext>
              </a:extLst>
            </p:cNvPr>
            <p:cNvSpPr/>
            <p:nvPr/>
          </p:nvSpPr>
          <p:spPr>
            <a:xfrm>
              <a:off x="9111184" y="4272169"/>
              <a:ext cx="99133" cy="99133"/>
            </a:xfrm>
            <a:custGeom>
              <a:avLst/>
              <a:gdLst>
                <a:gd name="connsiteX0" fmla="*/ 49778 w 99133"/>
                <a:gd name="connsiteY0" fmla="*/ 83766 h 99133"/>
                <a:gd name="connsiteX1" fmla="*/ 83766 w 99133"/>
                <a:gd name="connsiteY1" fmla="*/ 49777 h 99133"/>
                <a:gd name="connsiteX2" fmla="*/ 49778 w 99133"/>
                <a:gd name="connsiteY2" fmla="*/ 15789 h 99133"/>
                <a:gd name="connsiteX3" fmla="*/ 15789 w 99133"/>
                <a:gd name="connsiteY3" fmla="*/ 49777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7"/>
                  </a:cubicBezTo>
                  <a:cubicBezTo>
                    <a:pt x="83766" y="31367"/>
                    <a:pt x="68188" y="15789"/>
                    <a:pt x="49778" y="15789"/>
                  </a:cubicBezTo>
                  <a:cubicBezTo>
                    <a:pt x="31367" y="15789"/>
                    <a:pt x="15789" y="31367"/>
                    <a:pt x="15789" y="49777"/>
                  </a:cubicBezTo>
                  <a:cubicBezTo>
                    <a:pt x="17205" y="68188"/>
                    <a:pt x="31367" y="83766"/>
                    <a:pt x="49778" y="8376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1" name="Freeform: Shape 2710">
              <a:extLst>
                <a:ext uri="{FF2B5EF4-FFF2-40B4-BE49-F238E27FC236}">
                  <a16:creationId xmlns:a16="http://schemas.microsoft.com/office/drawing/2014/main" id="{C69C7BD3-56F4-45A4-BDAB-36B641C3BAF2}"/>
                </a:ext>
              </a:extLst>
            </p:cNvPr>
            <p:cNvSpPr/>
            <p:nvPr/>
          </p:nvSpPr>
          <p:spPr>
            <a:xfrm>
              <a:off x="9826167" y="4349660"/>
              <a:ext cx="70810" cy="70810"/>
            </a:xfrm>
            <a:custGeom>
              <a:avLst/>
              <a:gdLst>
                <a:gd name="connsiteX0" fmla="*/ 41280 w 70809"/>
                <a:gd name="connsiteY0" fmla="*/ 66772 h 70809"/>
                <a:gd name="connsiteX1" fmla="*/ 66772 w 70809"/>
                <a:gd name="connsiteY1" fmla="*/ 41281 h 70809"/>
                <a:gd name="connsiteX2" fmla="*/ 41280 w 70809"/>
                <a:gd name="connsiteY2" fmla="*/ 15789 h 70809"/>
                <a:gd name="connsiteX3" fmla="*/ 15789 w 70809"/>
                <a:gd name="connsiteY3" fmla="*/ 41281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3"/>
                    <a:pt x="66772" y="41281"/>
                  </a:cubicBezTo>
                  <a:cubicBezTo>
                    <a:pt x="66772" y="27119"/>
                    <a:pt x="55442" y="15789"/>
                    <a:pt x="41280" y="15789"/>
                  </a:cubicBezTo>
                  <a:cubicBezTo>
                    <a:pt x="27118" y="15789"/>
                    <a:pt x="15789" y="27119"/>
                    <a:pt x="15789" y="41281"/>
                  </a:cubicBezTo>
                  <a:cubicBezTo>
                    <a:pt x="15789" y="54026"/>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2" name="Freeform: Shape 2711">
              <a:extLst>
                <a:ext uri="{FF2B5EF4-FFF2-40B4-BE49-F238E27FC236}">
                  <a16:creationId xmlns:a16="http://schemas.microsoft.com/office/drawing/2014/main" id="{8765FE53-CE34-48B3-ABDF-41DD27397332}"/>
                </a:ext>
              </a:extLst>
            </p:cNvPr>
            <p:cNvSpPr/>
            <p:nvPr/>
          </p:nvSpPr>
          <p:spPr>
            <a:xfrm>
              <a:off x="10042095" y="4532368"/>
              <a:ext cx="70810" cy="70810"/>
            </a:xfrm>
            <a:custGeom>
              <a:avLst/>
              <a:gdLst>
                <a:gd name="connsiteX0" fmla="*/ 41280 w 70809"/>
                <a:gd name="connsiteY0" fmla="*/ 66772 h 70809"/>
                <a:gd name="connsiteX1" fmla="*/ 66772 w 70809"/>
                <a:gd name="connsiteY1" fmla="*/ 41281 h 70809"/>
                <a:gd name="connsiteX2" fmla="*/ 41280 w 70809"/>
                <a:gd name="connsiteY2" fmla="*/ 15789 h 70809"/>
                <a:gd name="connsiteX3" fmla="*/ 15789 w 70809"/>
                <a:gd name="connsiteY3" fmla="*/ 41281 h 70809"/>
                <a:gd name="connsiteX4" fmla="*/ 41280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280" y="66772"/>
                  </a:moveTo>
                  <a:cubicBezTo>
                    <a:pt x="55442" y="66772"/>
                    <a:pt x="66772" y="55443"/>
                    <a:pt x="66772" y="41281"/>
                  </a:cubicBezTo>
                  <a:cubicBezTo>
                    <a:pt x="66772" y="27119"/>
                    <a:pt x="55442" y="15789"/>
                    <a:pt x="41280" y="15789"/>
                  </a:cubicBezTo>
                  <a:cubicBezTo>
                    <a:pt x="27118" y="15789"/>
                    <a:pt x="15789" y="27119"/>
                    <a:pt x="15789" y="41281"/>
                  </a:cubicBezTo>
                  <a:cubicBezTo>
                    <a:pt x="15789" y="54026"/>
                    <a:pt x="27118" y="66772"/>
                    <a:pt x="41280"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3" name="Freeform: Shape 2712">
              <a:extLst>
                <a:ext uri="{FF2B5EF4-FFF2-40B4-BE49-F238E27FC236}">
                  <a16:creationId xmlns:a16="http://schemas.microsoft.com/office/drawing/2014/main" id="{AE132DA9-C864-4C24-923C-5A8424B757B5}"/>
                </a:ext>
              </a:extLst>
            </p:cNvPr>
            <p:cNvSpPr/>
            <p:nvPr/>
          </p:nvSpPr>
          <p:spPr>
            <a:xfrm>
              <a:off x="6647142" y="4383006"/>
              <a:ext cx="84971" cy="84971"/>
            </a:xfrm>
            <a:custGeom>
              <a:avLst/>
              <a:gdLst>
                <a:gd name="connsiteX0" fmla="*/ 49885 w 84971"/>
                <a:gd name="connsiteY0" fmla="*/ 15897 h 84971"/>
                <a:gd name="connsiteX1" fmla="*/ 78209 w 84971"/>
                <a:gd name="connsiteY1" fmla="*/ 49885 h 84971"/>
                <a:gd name="connsiteX2" fmla="*/ 44220 w 84971"/>
                <a:gd name="connsiteY2" fmla="*/ 78209 h 84971"/>
                <a:gd name="connsiteX3" fmla="*/ 15896 w 84971"/>
                <a:gd name="connsiteY3" fmla="*/ 44220 h 84971"/>
                <a:gd name="connsiteX4" fmla="*/ 49885 w 84971"/>
                <a:gd name="connsiteY4" fmla="*/ 1589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9885" y="15897"/>
                  </a:moveTo>
                  <a:cubicBezTo>
                    <a:pt x="66879" y="17313"/>
                    <a:pt x="79625" y="32891"/>
                    <a:pt x="78209" y="49885"/>
                  </a:cubicBezTo>
                  <a:cubicBezTo>
                    <a:pt x="76793" y="66879"/>
                    <a:pt x="61215" y="79625"/>
                    <a:pt x="44220" y="78209"/>
                  </a:cubicBezTo>
                  <a:cubicBezTo>
                    <a:pt x="27226" y="76793"/>
                    <a:pt x="14481" y="61215"/>
                    <a:pt x="15896" y="44220"/>
                  </a:cubicBezTo>
                  <a:cubicBezTo>
                    <a:pt x="17313" y="27226"/>
                    <a:pt x="32891" y="14480"/>
                    <a:pt x="49885" y="1589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4" name="Freeform: Shape 2713">
              <a:extLst>
                <a:ext uri="{FF2B5EF4-FFF2-40B4-BE49-F238E27FC236}">
                  <a16:creationId xmlns:a16="http://schemas.microsoft.com/office/drawing/2014/main" id="{14B8AD1B-A5EC-4E8B-873D-E401E1D4B8F8}"/>
                </a:ext>
              </a:extLst>
            </p:cNvPr>
            <p:cNvSpPr/>
            <p:nvPr/>
          </p:nvSpPr>
          <p:spPr>
            <a:xfrm>
              <a:off x="6322063" y="3645053"/>
              <a:ext cx="84971" cy="84971"/>
            </a:xfrm>
            <a:custGeom>
              <a:avLst/>
              <a:gdLst>
                <a:gd name="connsiteX0" fmla="*/ 49885 w 84971"/>
                <a:gd name="connsiteY0" fmla="*/ 15897 h 84971"/>
                <a:gd name="connsiteX1" fmla="*/ 78209 w 84971"/>
                <a:gd name="connsiteY1" fmla="*/ 49885 h 84971"/>
                <a:gd name="connsiteX2" fmla="*/ 44220 w 84971"/>
                <a:gd name="connsiteY2" fmla="*/ 78209 h 84971"/>
                <a:gd name="connsiteX3" fmla="*/ 15896 w 84971"/>
                <a:gd name="connsiteY3" fmla="*/ 44220 h 84971"/>
                <a:gd name="connsiteX4" fmla="*/ 49885 w 84971"/>
                <a:gd name="connsiteY4" fmla="*/ 1589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9885" y="15897"/>
                  </a:moveTo>
                  <a:cubicBezTo>
                    <a:pt x="66879" y="17313"/>
                    <a:pt x="79625" y="32891"/>
                    <a:pt x="78209" y="49885"/>
                  </a:cubicBezTo>
                  <a:cubicBezTo>
                    <a:pt x="76793" y="66879"/>
                    <a:pt x="61215" y="79625"/>
                    <a:pt x="44220" y="78209"/>
                  </a:cubicBezTo>
                  <a:cubicBezTo>
                    <a:pt x="27226" y="76793"/>
                    <a:pt x="14481" y="61215"/>
                    <a:pt x="15896" y="44220"/>
                  </a:cubicBezTo>
                  <a:cubicBezTo>
                    <a:pt x="17313" y="27226"/>
                    <a:pt x="32891" y="14480"/>
                    <a:pt x="49885" y="1589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5" name="Freeform: Shape 2714">
              <a:extLst>
                <a:ext uri="{FF2B5EF4-FFF2-40B4-BE49-F238E27FC236}">
                  <a16:creationId xmlns:a16="http://schemas.microsoft.com/office/drawing/2014/main" id="{B1DCD11B-5A9B-4BD8-AF59-ABB2D233F96E}"/>
                </a:ext>
              </a:extLst>
            </p:cNvPr>
            <p:cNvSpPr/>
            <p:nvPr/>
          </p:nvSpPr>
          <p:spPr>
            <a:xfrm>
              <a:off x="5437531" y="3521407"/>
              <a:ext cx="84971" cy="84971"/>
            </a:xfrm>
            <a:custGeom>
              <a:avLst/>
              <a:gdLst>
                <a:gd name="connsiteX0" fmla="*/ 45649 w 84971"/>
                <a:gd name="connsiteY0" fmla="*/ 15909 h 84971"/>
                <a:gd name="connsiteX1" fmla="*/ 71140 w 84971"/>
                <a:gd name="connsiteY1" fmla="*/ 45648 h 84971"/>
                <a:gd name="connsiteX2" fmla="*/ 41400 w 84971"/>
                <a:gd name="connsiteY2" fmla="*/ 71140 h 84971"/>
                <a:gd name="connsiteX3" fmla="*/ 15908 w 84971"/>
                <a:gd name="connsiteY3" fmla="*/ 41400 h 84971"/>
                <a:gd name="connsiteX4" fmla="*/ 45649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9" y="15909"/>
                  </a:moveTo>
                  <a:cubicBezTo>
                    <a:pt x="61227" y="17325"/>
                    <a:pt x="72556" y="30070"/>
                    <a:pt x="71140" y="45648"/>
                  </a:cubicBezTo>
                  <a:cubicBezTo>
                    <a:pt x="69724" y="61227"/>
                    <a:pt x="56978" y="72556"/>
                    <a:pt x="41400" y="71140"/>
                  </a:cubicBezTo>
                  <a:cubicBezTo>
                    <a:pt x="25822" y="69724"/>
                    <a:pt x="14493" y="56978"/>
                    <a:pt x="15908" y="41400"/>
                  </a:cubicBezTo>
                  <a:cubicBezTo>
                    <a:pt x="15908" y="25822"/>
                    <a:pt x="30070" y="14492"/>
                    <a:pt x="45649" y="1590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6" name="Freeform: Shape 2715">
              <a:extLst>
                <a:ext uri="{FF2B5EF4-FFF2-40B4-BE49-F238E27FC236}">
                  <a16:creationId xmlns:a16="http://schemas.microsoft.com/office/drawing/2014/main" id="{96A51211-1657-49E2-A937-63F5689CD9BC}"/>
                </a:ext>
              </a:extLst>
            </p:cNvPr>
            <p:cNvSpPr/>
            <p:nvPr/>
          </p:nvSpPr>
          <p:spPr>
            <a:xfrm>
              <a:off x="6196839" y="4425458"/>
              <a:ext cx="84971" cy="84971"/>
            </a:xfrm>
            <a:custGeom>
              <a:avLst/>
              <a:gdLst>
                <a:gd name="connsiteX0" fmla="*/ 45649 w 84971"/>
                <a:gd name="connsiteY0" fmla="*/ 15909 h 84971"/>
                <a:gd name="connsiteX1" fmla="*/ 71140 w 84971"/>
                <a:gd name="connsiteY1" fmla="*/ 45648 h 84971"/>
                <a:gd name="connsiteX2" fmla="*/ 41400 w 84971"/>
                <a:gd name="connsiteY2" fmla="*/ 71140 h 84971"/>
                <a:gd name="connsiteX3" fmla="*/ 15908 w 84971"/>
                <a:gd name="connsiteY3" fmla="*/ 41400 h 84971"/>
                <a:gd name="connsiteX4" fmla="*/ 45649 w 84971"/>
                <a:gd name="connsiteY4" fmla="*/ 15909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5649" y="15909"/>
                  </a:moveTo>
                  <a:cubicBezTo>
                    <a:pt x="61227" y="17325"/>
                    <a:pt x="72556" y="30070"/>
                    <a:pt x="71140" y="45648"/>
                  </a:cubicBezTo>
                  <a:cubicBezTo>
                    <a:pt x="69724" y="61227"/>
                    <a:pt x="56978" y="72556"/>
                    <a:pt x="41400" y="71140"/>
                  </a:cubicBezTo>
                  <a:cubicBezTo>
                    <a:pt x="25822" y="69724"/>
                    <a:pt x="14493" y="56978"/>
                    <a:pt x="15908" y="41400"/>
                  </a:cubicBezTo>
                  <a:cubicBezTo>
                    <a:pt x="15908" y="25822"/>
                    <a:pt x="30070" y="14492"/>
                    <a:pt x="45649" y="1590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7" name="Freeform: Shape 2716">
              <a:extLst>
                <a:ext uri="{FF2B5EF4-FFF2-40B4-BE49-F238E27FC236}">
                  <a16:creationId xmlns:a16="http://schemas.microsoft.com/office/drawing/2014/main" id="{52508AC9-D683-43F7-8367-E6DE29F5943B}"/>
                </a:ext>
              </a:extLst>
            </p:cNvPr>
            <p:cNvSpPr/>
            <p:nvPr/>
          </p:nvSpPr>
          <p:spPr>
            <a:xfrm>
              <a:off x="6038474" y="1765057"/>
              <a:ext cx="70810" cy="70810"/>
            </a:xfrm>
            <a:custGeom>
              <a:avLst/>
              <a:gdLst>
                <a:gd name="connsiteX0" fmla="*/ 37032 w 70809"/>
                <a:gd name="connsiteY0" fmla="*/ 58275 h 70809"/>
                <a:gd name="connsiteX1" fmla="*/ 58275 w 70809"/>
                <a:gd name="connsiteY1" fmla="*/ 37032 h 70809"/>
                <a:gd name="connsiteX2" fmla="*/ 37032 w 70809"/>
                <a:gd name="connsiteY2" fmla="*/ 15789 h 70809"/>
                <a:gd name="connsiteX3" fmla="*/ 15789 w 70809"/>
                <a:gd name="connsiteY3" fmla="*/ 37032 h 70809"/>
                <a:gd name="connsiteX4" fmla="*/ 37032 w 70809"/>
                <a:gd name="connsiteY4" fmla="*/ 58275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7032" y="58275"/>
                  </a:moveTo>
                  <a:cubicBezTo>
                    <a:pt x="48362" y="58275"/>
                    <a:pt x="58275" y="48361"/>
                    <a:pt x="58275" y="37032"/>
                  </a:cubicBezTo>
                  <a:cubicBezTo>
                    <a:pt x="58275" y="25702"/>
                    <a:pt x="48362" y="15789"/>
                    <a:pt x="37032" y="15789"/>
                  </a:cubicBezTo>
                  <a:cubicBezTo>
                    <a:pt x="25703" y="15789"/>
                    <a:pt x="15789" y="25702"/>
                    <a:pt x="15789" y="37032"/>
                  </a:cubicBezTo>
                  <a:cubicBezTo>
                    <a:pt x="15789" y="48361"/>
                    <a:pt x="25703" y="58275"/>
                    <a:pt x="37032" y="58275"/>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8" name="Freeform: Shape 2717">
              <a:extLst>
                <a:ext uri="{FF2B5EF4-FFF2-40B4-BE49-F238E27FC236}">
                  <a16:creationId xmlns:a16="http://schemas.microsoft.com/office/drawing/2014/main" id="{09BAD74C-8E0C-441A-A3EB-EEF15C4427AD}"/>
                </a:ext>
              </a:extLst>
            </p:cNvPr>
            <p:cNvSpPr/>
            <p:nvPr/>
          </p:nvSpPr>
          <p:spPr>
            <a:xfrm>
              <a:off x="4237494" y="4225851"/>
              <a:ext cx="99133" cy="99133"/>
            </a:xfrm>
            <a:custGeom>
              <a:avLst/>
              <a:gdLst>
                <a:gd name="connsiteX0" fmla="*/ 49778 w 99133"/>
                <a:gd name="connsiteY0" fmla="*/ 83766 h 99133"/>
                <a:gd name="connsiteX1" fmla="*/ 83766 w 99133"/>
                <a:gd name="connsiteY1" fmla="*/ 49777 h 99133"/>
                <a:gd name="connsiteX2" fmla="*/ 49778 w 99133"/>
                <a:gd name="connsiteY2" fmla="*/ 15789 h 99133"/>
                <a:gd name="connsiteX3" fmla="*/ 15789 w 99133"/>
                <a:gd name="connsiteY3" fmla="*/ 49777 h 99133"/>
                <a:gd name="connsiteX4" fmla="*/ 49778 w 99133"/>
                <a:gd name="connsiteY4" fmla="*/ 83766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49778" y="83766"/>
                  </a:moveTo>
                  <a:cubicBezTo>
                    <a:pt x="68188" y="83766"/>
                    <a:pt x="83766" y="68188"/>
                    <a:pt x="83766" y="49777"/>
                  </a:cubicBezTo>
                  <a:cubicBezTo>
                    <a:pt x="83766" y="31367"/>
                    <a:pt x="68188" y="15789"/>
                    <a:pt x="49778" y="15789"/>
                  </a:cubicBezTo>
                  <a:cubicBezTo>
                    <a:pt x="31367" y="15789"/>
                    <a:pt x="15789" y="31367"/>
                    <a:pt x="15789" y="49777"/>
                  </a:cubicBezTo>
                  <a:cubicBezTo>
                    <a:pt x="15789" y="69604"/>
                    <a:pt x="31367" y="83766"/>
                    <a:pt x="49778" y="83766"/>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19" name="Freeform: Shape 2718">
              <a:extLst>
                <a:ext uri="{FF2B5EF4-FFF2-40B4-BE49-F238E27FC236}">
                  <a16:creationId xmlns:a16="http://schemas.microsoft.com/office/drawing/2014/main" id="{03F2D3EA-0601-4B00-BB95-0499E8B86E03}"/>
                </a:ext>
              </a:extLst>
            </p:cNvPr>
            <p:cNvSpPr/>
            <p:nvPr/>
          </p:nvSpPr>
          <p:spPr>
            <a:xfrm>
              <a:off x="4375261" y="4552120"/>
              <a:ext cx="70810" cy="70810"/>
            </a:xfrm>
            <a:custGeom>
              <a:avLst/>
              <a:gdLst>
                <a:gd name="connsiteX0" fmla="*/ 41388 w 70809"/>
                <a:gd name="connsiteY0" fmla="*/ 66772 h 70809"/>
                <a:gd name="connsiteX1" fmla="*/ 66879 w 70809"/>
                <a:gd name="connsiteY1" fmla="*/ 41280 h 70809"/>
                <a:gd name="connsiteX2" fmla="*/ 41388 w 70809"/>
                <a:gd name="connsiteY2" fmla="*/ 15789 h 70809"/>
                <a:gd name="connsiteX3" fmla="*/ 15897 w 70809"/>
                <a:gd name="connsiteY3" fmla="*/ 41280 h 70809"/>
                <a:gd name="connsiteX4" fmla="*/ 41388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388" y="66772"/>
                  </a:moveTo>
                  <a:cubicBezTo>
                    <a:pt x="55550" y="66772"/>
                    <a:pt x="66879" y="55442"/>
                    <a:pt x="66879" y="41280"/>
                  </a:cubicBezTo>
                  <a:cubicBezTo>
                    <a:pt x="66879" y="27118"/>
                    <a:pt x="55550" y="15789"/>
                    <a:pt x="41388" y="15789"/>
                  </a:cubicBezTo>
                  <a:cubicBezTo>
                    <a:pt x="27226" y="15789"/>
                    <a:pt x="15897" y="27118"/>
                    <a:pt x="15897" y="41280"/>
                  </a:cubicBezTo>
                  <a:cubicBezTo>
                    <a:pt x="14481" y="54026"/>
                    <a:pt x="27226" y="66772"/>
                    <a:pt x="41388"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0" name="Freeform: Shape 2719">
              <a:extLst>
                <a:ext uri="{FF2B5EF4-FFF2-40B4-BE49-F238E27FC236}">
                  <a16:creationId xmlns:a16="http://schemas.microsoft.com/office/drawing/2014/main" id="{BB579F6F-F895-4C67-A42E-BEA9F2696D10}"/>
                </a:ext>
              </a:extLst>
            </p:cNvPr>
            <p:cNvSpPr/>
            <p:nvPr/>
          </p:nvSpPr>
          <p:spPr>
            <a:xfrm>
              <a:off x="3663410" y="5176177"/>
              <a:ext cx="70810" cy="70810"/>
            </a:xfrm>
            <a:custGeom>
              <a:avLst/>
              <a:gdLst>
                <a:gd name="connsiteX0" fmla="*/ 41388 w 70809"/>
                <a:gd name="connsiteY0" fmla="*/ 66772 h 70809"/>
                <a:gd name="connsiteX1" fmla="*/ 66879 w 70809"/>
                <a:gd name="connsiteY1" fmla="*/ 41280 h 70809"/>
                <a:gd name="connsiteX2" fmla="*/ 41388 w 70809"/>
                <a:gd name="connsiteY2" fmla="*/ 15789 h 70809"/>
                <a:gd name="connsiteX3" fmla="*/ 15897 w 70809"/>
                <a:gd name="connsiteY3" fmla="*/ 41280 h 70809"/>
                <a:gd name="connsiteX4" fmla="*/ 41388 w 70809"/>
                <a:gd name="connsiteY4" fmla="*/ 66772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41388" y="66772"/>
                  </a:moveTo>
                  <a:cubicBezTo>
                    <a:pt x="55550" y="66772"/>
                    <a:pt x="66879" y="55442"/>
                    <a:pt x="66879" y="41280"/>
                  </a:cubicBezTo>
                  <a:cubicBezTo>
                    <a:pt x="66879" y="27118"/>
                    <a:pt x="55550" y="15789"/>
                    <a:pt x="41388" y="15789"/>
                  </a:cubicBezTo>
                  <a:cubicBezTo>
                    <a:pt x="27226" y="15789"/>
                    <a:pt x="15897" y="27118"/>
                    <a:pt x="15897" y="41280"/>
                  </a:cubicBezTo>
                  <a:cubicBezTo>
                    <a:pt x="14481" y="54026"/>
                    <a:pt x="27226" y="66772"/>
                    <a:pt x="41388" y="66772"/>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1" name="Freeform: Shape 2720">
              <a:extLst>
                <a:ext uri="{FF2B5EF4-FFF2-40B4-BE49-F238E27FC236}">
                  <a16:creationId xmlns:a16="http://schemas.microsoft.com/office/drawing/2014/main" id="{FAC9CBC8-F98F-4398-AC47-14533D893FBB}"/>
                </a:ext>
              </a:extLst>
            </p:cNvPr>
            <p:cNvSpPr/>
            <p:nvPr/>
          </p:nvSpPr>
          <p:spPr>
            <a:xfrm>
              <a:off x="3997428" y="5361485"/>
              <a:ext cx="56648" cy="56648"/>
            </a:xfrm>
            <a:custGeom>
              <a:avLst/>
              <a:gdLst>
                <a:gd name="connsiteX0" fmla="*/ 35771 w 56647"/>
                <a:gd name="connsiteY0" fmla="*/ 15969 h 56647"/>
                <a:gd name="connsiteX1" fmla="*/ 52765 w 56647"/>
                <a:gd name="connsiteY1" fmla="*/ 35795 h 56647"/>
                <a:gd name="connsiteX2" fmla="*/ 32938 w 56647"/>
                <a:gd name="connsiteY2" fmla="*/ 52790 h 56647"/>
                <a:gd name="connsiteX3" fmla="*/ 15944 w 56647"/>
                <a:gd name="connsiteY3" fmla="*/ 32963 h 56647"/>
                <a:gd name="connsiteX4" fmla="*/ 35771 w 56647"/>
                <a:gd name="connsiteY4" fmla="*/ 15969 h 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7" h="56647">
                  <a:moveTo>
                    <a:pt x="35771" y="15969"/>
                  </a:moveTo>
                  <a:cubicBezTo>
                    <a:pt x="45684" y="17385"/>
                    <a:pt x="54181" y="25882"/>
                    <a:pt x="52765" y="35795"/>
                  </a:cubicBezTo>
                  <a:cubicBezTo>
                    <a:pt x="51349" y="45709"/>
                    <a:pt x="42852" y="54205"/>
                    <a:pt x="32938" y="52790"/>
                  </a:cubicBezTo>
                  <a:cubicBezTo>
                    <a:pt x="23025" y="51373"/>
                    <a:pt x="14528" y="42876"/>
                    <a:pt x="15944" y="32963"/>
                  </a:cubicBezTo>
                  <a:cubicBezTo>
                    <a:pt x="15944" y="21633"/>
                    <a:pt x="25857" y="14552"/>
                    <a:pt x="35771" y="1596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2" name="Freeform: Shape 2721">
              <a:extLst>
                <a:ext uri="{FF2B5EF4-FFF2-40B4-BE49-F238E27FC236}">
                  <a16:creationId xmlns:a16="http://schemas.microsoft.com/office/drawing/2014/main" id="{3C1351D2-D3F0-4D2D-A2EA-AF08E08166FC}"/>
                </a:ext>
              </a:extLst>
            </p:cNvPr>
            <p:cNvSpPr/>
            <p:nvPr/>
          </p:nvSpPr>
          <p:spPr>
            <a:xfrm>
              <a:off x="3793267" y="4280604"/>
              <a:ext cx="70810" cy="70810"/>
            </a:xfrm>
            <a:custGeom>
              <a:avLst/>
              <a:gdLst>
                <a:gd name="connsiteX0" fmla="*/ 35616 w 70809"/>
                <a:gd name="connsiteY0" fmla="*/ 55443 h 70809"/>
                <a:gd name="connsiteX1" fmla="*/ 55442 w 70809"/>
                <a:gd name="connsiteY1" fmla="*/ 35616 h 70809"/>
                <a:gd name="connsiteX2" fmla="*/ 35616 w 70809"/>
                <a:gd name="connsiteY2" fmla="*/ 15789 h 70809"/>
                <a:gd name="connsiteX3" fmla="*/ 15789 w 70809"/>
                <a:gd name="connsiteY3" fmla="*/ 35616 h 70809"/>
                <a:gd name="connsiteX4" fmla="*/ 35616 w 70809"/>
                <a:gd name="connsiteY4" fmla="*/ 55443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5616" y="55443"/>
                  </a:moveTo>
                  <a:cubicBezTo>
                    <a:pt x="46945" y="55443"/>
                    <a:pt x="55442" y="46945"/>
                    <a:pt x="55442" y="35616"/>
                  </a:cubicBezTo>
                  <a:cubicBezTo>
                    <a:pt x="55442" y="24286"/>
                    <a:pt x="46945" y="15789"/>
                    <a:pt x="35616" y="15789"/>
                  </a:cubicBezTo>
                  <a:cubicBezTo>
                    <a:pt x="24286" y="15789"/>
                    <a:pt x="15789" y="24286"/>
                    <a:pt x="15789" y="35616"/>
                  </a:cubicBezTo>
                  <a:cubicBezTo>
                    <a:pt x="17205" y="45529"/>
                    <a:pt x="25703" y="55443"/>
                    <a:pt x="35616" y="55443"/>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3" name="Freeform: Shape 2722">
              <a:extLst>
                <a:ext uri="{FF2B5EF4-FFF2-40B4-BE49-F238E27FC236}">
                  <a16:creationId xmlns:a16="http://schemas.microsoft.com/office/drawing/2014/main" id="{BA02B67B-80CF-4DC4-B7EC-AC7F0582AE03}"/>
                </a:ext>
              </a:extLst>
            </p:cNvPr>
            <p:cNvSpPr/>
            <p:nvPr/>
          </p:nvSpPr>
          <p:spPr>
            <a:xfrm>
              <a:off x="2794843" y="2999667"/>
              <a:ext cx="70810" cy="70810"/>
            </a:xfrm>
            <a:custGeom>
              <a:avLst/>
              <a:gdLst>
                <a:gd name="connsiteX0" fmla="*/ 39864 w 70809"/>
                <a:gd name="connsiteY0" fmla="*/ 63940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4026" y="63940"/>
                    <a:pt x="63940" y="52610"/>
                    <a:pt x="63940" y="39864"/>
                  </a:cubicBezTo>
                  <a:cubicBezTo>
                    <a:pt x="63940" y="25703"/>
                    <a:pt x="52610" y="15789"/>
                    <a:pt x="39864" y="15789"/>
                  </a:cubicBezTo>
                  <a:cubicBezTo>
                    <a:pt x="25702" y="15789"/>
                    <a:pt x="15789" y="27119"/>
                    <a:pt x="15789" y="39864"/>
                  </a:cubicBezTo>
                  <a:cubicBezTo>
                    <a:pt x="15789" y="52610"/>
                    <a:pt x="27119"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4" name="Freeform: Shape 2723">
              <a:extLst>
                <a:ext uri="{FF2B5EF4-FFF2-40B4-BE49-F238E27FC236}">
                  <a16:creationId xmlns:a16="http://schemas.microsoft.com/office/drawing/2014/main" id="{4CF27316-7466-46F7-AF4C-3A550B768BC8}"/>
                </a:ext>
              </a:extLst>
            </p:cNvPr>
            <p:cNvSpPr/>
            <p:nvPr/>
          </p:nvSpPr>
          <p:spPr>
            <a:xfrm>
              <a:off x="2339258" y="3253561"/>
              <a:ext cx="70810" cy="70810"/>
            </a:xfrm>
            <a:custGeom>
              <a:avLst/>
              <a:gdLst>
                <a:gd name="connsiteX0" fmla="*/ 39864 w 70809"/>
                <a:gd name="connsiteY0" fmla="*/ 63940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4026" y="63940"/>
                    <a:pt x="63940" y="52610"/>
                    <a:pt x="63940" y="39864"/>
                  </a:cubicBezTo>
                  <a:cubicBezTo>
                    <a:pt x="63940" y="25703"/>
                    <a:pt x="52610" y="15789"/>
                    <a:pt x="39864" y="15789"/>
                  </a:cubicBezTo>
                  <a:cubicBezTo>
                    <a:pt x="25702" y="15789"/>
                    <a:pt x="15789" y="27119"/>
                    <a:pt x="15789" y="39864"/>
                  </a:cubicBezTo>
                  <a:cubicBezTo>
                    <a:pt x="15789" y="52610"/>
                    <a:pt x="27119"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5" name="Freeform: Shape 2724">
              <a:extLst>
                <a:ext uri="{FF2B5EF4-FFF2-40B4-BE49-F238E27FC236}">
                  <a16:creationId xmlns:a16="http://schemas.microsoft.com/office/drawing/2014/main" id="{AAE92C0F-6DE6-4B79-9DFA-9A71F760492D}"/>
                </a:ext>
              </a:extLst>
            </p:cNvPr>
            <p:cNvSpPr/>
            <p:nvPr/>
          </p:nvSpPr>
          <p:spPr>
            <a:xfrm>
              <a:off x="2626371" y="3372202"/>
              <a:ext cx="70810" cy="70810"/>
            </a:xfrm>
            <a:custGeom>
              <a:avLst/>
              <a:gdLst>
                <a:gd name="connsiteX0" fmla="*/ 39864 w 70809"/>
                <a:gd name="connsiteY0" fmla="*/ 63940 h 70809"/>
                <a:gd name="connsiteX1" fmla="*/ 63940 w 70809"/>
                <a:gd name="connsiteY1" fmla="*/ 39864 h 70809"/>
                <a:gd name="connsiteX2" fmla="*/ 39864 w 70809"/>
                <a:gd name="connsiteY2" fmla="*/ 15789 h 70809"/>
                <a:gd name="connsiteX3" fmla="*/ 15789 w 70809"/>
                <a:gd name="connsiteY3" fmla="*/ 39864 h 70809"/>
                <a:gd name="connsiteX4" fmla="*/ 39864 w 70809"/>
                <a:gd name="connsiteY4" fmla="*/ 63940 h 70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9" h="70809">
                  <a:moveTo>
                    <a:pt x="39864" y="63940"/>
                  </a:moveTo>
                  <a:cubicBezTo>
                    <a:pt x="54026" y="63940"/>
                    <a:pt x="63940" y="52610"/>
                    <a:pt x="63940" y="39864"/>
                  </a:cubicBezTo>
                  <a:cubicBezTo>
                    <a:pt x="63940" y="25703"/>
                    <a:pt x="52610" y="15789"/>
                    <a:pt x="39864" y="15789"/>
                  </a:cubicBezTo>
                  <a:cubicBezTo>
                    <a:pt x="25702" y="15789"/>
                    <a:pt x="15789" y="27119"/>
                    <a:pt x="15789" y="39864"/>
                  </a:cubicBezTo>
                  <a:cubicBezTo>
                    <a:pt x="15789" y="52610"/>
                    <a:pt x="27119" y="63940"/>
                    <a:pt x="39864" y="63940"/>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6" name="Freeform: Shape 2725">
              <a:extLst>
                <a:ext uri="{FF2B5EF4-FFF2-40B4-BE49-F238E27FC236}">
                  <a16:creationId xmlns:a16="http://schemas.microsoft.com/office/drawing/2014/main" id="{C28EA8E7-3409-4343-9CA7-DB99712D476A}"/>
                </a:ext>
              </a:extLst>
            </p:cNvPr>
            <p:cNvSpPr/>
            <p:nvPr/>
          </p:nvSpPr>
          <p:spPr>
            <a:xfrm>
              <a:off x="2760066" y="2503641"/>
              <a:ext cx="107387" cy="107387"/>
            </a:xfrm>
            <a:custGeom>
              <a:avLst/>
              <a:gdLst>
                <a:gd name="connsiteX0" fmla="*/ 44220 w 84971"/>
                <a:gd name="connsiteY0" fmla="*/ 72437 h 84971"/>
                <a:gd name="connsiteX1" fmla="*/ 72544 w 84971"/>
                <a:gd name="connsiteY1" fmla="*/ 44113 h 84971"/>
                <a:gd name="connsiteX2" fmla="*/ 44220 w 84971"/>
                <a:gd name="connsiteY2" fmla="*/ 15789 h 84971"/>
                <a:gd name="connsiteX3" fmla="*/ 15896 w 84971"/>
                <a:gd name="connsiteY3" fmla="*/ 44113 h 84971"/>
                <a:gd name="connsiteX4" fmla="*/ 44220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220" y="72437"/>
                  </a:moveTo>
                  <a:cubicBezTo>
                    <a:pt x="59798" y="72437"/>
                    <a:pt x="72544" y="59691"/>
                    <a:pt x="72544" y="44113"/>
                  </a:cubicBezTo>
                  <a:cubicBezTo>
                    <a:pt x="72544" y="28535"/>
                    <a:pt x="59798" y="15789"/>
                    <a:pt x="44220" y="15789"/>
                  </a:cubicBezTo>
                  <a:cubicBezTo>
                    <a:pt x="28642" y="15789"/>
                    <a:pt x="15896" y="28535"/>
                    <a:pt x="15896" y="44113"/>
                  </a:cubicBezTo>
                  <a:cubicBezTo>
                    <a:pt x="14480" y="59691"/>
                    <a:pt x="27226" y="72437"/>
                    <a:pt x="44220"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7" name="Freeform: Shape 2726">
              <a:extLst>
                <a:ext uri="{FF2B5EF4-FFF2-40B4-BE49-F238E27FC236}">
                  <a16:creationId xmlns:a16="http://schemas.microsoft.com/office/drawing/2014/main" id="{48C99ABA-7334-4016-9C30-4E4ED4AF4057}"/>
                </a:ext>
              </a:extLst>
            </p:cNvPr>
            <p:cNvSpPr/>
            <p:nvPr/>
          </p:nvSpPr>
          <p:spPr>
            <a:xfrm>
              <a:off x="2149560" y="2597823"/>
              <a:ext cx="84971" cy="84971"/>
            </a:xfrm>
            <a:custGeom>
              <a:avLst/>
              <a:gdLst>
                <a:gd name="connsiteX0" fmla="*/ 44220 w 84971"/>
                <a:gd name="connsiteY0" fmla="*/ 72437 h 84971"/>
                <a:gd name="connsiteX1" fmla="*/ 72544 w 84971"/>
                <a:gd name="connsiteY1" fmla="*/ 44113 h 84971"/>
                <a:gd name="connsiteX2" fmla="*/ 44220 w 84971"/>
                <a:gd name="connsiteY2" fmla="*/ 15789 h 84971"/>
                <a:gd name="connsiteX3" fmla="*/ 15896 w 84971"/>
                <a:gd name="connsiteY3" fmla="*/ 44113 h 84971"/>
                <a:gd name="connsiteX4" fmla="*/ 44220 w 84971"/>
                <a:gd name="connsiteY4" fmla="*/ 72437 h 84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71" h="84971">
                  <a:moveTo>
                    <a:pt x="44220" y="72437"/>
                  </a:moveTo>
                  <a:cubicBezTo>
                    <a:pt x="59798" y="72437"/>
                    <a:pt x="72544" y="59691"/>
                    <a:pt x="72544" y="44113"/>
                  </a:cubicBezTo>
                  <a:cubicBezTo>
                    <a:pt x="72544" y="28535"/>
                    <a:pt x="59798" y="15789"/>
                    <a:pt x="44220" y="15789"/>
                  </a:cubicBezTo>
                  <a:cubicBezTo>
                    <a:pt x="28642" y="15789"/>
                    <a:pt x="15896" y="28535"/>
                    <a:pt x="15896" y="44113"/>
                  </a:cubicBezTo>
                  <a:cubicBezTo>
                    <a:pt x="14480" y="59691"/>
                    <a:pt x="27226" y="72437"/>
                    <a:pt x="44220" y="72437"/>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8" name="Freeform: Shape 2727">
              <a:extLst>
                <a:ext uri="{FF2B5EF4-FFF2-40B4-BE49-F238E27FC236}">
                  <a16:creationId xmlns:a16="http://schemas.microsoft.com/office/drawing/2014/main" id="{2F36CC56-C971-4D0B-8370-E2BC479A5371}"/>
                </a:ext>
              </a:extLst>
            </p:cNvPr>
            <p:cNvSpPr/>
            <p:nvPr/>
          </p:nvSpPr>
          <p:spPr>
            <a:xfrm>
              <a:off x="2215492" y="1568044"/>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7205" y="71020"/>
                    <a:pt x="32783"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sp>
          <p:nvSpPr>
            <p:cNvPr id="2729" name="Freeform: Shape 2728">
              <a:extLst>
                <a:ext uri="{FF2B5EF4-FFF2-40B4-BE49-F238E27FC236}">
                  <a16:creationId xmlns:a16="http://schemas.microsoft.com/office/drawing/2014/main" id="{BA84EBF4-502C-43D1-AE61-3C4DB65DAE95}"/>
                </a:ext>
              </a:extLst>
            </p:cNvPr>
            <p:cNvSpPr/>
            <p:nvPr/>
          </p:nvSpPr>
          <p:spPr>
            <a:xfrm>
              <a:off x="1047787" y="1504504"/>
              <a:ext cx="99133" cy="99133"/>
            </a:xfrm>
            <a:custGeom>
              <a:avLst/>
              <a:gdLst>
                <a:gd name="connsiteX0" fmla="*/ 51194 w 99133"/>
                <a:gd name="connsiteY0" fmla="*/ 86599 h 99133"/>
                <a:gd name="connsiteX1" fmla="*/ 86599 w 99133"/>
                <a:gd name="connsiteY1" fmla="*/ 51194 h 99133"/>
                <a:gd name="connsiteX2" fmla="*/ 51194 w 99133"/>
                <a:gd name="connsiteY2" fmla="*/ 15789 h 99133"/>
                <a:gd name="connsiteX3" fmla="*/ 15789 w 99133"/>
                <a:gd name="connsiteY3" fmla="*/ 51194 h 99133"/>
                <a:gd name="connsiteX4" fmla="*/ 51194 w 99133"/>
                <a:gd name="connsiteY4" fmla="*/ 86599 h 9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33" h="99133">
                  <a:moveTo>
                    <a:pt x="51194" y="86599"/>
                  </a:moveTo>
                  <a:cubicBezTo>
                    <a:pt x="71020" y="86599"/>
                    <a:pt x="86599" y="71020"/>
                    <a:pt x="86599" y="51194"/>
                  </a:cubicBezTo>
                  <a:cubicBezTo>
                    <a:pt x="86599" y="31367"/>
                    <a:pt x="71020" y="15789"/>
                    <a:pt x="51194" y="15789"/>
                  </a:cubicBezTo>
                  <a:cubicBezTo>
                    <a:pt x="31367" y="15789"/>
                    <a:pt x="15789" y="31367"/>
                    <a:pt x="15789" y="51194"/>
                  </a:cubicBezTo>
                  <a:cubicBezTo>
                    <a:pt x="15789" y="71020"/>
                    <a:pt x="31367" y="86599"/>
                    <a:pt x="51194" y="86599"/>
                  </a:cubicBezTo>
                  <a:close/>
                </a:path>
              </a:pathLst>
            </a:custGeom>
            <a:grpFill/>
            <a:ln w="14159" cap="flat">
              <a:noFill/>
              <a:prstDash val="solid"/>
              <a:miter/>
            </a:ln>
          </p:spPr>
          <p:txBody>
            <a:bodyPr rtlCol="0" anchor="ctr"/>
            <a:lstStyle/>
            <a:p>
              <a:pPr defTabSz="932563">
                <a:defRPr/>
              </a:pPr>
              <a:endParaRPr lang="en-US" dirty="0">
                <a:solidFill>
                  <a:srgbClr val="1A1A1A"/>
                </a:solidFill>
                <a:latin typeface="Microsoft YaHei" charset="-122"/>
                <a:ea typeface="Microsoft YaHei" charset="-122"/>
                <a:cs typeface="Microsoft YaHei" charset="-122"/>
              </a:endParaRPr>
            </a:p>
          </p:txBody>
        </p:sp>
      </p:grpSp>
      <p:sp>
        <p:nvSpPr>
          <p:cNvPr id="2" name="Rectangle 1">
            <a:extLst>
              <a:ext uri="{FF2B5EF4-FFF2-40B4-BE49-F238E27FC236}">
                <a16:creationId xmlns:a16="http://schemas.microsoft.com/office/drawing/2014/main" id="{58716C42-42D8-44C0-964F-71B07ED42E21}"/>
              </a:ext>
            </a:extLst>
          </p:cNvPr>
          <p:cNvSpPr/>
          <p:nvPr/>
        </p:nvSpPr>
        <p:spPr bwMode="auto">
          <a:xfrm>
            <a:off x="170887" y="-38859"/>
            <a:ext cx="12434711" cy="6994525"/>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448" dirty="0">
              <a:gradFill>
                <a:gsLst>
                  <a:gs pos="0">
                    <a:srgbClr val="FFFFFF"/>
                  </a:gs>
                  <a:gs pos="100000">
                    <a:srgbClr val="FFFFFF"/>
                  </a:gs>
                </a:gsLst>
                <a:lin ang="5400000" scaled="0"/>
              </a:gradFill>
              <a:latin typeface="Microsoft YaHei" charset="-122"/>
              <a:ea typeface="Microsoft YaHei" charset="-122"/>
              <a:cs typeface="Microsoft YaHei" charset="-122"/>
            </a:endParaRPr>
          </a:p>
        </p:txBody>
      </p:sp>
      <p:sp>
        <p:nvSpPr>
          <p:cNvPr id="911" name="Rectangle 62">
            <a:extLst>
              <a:ext uri="{FF2B5EF4-FFF2-40B4-BE49-F238E27FC236}">
                <a16:creationId xmlns:a16="http://schemas.microsoft.com/office/drawing/2014/main" id="{C4D5C124-019E-4FF0-A9D4-54B8DB1B1633}"/>
              </a:ext>
            </a:extLst>
          </p:cNvPr>
          <p:cNvSpPr/>
          <p:nvPr/>
        </p:nvSpPr>
        <p:spPr bwMode="auto">
          <a:xfrm>
            <a:off x="2160770" y="4550519"/>
            <a:ext cx="2299538" cy="5662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34973" rIns="69945" bIns="34973" numCol="1" spcCol="0" rtlCol="0" fromWordArt="0" anchor="t" anchorCtr="0" forceAA="0" compatLnSpc="1">
            <a:prstTxWarp prst="textNoShape">
              <a:avLst/>
            </a:prstTxWarp>
            <a:spAutoFit/>
          </a:bodyPr>
          <a:lstStyle/>
          <a:p>
            <a:pPr algn="ctr" defTabSz="712998" fontAlgn="base">
              <a:lnSpc>
                <a:spcPct val="150000"/>
              </a:lnSpc>
              <a:spcBef>
                <a:spcPct val="0"/>
              </a:spcBef>
              <a:spcAft>
                <a:spcPct val="0"/>
              </a:spcAft>
              <a:defRPr/>
            </a:pPr>
            <a:r>
              <a:rPr lang="en-US" sz="1122">
                <a:solidFill>
                  <a:srgbClr val="1A1A1A"/>
                </a:solidFill>
                <a:latin typeface="Segoe UI Semibold"/>
              </a:rPr>
              <a:t>Azure Cognitive Services</a:t>
            </a:r>
          </a:p>
          <a:p>
            <a:pPr algn="ctr" defTabSz="712998" fontAlgn="base">
              <a:lnSpc>
                <a:spcPct val="150000"/>
              </a:lnSpc>
              <a:spcBef>
                <a:spcPct val="0"/>
              </a:spcBef>
              <a:spcAft>
                <a:spcPct val="0"/>
              </a:spcAft>
              <a:defRPr/>
            </a:pPr>
            <a:r>
              <a:rPr lang="en-US" sz="1122">
                <a:solidFill>
                  <a:srgbClr val="1A1A1A"/>
                </a:solidFill>
                <a:latin typeface="Segoe UI Semibold"/>
              </a:rPr>
              <a:t>Azure Bot Service</a:t>
            </a:r>
          </a:p>
        </p:txBody>
      </p:sp>
      <p:sp>
        <p:nvSpPr>
          <p:cNvPr id="912" name="Rectangle 64">
            <a:extLst>
              <a:ext uri="{FF2B5EF4-FFF2-40B4-BE49-F238E27FC236}">
                <a16:creationId xmlns:a16="http://schemas.microsoft.com/office/drawing/2014/main" id="{9341790B-5CBC-4C07-BB86-FB275D8F9240}"/>
              </a:ext>
            </a:extLst>
          </p:cNvPr>
          <p:cNvSpPr/>
          <p:nvPr/>
        </p:nvSpPr>
        <p:spPr bwMode="auto">
          <a:xfrm>
            <a:off x="5017205" y="4550519"/>
            <a:ext cx="2299538" cy="5662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34973" rIns="69945" bIns="34973" numCol="1" spcCol="0" rtlCol="0" fromWordArt="0" anchor="t" anchorCtr="0" forceAA="0" compatLnSpc="1">
            <a:prstTxWarp prst="textNoShape">
              <a:avLst/>
            </a:prstTxWarp>
            <a:spAutoFit/>
          </a:bodyPr>
          <a:lstStyle/>
          <a:p>
            <a:pPr algn="ctr" defTabSz="712998" fontAlgn="base">
              <a:lnSpc>
                <a:spcPct val="150000"/>
              </a:lnSpc>
              <a:spcBef>
                <a:spcPct val="0"/>
              </a:spcBef>
              <a:spcAft>
                <a:spcPct val="0"/>
              </a:spcAft>
              <a:defRPr/>
            </a:pPr>
            <a:r>
              <a:rPr lang="en-US" sz="1122" dirty="0">
                <a:solidFill>
                  <a:srgbClr val="1A1A1A"/>
                </a:solidFill>
                <a:latin typeface="Segoe UI Semibold"/>
              </a:rPr>
              <a:t>Azure Machine Learning</a:t>
            </a:r>
          </a:p>
          <a:p>
            <a:pPr algn="ctr" defTabSz="712998" fontAlgn="base">
              <a:lnSpc>
                <a:spcPct val="150000"/>
              </a:lnSpc>
              <a:spcBef>
                <a:spcPct val="0"/>
              </a:spcBef>
              <a:spcAft>
                <a:spcPct val="0"/>
              </a:spcAft>
              <a:defRPr/>
            </a:pPr>
            <a:r>
              <a:rPr lang="en-US" sz="1122" dirty="0">
                <a:solidFill>
                  <a:srgbClr val="1A1A1A"/>
                </a:solidFill>
                <a:latin typeface="Segoe UI Semibold"/>
              </a:rPr>
              <a:t>Azure AI Infrastructure</a:t>
            </a:r>
          </a:p>
        </p:txBody>
      </p:sp>
      <p:sp>
        <p:nvSpPr>
          <p:cNvPr id="913" name="Rectangle 65">
            <a:extLst>
              <a:ext uri="{FF2B5EF4-FFF2-40B4-BE49-F238E27FC236}">
                <a16:creationId xmlns:a16="http://schemas.microsoft.com/office/drawing/2014/main" id="{131FA1E3-4E5F-4BC3-9D26-83D36F602233}"/>
              </a:ext>
            </a:extLst>
          </p:cNvPr>
          <p:cNvSpPr/>
          <p:nvPr/>
        </p:nvSpPr>
        <p:spPr bwMode="auto">
          <a:xfrm>
            <a:off x="7873642" y="4550519"/>
            <a:ext cx="2299538" cy="5662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34973" rIns="69945" bIns="34973" numCol="1" spcCol="0" rtlCol="0" fromWordArt="0" anchor="t" anchorCtr="0" forceAA="0" compatLnSpc="1">
            <a:prstTxWarp prst="textNoShape">
              <a:avLst/>
            </a:prstTxWarp>
            <a:spAutoFit/>
          </a:bodyPr>
          <a:lstStyle/>
          <a:p>
            <a:pPr algn="ctr" defTabSz="712998" fontAlgn="base">
              <a:lnSpc>
                <a:spcPct val="150000"/>
              </a:lnSpc>
              <a:spcBef>
                <a:spcPct val="0"/>
              </a:spcBef>
              <a:spcAft>
                <a:spcPct val="0"/>
              </a:spcAft>
              <a:defRPr/>
            </a:pPr>
            <a:r>
              <a:rPr lang="en-US" sz="1122" dirty="0">
                <a:solidFill>
                  <a:srgbClr val="1A1A1A"/>
                </a:solidFill>
                <a:latin typeface="Segoe UI Semibold"/>
              </a:rPr>
              <a:t>Azure IoT Edge</a:t>
            </a:r>
          </a:p>
          <a:p>
            <a:pPr algn="ctr" defTabSz="712998" fontAlgn="base">
              <a:lnSpc>
                <a:spcPct val="150000"/>
              </a:lnSpc>
              <a:spcBef>
                <a:spcPct val="0"/>
              </a:spcBef>
              <a:spcAft>
                <a:spcPct val="0"/>
              </a:spcAft>
              <a:defRPr/>
            </a:pPr>
            <a:r>
              <a:rPr lang="en-US" sz="1122" dirty="0">
                <a:solidFill>
                  <a:srgbClr val="1A1A1A"/>
                </a:solidFill>
                <a:latin typeface="Segoe UI Semibold"/>
              </a:rPr>
              <a:t>Azure Data Platform</a:t>
            </a:r>
          </a:p>
        </p:txBody>
      </p:sp>
      <p:sp>
        <p:nvSpPr>
          <p:cNvPr id="914" name="TextBox 107">
            <a:extLst>
              <a:ext uri="{FF2B5EF4-FFF2-40B4-BE49-F238E27FC236}">
                <a16:creationId xmlns:a16="http://schemas.microsoft.com/office/drawing/2014/main" id="{9EE5AA85-C6D3-450B-82B5-BC5F9E189265}"/>
              </a:ext>
            </a:extLst>
          </p:cNvPr>
          <p:cNvSpPr txBox="1"/>
          <p:nvPr/>
        </p:nvSpPr>
        <p:spPr>
          <a:xfrm>
            <a:off x="4876953" y="2486906"/>
            <a:ext cx="2521040" cy="320182"/>
          </a:xfrm>
          <a:prstGeom prst="rect">
            <a:avLst/>
          </a:prstGeom>
          <a:noFill/>
        </p:spPr>
        <p:txBody>
          <a:bodyPr wrap="none" lIns="0" tIns="0" rIns="0" bIns="0" rtlCol="0">
            <a:spAutoFit/>
          </a:bodyPr>
          <a:lstStyle/>
          <a:p>
            <a:pPr algn="ctr" defTabSz="712998" fontAlgn="base">
              <a:spcBef>
                <a:spcPct val="0"/>
              </a:spcBef>
              <a:defRPr/>
            </a:pPr>
            <a:r>
              <a:rPr lang="zh-CN" altLang="en-US" sz="2040" dirty="0">
                <a:solidFill>
                  <a:srgbClr val="0078D4"/>
                </a:solidFill>
                <a:latin typeface="微软雅黑" panose="020B0503020204020204" pitchFamily="34" charset="-122"/>
                <a:ea typeface="微软雅黑" panose="020B0503020204020204" pitchFamily="34" charset="-122"/>
              </a:rPr>
              <a:t>机器学习 </a:t>
            </a:r>
            <a:r>
              <a:rPr lang="en-US" altLang="zh-CN" sz="2040" dirty="0">
                <a:solidFill>
                  <a:srgbClr val="0078D4"/>
                </a:solidFill>
                <a:latin typeface="微软雅黑" panose="020B0503020204020204" pitchFamily="34" charset="-122"/>
                <a:ea typeface="微软雅黑" panose="020B0503020204020204" pitchFamily="34" charset="-122"/>
              </a:rPr>
              <a:t>&amp; </a:t>
            </a:r>
            <a:r>
              <a:rPr lang="zh-CN" altLang="en-US" sz="2040" dirty="0">
                <a:solidFill>
                  <a:srgbClr val="0078D4"/>
                </a:solidFill>
                <a:latin typeface="微软雅黑" panose="020B0503020204020204" pitchFamily="34" charset="-122"/>
                <a:ea typeface="微软雅黑" panose="020B0503020204020204" pitchFamily="34" charset="-122"/>
              </a:rPr>
              <a:t>深度学习</a:t>
            </a:r>
            <a:endParaRPr lang="en-US" sz="2040" dirty="0">
              <a:solidFill>
                <a:srgbClr val="0078D4"/>
              </a:solidFill>
              <a:latin typeface="微软雅黑" panose="020B0503020204020204" pitchFamily="34" charset="-122"/>
              <a:ea typeface="微软雅黑" panose="020B0503020204020204" pitchFamily="34" charset="-122"/>
            </a:endParaRPr>
          </a:p>
        </p:txBody>
      </p:sp>
      <p:sp>
        <p:nvSpPr>
          <p:cNvPr id="915" name="TextBox 111">
            <a:extLst>
              <a:ext uri="{FF2B5EF4-FFF2-40B4-BE49-F238E27FC236}">
                <a16:creationId xmlns:a16="http://schemas.microsoft.com/office/drawing/2014/main" id="{80A07AF1-7F89-4326-AEBB-822CDEFBAD6F}"/>
              </a:ext>
            </a:extLst>
          </p:cNvPr>
          <p:cNvSpPr txBox="1"/>
          <p:nvPr/>
        </p:nvSpPr>
        <p:spPr>
          <a:xfrm>
            <a:off x="2147892" y="2489962"/>
            <a:ext cx="2254548" cy="320182"/>
          </a:xfrm>
          <a:prstGeom prst="rect">
            <a:avLst/>
          </a:prstGeom>
          <a:noFill/>
        </p:spPr>
        <p:txBody>
          <a:bodyPr wrap="none" lIns="0" tIns="0" rIns="0" bIns="0" rtlCol="0" anchor="t">
            <a:spAutoFit/>
          </a:bodyPr>
          <a:lstStyle/>
          <a:p>
            <a:pPr algn="ctr" defTabSz="712998" fontAlgn="base">
              <a:spcBef>
                <a:spcPct val="0"/>
              </a:spcBef>
              <a:defRPr/>
            </a:pPr>
            <a:r>
              <a:rPr lang="en-US" sz="2040" dirty="0">
                <a:solidFill>
                  <a:srgbClr val="0078D4"/>
                </a:solidFill>
                <a:latin typeface="微软雅黑" panose="020B0503020204020204" pitchFamily="34" charset="-122"/>
                <a:ea typeface="微软雅黑" panose="020B0503020204020204" pitchFamily="34" charset="-122"/>
              </a:rPr>
              <a:t>AI</a:t>
            </a:r>
            <a:r>
              <a:rPr lang="zh-CN" altLang="en-US" sz="2040" dirty="0">
                <a:solidFill>
                  <a:srgbClr val="0078D4"/>
                </a:solidFill>
                <a:latin typeface="微软雅黑" panose="020B0503020204020204" pitchFamily="34" charset="-122"/>
                <a:ea typeface="微软雅黑" panose="020B0503020204020204" pitchFamily="34" charset="-122"/>
              </a:rPr>
              <a:t>应用 </a:t>
            </a:r>
            <a:r>
              <a:rPr lang="en-US" altLang="zh-CN" sz="2040" dirty="0">
                <a:solidFill>
                  <a:srgbClr val="0078D4"/>
                </a:solidFill>
                <a:latin typeface="微软雅黑" panose="020B0503020204020204" pitchFamily="34" charset="-122"/>
                <a:ea typeface="微软雅黑" panose="020B0503020204020204" pitchFamily="34" charset="-122"/>
              </a:rPr>
              <a:t>&amp; </a:t>
            </a:r>
            <a:r>
              <a:rPr lang="zh-CN" altLang="en-US" sz="2040" dirty="0">
                <a:solidFill>
                  <a:srgbClr val="0078D4"/>
                </a:solidFill>
                <a:latin typeface="微软雅黑" panose="020B0503020204020204" pitchFamily="34" charset="-122"/>
                <a:ea typeface="微软雅黑" panose="020B0503020204020204" pitchFamily="34" charset="-122"/>
              </a:rPr>
              <a:t>智能助理</a:t>
            </a:r>
            <a:endParaRPr lang="en-US" sz="2040" dirty="0">
              <a:solidFill>
                <a:srgbClr val="0078D4"/>
              </a:solidFill>
              <a:latin typeface="微软雅黑" panose="020B0503020204020204" pitchFamily="34" charset="-122"/>
              <a:ea typeface="微软雅黑" panose="020B0503020204020204" pitchFamily="34" charset="-122"/>
            </a:endParaRPr>
          </a:p>
        </p:txBody>
      </p:sp>
      <p:sp>
        <p:nvSpPr>
          <p:cNvPr id="916" name="TextBox 115">
            <a:extLst>
              <a:ext uri="{FF2B5EF4-FFF2-40B4-BE49-F238E27FC236}">
                <a16:creationId xmlns:a16="http://schemas.microsoft.com/office/drawing/2014/main" id="{DA251490-A01D-4EC2-BC1A-D590F3E339F7}"/>
              </a:ext>
            </a:extLst>
          </p:cNvPr>
          <p:cNvSpPr txBox="1"/>
          <p:nvPr/>
        </p:nvSpPr>
        <p:spPr>
          <a:xfrm>
            <a:off x="8026708" y="2486906"/>
            <a:ext cx="1922659" cy="384205"/>
          </a:xfrm>
          <a:prstGeom prst="rect">
            <a:avLst/>
          </a:prstGeom>
          <a:noFill/>
        </p:spPr>
        <p:txBody>
          <a:bodyPr wrap="none" lIns="0" tIns="0" rIns="0" bIns="0" rtlCol="0">
            <a:spAutoFit/>
          </a:bodyPr>
          <a:lstStyle/>
          <a:p>
            <a:pPr algn="ctr" defTabSz="712998" fontAlgn="base">
              <a:spcBef>
                <a:spcPct val="0"/>
              </a:spcBef>
              <a:defRPr/>
            </a:pPr>
            <a:r>
              <a:rPr lang="zh-CN" altLang="en-US" sz="2448" dirty="0">
                <a:solidFill>
                  <a:srgbClr val="0078D4"/>
                </a:solidFill>
                <a:latin typeface="微软雅黑" panose="020B0503020204020204" pitchFamily="34" charset="-122"/>
                <a:ea typeface="微软雅黑" panose="020B0503020204020204" pitchFamily="34" charset="-122"/>
              </a:rPr>
              <a:t>智能边缘计算</a:t>
            </a:r>
            <a:endParaRPr lang="en-US" sz="2448" dirty="0">
              <a:solidFill>
                <a:srgbClr val="0078D4"/>
              </a:solidFill>
              <a:latin typeface="微软雅黑" panose="020B0503020204020204" pitchFamily="34" charset="-122"/>
              <a:ea typeface="微软雅黑" panose="020B0503020204020204" pitchFamily="34" charset="-122"/>
            </a:endParaRPr>
          </a:p>
        </p:txBody>
      </p:sp>
      <p:grpSp>
        <p:nvGrpSpPr>
          <p:cNvPr id="917" name="Group 47">
            <a:extLst>
              <a:ext uri="{FF2B5EF4-FFF2-40B4-BE49-F238E27FC236}">
                <a16:creationId xmlns:a16="http://schemas.microsoft.com/office/drawing/2014/main" id="{B73293F4-6231-4B2F-A3BD-0A676EEBBADD}"/>
              </a:ext>
            </a:extLst>
          </p:cNvPr>
          <p:cNvGrpSpPr/>
          <p:nvPr/>
        </p:nvGrpSpPr>
        <p:grpSpPr>
          <a:xfrm>
            <a:off x="2742392" y="3188951"/>
            <a:ext cx="908040" cy="950988"/>
            <a:chOff x="2234350" y="1976027"/>
            <a:chExt cx="1158327" cy="1158328"/>
          </a:xfrm>
        </p:grpSpPr>
        <p:sp>
          <p:nvSpPr>
            <p:cNvPr id="918" name="Oval 9">
              <a:extLst>
                <a:ext uri="{FF2B5EF4-FFF2-40B4-BE49-F238E27FC236}">
                  <a16:creationId xmlns:a16="http://schemas.microsoft.com/office/drawing/2014/main" id="{D071A699-1BC9-4AE7-9F19-6E6A5247746D}"/>
                </a:ext>
              </a:extLst>
            </p:cNvPr>
            <p:cNvSpPr>
              <a:spLocks noChangeArrowheads="1"/>
            </p:cNvSpPr>
            <p:nvPr/>
          </p:nvSpPr>
          <p:spPr bwMode="auto">
            <a:xfrm>
              <a:off x="2234350" y="1976027"/>
              <a:ext cx="1158327" cy="1158328"/>
            </a:xfrm>
            <a:prstGeom prst="ellipse">
              <a:avLst/>
            </a:prstGeom>
            <a:solidFill>
              <a:srgbClr val="0078D7"/>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de-DE" sz="1530" kern="0">
                <a:solidFill>
                  <a:srgbClr val="0078D4"/>
                </a:solidFill>
                <a:latin typeface="Segoe UI Semilight"/>
              </a:endParaRPr>
            </a:p>
          </p:txBody>
        </p:sp>
        <p:grpSp>
          <p:nvGrpSpPr>
            <p:cNvPr id="919" name="Group 72">
              <a:extLst>
                <a:ext uri="{FF2B5EF4-FFF2-40B4-BE49-F238E27FC236}">
                  <a16:creationId xmlns:a16="http://schemas.microsoft.com/office/drawing/2014/main" id="{F799A29D-2C7F-4209-9355-EFEFCB7D3DFF}"/>
                </a:ext>
              </a:extLst>
            </p:cNvPr>
            <p:cNvGrpSpPr/>
            <p:nvPr/>
          </p:nvGrpSpPr>
          <p:grpSpPr>
            <a:xfrm>
              <a:off x="2506262" y="2276142"/>
              <a:ext cx="629742" cy="436179"/>
              <a:chOff x="3186734" y="2614346"/>
              <a:chExt cx="675958" cy="468190"/>
            </a:xfrm>
          </p:grpSpPr>
          <p:sp>
            <p:nvSpPr>
              <p:cNvPr id="920" name="Freeform: Shape 73">
                <a:extLst>
                  <a:ext uri="{FF2B5EF4-FFF2-40B4-BE49-F238E27FC236}">
                    <a16:creationId xmlns:a16="http://schemas.microsoft.com/office/drawing/2014/main" id="{481629FB-0EA4-45D3-8823-1C300FA8CCE1}"/>
                  </a:ext>
                </a:extLst>
              </p:cNvPr>
              <p:cNvSpPr>
                <a:spLocks/>
              </p:cNvSpPr>
              <p:nvPr/>
            </p:nvSpPr>
            <p:spPr bwMode="auto">
              <a:xfrm>
                <a:off x="3186734" y="2614346"/>
                <a:ext cx="501632" cy="403440"/>
              </a:xfrm>
              <a:custGeom>
                <a:avLst/>
                <a:gdLst>
                  <a:gd name="connsiteX0" fmla="*/ 486708 w 3583341"/>
                  <a:gd name="connsiteY0" fmla="*/ 0 h 2881921"/>
                  <a:gd name="connsiteX1" fmla="*/ 3293031 w 3583341"/>
                  <a:gd name="connsiteY1" fmla="*/ 0 h 2881921"/>
                  <a:gd name="connsiteX2" fmla="*/ 3583341 w 3583341"/>
                  <a:gd name="connsiteY2" fmla="*/ 289571 h 2881921"/>
                  <a:gd name="connsiteX3" fmla="*/ 3583341 w 3583341"/>
                  <a:gd name="connsiteY3" fmla="*/ 2592350 h 2881921"/>
                  <a:gd name="connsiteX4" fmla="*/ 3293031 w 3583341"/>
                  <a:gd name="connsiteY4" fmla="*/ 2881921 h 2881921"/>
                  <a:gd name="connsiteX5" fmla="*/ 486708 w 3583341"/>
                  <a:gd name="connsiteY5" fmla="*/ 2881921 h 2881921"/>
                  <a:gd name="connsiteX6" fmla="*/ 203310 w 3583341"/>
                  <a:gd name="connsiteY6" fmla="*/ 2592350 h 2881921"/>
                  <a:gd name="connsiteX7" fmla="*/ 203310 w 3583341"/>
                  <a:gd name="connsiteY7" fmla="*/ 1261056 h 2881921"/>
                  <a:gd name="connsiteX8" fmla="*/ 203310 w 3583341"/>
                  <a:gd name="connsiteY8" fmla="*/ 1169815 h 2881921"/>
                  <a:gd name="connsiteX9" fmla="*/ 0 w 3583341"/>
                  <a:gd name="connsiteY9" fmla="*/ 986054 h 2881921"/>
                  <a:gd name="connsiteX10" fmla="*/ 203310 w 3583341"/>
                  <a:gd name="connsiteY10" fmla="*/ 794473 h 2881921"/>
                  <a:gd name="connsiteX11" fmla="*/ 203310 w 3583341"/>
                  <a:gd name="connsiteY11" fmla="*/ 771589 h 2881921"/>
                  <a:gd name="connsiteX12" fmla="*/ 203310 w 3583341"/>
                  <a:gd name="connsiteY12" fmla="*/ 289571 h 2881921"/>
                  <a:gd name="connsiteX13" fmla="*/ 486708 w 3583341"/>
                  <a:gd name="connsiteY13" fmla="*/ 0 h 2881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83341" h="2881921">
                    <a:moveTo>
                      <a:pt x="486708" y="0"/>
                    </a:moveTo>
                    <a:cubicBezTo>
                      <a:pt x="3293031" y="0"/>
                      <a:pt x="3293031" y="0"/>
                      <a:pt x="3293031" y="0"/>
                    </a:cubicBezTo>
                    <a:cubicBezTo>
                      <a:pt x="3452011" y="0"/>
                      <a:pt x="3583341" y="130996"/>
                      <a:pt x="3583341" y="289571"/>
                    </a:cubicBezTo>
                    <a:cubicBezTo>
                      <a:pt x="3583341" y="2592350"/>
                      <a:pt x="3583341" y="2592350"/>
                      <a:pt x="3583341" y="2592350"/>
                    </a:cubicBezTo>
                    <a:cubicBezTo>
                      <a:pt x="3583341" y="2750925"/>
                      <a:pt x="3452011" y="2881921"/>
                      <a:pt x="3293031" y="2881921"/>
                    </a:cubicBezTo>
                    <a:cubicBezTo>
                      <a:pt x="486708" y="2881921"/>
                      <a:pt x="486708" y="2881921"/>
                      <a:pt x="486708" y="2881921"/>
                    </a:cubicBezTo>
                    <a:cubicBezTo>
                      <a:pt x="327729" y="2881921"/>
                      <a:pt x="203310" y="2750925"/>
                      <a:pt x="203310" y="2592350"/>
                    </a:cubicBezTo>
                    <a:cubicBezTo>
                      <a:pt x="203310" y="2016655"/>
                      <a:pt x="203310" y="1584884"/>
                      <a:pt x="203310" y="1261056"/>
                    </a:cubicBezTo>
                    <a:lnTo>
                      <a:pt x="203310" y="1169815"/>
                    </a:lnTo>
                    <a:lnTo>
                      <a:pt x="0" y="986054"/>
                    </a:lnTo>
                    <a:lnTo>
                      <a:pt x="203310" y="794473"/>
                    </a:lnTo>
                    <a:lnTo>
                      <a:pt x="203310" y="771589"/>
                    </a:lnTo>
                    <a:cubicBezTo>
                      <a:pt x="203310" y="289571"/>
                      <a:pt x="203310" y="289571"/>
                      <a:pt x="203310" y="289571"/>
                    </a:cubicBezTo>
                    <a:cubicBezTo>
                      <a:pt x="203310" y="130996"/>
                      <a:pt x="327729" y="0"/>
                      <a:pt x="486708" y="0"/>
                    </a:cubicBezTo>
                    <a:close/>
                  </a:path>
                </a:pathLst>
              </a:custGeom>
              <a:solidFill>
                <a:srgbClr val="09538F"/>
              </a:solidFill>
              <a:ln w="7938" cap="flat">
                <a:noFill/>
                <a:prstDash val="solid"/>
                <a:miter lim="800000"/>
                <a:headEnd/>
                <a:tailEnd/>
              </a:ln>
            </p:spPr>
            <p:txBody>
              <a:bodyPr vert="horz" wrap="square" lIns="69945" tIns="34973" rIns="69945" bIns="34973" numCol="1" anchor="t" anchorCtr="0" compatLnSpc="1">
                <a:prstTxWarp prst="textNoShape">
                  <a:avLst/>
                </a:prstTxWarp>
                <a:noAutofit/>
              </a:bodyPr>
              <a:lstStyle/>
              <a:p>
                <a:pPr defTabSz="699447">
                  <a:defRPr/>
                </a:pPr>
                <a:endParaRPr lang="en-US" sz="1377" kern="0">
                  <a:solidFill>
                    <a:srgbClr val="1A1A1A"/>
                  </a:solidFill>
                  <a:latin typeface="Segoe UI"/>
                </a:endParaRPr>
              </a:p>
            </p:txBody>
          </p:sp>
          <p:sp>
            <p:nvSpPr>
              <p:cNvPr id="921" name="Rectangle 27">
                <a:extLst>
                  <a:ext uri="{FF2B5EF4-FFF2-40B4-BE49-F238E27FC236}">
                    <a16:creationId xmlns:a16="http://schemas.microsoft.com/office/drawing/2014/main" id="{FC1D5BC2-6900-4B3D-BA4F-FA1B1865858B}"/>
                  </a:ext>
                </a:extLst>
              </p:cNvPr>
              <p:cNvSpPr>
                <a:spLocks noChangeArrowheads="1"/>
              </p:cNvSpPr>
              <p:nvPr/>
            </p:nvSpPr>
            <p:spPr bwMode="auto">
              <a:xfrm>
                <a:off x="3271407" y="2666288"/>
                <a:ext cx="248326" cy="23481"/>
              </a:xfrm>
              <a:prstGeom prst="rect">
                <a:avLst/>
              </a:prstGeom>
              <a:solidFill>
                <a:srgbClr val="459BDD"/>
              </a:solidFill>
              <a:ln w="7938" cap="flat">
                <a:noFill/>
                <a:prstDash val="solid"/>
                <a:miter lim="800000"/>
                <a:headEnd/>
                <a:tailEnd/>
              </a:ln>
            </p:spPr>
            <p:txBody>
              <a:bodyPr vert="horz" wrap="square" lIns="69945" tIns="34973" rIns="69945" bIns="34973" numCol="1" anchor="t" anchorCtr="0" compatLnSpc="1">
                <a:prstTxWarp prst="textNoShape">
                  <a:avLst/>
                </a:prstTxWarp>
              </a:bodyPr>
              <a:lstStyle/>
              <a:p>
                <a:pPr defTabSz="699447">
                  <a:defRPr/>
                </a:pPr>
                <a:endParaRPr lang="en-US" sz="1377" kern="0">
                  <a:solidFill>
                    <a:srgbClr val="1A1A1A"/>
                  </a:solidFill>
                  <a:latin typeface="Segoe UI"/>
                </a:endParaRPr>
              </a:p>
            </p:txBody>
          </p:sp>
          <p:sp>
            <p:nvSpPr>
              <p:cNvPr id="922" name="Rectangle 31">
                <a:extLst>
                  <a:ext uri="{FF2B5EF4-FFF2-40B4-BE49-F238E27FC236}">
                    <a16:creationId xmlns:a16="http://schemas.microsoft.com/office/drawing/2014/main" id="{7E182BBD-5FB8-4F8F-B977-93A070C23606}"/>
                  </a:ext>
                </a:extLst>
              </p:cNvPr>
              <p:cNvSpPr>
                <a:spLocks noChangeArrowheads="1"/>
              </p:cNvSpPr>
              <p:nvPr/>
            </p:nvSpPr>
            <p:spPr bwMode="auto">
              <a:xfrm>
                <a:off x="3271407" y="2723211"/>
                <a:ext cx="335844" cy="23481"/>
              </a:xfrm>
              <a:prstGeom prst="rect">
                <a:avLst/>
              </a:prstGeom>
              <a:solidFill>
                <a:srgbClr val="459BDD"/>
              </a:solidFill>
              <a:ln w="7938" cap="flat">
                <a:noFill/>
                <a:prstDash val="solid"/>
                <a:miter lim="800000"/>
                <a:headEnd/>
                <a:tailEnd/>
              </a:ln>
            </p:spPr>
            <p:txBody>
              <a:bodyPr vert="horz" wrap="square" lIns="69945" tIns="34973" rIns="69945" bIns="34973" numCol="1" anchor="t" anchorCtr="0" compatLnSpc="1">
                <a:prstTxWarp prst="textNoShape">
                  <a:avLst/>
                </a:prstTxWarp>
              </a:bodyPr>
              <a:lstStyle/>
              <a:p>
                <a:pPr defTabSz="699447">
                  <a:defRPr/>
                </a:pPr>
                <a:endParaRPr lang="en-US" sz="1377" kern="0">
                  <a:solidFill>
                    <a:srgbClr val="1A1A1A"/>
                  </a:solidFill>
                  <a:latin typeface="Segoe UI"/>
                </a:endParaRPr>
              </a:p>
            </p:txBody>
          </p:sp>
          <p:sp>
            <p:nvSpPr>
              <p:cNvPr id="923" name="Rectangle 32">
                <a:extLst>
                  <a:ext uri="{FF2B5EF4-FFF2-40B4-BE49-F238E27FC236}">
                    <a16:creationId xmlns:a16="http://schemas.microsoft.com/office/drawing/2014/main" id="{1AB068CB-96B4-4B72-AA7C-DB2D08875A73}"/>
                  </a:ext>
                </a:extLst>
              </p:cNvPr>
              <p:cNvSpPr>
                <a:spLocks noChangeArrowheads="1"/>
              </p:cNvSpPr>
              <p:nvPr/>
            </p:nvSpPr>
            <p:spPr bwMode="auto">
              <a:xfrm>
                <a:off x="3271407" y="2781557"/>
                <a:ext cx="335844" cy="22769"/>
              </a:xfrm>
              <a:prstGeom prst="rect">
                <a:avLst/>
              </a:prstGeom>
              <a:solidFill>
                <a:srgbClr val="459BDD"/>
              </a:solidFill>
              <a:ln w="7938" cap="flat">
                <a:noFill/>
                <a:prstDash val="solid"/>
                <a:miter lim="800000"/>
                <a:headEnd/>
                <a:tailEnd/>
              </a:ln>
            </p:spPr>
            <p:txBody>
              <a:bodyPr vert="horz" wrap="square" lIns="69945" tIns="34973" rIns="69945" bIns="34973" numCol="1" anchor="t" anchorCtr="0" compatLnSpc="1">
                <a:prstTxWarp prst="textNoShape">
                  <a:avLst/>
                </a:prstTxWarp>
              </a:bodyPr>
              <a:lstStyle/>
              <a:p>
                <a:pPr defTabSz="699447">
                  <a:defRPr/>
                </a:pPr>
                <a:endParaRPr lang="en-US" sz="1377" kern="0">
                  <a:solidFill>
                    <a:srgbClr val="1A1A1A"/>
                  </a:solidFill>
                  <a:latin typeface="Segoe UI"/>
                </a:endParaRPr>
              </a:p>
            </p:txBody>
          </p:sp>
          <p:sp>
            <p:nvSpPr>
              <p:cNvPr id="924" name="Freeform: Shape 77">
                <a:extLst>
                  <a:ext uri="{FF2B5EF4-FFF2-40B4-BE49-F238E27FC236}">
                    <a16:creationId xmlns:a16="http://schemas.microsoft.com/office/drawing/2014/main" id="{D6F44FF2-D54C-4C79-A84F-DB8F29FFF090}"/>
                  </a:ext>
                </a:extLst>
              </p:cNvPr>
              <p:cNvSpPr>
                <a:spLocks/>
              </p:cNvSpPr>
              <p:nvPr/>
            </p:nvSpPr>
            <p:spPr bwMode="auto">
              <a:xfrm>
                <a:off x="3359637" y="2768749"/>
                <a:ext cx="503055" cy="313787"/>
              </a:xfrm>
              <a:custGeom>
                <a:avLst/>
                <a:gdLst>
                  <a:gd name="connsiteX0" fmla="*/ 290309 w 3593507"/>
                  <a:gd name="connsiteY0" fmla="*/ 0 h 2241494"/>
                  <a:gd name="connsiteX1" fmla="*/ 3096634 w 3593507"/>
                  <a:gd name="connsiteY1" fmla="*/ 0 h 2241494"/>
                  <a:gd name="connsiteX2" fmla="*/ 3380031 w 3593507"/>
                  <a:gd name="connsiteY2" fmla="*/ 289670 h 2241494"/>
                  <a:gd name="connsiteX3" fmla="*/ 3380031 w 3593507"/>
                  <a:gd name="connsiteY3" fmla="*/ 1162855 h 2241494"/>
                  <a:gd name="connsiteX4" fmla="*/ 3380031 w 3593507"/>
                  <a:gd name="connsiteY4" fmla="*/ 1222011 h 2241494"/>
                  <a:gd name="connsiteX5" fmla="*/ 3593507 w 3593507"/>
                  <a:gd name="connsiteY5" fmla="*/ 1423171 h 2241494"/>
                  <a:gd name="connsiteX6" fmla="*/ 3380031 w 3593507"/>
                  <a:gd name="connsiteY6" fmla="*/ 1616120 h 2241494"/>
                  <a:gd name="connsiteX7" fmla="*/ 3380031 w 3593507"/>
                  <a:gd name="connsiteY7" fmla="*/ 1661666 h 2241494"/>
                  <a:gd name="connsiteX8" fmla="*/ 3380031 w 3593507"/>
                  <a:gd name="connsiteY8" fmla="*/ 1958721 h 2241494"/>
                  <a:gd name="connsiteX9" fmla="*/ 3096634 w 3593507"/>
                  <a:gd name="connsiteY9" fmla="*/ 2241494 h 2241494"/>
                  <a:gd name="connsiteX10" fmla="*/ 290309 w 3593507"/>
                  <a:gd name="connsiteY10" fmla="*/ 2241494 h 2241494"/>
                  <a:gd name="connsiteX11" fmla="*/ 0 w 3593507"/>
                  <a:gd name="connsiteY11" fmla="*/ 1958721 h 2241494"/>
                  <a:gd name="connsiteX12" fmla="*/ 0 w 3593507"/>
                  <a:gd name="connsiteY12" fmla="*/ 289670 h 2241494"/>
                  <a:gd name="connsiteX13" fmla="*/ 290309 w 3593507"/>
                  <a:gd name="connsiteY13" fmla="*/ 0 h 224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3507" h="2241494">
                    <a:moveTo>
                      <a:pt x="290309" y="0"/>
                    </a:moveTo>
                    <a:cubicBezTo>
                      <a:pt x="3096634" y="0"/>
                      <a:pt x="3096634" y="0"/>
                      <a:pt x="3096634" y="0"/>
                    </a:cubicBezTo>
                    <a:cubicBezTo>
                      <a:pt x="3255613" y="0"/>
                      <a:pt x="3380031" y="131041"/>
                      <a:pt x="3380031" y="289670"/>
                    </a:cubicBezTo>
                    <a:cubicBezTo>
                      <a:pt x="3380031" y="654775"/>
                      <a:pt x="3380031" y="940013"/>
                      <a:pt x="3380031" y="1162855"/>
                    </a:cubicBezTo>
                    <a:lnTo>
                      <a:pt x="3380031" y="1222011"/>
                    </a:lnTo>
                    <a:lnTo>
                      <a:pt x="3593507" y="1423171"/>
                    </a:lnTo>
                    <a:lnTo>
                      <a:pt x="3380031" y="1616120"/>
                    </a:lnTo>
                    <a:lnTo>
                      <a:pt x="3380031" y="1661666"/>
                    </a:lnTo>
                    <a:cubicBezTo>
                      <a:pt x="3380031" y="1958721"/>
                      <a:pt x="3380031" y="1958721"/>
                      <a:pt x="3380031" y="1958721"/>
                    </a:cubicBezTo>
                    <a:cubicBezTo>
                      <a:pt x="3380031" y="2117350"/>
                      <a:pt x="3255613" y="2241494"/>
                      <a:pt x="3096634" y="2241494"/>
                    </a:cubicBezTo>
                    <a:cubicBezTo>
                      <a:pt x="290309" y="2241494"/>
                      <a:pt x="290309" y="2241494"/>
                      <a:pt x="290309" y="2241494"/>
                    </a:cubicBezTo>
                    <a:cubicBezTo>
                      <a:pt x="131330" y="2241494"/>
                      <a:pt x="0" y="2117350"/>
                      <a:pt x="0" y="1958721"/>
                    </a:cubicBezTo>
                    <a:cubicBezTo>
                      <a:pt x="0" y="289670"/>
                      <a:pt x="0" y="289670"/>
                      <a:pt x="0" y="289670"/>
                    </a:cubicBezTo>
                    <a:cubicBezTo>
                      <a:pt x="0" y="131041"/>
                      <a:pt x="131330" y="0"/>
                      <a:pt x="290309" y="0"/>
                    </a:cubicBezTo>
                    <a:close/>
                  </a:path>
                </a:pathLst>
              </a:custGeom>
              <a:solidFill>
                <a:schemeClr val="bg1"/>
              </a:solidFill>
              <a:ln w="7938" cap="flat">
                <a:noFill/>
                <a:prstDash val="solid"/>
                <a:miter lim="800000"/>
                <a:headEnd/>
                <a:tailEnd/>
              </a:ln>
            </p:spPr>
            <p:txBody>
              <a:bodyPr vert="horz" wrap="square" lIns="69945" tIns="34973" rIns="69945" bIns="34973" numCol="1" anchor="t" anchorCtr="0" compatLnSpc="1">
                <a:prstTxWarp prst="textNoShape">
                  <a:avLst/>
                </a:prstTxWarp>
                <a:noAutofit/>
              </a:bodyPr>
              <a:lstStyle/>
              <a:p>
                <a:pPr defTabSz="699447">
                  <a:defRPr/>
                </a:pPr>
                <a:endParaRPr lang="en-US" sz="1377" kern="0">
                  <a:solidFill>
                    <a:srgbClr val="1A1A1A"/>
                  </a:solidFill>
                  <a:latin typeface="Segoe UI"/>
                </a:endParaRPr>
              </a:p>
            </p:txBody>
          </p:sp>
          <p:sp>
            <p:nvSpPr>
              <p:cNvPr id="925" name="Rectangle 78">
                <a:extLst>
                  <a:ext uri="{FF2B5EF4-FFF2-40B4-BE49-F238E27FC236}">
                    <a16:creationId xmlns:a16="http://schemas.microsoft.com/office/drawing/2014/main" id="{EBC23B02-066A-43C1-A60E-058EF91ACC61}"/>
                  </a:ext>
                </a:extLst>
              </p:cNvPr>
              <p:cNvSpPr>
                <a:spLocks noChangeArrowheads="1"/>
              </p:cNvSpPr>
              <p:nvPr/>
            </p:nvSpPr>
            <p:spPr bwMode="auto">
              <a:xfrm>
                <a:off x="3679828" y="2892556"/>
                <a:ext cx="108153" cy="22058"/>
              </a:xfrm>
              <a:prstGeom prst="rect">
                <a:avLst/>
              </a:prstGeom>
              <a:solidFill>
                <a:srgbClr val="D9D9D9"/>
              </a:solidFill>
              <a:ln w="7938" cap="flat">
                <a:noFill/>
                <a:prstDash val="solid"/>
                <a:miter lim="800000"/>
                <a:headEnd/>
                <a:tailEnd/>
              </a:ln>
            </p:spPr>
            <p:txBody>
              <a:bodyPr vert="horz" wrap="square" lIns="69945" tIns="34973" rIns="69945" bIns="34973" numCol="1" anchor="t" anchorCtr="0" compatLnSpc="1">
                <a:prstTxWarp prst="textNoShape">
                  <a:avLst/>
                </a:prstTxWarp>
              </a:bodyPr>
              <a:lstStyle/>
              <a:p>
                <a:pPr defTabSz="699447">
                  <a:defRPr/>
                </a:pPr>
                <a:endParaRPr lang="en-US" sz="1377" kern="0">
                  <a:solidFill>
                    <a:srgbClr val="1A1A1A"/>
                  </a:solidFill>
                  <a:latin typeface="Segoe UI"/>
                </a:endParaRPr>
              </a:p>
            </p:txBody>
          </p:sp>
          <p:sp>
            <p:nvSpPr>
              <p:cNvPr id="926" name="Rectangle 79">
                <a:extLst>
                  <a:ext uri="{FF2B5EF4-FFF2-40B4-BE49-F238E27FC236}">
                    <a16:creationId xmlns:a16="http://schemas.microsoft.com/office/drawing/2014/main" id="{81F938CD-917D-4593-B373-FFF98478CF06}"/>
                  </a:ext>
                </a:extLst>
              </p:cNvPr>
              <p:cNvSpPr>
                <a:spLocks noChangeArrowheads="1"/>
              </p:cNvSpPr>
              <p:nvPr/>
            </p:nvSpPr>
            <p:spPr bwMode="auto">
              <a:xfrm>
                <a:off x="3642828" y="2950190"/>
                <a:ext cx="145153" cy="22058"/>
              </a:xfrm>
              <a:prstGeom prst="rect">
                <a:avLst/>
              </a:prstGeom>
              <a:solidFill>
                <a:srgbClr val="D9D9D9"/>
              </a:solidFill>
              <a:ln w="7938" cap="flat">
                <a:noFill/>
                <a:prstDash val="solid"/>
                <a:miter lim="800000"/>
                <a:headEnd/>
                <a:tailEnd/>
              </a:ln>
            </p:spPr>
            <p:txBody>
              <a:bodyPr vert="horz" wrap="square" lIns="69945" tIns="34973" rIns="69945" bIns="34973" numCol="1" anchor="t" anchorCtr="0" compatLnSpc="1">
                <a:prstTxWarp prst="textNoShape">
                  <a:avLst/>
                </a:prstTxWarp>
              </a:bodyPr>
              <a:lstStyle/>
              <a:p>
                <a:pPr defTabSz="699447">
                  <a:defRPr/>
                </a:pPr>
                <a:endParaRPr lang="en-US" sz="1377" kern="0">
                  <a:solidFill>
                    <a:srgbClr val="1A1A1A"/>
                  </a:solidFill>
                  <a:latin typeface="Segoe UI"/>
                </a:endParaRPr>
              </a:p>
            </p:txBody>
          </p:sp>
          <p:sp>
            <p:nvSpPr>
              <p:cNvPr id="927" name="Rectangle 80">
                <a:extLst>
                  <a:ext uri="{FF2B5EF4-FFF2-40B4-BE49-F238E27FC236}">
                    <a16:creationId xmlns:a16="http://schemas.microsoft.com/office/drawing/2014/main" id="{18F671CF-78E2-424D-9521-EC9A4BC4FC83}"/>
                  </a:ext>
                </a:extLst>
              </p:cNvPr>
              <p:cNvSpPr>
                <a:spLocks noChangeArrowheads="1"/>
              </p:cNvSpPr>
              <p:nvPr/>
            </p:nvSpPr>
            <p:spPr bwMode="auto">
              <a:xfrm>
                <a:off x="3721097" y="3008536"/>
                <a:ext cx="66884" cy="22058"/>
              </a:xfrm>
              <a:prstGeom prst="rect">
                <a:avLst/>
              </a:prstGeom>
              <a:solidFill>
                <a:srgbClr val="D9D9D9"/>
              </a:solidFill>
              <a:ln w="7938" cap="flat">
                <a:noFill/>
                <a:prstDash val="solid"/>
                <a:miter lim="800000"/>
                <a:headEnd/>
                <a:tailEnd/>
              </a:ln>
            </p:spPr>
            <p:txBody>
              <a:bodyPr vert="horz" wrap="square" lIns="69945" tIns="34973" rIns="69945" bIns="34973" numCol="1" anchor="t" anchorCtr="0" compatLnSpc="1">
                <a:prstTxWarp prst="textNoShape">
                  <a:avLst/>
                </a:prstTxWarp>
              </a:bodyPr>
              <a:lstStyle/>
              <a:p>
                <a:pPr defTabSz="699447">
                  <a:defRPr/>
                </a:pPr>
                <a:endParaRPr lang="en-US" sz="1377" kern="0">
                  <a:solidFill>
                    <a:srgbClr val="1A1A1A"/>
                  </a:solidFill>
                  <a:latin typeface="Segoe UI"/>
                </a:endParaRPr>
              </a:p>
            </p:txBody>
          </p:sp>
          <p:sp>
            <p:nvSpPr>
              <p:cNvPr id="928" name="Oval 33">
                <a:extLst>
                  <a:ext uri="{FF2B5EF4-FFF2-40B4-BE49-F238E27FC236}">
                    <a16:creationId xmlns:a16="http://schemas.microsoft.com/office/drawing/2014/main" id="{7E83799A-CC5F-4F41-8127-107C33E73629}"/>
                  </a:ext>
                </a:extLst>
              </p:cNvPr>
              <p:cNvSpPr>
                <a:spLocks noChangeArrowheads="1"/>
              </p:cNvSpPr>
              <p:nvPr/>
            </p:nvSpPr>
            <p:spPr bwMode="auto">
              <a:xfrm>
                <a:off x="3483444" y="2884018"/>
                <a:ext cx="27038" cy="27038"/>
              </a:xfrm>
              <a:prstGeom prst="ellipse">
                <a:avLst/>
              </a:prstGeom>
              <a:solidFill>
                <a:srgbClr val="005A9F"/>
              </a:solidFill>
              <a:ln w="7938" cap="flat">
                <a:noFill/>
                <a:prstDash val="solid"/>
                <a:miter lim="800000"/>
                <a:headEnd/>
                <a:tailEnd/>
              </a:ln>
            </p:spPr>
            <p:txBody>
              <a:bodyPr vert="horz" wrap="square" lIns="69945" tIns="34973" rIns="69945" bIns="34973" numCol="1" anchor="t" anchorCtr="0" compatLnSpc="1">
                <a:prstTxWarp prst="textNoShape">
                  <a:avLst/>
                </a:prstTxWarp>
              </a:bodyPr>
              <a:lstStyle/>
              <a:p>
                <a:pPr defTabSz="699447">
                  <a:defRPr/>
                </a:pPr>
                <a:endParaRPr lang="en-US" sz="1377" kern="0">
                  <a:solidFill>
                    <a:srgbClr val="1A1A1A"/>
                  </a:solidFill>
                  <a:latin typeface="Segoe UI"/>
                </a:endParaRPr>
              </a:p>
            </p:txBody>
          </p:sp>
          <p:sp>
            <p:nvSpPr>
              <p:cNvPr id="929" name="Oval 34">
                <a:extLst>
                  <a:ext uri="{FF2B5EF4-FFF2-40B4-BE49-F238E27FC236}">
                    <a16:creationId xmlns:a16="http://schemas.microsoft.com/office/drawing/2014/main" id="{64DE909D-5A80-40B7-906D-036D60D922ED}"/>
                  </a:ext>
                </a:extLst>
              </p:cNvPr>
              <p:cNvSpPr>
                <a:spLocks noChangeArrowheads="1"/>
              </p:cNvSpPr>
              <p:nvPr/>
            </p:nvSpPr>
            <p:spPr bwMode="auto">
              <a:xfrm>
                <a:off x="3529694" y="2884018"/>
                <a:ext cx="27038" cy="27038"/>
              </a:xfrm>
              <a:prstGeom prst="ellipse">
                <a:avLst/>
              </a:prstGeom>
              <a:solidFill>
                <a:srgbClr val="005A9F"/>
              </a:solidFill>
              <a:ln w="7938" cap="flat">
                <a:noFill/>
                <a:prstDash val="solid"/>
                <a:miter lim="800000"/>
                <a:headEnd/>
                <a:tailEnd/>
              </a:ln>
            </p:spPr>
            <p:txBody>
              <a:bodyPr vert="horz" wrap="square" lIns="69945" tIns="34973" rIns="69945" bIns="34973" numCol="1" anchor="t" anchorCtr="0" compatLnSpc="1">
                <a:prstTxWarp prst="textNoShape">
                  <a:avLst/>
                </a:prstTxWarp>
              </a:bodyPr>
              <a:lstStyle/>
              <a:p>
                <a:pPr defTabSz="699447">
                  <a:defRPr/>
                </a:pPr>
                <a:endParaRPr lang="en-US" sz="1377" kern="0">
                  <a:solidFill>
                    <a:srgbClr val="1A1A1A"/>
                  </a:solidFill>
                  <a:latin typeface="Segoe UI"/>
                </a:endParaRPr>
              </a:p>
            </p:txBody>
          </p:sp>
          <p:sp>
            <p:nvSpPr>
              <p:cNvPr id="930" name="Freeform 35">
                <a:extLst>
                  <a:ext uri="{FF2B5EF4-FFF2-40B4-BE49-F238E27FC236}">
                    <a16:creationId xmlns:a16="http://schemas.microsoft.com/office/drawing/2014/main" id="{3FBA6F83-62DE-425F-BD8D-EA62054CB17E}"/>
                  </a:ext>
                </a:extLst>
              </p:cNvPr>
              <p:cNvSpPr>
                <a:spLocks/>
              </p:cNvSpPr>
              <p:nvPr/>
            </p:nvSpPr>
            <p:spPr bwMode="auto">
              <a:xfrm>
                <a:off x="3397348" y="2814287"/>
                <a:ext cx="102461" cy="168634"/>
              </a:xfrm>
              <a:custGeom>
                <a:avLst/>
                <a:gdLst>
                  <a:gd name="T0" fmla="*/ 89 w 106"/>
                  <a:gd name="T1" fmla="*/ 0 h 175"/>
                  <a:gd name="T2" fmla="*/ 7 w 106"/>
                  <a:gd name="T3" fmla="*/ 81 h 175"/>
                  <a:gd name="T4" fmla="*/ 7 w 106"/>
                  <a:gd name="T5" fmla="*/ 94 h 175"/>
                  <a:gd name="T6" fmla="*/ 89 w 106"/>
                  <a:gd name="T7" fmla="*/ 175 h 175"/>
                  <a:gd name="T8" fmla="*/ 106 w 106"/>
                  <a:gd name="T9" fmla="*/ 158 h 175"/>
                  <a:gd name="T10" fmla="*/ 34 w 106"/>
                  <a:gd name="T11" fmla="*/ 86 h 175"/>
                  <a:gd name="T12" fmla="*/ 106 w 106"/>
                  <a:gd name="T13" fmla="*/ 16 h 175"/>
                  <a:gd name="T14" fmla="*/ 89 w 106"/>
                  <a:gd name="T15" fmla="*/ 0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75">
                    <a:moveTo>
                      <a:pt x="89" y="0"/>
                    </a:moveTo>
                    <a:cubicBezTo>
                      <a:pt x="7" y="81"/>
                      <a:pt x="7" y="81"/>
                      <a:pt x="7" y="81"/>
                    </a:cubicBezTo>
                    <a:cubicBezTo>
                      <a:pt x="7" y="81"/>
                      <a:pt x="0" y="88"/>
                      <a:pt x="7" y="94"/>
                    </a:cubicBezTo>
                    <a:cubicBezTo>
                      <a:pt x="13" y="100"/>
                      <a:pt x="89" y="175"/>
                      <a:pt x="89" y="175"/>
                    </a:cubicBezTo>
                    <a:cubicBezTo>
                      <a:pt x="106" y="158"/>
                      <a:pt x="106" y="158"/>
                      <a:pt x="106" y="158"/>
                    </a:cubicBezTo>
                    <a:cubicBezTo>
                      <a:pt x="34" y="86"/>
                      <a:pt x="34" y="86"/>
                      <a:pt x="34" y="86"/>
                    </a:cubicBezTo>
                    <a:cubicBezTo>
                      <a:pt x="106" y="16"/>
                      <a:pt x="106" y="16"/>
                      <a:pt x="106" y="16"/>
                    </a:cubicBezTo>
                    <a:lnTo>
                      <a:pt x="89" y="0"/>
                    </a:lnTo>
                    <a:close/>
                  </a:path>
                </a:pathLst>
              </a:custGeom>
              <a:solidFill>
                <a:srgbClr val="005A9F"/>
              </a:solidFill>
              <a:ln w="7938" cap="flat">
                <a:noFill/>
                <a:prstDash val="solid"/>
                <a:miter lim="800000"/>
                <a:headEnd/>
                <a:tailEnd/>
              </a:ln>
            </p:spPr>
            <p:txBody>
              <a:bodyPr vert="horz" wrap="square" lIns="69945" tIns="34973" rIns="69945" bIns="34973" numCol="1" anchor="t" anchorCtr="0" compatLnSpc="1">
                <a:prstTxWarp prst="textNoShape">
                  <a:avLst/>
                </a:prstTxWarp>
              </a:bodyPr>
              <a:lstStyle/>
              <a:p>
                <a:pPr defTabSz="699447">
                  <a:defRPr/>
                </a:pPr>
                <a:endParaRPr lang="en-US" sz="1377" kern="0">
                  <a:solidFill>
                    <a:srgbClr val="1A1A1A"/>
                  </a:solidFill>
                  <a:latin typeface="Segoe UI"/>
                </a:endParaRPr>
              </a:p>
            </p:txBody>
          </p:sp>
          <p:sp>
            <p:nvSpPr>
              <p:cNvPr id="931" name="Freeform 36">
                <a:extLst>
                  <a:ext uri="{FF2B5EF4-FFF2-40B4-BE49-F238E27FC236}">
                    <a16:creationId xmlns:a16="http://schemas.microsoft.com/office/drawing/2014/main" id="{DF060768-A6E1-4A06-9FDE-6A66C2808FE6}"/>
                  </a:ext>
                </a:extLst>
              </p:cNvPr>
              <p:cNvSpPr>
                <a:spLocks/>
              </p:cNvSpPr>
              <p:nvPr/>
            </p:nvSpPr>
            <p:spPr bwMode="auto">
              <a:xfrm>
                <a:off x="3536098" y="2814287"/>
                <a:ext cx="103172" cy="168634"/>
              </a:xfrm>
              <a:custGeom>
                <a:avLst/>
                <a:gdLst>
                  <a:gd name="T0" fmla="*/ 17 w 106"/>
                  <a:gd name="T1" fmla="*/ 0 h 175"/>
                  <a:gd name="T2" fmla="*/ 99 w 106"/>
                  <a:gd name="T3" fmla="*/ 81 h 175"/>
                  <a:gd name="T4" fmla="*/ 99 w 106"/>
                  <a:gd name="T5" fmla="*/ 94 h 175"/>
                  <a:gd name="T6" fmla="*/ 17 w 106"/>
                  <a:gd name="T7" fmla="*/ 175 h 175"/>
                  <a:gd name="T8" fmla="*/ 0 w 106"/>
                  <a:gd name="T9" fmla="*/ 158 h 175"/>
                  <a:gd name="T10" fmla="*/ 72 w 106"/>
                  <a:gd name="T11" fmla="*/ 86 h 175"/>
                  <a:gd name="T12" fmla="*/ 0 w 106"/>
                  <a:gd name="T13" fmla="*/ 16 h 175"/>
                  <a:gd name="T14" fmla="*/ 17 w 106"/>
                  <a:gd name="T15" fmla="*/ 0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75">
                    <a:moveTo>
                      <a:pt x="17" y="0"/>
                    </a:moveTo>
                    <a:cubicBezTo>
                      <a:pt x="99" y="81"/>
                      <a:pt x="99" y="81"/>
                      <a:pt x="99" y="81"/>
                    </a:cubicBezTo>
                    <a:cubicBezTo>
                      <a:pt x="99" y="81"/>
                      <a:pt x="106" y="88"/>
                      <a:pt x="99" y="94"/>
                    </a:cubicBezTo>
                    <a:cubicBezTo>
                      <a:pt x="93" y="100"/>
                      <a:pt x="17" y="175"/>
                      <a:pt x="17" y="175"/>
                    </a:cubicBezTo>
                    <a:cubicBezTo>
                      <a:pt x="0" y="158"/>
                      <a:pt x="0" y="158"/>
                      <a:pt x="0" y="158"/>
                    </a:cubicBezTo>
                    <a:cubicBezTo>
                      <a:pt x="72" y="86"/>
                      <a:pt x="72" y="86"/>
                      <a:pt x="72" y="86"/>
                    </a:cubicBezTo>
                    <a:cubicBezTo>
                      <a:pt x="0" y="16"/>
                      <a:pt x="0" y="16"/>
                      <a:pt x="0" y="16"/>
                    </a:cubicBezTo>
                    <a:lnTo>
                      <a:pt x="17" y="0"/>
                    </a:lnTo>
                    <a:close/>
                  </a:path>
                </a:pathLst>
              </a:custGeom>
              <a:solidFill>
                <a:srgbClr val="005A9F"/>
              </a:solidFill>
              <a:ln w="7938" cap="flat">
                <a:noFill/>
                <a:prstDash val="solid"/>
                <a:miter lim="800000"/>
                <a:headEnd/>
                <a:tailEnd/>
              </a:ln>
            </p:spPr>
            <p:txBody>
              <a:bodyPr vert="horz" wrap="square" lIns="69945" tIns="34973" rIns="69945" bIns="34973" numCol="1" anchor="t" anchorCtr="0" compatLnSpc="1">
                <a:prstTxWarp prst="textNoShape">
                  <a:avLst/>
                </a:prstTxWarp>
              </a:bodyPr>
              <a:lstStyle/>
              <a:p>
                <a:pPr defTabSz="699447">
                  <a:defRPr/>
                </a:pPr>
                <a:endParaRPr lang="en-US" sz="1377" kern="0">
                  <a:solidFill>
                    <a:srgbClr val="1A1A1A"/>
                  </a:solidFill>
                  <a:latin typeface="Segoe UI"/>
                </a:endParaRPr>
              </a:p>
            </p:txBody>
          </p:sp>
        </p:grpSp>
      </p:grpSp>
      <p:grpSp>
        <p:nvGrpSpPr>
          <p:cNvPr id="932" name="Group 2">
            <a:extLst>
              <a:ext uri="{FF2B5EF4-FFF2-40B4-BE49-F238E27FC236}">
                <a16:creationId xmlns:a16="http://schemas.microsoft.com/office/drawing/2014/main" id="{74DA5B8E-EB5A-4F0D-9EA1-20F3F0539C58}"/>
              </a:ext>
            </a:extLst>
          </p:cNvPr>
          <p:cNvGrpSpPr/>
          <p:nvPr/>
        </p:nvGrpSpPr>
        <p:grpSpPr>
          <a:xfrm>
            <a:off x="5598828" y="3190839"/>
            <a:ext cx="908040" cy="942010"/>
            <a:chOff x="5468716" y="6021113"/>
            <a:chExt cx="1158327" cy="1158328"/>
          </a:xfrm>
        </p:grpSpPr>
        <p:sp>
          <p:nvSpPr>
            <p:cNvPr id="933" name="Oval 9">
              <a:extLst>
                <a:ext uri="{FF2B5EF4-FFF2-40B4-BE49-F238E27FC236}">
                  <a16:creationId xmlns:a16="http://schemas.microsoft.com/office/drawing/2014/main" id="{3227E89D-0C3F-45FC-9B77-B3061DE53BEF}"/>
                </a:ext>
              </a:extLst>
            </p:cNvPr>
            <p:cNvSpPr>
              <a:spLocks noChangeArrowheads="1"/>
            </p:cNvSpPr>
            <p:nvPr/>
          </p:nvSpPr>
          <p:spPr bwMode="auto">
            <a:xfrm>
              <a:off x="5468716" y="6021113"/>
              <a:ext cx="1158327" cy="1158328"/>
            </a:xfrm>
            <a:prstGeom prst="ellipse">
              <a:avLst/>
            </a:prstGeom>
            <a:solidFill>
              <a:srgbClr val="0078D7"/>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de-DE" sz="1530" kern="0">
                <a:solidFill>
                  <a:srgbClr val="0078D4"/>
                </a:solidFill>
                <a:latin typeface="Segoe UI Semilight"/>
              </a:endParaRPr>
            </a:p>
          </p:txBody>
        </p:sp>
        <p:sp>
          <p:nvSpPr>
            <p:cNvPr id="934" name="Freeform 6">
              <a:extLst>
                <a:ext uri="{FF2B5EF4-FFF2-40B4-BE49-F238E27FC236}">
                  <a16:creationId xmlns:a16="http://schemas.microsoft.com/office/drawing/2014/main" id="{C8B60002-D3D4-4FAA-A9AA-3B5C680FBABA}"/>
                </a:ext>
              </a:extLst>
            </p:cNvPr>
            <p:cNvSpPr>
              <a:spLocks/>
            </p:cNvSpPr>
            <p:nvPr/>
          </p:nvSpPr>
          <p:spPr bwMode="auto">
            <a:xfrm>
              <a:off x="5981019" y="6721480"/>
              <a:ext cx="75918" cy="25519"/>
            </a:xfrm>
            <a:custGeom>
              <a:avLst/>
              <a:gdLst>
                <a:gd name="T0" fmla="*/ 0 w 57"/>
                <a:gd name="T1" fmla="*/ 19 h 19"/>
                <a:gd name="T2" fmla="*/ 0 w 57"/>
                <a:gd name="T3" fmla="*/ 14 h 19"/>
                <a:gd name="T4" fmla="*/ 15 w 57"/>
                <a:gd name="T5" fmla="*/ 0 h 19"/>
                <a:gd name="T6" fmla="*/ 57 w 57"/>
                <a:gd name="T7" fmla="*/ 0 h 19"/>
              </a:gdLst>
              <a:ahLst/>
              <a:cxnLst>
                <a:cxn ang="0">
                  <a:pos x="T0" y="T1"/>
                </a:cxn>
                <a:cxn ang="0">
                  <a:pos x="T2" y="T3"/>
                </a:cxn>
                <a:cxn ang="0">
                  <a:pos x="T4" y="T5"/>
                </a:cxn>
                <a:cxn ang="0">
                  <a:pos x="T6" y="T7"/>
                </a:cxn>
              </a:cxnLst>
              <a:rect l="0" t="0" r="r" b="b"/>
              <a:pathLst>
                <a:path w="57" h="19">
                  <a:moveTo>
                    <a:pt x="0" y="19"/>
                  </a:moveTo>
                  <a:cubicBezTo>
                    <a:pt x="0" y="14"/>
                    <a:pt x="0" y="14"/>
                    <a:pt x="0" y="14"/>
                  </a:cubicBezTo>
                  <a:cubicBezTo>
                    <a:pt x="0" y="6"/>
                    <a:pt x="6" y="0"/>
                    <a:pt x="15" y="0"/>
                  </a:cubicBezTo>
                  <a:cubicBezTo>
                    <a:pt x="57" y="0"/>
                    <a:pt x="57" y="0"/>
                    <a:pt x="57" y="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69945" tIns="34973" rIns="69945" bIns="34973" numCol="1" anchor="t" anchorCtr="0" compatLnSpc="1">
              <a:prstTxWarp prst="textNoShape">
                <a:avLst/>
              </a:prstTxWarp>
            </a:bodyPr>
            <a:lstStyle/>
            <a:p>
              <a:pPr defTabSz="699422">
                <a:defRPr/>
              </a:pPr>
              <a:endParaRPr lang="en-US" sz="1350">
                <a:solidFill>
                  <a:srgbClr val="1A1A1A"/>
                </a:solidFill>
                <a:latin typeface="Segoe UI"/>
              </a:endParaRPr>
            </a:p>
          </p:txBody>
        </p:sp>
        <p:sp>
          <p:nvSpPr>
            <p:cNvPr id="935" name="Freeform 7">
              <a:extLst>
                <a:ext uri="{FF2B5EF4-FFF2-40B4-BE49-F238E27FC236}">
                  <a16:creationId xmlns:a16="http://schemas.microsoft.com/office/drawing/2014/main" id="{69FD6C29-6BBA-4B62-971A-4AC2B5358F1B}"/>
                </a:ext>
              </a:extLst>
            </p:cNvPr>
            <p:cNvSpPr>
              <a:spLocks/>
            </p:cNvSpPr>
            <p:nvPr/>
          </p:nvSpPr>
          <p:spPr bwMode="auto">
            <a:xfrm>
              <a:off x="6193463" y="6579851"/>
              <a:ext cx="78470" cy="153750"/>
            </a:xfrm>
            <a:custGeom>
              <a:avLst/>
              <a:gdLst>
                <a:gd name="T0" fmla="*/ 0 w 59"/>
                <a:gd name="T1" fmla="*/ 0 h 115"/>
                <a:gd name="T2" fmla="*/ 0 w 59"/>
                <a:gd name="T3" fmla="*/ 62 h 115"/>
                <a:gd name="T4" fmla="*/ 15 w 59"/>
                <a:gd name="T5" fmla="*/ 77 h 115"/>
                <a:gd name="T6" fmla="*/ 45 w 59"/>
                <a:gd name="T7" fmla="*/ 77 h 115"/>
                <a:gd name="T8" fmla="*/ 59 w 59"/>
                <a:gd name="T9" fmla="*/ 91 h 115"/>
                <a:gd name="T10" fmla="*/ 59 w 59"/>
                <a:gd name="T11" fmla="*/ 115 h 115"/>
              </a:gdLst>
              <a:ahLst/>
              <a:cxnLst>
                <a:cxn ang="0">
                  <a:pos x="T0" y="T1"/>
                </a:cxn>
                <a:cxn ang="0">
                  <a:pos x="T2" y="T3"/>
                </a:cxn>
                <a:cxn ang="0">
                  <a:pos x="T4" y="T5"/>
                </a:cxn>
                <a:cxn ang="0">
                  <a:pos x="T6" y="T7"/>
                </a:cxn>
                <a:cxn ang="0">
                  <a:pos x="T8" y="T9"/>
                </a:cxn>
                <a:cxn ang="0">
                  <a:pos x="T10" y="T11"/>
                </a:cxn>
              </a:cxnLst>
              <a:rect l="0" t="0" r="r" b="b"/>
              <a:pathLst>
                <a:path w="59" h="115">
                  <a:moveTo>
                    <a:pt x="0" y="0"/>
                  </a:moveTo>
                  <a:cubicBezTo>
                    <a:pt x="0" y="62"/>
                    <a:pt x="0" y="62"/>
                    <a:pt x="0" y="62"/>
                  </a:cubicBezTo>
                  <a:cubicBezTo>
                    <a:pt x="0" y="70"/>
                    <a:pt x="7" y="77"/>
                    <a:pt x="15" y="77"/>
                  </a:cubicBezTo>
                  <a:cubicBezTo>
                    <a:pt x="45" y="77"/>
                    <a:pt x="45" y="77"/>
                    <a:pt x="45" y="77"/>
                  </a:cubicBezTo>
                  <a:cubicBezTo>
                    <a:pt x="53" y="77"/>
                    <a:pt x="59" y="83"/>
                    <a:pt x="59" y="91"/>
                  </a:cubicBezTo>
                  <a:cubicBezTo>
                    <a:pt x="59" y="115"/>
                    <a:pt x="59" y="115"/>
                    <a:pt x="59" y="115"/>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69945" tIns="34973" rIns="69945" bIns="34973" numCol="1" anchor="t" anchorCtr="0" compatLnSpc="1">
              <a:prstTxWarp prst="textNoShape">
                <a:avLst/>
              </a:prstTxWarp>
            </a:bodyPr>
            <a:lstStyle/>
            <a:p>
              <a:pPr defTabSz="699422">
                <a:defRPr/>
              </a:pPr>
              <a:endParaRPr lang="en-US" sz="1350">
                <a:solidFill>
                  <a:srgbClr val="1A1A1A"/>
                </a:solidFill>
                <a:latin typeface="Segoe UI"/>
              </a:endParaRPr>
            </a:p>
          </p:txBody>
        </p:sp>
        <p:sp>
          <p:nvSpPr>
            <p:cNvPr id="936" name="Freeform 8">
              <a:extLst>
                <a:ext uri="{FF2B5EF4-FFF2-40B4-BE49-F238E27FC236}">
                  <a16:creationId xmlns:a16="http://schemas.microsoft.com/office/drawing/2014/main" id="{EC1201D3-8F6B-468D-BB7F-A3CB8BB182BE}"/>
                </a:ext>
              </a:extLst>
            </p:cNvPr>
            <p:cNvSpPr>
              <a:spLocks/>
            </p:cNvSpPr>
            <p:nvPr/>
          </p:nvSpPr>
          <p:spPr bwMode="auto">
            <a:xfrm>
              <a:off x="6221533" y="6456086"/>
              <a:ext cx="107179" cy="46572"/>
            </a:xfrm>
            <a:custGeom>
              <a:avLst/>
              <a:gdLst>
                <a:gd name="T0" fmla="*/ 0 w 80"/>
                <a:gd name="T1" fmla="*/ 35 h 35"/>
                <a:gd name="T2" fmla="*/ 69 w 80"/>
                <a:gd name="T3" fmla="*/ 35 h 35"/>
                <a:gd name="T4" fmla="*/ 80 w 80"/>
                <a:gd name="T5" fmla="*/ 23 h 35"/>
                <a:gd name="T6" fmla="*/ 80 w 80"/>
                <a:gd name="T7" fmla="*/ 0 h 35"/>
              </a:gdLst>
              <a:ahLst/>
              <a:cxnLst>
                <a:cxn ang="0">
                  <a:pos x="T0" y="T1"/>
                </a:cxn>
                <a:cxn ang="0">
                  <a:pos x="T2" y="T3"/>
                </a:cxn>
                <a:cxn ang="0">
                  <a:pos x="T4" y="T5"/>
                </a:cxn>
                <a:cxn ang="0">
                  <a:pos x="T6" y="T7"/>
                </a:cxn>
              </a:cxnLst>
              <a:rect l="0" t="0" r="r" b="b"/>
              <a:pathLst>
                <a:path w="80" h="35">
                  <a:moveTo>
                    <a:pt x="0" y="35"/>
                  </a:moveTo>
                  <a:cubicBezTo>
                    <a:pt x="69" y="35"/>
                    <a:pt x="69" y="35"/>
                    <a:pt x="69" y="35"/>
                  </a:cubicBezTo>
                  <a:cubicBezTo>
                    <a:pt x="75" y="35"/>
                    <a:pt x="80" y="30"/>
                    <a:pt x="80" y="23"/>
                  </a:cubicBezTo>
                  <a:cubicBezTo>
                    <a:pt x="80" y="0"/>
                    <a:pt x="80" y="0"/>
                    <a:pt x="80" y="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69945" tIns="34973" rIns="69945" bIns="34973" numCol="1" anchor="t" anchorCtr="0" compatLnSpc="1">
              <a:prstTxWarp prst="textNoShape">
                <a:avLst/>
              </a:prstTxWarp>
            </a:bodyPr>
            <a:lstStyle/>
            <a:p>
              <a:pPr defTabSz="699422">
                <a:defRPr/>
              </a:pPr>
              <a:endParaRPr lang="en-US" sz="1350">
                <a:solidFill>
                  <a:srgbClr val="1A1A1A"/>
                </a:solidFill>
                <a:latin typeface="Segoe UI"/>
              </a:endParaRPr>
            </a:p>
          </p:txBody>
        </p:sp>
        <p:sp>
          <p:nvSpPr>
            <p:cNvPr id="937" name="Oval 9">
              <a:extLst>
                <a:ext uri="{FF2B5EF4-FFF2-40B4-BE49-F238E27FC236}">
                  <a16:creationId xmlns:a16="http://schemas.microsoft.com/office/drawing/2014/main" id="{B4838AFB-C530-40C3-9194-CD99D1D8C4BF}"/>
                </a:ext>
              </a:extLst>
            </p:cNvPr>
            <p:cNvSpPr>
              <a:spLocks noChangeArrowheads="1"/>
            </p:cNvSpPr>
            <p:nvPr/>
          </p:nvSpPr>
          <p:spPr bwMode="auto">
            <a:xfrm>
              <a:off x="5949759" y="6745722"/>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69945" tIns="34973" rIns="69945" bIns="34973" numCol="1" anchor="t" anchorCtr="0" compatLnSpc="1">
              <a:prstTxWarp prst="textNoShape">
                <a:avLst/>
              </a:prstTxWarp>
            </a:bodyPr>
            <a:lstStyle/>
            <a:p>
              <a:pPr defTabSz="699422">
                <a:defRPr/>
              </a:pPr>
              <a:endParaRPr lang="en-US" sz="1350">
                <a:solidFill>
                  <a:srgbClr val="1A1A1A"/>
                </a:solidFill>
                <a:latin typeface="Segoe UI"/>
              </a:endParaRPr>
            </a:p>
          </p:txBody>
        </p:sp>
        <p:sp>
          <p:nvSpPr>
            <p:cNvPr id="938" name="Oval 11">
              <a:extLst>
                <a:ext uri="{FF2B5EF4-FFF2-40B4-BE49-F238E27FC236}">
                  <a16:creationId xmlns:a16="http://schemas.microsoft.com/office/drawing/2014/main" id="{8D3274FB-6229-42BE-80CC-96FB2921A862}"/>
                </a:ext>
              </a:extLst>
            </p:cNvPr>
            <p:cNvSpPr>
              <a:spLocks noChangeArrowheads="1"/>
            </p:cNvSpPr>
            <p:nvPr/>
          </p:nvSpPr>
          <p:spPr bwMode="auto">
            <a:xfrm>
              <a:off x="6241310" y="6733601"/>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69945" tIns="34973" rIns="69945" bIns="34973" numCol="1" anchor="t" anchorCtr="0" compatLnSpc="1">
              <a:prstTxWarp prst="textNoShape">
                <a:avLst/>
              </a:prstTxWarp>
            </a:bodyPr>
            <a:lstStyle/>
            <a:p>
              <a:pPr defTabSz="699422">
                <a:defRPr/>
              </a:pPr>
              <a:endParaRPr lang="en-US" sz="1350">
                <a:solidFill>
                  <a:srgbClr val="1A1A1A"/>
                </a:solidFill>
                <a:latin typeface="Segoe UI"/>
              </a:endParaRPr>
            </a:p>
          </p:txBody>
        </p:sp>
        <p:sp>
          <p:nvSpPr>
            <p:cNvPr id="939" name="Oval 12">
              <a:extLst>
                <a:ext uri="{FF2B5EF4-FFF2-40B4-BE49-F238E27FC236}">
                  <a16:creationId xmlns:a16="http://schemas.microsoft.com/office/drawing/2014/main" id="{105282CE-5A53-4111-A392-A94CE2F6CF1E}"/>
                </a:ext>
              </a:extLst>
            </p:cNvPr>
            <p:cNvSpPr>
              <a:spLocks noChangeArrowheads="1"/>
            </p:cNvSpPr>
            <p:nvPr/>
          </p:nvSpPr>
          <p:spPr bwMode="auto">
            <a:xfrm>
              <a:off x="6297451" y="6394203"/>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69945" tIns="34973" rIns="69945" bIns="34973" numCol="1" anchor="t" anchorCtr="0" compatLnSpc="1">
              <a:prstTxWarp prst="textNoShape">
                <a:avLst/>
              </a:prstTxWarp>
            </a:bodyPr>
            <a:lstStyle/>
            <a:p>
              <a:pPr defTabSz="699422">
                <a:defRPr/>
              </a:pPr>
              <a:endParaRPr lang="en-US" sz="1350">
                <a:solidFill>
                  <a:srgbClr val="1A1A1A"/>
                </a:solidFill>
                <a:latin typeface="Segoe UI"/>
              </a:endParaRPr>
            </a:p>
          </p:txBody>
        </p:sp>
        <p:sp>
          <p:nvSpPr>
            <p:cNvPr id="940" name="Freeform 5">
              <a:extLst>
                <a:ext uri="{FF2B5EF4-FFF2-40B4-BE49-F238E27FC236}">
                  <a16:creationId xmlns:a16="http://schemas.microsoft.com/office/drawing/2014/main" id="{A0EAA653-DAB8-4070-94A7-F572338FBDDE}"/>
                </a:ext>
              </a:extLst>
            </p:cNvPr>
            <p:cNvSpPr>
              <a:spLocks/>
            </p:cNvSpPr>
            <p:nvPr/>
          </p:nvSpPr>
          <p:spPr bwMode="auto">
            <a:xfrm>
              <a:off x="6056938" y="6640458"/>
              <a:ext cx="54865" cy="213719"/>
            </a:xfrm>
            <a:custGeom>
              <a:avLst/>
              <a:gdLst>
                <a:gd name="T0" fmla="*/ 0 w 41"/>
                <a:gd name="T1" fmla="*/ 0 h 160"/>
                <a:gd name="T2" fmla="*/ 0 w 41"/>
                <a:gd name="T3" fmla="*/ 145 h 160"/>
                <a:gd name="T4" fmla="*/ 15 w 41"/>
                <a:gd name="T5" fmla="*/ 160 h 160"/>
                <a:gd name="T6" fmla="*/ 41 w 41"/>
                <a:gd name="T7" fmla="*/ 160 h 160"/>
              </a:gdLst>
              <a:ahLst/>
              <a:cxnLst>
                <a:cxn ang="0">
                  <a:pos x="T0" y="T1"/>
                </a:cxn>
                <a:cxn ang="0">
                  <a:pos x="T2" y="T3"/>
                </a:cxn>
                <a:cxn ang="0">
                  <a:pos x="T4" y="T5"/>
                </a:cxn>
                <a:cxn ang="0">
                  <a:pos x="T6" y="T7"/>
                </a:cxn>
              </a:cxnLst>
              <a:rect l="0" t="0" r="r" b="b"/>
              <a:pathLst>
                <a:path w="41" h="160">
                  <a:moveTo>
                    <a:pt x="0" y="0"/>
                  </a:moveTo>
                  <a:cubicBezTo>
                    <a:pt x="0" y="145"/>
                    <a:pt x="0" y="145"/>
                    <a:pt x="0" y="145"/>
                  </a:cubicBezTo>
                  <a:cubicBezTo>
                    <a:pt x="0" y="154"/>
                    <a:pt x="6" y="160"/>
                    <a:pt x="15" y="160"/>
                  </a:cubicBezTo>
                  <a:cubicBezTo>
                    <a:pt x="41" y="160"/>
                    <a:pt x="41" y="160"/>
                    <a:pt x="41" y="16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69945" tIns="34973" rIns="69945" bIns="34973" numCol="1" anchor="t" anchorCtr="0" compatLnSpc="1">
              <a:prstTxWarp prst="textNoShape">
                <a:avLst/>
              </a:prstTxWarp>
            </a:bodyPr>
            <a:lstStyle/>
            <a:p>
              <a:pPr defTabSz="699422">
                <a:defRPr/>
              </a:pPr>
              <a:endParaRPr lang="en-US" sz="1350">
                <a:solidFill>
                  <a:srgbClr val="1A1A1A"/>
                </a:solidFill>
                <a:latin typeface="Segoe UI"/>
              </a:endParaRPr>
            </a:p>
          </p:txBody>
        </p:sp>
        <p:sp>
          <p:nvSpPr>
            <p:cNvPr id="941" name="Oval 10">
              <a:extLst>
                <a:ext uri="{FF2B5EF4-FFF2-40B4-BE49-F238E27FC236}">
                  <a16:creationId xmlns:a16="http://schemas.microsoft.com/office/drawing/2014/main" id="{7B98D845-3A84-41C4-8015-1F20477ED274}"/>
                </a:ext>
              </a:extLst>
            </p:cNvPr>
            <p:cNvSpPr>
              <a:spLocks noChangeArrowheads="1"/>
            </p:cNvSpPr>
            <p:nvPr/>
          </p:nvSpPr>
          <p:spPr bwMode="auto">
            <a:xfrm>
              <a:off x="6111803" y="6823554"/>
              <a:ext cx="61245" cy="61245"/>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69945" tIns="34973" rIns="69945" bIns="34973" numCol="1" anchor="t" anchorCtr="0" compatLnSpc="1">
              <a:prstTxWarp prst="textNoShape">
                <a:avLst/>
              </a:prstTxWarp>
            </a:bodyPr>
            <a:lstStyle/>
            <a:p>
              <a:pPr defTabSz="699422">
                <a:defRPr/>
              </a:pPr>
              <a:endParaRPr lang="en-US" sz="1350">
                <a:solidFill>
                  <a:srgbClr val="1A1A1A"/>
                </a:solidFill>
                <a:latin typeface="Segoe UI"/>
              </a:endParaRPr>
            </a:p>
          </p:txBody>
        </p:sp>
        <p:grpSp>
          <p:nvGrpSpPr>
            <p:cNvPr id="1017" name="Magnifying_Glass">
              <a:extLst>
                <a:ext uri="{FF2B5EF4-FFF2-40B4-BE49-F238E27FC236}">
                  <a16:creationId xmlns:a16="http://schemas.microsoft.com/office/drawing/2014/main" id="{91E13918-0B54-47C8-A4D9-07C2E851E418}"/>
                </a:ext>
              </a:extLst>
            </p:cNvPr>
            <p:cNvGrpSpPr/>
            <p:nvPr/>
          </p:nvGrpSpPr>
          <p:grpSpPr>
            <a:xfrm flipH="1">
              <a:off x="5690450" y="6269810"/>
              <a:ext cx="562017" cy="562017"/>
              <a:chOff x="5741782" y="1706805"/>
              <a:chExt cx="657225" cy="657225"/>
            </a:xfrm>
          </p:grpSpPr>
          <p:sp>
            <p:nvSpPr>
              <p:cNvPr id="1019" name="Freeform: Shape 146">
                <a:extLst>
                  <a:ext uri="{FF2B5EF4-FFF2-40B4-BE49-F238E27FC236}">
                    <a16:creationId xmlns:a16="http://schemas.microsoft.com/office/drawing/2014/main" id="{8357C558-8843-4290-BBEC-C1F049E08D16}"/>
                  </a:ext>
                </a:extLst>
              </p:cNvPr>
              <p:cNvSpPr/>
              <p:nvPr/>
            </p:nvSpPr>
            <p:spPr>
              <a:xfrm>
                <a:off x="5769524" y="1733237"/>
                <a:ext cx="390525" cy="390525"/>
              </a:xfrm>
              <a:custGeom>
                <a:avLst/>
                <a:gdLst/>
                <a:ahLst/>
                <a:cxnLst/>
                <a:rect l="0" t="0" r="0" b="0"/>
                <a:pathLst>
                  <a:path w="390525" h="390525">
                    <a:moveTo>
                      <a:pt x="390049" y="198596"/>
                    </a:moveTo>
                    <a:cubicBezTo>
                      <a:pt x="390049" y="304333"/>
                      <a:pt x="304333" y="390049"/>
                      <a:pt x="198596" y="390049"/>
                    </a:cubicBezTo>
                    <a:cubicBezTo>
                      <a:pt x="92860" y="390049"/>
                      <a:pt x="7144" y="304333"/>
                      <a:pt x="7144" y="198596"/>
                    </a:cubicBezTo>
                    <a:cubicBezTo>
                      <a:pt x="7144" y="92860"/>
                      <a:pt x="92860" y="7144"/>
                      <a:pt x="198596" y="7144"/>
                    </a:cubicBezTo>
                    <a:cubicBezTo>
                      <a:pt x="304333" y="7144"/>
                      <a:pt x="390049" y="92860"/>
                      <a:pt x="390049" y="198596"/>
                    </a:cubicBezTo>
                    <a:close/>
                  </a:path>
                </a:pathLst>
              </a:custGeom>
              <a:solidFill>
                <a:schemeClr val="bg1">
                  <a:lumMod val="85000"/>
                </a:schemeClr>
              </a:solidFill>
              <a:ln w="9525" cap="flat">
                <a:noFill/>
                <a:prstDash val="solid"/>
                <a:miter/>
              </a:ln>
            </p:spPr>
            <p:txBody>
              <a:bodyPr/>
              <a:lstStyle/>
              <a:p>
                <a:pPr defTabSz="699422">
                  <a:defRPr/>
                </a:pPr>
                <a:endParaRPr lang="en-US" sz="1350">
                  <a:solidFill>
                    <a:srgbClr val="1A1A1A"/>
                  </a:solidFill>
                  <a:latin typeface="Segoe UI"/>
                </a:endParaRPr>
              </a:p>
            </p:txBody>
          </p:sp>
          <p:sp>
            <p:nvSpPr>
              <p:cNvPr id="1020" name="Freeform: Shape 160">
                <a:extLst>
                  <a:ext uri="{FF2B5EF4-FFF2-40B4-BE49-F238E27FC236}">
                    <a16:creationId xmlns:a16="http://schemas.microsoft.com/office/drawing/2014/main" id="{F0F34253-10A5-4B5E-A5E6-0EB6C3EBEF18}"/>
                  </a:ext>
                </a:extLst>
              </p:cNvPr>
              <p:cNvSpPr/>
              <p:nvPr/>
            </p:nvSpPr>
            <p:spPr>
              <a:xfrm>
                <a:off x="5741782" y="1706805"/>
                <a:ext cx="657225" cy="657225"/>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rgbClr val="005A9F"/>
              </a:solidFill>
              <a:ln w="9525" cap="flat">
                <a:noFill/>
                <a:prstDash val="solid"/>
                <a:miter/>
              </a:ln>
            </p:spPr>
            <p:txBody>
              <a:bodyPr/>
              <a:lstStyle/>
              <a:p>
                <a:pPr defTabSz="699422">
                  <a:defRPr/>
                </a:pPr>
                <a:endParaRPr lang="en-US" sz="1350">
                  <a:solidFill>
                    <a:srgbClr val="1A1A1A"/>
                  </a:solidFill>
                  <a:latin typeface="Segoe UI"/>
                </a:endParaRPr>
              </a:p>
            </p:txBody>
          </p:sp>
          <p:sp>
            <p:nvSpPr>
              <p:cNvPr id="1021" name="Freeform: Shape 162">
                <a:extLst>
                  <a:ext uri="{FF2B5EF4-FFF2-40B4-BE49-F238E27FC236}">
                    <a16:creationId xmlns:a16="http://schemas.microsoft.com/office/drawing/2014/main" id="{55D4A648-A4A3-4DE2-8B6C-8209AF55E04A}"/>
                  </a:ext>
                </a:extLst>
              </p:cNvPr>
              <p:cNvSpPr/>
              <p:nvPr/>
            </p:nvSpPr>
            <p:spPr>
              <a:xfrm>
                <a:off x="5913352" y="1788482"/>
                <a:ext cx="104775" cy="104775"/>
              </a:xfrm>
              <a:custGeom>
                <a:avLst/>
                <a:gdLst/>
                <a:ahLst/>
                <a:cxnLst/>
                <a:rect l="0" t="0" r="0" b="0"/>
                <a:pathLst>
                  <a:path w="104775" h="104775">
                    <a:moveTo>
                      <a:pt x="98584" y="52864"/>
                    </a:moveTo>
                    <a:cubicBezTo>
                      <a:pt x="98584" y="78114"/>
                      <a:pt x="78114" y="98584"/>
                      <a:pt x="52864" y="98584"/>
                    </a:cubicBezTo>
                    <a:cubicBezTo>
                      <a:pt x="27613" y="98584"/>
                      <a:pt x="7144" y="78114"/>
                      <a:pt x="7144" y="52864"/>
                    </a:cubicBezTo>
                    <a:cubicBezTo>
                      <a:pt x="7144" y="27613"/>
                      <a:pt x="27613" y="7144"/>
                      <a:pt x="52864" y="7144"/>
                    </a:cubicBezTo>
                    <a:cubicBezTo>
                      <a:pt x="78114" y="7144"/>
                      <a:pt x="98584" y="27613"/>
                      <a:pt x="98584" y="52864"/>
                    </a:cubicBezTo>
                    <a:close/>
                  </a:path>
                </a:pathLst>
              </a:custGeom>
              <a:solidFill>
                <a:srgbClr val="FFFFFF"/>
              </a:solidFill>
              <a:ln w="9525" cap="flat">
                <a:noFill/>
                <a:prstDash val="solid"/>
                <a:miter/>
              </a:ln>
            </p:spPr>
            <p:txBody>
              <a:bodyPr/>
              <a:lstStyle/>
              <a:p>
                <a:pPr defTabSz="699422">
                  <a:defRPr/>
                </a:pPr>
                <a:endParaRPr lang="en-US" sz="1350">
                  <a:solidFill>
                    <a:srgbClr val="1A1A1A"/>
                  </a:solidFill>
                  <a:latin typeface="Segoe UI"/>
                </a:endParaRPr>
              </a:p>
            </p:txBody>
          </p:sp>
          <p:sp>
            <p:nvSpPr>
              <p:cNvPr id="1022" name="Freeform: Shape 163">
                <a:extLst>
                  <a:ext uri="{FF2B5EF4-FFF2-40B4-BE49-F238E27FC236}">
                    <a16:creationId xmlns:a16="http://schemas.microsoft.com/office/drawing/2014/main" id="{4BAADD0E-1361-4572-B8B0-A658CB8BD4A0}"/>
                  </a:ext>
                </a:extLst>
              </p:cNvPr>
              <p:cNvSpPr/>
              <p:nvPr/>
            </p:nvSpPr>
            <p:spPr>
              <a:xfrm>
                <a:off x="6128617" y="2121857"/>
                <a:ext cx="266700" cy="238125"/>
              </a:xfrm>
              <a:custGeom>
                <a:avLst/>
                <a:gdLst/>
                <a:ahLst/>
                <a:cxnLst/>
                <a:rect l="0" t="0" r="0" b="0"/>
                <a:pathLst>
                  <a:path w="266700" h="238125">
                    <a:moveTo>
                      <a:pt x="10001" y="32861"/>
                    </a:moveTo>
                    <a:lnTo>
                      <a:pt x="35719" y="7144"/>
                    </a:lnTo>
                    <a:lnTo>
                      <a:pt x="214789" y="186214"/>
                    </a:lnTo>
                    <a:cubicBezTo>
                      <a:pt x="216694" y="188119"/>
                      <a:pt x="219551" y="188119"/>
                      <a:pt x="221456" y="186214"/>
                    </a:cubicBezTo>
                    <a:lnTo>
                      <a:pt x="251936" y="155734"/>
                    </a:lnTo>
                    <a:lnTo>
                      <a:pt x="261461" y="165259"/>
                    </a:lnTo>
                    <a:cubicBezTo>
                      <a:pt x="265271" y="169069"/>
                      <a:pt x="265271" y="175736"/>
                      <a:pt x="261461" y="180499"/>
                    </a:cubicBezTo>
                    <a:lnTo>
                      <a:pt x="208121" y="233839"/>
                    </a:lnTo>
                    <a:cubicBezTo>
                      <a:pt x="204311" y="237649"/>
                      <a:pt x="197644" y="237649"/>
                      <a:pt x="192881" y="233839"/>
                    </a:cubicBezTo>
                    <a:lnTo>
                      <a:pt x="10001" y="48101"/>
                    </a:lnTo>
                    <a:cubicBezTo>
                      <a:pt x="6191" y="44291"/>
                      <a:pt x="6191" y="36671"/>
                      <a:pt x="10001" y="32861"/>
                    </a:cubicBezTo>
                    <a:close/>
                  </a:path>
                </a:pathLst>
              </a:custGeom>
              <a:solidFill>
                <a:srgbClr val="163E6A"/>
              </a:solidFill>
              <a:ln w="9525" cap="flat">
                <a:noFill/>
                <a:prstDash val="solid"/>
                <a:miter/>
              </a:ln>
            </p:spPr>
            <p:txBody>
              <a:bodyPr/>
              <a:lstStyle/>
              <a:p>
                <a:pPr defTabSz="699422">
                  <a:defRPr/>
                </a:pPr>
                <a:endParaRPr lang="en-US" sz="1350">
                  <a:solidFill>
                    <a:srgbClr val="1A1A1A"/>
                  </a:solidFill>
                  <a:latin typeface="Segoe UI"/>
                </a:endParaRPr>
              </a:p>
            </p:txBody>
          </p:sp>
        </p:grpSp>
      </p:grpSp>
      <p:grpSp>
        <p:nvGrpSpPr>
          <p:cNvPr id="1023" name="Group 4">
            <a:extLst>
              <a:ext uri="{FF2B5EF4-FFF2-40B4-BE49-F238E27FC236}">
                <a16:creationId xmlns:a16="http://schemas.microsoft.com/office/drawing/2014/main" id="{DE77794D-7201-429E-A361-E423C6AEF1E3}"/>
              </a:ext>
            </a:extLst>
          </p:cNvPr>
          <p:cNvGrpSpPr/>
          <p:nvPr/>
        </p:nvGrpSpPr>
        <p:grpSpPr>
          <a:xfrm>
            <a:off x="8455263" y="3149429"/>
            <a:ext cx="908040" cy="915017"/>
            <a:chOff x="5605076" y="3228477"/>
            <a:chExt cx="981849" cy="944711"/>
          </a:xfrm>
        </p:grpSpPr>
        <p:sp>
          <p:nvSpPr>
            <p:cNvPr id="1024" name="Oval 9">
              <a:extLst>
                <a:ext uri="{FF2B5EF4-FFF2-40B4-BE49-F238E27FC236}">
                  <a16:creationId xmlns:a16="http://schemas.microsoft.com/office/drawing/2014/main" id="{BE283203-CAC1-42A2-954A-0CD7C4FBE454}"/>
                </a:ext>
              </a:extLst>
            </p:cNvPr>
            <p:cNvSpPr>
              <a:spLocks noChangeArrowheads="1"/>
            </p:cNvSpPr>
            <p:nvPr/>
          </p:nvSpPr>
          <p:spPr bwMode="auto">
            <a:xfrm>
              <a:off x="5605076" y="3228477"/>
              <a:ext cx="981849" cy="944711"/>
            </a:xfrm>
            <a:prstGeom prst="ellipse">
              <a:avLst/>
            </a:prstGeom>
            <a:solidFill>
              <a:srgbClr val="0078D7"/>
            </a:solidFill>
            <a:ln w="10795" cap="flat" cmpd="sng" algn="ctr">
              <a:noFill/>
              <a:prstDash val="solid"/>
            </a:ln>
            <a:effectLst/>
          </p:spPr>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de-DE" sz="1530" kern="0">
                <a:solidFill>
                  <a:srgbClr val="0078D4"/>
                </a:solidFill>
                <a:latin typeface="Segoe UI Semilight"/>
              </a:endParaRPr>
            </a:p>
          </p:txBody>
        </p:sp>
        <p:grpSp>
          <p:nvGrpSpPr>
            <p:cNvPr id="1025" name="Group 30">
              <a:extLst>
                <a:ext uri="{FF2B5EF4-FFF2-40B4-BE49-F238E27FC236}">
                  <a16:creationId xmlns:a16="http://schemas.microsoft.com/office/drawing/2014/main" id="{48BA635B-CDEE-4AED-8CDC-DB82A196FF8F}"/>
                </a:ext>
              </a:extLst>
            </p:cNvPr>
            <p:cNvGrpSpPr>
              <a:grpSpLocks noChangeAspect="1"/>
            </p:cNvGrpSpPr>
            <p:nvPr/>
          </p:nvGrpSpPr>
          <p:grpSpPr bwMode="auto">
            <a:xfrm>
              <a:off x="5825227" y="3487459"/>
              <a:ext cx="541546" cy="437907"/>
              <a:chOff x="3469" y="1860"/>
              <a:chExt cx="742" cy="600"/>
            </a:xfrm>
            <a:solidFill>
              <a:schemeClr val="bg1"/>
            </a:solidFill>
          </p:grpSpPr>
          <p:sp>
            <p:nvSpPr>
              <p:cNvPr id="1026" name="Freeform 31">
                <a:extLst>
                  <a:ext uri="{FF2B5EF4-FFF2-40B4-BE49-F238E27FC236}">
                    <a16:creationId xmlns:a16="http://schemas.microsoft.com/office/drawing/2014/main" id="{3374A9B6-7C6F-4BBF-8141-0D26782507F6}"/>
                  </a:ext>
                </a:extLst>
              </p:cNvPr>
              <p:cNvSpPr>
                <a:spLocks/>
              </p:cNvSpPr>
              <p:nvPr/>
            </p:nvSpPr>
            <p:spPr bwMode="auto">
              <a:xfrm>
                <a:off x="3662" y="1906"/>
                <a:ext cx="375" cy="508"/>
              </a:xfrm>
              <a:custGeom>
                <a:avLst/>
                <a:gdLst>
                  <a:gd name="T0" fmla="*/ 186 w 375"/>
                  <a:gd name="T1" fmla="*/ 508 h 508"/>
                  <a:gd name="T2" fmla="*/ 0 w 375"/>
                  <a:gd name="T3" fmla="*/ 204 h 508"/>
                  <a:gd name="T4" fmla="*/ 16 w 375"/>
                  <a:gd name="T5" fmla="*/ 195 h 508"/>
                  <a:gd name="T6" fmla="*/ 168 w 375"/>
                  <a:gd name="T7" fmla="*/ 444 h 508"/>
                  <a:gd name="T8" fmla="*/ 168 w 375"/>
                  <a:gd name="T9" fmla="*/ 0 h 508"/>
                  <a:gd name="T10" fmla="*/ 375 w 375"/>
                  <a:gd name="T11" fmla="*/ 192 h 508"/>
                  <a:gd name="T12" fmla="*/ 365 w 375"/>
                  <a:gd name="T13" fmla="*/ 206 h 508"/>
                  <a:gd name="T14" fmla="*/ 186 w 375"/>
                  <a:gd name="T15" fmla="*/ 41 h 508"/>
                  <a:gd name="T16" fmla="*/ 186 w 375"/>
                  <a:gd name="T17" fmla="*/ 508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508">
                    <a:moveTo>
                      <a:pt x="186" y="508"/>
                    </a:moveTo>
                    <a:lnTo>
                      <a:pt x="0" y="204"/>
                    </a:lnTo>
                    <a:lnTo>
                      <a:pt x="16" y="195"/>
                    </a:lnTo>
                    <a:lnTo>
                      <a:pt x="168" y="444"/>
                    </a:lnTo>
                    <a:lnTo>
                      <a:pt x="168" y="0"/>
                    </a:lnTo>
                    <a:lnTo>
                      <a:pt x="375" y="192"/>
                    </a:lnTo>
                    <a:lnTo>
                      <a:pt x="365" y="206"/>
                    </a:lnTo>
                    <a:lnTo>
                      <a:pt x="186" y="41"/>
                    </a:lnTo>
                    <a:lnTo>
                      <a:pt x="186" y="50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2">
                  <a:defRPr/>
                </a:pPr>
                <a:endParaRPr lang="en-US" sz="1224">
                  <a:solidFill>
                    <a:srgbClr val="1A1A1A"/>
                  </a:solidFill>
                  <a:latin typeface="Segoe UI"/>
                </a:endParaRPr>
              </a:p>
            </p:txBody>
          </p:sp>
          <p:sp>
            <p:nvSpPr>
              <p:cNvPr id="1027" name="Freeform 32">
                <a:extLst>
                  <a:ext uri="{FF2B5EF4-FFF2-40B4-BE49-F238E27FC236}">
                    <a16:creationId xmlns:a16="http://schemas.microsoft.com/office/drawing/2014/main" id="{B97CC8FF-0B2B-42ED-8C2C-7A13C838B36A}"/>
                  </a:ext>
                </a:extLst>
              </p:cNvPr>
              <p:cNvSpPr>
                <a:spLocks/>
              </p:cNvSpPr>
              <p:nvPr/>
            </p:nvSpPr>
            <p:spPr bwMode="auto">
              <a:xfrm>
                <a:off x="3536" y="2098"/>
                <a:ext cx="501" cy="298"/>
              </a:xfrm>
              <a:custGeom>
                <a:avLst/>
                <a:gdLst>
                  <a:gd name="T0" fmla="*/ 9 w 501"/>
                  <a:gd name="T1" fmla="*/ 298 h 298"/>
                  <a:gd name="T2" fmla="*/ 0 w 501"/>
                  <a:gd name="T3" fmla="*/ 282 h 298"/>
                  <a:gd name="T4" fmla="*/ 493 w 501"/>
                  <a:gd name="T5" fmla="*/ 0 h 298"/>
                  <a:gd name="T6" fmla="*/ 501 w 501"/>
                  <a:gd name="T7" fmla="*/ 14 h 298"/>
                  <a:gd name="T8" fmla="*/ 9 w 501"/>
                  <a:gd name="T9" fmla="*/ 298 h 298"/>
                </a:gdLst>
                <a:ahLst/>
                <a:cxnLst>
                  <a:cxn ang="0">
                    <a:pos x="T0" y="T1"/>
                  </a:cxn>
                  <a:cxn ang="0">
                    <a:pos x="T2" y="T3"/>
                  </a:cxn>
                  <a:cxn ang="0">
                    <a:pos x="T4" y="T5"/>
                  </a:cxn>
                  <a:cxn ang="0">
                    <a:pos x="T6" y="T7"/>
                  </a:cxn>
                  <a:cxn ang="0">
                    <a:pos x="T8" y="T9"/>
                  </a:cxn>
                </a:cxnLst>
                <a:rect l="0" t="0" r="r" b="b"/>
                <a:pathLst>
                  <a:path w="501" h="298">
                    <a:moveTo>
                      <a:pt x="9" y="298"/>
                    </a:moveTo>
                    <a:lnTo>
                      <a:pt x="0" y="282"/>
                    </a:lnTo>
                    <a:lnTo>
                      <a:pt x="493" y="0"/>
                    </a:lnTo>
                    <a:lnTo>
                      <a:pt x="501" y="14"/>
                    </a:lnTo>
                    <a:lnTo>
                      <a:pt x="9" y="29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2">
                  <a:defRPr/>
                </a:pPr>
                <a:endParaRPr lang="en-US" sz="1224">
                  <a:solidFill>
                    <a:srgbClr val="1A1A1A"/>
                  </a:solidFill>
                  <a:latin typeface="Segoe UI"/>
                </a:endParaRPr>
              </a:p>
            </p:txBody>
          </p:sp>
          <p:sp>
            <p:nvSpPr>
              <p:cNvPr id="1028" name="Freeform 33">
                <a:extLst>
                  <a:ext uri="{FF2B5EF4-FFF2-40B4-BE49-F238E27FC236}">
                    <a16:creationId xmlns:a16="http://schemas.microsoft.com/office/drawing/2014/main" id="{BA1CC02B-2003-43B5-8533-4D84DE43023B}"/>
                  </a:ext>
                </a:extLst>
              </p:cNvPr>
              <p:cNvSpPr>
                <a:spLocks/>
              </p:cNvSpPr>
              <p:nvPr/>
            </p:nvSpPr>
            <p:spPr bwMode="auto">
              <a:xfrm>
                <a:off x="3533" y="2096"/>
                <a:ext cx="614" cy="295"/>
              </a:xfrm>
              <a:custGeom>
                <a:avLst/>
                <a:gdLst>
                  <a:gd name="T0" fmla="*/ 16 w 614"/>
                  <a:gd name="T1" fmla="*/ 295 h 295"/>
                  <a:gd name="T2" fmla="*/ 0 w 614"/>
                  <a:gd name="T3" fmla="*/ 287 h 295"/>
                  <a:gd name="T4" fmla="*/ 131 w 614"/>
                  <a:gd name="T5" fmla="*/ 0 h 295"/>
                  <a:gd name="T6" fmla="*/ 506 w 614"/>
                  <a:gd name="T7" fmla="*/ 0 h 295"/>
                  <a:gd name="T8" fmla="*/ 614 w 614"/>
                  <a:gd name="T9" fmla="*/ 287 h 295"/>
                  <a:gd name="T10" fmla="*/ 596 w 614"/>
                  <a:gd name="T11" fmla="*/ 295 h 295"/>
                  <a:gd name="T12" fmla="*/ 494 w 614"/>
                  <a:gd name="T13" fmla="*/ 18 h 295"/>
                  <a:gd name="T14" fmla="*/ 143 w 614"/>
                  <a:gd name="T15" fmla="*/ 18 h 295"/>
                  <a:gd name="T16" fmla="*/ 16 w 614"/>
                  <a:gd name="T17" fmla="*/ 29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4" h="295">
                    <a:moveTo>
                      <a:pt x="16" y="295"/>
                    </a:moveTo>
                    <a:lnTo>
                      <a:pt x="0" y="287"/>
                    </a:lnTo>
                    <a:lnTo>
                      <a:pt x="131" y="0"/>
                    </a:lnTo>
                    <a:lnTo>
                      <a:pt x="506" y="0"/>
                    </a:lnTo>
                    <a:lnTo>
                      <a:pt x="614" y="287"/>
                    </a:lnTo>
                    <a:lnTo>
                      <a:pt x="596" y="295"/>
                    </a:lnTo>
                    <a:lnTo>
                      <a:pt x="494" y="18"/>
                    </a:lnTo>
                    <a:lnTo>
                      <a:pt x="143" y="18"/>
                    </a:lnTo>
                    <a:lnTo>
                      <a:pt x="16" y="29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2">
                  <a:defRPr/>
                </a:pPr>
                <a:endParaRPr lang="en-US" sz="1224">
                  <a:solidFill>
                    <a:srgbClr val="1A1A1A"/>
                  </a:solidFill>
                  <a:latin typeface="Segoe UI"/>
                </a:endParaRPr>
              </a:p>
            </p:txBody>
          </p:sp>
          <p:sp>
            <p:nvSpPr>
              <p:cNvPr id="1029" name="Oval 34">
                <a:extLst>
                  <a:ext uri="{FF2B5EF4-FFF2-40B4-BE49-F238E27FC236}">
                    <a16:creationId xmlns:a16="http://schemas.microsoft.com/office/drawing/2014/main" id="{31871C90-BD22-4793-82AC-ACC55115C4DF}"/>
                  </a:ext>
                </a:extLst>
              </p:cNvPr>
              <p:cNvSpPr>
                <a:spLocks noChangeArrowheads="1"/>
              </p:cNvSpPr>
              <p:nvPr/>
            </p:nvSpPr>
            <p:spPr bwMode="auto">
              <a:xfrm>
                <a:off x="3768" y="1860"/>
                <a:ext cx="144" cy="144"/>
              </a:xfrm>
              <a:prstGeom prst="ellipse">
                <a:avLst/>
              </a:pr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2">
                  <a:defRPr/>
                </a:pPr>
                <a:endParaRPr lang="en-US" sz="1224">
                  <a:solidFill>
                    <a:srgbClr val="1A1A1A"/>
                  </a:solidFill>
                  <a:latin typeface="Segoe UI"/>
                </a:endParaRPr>
              </a:p>
            </p:txBody>
          </p:sp>
          <p:sp>
            <p:nvSpPr>
              <p:cNvPr id="1030" name="Oval 35">
                <a:extLst>
                  <a:ext uri="{FF2B5EF4-FFF2-40B4-BE49-F238E27FC236}">
                    <a16:creationId xmlns:a16="http://schemas.microsoft.com/office/drawing/2014/main" id="{6EEC182D-6120-4418-AB67-A5A76A23F1BF}"/>
                  </a:ext>
                </a:extLst>
              </p:cNvPr>
              <p:cNvSpPr>
                <a:spLocks noChangeArrowheads="1"/>
              </p:cNvSpPr>
              <p:nvPr/>
            </p:nvSpPr>
            <p:spPr bwMode="auto">
              <a:xfrm>
                <a:off x="3604" y="2039"/>
                <a:ext cx="145" cy="146"/>
              </a:xfrm>
              <a:prstGeom prst="ellipse">
                <a:avLst/>
              </a:prstGeom>
              <a:solidFill>
                <a:srgbClr val="005A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2">
                  <a:defRPr/>
                </a:pPr>
                <a:endParaRPr lang="en-US" sz="1224">
                  <a:solidFill>
                    <a:srgbClr val="1A1A1A"/>
                  </a:solidFill>
                  <a:latin typeface="Segoe UI"/>
                </a:endParaRPr>
              </a:p>
            </p:txBody>
          </p:sp>
          <p:sp>
            <p:nvSpPr>
              <p:cNvPr id="1031" name="Oval 36">
                <a:extLst>
                  <a:ext uri="{FF2B5EF4-FFF2-40B4-BE49-F238E27FC236}">
                    <a16:creationId xmlns:a16="http://schemas.microsoft.com/office/drawing/2014/main" id="{EC73A47E-DB17-45A8-87C4-32BB5A7E313F}"/>
                  </a:ext>
                </a:extLst>
              </p:cNvPr>
              <p:cNvSpPr>
                <a:spLocks noChangeArrowheads="1"/>
              </p:cNvSpPr>
              <p:nvPr/>
            </p:nvSpPr>
            <p:spPr bwMode="auto">
              <a:xfrm>
                <a:off x="3959" y="2032"/>
                <a:ext cx="146" cy="146"/>
              </a:xfrm>
              <a:prstGeom prst="ellipse">
                <a:avLst/>
              </a:prstGeom>
              <a:solidFill>
                <a:srgbClr val="013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2">
                  <a:defRPr/>
                </a:pPr>
                <a:endParaRPr lang="en-US" sz="1224">
                  <a:solidFill>
                    <a:srgbClr val="1A1A1A"/>
                  </a:solidFill>
                  <a:latin typeface="Segoe UI"/>
                </a:endParaRPr>
              </a:p>
            </p:txBody>
          </p:sp>
          <p:sp>
            <p:nvSpPr>
              <p:cNvPr id="1032" name="Oval 37">
                <a:extLst>
                  <a:ext uri="{FF2B5EF4-FFF2-40B4-BE49-F238E27FC236}">
                    <a16:creationId xmlns:a16="http://schemas.microsoft.com/office/drawing/2014/main" id="{1D39406B-3E9B-4A6C-B216-BDADDBFDCB68}"/>
                  </a:ext>
                </a:extLst>
              </p:cNvPr>
              <p:cNvSpPr>
                <a:spLocks noChangeArrowheads="1"/>
              </p:cNvSpPr>
              <p:nvPr/>
            </p:nvSpPr>
            <p:spPr bwMode="auto">
              <a:xfrm>
                <a:off x="3768" y="2314"/>
                <a:ext cx="144" cy="146"/>
              </a:xfrm>
              <a:prstGeom prst="ellipse">
                <a:avLst/>
              </a:pr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2">
                  <a:defRPr/>
                </a:pPr>
                <a:endParaRPr lang="en-US" sz="1224">
                  <a:solidFill>
                    <a:srgbClr val="1A1A1A"/>
                  </a:solidFill>
                  <a:latin typeface="Segoe UI"/>
                </a:endParaRPr>
              </a:p>
            </p:txBody>
          </p:sp>
          <p:sp>
            <p:nvSpPr>
              <p:cNvPr id="1033" name="Oval 38">
                <a:extLst>
                  <a:ext uri="{FF2B5EF4-FFF2-40B4-BE49-F238E27FC236}">
                    <a16:creationId xmlns:a16="http://schemas.microsoft.com/office/drawing/2014/main" id="{DA9D67CC-06C3-4F38-8B38-9891E1083691}"/>
                  </a:ext>
                </a:extLst>
              </p:cNvPr>
              <p:cNvSpPr>
                <a:spLocks noChangeArrowheads="1"/>
              </p:cNvSpPr>
              <p:nvPr/>
            </p:nvSpPr>
            <p:spPr bwMode="auto">
              <a:xfrm>
                <a:off x="3469" y="2314"/>
                <a:ext cx="145" cy="146"/>
              </a:xfrm>
              <a:prstGeom prst="ellipse">
                <a:avLst/>
              </a:prstGeom>
              <a:solidFill>
                <a:srgbClr val="013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2">
                  <a:defRPr/>
                </a:pPr>
                <a:endParaRPr lang="en-US" sz="1224">
                  <a:solidFill>
                    <a:srgbClr val="1A1A1A"/>
                  </a:solidFill>
                  <a:latin typeface="Segoe UI"/>
                </a:endParaRPr>
              </a:p>
            </p:txBody>
          </p:sp>
          <p:sp>
            <p:nvSpPr>
              <p:cNvPr id="1034" name="Oval 39">
                <a:extLst>
                  <a:ext uri="{FF2B5EF4-FFF2-40B4-BE49-F238E27FC236}">
                    <a16:creationId xmlns:a16="http://schemas.microsoft.com/office/drawing/2014/main" id="{AE6FEDCD-52D3-42F3-949B-104322A18830}"/>
                  </a:ext>
                </a:extLst>
              </p:cNvPr>
              <p:cNvSpPr>
                <a:spLocks noChangeArrowheads="1"/>
              </p:cNvSpPr>
              <p:nvPr/>
            </p:nvSpPr>
            <p:spPr bwMode="auto">
              <a:xfrm>
                <a:off x="4066" y="2314"/>
                <a:ext cx="145" cy="146"/>
              </a:xfrm>
              <a:prstGeom prst="ellipse">
                <a:avLst/>
              </a:prstGeom>
              <a:solidFill>
                <a:srgbClr val="005A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2">
                  <a:defRPr/>
                </a:pPr>
                <a:endParaRPr lang="en-US" sz="1224">
                  <a:solidFill>
                    <a:srgbClr val="1A1A1A"/>
                  </a:solidFill>
                  <a:latin typeface="Segoe UI"/>
                </a:endParaRPr>
              </a:p>
            </p:txBody>
          </p:sp>
        </p:grpSp>
      </p:grpSp>
      <p:sp>
        <p:nvSpPr>
          <p:cNvPr id="1035" name="Title 1">
            <a:extLst>
              <a:ext uri="{FF2B5EF4-FFF2-40B4-BE49-F238E27FC236}">
                <a16:creationId xmlns:a16="http://schemas.microsoft.com/office/drawing/2014/main" id="{3255553C-071A-4008-B963-4CBF3AD991F3}"/>
              </a:ext>
            </a:extLst>
          </p:cNvPr>
          <p:cNvSpPr txBox="1">
            <a:spLocks/>
          </p:cNvSpPr>
          <p:nvPr/>
        </p:nvSpPr>
        <p:spPr>
          <a:xfrm>
            <a:off x="2805115" y="638154"/>
            <a:ext cx="6138044" cy="795499"/>
          </a:xfrm>
          <a:prstGeom prst="rect">
            <a:avLst/>
          </a:prstGeom>
        </p:spPr>
        <p:txBody>
          <a:bodyPr>
            <a:norm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51304"/>
            <a:r>
              <a:rPr lang="en-US" sz="4080" b="0" spc="-51" dirty="0">
                <a:gradFill>
                  <a:gsLst>
                    <a:gs pos="1250">
                      <a:prstClr val="black"/>
                    </a:gs>
                    <a:gs pos="100000">
                      <a:prstClr val="black"/>
                    </a:gs>
                  </a:gsLst>
                  <a:lin ang="5400000" scaled="0"/>
                </a:gradFill>
                <a:latin typeface="微软雅黑" panose="020B0503020204020204" pitchFamily="34" charset="-122"/>
                <a:ea typeface="微软雅黑" panose="020B0503020204020204" pitchFamily="34" charset="-122"/>
              </a:rPr>
              <a:t>Azure AI</a:t>
            </a:r>
            <a:r>
              <a:rPr lang="zh-CN" altLang="en-US" sz="4080" b="0" spc="-51" dirty="0">
                <a:gradFill>
                  <a:gsLst>
                    <a:gs pos="1250">
                      <a:prstClr val="black"/>
                    </a:gs>
                    <a:gs pos="100000">
                      <a:prstClr val="black"/>
                    </a:gs>
                  </a:gsLst>
                  <a:lin ang="5400000" scaled="0"/>
                </a:gradFill>
                <a:latin typeface="微软雅黑" panose="020B0503020204020204" pitchFamily="34" charset="-122"/>
                <a:ea typeface="微软雅黑" panose="020B0503020204020204" pitchFamily="34" charset="-122"/>
              </a:rPr>
              <a:t>：最佳人工智能</a:t>
            </a:r>
          </a:p>
        </p:txBody>
      </p:sp>
    </p:spTree>
    <p:extLst>
      <p:ext uri="{BB962C8B-B14F-4D97-AF65-F5344CB8AC3E}">
        <p14:creationId xmlns:p14="http://schemas.microsoft.com/office/powerpoint/2010/main" val="3069568020"/>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7" name="Straight Connector 96">
            <a:extLst>
              <a:ext uri="{FF2B5EF4-FFF2-40B4-BE49-F238E27FC236}">
                <a16:creationId xmlns:a16="http://schemas.microsoft.com/office/drawing/2014/main" id="{059E4697-19F9-40C1-83C5-85A3B50FA794}"/>
              </a:ext>
            </a:extLst>
          </p:cNvPr>
          <p:cNvCxnSpPr>
            <a:cxnSpLocks/>
          </p:cNvCxnSpPr>
          <p:nvPr/>
        </p:nvCxnSpPr>
        <p:spPr>
          <a:xfrm>
            <a:off x="2000360" y="2363354"/>
            <a:ext cx="1944828"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9" name="Rectangle 98">
            <a:extLst>
              <a:ext uri="{FF2B5EF4-FFF2-40B4-BE49-F238E27FC236}">
                <a16:creationId xmlns:a16="http://schemas.microsoft.com/office/drawing/2014/main" id="{DC224A10-D4D3-D242-88B0-3AFB6557CB5A}"/>
              </a:ext>
            </a:extLst>
          </p:cNvPr>
          <p:cNvSpPr/>
          <p:nvPr/>
        </p:nvSpPr>
        <p:spPr>
          <a:xfrm>
            <a:off x="2583305" y="2210328"/>
            <a:ext cx="778936" cy="262241"/>
          </a:xfrm>
          <a:prstGeom prst="rect">
            <a:avLst/>
          </a:prstGeom>
          <a:solidFill>
            <a:schemeClr val="bg1"/>
          </a:solidFill>
        </p:spPr>
        <p:txBody>
          <a:bodyPr wrap="square">
            <a:spAutoFit/>
          </a:bodyPr>
          <a:lstStyle/>
          <a:p>
            <a:pPr algn="ctr" defTabSz="699447">
              <a:defRPr/>
            </a:pPr>
            <a:endParaRPr lang="en-US" sz="1071" dirty="0">
              <a:solidFill>
                <a:srgbClr val="0078D4"/>
              </a:solidFill>
              <a:latin typeface="Segoe UI Semibold"/>
            </a:endParaRPr>
          </a:p>
        </p:txBody>
      </p:sp>
      <p:sp>
        <p:nvSpPr>
          <p:cNvPr id="93" name="Rectangle 92">
            <a:extLst>
              <a:ext uri="{FF2B5EF4-FFF2-40B4-BE49-F238E27FC236}">
                <a16:creationId xmlns:a16="http://schemas.microsoft.com/office/drawing/2014/main" id="{627BBA26-ACD3-3C47-986D-6FEB31508442}"/>
              </a:ext>
            </a:extLst>
          </p:cNvPr>
          <p:cNvSpPr/>
          <p:nvPr/>
        </p:nvSpPr>
        <p:spPr>
          <a:xfrm>
            <a:off x="2423655" y="2207022"/>
            <a:ext cx="1237865" cy="334307"/>
          </a:xfrm>
          <a:prstGeom prst="rect">
            <a:avLst/>
          </a:prstGeom>
          <a:solidFill>
            <a:schemeClr val="bg1"/>
          </a:solidFill>
        </p:spPr>
        <p:txBody>
          <a:bodyPr wrap="square">
            <a:spAutoFit/>
          </a:bodyPr>
          <a:lstStyle/>
          <a:p>
            <a:pPr defTabSz="699447">
              <a:defRPr/>
            </a:pPr>
            <a:r>
              <a:rPr lang="en-US" sz="1530" dirty="0">
                <a:solidFill>
                  <a:srgbClr val="0078D4"/>
                </a:solidFill>
                <a:latin typeface="Segoe UI Semibold"/>
              </a:rPr>
              <a:t>Vision </a:t>
            </a:r>
            <a:r>
              <a:rPr lang="zh-CN" altLang="en-US" sz="1530" dirty="0">
                <a:solidFill>
                  <a:srgbClr val="0078D4"/>
                </a:solidFill>
                <a:latin typeface="Segoe UI Semibold"/>
                <a:ea typeface="宋体" panose="02010600030101010101" pitchFamily="2" charset="-122"/>
              </a:rPr>
              <a:t>视觉</a:t>
            </a:r>
            <a:endParaRPr lang="en-US" sz="1071" dirty="0">
              <a:solidFill>
                <a:srgbClr val="0078D4"/>
              </a:solidFill>
              <a:latin typeface="Segoe UI Semibold"/>
            </a:endParaRPr>
          </a:p>
        </p:txBody>
      </p:sp>
      <p:cxnSp>
        <p:nvCxnSpPr>
          <p:cNvPr id="95" name="Straight Connector 94">
            <a:extLst>
              <a:ext uri="{FF2B5EF4-FFF2-40B4-BE49-F238E27FC236}">
                <a16:creationId xmlns:a16="http://schemas.microsoft.com/office/drawing/2014/main" id="{025CE27B-2C72-4FC6-9F9C-F0D9E4397B29}"/>
              </a:ext>
            </a:extLst>
          </p:cNvPr>
          <p:cNvCxnSpPr>
            <a:cxnSpLocks/>
          </p:cNvCxnSpPr>
          <p:nvPr/>
        </p:nvCxnSpPr>
        <p:spPr>
          <a:xfrm>
            <a:off x="4151487" y="2363354"/>
            <a:ext cx="4091590"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6EB090B4-C943-41EE-A987-6E83CAF6AF43}"/>
              </a:ext>
            </a:extLst>
          </p:cNvPr>
          <p:cNvSpPr/>
          <p:nvPr/>
        </p:nvSpPr>
        <p:spPr>
          <a:xfrm>
            <a:off x="5728578" y="2210328"/>
            <a:ext cx="949239" cy="334307"/>
          </a:xfrm>
          <a:prstGeom prst="rect">
            <a:avLst/>
          </a:prstGeom>
          <a:solidFill>
            <a:schemeClr val="bg1"/>
          </a:solidFill>
        </p:spPr>
        <p:txBody>
          <a:bodyPr wrap="square">
            <a:spAutoFit/>
          </a:bodyPr>
          <a:lstStyle/>
          <a:p>
            <a:pPr algn="ctr" defTabSz="699447">
              <a:defRPr/>
            </a:pPr>
            <a:r>
              <a:rPr lang="en-US" sz="1530" dirty="0">
                <a:solidFill>
                  <a:srgbClr val="FFFFFF"/>
                </a:solidFill>
                <a:latin typeface="Segoe UI Semibold"/>
              </a:rPr>
              <a:t>Speech</a:t>
            </a:r>
            <a:endParaRPr lang="en-US" sz="1071" dirty="0">
              <a:solidFill>
                <a:srgbClr val="FFFFFF"/>
              </a:solidFill>
              <a:latin typeface="Segoe UI Semibold"/>
            </a:endParaRPr>
          </a:p>
        </p:txBody>
      </p:sp>
      <p:cxnSp>
        <p:nvCxnSpPr>
          <p:cNvPr id="100" name="Straight Connector 99">
            <a:extLst>
              <a:ext uri="{FF2B5EF4-FFF2-40B4-BE49-F238E27FC236}">
                <a16:creationId xmlns:a16="http://schemas.microsoft.com/office/drawing/2014/main" id="{8522403D-C602-D946-A9DB-9F48FD954A93}"/>
              </a:ext>
            </a:extLst>
          </p:cNvPr>
          <p:cNvCxnSpPr>
            <a:cxnSpLocks/>
          </p:cNvCxnSpPr>
          <p:nvPr/>
        </p:nvCxnSpPr>
        <p:spPr>
          <a:xfrm>
            <a:off x="8540259" y="2363354"/>
            <a:ext cx="1944828"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1" name="Rectangle 100">
            <a:extLst>
              <a:ext uri="{FF2B5EF4-FFF2-40B4-BE49-F238E27FC236}">
                <a16:creationId xmlns:a16="http://schemas.microsoft.com/office/drawing/2014/main" id="{083125B5-5FF9-5E4C-BB65-C13BCBBE07A0}"/>
              </a:ext>
            </a:extLst>
          </p:cNvPr>
          <p:cNvSpPr/>
          <p:nvPr/>
        </p:nvSpPr>
        <p:spPr>
          <a:xfrm>
            <a:off x="8881713" y="2210328"/>
            <a:ext cx="1131109" cy="334307"/>
          </a:xfrm>
          <a:prstGeom prst="rect">
            <a:avLst/>
          </a:prstGeom>
          <a:solidFill>
            <a:schemeClr val="bg1"/>
          </a:solidFill>
        </p:spPr>
        <p:txBody>
          <a:bodyPr wrap="square">
            <a:spAutoFit/>
          </a:bodyPr>
          <a:lstStyle/>
          <a:p>
            <a:pPr algn="ctr" defTabSz="699447">
              <a:defRPr/>
            </a:pPr>
            <a:r>
              <a:rPr lang="en-US" sz="1530" dirty="0">
                <a:solidFill>
                  <a:srgbClr val="FFFFFF"/>
                </a:solidFill>
                <a:latin typeface="Segoe UI Semibold"/>
              </a:rPr>
              <a:t>Language</a:t>
            </a:r>
            <a:endParaRPr lang="en-US" sz="1071" dirty="0">
              <a:solidFill>
                <a:srgbClr val="FFFFFF"/>
              </a:solidFill>
              <a:latin typeface="Segoe UI Semibold"/>
            </a:endParaRPr>
          </a:p>
        </p:txBody>
      </p:sp>
      <p:grpSp>
        <p:nvGrpSpPr>
          <p:cNvPr id="85" name="Group 84">
            <a:extLst>
              <a:ext uri="{FF2B5EF4-FFF2-40B4-BE49-F238E27FC236}">
                <a16:creationId xmlns:a16="http://schemas.microsoft.com/office/drawing/2014/main" id="{F37027D3-BFFF-4CB6-BE76-59465E23EFDA}"/>
              </a:ext>
            </a:extLst>
          </p:cNvPr>
          <p:cNvGrpSpPr/>
          <p:nvPr/>
        </p:nvGrpSpPr>
        <p:grpSpPr>
          <a:xfrm>
            <a:off x="4106087" y="2582763"/>
            <a:ext cx="2080540" cy="1944478"/>
            <a:chOff x="3338624" y="2025650"/>
            <a:chExt cx="2719907" cy="2542032"/>
          </a:xfrm>
        </p:grpSpPr>
        <p:pic>
          <p:nvPicPr>
            <p:cNvPr id="25" name="Picture Placeholder 7">
              <a:extLst>
                <a:ext uri="{FF2B5EF4-FFF2-40B4-BE49-F238E27FC236}">
                  <a16:creationId xmlns:a16="http://schemas.microsoft.com/office/drawing/2014/main" id="{343BF99C-852F-4153-BDD4-A256FB946FC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34523" t="3995" r="20642" b="39960"/>
            <a:stretch/>
          </p:blipFill>
          <p:spPr>
            <a:xfrm>
              <a:off x="3408927" y="2025650"/>
              <a:ext cx="2542032" cy="2542032"/>
            </a:xfrm>
            <a:prstGeom prst="rect">
              <a:avLst/>
            </a:prstGeom>
          </p:spPr>
        </p:pic>
        <p:grpSp>
          <p:nvGrpSpPr>
            <p:cNvPr id="84" name="Group 83">
              <a:extLst>
                <a:ext uri="{FF2B5EF4-FFF2-40B4-BE49-F238E27FC236}">
                  <a16:creationId xmlns:a16="http://schemas.microsoft.com/office/drawing/2014/main" id="{A307C1C1-5A52-4E85-A766-BC0B8862205A}"/>
                </a:ext>
              </a:extLst>
            </p:cNvPr>
            <p:cNvGrpSpPr/>
            <p:nvPr/>
          </p:nvGrpSpPr>
          <p:grpSpPr>
            <a:xfrm>
              <a:off x="3338624" y="2257427"/>
              <a:ext cx="2719907" cy="2281356"/>
              <a:chOff x="-7356833" y="4564065"/>
              <a:chExt cx="3145879" cy="2638644"/>
            </a:xfrm>
          </p:grpSpPr>
          <p:grpSp>
            <p:nvGrpSpPr>
              <p:cNvPr id="30" name="Group 29">
                <a:extLst>
                  <a:ext uri="{FF2B5EF4-FFF2-40B4-BE49-F238E27FC236}">
                    <a16:creationId xmlns:a16="http://schemas.microsoft.com/office/drawing/2014/main" id="{9287405C-9835-470E-B923-12C519F844EC}"/>
                  </a:ext>
                </a:extLst>
              </p:cNvPr>
              <p:cNvGrpSpPr/>
              <p:nvPr/>
            </p:nvGrpSpPr>
            <p:grpSpPr>
              <a:xfrm>
                <a:off x="-7285907" y="4564065"/>
                <a:ext cx="3074953" cy="1882323"/>
                <a:chOff x="-4470975" y="2599831"/>
                <a:chExt cx="4134954" cy="2531195"/>
              </a:xfrm>
            </p:grpSpPr>
            <p:sp>
              <p:nvSpPr>
                <p:cNvPr id="31" name="Freeform: Shape 30">
                  <a:extLst>
                    <a:ext uri="{FF2B5EF4-FFF2-40B4-BE49-F238E27FC236}">
                      <a16:creationId xmlns:a16="http://schemas.microsoft.com/office/drawing/2014/main" id="{E1718BD7-E21C-4E43-8AB8-E7F7E17B3C8B}"/>
                    </a:ext>
                  </a:extLst>
                </p:cNvPr>
                <p:cNvSpPr/>
                <p:nvPr/>
              </p:nvSpPr>
              <p:spPr bwMode="auto">
                <a:xfrm>
                  <a:off x="-4122455" y="2612711"/>
                  <a:ext cx="1330123" cy="1111929"/>
                </a:xfrm>
                <a:custGeom>
                  <a:avLst/>
                  <a:gdLst>
                    <a:gd name="connsiteX0" fmla="*/ 0 w 3480816"/>
                    <a:gd name="connsiteY0" fmla="*/ 0 h 1139952"/>
                    <a:gd name="connsiteX1" fmla="*/ 877824 w 3480816"/>
                    <a:gd name="connsiteY1" fmla="*/ 481584 h 1139952"/>
                    <a:gd name="connsiteX2" fmla="*/ 1237488 w 3480816"/>
                    <a:gd name="connsiteY2" fmla="*/ 627888 h 1139952"/>
                    <a:gd name="connsiteX3" fmla="*/ 2688336 w 3480816"/>
                    <a:gd name="connsiteY3" fmla="*/ 1139952 h 1139952"/>
                    <a:gd name="connsiteX4" fmla="*/ 3133344 w 3480816"/>
                    <a:gd name="connsiteY4" fmla="*/ 1115568 h 1139952"/>
                    <a:gd name="connsiteX5" fmla="*/ 3480816 w 3480816"/>
                    <a:gd name="connsiteY5" fmla="*/ 1127760 h 1139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80816" h="1139952">
                      <a:moveTo>
                        <a:pt x="0" y="0"/>
                      </a:moveTo>
                      <a:lnTo>
                        <a:pt x="877824" y="481584"/>
                      </a:lnTo>
                      <a:lnTo>
                        <a:pt x="1237488" y="627888"/>
                      </a:lnTo>
                      <a:lnTo>
                        <a:pt x="2688336" y="1139952"/>
                      </a:lnTo>
                      <a:lnTo>
                        <a:pt x="3133344" y="1115568"/>
                      </a:lnTo>
                      <a:lnTo>
                        <a:pt x="3480816" y="1127760"/>
                      </a:lnTo>
                    </a:path>
                  </a:pathLst>
                </a:cu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22645">
                    <a:defRPr/>
                  </a:pPr>
                  <a:endParaRPr lang="en-US" sz="918">
                    <a:gradFill>
                      <a:gsLst>
                        <a:gs pos="5439">
                          <a:srgbClr val="FFFFFF"/>
                        </a:gs>
                        <a:gs pos="100000">
                          <a:srgbClr val="FFFFFF"/>
                        </a:gs>
                      </a:gsLst>
                      <a:lin ang="5400000" scaled="0"/>
                    </a:gradFill>
                    <a:latin typeface="Segoe UI"/>
                  </a:endParaRPr>
                </a:p>
              </p:txBody>
            </p:sp>
            <p:sp>
              <p:nvSpPr>
                <p:cNvPr id="32" name="Oval 31">
                  <a:extLst>
                    <a:ext uri="{FF2B5EF4-FFF2-40B4-BE49-F238E27FC236}">
                      <a16:creationId xmlns:a16="http://schemas.microsoft.com/office/drawing/2014/main" id="{F222BC82-5296-4E31-A090-1228B8944E69}"/>
                    </a:ext>
                  </a:extLst>
                </p:cNvPr>
                <p:cNvSpPr/>
                <p:nvPr/>
              </p:nvSpPr>
              <p:spPr bwMode="auto">
                <a:xfrm>
                  <a:off x="-4140640" y="2599831"/>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431E66F0-DF24-429D-8EF4-00F53EA62E34}"/>
                    </a:ext>
                  </a:extLst>
                </p:cNvPr>
                <p:cNvSpPr/>
                <p:nvPr/>
              </p:nvSpPr>
              <p:spPr bwMode="auto">
                <a:xfrm>
                  <a:off x="-3811915" y="3061025"/>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0D9BE2FE-867A-4CF4-B38D-30D7BEA25FA3}"/>
                    </a:ext>
                  </a:extLst>
                </p:cNvPr>
                <p:cNvSpPr/>
                <p:nvPr/>
              </p:nvSpPr>
              <p:spPr bwMode="auto">
                <a:xfrm>
                  <a:off x="-3672537" y="3205767"/>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B9F7D393-3739-4247-B1AF-DD68F78F8BC5}"/>
                    </a:ext>
                  </a:extLst>
                </p:cNvPr>
                <p:cNvSpPr/>
                <p:nvPr/>
              </p:nvSpPr>
              <p:spPr bwMode="auto">
                <a:xfrm>
                  <a:off x="-3106069" y="3693842"/>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215780BC-618E-4ED8-A3B1-314992A5E9E1}"/>
                    </a:ext>
                  </a:extLst>
                </p:cNvPr>
                <p:cNvSpPr/>
                <p:nvPr/>
              </p:nvSpPr>
              <p:spPr bwMode="auto">
                <a:xfrm>
                  <a:off x="-2931204" y="3669814"/>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A4742A27-B8A0-4066-BDDB-7C0F17D9502D}"/>
                    </a:ext>
                  </a:extLst>
                </p:cNvPr>
                <p:cNvSpPr/>
                <p:nvPr/>
              </p:nvSpPr>
              <p:spPr bwMode="auto">
                <a:xfrm>
                  <a:off x="-2812054" y="3686333"/>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38" name="Freeform: Shape 37">
                  <a:extLst>
                    <a:ext uri="{FF2B5EF4-FFF2-40B4-BE49-F238E27FC236}">
                      <a16:creationId xmlns:a16="http://schemas.microsoft.com/office/drawing/2014/main" id="{9327594C-FF73-4713-B4B6-03F05D0B1786}"/>
                    </a:ext>
                  </a:extLst>
                </p:cNvPr>
                <p:cNvSpPr/>
                <p:nvPr/>
              </p:nvSpPr>
              <p:spPr bwMode="auto">
                <a:xfrm>
                  <a:off x="-3627954" y="3395220"/>
                  <a:ext cx="1096237" cy="867838"/>
                </a:xfrm>
                <a:custGeom>
                  <a:avLst/>
                  <a:gdLst>
                    <a:gd name="connsiteX0" fmla="*/ 0 w 3332480"/>
                    <a:gd name="connsiteY0" fmla="*/ 124460 h 861060"/>
                    <a:gd name="connsiteX1" fmla="*/ 358140 w 3332480"/>
                    <a:gd name="connsiteY1" fmla="*/ 0 h 861060"/>
                    <a:gd name="connsiteX2" fmla="*/ 734060 w 3332480"/>
                    <a:gd name="connsiteY2" fmla="*/ 525780 h 861060"/>
                    <a:gd name="connsiteX3" fmla="*/ 1122680 w 3332480"/>
                    <a:gd name="connsiteY3" fmla="*/ 665480 h 861060"/>
                    <a:gd name="connsiteX4" fmla="*/ 1531620 w 3332480"/>
                    <a:gd name="connsiteY4" fmla="*/ 576580 h 861060"/>
                    <a:gd name="connsiteX5" fmla="*/ 2794000 w 3332480"/>
                    <a:gd name="connsiteY5" fmla="*/ 861060 h 861060"/>
                    <a:gd name="connsiteX6" fmla="*/ 3332480 w 3332480"/>
                    <a:gd name="connsiteY6" fmla="*/ 739140 h 861060"/>
                    <a:gd name="connsiteX7" fmla="*/ 3332480 w 3332480"/>
                    <a:gd name="connsiteY7" fmla="*/ 744220 h 861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2480" h="861060">
                      <a:moveTo>
                        <a:pt x="0" y="124460"/>
                      </a:moveTo>
                      <a:lnTo>
                        <a:pt x="358140" y="0"/>
                      </a:lnTo>
                      <a:lnTo>
                        <a:pt x="734060" y="525780"/>
                      </a:lnTo>
                      <a:lnTo>
                        <a:pt x="1122680" y="665480"/>
                      </a:lnTo>
                      <a:lnTo>
                        <a:pt x="1531620" y="576580"/>
                      </a:lnTo>
                      <a:lnTo>
                        <a:pt x="2794000" y="861060"/>
                      </a:lnTo>
                      <a:lnTo>
                        <a:pt x="3332480" y="739140"/>
                      </a:lnTo>
                      <a:lnTo>
                        <a:pt x="3332480" y="744220"/>
                      </a:lnTo>
                    </a:path>
                  </a:pathLst>
                </a:cu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22645">
                    <a:defRPr/>
                  </a:pPr>
                  <a:endParaRPr lang="en-US" sz="918">
                    <a:gradFill>
                      <a:gsLst>
                        <a:gs pos="5439">
                          <a:srgbClr val="FFFFFF"/>
                        </a:gs>
                        <a:gs pos="100000">
                          <a:srgbClr val="FFFFFF"/>
                        </a:gs>
                      </a:gsLst>
                      <a:lin ang="5400000" scaled="0"/>
                    </a:gradFill>
                    <a:latin typeface="Segoe UI"/>
                  </a:endParaRPr>
                </a:p>
              </p:txBody>
            </p:sp>
            <p:sp>
              <p:nvSpPr>
                <p:cNvPr id="39" name="Oval 38">
                  <a:extLst>
                    <a:ext uri="{FF2B5EF4-FFF2-40B4-BE49-F238E27FC236}">
                      <a16:creationId xmlns:a16="http://schemas.microsoft.com/office/drawing/2014/main" id="{3974AB0A-5FE0-47A6-AEAD-D8B381B0221B}"/>
                    </a:ext>
                  </a:extLst>
                </p:cNvPr>
                <p:cNvSpPr/>
                <p:nvPr/>
              </p:nvSpPr>
              <p:spPr bwMode="auto">
                <a:xfrm>
                  <a:off x="-3650408" y="3486903"/>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0498CCB5-28B7-407E-B253-F02DA62F71A8}"/>
                    </a:ext>
                  </a:extLst>
                </p:cNvPr>
                <p:cNvSpPr/>
                <p:nvPr/>
              </p:nvSpPr>
              <p:spPr bwMode="auto">
                <a:xfrm>
                  <a:off x="-3535766" y="3378137"/>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CFE7FE94-69B9-43A5-A6D8-4C1499D58816}"/>
                    </a:ext>
                  </a:extLst>
                </p:cNvPr>
                <p:cNvSpPr/>
                <p:nvPr/>
              </p:nvSpPr>
              <p:spPr bwMode="auto">
                <a:xfrm>
                  <a:off x="-3408644" y="3905237"/>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EB29B5A6-63BF-4EDA-B8AB-D43BD19307A9}"/>
                    </a:ext>
                  </a:extLst>
                </p:cNvPr>
                <p:cNvSpPr/>
                <p:nvPr/>
              </p:nvSpPr>
              <p:spPr bwMode="auto">
                <a:xfrm>
                  <a:off x="-3284483" y="4033324"/>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97C8F30C-8E83-448A-8754-76FF229086CD}"/>
                    </a:ext>
                  </a:extLst>
                </p:cNvPr>
                <p:cNvSpPr/>
                <p:nvPr/>
              </p:nvSpPr>
              <p:spPr bwMode="auto">
                <a:xfrm>
                  <a:off x="-3156676" y="3952671"/>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35E1DAAE-6CF9-4141-A969-31964457EFA1}"/>
                    </a:ext>
                  </a:extLst>
                </p:cNvPr>
                <p:cNvSpPr/>
                <p:nvPr/>
              </p:nvSpPr>
              <p:spPr bwMode="auto">
                <a:xfrm>
                  <a:off x="-2735608" y="4230954"/>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34D5DCAD-49CB-4D45-8A17-33BD9A544163}"/>
                    </a:ext>
                  </a:extLst>
                </p:cNvPr>
                <p:cNvSpPr/>
                <p:nvPr/>
              </p:nvSpPr>
              <p:spPr bwMode="auto">
                <a:xfrm>
                  <a:off x="-2559152" y="4110373"/>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46" name="Freeform: Shape 45">
                  <a:extLst>
                    <a:ext uri="{FF2B5EF4-FFF2-40B4-BE49-F238E27FC236}">
                      <a16:creationId xmlns:a16="http://schemas.microsoft.com/office/drawing/2014/main" id="{C42A740F-2A00-4F4F-965B-360BDBA3587D}"/>
                    </a:ext>
                  </a:extLst>
                </p:cNvPr>
                <p:cNvSpPr/>
                <p:nvPr/>
              </p:nvSpPr>
              <p:spPr bwMode="auto">
                <a:xfrm>
                  <a:off x="-2931201" y="3221844"/>
                  <a:ext cx="858943" cy="294399"/>
                </a:xfrm>
                <a:custGeom>
                  <a:avLst/>
                  <a:gdLst>
                    <a:gd name="connsiteX0" fmla="*/ 0 w 2611120"/>
                    <a:gd name="connsiteY0" fmla="*/ 0 h 292100"/>
                    <a:gd name="connsiteX1" fmla="*/ 767080 w 2611120"/>
                    <a:gd name="connsiteY1" fmla="*/ 73660 h 292100"/>
                    <a:gd name="connsiteX2" fmla="*/ 1132840 w 2611120"/>
                    <a:gd name="connsiteY2" fmla="*/ 233680 h 292100"/>
                    <a:gd name="connsiteX3" fmla="*/ 1503680 w 2611120"/>
                    <a:gd name="connsiteY3" fmla="*/ 292100 h 292100"/>
                    <a:gd name="connsiteX4" fmla="*/ 1874520 w 2611120"/>
                    <a:gd name="connsiteY4" fmla="*/ 248920 h 292100"/>
                    <a:gd name="connsiteX5" fmla="*/ 2611120 w 2611120"/>
                    <a:gd name="connsiteY5" fmla="*/ 251460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1120" h="292100">
                      <a:moveTo>
                        <a:pt x="0" y="0"/>
                      </a:moveTo>
                      <a:lnTo>
                        <a:pt x="767080" y="73660"/>
                      </a:lnTo>
                      <a:lnTo>
                        <a:pt x="1132840" y="233680"/>
                      </a:lnTo>
                      <a:lnTo>
                        <a:pt x="1503680" y="292100"/>
                      </a:lnTo>
                      <a:lnTo>
                        <a:pt x="1874520" y="248920"/>
                      </a:lnTo>
                      <a:lnTo>
                        <a:pt x="2611120" y="251460"/>
                      </a:lnTo>
                    </a:path>
                  </a:pathLst>
                </a:cu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22645">
                    <a:defRPr/>
                  </a:pPr>
                  <a:endParaRPr lang="en-US" sz="918">
                    <a:gradFill>
                      <a:gsLst>
                        <a:gs pos="5439">
                          <a:srgbClr val="FFFFFF"/>
                        </a:gs>
                        <a:gs pos="100000">
                          <a:srgbClr val="FFFFFF"/>
                        </a:gs>
                      </a:gsLst>
                      <a:lin ang="5400000" scaled="0"/>
                    </a:gradFill>
                    <a:latin typeface="Segoe UI"/>
                  </a:endParaRPr>
                </a:p>
              </p:txBody>
            </p:sp>
            <p:sp>
              <p:nvSpPr>
                <p:cNvPr id="47" name="Oval 46">
                  <a:extLst>
                    <a:ext uri="{FF2B5EF4-FFF2-40B4-BE49-F238E27FC236}">
                      <a16:creationId xmlns:a16="http://schemas.microsoft.com/office/drawing/2014/main" id="{D1721B10-FE28-4FC1-8751-11F5A9B4F0C5}"/>
                    </a:ext>
                  </a:extLst>
                </p:cNvPr>
                <p:cNvSpPr/>
                <p:nvPr/>
              </p:nvSpPr>
              <p:spPr bwMode="auto">
                <a:xfrm>
                  <a:off x="-2945279" y="3197709"/>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133852C6-AA17-4EB0-879C-146E8844EE5C}"/>
                    </a:ext>
                  </a:extLst>
                </p:cNvPr>
                <p:cNvSpPr/>
                <p:nvPr/>
              </p:nvSpPr>
              <p:spPr bwMode="auto">
                <a:xfrm>
                  <a:off x="-2692888" y="3273736"/>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F0224D5D-FB01-4316-BC26-CE96DE80FBF9}"/>
                    </a:ext>
                  </a:extLst>
                </p:cNvPr>
                <p:cNvSpPr/>
                <p:nvPr/>
              </p:nvSpPr>
              <p:spPr bwMode="auto">
                <a:xfrm>
                  <a:off x="-2577471" y="3419026"/>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896A7022-2FF6-484F-9D7E-EA03D8630960}"/>
                    </a:ext>
                  </a:extLst>
                </p:cNvPr>
                <p:cNvSpPr/>
                <p:nvPr/>
              </p:nvSpPr>
              <p:spPr bwMode="auto">
                <a:xfrm>
                  <a:off x="-2454467" y="3487928"/>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F495D81A-98AF-4A8B-89C4-B020B8DDE9E2}"/>
                    </a:ext>
                  </a:extLst>
                </p:cNvPr>
                <p:cNvSpPr/>
                <p:nvPr/>
              </p:nvSpPr>
              <p:spPr bwMode="auto">
                <a:xfrm>
                  <a:off x="-2332917" y="3438793"/>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227C7F2F-092E-456E-96A4-FDA14B099A2D}"/>
                    </a:ext>
                  </a:extLst>
                </p:cNvPr>
                <p:cNvSpPr/>
                <p:nvPr/>
              </p:nvSpPr>
              <p:spPr bwMode="auto">
                <a:xfrm>
                  <a:off x="-2094685" y="3441966"/>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53" name="Freeform: Shape 52">
                  <a:extLst>
                    <a:ext uri="{FF2B5EF4-FFF2-40B4-BE49-F238E27FC236}">
                      <a16:creationId xmlns:a16="http://schemas.microsoft.com/office/drawing/2014/main" id="{E884EE7D-F7BF-4B13-B37C-29EA5BFF1C75}"/>
                    </a:ext>
                  </a:extLst>
                </p:cNvPr>
                <p:cNvSpPr/>
                <p:nvPr/>
              </p:nvSpPr>
              <p:spPr bwMode="auto">
                <a:xfrm>
                  <a:off x="-2985002" y="3364546"/>
                  <a:ext cx="235625" cy="145920"/>
                </a:xfrm>
                <a:custGeom>
                  <a:avLst/>
                  <a:gdLst>
                    <a:gd name="connsiteX0" fmla="*/ 0 w 716280"/>
                    <a:gd name="connsiteY0" fmla="*/ 0 h 144780"/>
                    <a:gd name="connsiteX1" fmla="*/ 345440 w 716280"/>
                    <a:gd name="connsiteY1" fmla="*/ 63500 h 144780"/>
                    <a:gd name="connsiteX2" fmla="*/ 716280 w 716280"/>
                    <a:gd name="connsiteY2" fmla="*/ 144780 h 144780"/>
                  </a:gdLst>
                  <a:ahLst/>
                  <a:cxnLst>
                    <a:cxn ang="0">
                      <a:pos x="connsiteX0" y="connsiteY0"/>
                    </a:cxn>
                    <a:cxn ang="0">
                      <a:pos x="connsiteX1" y="connsiteY1"/>
                    </a:cxn>
                    <a:cxn ang="0">
                      <a:pos x="connsiteX2" y="connsiteY2"/>
                    </a:cxn>
                  </a:cxnLst>
                  <a:rect l="l" t="t" r="r" b="b"/>
                  <a:pathLst>
                    <a:path w="716280" h="144780">
                      <a:moveTo>
                        <a:pt x="0" y="0"/>
                      </a:moveTo>
                      <a:lnTo>
                        <a:pt x="345440" y="63500"/>
                      </a:lnTo>
                      <a:lnTo>
                        <a:pt x="716280" y="144780"/>
                      </a:lnTo>
                    </a:path>
                  </a:pathLst>
                </a:cu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22645">
                    <a:defRPr/>
                  </a:pPr>
                  <a:endParaRPr lang="en-US" sz="918">
                    <a:gradFill>
                      <a:gsLst>
                        <a:gs pos="5439">
                          <a:srgbClr val="FFFFFF"/>
                        </a:gs>
                        <a:gs pos="100000">
                          <a:srgbClr val="FFFFFF"/>
                        </a:gs>
                      </a:gsLst>
                      <a:lin ang="5400000" scaled="0"/>
                    </a:gradFill>
                    <a:latin typeface="Segoe UI"/>
                  </a:endParaRPr>
                </a:p>
              </p:txBody>
            </p:sp>
            <p:sp>
              <p:nvSpPr>
                <p:cNvPr id="54" name="Oval 53">
                  <a:extLst>
                    <a:ext uri="{FF2B5EF4-FFF2-40B4-BE49-F238E27FC236}">
                      <a16:creationId xmlns:a16="http://schemas.microsoft.com/office/drawing/2014/main" id="{EAA427E1-2E5D-4D32-B4B1-455C87DF3092}"/>
                    </a:ext>
                  </a:extLst>
                </p:cNvPr>
                <p:cNvSpPr/>
                <p:nvPr/>
              </p:nvSpPr>
              <p:spPr bwMode="auto">
                <a:xfrm>
                  <a:off x="-2995941" y="3346167"/>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11B5CD12-E345-4636-9063-616B3AE8553A}"/>
                    </a:ext>
                  </a:extLst>
                </p:cNvPr>
                <p:cNvSpPr/>
                <p:nvPr/>
              </p:nvSpPr>
              <p:spPr bwMode="auto">
                <a:xfrm>
                  <a:off x="-2891319" y="3407028"/>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D2B778DE-9BC0-4BF0-9D2F-F9AB1E964F4D}"/>
                    </a:ext>
                  </a:extLst>
                </p:cNvPr>
                <p:cNvSpPr/>
                <p:nvPr/>
              </p:nvSpPr>
              <p:spPr bwMode="auto">
                <a:xfrm>
                  <a:off x="-2762552" y="3491145"/>
                  <a:ext cx="64008" cy="64008"/>
                </a:xfrm>
                <a:prstGeom prst="ellipse">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57" name="Freeform: Shape 56">
                  <a:extLst>
                    <a:ext uri="{FF2B5EF4-FFF2-40B4-BE49-F238E27FC236}">
                      <a16:creationId xmlns:a16="http://schemas.microsoft.com/office/drawing/2014/main" id="{A1BAAF73-FABA-4DE1-812C-ED09FA596338}"/>
                    </a:ext>
                  </a:extLst>
                </p:cNvPr>
                <p:cNvSpPr/>
                <p:nvPr/>
              </p:nvSpPr>
              <p:spPr bwMode="auto">
                <a:xfrm>
                  <a:off x="-1973470" y="3739091"/>
                  <a:ext cx="652563" cy="1059835"/>
                </a:xfrm>
                <a:custGeom>
                  <a:avLst/>
                  <a:gdLst>
                    <a:gd name="connsiteX0" fmla="*/ 0 w 1983740"/>
                    <a:gd name="connsiteY0" fmla="*/ 0 h 1051560"/>
                    <a:gd name="connsiteX1" fmla="*/ 1107440 w 1983740"/>
                    <a:gd name="connsiteY1" fmla="*/ 424180 h 1051560"/>
                    <a:gd name="connsiteX2" fmla="*/ 1983740 w 1983740"/>
                    <a:gd name="connsiteY2" fmla="*/ 1051560 h 1051560"/>
                  </a:gdLst>
                  <a:ahLst/>
                  <a:cxnLst>
                    <a:cxn ang="0">
                      <a:pos x="connsiteX0" y="connsiteY0"/>
                    </a:cxn>
                    <a:cxn ang="0">
                      <a:pos x="connsiteX1" y="connsiteY1"/>
                    </a:cxn>
                    <a:cxn ang="0">
                      <a:pos x="connsiteX2" y="connsiteY2"/>
                    </a:cxn>
                  </a:cxnLst>
                  <a:rect l="l" t="t" r="r" b="b"/>
                  <a:pathLst>
                    <a:path w="1983740" h="1051560">
                      <a:moveTo>
                        <a:pt x="0" y="0"/>
                      </a:moveTo>
                      <a:lnTo>
                        <a:pt x="1107440" y="424180"/>
                      </a:lnTo>
                      <a:lnTo>
                        <a:pt x="1983740" y="1051560"/>
                      </a:lnTo>
                    </a:path>
                  </a:pathLst>
                </a:custGeom>
                <a:noFill/>
                <a:ln w="952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22645">
                    <a:defRPr/>
                  </a:pPr>
                  <a:endParaRPr lang="en-US" sz="918">
                    <a:gradFill>
                      <a:gsLst>
                        <a:gs pos="5439">
                          <a:srgbClr val="FFFFFF"/>
                        </a:gs>
                        <a:gs pos="100000">
                          <a:srgbClr val="FFFFFF"/>
                        </a:gs>
                      </a:gsLst>
                      <a:lin ang="5400000" scaled="0"/>
                    </a:gradFill>
                    <a:latin typeface="Segoe UI"/>
                  </a:endParaRPr>
                </a:p>
              </p:txBody>
            </p:sp>
            <p:sp>
              <p:nvSpPr>
                <p:cNvPr id="58" name="Oval 57">
                  <a:extLst>
                    <a:ext uri="{FF2B5EF4-FFF2-40B4-BE49-F238E27FC236}">
                      <a16:creationId xmlns:a16="http://schemas.microsoft.com/office/drawing/2014/main" id="{F5EA04BE-6EFF-4E53-A614-01867197769C}"/>
                    </a:ext>
                  </a:extLst>
                </p:cNvPr>
                <p:cNvSpPr/>
                <p:nvPr/>
              </p:nvSpPr>
              <p:spPr bwMode="auto">
                <a:xfrm>
                  <a:off x="-1994460" y="3720153"/>
                  <a:ext cx="64008" cy="64008"/>
                </a:xfrm>
                <a:prstGeom prst="ellipse">
                  <a:avLst/>
                </a:prstGeom>
                <a:solidFill>
                  <a:schemeClr val="accent1">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4147076D-B51F-460A-82DF-688197640941}"/>
                    </a:ext>
                  </a:extLst>
                </p:cNvPr>
                <p:cNvSpPr/>
                <p:nvPr/>
              </p:nvSpPr>
              <p:spPr bwMode="auto">
                <a:xfrm>
                  <a:off x="-1642637" y="4131863"/>
                  <a:ext cx="64008" cy="64008"/>
                </a:xfrm>
                <a:prstGeom prst="ellipse">
                  <a:avLst/>
                </a:prstGeom>
                <a:solidFill>
                  <a:schemeClr val="accent1">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F59676EF-1D15-42CC-97A3-7D560AD990EA}"/>
                    </a:ext>
                  </a:extLst>
                </p:cNvPr>
                <p:cNvSpPr/>
                <p:nvPr/>
              </p:nvSpPr>
              <p:spPr bwMode="auto">
                <a:xfrm>
                  <a:off x="-1553534" y="4314879"/>
                  <a:ext cx="64008" cy="64008"/>
                </a:xfrm>
                <a:prstGeom prst="ellipse">
                  <a:avLst/>
                </a:prstGeom>
                <a:solidFill>
                  <a:schemeClr val="bg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61" name="TextBox 60">
                  <a:extLst>
                    <a:ext uri="{FF2B5EF4-FFF2-40B4-BE49-F238E27FC236}">
                      <a16:creationId xmlns:a16="http://schemas.microsoft.com/office/drawing/2014/main" id="{E854159B-1F5E-4AA2-B07D-FDCE11F7AFD1}"/>
                    </a:ext>
                  </a:extLst>
                </p:cNvPr>
                <p:cNvSpPr txBox="1"/>
                <p:nvPr/>
              </p:nvSpPr>
              <p:spPr>
                <a:xfrm>
                  <a:off x="-3871705" y="2797502"/>
                  <a:ext cx="1430728" cy="558148"/>
                </a:xfrm>
                <a:prstGeom prst="rect">
                  <a:avLst/>
                </a:prstGeom>
                <a:noFill/>
              </p:spPr>
              <p:txBody>
                <a:bodyPr wrap="square" lIns="137120" tIns="109696" rIns="137120" bIns="109696" rtlCol="0">
                  <a:spAutoFit/>
                </a:bodyPr>
                <a:lstStyle/>
                <a:p>
                  <a:pPr defTabSz="822645">
                    <a:lnSpc>
                      <a:spcPct val="90000"/>
                    </a:lnSpc>
                    <a:spcAft>
                      <a:spcPts val="450"/>
                    </a:spcAft>
                    <a:defRPr/>
                  </a:pPr>
                  <a:r>
                    <a:rPr lang="en-US" sz="382" b="1">
                      <a:gradFill>
                        <a:gsLst>
                          <a:gs pos="5439">
                            <a:srgbClr val="FFFFFF"/>
                          </a:gs>
                          <a:gs pos="100000">
                            <a:srgbClr val="FFFFFF"/>
                          </a:gs>
                        </a:gsLst>
                        <a:lin ang="5400000" scaled="0"/>
                      </a:gradFill>
                      <a:latin typeface="Segoe UI" panose="020B0502040204020203" pitchFamily="34" charset="0"/>
                      <a:cs typeface="Segoe UI" panose="020B0502040204020203" pitchFamily="34" charset="0"/>
                    </a:rPr>
                    <a:t>Switchboard</a:t>
                  </a:r>
                </a:p>
              </p:txBody>
            </p:sp>
            <p:sp>
              <p:nvSpPr>
                <p:cNvPr id="62" name="TextBox 61">
                  <a:extLst>
                    <a:ext uri="{FF2B5EF4-FFF2-40B4-BE49-F238E27FC236}">
                      <a16:creationId xmlns:a16="http://schemas.microsoft.com/office/drawing/2014/main" id="{8FBD52AC-240F-4E9B-B3B3-55DDC962C41E}"/>
                    </a:ext>
                  </a:extLst>
                </p:cNvPr>
                <p:cNvSpPr txBox="1"/>
                <p:nvPr/>
              </p:nvSpPr>
              <p:spPr>
                <a:xfrm>
                  <a:off x="-2946592" y="3411496"/>
                  <a:ext cx="1352715" cy="665853"/>
                </a:xfrm>
                <a:prstGeom prst="rect">
                  <a:avLst/>
                </a:prstGeom>
                <a:noFill/>
              </p:spPr>
              <p:txBody>
                <a:bodyPr wrap="square" lIns="137120" tIns="109696" rIns="137120" bIns="109696" rtlCol="0">
                  <a:spAutoFit/>
                </a:bodyPr>
                <a:lstStyle/>
                <a:p>
                  <a:pPr defTabSz="822645">
                    <a:lnSpc>
                      <a:spcPct val="90000"/>
                    </a:lnSpc>
                    <a:spcAft>
                      <a:spcPts val="450"/>
                    </a:spcAft>
                    <a:defRPr/>
                  </a:pPr>
                  <a:r>
                    <a:rPr lang="en-US" sz="382" b="1">
                      <a:gradFill>
                        <a:gsLst>
                          <a:gs pos="5439">
                            <a:srgbClr val="FFFFFF"/>
                          </a:gs>
                          <a:gs pos="100000">
                            <a:srgbClr val="FFFFFF"/>
                          </a:gs>
                        </a:gsLst>
                        <a:lin ang="5400000" scaled="0"/>
                      </a:gradFill>
                      <a:latin typeface="Segoe UI" panose="020B0502040204020203" pitchFamily="34" charset="0"/>
                      <a:cs typeface="Segoe UI" panose="020B0502040204020203" pitchFamily="34" charset="0"/>
                    </a:rPr>
                    <a:t>Switchboard cellular</a:t>
                  </a:r>
                </a:p>
              </p:txBody>
            </p:sp>
            <p:sp>
              <p:nvSpPr>
                <p:cNvPr id="63" name="TextBox 62">
                  <a:extLst>
                    <a:ext uri="{FF2B5EF4-FFF2-40B4-BE49-F238E27FC236}">
                      <a16:creationId xmlns:a16="http://schemas.microsoft.com/office/drawing/2014/main" id="{7E9DA30D-CA10-478A-89BF-0087E814BD32}"/>
                    </a:ext>
                  </a:extLst>
                </p:cNvPr>
                <p:cNvSpPr txBox="1"/>
                <p:nvPr/>
              </p:nvSpPr>
              <p:spPr>
                <a:xfrm>
                  <a:off x="-2704720" y="2920789"/>
                  <a:ext cx="1638853" cy="665853"/>
                </a:xfrm>
                <a:prstGeom prst="rect">
                  <a:avLst/>
                </a:prstGeom>
                <a:noFill/>
              </p:spPr>
              <p:txBody>
                <a:bodyPr wrap="square" lIns="137120" tIns="109696" rIns="137120" bIns="109696" rtlCol="0">
                  <a:spAutoFit/>
                </a:bodyPr>
                <a:lstStyle/>
                <a:p>
                  <a:pPr defTabSz="822645">
                    <a:lnSpc>
                      <a:spcPct val="90000"/>
                    </a:lnSpc>
                    <a:spcAft>
                      <a:spcPts val="450"/>
                    </a:spcAft>
                    <a:defRPr/>
                  </a:pPr>
                  <a:r>
                    <a:rPr lang="en-US" sz="382" b="1">
                      <a:gradFill>
                        <a:gsLst>
                          <a:gs pos="5439">
                            <a:srgbClr val="FFFFFF"/>
                          </a:gs>
                          <a:gs pos="100000">
                            <a:srgbClr val="FFFFFF"/>
                          </a:gs>
                        </a:gsLst>
                        <a:lin ang="5400000" scaled="0"/>
                      </a:gradFill>
                      <a:latin typeface="Segoe UI" panose="020B0502040204020203" pitchFamily="34" charset="0"/>
                      <a:cs typeface="Segoe UI" panose="020B0502040204020203" pitchFamily="34" charset="0"/>
                    </a:rPr>
                    <a:t>Meeting </a:t>
                  </a:r>
                  <a:br>
                    <a:rPr lang="en-US" sz="382" b="1">
                      <a:gradFill>
                        <a:gsLst>
                          <a:gs pos="5439">
                            <a:srgbClr val="FFFFFF"/>
                          </a:gs>
                          <a:gs pos="100000">
                            <a:srgbClr val="FFFFFF"/>
                          </a:gs>
                        </a:gsLst>
                        <a:lin ang="5400000" scaled="0"/>
                      </a:gradFill>
                      <a:latin typeface="Segoe UI" panose="020B0502040204020203" pitchFamily="34" charset="0"/>
                      <a:cs typeface="Segoe UI" panose="020B0502040204020203" pitchFamily="34" charset="0"/>
                    </a:rPr>
                  </a:br>
                  <a:r>
                    <a:rPr lang="en-US" sz="382" b="1">
                      <a:gradFill>
                        <a:gsLst>
                          <a:gs pos="5439">
                            <a:srgbClr val="FFFFFF"/>
                          </a:gs>
                          <a:gs pos="100000">
                            <a:srgbClr val="FFFFFF"/>
                          </a:gs>
                        </a:gsLst>
                        <a:lin ang="5400000" scaled="0"/>
                      </a:gradFill>
                      <a:latin typeface="Segoe UI" panose="020B0502040204020203" pitchFamily="34" charset="0"/>
                      <a:cs typeface="Segoe UI" panose="020B0502040204020203" pitchFamily="34" charset="0"/>
                    </a:rPr>
                    <a:t>speech</a:t>
                  </a:r>
                </a:p>
              </p:txBody>
            </p:sp>
            <p:sp>
              <p:nvSpPr>
                <p:cNvPr id="64" name="TextBox 63">
                  <a:extLst>
                    <a:ext uri="{FF2B5EF4-FFF2-40B4-BE49-F238E27FC236}">
                      <a16:creationId xmlns:a16="http://schemas.microsoft.com/office/drawing/2014/main" id="{39D9338B-32BD-4BF0-97E1-49985A288DBB}"/>
                    </a:ext>
                  </a:extLst>
                </p:cNvPr>
                <p:cNvSpPr txBox="1"/>
                <p:nvPr/>
              </p:nvSpPr>
              <p:spPr>
                <a:xfrm>
                  <a:off x="-1615553" y="4023761"/>
                  <a:ext cx="1279532" cy="665853"/>
                </a:xfrm>
                <a:prstGeom prst="rect">
                  <a:avLst/>
                </a:prstGeom>
                <a:noFill/>
              </p:spPr>
              <p:txBody>
                <a:bodyPr wrap="square" lIns="137120" tIns="109696" rIns="137120" bIns="109696" rtlCol="0">
                  <a:spAutoFit/>
                </a:bodyPr>
                <a:lstStyle/>
                <a:p>
                  <a:pPr defTabSz="822645">
                    <a:lnSpc>
                      <a:spcPct val="90000"/>
                    </a:lnSpc>
                    <a:spcAft>
                      <a:spcPts val="450"/>
                    </a:spcAft>
                    <a:defRPr/>
                  </a:pPr>
                  <a:r>
                    <a:rPr lang="en-US" sz="382" b="1">
                      <a:gradFill>
                        <a:gsLst>
                          <a:gs pos="5439">
                            <a:srgbClr val="FFFFFF"/>
                          </a:gs>
                          <a:gs pos="100000">
                            <a:srgbClr val="FFFFFF"/>
                          </a:gs>
                        </a:gsLst>
                        <a:lin ang="5400000" scaled="0"/>
                      </a:gradFill>
                      <a:latin typeface="Segoe UI" panose="020B0502040204020203" pitchFamily="34" charset="0"/>
                      <a:cs typeface="Segoe UI" panose="020B0502040204020203" pitchFamily="34" charset="0"/>
                    </a:rPr>
                    <a:t>IBM Switchboard</a:t>
                  </a:r>
                </a:p>
              </p:txBody>
            </p:sp>
            <p:sp>
              <p:nvSpPr>
                <p:cNvPr id="65" name="TextBox 64">
                  <a:extLst>
                    <a:ext uri="{FF2B5EF4-FFF2-40B4-BE49-F238E27FC236}">
                      <a16:creationId xmlns:a16="http://schemas.microsoft.com/office/drawing/2014/main" id="{064C05D5-4F48-4515-A2DC-771A48701DFA}"/>
                    </a:ext>
                  </a:extLst>
                </p:cNvPr>
                <p:cNvSpPr txBox="1"/>
                <p:nvPr/>
              </p:nvSpPr>
              <p:spPr>
                <a:xfrm>
                  <a:off x="-4470975" y="3445500"/>
                  <a:ext cx="1107856" cy="665853"/>
                </a:xfrm>
                <a:prstGeom prst="rect">
                  <a:avLst/>
                </a:prstGeom>
                <a:noFill/>
              </p:spPr>
              <p:txBody>
                <a:bodyPr wrap="square" lIns="137120" tIns="109696" rIns="137120" bIns="109696" rtlCol="0">
                  <a:spAutoFit/>
                </a:bodyPr>
                <a:lstStyle/>
                <a:p>
                  <a:pPr algn="r" defTabSz="822645">
                    <a:lnSpc>
                      <a:spcPct val="90000"/>
                    </a:lnSpc>
                    <a:spcAft>
                      <a:spcPts val="450"/>
                    </a:spcAft>
                    <a:defRPr/>
                  </a:pPr>
                  <a:r>
                    <a:rPr lang="en-US" sz="382" b="1">
                      <a:gradFill>
                        <a:gsLst>
                          <a:gs pos="5439">
                            <a:srgbClr val="FFFFFF"/>
                          </a:gs>
                          <a:gs pos="100000">
                            <a:srgbClr val="FFFFFF"/>
                          </a:gs>
                        </a:gsLst>
                        <a:lin ang="5400000" scaled="0"/>
                      </a:gradFill>
                      <a:latin typeface="Segoe UI" panose="020B0502040204020203" pitchFamily="34" charset="0"/>
                      <a:cs typeface="Segoe UI" panose="020B0502040204020203" pitchFamily="34" charset="0"/>
                    </a:rPr>
                    <a:t>Broadcast speech</a:t>
                  </a:r>
                </a:p>
              </p:txBody>
            </p:sp>
            <p:sp>
              <p:nvSpPr>
                <p:cNvPr id="66" name="Oval 65">
                  <a:extLst>
                    <a:ext uri="{FF2B5EF4-FFF2-40B4-BE49-F238E27FC236}">
                      <a16:creationId xmlns:a16="http://schemas.microsoft.com/office/drawing/2014/main" id="{D87B8C52-A0D8-45EC-8F15-E051A3A3B287}"/>
                    </a:ext>
                  </a:extLst>
                </p:cNvPr>
                <p:cNvSpPr/>
                <p:nvPr/>
              </p:nvSpPr>
              <p:spPr bwMode="auto">
                <a:xfrm>
                  <a:off x="-1385847" y="4757601"/>
                  <a:ext cx="91440" cy="94206"/>
                </a:xfrm>
                <a:prstGeom prst="ellipse">
                  <a:avLst/>
                </a:prstGeom>
                <a:solidFill>
                  <a:schemeClr val="bg1"/>
                </a:solidFill>
                <a:ln w="63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0D43F64B-AF17-48EF-9C93-4EB35160B5B8}"/>
                    </a:ext>
                  </a:extLst>
                </p:cNvPr>
                <p:cNvSpPr/>
                <p:nvPr/>
              </p:nvSpPr>
              <p:spPr bwMode="auto">
                <a:xfrm>
                  <a:off x="-1372131" y="4772705"/>
                  <a:ext cx="64008" cy="64008"/>
                </a:xfrm>
                <a:prstGeom prst="ellipse">
                  <a:avLst/>
                </a:prstGeom>
                <a:solidFill>
                  <a:schemeClr val="accent1">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0" tIns="109696" rIns="137120" bIns="109696" numCol="1" spcCol="0" rtlCol="0" fromWordArt="0" anchor="t" anchorCtr="0" forceAA="0" compatLnSpc="1">
                  <a:prstTxWarp prst="textNoShape">
                    <a:avLst/>
                  </a:prstTxWarp>
                  <a:noAutofit/>
                </a:bodyPr>
                <a:lstStyle/>
                <a:p>
                  <a:pPr algn="ctr" defTabSz="699085" fontAlgn="base">
                    <a:lnSpc>
                      <a:spcPct val="90000"/>
                    </a:lnSpc>
                    <a:spcBef>
                      <a:spcPct val="0"/>
                    </a:spcBef>
                    <a:spcAft>
                      <a:spcPct val="0"/>
                    </a:spcAft>
                    <a:defRPr/>
                  </a:pPr>
                  <a:endParaRPr lang="en-US" sz="918">
                    <a:gradFill>
                      <a:gsLst>
                        <a:gs pos="5439">
                          <a:srgbClr val="FFFFFF"/>
                        </a:gs>
                        <a:gs pos="100000">
                          <a:srgbClr val="FFFFFF"/>
                        </a:gs>
                      </a:gsLst>
                      <a:lin ang="5400000" scaled="0"/>
                    </a:gradFill>
                    <a:latin typeface="Segoe UI"/>
                    <a:ea typeface="Segoe UI" pitchFamily="34" charset="0"/>
                    <a:cs typeface="Segoe UI" pitchFamily="34" charset="0"/>
                  </a:endParaRPr>
                </a:p>
              </p:txBody>
            </p:sp>
            <p:grpSp>
              <p:nvGrpSpPr>
                <p:cNvPr id="68" name="Group 67">
                  <a:extLst>
                    <a:ext uri="{FF2B5EF4-FFF2-40B4-BE49-F238E27FC236}">
                      <a16:creationId xmlns:a16="http://schemas.microsoft.com/office/drawing/2014/main" id="{CB622833-12F2-405B-AF99-A57C5A6C51C7}"/>
                    </a:ext>
                  </a:extLst>
                </p:cNvPr>
                <p:cNvGrpSpPr/>
                <p:nvPr/>
              </p:nvGrpSpPr>
              <p:grpSpPr>
                <a:xfrm>
                  <a:off x="-1811814" y="4943801"/>
                  <a:ext cx="872075" cy="187225"/>
                  <a:chOff x="9975718" y="3109333"/>
                  <a:chExt cx="1315753" cy="282477"/>
                </a:xfrm>
              </p:grpSpPr>
              <p:pic>
                <p:nvPicPr>
                  <p:cNvPr id="69" name="Picture 68">
                    <a:extLst>
                      <a:ext uri="{FF2B5EF4-FFF2-40B4-BE49-F238E27FC236}">
                        <a16:creationId xmlns:a16="http://schemas.microsoft.com/office/drawing/2014/main" id="{3C54AE9F-1394-49D0-8A06-28A6213F688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black">
                  <a:xfrm>
                    <a:off x="9975718" y="3109333"/>
                    <a:ext cx="282475" cy="282477"/>
                  </a:xfrm>
                  <a:prstGeom prst="rect">
                    <a:avLst/>
                  </a:prstGeom>
                </p:spPr>
              </p:pic>
              <p:sp>
                <p:nvSpPr>
                  <p:cNvPr id="70" name="Freeform 12">
                    <a:extLst>
                      <a:ext uri="{FF2B5EF4-FFF2-40B4-BE49-F238E27FC236}">
                        <a16:creationId xmlns:a16="http://schemas.microsoft.com/office/drawing/2014/main" id="{91BC76A2-60DD-4AAD-A07A-E3D2A51C361C}"/>
                      </a:ext>
                    </a:extLst>
                  </p:cNvPr>
                  <p:cNvSpPr>
                    <a:spLocks noEditPoints="1"/>
                  </p:cNvSpPr>
                  <p:nvPr/>
                </p:nvSpPr>
                <p:spPr bwMode="black">
                  <a:xfrm>
                    <a:off x="10340714" y="3153057"/>
                    <a:ext cx="950757" cy="186062"/>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68570" tIns="34285" rIns="68570" bIns="34285" numCol="1" anchor="t" anchorCtr="0" compatLnSpc="1">
                    <a:prstTxWarp prst="textNoShape">
                      <a:avLst/>
                    </a:prstTxWarp>
                  </a:bodyPr>
                  <a:lstStyle/>
                  <a:p>
                    <a:pPr defTabSz="699422">
                      <a:defRPr/>
                    </a:pPr>
                    <a:endParaRPr lang="en-US" sz="804">
                      <a:solidFill>
                        <a:srgbClr val="1A1A1A"/>
                      </a:solidFill>
                      <a:latin typeface="Segoe UI"/>
                    </a:endParaRPr>
                  </a:p>
                </p:txBody>
              </p:sp>
            </p:grpSp>
          </p:grpSp>
          <p:grpSp>
            <p:nvGrpSpPr>
              <p:cNvPr id="71" name="Group 70">
                <a:extLst>
                  <a:ext uri="{FF2B5EF4-FFF2-40B4-BE49-F238E27FC236}">
                    <a16:creationId xmlns:a16="http://schemas.microsoft.com/office/drawing/2014/main" id="{8BE9E86A-D134-4544-8857-115A1DF2FC6C}"/>
                  </a:ext>
                </a:extLst>
              </p:cNvPr>
              <p:cNvGrpSpPr/>
              <p:nvPr/>
            </p:nvGrpSpPr>
            <p:grpSpPr>
              <a:xfrm>
                <a:off x="-7356833" y="6725408"/>
                <a:ext cx="3073385" cy="477301"/>
                <a:chOff x="210989" y="5921118"/>
                <a:chExt cx="3903149" cy="606184"/>
              </a:xfrm>
            </p:grpSpPr>
            <p:cxnSp>
              <p:nvCxnSpPr>
                <p:cNvPr id="72" name="Straight Connector 71">
                  <a:extLst>
                    <a:ext uri="{FF2B5EF4-FFF2-40B4-BE49-F238E27FC236}">
                      <a16:creationId xmlns:a16="http://schemas.microsoft.com/office/drawing/2014/main" id="{FA091B09-1CA0-4D0A-9C7E-CB4645AEFFD3}"/>
                    </a:ext>
                  </a:extLst>
                </p:cNvPr>
                <p:cNvCxnSpPr>
                  <a:cxnSpLocks/>
                </p:cNvCxnSpPr>
                <p:nvPr/>
              </p:nvCxnSpPr>
              <p:spPr>
                <a:xfrm>
                  <a:off x="632760" y="5925005"/>
                  <a:ext cx="3065763"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1DA3146E-3D86-4CC2-883F-92C2B35CF9D0}"/>
                    </a:ext>
                  </a:extLst>
                </p:cNvPr>
                <p:cNvCxnSpPr>
                  <a:cxnSpLocks/>
                </p:cNvCxnSpPr>
                <p:nvPr/>
              </p:nvCxnSpPr>
              <p:spPr>
                <a:xfrm>
                  <a:off x="632760" y="5921121"/>
                  <a:ext cx="0" cy="16306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53AA1FDF-940D-4E52-8EA4-10DC9A0D4A78}"/>
                    </a:ext>
                  </a:extLst>
                </p:cNvPr>
                <p:cNvCxnSpPr>
                  <a:cxnSpLocks/>
                </p:cNvCxnSpPr>
                <p:nvPr/>
              </p:nvCxnSpPr>
              <p:spPr>
                <a:xfrm>
                  <a:off x="1397422" y="5921121"/>
                  <a:ext cx="0" cy="16306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3B09ADE-DFBA-4E77-A83A-019A98D06824}"/>
                    </a:ext>
                  </a:extLst>
                </p:cNvPr>
                <p:cNvCxnSpPr>
                  <a:cxnSpLocks/>
                </p:cNvCxnSpPr>
                <p:nvPr/>
              </p:nvCxnSpPr>
              <p:spPr>
                <a:xfrm>
                  <a:off x="2162084" y="5921121"/>
                  <a:ext cx="0" cy="16306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EF26F236-98F8-4D40-9B14-D65A01649B0A}"/>
                    </a:ext>
                  </a:extLst>
                </p:cNvPr>
                <p:cNvCxnSpPr>
                  <a:cxnSpLocks/>
                </p:cNvCxnSpPr>
                <p:nvPr/>
              </p:nvCxnSpPr>
              <p:spPr>
                <a:xfrm>
                  <a:off x="2926747" y="5921121"/>
                  <a:ext cx="0" cy="16306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89016A85-AB8A-4979-B07D-19B159C6ADFB}"/>
                    </a:ext>
                  </a:extLst>
                </p:cNvPr>
                <p:cNvCxnSpPr>
                  <a:cxnSpLocks/>
                </p:cNvCxnSpPr>
                <p:nvPr/>
              </p:nvCxnSpPr>
              <p:spPr>
                <a:xfrm>
                  <a:off x="3691414" y="5921118"/>
                  <a:ext cx="0" cy="16306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E6127839-3A0C-495B-BA66-2354140442FB}"/>
                    </a:ext>
                  </a:extLst>
                </p:cNvPr>
                <p:cNvSpPr txBox="1"/>
                <p:nvPr/>
              </p:nvSpPr>
              <p:spPr>
                <a:xfrm>
                  <a:off x="210989" y="6000142"/>
                  <a:ext cx="847833" cy="527144"/>
                </a:xfrm>
                <a:prstGeom prst="rect">
                  <a:avLst/>
                </a:prstGeom>
                <a:noFill/>
              </p:spPr>
              <p:txBody>
                <a:bodyPr wrap="square" lIns="137120" tIns="109696" rIns="137120" bIns="109696" rtlCol="0">
                  <a:spAutoFit/>
                </a:bodyPr>
                <a:lstStyle/>
                <a:p>
                  <a:pPr algn="ctr" defTabSz="822645">
                    <a:lnSpc>
                      <a:spcPct val="90000"/>
                    </a:lnSpc>
                    <a:spcAft>
                      <a:spcPts val="450"/>
                    </a:spcAft>
                    <a:defRPr/>
                  </a:pPr>
                  <a:r>
                    <a:rPr lang="en-US" sz="382">
                      <a:gradFill>
                        <a:gsLst>
                          <a:gs pos="5439">
                            <a:srgbClr val="FFFFFF"/>
                          </a:gs>
                          <a:gs pos="100000">
                            <a:srgbClr val="FFFFFF"/>
                          </a:gs>
                        </a:gsLst>
                        <a:lin ang="5400000" scaled="0"/>
                      </a:gradFill>
                      <a:latin typeface="Segoe UI Semibold" panose="020B0702040204020203" pitchFamily="34" charset="0"/>
                      <a:cs typeface="Segoe UI Semibold" panose="020B0702040204020203" pitchFamily="34" charset="0"/>
                    </a:rPr>
                    <a:t>1993</a:t>
                  </a:r>
                </a:p>
              </p:txBody>
            </p:sp>
            <p:sp>
              <p:nvSpPr>
                <p:cNvPr id="79" name="TextBox 78">
                  <a:extLst>
                    <a:ext uri="{FF2B5EF4-FFF2-40B4-BE49-F238E27FC236}">
                      <a16:creationId xmlns:a16="http://schemas.microsoft.com/office/drawing/2014/main" id="{126CBD33-BD27-4FEA-8A3B-584C4D866978}"/>
                    </a:ext>
                  </a:extLst>
                </p:cNvPr>
                <p:cNvSpPr txBox="1"/>
                <p:nvPr/>
              </p:nvSpPr>
              <p:spPr>
                <a:xfrm>
                  <a:off x="3266305" y="6000146"/>
                  <a:ext cx="847833" cy="527144"/>
                </a:xfrm>
                <a:prstGeom prst="rect">
                  <a:avLst/>
                </a:prstGeom>
                <a:noFill/>
              </p:spPr>
              <p:txBody>
                <a:bodyPr wrap="square" lIns="137120" tIns="109696" rIns="137120" bIns="109696" rtlCol="0">
                  <a:spAutoFit/>
                </a:bodyPr>
                <a:lstStyle/>
                <a:p>
                  <a:pPr algn="ctr" defTabSz="822645">
                    <a:lnSpc>
                      <a:spcPct val="90000"/>
                    </a:lnSpc>
                    <a:spcAft>
                      <a:spcPts val="450"/>
                    </a:spcAft>
                    <a:defRPr/>
                  </a:pPr>
                  <a:r>
                    <a:rPr lang="en-US" sz="382">
                      <a:gradFill>
                        <a:gsLst>
                          <a:gs pos="5439">
                            <a:srgbClr val="FFFFFF"/>
                          </a:gs>
                          <a:gs pos="100000">
                            <a:srgbClr val="FFFFFF"/>
                          </a:gs>
                        </a:gsLst>
                        <a:lin ang="5400000" scaled="0"/>
                      </a:gradFill>
                      <a:latin typeface="Segoe UI Semibold" panose="020B0702040204020203" pitchFamily="34" charset="0"/>
                      <a:cs typeface="Segoe UI Semibold" panose="020B0702040204020203" pitchFamily="34" charset="0"/>
                    </a:rPr>
                    <a:t>2017</a:t>
                  </a:r>
                </a:p>
              </p:txBody>
            </p:sp>
            <p:sp>
              <p:nvSpPr>
                <p:cNvPr id="80" name="TextBox 79">
                  <a:extLst>
                    <a:ext uri="{FF2B5EF4-FFF2-40B4-BE49-F238E27FC236}">
                      <a16:creationId xmlns:a16="http://schemas.microsoft.com/office/drawing/2014/main" id="{627405C1-1AB3-4C15-A44F-1FEA1378AFC0}"/>
                    </a:ext>
                  </a:extLst>
                </p:cNvPr>
                <p:cNvSpPr txBox="1"/>
                <p:nvPr/>
              </p:nvSpPr>
              <p:spPr>
                <a:xfrm>
                  <a:off x="921243" y="6000150"/>
                  <a:ext cx="955704" cy="527144"/>
                </a:xfrm>
                <a:prstGeom prst="rect">
                  <a:avLst/>
                </a:prstGeom>
                <a:noFill/>
              </p:spPr>
              <p:txBody>
                <a:bodyPr wrap="square" lIns="137120" tIns="109696" rIns="137120" bIns="109696" rtlCol="0">
                  <a:spAutoFit/>
                </a:bodyPr>
                <a:lstStyle/>
                <a:p>
                  <a:pPr algn="ctr" defTabSz="822645">
                    <a:lnSpc>
                      <a:spcPct val="90000"/>
                    </a:lnSpc>
                    <a:spcAft>
                      <a:spcPts val="450"/>
                    </a:spcAft>
                    <a:defRPr/>
                  </a:pPr>
                  <a:r>
                    <a:rPr lang="en-US" sz="382">
                      <a:gradFill>
                        <a:gsLst>
                          <a:gs pos="5439">
                            <a:srgbClr val="FFFFFF"/>
                          </a:gs>
                          <a:gs pos="100000">
                            <a:srgbClr val="FFFFFF"/>
                          </a:gs>
                        </a:gsLst>
                        <a:lin ang="5400000" scaled="0"/>
                      </a:gradFill>
                      <a:latin typeface="Segoe UI Semibold" panose="020B0702040204020203" pitchFamily="34" charset="0"/>
                      <a:cs typeface="Segoe UI Semibold" panose="020B0702040204020203" pitchFamily="34" charset="0"/>
                    </a:rPr>
                    <a:t>2000</a:t>
                  </a:r>
                </a:p>
              </p:txBody>
            </p:sp>
            <p:sp>
              <p:nvSpPr>
                <p:cNvPr id="81" name="TextBox 80">
                  <a:extLst>
                    <a:ext uri="{FF2B5EF4-FFF2-40B4-BE49-F238E27FC236}">
                      <a16:creationId xmlns:a16="http://schemas.microsoft.com/office/drawing/2014/main" id="{2D2588F6-E406-43B3-9088-96EF82D1E705}"/>
                    </a:ext>
                  </a:extLst>
                </p:cNvPr>
                <p:cNvSpPr txBox="1"/>
                <p:nvPr/>
              </p:nvSpPr>
              <p:spPr>
                <a:xfrm>
                  <a:off x="1688448" y="6000154"/>
                  <a:ext cx="955704" cy="527144"/>
                </a:xfrm>
                <a:prstGeom prst="rect">
                  <a:avLst/>
                </a:prstGeom>
                <a:noFill/>
              </p:spPr>
              <p:txBody>
                <a:bodyPr wrap="square" lIns="137120" tIns="109696" rIns="137120" bIns="109696" rtlCol="0">
                  <a:spAutoFit/>
                </a:bodyPr>
                <a:lstStyle/>
                <a:p>
                  <a:pPr algn="ctr" defTabSz="822645">
                    <a:lnSpc>
                      <a:spcPct val="90000"/>
                    </a:lnSpc>
                    <a:spcAft>
                      <a:spcPts val="450"/>
                    </a:spcAft>
                    <a:defRPr/>
                  </a:pPr>
                  <a:r>
                    <a:rPr lang="en-US" sz="382">
                      <a:gradFill>
                        <a:gsLst>
                          <a:gs pos="5439">
                            <a:srgbClr val="FFFFFF"/>
                          </a:gs>
                          <a:gs pos="100000">
                            <a:srgbClr val="FFFFFF"/>
                          </a:gs>
                        </a:gsLst>
                        <a:lin ang="5400000" scaled="0"/>
                      </a:gradFill>
                      <a:latin typeface="Segoe UI Semibold" panose="020B0702040204020203" pitchFamily="34" charset="0"/>
                      <a:cs typeface="Segoe UI Semibold" panose="020B0702040204020203" pitchFamily="34" charset="0"/>
                    </a:rPr>
                    <a:t>2006</a:t>
                  </a:r>
                </a:p>
              </p:txBody>
            </p:sp>
            <p:sp>
              <p:nvSpPr>
                <p:cNvPr id="82" name="TextBox 81">
                  <a:extLst>
                    <a:ext uri="{FF2B5EF4-FFF2-40B4-BE49-F238E27FC236}">
                      <a16:creationId xmlns:a16="http://schemas.microsoft.com/office/drawing/2014/main" id="{2F71FE8C-B916-45DD-9C66-FB437162FC2A}"/>
                    </a:ext>
                  </a:extLst>
                </p:cNvPr>
                <p:cNvSpPr txBox="1"/>
                <p:nvPr/>
              </p:nvSpPr>
              <p:spPr>
                <a:xfrm>
                  <a:off x="2448180" y="6000158"/>
                  <a:ext cx="955704" cy="527144"/>
                </a:xfrm>
                <a:prstGeom prst="rect">
                  <a:avLst/>
                </a:prstGeom>
                <a:noFill/>
              </p:spPr>
              <p:txBody>
                <a:bodyPr wrap="square" lIns="137120" tIns="109696" rIns="137120" bIns="109696" rtlCol="0">
                  <a:spAutoFit/>
                </a:bodyPr>
                <a:lstStyle/>
                <a:p>
                  <a:pPr algn="ctr" defTabSz="822645">
                    <a:lnSpc>
                      <a:spcPct val="90000"/>
                    </a:lnSpc>
                    <a:spcAft>
                      <a:spcPts val="450"/>
                    </a:spcAft>
                    <a:defRPr/>
                  </a:pPr>
                  <a:r>
                    <a:rPr lang="en-US" sz="382">
                      <a:gradFill>
                        <a:gsLst>
                          <a:gs pos="5439">
                            <a:srgbClr val="FFFFFF"/>
                          </a:gs>
                          <a:gs pos="100000">
                            <a:srgbClr val="FFFFFF"/>
                          </a:gs>
                        </a:gsLst>
                        <a:lin ang="5400000" scaled="0"/>
                      </a:gradFill>
                      <a:latin typeface="Segoe UI Semibold" panose="020B0702040204020203" pitchFamily="34" charset="0"/>
                      <a:cs typeface="Segoe UI Semibold" panose="020B0702040204020203" pitchFamily="34" charset="0"/>
                    </a:rPr>
                    <a:t>2010</a:t>
                  </a:r>
                </a:p>
              </p:txBody>
            </p:sp>
          </p:grpSp>
        </p:grpSp>
      </p:grpSp>
      <p:sp>
        <p:nvSpPr>
          <p:cNvPr id="10" name="Picture Placeholder 3">
            <a:extLst>
              <a:ext uri="{FF2B5EF4-FFF2-40B4-BE49-F238E27FC236}">
                <a16:creationId xmlns:a16="http://schemas.microsoft.com/office/drawing/2014/main" id="{52F26A6E-EB0D-49B8-890B-83EC71F820C9}"/>
              </a:ext>
            </a:extLst>
          </p:cNvPr>
          <p:cNvSpPr txBox="1">
            <a:spLocks/>
          </p:cNvSpPr>
          <p:nvPr/>
        </p:nvSpPr>
        <p:spPr>
          <a:xfrm>
            <a:off x="4158649" y="2582765"/>
            <a:ext cx="1941711" cy="1941711"/>
          </a:xfrm>
          <a:prstGeom prst="rect">
            <a:avLst/>
          </a:prstGeom>
          <a:solidFill>
            <a:schemeClr val="tx1">
              <a:alpha val="63000"/>
            </a:schemeClr>
          </a:solidFill>
        </p:spPr>
        <p:txBody>
          <a:bodyP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713478">
              <a:lnSpc>
                <a:spcPct val="100000"/>
              </a:lnSpc>
              <a:spcBef>
                <a:spcPts val="612"/>
              </a:spcBef>
              <a:buNone/>
              <a:defRPr/>
            </a:pPr>
            <a:endParaRPr lang="en-US" sz="2448">
              <a:gradFill>
                <a:gsLst>
                  <a:gs pos="1250">
                    <a:srgbClr val="1A1A1A"/>
                  </a:gs>
                  <a:gs pos="100000">
                    <a:srgbClr val="1A1A1A"/>
                  </a:gs>
                </a:gsLst>
                <a:lin ang="5400000" scaled="0"/>
              </a:gradFill>
              <a:latin typeface="Segoe UI"/>
            </a:endParaRPr>
          </a:p>
        </p:txBody>
      </p:sp>
      <p:sp>
        <p:nvSpPr>
          <p:cNvPr id="4" name="Rectangle 3">
            <a:extLst>
              <a:ext uri="{FF2B5EF4-FFF2-40B4-BE49-F238E27FC236}">
                <a16:creationId xmlns:a16="http://schemas.microsoft.com/office/drawing/2014/main" id="{0F6AF89D-CBF6-4EA3-997F-873FA2CFE25E}"/>
              </a:ext>
            </a:extLst>
          </p:cNvPr>
          <p:cNvSpPr/>
          <p:nvPr/>
        </p:nvSpPr>
        <p:spPr>
          <a:xfrm>
            <a:off x="4162266" y="2950729"/>
            <a:ext cx="1941711" cy="1205782"/>
          </a:xfrm>
          <a:prstGeom prst="rect">
            <a:avLst/>
          </a:prstGeom>
        </p:spPr>
        <p:txBody>
          <a:bodyPr wrap="square" lIns="0" tIns="0" rIns="0" bIns="69945" anchor="ctr">
            <a:spAutoFit/>
          </a:bodyPr>
          <a:lstStyle/>
          <a:p>
            <a:pPr algn="ctr" defTabSz="699422">
              <a:defRPr/>
            </a:pPr>
            <a:r>
              <a:rPr lang="en-US" sz="3060" b="1" dirty="0">
                <a:gradFill>
                  <a:gsLst>
                    <a:gs pos="6079">
                      <a:srgbClr val="FFFFFF"/>
                    </a:gs>
                    <a:gs pos="18000">
                      <a:srgbClr val="FFFFFF"/>
                    </a:gs>
                  </a:gsLst>
                  <a:lin ang="5400000" scaled="0"/>
                </a:gradFill>
                <a:latin typeface="Segoe UI"/>
              </a:rPr>
              <a:t>5.</a:t>
            </a:r>
            <a:r>
              <a:rPr lang="en-US" sz="3060" b="1" spc="76" dirty="0">
                <a:gradFill>
                  <a:gsLst>
                    <a:gs pos="6079">
                      <a:srgbClr val="FFFFFF"/>
                    </a:gs>
                    <a:gs pos="18000">
                      <a:srgbClr val="FFFFFF"/>
                    </a:gs>
                  </a:gsLst>
                  <a:lin ang="5400000" scaled="0"/>
                </a:gradFill>
                <a:latin typeface="Segoe UI"/>
              </a:rPr>
              <a:t>1</a:t>
            </a:r>
            <a:r>
              <a:rPr lang="en-US" sz="1530" dirty="0">
                <a:gradFill>
                  <a:gsLst>
                    <a:gs pos="6079">
                      <a:srgbClr val="FFFFFF"/>
                    </a:gs>
                    <a:gs pos="18000">
                      <a:srgbClr val="FFFFFF"/>
                    </a:gs>
                  </a:gsLst>
                  <a:lin ang="5400000" scaled="0"/>
                </a:gradFill>
                <a:latin typeface="Segoe UI Semibold"/>
              </a:rPr>
              <a:t>%</a:t>
            </a:r>
          </a:p>
          <a:p>
            <a:pPr algn="ctr" defTabSz="699422">
              <a:spcBef>
                <a:spcPts val="306"/>
              </a:spcBef>
              <a:defRPr/>
            </a:pPr>
            <a:r>
              <a:rPr lang="en-US" sz="1224" dirty="0">
                <a:gradFill>
                  <a:gsLst>
                    <a:gs pos="6079">
                      <a:srgbClr val="FFFFFF"/>
                    </a:gs>
                    <a:gs pos="18000">
                      <a:srgbClr val="FFFFFF"/>
                    </a:gs>
                  </a:gsLst>
                  <a:lin ang="5400000" scaled="0"/>
                </a:gradFill>
                <a:latin typeface="Segoe UI Semibold"/>
              </a:rPr>
              <a:t>Switchboard speech </a:t>
            </a:r>
            <a:br>
              <a:rPr lang="en-US" sz="1224" dirty="0">
                <a:gradFill>
                  <a:gsLst>
                    <a:gs pos="6079">
                      <a:srgbClr val="FFFFFF"/>
                    </a:gs>
                    <a:gs pos="18000">
                      <a:srgbClr val="FFFFFF"/>
                    </a:gs>
                  </a:gsLst>
                  <a:lin ang="5400000" scaled="0"/>
                </a:gradFill>
                <a:latin typeface="Segoe UI Semibold"/>
              </a:rPr>
            </a:br>
            <a:r>
              <a:rPr lang="en-US" sz="1224" dirty="0">
                <a:gradFill>
                  <a:gsLst>
                    <a:gs pos="6079">
                      <a:srgbClr val="FFFFFF"/>
                    </a:gs>
                    <a:gs pos="18000">
                      <a:srgbClr val="FFFFFF"/>
                    </a:gs>
                  </a:gsLst>
                  <a:lin ang="5400000" scaled="0"/>
                </a:gradFill>
                <a:latin typeface="Segoe UI Semibold"/>
              </a:rPr>
              <a:t>recognition test</a:t>
            </a:r>
          </a:p>
          <a:p>
            <a:pPr algn="ctr" defTabSz="699422">
              <a:spcBef>
                <a:spcPts val="306"/>
              </a:spcBef>
              <a:defRPr/>
            </a:pPr>
            <a:r>
              <a:rPr lang="zh-CN" altLang="en-US" sz="1224" dirty="0">
                <a:gradFill>
                  <a:gsLst>
                    <a:gs pos="6079">
                      <a:srgbClr val="FFFFFF"/>
                    </a:gs>
                    <a:gs pos="18000">
                      <a:srgbClr val="FFFFFF"/>
                    </a:gs>
                  </a:gsLst>
                  <a:lin ang="5400000" scaled="0"/>
                </a:gradFill>
                <a:latin typeface="Segoe UI Semibold"/>
                <a:ea typeface="宋体" panose="02010600030101010101" pitchFamily="2" charset="-122"/>
              </a:rPr>
              <a:t>语音识别基准测试</a:t>
            </a:r>
            <a:endParaRPr lang="en-US" sz="1224" dirty="0">
              <a:gradFill>
                <a:gsLst>
                  <a:gs pos="6079">
                    <a:srgbClr val="FFFFFF"/>
                  </a:gs>
                  <a:gs pos="18000">
                    <a:srgbClr val="FFFFFF"/>
                  </a:gs>
                </a:gsLst>
                <a:lin ang="5400000" scaled="0"/>
              </a:gradFill>
              <a:latin typeface="Segoe UI Semibold"/>
            </a:endParaRPr>
          </a:p>
        </p:txBody>
      </p:sp>
      <p:pic>
        <p:nvPicPr>
          <p:cNvPr id="22" name="Picture Placeholder 5">
            <a:extLst>
              <a:ext uri="{FF2B5EF4-FFF2-40B4-BE49-F238E27FC236}">
                <a16:creationId xmlns:a16="http://schemas.microsoft.com/office/drawing/2014/main" id="{ACC9F148-7191-4D1F-BFD7-F1F346746F1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2000533" y="2579996"/>
            <a:ext cx="1944478" cy="1944478"/>
          </a:xfrm>
          <a:prstGeom prst="rect">
            <a:avLst/>
          </a:prstGeom>
        </p:spPr>
      </p:pic>
      <p:sp>
        <p:nvSpPr>
          <p:cNvPr id="8" name="Picture Placeholder 3">
            <a:extLst>
              <a:ext uri="{FF2B5EF4-FFF2-40B4-BE49-F238E27FC236}">
                <a16:creationId xmlns:a16="http://schemas.microsoft.com/office/drawing/2014/main" id="{552EF1FF-2914-4302-A272-AF8247F91D5D}"/>
              </a:ext>
            </a:extLst>
          </p:cNvPr>
          <p:cNvSpPr txBox="1">
            <a:spLocks/>
          </p:cNvSpPr>
          <p:nvPr/>
        </p:nvSpPr>
        <p:spPr>
          <a:xfrm>
            <a:off x="2005203" y="2576692"/>
            <a:ext cx="1945629" cy="1947781"/>
          </a:xfrm>
          <a:prstGeom prst="rect">
            <a:avLst/>
          </a:prstGeom>
          <a:solidFill>
            <a:schemeClr val="tx1">
              <a:alpha val="63000"/>
            </a:schemeClr>
          </a:solidFill>
        </p:spPr>
        <p:txBody>
          <a:bodyP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713478">
              <a:lnSpc>
                <a:spcPct val="100000"/>
              </a:lnSpc>
              <a:spcBef>
                <a:spcPts val="612"/>
              </a:spcBef>
              <a:buNone/>
              <a:defRPr/>
            </a:pPr>
            <a:endParaRPr lang="en-US" sz="2448">
              <a:gradFill>
                <a:gsLst>
                  <a:gs pos="1250">
                    <a:srgbClr val="1A1A1A"/>
                  </a:gs>
                  <a:gs pos="100000">
                    <a:srgbClr val="1A1A1A"/>
                  </a:gs>
                </a:gsLst>
                <a:lin ang="5400000" scaled="0"/>
              </a:gradFill>
              <a:latin typeface="Segoe UI"/>
            </a:endParaRPr>
          </a:p>
        </p:txBody>
      </p:sp>
      <p:sp>
        <p:nvSpPr>
          <p:cNvPr id="5" name="Rectangle 4">
            <a:extLst>
              <a:ext uri="{FF2B5EF4-FFF2-40B4-BE49-F238E27FC236}">
                <a16:creationId xmlns:a16="http://schemas.microsoft.com/office/drawing/2014/main" id="{39DC33C9-7FAF-4912-9C46-484D2C6E1539}"/>
              </a:ext>
            </a:extLst>
          </p:cNvPr>
          <p:cNvSpPr/>
          <p:nvPr/>
        </p:nvSpPr>
        <p:spPr>
          <a:xfrm>
            <a:off x="2000535" y="2950729"/>
            <a:ext cx="1941711" cy="1205782"/>
          </a:xfrm>
          <a:prstGeom prst="rect">
            <a:avLst/>
          </a:prstGeom>
        </p:spPr>
        <p:txBody>
          <a:bodyPr wrap="square" lIns="0" tIns="0" rIns="0" bIns="69945" anchor="ctr">
            <a:spAutoFit/>
          </a:bodyPr>
          <a:lstStyle/>
          <a:p>
            <a:pPr algn="ctr" defTabSz="699422">
              <a:defRPr/>
            </a:pPr>
            <a:r>
              <a:rPr lang="en-US" sz="3060" b="1" dirty="0">
                <a:gradFill>
                  <a:gsLst>
                    <a:gs pos="6079">
                      <a:srgbClr val="FFFFFF"/>
                    </a:gs>
                    <a:gs pos="18000">
                      <a:srgbClr val="FFFFFF"/>
                    </a:gs>
                  </a:gsLst>
                  <a:lin ang="5400000" scaled="0"/>
                </a:gradFill>
                <a:latin typeface="Segoe UI"/>
              </a:rPr>
              <a:t>9</a:t>
            </a:r>
            <a:r>
              <a:rPr lang="en-US" sz="3060" b="1" spc="76" dirty="0">
                <a:gradFill>
                  <a:gsLst>
                    <a:gs pos="6079">
                      <a:srgbClr val="FFFFFF"/>
                    </a:gs>
                    <a:gs pos="18000">
                      <a:srgbClr val="FFFFFF"/>
                    </a:gs>
                  </a:gsLst>
                  <a:lin ang="5400000" scaled="0"/>
                </a:gradFill>
                <a:latin typeface="Segoe UI"/>
              </a:rPr>
              <a:t>6</a:t>
            </a:r>
            <a:r>
              <a:rPr lang="en-US" sz="1530" dirty="0">
                <a:gradFill>
                  <a:gsLst>
                    <a:gs pos="6079">
                      <a:srgbClr val="FFFFFF"/>
                    </a:gs>
                    <a:gs pos="18000">
                      <a:srgbClr val="FFFFFF"/>
                    </a:gs>
                  </a:gsLst>
                  <a:lin ang="5400000" scaled="0"/>
                </a:gradFill>
                <a:latin typeface="Segoe UI Semibold"/>
              </a:rPr>
              <a:t>%</a:t>
            </a:r>
          </a:p>
          <a:p>
            <a:pPr algn="ctr" defTabSz="699422">
              <a:spcBef>
                <a:spcPts val="306"/>
              </a:spcBef>
              <a:defRPr/>
            </a:pPr>
            <a:r>
              <a:rPr lang="en-US" sz="1224" dirty="0">
                <a:gradFill>
                  <a:gsLst>
                    <a:gs pos="6079">
                      <a:srgbClr val="FFFFFF"/>
                    </a:gs>
                    <a:gs pos="18000">
                      <a:srgbClr val="FFFFFF"/>
                    </a:gs>
                  </a:gsLst>
                  <a:lin ang="5400000" scaled="0"/>
                </a:gradFill>
                <a:latin typeface="Segoe UI Semibold"/>
              </a:rPr>
              <a:t>RESNET vision test </a:t>
            </a:r>
            <a:br>
              <a:rPr lang="en-US" sz="1224" dirty="0">
                <a:gradFill>
                  <a:gsLst>
                    <a:gs pos="6079">
                      <a:srgbClr val="FFFFFF"/>
                    </a:gs>
                    <a:gs pos="18000">
                      <a:srgbClr val="FFFFFF"/>
                    </a:gs>
                  </a:gsLst>
                  <a:lin ang="5400000" scaled="0"/>
                </a:gradFill>
                <a:latin typeface="Segoe UI Semibold"/>
              </a:rPr>
            </a:br>
            <a:r>
              <a:rPr lang="en-US" altLang="zh-CN" sz="1224" dirty="0">
                <a:gradFill>
                  <a:gsLst>
                    <a:gs pos="6079">
                      <a:srgbClr val="FFFFFF"/>
                    </a:gs>
                    <a:gs pos="18000">
                      <a:srgbClr val="FFFFFF"/>
                    </a:gs>
                  </a:gsLst>
                  <a:lin ang="5400000" scaled="0"/>
                </a:gradFill>
                <a:latin typeface="Segoe UI Semibold"/>
                <a:ea typeface="宋体" panose="02010600030101010101" pitchFamily="2" charset="-122"/>
              </a:rPr>
              <a:t>152</a:t>
            </a:r>
            <a:r>
              <a:rPr lang="zh-CN" altLang="en-US" sz="1224" dirty="0">
                <a:gradFill>
                  <a:gsLst>
                    <a:gs pos="6079">
                      <a:srgbClr val="FFFFFF"/>
                    </a:gs>
                    <a:gs pos="18000">
                      <a:srgbClr val="FFFFFF"/>
                    </a:gs>
                  </a:gsLst>
                  <a:lin ang="5400000" scaled="0"/>
                </a:gradFill>
                <a:latin typeface="Segoe UI Semibold"/>
                <a:ea typeface="宋体" panose="02010600030101010101" pitchFamily="2" charset="-122"/>
              </a:rPr>
              <a:t>层残差网络</a:t>
            </a:r>
            <a:endParaRPr lang="en-US" altLang="zh-CN" sz="1224" dirty="0">
              <a:gradFill>
                <a:gsLst>
                  <a:gs pos="6079">
                    <a:srgbClr val="FFFFFF"/>
                  </a:gs>
                  <a:gs pos="18000">
                    <a:srgbClr val="FFFFFF"/>
                  </a:gs>
                </a:gsLst>
                <a:lin ang="5400000" scaled="0"/>
              </a:gradFill>
              <a:latin typeface="Segoe UI Semibold"/>
              <a:ea typeface="宋体" panose="02010600030101010101" pitchFamily="2" charset="-122"/>
            </a:endParaRPr>
          </a:p>
          <a:p>
            <a:pPr algn="ctr" defTabSz="699422">
              <a:spcBef>
                <a:spcPts val="306"/>
              </a:spcBef>
              <a:defRPr/>
            </a:pPr>
            <a:r>
              <a:rPr lang="zh-CN" altLang="en-US" sz="1224" dirty="0">
                <a:gradFill>
                  <a:gsLst>
                    <a:gs pos="6079">
                      <a:srgbClr val="FFFFFF"/>
                    </a:gs>
                    <a:gs pos="18000">
                      <a:srgbClr val="FFFFFF"/>
                    </a:gs>
                  </a:gsLst>
                  <a:lin ang="5400000" scaled="0"/>
                </a:gradFill>
                <a:latin typeface="Segoe UI Semibold"/>
                <a:ea typeface="宋体" panose="02010600030101010101" pitchFamily="2" charset="-122"/>
              </a:rPr>
              <a:t>图像识别</a:t>
            </a:r>
            <a:endParaRPr lang="en-US" sz="1224" dirty="0">
              <a:gradFill>
                <a:gsLst>
                  <a:gs pos="6079">
                    <a:srgbClr val="FFFFFF"/>
                  </a:gs>
                  <a:gs pos="18000">
                    <a:srgbClr val="FFFFFF"/>
                  </a:gs>
                </a:gsLst>
                <a:lin ang="5400000" scaled="0"/>
              </a:gradFill>
              <a:latin typeface="Segoe UI Semibold"/>
            </a:endParaRPr>
          </a:p>
        </p:txBody>
      </p:sp>
      <p:pic>
        <p:nvPicPr>
          <p:cNvPr id="23" name="Picture 22" descr="A picture containing wall, clock, object&#10;&#10;Description generated with high confidence">
            <a:extLst>
              <a:ext uri="{FF2B5EF4-FFF2-40B4-BE49-F238E27FC236}">
                <a16:creationId xmlns:a16="http://schemas.microsoft.com/office/drawing/2014/main" id="{D2589209-BBB1-42F1-A28A-5A9C29484765}"/>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454937" y="2579995"/>
            <a:ext cx="1944478" cy="1944478"/>
          </a:xfrm>
          <a:prstGeom prst="rect">
            <a:avLst/>
          </a:prstGeom>
        </p:spPr>
      </p:pic>
      <p:sp>
        <p:nvSpPr>
          <p:cNvPr id="12" name="Picture Placeholder 3">
            <a:extLst>
              <a:ext uri="{FF2B5EF4-FFF2-40B4-BE49-F238E27FC236}">
                <a16:creationId xmlns:a16="http://schemas.microsoft.com/office/drawing/2014/main" id="{A80D757E-63A5-48BD-ADBF-1228B9B2794E}"/>
              </a:ext>
            </a:extLst>
          </p:cNvPr>
          <p:cNvSpPr txBox="1">
            <a:spLocks/>
          </p:cNvSpPr>
          <p:nvPr/>
        </p:nvSpPr>
        <p:spPr>
          <a:xfrm>
            <a:off x="8457705" y="2582764"/>
            <a:ext cx="1941711" cy="1941711"/>
          </a:xfrm>
          <a:prstGeom prst="rect">
            <a:avLst/>
          </a:prstGeom>
          <a:solidFill>
            <a:schemeClr val="tx1">
              <a:alpha val="63000"/>
            </a:schemeClr>
          </a:solidFill>
        </p:spPr>
        <p:txBody>
          <a:bodyP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713478">
              <a:lnSpc>
                <a:spcPct val="100000"/>
              </a:lnSpc>
              <a:spcBef>
                <a:spcPts val="612"/>
              </a:spcBef>
              <a:buNone/>
              <a:defRPr/>
            </a:pPr>
            <a:endParaRPr lang="en-US" sz="2448">
              <a:gradFill>
                <a:gsLst>
                  <a:gs pos="1250">
                    <a:srgbClr val="1A1A1A"/>
                  </a:gs>
                  <a:gs pos="100000">
                    <a:srgbClr val="1A1A1A"/>
                  </a:gs>
                </a:gsLst>
                <a:lin ang="5400000" scaled="0"/>
              </a:gradFill>
              <a:latin typeface="Segoe UI"/>
            </a:endParaRPr>
          </a:p>
        </p:txBody>
      </p:sp>
      <p:sp>
        <p:nvSpPr>
          <p:cNvPr id="6" name="Rectangle 5">
            <a:extLst>
              <a:ext uri="{FF2B5EF4-FFF2-40B4-BE49-F238E27FC236}">
                <a16:creationId xmlns:a16="http://schemas.microsoft.com/office/drawing/2014/main" id="{3B2BF234-359F-4D5F-86D6-01F7A3A24A9F}"/>
              </a:ext>
            </a:extLst>
          </p:cNvPr>
          <p:cNvSpPr/>
          <p:nvPr/>
        </p:nvSpPr>
        <p:spPr>
          <a:xfrm>
            <a:off x="8456973" y="2950729"/>
            <a:ext cx="1941711" cy="1205782"/>
          </a:xfrm>
          <a:prstGeom prst="rect">
            <a:avLst/>
          </a:prstGeom>
        </p:spPr>
        <p:txBody>
          <a:bodyPr wrap="square" lIns="0" tIns="0" rIns="0" bIns="69945" anchor="ctr">
            <a:spAutoFit/>
          </a:bodyPr>
          <a:lstStyle/>
          <a:p>
            <a:pPr algn="ctr" defTabSz="699422">
              <a:defRPr/>
            </a:pPr>
            <a:r>
              <a:rPr lang="en-US" sz="3060" b="1" dirty="0">
                <a:gradFill>
                  <a:gsLst>
                    <a:gs pos="6079">
                      <a:srgbClr val="FFFFFF"/>
                    </a:gs>
                    <a:gs pos="18000">
                      <a:srgbClr val="FFFFFF"/>
                    </a:gs>
                  </a:gsLst>
                  <a:lin ang="5400000" scaled="0"/>
                </a:gradFill>
                <a:latin typeface="Segoe UI"/>
              </a:rPr>
              <a:t>88.</a:t>
            </a:r>
            <a:r>
              <a:rPr lang="en-US" sz="3060" b="1" spc="76" dirty="0">
                <a:gradFill>
                  <a:gsLst>
                    <a:gs pos="6079">
                      <a:srgbClr val="FFFFFF"/>
                    </a:gs>
                    <a:gs pos="18000">
                      <a:srgbClr val="FFFFFF"/>
                    </a:gs>
                  </a:gsLst>
                  <a:lin ang="5400000" scaled="0"/>
                </a:gradFill>
                <a:latin typeface="Segoe UI"/>
              </a:rPr>
              <a:t>5</a:t>
            </a:r>
            <a:r>
              <a:rPr lang="en-US" sz="1530" dirty="0">
                <a:gradFill>
                  <a:gsLst>
                    <a:gs pos="6079">
                      <a:srgbClr val="FFFFFF"/>
                    </a:gs>
                    <a:gs pos="18000">
                      <a:srgbClr val="FFFFFF"/>
                    </a:gs>
                  </a:gsLst>
                  <a:lin ang="5400000" scaled="0"/>
                </a:gradFill>
                <a:latin typeface="Segoe UI Semibold"/>
              </a:rPr>
              <a:t>%</a:t>
            </a:r>
          </a:p>
          <a:p>
            <a:pPr algn="ctr" defTabSz="699422">
              <a:spcBef>
                <a:spcPts val="306"/>
              </a:spcBef>
              <a:defRPr/>
            </a:pPr>
            <a:r>
              <a:rPr lang="en-US" sz="1224" dirty="0" err="1">
                <a:gradFill>
                  <a:gsLst>
                    <a:gs pos="6079">
                      <a:srgbClr val="FFFFFF"/>
                    </a:gs>
                    <a:gs pos="18000">
                      <a:srgbClr val="FFFFFF"/>
                    </a:gs>
                  </a:gsLst>
                  <a:lin ang="5400000" scaled="0"/>
                </a:gradFill>
                <a:latin typeface="Segoe UI Semibold"/>
              </a:rPr>
              <a:t>SQuAD</a:t>
            </a:r>
            <a:r>
              <a:rPr lang="en-US" sz="1224" dirty="0">
                <a:gradFill>
                  <a:gsLst>
                    <a:gs pos="6079">
                      <a:srgbClr val="FFFFFF"/>
                    </a:gs>
                    <a:gs pos="18000">
                      <a:srgbClr val="FFFFFF"/>
                    </a:gs>
                  </a:gsLst>
                  <a:lin ang="5400000" scaled="0"/>
                </a:gradFill>
                <a:latin typeface="Segoe UI Semibold"/>
              </a:rPr>
              <a:t> reading </a:t>
            </a:r>
            <a:br>
              <a:rPr lang="en-US" sz="1224" dirty="0">
                <a:gradFill>
                  <a:gsLst>
                    <a:gs pos="6079">
                      <a:srgbClr val="FFFFFF"/>
                    </a:gs>
                    <a:gs pos="18000">
                      <a:srgbClr val="FFFFFF"/>
                    </a:gs>
                  </a:gsLst>
                  <a:lin ang="5400000" scaled="0"/>
                </a:gradFill>
                <a:latin typeface="Segoe UI Semibold"/>
              </a:rPr>
            </a:br>
            <a:r>
              <a:rPr lang="en-US" sz="1224" dirty="0">
                <a:gradFill>
                  <a:gsLst>
                    <a:gs pos="6079">
                      <a:srgbClr val="FFFFFF"/>
                    </a:gs>
                    <a:gs pos="18000">
                      <a:srgbClr val="FFFFFF"/>
                    </a:gs>
                  </a:gsLst>
                  <a:lin ang="5400000" scaled="0"/>
                </a:gradFill>
                <a:latin typeface="Segoe UI Semibold"/>
              </a:rPr>
              <a:t>comprehension test</a:t>
            </a:r>
          </a:p>
          <a:p>
            <a:pPr algn="ctr" defTabSz="699422">
              <a:spcBef>
                <a:spcPts val="306"/>
              </a:spcBef>
              <a:defRPr/>
            </a:pPr>
            <a:r>
              <a:rPr lang="en-US" altLang="zh-CN" sz="1224" dirty="0" err="1">
                <a:gradFill>
                  <a:gsLst>
                    <a:gs pos="6079">
                      <a:srgbClr val="FFFFFF"/>
                    </a:gs>
                    <a:gs pos="18000">
                      <a:srgbClr val="FFFFFF"/>
                    </a:gs>
                  </a:gsLst>
                  <a:lin ang="5400000" scaled="0"/>
                </a:gradFill>
                <a:latin typeface="Segoe UI Semibold"/>
                <a:ea typeface="宋体" panose="02010600030101010101" pitchFamily="2" charset="-122"/>
              </a:rPr>
              <a:t>文本理解</a:t>
            </a:r>
            <a:r>
              <a:rPr lang="zh-CN" altLang="en-US" sz="1224" dirty="0">
                <a:gradFill>
                  <a:gsLst>
                    <a:gs pos="6079">
                      <a:srgbClr val="FFFFFF"/>
                    </a:gs>
                    <a:gs pos="18000">
                      <a:srgbClr val="FFFFFF"/>
                    </a:gs>
                  </a:gsLst>
                  <a:lin ang="5400000" scaled="0"/>
                </a:gradFill>
                <a:latin typeface="Segoe UI Semibold"/>
                <a:ea typeface="宋体" panose="02010600030101010101" pitchFamily="2" charset="-122"/>
              </a:rPr>
              <a:t>测试</a:t>
            </a:r>
            <a:endParaRPr lang="en-US" sz="1224" dirty="0">
              <a:gradFill>
                <a:gsLst>
                  <a:gs pos="6079">
                    <a:srgbClr val="FFFFFF"/>
                  </a:gs>
                  <a:gs pos="18000">
                    <a:srgbClr val="FFFFFF"/>
                  </a:gs>
                </a:gsLst>
                <a:lin ang="5400000" scaled="0"/>
              </a:gradFill>
              <a:latin typeface="Segoe UI Semibold"/>
            </a:endParaRPr>
          </a:p>
        </p:txBody>
      </p:sp>
      <p:pic>
        <p:nvPicPr>
          <p:cNvPr id="21" name="Picture 20">
            <a:extLst>
              <a:ext uri="{FF2B5EF4-FFF2-40B4-BE49-F238E27FC236}">
                <a16:creationId xmlns:a16="http://schemas.microsoft.com/office/drawing/2014/main" id="{3346C6DB-95F8-4D99-94CE-0DEE08F3155D}"/>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298249" y="2576693"/>
            <a:ext cx="1944828" cy="1947781"/>
          </a:xfrm>
          <a:prstGeom prst="rect">
            <a:avLst/>
          </a:prstGeom>
        </p:spPr>
      </p:pic>
      <p:sp>
        <p:nvSpPr>
          <p:cNvPr id="86" name="Picture Placeholder 3">
            <a:extLst>
              <a:ext uri="{FF2B5EF4-FFF2-40B4-BE49-F238E27FC236}">
                <a16:creationId xmlns:a16="http://schemas.microsoft.com/office/drawing/2014/main" id="{E213A3DE-8923-416A-AFE4-8F792724DEE4}"/>
              </a:ext>
            </a:extLst>
          </p:cNvPr>
          <p:cNvSpPr txBox="1">
            <a:spLocks/>
          </p:cNvSpPr>
          <p:nvPr/>
        </p:nvSpPr>
        <p:spPr>
          <a:xfrm>
            <a:off x="6298249" y="2579160"/>
            <a:ext cx="1944828" cy="1945312"/>
          </a:xfrm>
          <a:prstGeom prst="rect">
            <a:avLst/>
          </a:prstGeom>
          <a:solidFill>
            <a:schemeClr val="tx1">
              <a:alpha val="63000"/>
            </a:schemeClr>
          </a:solidFill>
        </p:spPr>
        <p:txBody>
          <a:bodyP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713478">
              <a:lnSpc>
                <a:spcPct val="100000"/>
              </a:lnSpc>
              <a:spcBef>
                <a:spcPts val="612"/>
              </a:spcBef>
              <a:buNone/>
              <a:defRPr/>
            </a:pPr>
            <a:endParaRPr lang="en-US" sz="2448">
              <a:gradFill>
                <a:gsLst>
                  <a:gs pos="1250">
                    <a:srgbClr val="1A1A1A"/>
                  </a:gs>
                  <a:gs pos="100000">
                    <a:srgbClr val="1A1A1A"/>
                  </a:gs>
                </a:gsLst>
                <a:lin ang="5400000" scaled="0"/>
              </a:gradFill>
              <a:latin typeface="Segoe UI"/>
            </a:endParaRPr>
          </a:p>
        </p:txBody>
      </p:sp>
      <p:sp>
        <p:nvSpPr>
          <p:cNvPr id="7" name="Rectangle 6">
            <a:extLst>
              <a:ext uri="{FF2B5EF4-FFF2-40B4-BE49-F238E27FC236}">
                <a16:creationId xmlns:a16="http://schemas.microsoft.com/office/drawing/2014/main" id="{AC3A481D-920B-4348-BE14-B850696F904D}"/>
              </a:ext>
            </a:extLst>
          </p:cNvPr>
          <p:cNvSpPr/>
          <p:nvPr/>
        </p:nvSpPr>
        <p:spPr>
          <a:xfrm>
            <a:off x="6302162" y="2981638"/>
            <a:ext cx="1944139" cy="1245020"/>
          </a:xfrm>
          <a:prstGeom prst="rect">
            <a:avLst/>
          </a:prstGeom>
        </p:spPr>
        <p:txBody>
          <a:bodyPr wrap="square" lIns="0" tIns="0" rIns="0" bIns="69945" anchor="t">
            <a:spAutoFit/>
          </a:bodyPr>
          <a:lstStyle/>
          <a:p>
            <a:pPr algn="ctr" defTabSz="699422">
              <a:defRPr/>
            </a:pPr>
            <a:r>
              <a:rPr lang="en-US" sz="3060" b="1" dirty="0">
                <a:gradFill>
                  <a:gsLst>
                    <a:gs pos="6079">
                      <a:srgbClr val="FFFFFF"/>
                    </a:gs>
                    <a:gs pos="18000">
                      <a:srgbClr val="FFFFFF"/>
                    </a:gs>
                  </a:gsLst>
                  <a:lin ang="5400000" scaled="0"/>
                </a:gradFill>
                <a:latin typeface="Segoe UI"/>
              </a:rPr>
              <a:t>69.</a:t>
            </a:r>
            <a:r>
              <a:rPr lang="en-US" sz="3060" b="1" spc="76" dirty="0">
                <a:gradFill>
                  <a:gsLst>
                    <a:gs pos="6079">
                      <a:srgbClr val="FFFFFF"/>
                    </a:gs>
                    <a:gs pos="18000">
                      <a:srgbClr val="FFFFFF"/>
                    </a:gs>
                  </a:gsLst>
                  <a:lin ang="5400000" scaled="0"/>
                </a:gradFill>
                <a:latin typeface="Segoe UI"/>
              </a:rPr>
              <a:t>9</a:t>
            </a:r>
            <a:r>
              <a:rPr lang="en-US" sz="1530" dirty="0">
                <a:gradFill>
                  <a:gsLst>
                    <a:gs pos="6079">
                      <a:srgbClr val="FFFFFF"/>
                    </a:gs>
                    <a:gs pos="18000">
                      <a:srgbClr val="FFFFFF"/>
                    </a:gs>
                  </a:gsLst>
                  <a:lin ang="5400000" scaled="0"/>
                </a:gradFill>
                <a:latin typeface="Segoe UI Semibold"/>
              </a:rPr>
              <a:t>%</a:t>
            </a:r>
          </a:p>
          <a:p>
            <a:pPr algn="ctr" defTabSz="699422">
              <a:spcBef>
                <a:spcPts val="306"/>
              </a:spcBef>
              <a:defRPr/>
            </a:pPr>
            <a:r>
              <a:rPr lang="en-US" altLang="en-US" sz="1224" dirty="0">
                <a:gradFill>
                  <a:gsLst>
                    <a:gs pos="6079">
                      <a:srgbClr val="FFFFFF"/>
                    </a:gs>
                    <a:gs pos="18000">
                      <a:srgbClr val="FFFFFF"/>
                    </a:gs>
                  </a:gsLst>
                  <a:lin ang="5400000" scaled="0"/>
                </a:gradFill>
                <a:latin typeface="Segoe UI Semibold"/>
              </a:rPr>
              <a:t>MT research system</a:t>
            </a:r>
          </a:p>
          <a:p>
            <a:pPr algn="ctr" defTabSz="699422">
              <a:spcBef>
                <a:spcPts val="306"/>
              </a:spcBef>
              <a:defRPr/>
            </a:pPr>
            <a:r>
              <a:rPr lang="en-US" altLang="en-US" sz="1224" dirty="0" err="1">
                <a:gradFill>
                  <a:gsLst>
                    <a:gs pos="6079">
                      <a:srgbClr val="FFFFFF"/>
                    </a:gs>
                    <a:gs pos="18000">
                      <a:srgbClr val="FFFFFF"/>
                    </a:gs>
                  </a:gsLst>
                  <a:lin ang="5400000" scaled="0"/>
                </a:gradFill>
                <a:latin typeface="Segoe UI Semibold"/>
              </a:rPr>
              <a:t>机器翻译</a:t>
            </a:r>
            <a:endParaRPr lang="en-US" altLang="en-US" sz="1224" dirty="0">
              <a:gradFill>
                <a:gsLst>
                  <a:gs pos="6079">
                    <a:srgbClr val="FFFFFF"/>
                  </a:gs>
                  <a:gs pos="18000">
                    <a:srgbClr val="FFFFFF"/>
                  </a:gs>
                </a:gsLst>
                <a:lin ang="5400000" scaled="0"/>
              </a:gradFill>
              <a:latin typeface="Segoe UI Semibold"/>
            </a:endParaRPr>
          </a:p>
          <a:p>
            <a:pPr algn="ctr" defTabSz="699422">
              <a:spcBef>
                <a:spcPts val="306"/>
              </a:spcBef>
              <a:defRPr/>
            </a:pPr>
            <a:r>
              <a:rPr lang="en-US" altLang="en-US" sz="1224" dirty="0" err="1">
                <a:gradFill>
                  <a:gsLst>
                    <a:gs pos="6079">
                      <a:srgbClr val="FFFFFF"/>
                    </a:gs>
                    <a:gs pos="18000">
                      <a:srgbClr val="FFFFFF"/>
                    </a:gs>
                  </a:gsLst>
                  <a:lin ang="5400000" scaled="0"/>
                </a:gradFill>
                <a:latin typeface="Segoe UI Semibold"/>
              </a:rPr>
              <a:t>研究系统</a:t>
            </a:r>
            <a:endParaRPr lang="en-US" altLang="en-US" sz="1224" dirty="0">
              <a:gradFill>
                <a:gsLst>
                  <a:gs pos="6079">
                    <a:srgbClr val="FFFFFF"/>
                  </a:gs>
                  <a:gs pos="18000">
                    <a:srgbClr val="FFFFFF"/>
                  </a:gs>
                </a:gsLst>
                <a:lin ang="5400000" scaled="0"/>
              </a:gradFill>
              <a:latin typeface="Segoe UI Semibold"/>
            </a:endParaRPr>
          </a:p>
        </p:txBody>
      </p:sp>
      <p:sp>
        <p:nvSpPr>
          <p:cNvPr id="83" name="Title 3">
            <a:extLst>
              <a:ext uri="{FF2B5EF4-FFF2-40B4-BE49-F238E27FC236}">
                <a16:creationId xmlns:a16="http://schemas.microsoft.com/office/drawing/2014/main" id="{FEFBC5C9-EFFC-497C-A6F6-40044501EE44}"/>
              </a:ext>
            </a:extLst>
          </p:cNvPr>
          <p:cNvSpPr txBox="1">
            <a:spLocks/>
          </p:cNvSpPr>
          <p:nvPr/>
        </p:nvSpPr>
        <p:spPr bwMode="auto">
          <a:xfrm>
            <a:off x="1998975" y="4588085"/>
            <a:ext cx="1944829" cy="556525"/>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713478">
              <a:lnSpc>
                <a:spcPct val="100000"/>
              </a:lnSpc>
              <a:spcBef>
                <a:spcPts val="612"/>
              </a:spcBef>
              <a:defRPr/>
            </a:pPr>
            <a:r>
              <a:rPr lang="en-US" sz="1071" b="1" spc="0" dirty="0">
                <a:solidFill>
                  <a:srgbClr val="0078D4"/>
                </a:solidFill>
                <a:latin typeface="Segoe UI Semibold"/>
              </a:rPr>
              <a:t>2016</a:t>
            </a:r>
          </a:p>
          <a:p>
            <a:pPr defTabSz="713478">
              <a:lnSpc>
                <a:spcPct val="100000"/>
              </a:lnSpc>
              <a:spcBef>
                <a:spcPts val="382"/>
              </a:spcBef>
              <a:spcAft>
                <a:spcPts val="450"/>
              </a:spcAft>
              <a:defRPr/>
            </a:pPr>
            <a:r>
              <a:rPr lang="en-US" sz="1071" spc="0" dirty="0">
                <a:gradFill>
                  <a:gsLst>
                    <a:gs pos="1250">
                      <a:srgbClr val="1A1A1A"/>
                    </a:gs>
                    <a:gs pos="100000">
                      <a:srgbClr val="1A1A1A"/>
                    </a:gs>
                  </a:gsLst>
                  <a:lin ang="5400000" scaled="0"/>
                </a:gradFill>
              </a:rPr>
              <a:t>Object recognition </a:t>
            </a:r>
            <a:br>
              <a:rPr lang="en-US" sz="1071" spc="0" dirty="0">
                <a:gradFill>
                  <a:gsLst>
                    <a:gs pos="1250">
                      <a:srgbClr val="1A1A1A"/>
                    </a:gs>
                    <a:gs pos="100000">
                      <a:srgbClr val="1A1A1A"/>
                    </a:gs>
                  </a:gsLst>
                  <a:lin ang="5400000" scaled="0"/>
                </a:gradFill>
              </a:rPr>
            </a:br>
            <a:r>
              <a:rPr lang="en-US" sz="1071" spc="0" dirty="0">
                <a:gradFill>
                  <a:gsLst>
                    <a:gs pos="1250">
                      <a:srgbClr val="1A1A1A"/>
                    </a:gs>
                    <a:gs pos="100000">
                      <a:srgbClr val="1A1A1A"/>
                    </a:gs>
                  </a:gsLst>
                  <a:lin ang="5400000" scaled="0"/>
                </a:gradFill>
              </a:rPr>
              <a:t>Human parity</a:t>
            </a:r>
          </a:p>
        </p:txBody>
      </p:sp>
      <p:sp>
        <p:nvSpPr>
          <p:cNvPr id="88" name="Title 3">
            <a:extLst>
              <a:ext uri="{FF2B5EF4-FFF2-40B4-BE49-F238E27FC236}">
                <a16:creationId xmlns:a16="http://schemas.microsoft.com/office/drawing/2014/main" id="{41C2BA86-8259-4213-84EE-22B2D433BE68}"/>
              </a:ext>
            </a:extLst>
          </p:cNvPr>
          <p:cNvSpPr txBox="1">
            <a:spLocks/>
          </p:cNvSpPr>
          <p:nvPr/>
        </p:nvSpPr>
        <p:spPr bwMode="auto">
          <a:xfrm>
            <a:off x="4148359" y="4588085"/>
            <a:ext cx="1944829" cy="556525"/>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713478">
              <a:lnSpc>
                <a:spcPct val="100000"/>
              </a:lnSpc>
              <a:spcBef>
                <a:spcPts val="612"/>
              </a:spcBef>
              <a:defRPr/>
            </a:pPr>
            <a:r>
              <a:rPr lang="en-US" sz="1071" b="1" spc="0">
                <a:solidFill>
                  <a:srgbClr val="0078D4"/>
                </a:solidFill>
                <a:latin typeface="Segoe UI Semibold"/>
              </a:rPr>
              <a:t>2017</a:t>
            </a:r>
          </a:p>
          <a:p>
            <a:pPr defTabSz="713478">
              <a:lnSpc>
                <a:spcPct val="100000"/>
              </a:lnSpc>
              <a:spcBef>
                <a:spcPts val="382"/>
              </a:spcBef>
              <a:defRPr/>
            </a:pPr>
            <a:r>
              <a:rPr lang="en-US" sz="1071" spc="0">
                <a:gradFill>
                  <a:gsLst>
                    <a:gs pos="1250">
                      <a:srgbClr val="1A1A1A"/>
                    </a:gs>
                    <a:gs pos="100000">
                      <a:srgbClr val="1A1A1A"/>
                    </a:gs>
                  </a:gsLst>
                  <a:lin ang="5400000" scaled="0"/>
                </a:gradFill>
              </a:rPr>
              <a:t>Speech recognition</a:t>
            </a:r>
            <a:br>
              <a:rPr lang="en-US" sz="1071" spc="0">
                <a:gradFill>
                  <a:gsLst>
                    <a:gs pos="1250">
                      <a:srgbClr val="1A1A1A"/>
                    </a:gs>
                    <a:gs pos="100000">
                      <a:srgbClr val="1A1A1A"/>
                    </a:gs>
                  </a:gsLst>
                  <a:lin ang="5400000" scaled="0"/>
                </a:gradFill>
              </a:rPr>
            </a:br>
            <a:r>
              <a:rPr lang="en-US" sz="1071" spc="0">
                <a:gradFill>
                  <a:gsLst>
                    <a:gs pos="1250">
                      <a:srgbClr val="1A1A1A"/>
                    </a:gs>
                    <a:gs pos="100000">
                      <a:srgbClr val="1A1A1A"/>
                    </a:gs>
                  </a:gsLst>
                  <a:lin ang="5400000" scaled="0"/>
                </a:gradFill>
              </a:rPr>
              <a:t>Human parity</a:t>
            </a:r>
          </a:p>
        </p:txBody>
      </p:sp>
      <p:sp>
        <p:nvSpPr>
          <p:cNvPr id="89" name="Title 3">
            <a:extLst>
              <a:ext uri="{FF2B5EF4-FFF2-40B4-BE49-F238E27FC236}">
                <a16:creationId xmlns:a16="http://schemas.microsoft.com/office/drawing/2014/main" id="{5F636AAF-BC26-48AD-B941-4D3D40B20F7B}"/>
              </a:ext>
            </a:extLst>
          </p:cNvPr>
          <p:cNvSpPr txBox="1">
            <a:spLocks/>
          </p:cNvSpPr>
          <p:nvPr/>
        </p:nvSpPr>
        <p:spPr bwMode="auto">
          <a:xfrm>
            <a:off x="8454589" y="4588085"/>
            <a:ext cx="2034359" cy="556525"/>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713478">
              <a:lnSpc>
                <a:spcPct val="100000"/>
              </a:lnSpc>
              <a:spcBef>
                <a:spcPts val="612"/>
              </a:spcBef>
              <a:defRPr/>
            </a:pPr>
            <a:r>
              <a:rPr lang="en-US" sz="1071" b="1" spc="0">
                <a:solidFill>
                  <a:srgbClr val="0078D4"/>
                </a:solidFill>
                <a:latin typeface="Segoe UI Semibold"/>
              </a:rPr>
              <a:t>January 2018</a:t>
            </a:r>
          </a:p>
          <a:p>
            <a:pPr defTabSz="713478">
              <a:lnSpc>
                <a:spcPct val="100000"/>
              </a:lnSpc>
              <a:spcBef>
                <a:spcPts val="382"/>
              </a:spcBef>
              <a:defRPr/>
            </a:pPr>
            <a:r>
              <a:rPr lang="en-US" sz="1071" spc="0">
                <a:gradFill>
                  <a:gsLst>
                    <a:gs pos="1250">
                      <a:srgbClr val="1A1A1A"/>
                    </a:gs>
                    <a:gs pos="100000">
                      <a:srgbClr val="1A1A1A"/>
                    </a:gs>
                  </a:gsLst>
                  <a:lin ang="5400000" scaled="0"/>
                </a:gradFill>
              </a:rPr>
              <a:t>Machine reading comprehension</a:t>
            </a:r>
            <a:br>
              <a:rPr lang="en-US" sz="1071" spc="0">
                <a:gradFill>
                  <a:gsLst>
                    <a:gs pos="1250">
                      <a:srgbClr val="1A1A1A"/>
                    </a:gs>
                    <a:gs pos="100000">
                      <a:srgbClr val="1A1A1A"/>
                    </a:gs>
                  </a:gsLst>
                  <a:lin ang="5400000" scaled="0"/>
                </a:gradFill>
              </a:rPr>
            </a:br>
            <a:r>
              <a:rPr lang="en-US" sz="1071" spc="0">
                <a:gradFill>
                  <a:gsLst>
                    <a:gs pos="1250">
                      <a:srgbClr val="1A1A1A"/>
                    </a:gs>
                    <a:gs pos="100000">
                      <a:srgbClr val="1A1A1A"/>
                    </a:gs>
                  </a:gsLst>
                  <a:lin ang="5400000" scaled="0"/>
                </a:gradFill>
              </a:rPr>
              <a:t>Human parity </a:t>
            </a:r>
          </a:p>
        </p:txBody>
      </p:sp>
      <p:sp>
        <p:nvSpPr>
          <p:cNvPr id="90" name="Title 3">
            <a:extLst>
              <a:ext uri="{FF2B5EF4-FFF2-40B4-BE49-F238E27FC236}">
                <a16:creationId xmlns:a16="http://schemas.microsoft.com/office/drawing/2014/main" id="{9141F492-6725-47D4-A423-4702DD2AEBD4}"/>
              </a:ext>
            </a:extLst>
          </p:cNvPr>
          <p:cNvSpPr txBox="1">
            <a:spLocks/>
          </p:cNvSpPr>
          <p:nvPr/>
        </p:nvSpPr>
        <p:spPr bwMode="auto">
          <a:xfrm>
            <a:off x="6347703" y="4588085"/>
            <a:ext cx="1944829" cy="556525"/>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713478">
              <a:lnSpc>
                <a:spcPct val="100000"/>
              </a:lnSpc>
              <a:spcBef>
                <a:spcPts val="612"/>
              </a:spcBef>
              <a:defRPr/>
            </a:pPr>
            <a:r>
              <a:rPr lang="en-US" sz="1071" b="1" spc="0">
                <a:solidFill>
                  <a:srgbClr val="0078D4"/>
                </a:solidFill>
                <a:latin typeface="Segoe UI Semibold"/>
              </a:rPr>
              <a:t>March 2018</a:t>
            </a:r>
          </a:p>
          <a:p>
            <a:pPr defTabSz="713478">
              <a:lnSpc>
                <a:spcPct val="100000"/>
              </a:lnSpc>
              <a:spcBef>
                <a:spcPts val="382"/>
              </a:spcBef>
              <a:defRPr/>
            </a:pPr>
            <a:r>
              <a:rPr lang="en-US" sz="1071" spc="0">
                <a:gradFill>
                  <a:gsLst>
                    <a:gs pos="1250">
                      <a:srgbClr val="1A1A1A"/>
                    </a:gs>
                    <a:gs pos="100000">
                      <a:srgbClr val="1A1A1A"/>
                    </a:gs>
                  </a:gsLst>
                  <a:lin ang="5400000" scaled="0"/>
                </a:gradFill>
              </a:rPr>
              <a:t>Machine translation</a:t>
            </a:r>
            <a:br>
              <a:rPr lang="en-US" sz="1071" spc="0">
                <a:gradFill>
                  <a:gsLst>
                    <a:gs pos="1250">
                      <a:srgbClr val="1A1A1A"/>
                    </a:gs>
                    <a:gs pos="100000">
                      <a:srgbClr val="1A1A1A"/>
                    </a:gs>
                  </a:gsLst>
                  <a:lin ang="5400000" scaled="0"/>
                </a:gradFill>
              </a:rPr>
            </a:br>
            <a:r>
              <a:rPr lang="en-US" sz="1071" spc="0">
                <a:gradFill>
                  <a:gsLst>
                    <a:gs pos="1250">
                      <a:srgbClr val="1A1A1A"/>
                    </a:gs>
                    <a:gs pos="100000">
                      <a:srgbClr val="1A1A1A"/>
                    </a:gs>
                  </a:gsLst>
                  <a:lin ang="5400000" scaled="0"/>
                </a:gradFill>
              </a:rPr>
              <a:t>Human parity</a:t>
            </a:r>
          </a:p>
        </p:txBody>
      </p:sp>
      <p:sp>
        <p:nvSpPr>
          <p:cNvPr id="2" name="Title 1">
            <a:extLst>
              <a:ext uri="{FF2B5EF4-FFF2-40B4-BE49-F238E27FC236}">
                <a16:creationId xmlns:a16="http://schemas.microsoft.com/office/drawing/2014/main" id="{78CD8E59-363A-4F92-B38B-D4579DBD3125}"/>
              </a:ext>
            </a:extLst>
          </p:cNvPr>
          <p:cNvSpPr>
            <a:spLocks noGrp="1"/>
          </p:cNvSpPr>
          <p:nvPr>
            <p:ph type="title"/>
          </p:nvPr>
        </p:nvSpPr>
        <p:spPr>
          <a:xfrm>
            <a:off x="1557208" y="400254"/>
            <a:ext cx="7238032" cy="1031262"/>
          </a:xfrm>
        </p:spPr>
        <p:txBody>
          <a:bodyPr>
            <a:normAutofit/>
          </a:bodyPr>
          <a:lstStyle/>
          <a:p>
            <a:r>
              <a:rPr lang="zh-CN" altLang="en-US" sz="4080" dirty="0">
                <a:latin typeface="微软雅黑" panose="020B0503020204020204" pitchFamily="34" charset="-122"/>
                <a:ea typeface="微软雅黑" panose="020B0503020204020204" pitchFamily="34" charset="-122"/>
              </a:rPr>
              <a:t>微软人工智能的重大突破</a:t>
            </a:r>
            <a:endParaRPr lang="en-US" sz="4080" dirty="0">
              <a:latin typeface="微软雅黑" panose="020B0503020204020204" pitchFamily="34" charset="-122"/>
              <a:ea typeface="微软雅黑" panose="020B0503020204020204" pitchFamily="34" charset="-122"/>
            </a:endParaRPr>
          </a:p>
        </p:txBody>
      </p:sp>
      <p:sp>
        <p:nvSpPr>
          <p:cNvPr id="91" name="Rectangle 90">
            <a:extLst>
              <a:ext uri="{FF2B5EF4-FFF2-40B4-BE49-F238E27FC236}">
                <a16:creationId xmlns:a16="http://schemas.microsoft.com/office/drawing/2014/main" id="{D90928A4-DBAD-3440-BEB2-5AA4B622DB6B}"/>
              </a:ext>
            </a:extLst>
          </p:cNvPr>
          <p:cNvSpPr/>
          <p:nvPr/>
        </p:nvSpPr>
        <p:spPr>
          <a:xfrm>
            <a:off x="5567705" y="2214039"/>
            <a:ext cx="1301065" cy="334307"/>
          </a:xfrm>
          <a:prstGeom prst="rect">
            <a:avLst/>
          </a:prstGeom>
          <a:solidFill>
            <a:schemeClr val="bg1"/>
          </a:solidFill>
        </p:spPr>
        <p:txBody>
          <a:bodyPr wrap="square">
            <a:spAutoFit/>
          </a:bodyPr>
          <a:lstStyle/>
          <a:p>
            <a:pPr algn="ctr" defTabSz="699447">
              <a:defRPr/>
            </a:pPr>
            <a:r>
              <a:rPr lang="en-US" sz="1530" dirty="0">
                <a:solidFill>
                  <a:srgbClr val="0078D4"/>
                </a:solidFill>
                <a:latin typeface="Segoe UI Semibold"/>
              </a:rPr>
              <a:t>Speec</a:t>
            </a:r>
            <a:r>
              <a:rPr lang="en-US" altLang="zh-CN" sz="1530" dirty="0">
                <a:solidFill>
                  <a:srgbClr val="0078D4"/>
                </a:solidFill>
                <a:latin typeface="Segoe UI Semibold"/>
                <a:ea typeface="宋体" panose="02010600030101010101" pitchFamily="2" charset="-122"/>
              </a:rPr>
              <a:t>h </a:t>
            </a:r>
            <a:r>
              <a:rPr lang="zh-CN" altLang="en-US" sz="1530" dirty="0">
                <a:solidFill>
                  <a:srgbClr val="0078D4"/>
                </a:solidFill>
                <a:latin typeface="Segoe UI Semibold"/>
                <a:ea typeface="宋体" panose="02010600030101010101" pitchFamily="2" charset="-122"/>
              </a:rPr>
              <a:t>语音</a:t>
            </a:r>
            <a:endParaRPr lang="en-US" sz="1071" dirty="0">
              <a:solidFill>
                <a:srgbClr val="0078D4"/>
              </a:solidFill>
              <a:latin typeface="Segoe UI Semibold"/>
            </a:endParaRPr>
          </a:p>
        </p:txBody>
      </p:sp>
      <p:sp>
        <p:nvSpPr>
          <p:cNvPr id="94" name="Rectangle 93">
            <a:extLst>
              <a:ext uri="{FF2B5EF4-FFF2-40B4-BE49-F238E27FC236}">
                <a16:creationId xmlns:a16="http://schemas.microsoft.com/office/drawing/2014/main" id="{2A03D427-C139-5545-87C4-410FB3BCA850}"/>
              </a:ext>
            </a:extLst>
          </p:cNvPr>
          <p:cNvSpPr/>
          <p:nvPr/>
        </p:nvSpPr>
        <p:spPr>
          <a:xfrm>
            <a:off x="8744874" y="2207022"/>
            <a:ext cx="1516070" cy="334307"/>
          </a:xfrm>
          <a:prstGeom prst="rect">
            <a:avLst/>
          </a:prstGeom>
          <a:solidFill>
            <a:schemeClr val="bg1"/>
          </a:solidFill>
        </p:spPr>
        <p:txBody>
          <a:bodyPr wrap="square">
            <a:spAutoFit/>
          </a:bodyPr>
          <a:lstStyle/>
          <a:p>
            <a:pPr defTabSz="699447">
              <a:defRPr/>
            </a:pPr>
            <a:r>
              <a:rPr lang="en-US" sz="1530" dirty="0">
                <a:solidFill>
                  <a:srgbClr val="0078D4"/>
                </a:solidFill>
                <a:latin typeface="Segoe UI Semibold"/>
              </a:rPr>
              <a:t>Language </a:t>
            </a:r>
            <a:r>
              <a:rPr lang="zh-CN" altLang="en-US" sz="1530" dirty="0">
                <a:solidFill>
                  <a:srgbClr val="0078D4"/>
                </a:solidFill>
                <a:latin typeface="Segoe UI Semibold"/>
                <a:ea typeface="宋体" panose="02010600030101010101" pitchFamily="2" charset="-122"/>
              </a:rPr>
              <a:t>语言</a:t>
            </a:r>
            <a:endParaRPr lang="en-US" sz="1071" dirty="0">
              <a:solidFill>
                <a:srgbClr val="0078D4"/>
              </a:solidFill>
              <a:latin typeface="Segoe UI Semibold"/>
            </a:endParaRPr>
          </a:p>
        </p:txBody>
      </p:sp>
      <p:sp>
        <p:nvSpPr>
          <p:cNvPr id="3" name="矩形 2">
            <a:extLst>
              <a:ext uri="{FF2B5EF4-FFF2-40B4-BE49-F238E27FC236}">
                <a16:creationId xmlns:a16="http://schemas.microsoft.com/office/drawing/2014/main" id="{20C9E21F-183D-4AAF-97BE-B73687287186}"/>
              </a:ext>
            </a:extLst>
          </p:cNvPr>
          <p:cNvSpPr/>
          <p:nvPr/>
        </p:nvSpPr>
        <p:spPr>
          <a:xfrm>
            <a:off x="1493339" y="1161499"/>
            <a:ext cx="2320271" cy="414353"/>
          </a:xfrm>
          <a:prstGeom prst="rect">
            <a:avLst/>
          </a:prstGeom>
        </p:spPr>
        <p:txBody>
          <a:bodyPr wrap="none">
            <a:spAutoFit/>
          </a:bodyPr>
          <a:lstStyle/>
          <a:p>
            <a:pPr defTabSz="932597"/>
            <a:r>
              <a:rPr lang="zh-CN" altLang="en-US" sz="2040" dirty="0">
                <a:solidFill>
                  <a:srgbClr val="0070C0"/>
                </a:solidFill>
                <a:latin typeface="微软雅黑" panose="020B0503020204020204" pitchFamily="34" charset="-122"/>
                <a:ea typeface="微软雅黑" panose="020B0503020204020204" pitchFamily="34" charset="-122"/>
              </a:rPr>
              <a:t>不断接近人类水平</a:t>
            </a:r>
          </a:p>
        </p:txBody>
      </p:sp>
    </p:spTree>
    <p:extLst>
      <p:ext uri="{BB962C8B-B14F-4D97-AF65-F5344CB8AC3E}">
        <p14:creationId xmlns:p14="http://schemas.microsoft.com/office/powerpoint/2010/main" val="33819711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xmlns:a16="http://schemas.microsoft.com/office/drawing/2014/main" xmlns:a14="http://schemas.microsoft.com/office/drawing/2010/main" xmlns:p14="http://schemas.microsoft.com/office/powerpoint/2010/main">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fade">
                                      <p:cBhvr>
                                        <p:cTn id="7" dur="250"/>
                                        <p:tgtEl>
                                          <p:spTgt spid="8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25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250"/>
                                        <p:tgtEl>
                                          <p:spTgt spid="4"/>
                                        </p:tgtEl>
                                      </p:cBhvr>
                                    </p:animEffect>
                                  </p:childTnLst>
                                </p:cTn>
                              </p:par>
                              <p:par>
                                <p:cTn id="14" presetID="10" presetClass="entr" presetSubtype="0" fill="hold" nodeType="with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250"/>
                                        <p:tgtEl>
                                          <p:spTgt spid="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25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250"/>
                                        <p:tgtEl>
                                          <p:spTgt spid="5"/>
                                        </p:tgtEl>
                                      </p:cBhvr>
                                    </p:animEffect>
                                  </p:childTnLst>
                                </p:cTn>
                              </p:par>
                              <p:par>
                                <p:cTn id="23" presetID="10" presetClass="entr" presetSubtype="0" fill="hold" nodeType="with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250"/>
                                        <p:tgtEl>
                                          <p:spTgt spid="2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250"/>
                                        <p:tgtEl>
                                          <p:spTgt spid="1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250"/>
                                        <p:tgtEl>
                                          <p:spTgt spid="6"/>
                                        </p:tgtEl>
                                      </p:cBhvr>
                                    </p:animEffect>
                                  </p:childTnLst>
                                </p:cTn>
                              </p:par>
                              <p:par>
                                <p:cTn id="32" presetID="10" presetClass="entr" presetSubtype="0" fill="hold"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250"/>
                                        <p:tgtEl>
                                          <p:spTgt spid="2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86"/>
                                        </p:tgtEl>
                                        <p:attrNameLst>
                                          <p:attrName>style.visibility</p:attrName>
                                        </p:attrNameLst>
                                      </p:cBhvr>
                                      <p:to>
                                        <p:strVal val="visible"/>
                                      </p:to>
                                    </p:set>
                                    <p:animEffect transition="in" filter="fade">
                                      <p:cBhvr>
                                        <p:cTn id="37" dur="250"/>
                                        <p:tgtEl>
                                          <p:spTgt spid="8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
                                        </p:tgtEl>
                                        <p:attrNameLst>
                                          <p:attrName>style.visibility</p:attrName>
                                        </p:attrNameLst>
                                      </p:cBhvr>
                                      <p:to>
                                        <p:strVal val="visible"/>
                                      </p:to>
                                    </p:set>
                                    <p:animEffect transition="in" filter="fade">
                                      <p:cBhvr>
                                        <p:cTn id="40" dur="250"/>
                                        <p:tgtEl>
                                          <p:spTgt spid="7"/>
                                        </p:tgtEl>
                                      </p:cBhvr>
                                    </p:animEffect>
                                  </p:childTnLst>
                                </p:cTn>
                              </p:par>
                              <p:par>
                                <p:cTn id="41" presetID="10" presetClass="entr" presetSubtype="0" fill="hold" grpId="0" nodeType="withEffect">
                                  <p:stCondLst>
                                    <p:cond delay="600"/>
                                  </p:stCondLst>
                                  <p:childTnLst>
                                    <p:set>
                                      <p:cBhvr>
                                        <p:cTn id="42" dur="1" fill="hold">
                                          <p:stCondLst>
                                            <p:cond delay="0"/>
                                          </p:stCondLst>
                                        </p:cTn>
                                        <p:tgtEl>
                                          <p:spTgt spid="83"/>
                                        </p:tgtEl>
                                        <p:attrNameLst>
                                          <p:attrName>style.visibility</p:attrName>
                                        </p:attrNameLst>
                                      </p:cBhvr>
                                      <p:to>
                                        <p:strVal val="visible"/>
                                      </p:to>
                                    </p:set>
                                    <p:animEffect transition="in" filter="fade">
                                      <p:cBhvr>
                                        <p:cTn id="43" dur="350"/>
                                        <p:tgtEl>
                                          <p:spTgt spid="83"/>
                                        </p:tgtEl>
                                      </p:cBhvr>
                                    </p:animEffect>
                                  </p:childTnLst>
                                </p:cTn>
                              </p:par>
                              <p:par>
                                <p:cTn id="44" presetID="64" presetClass="path" presetSubtype="0" decel="100000" fill="hold" grpId="1" nodeType="withEffect">
                                  <p:stCondLst>
                                    <p:cond delay="600"/>
                                  </p:stCondLst>
                                  <p:childTnLst>
                                    <p:animMotion origin="layout" path="M -3.125E-6 -4.44444E-6 L -3.125E-6 -0.06458 " pathEditMode="relative" rAng="0" ptsTypes="AA">
                                      <p:cBhvr>
                                        <p:cTn id="45" dur="500" spd="-100000" fill="hold"/>
                                        <p:tgtEl>
                                          <p:spTgt spid="83"/>
                                        </p:tgtEl>
                                        <p:attrNameLst>
                                          <p:attrName>ppt_x</p:attrName>
                                          <p:attrName>ppt_y</p:attrName>
                                        </p:attrNameLst>
                                      </p:cBhvr>
                                      <p:rCtr x="0" y="-3241"/>
                                    </p:animMotion>
                                  </p:childTnLst>
                                </p:cTn>
                              </p:par>
                              <p:par>
                                <p:cTn id="46" presetID="10" presetClass="entr" presetSubtype="0" fill="hold" grpId="0" nodeType="withEffect">
                                  <p:stCondLst>
                                    <p:cond delay="600"/>
                                  </p:stCondLst>
                                  <p:childTnLst>
                                    <p:set>
                                      <p:cBhvr>
                                        <p:cTn id="47" dur="1" fill="hold">
                                          <p:stCondLst>
                                            <p:cond delay="0"/>
                                          </p:stCondLst>
                                        </p:cTn>
                                        <p:tgtEl>
                                          <p:spTgt spid="88"/>
                                        </p:tgtEl>
                                        <p:attrNameLst>
                                          <p:attrName>style.visibility</p:attrName>
                                        </p:attrNameLst>
                                      </p:cBhvr>
                                      <p:to>
                                        <p:strVal val="visible"/>
                                      </p:to>
                                    </p:set>
                                    <p:animEffect transition="in" filter="fade">
                                      <p:cBhvr>
                                        <p:cTn id="48" dur="350"/>
                                        <p:tgtEl>
                                          <p:spTgt spid="88"/>
                                        </p:tgtEl>
                                      </p:cBhvr>
                                    </p:animEffect>
                                  </p:childTnLst>
                                </p:cTn>
                              </p:par>
                              <p:par>
                                <p:cTn id="49" presetID="64" presetClass="path" presetSubtype="0" decel="100000" fill="hold" grpId="1" nodeType="withEffect">
                                  <p:stCondLst>
                                    <p:cond delay="600"/>
                                  </p:stCondLst>
                                  <p:childTnLst>
                                    <p:animMotion origin="layout" path="M -3.125E-6 -4.44444E-6 L -3.125E-6 -0.06458 " pathEditMode="relative" rAng="0" ptsTypes="AA">
                                      <p:cBhvr>
                                        <p:cTn id="50" dur="500" spd="-100000" fill="hold"/>
                                        <p:tgtEl>
                                          <p:spTgt spid="88"/>
                                        </p:tgtEl>
                                        <p:attrNameLst>
                                          <p:attrName>ppt_x</p:attrName>
                                          <p:attrName>ppt_y</p:attrName>
                                        </p:attrNameLst>
                                      </p:cBhvr>
                                      <p:rCtr x="0" y="-3241"/>
                                    </p:animMotion>
                                  </p:childTnLst>
                                </p:cTn>
                              </p:par>
                              <p:par>
                                <p:cTn id="51" presetID="10" presetClass="entr" presetSubtype="0" fill="hold" grpId="0" nodeType="withEffect">
                                  <p:stCondLst>
                                    <p:cond delay="600"/>
                                  </p:stCondLst>
                                  <p:childTnLst>
                                    <p:set>
                                      <p:cBhvr>
                                        <p:cTn id="52" dur="1" fill="hold">
                                          <p:stCondLst>
                                            <p:cond delay="0"/>
                                          </p:stCondLst>
                                        </p:cTn>
                                        <p:tgtEl>
                                          <p:spTgt spid="89"/>
                                        </p:tgtEl>
                                        <p:attrNameLst>
                                          <p:attrName>style.visibility</p:attrName>
                                        </p:attrNameLst>
                                      </p:cBhvr>
                                      <p:to>
                                        <p:strVal val="visible"/>
                                      </p:to>
                                    </p:set>
                                    <p:animEffect transition="in" filter="fade">
                                      <p:cBhvr>
                                        <p:cTn id="53" dur="350"/>
                                        <p:tgtEl>
                                          <p:spTgt spid="89"/>
                                        </p:tgtEl>
                                      </p:cBhvr>
                                    </p:animEffect>
                                  </p:childTnLst>
                                </p:cTn>
                              </p:par>
                              <p:par>
                                <p:cTn id="54" presetID="64" presetClass="path" presetSubtype="0" decel="100000" fill="hold" grpId="1" nodeType="withEffect">
                                  <p:stCondLst>
                                    <p:cond delay="600"/>
                                  </p:stCondLst>
                                  <p:childTnLst>
                                    <p:animMotion origin="layout" path="M -3.125E-6 -4.44444E-6 L -3.125E-6 -0.06458 " pathEditMode="relative" rAng="0" ptsTypes="AA">
                                      <p:cBhvr>
                                        <p:cTn id="55" dur="500" spd="-100000" fill="hold"/>
                                        <p:tgtEl>
                                          <p:spTgt spid="89"/>
                                        </p:tgtEl>
                                        <p:attrNameLst>
                                          <p:attrName>ppt_x</p:attrName>
                                          <p:attrName>ppt_y</p:attrName>
                                        </p:attrNameLst>
                                      </p:cBhvr>
                                      <p:rCtr x="0" y="-3241"/>
                                    </p:animMotion>
                                  </p:childTnLst>
                                </p:cTn>
                              </p:par>
                              <p:par>
                                <p:cTn id="56" presetID="10" presetClass="entr" presetSubtype="0" fill="hold" grpId="0" nodeType="withEffect">
                                  <p:stCondLst>
                                    <p:cond delay="600"/>
                                  </p:stCondLst>
                                  <p:childTnLst>
                                    <p:set>
                                      <p:cBhvr>
                                        <p:cTn id="57" dur="1" fill="hold">
                                          <p:stCondLst>
                                            <p:cond delay="0"/>
                                          </p:stCondLst>
                                        </p:cTn>
                                        <p:tgtEl>
                                          <p:spTgt spid="90"/>
                                        </p:tgtEl>
                                        <p:attrNameLst>
                                          <p:attrName>style.visibility</p:attrName>
                                        </p:attrNameLst>
                                      </p:cBhvr>
                                      <p:to>
                                        <p:strVal val="visible"/>
                                      </p:to>
                                    </p:set>
                                    <p:animEffect transition="in" filter="fade">
                                      <p:cBhvr>
                                        <p:cTn id="58" dur="350"/>
                                        <p:tgtEl>
                                          <p:spTgt spid="90"/>
                                        </p:tgtEl>
                                      </p:cBhvr>
                                    </p:animEffect>
                                  </p:childTnLst>
                                </p:cTn>
                              </p:par>
                              <p:par>
                                <p:cTn id="59" presetID="64" presetClass="path" presetSubtype="0" decel="100000" fill="hold" grpId="1" nodeType="withEffect">
                                  <p:stCondLst>
                                    <p:cond delay="600"/>
                                  </p:stCondLst>
                                  <p:childTnLst>
                                    <p:animMotion origin="layout" path="M -3.125E-6 -4.44444E-6 L -3.125E-6 -0.06458 " pathEditMode="relative" rAng="0" ptsTypes="AA">
                                      <p:cBhvr>
                                        <p:cTn id="60" dur="500" spd="-100000" fill="hold"/>
                                        <p:tgtEl>
                                          <p:spTgt spid="90"/>
                                        </p:tgtEl>
                                        <p:attrNameLst>
                                          <p:attrName>ppt_x</p:attrName>
                                          <p:attrName>ppt_y</p:attrName>
                                        </p:attrNameLst>
                                      </p:cBhvr>
                                      <p:rCtr x="0" y="-324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4" grpId="0"/>
      <p:bldP spid="8" grpId="0" animBg="1"/>
      <p:bldP spid="5" grpId="0"/>
      <p:bldP spid="12" grpId="0" animBg="1"/>
      <p:bldP spid="6" grpId="0"/>
      <p:bldP spid="86" grpId="0" animBg="1"/>
      <p:bldP spid="7" grpId="0"/>
      <p:bldP spid="83" grpId="0"/>
      <p:bldP spid="83" grpId="1"/>
      <p:bldP spid="88" grpId="0"/>
      <p:bldP spid="88" grpId="1"/>
      <p:bldP spid="89" grpId="0"/>
      <p:bldP spid="89" grpId="1"/>
      <p:bldP spid="90" grpId="0"/>
      <p:bldP spid="90"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usiness">
      <a:dk1>
        <a:srgbClr val="505050"/>
      </a:dk1>
      <a:lt1>
        <a:srgbClr val="FFFFFF"/>
      </a:lt1>
      <a:dk2>
        <a:srgbClr val="1B5C87"/>
      </a:dk2>
      <a:lt2>
        <a:srgbClr val="2971A5"/>
      </a:lt2>
      <a:accent1>
        <a:srgbClr val="1B5C87"/>
      </a:accent1>
      <a:accent2>
        <a:srgbClr val="2971A5"/>
      </a:accent2>
      <a:accent3>
        <a:srgbClr val="1B5C87"/>
      </a:accent3>
      <a:accent4>
        <a:srgbClr val="0078D7"/>
      </a:accent4>
      <a:accent5>
        <a:srgbClr val="107C10"/>
      </a:accent5>
      <a:accent6>
        <a:srgbClr val="E94334"/>
      </a:accent6>
      <a:hlink>
        <a:srgbClr val="00C0E3"/>
      </a:hlink>
      <a:folHlink>
        <a:srgbClr val="00C0E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sque_experiences_technique" id="{6DA7A6E4-0179-4823-A3CA-86886FA4A9A0}" vid="{73FBDF76-685D-41F6-B4B9-20340004D91D}"/>
    </a:ext>
  </a:extLst>
</a:theme>
</file>

<file path=ppt/theme/theme10.xml><?xml version="1.0" encoding="utf-8"?>
<a:theme xmlns:a="http://schemas.openxmlformats.org/drawingml/2006/main" name="3_C+E Deck">
  <a:themeElements>
    <a:clrScheme name="PST">
      <a:dk1>
        <a:srgbClr val="505050"/>
      </a:dk1>
      <a:lt1>
        <a:srgbClr val="FFFFFF"/>
      </a:lt1>
      <a:dk2>
        <a:srgbClr val="0072C6"/>
      </a:dk2>
      <a:lt2>
        <a:srgbClr val="FFFFFF"/>
      </a:lt2>
      <a:accent1>
        <a:srgbClr val="00B6C3"/>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ustom 1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12.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Azure Template">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6" id="{6EB113CA-C652-4EDE-851B-7E09446BD8F3}" vid="{F42B78DA-A33F-4A43-9CCD-5B4ACB75A407}"/>
    </a:ext>
  </a:extLst>
</a:theme>
</file>

<file path=ppt/theme/theme14.xml><?xml version="1.0" encoding="utf-8"?>
<a:theme xmlns:a="http://schemas.openxmlformats.org/drawingml/2006/main" name="1_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Template.potx" id="{C012A628-78A1-424B-BCF4-D82F84699F88}" vid="{53E980D8-12F7-4E31-B54D-E701BC9269F1}"/>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Empty Template">
  <a:themeElements>
    <a:clrScheme name="Technique">
      <a:dk1>
        <a:srgbClr val="000000"/>
      </a:dk1>
      <a:lt1>
        <a:srgbClr val="FFFFFF"/>
      </a:lt1>
      <a:dk2>
        <a:srgbClr val="005A4D"/>
      </a:dk2>
      <a:lt2>
        <a:srgbClr val="00876B"/>
      </a:lt2>
      <a:accent1>
        <a:srgbClr val="1B775F"/>
      </a:accent1>
      <a:accent2>
        <a:srgbClr val="29A78D"/>
      </a:accent2>
      <a:accent3>
        <a:srgbClr val="1B775F"/>
      </a:accent3>
      <a:accent4>
        <a:srgbClr val="694284"/>
      </a:accent4>
      <a:accent5>
        <a:srgbClr val="B24084"/>
      </a:accent5>
      <a:accent6>
        <a:srgbClr val="E94334"/>
      </a:accent6>
      <a:hlink>
        <a:srgbClr val="00C0E3"/>
      </a:hlink>
      <a:folHlink>
        <a:srgbClr val="00C0E3"/>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asque_experiences_technique" id="{6DA7A6E4-0179-4823-A3CA-86886FA4A9A0}" vid="{D3FDB56B-6D80-43AE-8A13-E39DD4C78ACE}"/>
    </a:ext>
  </a:extLst>
</a:theme>
</file>

<file path=ppt/theme/theme3.xml><?xml version="1.0" encoding="utf-8"?>
<a:theme xmlns:a="http://schemas.openxmlformats.org/drawingml/2006/main" name="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potx" id="{5417D3E2-C3A5-48BF-8802-FB8B38AE9E9C}" vid="{3B9D3600-BA2F-499E-9B74-B0493B08579C}"/>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D9D45150-3EE9-4C52-82F9-315450C63967}" vid="{EEFE7FD0-7023-44C8-BDB7-7E79FCBC373E}"/>
    </a:ext>
  </a:extLst>
</a:theme>
</file>

<file path=ppt/theme/theme6.xml><?xml version="1.0" encoding="utf-8"?>
<a:theme xmlns:a="http://schemas.openxmlformats.org/drawingml/2006/main" name="1_WHITE TEMPLATE">
  <a:themeElements>
    <a:clrScheme name="Business">
      <a:dk1>
        <a:srgbClr val="505050"/>
      </a:dk1>
      <a:lt1>
        <a:srgbClr val="FFFFFF"/>
      </a:lt1>
      <a:dk2>
        <a:srgbClr val="1B5C87"/>
      </a:dk2>
      <a:lt2>
        <a:srgbClr val="2971A5"/>
      </a:lt2>
      <a:accent1>
        <a:srgbClr val="1B5C87"/>
      </a:accent1>
      <a:accent2>
        <a:srgbClr val="2971A5"/>
      </a:accent2>
      <a:accent3>
        <a:srgbClr val="1B5C87"/>
      </a:accent3>
      <a:accent4>
        <a:srgbClr val="0078D7"/>
      </a:accent4>
      <a:accent5>
        <a:srgbClr val="107C10"/>
      </a:accent5>
      <a:accent6>
        <a:srgbClr val="E94334"/>
      </a:accent6>
      <a:hlink>
        <a:srgbClr val="00C0E3"/>
      </a:hlink>
      <a:folHlink>
        <a:srgbClr val="00C0E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defTabSz="932180"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8.xml><?xml version="1.0" encoding="utf-8"?>
<a:theme xmlns:a="http://schemas.openxmlformats.org/drawingml/2006/main" name="1_MS Brand White 16-9_Dec-2013">
  <a:themeElements>
    <a:clrScheme name="Custom 57">
      <a:dk1>
        <a:srgbClr val="505050"/>
      </a:dk1>
      <a:lt1>
        <a:srgbClr val="FFFFFF"/>
      </a:lt1>
      <a:dk2>
        <a:srgbClr val="002050"/>
      </a:dk2>
      <a:lt2>
        <a:srgbClr val="0072C6"/>
      </a:lt2>
      <a:accent1>
        <a:srgbClr val="0072C6"/>
      </a:accent1>
      <a:accent2>
        <a:srgbClr val="00BCF2"/>
      </a:accent2>
      <a:accent3>
        <a:srgbClr val="008A00"/>
      </a:accent3>
      <a:accent4>
        <a:srgbClr val="7FBA00"/>
      </a:accent4>
      <a:accent5>
        <a:srgbClr val="68217A"/>
      </a:accent5>
      <a:accent6>
        <a:srgbClr val="DC3C00"/>
      </a:accent6>
      <a:hlink>
        <a:srgbClr val="00BCF2"/>
      </a:hlink>
      <a:folHlink>
        <a:srgbClr val="82CAF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9.xml><?xml version="1.0" encoding="utf-8"?>
<a:theme xmlns:a="http://schemas.openxmlformats.org/drawingml/2006/main" name="IOYT Theme INDUSTRY 2015">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astSharedByUser xmlns="a22b7397-c0ab-4c71-8dc4-4fc570ed1b25">ghiggins@microsoft.com</LastSharedByUser>
    <SharedWithUsers xmlns="a22b7397-c0ab-4c71-8dc4-4fc570ed1b25">
      <UserInfo>
        <DisplayName>Sarah McGee</DisplayName>
        <AccountId>143</AccountId>
        <AccountType/>
      </UserInfo>
      <UserInfo>
        <DisplayName>Felix Yan</DisplayName>
        <AccountId>208</AccountId>
        <AccountType/>
      </UserInfo>
      <UserInfo>
        <DisplayName>Yan Zhang (CSE)</DisplayName>
        <AccountId>209</AccountId>
        <AccountType/>
      </UserInfo>
    </SharedWithUsers>
    <LastSharedByTime xmlns="a22b7397-c0ab-4c71-8dc4-4fc570ed1b25">2017-10-21T02:35:41+00:00</LastSharedByTim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07AB3E1A6F0BE44B3D260CF998F5858" ma:contentTypeVersion="10" ma:contentTypeDescription="Create a new document." ma:contentTypeScope="" ma:versionID="4bf1bd6509ff79dd81baab7b6fe9441d">
  <xsd:schema xmlns:xsd="http://www.w3.org/2001/XMLSchema" xmlns:xs="http://www.w3.org/2001/XMLSchema" xmlns:p="http://schemas.microsoft.com/office/2006/metadata/properties" xmlns:ns2="a22b7397-c0ab-4c71-8dc4-4fc570ed1b25" xmlns:ns3="f916ef5e-9c6c-4aca-94b6-9976a66428e4" targetNamespace="http://schemas.microsoft.com/office/2006/metadata/properties" ma:root="true" ma:fieldsID="51326c37be188af3887623f72a16109b" ns2:_="" ns3:_="">
    <xsd:import namespace="a22b7397-c0ab-4c71-8dc4-4fc570ed1b25"/>
    <xsd:import namespace="f916ef5e-9c6c-4aca-94b6-9976a66428e4"/>
    <xsd:element name="properties">
      <xsd:complexType>
        <xsd:sequence>
          <xsd:element name="documentManagement">
            <xsd:complexType>
              <xsd:all>
                <xsd:element ref="ns2:SharedWithUsers" minOccurs="0"/>
                <xsd:element ref="ns3:MediaServiceMetadata" minOccurs="0"/>
                <xsd:element ref="ns3:MediaServiceFastMetadata" minOccurs="0"/>
                <xsd:element ref="ns2:SharedWithDetails" minOccurs="0"/>
                <xsd:element ref="ns2:LastSharedByUser" minOccurs="0"/>
                <xsd:element ref="ns2:LastSharedByTime" minOccurs="0"/>
                <xsd:element ref="ns3:MediaServiceDateTaken" minOccurs="0"/>
                <xsd:element ref="ns3:MediaServiceAutoTags" minOccurs="0"/>
                <xsd:element ref="ns3:MediaServiceLocation"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2b7397-c0ab-4c71-8dc4-4fc570ed1b2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hidden="true" ma:internalName="LastSharedByUser" ma:readOnly="true">
      <xsd:simpleType>
        <xsd:restriction base="dms:Note"/>
      </xsd:simpleType>
    </xsd:element>
    <xsd:element name="LastSharedByTime" ma:index="13"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f916ef5e-9c6c-4aca-94b6-9976a66428e4" elementFormDefault="qualified">
    <xsd:import namespace="http://schemas.microsoft.com/office/2006/documentManagement/types"/>
    <xsd:import namespace="http://schemas.microsoft.com/office/infopath/2007/PartnerControls"/>
    <xsd:element name="MediaServiceMetadata" ma:index="9" nillable="true" ma:displayName="MediaServiceMetadata" ma:description="" ma:hidden="true" ma:internalName="MediaServiceMetadata" ma:readOnly="true">
      <xsd:simpleType>
        <xsd:restriction base="dms:Note"/>
      </xsd:simpleType>
    </xsd:element>
    <xsd:element name="MediaServiceFastMetadata" ma:index="10"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AutoTags" ma:index="15" nillable="true" ma:displayName="MediaServiceAutoTags" ma:description="" ma:internalName="MediaServiceAutoTags" ma:readOnly="true">
      <xsd:simpleType>
        <xsd:restriction base="dms:Text"/>
      </xsd:simpleType>
    </xsd:element>
    <xsd:element name="MediaServiceLocation" ma:index="16" nillable="true" ma:displayName="MediaServiceLocation" ma:description="" ma:internalName="MediaServiceLocation" ma:readOnly="true">
      <xsd:simpleType>
        <xsd:restriction base="dms:Text"/>
      </xsd:simpleType>
    </xsd:element>
    <xsd:element name="MediaServiceOCR" ma:index="17" nillable="true" ma:displayName="MediaServiceOCR" ma:description=""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schemas.microsoft.com/office/2006/documentManagement/types"/>
    <ds:schemaRef ds:uri="http://purl.org/dc/elements/1.1/"/>
    <ds:schemaRef ds:uri="http://purl.org/dc/dcmitype/"/>
    <ds:schemaRef ds:uri="http://schemas.microsoft.com/office/infopath/2007/PartnerControls"/>
    <ds:schemaRef ds:uri="a22b7397-c0ab-4c71-8dc4-4fc570ed1b25"/>
    <ds:schemaRef ds:uri="http://schemas.microsoft.com/office/2006/metadata/properties"/>
    <ds:schemaRef ds:uri="http://schemas.openxmlformats.org/package/2006/metadata/core-properties"/>
    <ds:schemaRef ds:uri="f916ef5e-9c6c-4aca-94b6-9976a66428e4"/>
    <ds:schemaRef ds:uri="http://www.w3.org/XML/1998/namespace"/>
    <ds:schemaRef ds:uri="http://purl.org/dc/terms/"/>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72EC519A-A40D-4DAC-A515-0959F3A4904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22b7397-c0ab-4c71-8dc4-4fc570ed1b25"/>
    <ds:schemaRef ds:uri="f916ef5e-9c6c-4aca-94b6-9976a66428e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TotalTime>
  <Words>2289</Words>
  <Application>Microsoft Office PowerPoint</Application>
  <PresentationFormat>自定义</PresentationFormat>
  <Paragraphs>601</Paragraphs>
  <Slides>33</Slides>
  <Notes>27</Notes>
  <HiddenSlides>0</HiddenSlides>
  <MMClips>0</MMClips>
  <ScaleCrop>false</ScaleCrop>
  <HeadingPairs>
    <vt:vector size="8" baseType="variant">
      <vt:variant>
        <vt:lpstr>已用的字体</vt:lpstr>
      </vt:variant>
      <vt:variant>
        <vt:i4>16</vt:i4>
      </vt:variant>
      <vt:variant>
        <vt:lpstr>主题</vt:lpstr>
      </vt:variant>
      <vt:variant>
        <vt:i4>14</vt:i4>
      </vt:variant>
      <vt:variant>
        <vt:lpstr>嵌入 OLE 服务器</vt:lpstr>
      </vt:variant>
      <vt:variant>
        <vt:i4>1</vt:i4>
      </vt:variant>
      <vt:variant>
        <vt:lpstr>幻灯片标题</vt:lpstr>
      </vt:variant>
      <vt:variant>
        <vt:i4>33</vt:i4>
      </vt:variant>
    </vt:vector>
  </HeadingPairs>
  <TitlesOfParts>
    <vt:vector size="64" baseType="lpstr">
      <vt:lpstr>&amp;quot</vt:lpstr>
      <vt:lpstr>Microsoft YaHei Light</vt:lpstr>
      <vt:lpstr>等线</vt:lpstr>
      <vt:lpstr>Microsoft YaHei</vt:lpstr>
      <vt:lpstr>Microsoft YaHei</vt:lpstr>
      <vt:lpstr>微软雅黑 Light</vt:lpstr>
      <vt:lpstr>Arial</vt:lpstr>
      <vt:lpstr>Calibri</vt:lpstr>
      <vt:lpstr>Calibri Light</vt:lpstr>
      <vt:lpstr>Consolas</vt:lpstr>
      <vt:lpstr>Segoe UI</vt:lpstr>
      <vt:lpstr>Segoe UI Light</vt:lpstr>
      <vt:lpstr>Segoe UI Semibold</vt:lpstr>
      <vt:lpstr>Segoe UI Semilight</vt:lpstr>
      <vt:lpstr>Symbol</vt:lpstr>
      <vt:lpstr>Wingdings</vt:lpstr>
      <vt:lpstr>WHITE TEMPLATE</vt:lpstr>
      <vt:lpstr>Empty Template</vt:lpstr>
      <vt:lpstr>5-50111_Build 2017_LIGHT GRAY TEMPLATE</vt:lpstr>
      <vt:lpstr>Office 主题</vt:lpstr>
      <vt:lpstr>5-30721_Build_2016_Template_Light</vt:lpstr>
      <vt:lpstr>1_WHITE TEMPLATE</vt:lpstr>
      <vt:lpstr>1_USETHIS_1_6-50001_WPC 2016 Keynote Template</vt:lpstr>
      <vt:lpstr>1_MS Brand White 16-9_Dec-2013</vt:lpstr>
      <vt:lpstr>IOYT Theme INDUSTRY 2015</vt:lpstr>
      <vt:lpstr>3_C+E Deck</vt:lpstr>
      <vt:lpstr>1_WPC 2015 Dark Gray Template</vt:lpstr>
      <vt:lpstr>1_Office 主题</vt:lpstr>
      <vt:lpstr>Azure Template</vt:lpstr>
      <vt:lpstr>1_5-50195_Microsoft_Build_Template</vt:lpstr>
      <vt:lpstr>think-cell Slide</vt:lpstr>
      <vt:lpstr>PowerPoint 演示文稿</vt:lpstr>
      <vt:lpstr>到 2020 年…</vt:lpstr>
      <vt:lpstr>PowerPoint 演示文稿</vt:lpstr>
      <vt:lpstr>PowerPoint 演示文稿</vt:lpstr>
      <vt:lpstr>PowerPoint 演示文稿</vt:lpstr>
      <vt:lpstr>PowerPoint 演示文稿</vt:lpstr>
      <vt:lpstr>PowerPoint 演示文稿</vt:lpstr>
      <vt:lpstr>PowerPoint 演示文稿</vt:lpstr>
      <vt:lpstr>微软人工智能的重大突破</vt:lpstr>
      <vt:lpstr>微软人工智能不断取得进展</vt:lpstr>
      <vt:lpstr>微软认知服务</vt:lpstr>
      <vt:lpstr>PowerPoint 演示文稿</vt:lpstr>
      <vt:lpstr>开发 AI 应用 &amp; 智能助理</vt:lpstr>
      <vt:lpstr>Cognitive Services认知服务</vt:lpstr>
      <vt:lpstr>微软认知服务</vt:lpstr>
      <vt:lpstr>Azure认知服务 Translation enhancements</vt:lpstr>
      <vt:lpstr>PowerPoint 演示文稿</vt:lpstr>
      <vt:lpstr>Azure认知服务 Industry leading neural text to speech</vt:lpstr>
      <vt:lpstr>Azure上的机器学习/深度学习 </vt:lpstr>
      <vt:lpstr>支持主流深度学习框架</vt:lpstr>
      <vt:lpstr>强大的基础设施</vt:lpstr>
      <vt:lpstr>微软Azure机器学习  自动化机器学习 </vt:lpstr>
      <vt:lpstr>PowerPoint 演示文稿</vt:lpstr>
      <vt:lpstr>PowerPoint 演示文稿</vt:lpstr>
      <vt:lpstr>PowerPoint 演示文稿</vt:lpstr>
      <vt:lpstr>微软机器学习加速模型开发 使用自动化机器学习</vt:lpstr>
      <vt:lpstr>PowerPoint 演示文稿</vt:lpstr>
      <vt:lpstr>PowerPoint 演示文稿</vt:lpstr>
      <vt:lpstr>PowerPoint 演示文稿</vt:lpstr>
      <vt:lpstr>微软物联网边缘计算</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ace Higgins</dc:creator>
  <cp:lastModifiedBy>feng wang</cp:lastModifiedBy>
  <cp:revision>137</cp:revision>
  <dcterms:modified xsi:type="dcterms:W3CDTF">2019-06-03T13:54: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7AB3E1A6F0BE44B3D260CF998F585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kristibu@microsoft.com</vt:lpwstr>
  </property>
  <property fmtid="{D5CDD505-2E9C-101B-9397-08002B2CF9AE}" pid="15" name="MSIP_Label_f42aa342-8706-4288-bd11-ebb85995028c_SetDate">
    <vt:lpwstr>2017-09-20T07:26:22.5458904-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ies>
</file>